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5"/>
    <p:sldMasterId id="2147483752" r:id="rId6"/>
    <p:sldMasterId id="2147483764" r:id="rId7"/>
  </p:sldMasterIdLst>
  <p:notesMasterIdLst>
    <p:notesMasterId r:id="rId18"/>
  </p:notesMasterIdLst>
  <p:handoutMasterIdLst>
    <p:handoutMasterId r:id="rId19"/>
  </p:handoutMasterIdLst>
  <p:sldIdLst>
    <p:sldId id="256" r:id="rId8"/>
    <p:sldId id="2147373617" r:id="rId9"/>
    <p:sldId id="2147373630" r:id="rId10"/>
    <p:sldId id="2147373637" r:id="rId11"/>
    <p:sldId id="257" r:id="rId12"/>
    <p:sldId id="258" r:id="rId13"/>
    <p:sldId id="11576" r:id="rId14"/>
    <p:sldId id="2147373638" r:id="rId15"/>
    <p:sldId id="11629" r:id="rId16"/>
    <p:sldId id="11579" r:id="rId17"/>
  </p:sldIdLst>
  <p:sldSz cx="12192000" cy="6858000"/>
  <p:notesSz cx="6858000" cy="9144000"/>
  <p:embeddedFontLst>
    <p:embeddedFont>
      <p:font typeface="IBM Plex Mono Medium" panose="020B0609050203000203" pitchFamily="49" charset="0"/>
      <p:regular r:id="rId20"/>
      <p:italic r:id="rId21"/>
    </p:embeddedFont>
    <p:embeddedFont>
      <p:font typeface="IBM Plex Sans" panose="020B0503050203000203" pitchFamily="34" charset="0"/>
      <p:regular r:id="rId22"/>
      <p:bold r:id="rId23"/>
      <p:italic r:id="rId24"/>
      <p:boldItalic r:id="rId25"/>
    </p:embeddedFont>
    <p:embeddedFont>
      <p:font typeface="IBM Plex Sans Light" panose="020B0403050203000203" pitchFamily="34" charset="0"/>
      <p:regular r:id="rId26"/>
      <p:italic r:id="rId27"/>
    </p:embeddedFont>
    <p:embeddedFont>
      <p:font typeface="Verdana" panose="020B0604030504040204" pitchFamily="34" charset="0"/>
      <p:regular r:id="rId28"/>
      <p:bold r:id="rId29"/>
      <p:italic r:id="rId30"/>
      <p:boldItalic r:id="rId31"/>
    </p:embeddedFont>
  </p:embeddedFont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7" orient="horz" pos="1207" userDrawn="1">
          <p15:clr>
            <a:srgbClr val="A4A3A4"/>
          </p15:clr>
        </p15:guide>
        <p15:guide id="8" orient="horz" pos="391" userDrawn="1">
          <p15:clr>
            <a:srgbClr val="A4A3A4"/>
          </p15:clr>
        </p15:guide>
        <p15:guide id="10" pos="483">
          <p15:clr>
            <a:srgbClr val="A4A3A4"/>
          </p15:clr>
        </p15:guide>
        <p15:guide id="12" pos="7197" userDrawn="1">
          <p15:clr>
            <a:srgbClr val="A4A3A4"/>
          </p15:clr>
        </p15:guide>
        <p15:guide id="13" pos="3840" userDrawn="1">
          <p15:clr>
            <a:srgbClr val="A4A3A4"/>
          </p15:clr>
        </p15:guide>
        <p15:guide id="14" orient="horz" pos="3929" userDrawn="1">
          <p15:clr>
            <a:srgbClr val="A4A3A4"/>
          </p15:clr>
        </p15:guide>
        <p15:guide id="15" orient="horz" pos="2160" userDrawn="1">
          <p15:clr>
            <a:srgbClr val="A4A3A4"/>
          </p15:clr>
        </p15:guide>
        <p15:guide id="16" orient="horz" pos="170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95247"/>
    <a:srgbClr val="2C495A"/>
    <a:srgbClr val="599956"/>
    <a:srgbClr val="FF9D6A"/>
    <a:srgbClr val="88B2EB"/>
    <a:srgbClr val="FFCB21"/>
    <a:srgbClr val="E85C03"/>
    <a:srgbClr val="7CAE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DFC066-AC3B-4AE0-A58B-AD523AC91FD7}" v="12" dt="2022-10-24T07:37:40.684"/>
  </p1510:revLst>
</p1510:revInfo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7" d="100"/>
          <a:sy n="57" d="100"/>
        </p:scale>
        <p:origin x="924" y="36"/>
      </p:cViewPr>
      <p:guideLst>
        <p:guide orient="horz" pos="1207"/>
        <p:guide orient="horz" pos="391"/>
        <p:guide pos="483"/>
        <p:guide pos="7197"/>
        <p:guide pos="3840"/>
        <p:guide orient="horz" pos="3929"/>
        <p:guide orient="horz" pos="2160"/>
        <p:guide orient="horz" pos="170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7.fntdata"/><Relationship Id="rId3" Type="http://schemas.openxmlformats.org/officeDocument/2006/relationships/customXml" Target="../customXml/item3.xml"/><Relationship Id="rId21" Type="http://schemas.openxmlformats.org/officeDocument/2006/relationships/font" Target="fonts/font2.fntdata"/><Relationship Id="rId34" Type="http://schemas.openxmlformats.org/officeDocument/2006/relationships/theme" Target="theme/theme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font" Target="fonts/font6.fntdata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font" Target="fonts/font5.fntdata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31" Type="http://schemas.openxmlformats.org/officeDocument/2006/relationships/font" Target="fonts/font12.fntdata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 err="1"/>
              <a:t>Ympäristöliiketoiminnan</a:t>
            </a:r>
            <a:r>
              <a:rPr lang="en-US" b="1" dirty="0"/>
              <a:t> </a:t>
            </a:r>
            <a:r>
              <a:rPr lang="en-US" b="1" dirty="0" err="1"/>
              <a:t>vienti</a:t>
            </a:r>
            <a:r>
              <a:rPr lang="en-US" b="1" dirty="0"/>
              <a:t> M€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title>
    <c:autoTitleDeleted val="0"/>
    <c:plotArea>
      <c:layout/>
      <c:lineChart>
        <c:grouping val="stacked"/>
        <c:varyColors val="0"/>
        <c:ser>
          <c:idx val="0"/>
          <c:order val="0"/>
          <c:tx>
            <c:strRef>
              <c:f>Sheet1!$C$3</c:f>
              <c:strCache>
                <c:ptCount val="1"/>
                <c:pt idx="0">
                  <c:v>Ympäristölliiketoiminnan vienti M€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D$4:$L$4</c:f>
              <c:numCache>
                <c:formatCode>General</c:formatCod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numCache>
            </c:numRef>
          </c:cat>
          <c:val>
            <c:numRef>
              <c:f>Sheet1!$D$3:$L$3</c:f>
              <c:numCache>
                <c:formatCode>General</c:formatCode>
                <c:ptCount val="9"/>
                <c:pt idx="0">
                  <c:v>6863</c:v>
                </c:pt>
                <c:pt idx="1">
                  <c:v>6782</c:v>
                </c:pt>
                <c:pt idx="2">
                  <c:v>7554</c:v>
                </c:pt>
                <c:pt idx="3">
                  <c:v>7928</c:v>
                </c:pt>
                <c:pt idx="4">
                  <c:v>7940</c:v>
                </c:pt>
                <c:pt idx="5">
                  <c:v>9163</c:v>
                </c:pt>
                <c:pt idx="6">
                  <c:v>8721</c:v>
                </c:pt>
                <c:pt idx="7">
                  <c:v>8793</c:v>
                </c:pt>
                <c:pt idx="8">
                  <c:v>99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369-4092-A2C3-AA01EB4CFE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23014032"/>
        <c:axId val="723014360"/>
        <c:extLst>
          <c:ext xmlns:c15="http://schemas.microsoft.com/office/drawing/2012/chart" uri="{02D57815-91ED-43cb-92C2-25804820EDAC}">
            <c15:filteredLine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1!$C$4</c15:sqref>
                        </c15:formulaRef>
                      </c:ext>
                    </c:extLst>
                    <c:strCache>
                      <c:ptCount val="1"/>
                      <c:pt idx="0">
                        <c:v>Vuosi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Sheet1!$D$4:$L$4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D$4:$L$4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F369-4092-A2C3-AA01EB4CFE11}"/>
                  </c:ext>
                </c:extLst>
              </c15:ser>
            </c15:filteredLineSeries>
          </c:ext>
        </c:extLst>
      </c:lineChart>
      <c:catAx>
        <c:axId val="723014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723014360"/>
        <c:crosses val="autoZero"/>
        <c:auto val="1"/>
        <c:lblAlgn val="ctr"/>
        <c:lblOffset val="100"/>
        <c:noMultiLvlLbl val="0"/>
      </c:catAx>
      <c:valAx>
        <c:axId val="723014360"/>
        <c:scaling>
          <c:orientation val="minMax"/>
          <c:max val="12000"/>
          <c:min val="6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.##0;\-#.##0\ &quot;M€&quot;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7230140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solidFill>
        <a:schemeClr val="tx1"/>
      </a:solidFill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5E4ACE-9DF3-4A0B-A7B6-76EF978FED53}" type="datetimeFigureOut">
              <a:rPr lang="fi-FI" sz="800" smtClean="0"/>
              <a:t>27.10.2022</a:t>
            </a:fld>
            <a:endParaRPr lang="fi-FI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5F8A39-39AB-4533-91BA-CE04D4346C8C}" type="slidenum">
              <a:rPr lang="fi-FI" sz="800" smtClean="0"/>
              <a:t>‹#›</a:t>
            </a:fld>
            <a:endParaRPr lang="fi-FI" sz="800"/>
          </a:p>
        </p:txBody>
      </p:sp>
    </p:spTree>
    <p:extLst>
      <p:ext uri="{BB962C8B-B14F-4D97-AF65-F5344CB8AC3E}">
        <p14:creationId xmlns:p14="http://schemas.microsoft.com/office/powerpoint/2010/main" val="32879816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/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/>
            </a:lvl1pPr>
          </a:lstStyle>
          <a:p>
            <a:fld id="{05795166-6088-45A7-9F12-71FB0D6E0895}" type="datetimeFigureOut">
              <a:rPr lang="fi-FI" smtClean="0"/>
              <a:pPr/>
              <a:t>27.10.2022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/>
            </a:lvl1pPr>
          </a:lstStyle>
          <a:p>
            <a:fld id="{15064A60-D468-4D4D-816D-12BB02F74870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505675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064A60-D468-4D4D-816D-12BB02F74870}" type="slidenum">
              <a:rPr lang="fi-FI" smtClean="0"/>
              <a:pPr/>
              <a:t>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47613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8.svg"/><Relationship Id="rId4" Type="http://schemas.openxmlformats.org/officeDocument/2006/relationships/image" Target="../media/image13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Picture " preserve="1" userDrawn="1">
  <p:cSld name="slide_10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0"/>
                </a:moveTo>
                <a:lnTo>
                  <a:pt x="4295800" y="0"/>
                </a:lnTo>
                <a:lnTo>
                  <a:pt x="4365411" y="475068"/>
                </a:lnTo>
                <a:lnTo>
                  <a:pt x="4435021" y="951160"/>
                </a:lnTo>
                <a:lnTo>
                  <a:pt x="4505655" y="1426228"/>
                </a:lnTo>
                <a:lnTo>
                  <a:pt x="4576289" y="1902320"/>
                </a:lnTo>
                <a:lnTo>
                  <a:pt x="4645899" y="2377389"/>
                </a:lnTo>
                <a:lnTo>
                  <a:pt x="4715509" y="2853481"/>
                </a:lnTo>
                <a:lnTo>
                  <a:pt x="4786143" y="3328550"/>
                </a:lnTo>
                <a:lnTo>
                  <a:pt x="4856777" y="3803618"/>
                </a:lnTo>
                <a:lnTo>
                  <a:pt x="4896701" y="4003270"/>
                </a:lnTo>
                <a:lnTo>
                  <a:pt x="4936624" y="4175277"/>
                </a:lnTo>
                <a:lnTo>
                  <a:pt x="4975524" y="4323737"/>
                </a:lnTo>
                <a:lnTo>
                  <a:pt x="5013400" y="4451718"/>
                </a:lnTo>
                <a:lnTo>
                  <a:pt x="5032850" y="4509054"/>
                </a:lnTo>
                <a:lnTo>
                  <a:pt x="5053324" y="4564342"/>
                </a:lnTo>
                <a:lnTo>
                  <a:pt x="5073797" y="4615535"/>
                </a:lnTo>
                <a:lnTo>
                  <a:pt x="5095295" y="4664680"/>
                </a:lnTo>
                <a:lnTo>
                  <a:pt x="5141360" y="4759899"/>
                </a:lnTo>
                <a:lnTo>
                  <a:pt x="5165928" y="4804948"/>
                </a:lnTo>
                <a:lnTo>
                  <a:pt x="5191520" y="4851022"/>
                </a:lnTo>
                <a:lnTo>
                  <a:pt x="5272391" y="4980027"/>
                </a:lnTo>
                <a:lnTo>
                  <a:pt x="5319481" y="5050673"/>
                </a:lnTo>
                <a:lnTo>
                  <a:pt x="5371688" y="5123367"/>
                </a:lnTo>
                <a:lnTo>
                  <a:pt x="5431062" y="5199132"/>
                </a:lnTo>
                <a:lnTo>
                  <a:pt x="5497601" y="5278993"/>
                </a:lnTo>
                <a:lnTo>
                  <a:pt x="5571306" y="5362949"/>
                </a:lnTo>
                <a:lnTo>
                  <a:pt x="5654224" y="5449976"/>
                </a:lnTo>
                <a:lnTo>
                  <a:pt x="5682887" y="5479668"/>
                </a:lnTo>
                <a:lnTo>
                  <a:pt x="5714621" y="5508336"/>
                </a:lnTo>
                <a:lnTo>
                  <a:pt x="5775018" y="5564648"/>
                </a:lnTo>
                <a:lnTo>
                  <a:pt x="5838486" y="5614817"/>
                </a:lnTo>
                <a:lnTo>
                  <a:pt x="5904002" y="5661914"/>
                </a:lnTo>
                <a:lnTo>
                  <a:pt x="5969517" y="5705940"/>
                </a:lnTo>
                <a:lnTo>
                  <a:pt x="6036057" y="5746894"/>
                </a:lnTo>
                <a:lnTo>
                  <a:pt x="6105667" y="5783753"/>
                </a:lnTo>
                <a:lnTo>
                  <a:pt x="6175277" y="5818564"/>
                </a:lnTo>
                <a:lnTo>
                  <a:pt x="6244887" y="5848256"/>
                </a:lnTo>
                <a:lnTo>
                  <a:pt x="6316545" y="5875900"/>
                </a:lnTo>
                <a:lnTo>
                  <a:pt x="6389226" y="5901496"/>
                </a:lnTo>
                <a:lnTo>
                  <a:pt x="6461908" y="5922997"/>
                </a:lnTo>
                <a:lnTo>
                  <a:pt x="6536636" y="5942450"/>
                </a:lnTo>
                <a:lnTo>
                  <a:pt x="6611365" y="5958832"/>
                </a:lnTo>
                <a:lnTo>
                  <a:pt x="6686094" y="5974190"/>
                </a:lnTo>
                <a:lnTo>
                  <a:pt x="6760822" y="5986476"/>
                </a:lnTo>
                <a:lnTo>
                  <a:pt x="6864214" y="5999786"/>
                </a:lnTo>
                <a:lnTo>
                  <a:pt x="6966582" y="6010025"/>
                </a:lnTo>
                <a:lnTo>
                  <a:pt x="7070997" y="6015144"/>
                </a:lnTo>
                <a:lnTo>
                  <a:pt x="7173365" y="6019239"/>
                </a:lnTo>
                <a:lnTo>
                  <a:pt x="7275733" y="6021287"/>
                </a:lnTo>
                <a:lnTo>
                  <a:pt x="7376054" y="6021287"/>
                </a:lnTo>
                <a:lnTo>
                  <a:pt x="7572601" y="6019239"/>
                </a:lnTo>
                <a:lnTo>
                  <a:pt x="8425326" y="6019239"/>
                </a:lnTo>
                <a:lnTo>
                  <a:pt x="9278052" y="6019239"/>
                </a:lnTo>
                <a:lnTo>
                  <a:pt x="10131802" y="6019239"/>
                </a:lnTo>
                <a:lnTo>
                  <a:pt x="10984527" y="6019239"/>
                </a:lnTo>
                <a:lnTo>
                  <a:pt x="11837253" y="6019239"/>
                </a:lnTo>
                <a:lnTo>
                  <a:pt x="12192000" y="6019239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F91805-4DFE-420B-8952-A989353270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484783"/>
            <a:ext cx="5329238" cy="2808313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E51D44E-6286-4907-8B09-0DDC2EDE3A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620713"/>
            <a:ext cx="5329238" cy="64804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FEDC81-9F96-409E-B43F-42465B281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E97070-5A2A-4987-A53D-E5A2EFA3C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A52473-1558-4E26-A4BF-B2137BBAE8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 7"/>
          <p:cNvSpPr>
            <a:spLocks noChangeAspect="1" noEditPoints="1"/>
          </p:cNvSpPr>
          <p:nvPr userDrawn="1"/>
        </p:nvSpPr>
        <p:spPr bwMode="auto">
          <a:xfrm>
            <a:off x="9592936" y="5013176"/>
            <a:ext cx="1831656" cy="432048"/>
          </a:xfrm>
          <a:custGeom>
            <a:avLst/>
            <a:gdLst>
              <a:gd name="T0" fmla="*/ 11392 w 14503"/>
              <a:gd name="T1" fmla="*/ 2705 h 3419"/>
              <a:gd name="T2" fmla="*/ 10843 w 14503"/>
              <a:gd name="T3" fmla="*/ 2592 h 3419"/>
              <a:gd name="T4" fmla="*/ 9707 w 14503"/>
              <a:gd name="T5" fmla="*/ 2691 h 3419"/>
              <a:gd name="T6" fmla="*/ 9202 w 14503"/>
              <a:gd name="T7" fmla="*/ 2718 h 3419"/>
              <a:gd name="T8" fmla="*/ 9399 w 14503"/>
              <a:gd name="T9" fmla="*/ 2534 h 3419"/>
              <a:gd name="T10" fmla="*/ 9385 w 14503"/>
              <a:gd name="T11" fmla="*/ 2134 h 3419"/>
              <a:gd name="T12" fmla="*/ 9247 w 14503"/>
              <a:gd name="T13" fmla="*/ 2352 h 3419"/>
              <a:gd name="T14" fmla="*/ 8533 w 14503"/>
              <a:gd name="T15" fmla="*/ 2712 h 3419"/>
              <a:gd name="T16" fmla="*/ 8908 w 14503"/>
              <a:gd name="T17" fmla="*/ 2713 h 3419"/>
              <a:gd name="T18" fmla="*/ 7197 w 14503"/>
              <a:gd name="T19" fmla="*/ 2618 h 3419"/>
              <a:gd name="T20" fmla="*/ 7359 w 14503"/>
              <a:gd name="T21" fmla="*/ 2469 h 3419"/>
              <a:gd name="T22" fmla="*/ 7656 w 14503"/>
              <a:gd name="T23" fmla="*/ 2305 h 3419"/>
              <a:gd name="T24" fmla="*/ 7633 w 14503"/>
              <a:gd name="T25" fmla="*/ 2433 h 3419"/>
              <a:gd name="T26" fmla="*/ 6915 w 14503"/>
              <a:gd name="T27" fmla="*/ 2263 h 3419"/>
              <a:gd name="T28" fmla="*/ 6831 w 14503"/>
              <a:gd name="T29" fmla="*/ 2727 h 3419"/>
              <a:gd name="T30" fmla="*/ 6860 w 14503"/>
              <a:gd name="T31" fmla="*/ 2119 h 3419"/>
              <a:gd name="T32" fmla="*/ 14342 w 14503"/>
              <a:gd name="T33" fmla="*/ 1111 h 3419"/>
              <a:gd name="T34" fmla="*/ 14370 w 14503"/>
              <a:gd name="T35" fmla="*/ 961 h 3419"/>
              <a:gd name="T36" fmla="*/ 13472 w 14503"/>
              <a:gd name="T37" fmla="*/ 1376 h 3419"/>
              <a:gd name="T38" fmla="*/ 13655 w 14503"/>
              <a:gd name="T39" fmla="*/ 1536 h 3419"/>
              <a:gd name="T40" fmla="*/ 13703 w 14503"/>
              <a:gd name="T41" fmla="*/ 1130 h 3419"/>
              <a:gd name="T42" fmla="*/ 13709 w 14503"/>
              <a:gd name="T43" fmla="*/ 966 h 3419"/>
              <a:gd name="T44" fmla="*/ 12952 w 14503"/>
              <a:gd name="T45" fmla="*/ 1081 h 3419"/>
              <a:gd name="T46" fmla="*/ 12525 w 14503"/>
              <a:gd name="T47" fmla="*/ 1043 h 3419"/>
              <a:gd name="T48" fmla="*/ 13193 w 14503"/>
              <a:gd name="T49" fmla="*/ 1038 h 3419"/>
              <a:gd name="T50" fmla="*/ 11928 w 14503"/>
              <a:gd name="T51" fmla="*/ 1448 h 3419"/>
              <a:gd name="T52" fmla="*/ 11865 w 14503"/>
              <a:gd name="T53" fmla="*/ 1553 h 3419"/>
              <a:gd name="T54" fmla="*/ 12022 w 14503"/>
              <a:gd name="T55" fmla="*/ 1060 h 3419"/>
              <a:gd name="T56" fmla="*/ 12198 w 14503"/>
              <a:gd name="T57" fmla="*/ 1040 h 3419"/>
              <a:gd name="T58" fmla="*/ 11580 w 14503"/>
              <a:gd name="T59" fmla="*/ 1397 h 3419"/>
              <a:gd name="T60" fmla="*/ 10924 w 14503"/>
              <a:gd name="T61" fmla="*/ 1300 h 3419"/>
              <a:gd name="T62" fmla="*/ 10999 w 14503"/>
              <a:gd name="T63" fmla="*/ 1557 h 3419"/>
              <a:gd name="T64" fmla="*/ 11144 w 14503"/>
              <a:gd name="T65" fmla="*/ 967 h 3419"/>
              <a:gd name="T66" fmla="*/ 10313 w 14503"/>
              <a:gd name="T67" fmla="*/ 1372 h 3419"/>
              <a:gd name="T68" fmla="*/ 10421 w 14503"/>
              <a:gd name="T69" fmla="*/ 1561 h 3419"/>
              <a:gd name="T70" fmla="*/ 10514 w 14503"/>
              <a:gd name="T71" fmla="*/ 967 h 3419"/>
              <a:gd name="T72" fmla="*/ 9776 w 14503"/>
              <a:gd name="T73" fmla="*/ 1082 h 3419"/>
              <a:gd name="T74" fmla="*/ 9989 w 14503"/>
              <a:gd name="T75" fmla="*/ 1025 h 3419"/>
              <a:gd name="T76" fmla="*/ 8701 w 14503"/>
              <a:gd name="T77" fmla="*/ 1199 h 3419"/>
              <a:gd name="T78" fmla="*/ 9009 w 14503"/>
              <a:gd name="T79" fmla="*/ 1500 h 3419"/>
              <a:gd name="T80" fmla="*/ 8681 w 14503"/>
              <a:gd name="T81" fmla="*/ 995 h 3419"/>
              <a:gd name="T82" fmla="*/ 7671 w 14503"/>
              <a:gd name="T83" fmla="*/ 1547 h 3419"/>
              <a:gd name="T84" fmla="*/ 7517 w 14503"/>
              <a:gd name="T85" fmla="*/ 974 h 3419"/>
              <a:gd name="T86" fmla="*/ 6773 w 14503"/>
              <a:gd name="T87" fmla="*/ 1549 h 3419"/>
              <a:gd name="T88" fmla="*/ 6490 w 14503"/>
              <a:gd name="T89" fmla="*/ 1200 h 3419"/>
              <a:gd name="T90" fmla="*/ 11483 w 14503"/>
              <a:gd name="T91" fmla="*/ 2275 h 3419"/>
              <a:gd name="T92" fmla="*/ 11930 w 14503"/>
              <a:gd name="T93" fmla="*/ 2637 h 3419"/>
              <a:gd name="T94" fmla="*/ 11807 w 14503"/>
              <a:gd name="T95" fmla="*/ 2576 h 3419"/>
              <a:gd name="T96" fmla="*/ 3702 w 14503"/>
              <a:gd name="T97" fmla="*/ 2179 h 3419"/>
              <a:gd name="T98" fmla="*/ 5043 w 14503"/>
              <a:gd name="T99" fmla="*/ 96 h 3419"/>
              <a:gd name="T100" fmla="*/ 4150 w 14503"/>
              <a:gd name="T101" fmla="*/ 1837 h 3419"/>
              <a:gd name="T102" fmla="*/ 1316 w 14503"/>
              <a:gd name="T103" fmla="*/ 3417 h 3419"/>
              <a:gd name="T104" fmla="*/ 16 w 14503"/>
              <a:gd name="T105" fmla="*/ 2039 h 3419"/>
              <a:gd name="T106" fmla="*/ 1177 w 14503"/>
              <a:gd name="T107" fmla="*/ 38 h 3419"/>
              <a:gd name="T108" fmla="*/ 2300 w 14503"/>
              <a:gd name="T109" fmla="*/ 878 h 3419"/>
              <a:gd name="T110" fmla="*/ 988 w 14503"/>
              <a:gd name="T111" fmla="*/ 2066 h 3419"/>
              <a:gd name="T112" fmla="*/ 1544 w 14503"/>
              <a:gd name="T113" fmla="*/ 1314 h 3419"/>
              <a:gd name="T114" fmla="*/ 1318 w 14503"/>
              <a:gd name="T115" fmla="*/ 478 h 3419"/>
              <a:gd name="T116" fmla="*/ 552 w 14503"/>
              <a:gd name="T117" fmla="*/ 2103 h 3419"/>
              <a:gd name="T118" fmla="*/ 1821 w 14503"/>
              <a:gd name="T119" fmla="*/ 2775 h 3419"/>
              <a:gd name="T120" fmla="*/ 2969 w 14503"/>
              <a:gd name="T121" fmla="*/ 185 h 3419"/>
              <a:gd name="T122" fmla="*/ 3355 w 14503"/>
              <a:gd name="T123" fmla="*/ 1462 h 3419"/>
              <a:gd name="T124" fmla="*/ 1720 w 14503"/>
              <a:gd name="T125" fmla="*/ 3383 h 34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503" h="3419">
                <a:moveTo>
                  <a:pt x="11272" y="2721"/>
                </a:moveTo>
                <a:lnTo>
                  <a:pt x="11231" y="2717"/>
                </a:lnTo>
                <a:lnTo>
                  <a:pt x="11196" y="2709"/>
                </a:lnTo>
                <a:lnTo>
                  <a:pt x="11180" y="2702"/>
                </a:lnTo>
                <a:lnTo>
                  <a:pt x="11166" y="2693"/>
                </a:lnTo>
                <a:lnTo>
                  <a:pt x="11153" y="2684"/>
                </a:lnTo>
                <a:lnTo>
                  <a:pt x="11141" y="2674"/>
                </a:lnTo>
                <a:lnTo>
                  <a:pt x="11131" y="2661"/>
                </a:lnTo>
                <a:lnTo>
                  <a:pt x="11122" y="2648"/>
                </a:lnTo>
                <a:lnTo>
                  <a:pt x="11108" y="2617"/>
                </a:lnTo>
                <a:lnTo>
                  <a:pt x="11100" y="2581"/>
                </a:lnTo>
                <a:lnTo>
                  <a:pt x="11098" y="2563"/>
                </a:lnTo>
                <a:lnTo>
                  <a:pt x="11097" y="2542"/>
                </a:lnTo>
                <a:lnTo>
                  <a:pt x="11097" y="2247"/>
                </a:lnTo>
                <a:lnTo>
                  <a:pt x="10992" y="2247"/>
                </a:lnTo>
                <a:lnTo>
                  <a:pt x="10992" y="2132"/>
                </a:lnTo>
                <a:lnTo>
                  <a:pt x="11097" y="2132"/>
                </a:lnTo>
                <a:lnTo>
                  <a:pt x="11097" y="1985"/>
                </a:lnTo>
                <a:lnTo>
                  <a:pt x="11236" y="1950"/>
                </a:lnTo>
                <a:lnTo>
                  <a:pt x="11236" y="2132"/>
                </a:lnTo>
                <a:lnTo>
                  <a:pt x="11383" y="2132"/>
                </a:lnTo>
                <a:lnTo>
                  <a:pt x="11383" y="2247"/>
                </a:lnTo>
                <a:lnTo>
                  <a:pt x="11236" y="2247"/>
                </a:lnTo>
                <a:lnTo>
                  <a:pt x="11236" y="2530"/>
                </a:lnTo>
                <a:lnTo>
                  <a:pt x="11237" y="2546"/>
                </a:lnTo>
                <a:lnTo>
                  <a:pt x="11241" y="2559"/>
                </a:lnTo>
                <a:lnTo>
                  <a:pt x="11245" y="2569"/>
                </a:lnTo>
                <a:lnTo>
                  <a:pt x="11253" y="2578"/>
                </a:lnTo>
                <a:lnTo>
                  <a:pt x="11261" y="2585"/>
                </a:lnTo>
                <a:lnTo>
                  <a:pt x="11272" y="2590"/>
                </a:lnTo>
                <a:lnTo>
                  <a:pt x="11286" y="2592"/>
                </a:lnTo>
                <a:lnTo>
                  <a:pt x="11302" y="2593"/>
                </a:lnTo>
                <a:lnTo>
                  <a:pt x="11343" y="2592"/>
                </a:lnTo>
                <a:lnTo>
                  <a:pt x="11392" y="2588"/>
                </a:lnTo>
                <a:lnTo>
                  <a:pt x="11392" y="2705"/>
                </a:lnTo>
                <a:lnTo>
                  <a:pt x="11362" y="2712"/>
                </a:lnTo>
                <a:lnTo>
                  <a:pt x="11333" y="2716"/>
                </a:lnTo>
                <a:lnTo>
                  <a:pt x="11303" y="2720"/>
                </a:lnTo>
                <a:lnTo>
                  <a:pt x="11272" y="2721"/>
                </a:lnTo>
                <a:close/>
                <a:moveTo>
                  <a:pt x="10830" y="2721"/>
                </a:moveTo>
                <a:lnTo>
                  <a:pt x="10789" y="2717"/>
                </a:lnTo>
                <a:lnTo>
                  <a:pt x="10753" y="2709"/>
                </a:lnTo>
                <a:lnTo>
                  <a:pt x="10738" y="2702"/>
                </a:lnTo>
                <a:lnTo>
                  <a:pt x="10722" y="2693"/>
                </a:lnTo>
                <a:lnTo>
                  <a:pt x="10710" y="2684"/>
                </a:lnTo>
                <a:lnTo>
                  <a:pt x="10698" y="2674"/>
                </a:lnTo>
                <a:lnTo>
                  <a:pt x="10688" y="2661"/>
                </a:lnTo>
                <a:lnTo>
                  <a:pt x="10679" y="2648"/>
                </a:lnTo>
                <a:lnTo>
                  <a:pt x="10666" y="2617"/>
                </a:lnTo>
                <a:lnTo>
                  <a:pt x="10657" y="2581"/>
                </a:lnTo>
                <a:lnTo>
                  <a:pt x="10655" y="2563"/>
                </a:lnTo>
                <a:lnTo>
                  <a:pt x="10655" y="2542"/>
                </a:lnTo>
                <a:lnTo>
                  <a:pt x="10655" y="2247"/>
                </a:lnTo>
                <a:lnTo>
                  <a:pt x="10549" y="2247"/>
                </a:lnTo>
                <a:lnTo>
                  <a:pt x="10549" y="2132"/>
                </a:lnTo>
                <a:lnTo>
                  <a:pt x="10655" y="2132"/>
                </a:lnTo>
                <a:lnTo>
                  <a:pt x="10655" y="1985"/>
                </a:lnTo>
                <a:lnTo>
                  <a:pt x="10794" y="1950"/>
                </a:lnTo>
                <a:lnTo>
                  <a:pt x="10794" y="2132"/>
                </a:lnTo>
                <a:lnTo>
                  <a:pt x="10940" y="2132"/>
                </a:lnTo>
                <a:lnTo>
                  <a:pt x="10940" y="2247"/>
                </a:lnTo>
                <a:lnTo>
                  <a:pt x="10794" y="2247"/>
                </a:lnTo>
                <a:lnTo>
                  <a:pt x="10794" y="2530"/>
                </a:lnTo>
                <a:lnTo>
                  <a:pt x="10795" y="2546"/>
                </a:lnTo>
                <a:lnTo>
                  <a:pt x="10798" y="2559"/>
                </a:lnTo>
                <a:lnTo>
                  <a:pt x="10803" y="2569"/>
                </a:lnTo>
                <a:lnTo>
                  <a:pt x="10809" y="2578"/>
                </a:lnTo>
                <a:lnTo>
                  <a:pt x="10819" y="2585"/>
                </a:lnTo>
                <a:lnTo>
                  <a:pt x="10830" y="2590"/>
                </a:lnTo>
                <a:lnTo>
                  <a:pt x="10843" y="2592"/>
                </a:lnTo>
                <a:lnTo>
                  <a:pt x="10859" y="2593"/>
                </a:lnTo>
                <a:lnTo>
                  <a:pt x="10901" y="2592"/>
                </a:lnTo>
                <a:lnTo>
                  <a:pt x="10949" y="2588"/>
                </a:lnTo>
                <a:lnTo>
                  <a:pt x="10949" y="2705"/>
                </a:lnTo>
                <a:lnTo>
                  <a:pt x="10920" y="2712"/>
                </a:lnTo>
                <a:lnTo>
                  <a:pt x="10891" y="2716"/>
                </a:lnTo>
                <a:lnTo>
                  <a:pt x="10860" y="2720"/>
                </a:lnTo>
                <a:lnTo>
                  <a:pt x="10830" y="2721"/>
                </a:lnTo>
                <a:close/>
                <a:moveTo>
                  <a:pt x="10307" y="2713"/>
                </a:moveTo>
                <a:lnTo>
                  <a:pt x="10307" y="2132"/>
                </a:lnTo>
                <a:lnTo>
                  <a:pt x="10450" y="2132"/>
                </a:lnTo>
                <a:lnTo>
                  <a:pt x="10450" y="2713"/>
                </a:lnTo>
                <a:lnTo>
                  <a:pt x="10307" y="2713"/>
                </a:lnTo>
                <a:close/>
                <a:moveTo>
                  <a:pt x="10303" y="2052"/>
                </a:moveTo>
                <a:lnTo>
                  <a:pt x="10303" y="1908"/>
                </a:lnTo>
                <a:lnTo>
                  <a:pt x="10453" y="1908"/>
                </a:lnTo>
                <a:lnTo>
                  <a:pt x="10453" y="2052"/>
                </a:lnTo>
                <a:lnTo>
                  <a:pt x="10303" y="2052"/>
                </a:lnTo>
                <a:close/>
                <a:moveTo>
                  <a:pt x="9992" y="2713"/>
                </a:moveTo>
                <a:lnTo>
                  <a:pt x="9992" y="2132"/>
                </a:lnTo>
                <a:lnTo>
                  <a:pt x="10133" y="2132"/>
                </a:lnTo>
                <a:lnTo>
                  <a:pt x="10133" y="2713"/>
                </a:lnTo>
                <a:lnTo>
                  <a:pt x="9992" y="2713"/>
                </a:lnTo>
                <a:close/>
                <a:moveTo>
                  <a:pt x="9988" y="2052"/>
                </a:moveTo>
                <a:lnTo>
                  <a:pt x="9988" y="1908"/>
                </a:lnTo>
                <a:lnTo>
                  <a:pt x="10137" y="1908"/>
                </a:lnTo>
                <a:lnTo>
                  <a:pt x="10137" y="2052"/>
                </a:lnTo>
                <a:lnTo>
                  <a:pt x="9988" y="2052"/>
                </a:lnTo>
                <a:close/>
                <a:moveTo>
                  <a:pt x="9812" y="2720"/>
                </a:moveTo>
                <a:lnTo>
                  <a:pt x="9777" y="2717"/>
                </a:lnTo>
                <a:lnTo>
                  <a:pt x="9762" y="2715"/>
                </a:lnTo>
                <a:lnTo>
                  <a:pt x="9747" y="2711"/>
                </a:lnTo>
                <a:lnTo>
                  <a:pt x="9732" y="2705"/>
                </a:lnTo>
                <a:lnTo>
                  <a:pt x="9719" y="2699"/>
                </a:lnTo>
                <a:lnTo>
                  <a:pt x="9707" y="2691"/>
                </a:lnTo>
                <a:lnTo>
                  <a:pt x="9697" y="2683"/>
                </a:lnTo>
                <a:lnTo>
                  <a:pt x="9687" y="2673"/>
                </a:lnTo>
                <a:lnTo>
                  <a:pt x="9678" y="2662"/>
                </a:lnTo>
                <a:lnTo>
                  <a:pt x="9671" y="2649"/>
                </a:lnTo>
                <a:lnTo>
                  <a:pt x="9665" y="2635"/>
                </a:lnTo>
                <a:lnTo>
                  <a:pt x="9656" y="2602"/>
                </a:lnTo>
                <a:lnTo>
                  <a:pt x="9654" y="2584"/>
                </a:lnTo>
                <a:lnTo>
                  <a:pt x="9653" y="2563"/>
                </a:lnTo>
                <a:lnTo>
                  <a:pt x="9653" y="1906"/>
                </a:lnTo>
                <a:lnTo>
                  <a:pt x="9793" y="1906"/>
                </a:lnTo>
                <a:lnTo>
                  <a:pt x="9793" y="2540"/>
                </a:lnTo>
                <a:lnTo>
                  <a:pt x="9794" y="2552"/>
                </a:lnTo>
                <a:lnTo>
                  <a:pt x="9796" y="2563"/>
                </a:lnTo>
                <a:lnTo>
                  <a:pt x="9799" y="2573"/>
                </a:lnTo>
                <a:lnTo>
                  <a:pt x="9803" y="2580"/>
                </a:lnTo>
                <a:lnTo>
                  <a:pt x="9811" y="2587"/>
                </a:lnTo>
                <a:lnTo>
                  <a:pt x="9820" y="2591"/>
                </a:lnTo>
                <a:lnTo>
                  <a:pt x="9834" y="2594"/>
                </a:lnTo>
                <a:lnTo>
                  <a:pt x="9850" y="2596"/>
                </a:lnTo>
                <a:lnTo>
                  <a:pt x="9873" y="2594"/>
                </a:lnTo>
                <a:lnTo>
                  <a:pt x="9873" y="2712"/>
                </a:lnTo>
                <a:lnTo>
                  <a:pt x="9842" y="2717"/>
                </a:lnTo>
                <a:lnTo>
                  <a:pt x="9812" y="2720"/>
                </a:lnTo>
                <a:close/>
                <a:moveTo>
                  <a:pt x="9479" y="2661"/>
                </a:moveTo>
                <a:lnTo>
                  <a:pt x="9461" y="2677"/>
                </a:lnTo>
                <a:lnTo>
                  <a:pt x="9439" y="2691"/>
                </a:lnTo>
                <a:lnTo>
                  <a:pt x="9416" y="2702"/>
                </a:lnTo>
                <a:lnTo>
                  <a:pt x="9392" y="2712"/>
                </a:lnTo>
                <a:lnTo>
                  <a:pt x="9366" y="2718"/>
                </a:lnTo>
                <a:lnTo>
                  <a:pt x="9338" y="2724"/>
                </a:lnTo>
                <a:lnTo>
                  <a:pt x="9310" y="2726"/>
                </a:lnTo>
                <a:lnTo>
                  <a:pt x="9280" y="2727"/>
                </a:lnTo>
                <a:lnTo>
                  <a:pt x="9253" y="2726"/>
                </a:lnTo>
                <a:lnTo>
                  <a:pt x="9227" y="2724"/>
                </a:lnTo>
                <a:lnTo>
                  <a:pt x="9202" y="2718"/>
                </a:lnTo>
                <a:lnTo>
                  <a:pt x="9177" y="2711"/>
                </a:lnTo>
                <a:lnTo>
                  <a:pt x="9154" y="2702"/>
                </a:lnTo>
                <a:lnTo>
                  <a:pt x="9133" y="2690"/>
                </a:lnTo>
                <a:lnTo>
                  <a:pt x="9112" y="2676"/>
                </a:lnTo>
                <a:lnTo>
                  <a:pt x="9102" y="2668"/>
                </a:lnTo>
                <a:lnTo>
                  <a:pt x="9094" y="2661"/>
                </a:lnTo>
                <a:lnTo>
                  <a:pt x="9082" y="2648"/>
                </a:lnTo>
                <a:lnTo>
                  <a:pt x="9070" y="2634"/>
                </a:lnTo>
                <a:lnTo>
                  <a:pt x="9059" y="2618"/>
                </a:lnTo>
                <a:lnTo>
                  <a:pt x="9050" y="2601"/>
                </a:lnTo>
                <a:lnTo>
                  <a:pt x="9037" y="2565"/>
                </a:lnTo>
                <a:lnTo>
                  <a:pt x="9033" y="2546"/>
                </a:lnTo>
                <a:lnTo>
                  <a:pt x="9032" y="2526"/>
                </a:lnTo>
                <a:lnTo>
                  <a:pt x="9162" y="2526"/>
                </a:lnTo>
                <a:lnTo>
                  <a:pt x="9165" y="2544"/>
                </a:lnTo>
                <a:lnTo>
                  <a:pt x="9167" y="2554"/>
                </a:lnTo>
                <a:lnTo>
                  <a:pt x="9172" y="2564"/>
                </a:lnTo>
                <a:lnTo>
                  <a:pt x="9182" y="2580"/>
                </a:lnTo>
                <a:lnTo>
                  <a:pt x="9187" y="2588"/>
                </a:lnTo>
                <a:lnTo>
                  <a:pt x="9194" y="2593"/>
                </a:lnTo>
                <a:lnTo>
                  <a:pt x="9211" y="2605"/>
                </a:lnTo>
                <a:lnTo>
                  <a:pt x="9232" y="2613"/>
                </a:lnTo>
                <a:lnTo>
                  <a:pt x="9254" y="2617"/>
                </a:lnTo>
                <a:lnTo>
                  <a:pt x="9282" y="2619"/>
                </a:lnTo>
                <a:lnTo>
                  <a:pt x="9320" y="2616"/>
                </a:lnTo>
                <a:lnTo>
                  <a:pt x="9340" y="2613"/>
                </a:lnTo>
                <a:lnTo>
                  <a:pt x="9359" y="2606"/>
                </a:lnTo>
                <a:lnTo>
                  <a:pt x="9367" y="2602"/>
                </a:lnTo>
                <a:lnTo>
                  <a:pt x="9375" y="2597"/>
                </a:lnTo>
                <a:lnTo>
                  <a:pt x="9382" y="2591"/>
                </a:lnTo>
                <a:lnTo>
                  <a:pt x="9388" y="2584"/>
                </a:lnTo>
                <a:lnTo>
                  <a:pt x="9397" y="2567"/>
                </a:lnTo>
                <a:lnTo>
                  <a:pt x="9399" y="2556"/>
                </a:lnTo>
                <a:lnTo>
                  <a:pt x="9400" y="2546"/>
                </a:lnTo>
                <a:lnTo>
                  <a:pt x="9399" y="2534"/>
                </a:lnTo>
                <a:lnTo>
                  <a:pt x="9396" y="2523"/>
                </a:lnTo>
                <a:lnTo>
                  <a:pt x="9391" y="2513"/>
                </a:lnTo>
                <a:lnTo>
                  <a:pt x="9385" y="2504"/>
                </a:lnTo>
                <a:lnTo>
                  <a:pt x="9376" y="2498"/>
                </a:lnTo>
                <a:lnTo>
                  <a:pt x="9366" y="2491"/>
                </a:lnTo>
                <a:lnTo>
                  <a:pt x="9342" y="2485"/>
                </a:lnTo>
                <a:lnTo>
                  <a:pt x="9302" y="2479"/>
                </a:lnTo>
                <a:lnTo>
                  <a:pt x="9262" y="2474"/>
                </a:lnTo>
                <a:lnTo>
                  <a:pt x="9221" y="2469"/>
                </a:lnTo>
                <a:lnTo>
                  <a:pt x="9182" y="2462"/>
                </a:lnTo>
                <a:lnTo>
                  <a:pt x="9153" y="2453"/>
                </a:lnTo>
                <a:lnTo>
                  <a:pt x="9127" y="2441"/>
                </a:lnTo>
                <a:lnTo>
                  <a:pt x="9104" y="2425"/>
                </a:lnTo>
                <a:lnTo>
                  <a:pt x="9085" y="2405"/>
                </a:lnTo>
                <a:lnTo>
                  <a:pt x="9070" y="2383"/>
                </a:lnTo>
                <a:lnTo>
                  <a:pt x="9059" y="2359"/>
                </a:lnTo>
                <a:lnTo>
                  <a:pt x="9051" y="2333"/>
                </a:lnTo>
                <a:lnTo>
                  <a:pt x="9049" y="2306"/>
                </a:lnTo>
                <a:lnTo>
                  <a:pt x="9050" y="2286"/>
                </a:lnTo>
                <a:lnTo>
                  <a:pt x="9053" y="2265"/>
                </a:lnTo>
                <a:lnTo>
                  <a:pt x="9059" y="2247"/>
                </a:lnTo>
                <a:lnTo>
                  <a:pt x="9065" y="2230"/>
                </a:lnTo>
                <a:lnTo>
                  <a:pt x="9084" y="2201"/>
                </a:lnTo>
                <a:lnTo>
                  <a:pt x="9108" y="2176"/>
                </a:lnTo>
                <a:lnTo>
                  <a:pt x="9144" y="2152"/>
                </a:lnTo>
                <a:lnTo>
                  <a:pt x="9163" y="2141"/>
                </a:lnTo>
                <a:lnTo>
                  <a:pt x="9185" y="2133"/>
                </a:lnTo>
                <a:lnTo>
                  <a:pt x="9208" y="2127"/>
                </a:lnTo>
                <a:lnTo>
                  <a:pt x="9232" y="2121"/>
                </a:lnTo>
                <a:lnTo>
                  <a:pt x="9258" y="2119"/>
                </a:lnTo>
                <a:lnTo>
                  <a:pt x="9284" y="2118"/>
                </a:lnTo>
                <a:lnTo>
                  <a:pt x="9310" y="2119"/>
                </a:lnTo>
                <a:lnTo>
                  <a:pt x="9336" y="2122"/>
                </a:lnTo>
                <a:lnTo>
                  <a:pt x="9361" y="2128"/>
                </a:lnTo>
                <a:lnTo>
                  <a:pt x="9385" y="2134"/>
                </a:lnTo>
                <a:lnTo>
                  <a:pt x="9408" y="2144"/>
                </a:lnTo>
                <a:lnTo>
                  <a:pt x="9429" y="2156"/>
                </a:lnTo>
                <a:lnTo>
                  <a:pt x="9449" y="2170"/>
                </a:lnTo>
                <a:lnTo>
                  <a:pt x="9466" y="2185"/>
                </a:lnTo>
                <a:lnTo>
                  <a:pt x="9477" y="2199"/>
                </a:lnTo>
                <a:lnTo>
                  <a:pt x="9487" y="2213"/>
                </a:lnTo>
                <a:lnTo>
                  <a:pt x="9503" y="2242"/>
                </a:lnTo>
                <a:lnTo>
                  <a:pt x="9514" y="2274"/>
                </a:lnTo>
                <a:lnTo>
                  <a:pt x="9517" y="2305"/>
                </a:lnTo>
                <a:lnTo>
                  <a:pt x="9385" y="2305"/>
                </a:lnTo>
                <a:lnTo>
                  <a:pt x="9383" y="2290"/>
                </a:lnTo>
                <a:lnTo>
                  <a:pt x="9378" y="2275"/>
                </a:lnTo>
                <a:lnTo>
                  <a:pt x="9371" y="2263"/>
                </a:lnTo>
                <a:lnTo>
                  <a:pt x="9361" y="2251"/>
                </a:lnTo>
                <a:lnTo>
                  <a:pt x="9346" y="2240"/>
                </a:lnTo>
                <a:lnTo>
                  <a:pt x="9327" y="2231"/>
                </a:lnTo>
                <a:lnTo>
                  <a:pt x="9307" y="2226"/>
                </a:lnTo>
                <a:lnTo>
                  <a:pt x="9285" y="2224"/>
                </a:lnTo>
                <a:lnTo>
                  <a:pt x="9255" y="2225"/>
                </a:lnTo>
                <a:lnTo>
                  <a:pt x="9240" y="2228"/>
                </a:lnTo>
                <a:lnTo>
                  <a:pt x="9225" y="2233"/>
                </a:lnTo>
                <a:lnTo>
                  <a:pt x="9216" y="2238"/>
                </a:lnTo>
                <a:lnTo>
                  <a:pt x="9208" y="2242"/>
                </a:lnTo>
                <a:lnTo>
                  <a:pt x="9194" y="2256"/>
                </a:lnTo>
                <a:lnTo>
                  <a:pt x="9188" y="2264"/>
                </a:lnTo>
                <a:lnTo>
                  <a:pt x="9184" y="2274"/>
                </a:lnTo>
                <a:lnTo>
                  <a:pt x="9182" y="2283"/>
                </a:lnTo>
                <a:lnTo>
                  <a:pt x="9181" y="2294"/>
                </a:lnTo>
                <a:lnTo>
                  <a:pt x="9182" y="2308"/>
                </a:lnTo>
                <a:lnTo>
                  <a:pt x="9186" y="2320"/>
                </a:lnTo>
                <a:lnTo>
                  <a:pt x="9194" y="2330"/>
                </a:lnTo>
                <a:lnTo>
                  <a:pt x="9202" y="2337"/>
                </a:lnTo>
                <a:lnTo>
                  <a:pt x="9212" y="2343"/>
                </a:lnTo>
                <a:lnTo>
                  <a:pt x="9224" y="2348"/>
                </a:lnTo>
                <a:lnTo>
                  <a:pt x="9247" y="2352"/>
                </a:lnTo>
                <a:lnTo>
                  <a:pt x="9308" y="2359"/>
                </a:lnTo>
                <a:lnTo>
                  <a:pt x="9371" y="2369"/>
                </a:lnTo>
                <a:lnTo>
                  <a:pt x="9404" y="2377"/>
                </a:lnTo>
                <a:lnTo>
                  <a:pt x="9420" y="2381"/>
                </a:lnTo>
                <a:lnTo>
                  <a:pt x="9435" y="2388"/>
                </a:lnTo>
                <a:lnTo>
                  <a:pt x="9461" y="2403"/>
                </a:lnTo>
                <a:lnTo>
                  <a:pt x="9474" y="2413"/>
                </a:lnTo>
                <a:lnTo>
                  <a:pt x="9485" y="2423"/>
                </a:lnTo>
                <a:lnTo>
                  <a:pt x="9495" y="2433"/>
                </a:lnTo>
                <a:lnTo>
                  <a:pt x="9503" y="2444"/>
                </a:lnTo>
                <a:lnTo>
                  <a:pt x="9517" y="2470"/>
                </a:lnTo>
                <a:lnTo>
                  <a:pt x="9523" y="2486"/>
                </a:lnTo>
                <a:lnTo>
                  <a:pt x="9526" y="2501"/>
                </a:lnTo>
                <a:lnTo>
                  <a:pt x="9529" y="2534"/>
                </a:lnTo>
                <a:lnTo>
                  <a:pt x="9528" y="2553"/>
                </a:lnTo>
                <a:lnTo>
                  <a:pt x="9526" y="2573"/>
                </a:lnTo>
                <a:lnTo>
                  <a:pt x="9522" y="2590"/>
                </a:lnTo>
                <a:lnTo>
                  <a:pt x="9515" y="2606"/>
                </a:lnTo>
                <a:lnTo>
                  <a:pt x="9509" y="2622"/>
                </a:lnTo>
                <a:lnTo>
                  <a:pt x="9500" y="2636"/>
                </a:lnTo>
                <a:lnTo>
                  <a:pt x="9479" y="2661"/>
                </a:lnTo>
                <a:close/>
                <a:moveTo>
                  <a:pt x="8793" y="2713"/>
                </a:moveTo>
                <a:lnTo>
                  <a:pt x="8782" y="2637"/>
                </a:lnTo>
                <a:lnTo>
                  <a:pt x="8770" y="2658"/>
                </a:lnTo>
                <a:lnTo>
                  <a:pt x="8755" y="2675"/>
                </a:lnTo>
                <a:lnTo>
                  <a:pt x="8737" y="2690"/>
                </a:lnTo>
                <a:lnTo>
                  <a:pt x="8717" y="2703"/>
                </a:lnTo>
                <a:lnTo>
                  <a:pt x="8694" y="2714"/>
                </a:lnTo>
                <a:lnTo>
                  <a:pt x="8669" y="2722"/>
                </a:lnTo>
                <a:lnTo>
                  <a:pt x="8643" y="2726"/>
                </a:lnTo>
                <a:lnTo>
                  <a:pt x="8615" y="2727"/>
                </a:lnTo>
                <a:lnTo>
                  <a:pt x="8594" y="2726"/>
                </a:lnTo>
                <a:lnTo>
                  <a:pt x="8572" y="2724"/>
                </a:lnTo>
                <a:lnTo>
                  <a:pt x="8551" y="2718"/>
                </a:lnTo>
                <a:lnTo>
                  <a:pt x="8533" y="2712"/>
                </a:lnTo>
                <a:lnTo>
                  <a:pt x="8514" y="2704"/>
                </a:lnTo>
                <a:lnTo>
                  <a:pt x="8498" y="2695"/>
                </a:lnTo>
                <a:lnTo>
                  <a:pt x="8483" y="2683"/>
                </a:lnTo>
                <a:lnTo>
                  <a:pt x="8469" y="2671"/>
                </a:lnTo>
                <a:lnTo>
                  <a:pt x="8457" y="2655"/>
                </a:lnTo>
                <a:lnTo>
                  <a:pt x="8446" y="2640"/>
                </a:lnTo>
                <a:lnTo>
                  <a:pt x="8430" y="2604"/>
                </a:lnTo>
                <a:lnTo>
                  <a:pt x="8419" y="2564"/>
                </a:lnTo>
                <a:lnTo>
                  <a:pt x="8417" y="2542"/>
                </a:lnTo>
                <a:lnTo>
                  <a:pt x="8416" y="2519"/>
                </a:lnTo>
                <a:lnTo>
                  <a:pt x="8416" y="2132"/>
                </a:lnTo>
                <a:lnTo>
                  <a:pt x="8555" y="2132"/>
                </a:lnTo>
                <a:lnTo>
                  <a:pt x="8555" y="2489"/>
                </a:lnTo>
                <a:lnTo>
                  <a:pt x="8556" y="2513"/>
                </a:lnTo>
                <a:lnTo>
                  <a:pt x="8560" y="2535"/>
                </a:lnTo>
                <a:lnTo>
                  <a:pt x="8567" y="2553"/>
                </a:lnTo>
                <a:lnTo>
                  <a:pt x="8577" y="2569"/>
                </a:lnTo>
                <a:lnTo>
                  <a:pt x="8590" y="2582"/>
                </a:lnTo>
                <a:lnTo>
                  <a:pt x="8608" y="2591"/>
                </a:lnTo>
                <a:lnTo>
                  <a:pt x="8630" y="2597"/>
                </a:lnTo>
                <a:lnTo>
                  <a:pt x="8655" y="2599"/>
                </a:lnTo>
                <a:lnTo>
                  <a:pt x="8677" y="2597"/>
                </a:lnTo>
                <a:lnTo>
                  <a:pt x="8697" y="2591"/>
                </a:lnTo>
                <a:lnTo>
                  <a:pt x="8713" y="2581"/>
                </a:lnTo>
                <a:lnTo>
                  <a:pt x="8726" y="2571"/>
                </a:lnTo>
                <a:lnTo>
                  <a:pt x="8738" y="2557"/>
                </a:lnTo>
                <a:lnTo>
                  <a:pt x="8747" y="2543"/>
                </a:lnTo>
                <a:lnTo>
                  <a:pt x="8755" y="2527"/>
                </a:lnTo>
                <a:lnTo>
                  <a:pt x="8760" y="2511"/>
                </a:lnTo>
                <a:lnTo>
                  <a:pt x="8764" y="2493"/>
                </a:lnTo>
                <a:lnTo>
                  <a:pt x="8767" y="2475"/>
                </a:lnTo>
                <a:lnTo>
                  <a:pt x="8769" y="2439"/>
                </a:lnTo>
                <a:lnTo>
                  <a:pt x="8769" y="2132"/>
                </a:lnTo>
                <a:lnTo>
                  <a:pt x="8908" y="2132"/>
                </a:lnTo>
                <a:lnTo>
                  <a:pt x="8908" y="2713"/>
                </a:lnTo>
                <a:lnTo>
                  <a:pt x="8793" y="2713"/>
                </a:lnTo>
                <a:close/>
                <a:moveTo>
                  <a:pt x="8190" y="2713"/>
                </a:moveTo>
                <a:lnTo>
                  <a:pt x="8028" y="2460"/>
                </a:lnTo>
                <a:lnTo>
                  <a:pt x="7934" y="2560"/>
                </a:lnTo>
                <a:lnTo>
                  <a:pt x="7934" y="2713"/>
                </a:lnTo>
                <a:lnTo>
                  <a:pt x="7795" y="2713"/>
                </a:lnTo>
                <a:lnTo>
                  <a:pt x="7795" y="1907"/>
                </a:lnTo>
                <a:lnTo>
                  <a:pt x="7934" y="1907"/>
                </a:lnTo>
                <a:lnTo>
                  <a:pt x="7934" y="2368"/>
                </a:lnTo>
                <a:lnTo>
                  <a:pt x="8155" y="2132"/>
                </a:lnTo>
                <a:lnTo>
                  <a:pt x="8330" y="2132"/>
                </a:lnTo>
                <a:lnTo>
                  <a:pt x="8122" y="2357"/>
                </a:lnTo>
                <a:lnTo>
                  <a:pt x="8351" y="2713"/>
                </a:lnTo>
                <a:lnTo>
                  <a:pt x="8190" y="2713"/>
                </a:lnTo>
                <a:close/>
                <a:moveTo>
                  <a:pt x="7618" y="2661"/>
                </a:moveTo>
                <a:lnTo>
                  <a:pt x="7600" y="2677"/>
                </a:lnTo>
                <a:lnTo>
                  <a:pt x="7578" y="2691"/>
                </a:lnTo>
                <a:lnTo>
                  <a:pt x="7555" y="2702"/>
                </a:lnTo>
                <a:lnTo>
                  <a:pt x="7531" y="2712"/>
                </a:lnTo>
                <a:lnTo>
                  <a:pt x="7505" y="2718"/>
                </a:lnTo>
                <a:lnTo>
                  <a:pt x="7477" y="2724"/>
                </a:lnTo>
                <a:lnTo>
                  <a:pt x="7448" y="2726"/>
                </a:lnTo>
                <a:lnTo>
                  <a:pt x="7419" y="2727"/>
                </a:lnTo>
                <a:lnTo>
                  <a:pt x="7392" y="2726"/>
                </a:lnTo>
                <a:lnTo>
                  <a:pt x="7366" y="2724"/>
                </a:lnTo>
                <a:lnTo>
                  <a:pt x="7340" y="2718"/>
                </a:lnTo>
                <a:lnTo>
                  <a:pt x="7316" y="2711"/>
                </a:lnTo>
                <a:lnTo>
                  <a:pt x="7293" y="2702"/>
                </a:lnTo>
                <a:lnTo>
                  <a:pt x="7271" y="2690"/>
                </a:lnTo>
                <a:lnTo>
                  <a:pt x="7251" y="2676"/>
                </a:lnTo>
                <a:lnTo>
                  <a:pt x="7241" y="2668"/>
                </a:lnTo>
                <a:lnTo>
                  <a:pt x="7232" y="2661"/>
                </a:lnTo>
                <a:lnTo>
                  <a:pt x="7219" y="2648"/>
                </a:lnTo>
                <a:lnTo>
                  <a:pt x="7208" y="2634"/>
                </a:lnTo>
                <a:lnTo>
                  <a:pt x="7197" y="2618"/>
                </a:lnTo>
                <a:lnTo>
                  <a:pt x="7189" y="2601"/>
                </a:lnTo>
                <a:lnTo>
                  <a:pt x="7176" y="2565"/>
                </a:lnTo>
                <a:lnTo>
                  <a:pt x="7171" y="2546"/>
                </a:lnTo>
                <a:lnTo>
                  <a:pt x="7170" y="2526"/>
                </a:lnTo>
                <a:lnTo>
                  <a:pt x="7301" y="2526"/>
                </a:lnTo>
                <a:lnTo>
                  <a:pt x="7304" y="2544"/>
                </a:lnTo>
                <a:lnTo>
                  <a:pt x="7306" y="2554"/>
                </a:lnTo>
                <a:lnTo>
                  <a:pt x="7311" y="2564"/>
                </a:lnTo>
                <a:lnTo>
                  <a:pt x="7320" y="2580"/>
                </a:lnTo>
                <a:lnTo>
                  <a:pt x="7326" y="2588"/>
                </a:lnTo>
                <a:lnTo>
                  <a:pt x="7332" y="2593"/>
                </a:lnTo>
                <a:lnTo>
                  <a:pt x="7350" y="2605"/>
                </a:lnTo>
                <a:lnTo>
                  <a:pt x="7370" y="2613"/>
                </a:lnTo>
                <a:lnTo>
                  <a:pt x="7393" y="2617"/>
                </a:lnTo>
                <a:lnTo>
                  <a:pt x="7420" y="2619"/>
                </a:lnTo>
                <a:lnTo>
                  <a:pt x="7458" y="2616"/>
                </a:lnTo>
                <a:lnTo>
                  <a:pt x="7479" y="2613"/>
                </a:lnTo>
                <a:lnTo>
                  <a:pt x="7497" y="2606"/>
                </a:lnTo>
                <a:lnTo>
                  <a:pt x="7506" y="2602"/>
                </a:lnTo>
                <a:lnTo>
                  <a:pt x="7514" y="2597"/>
                </a:lnTo>
                <a:lnTo>
                  <a:pt x="7520" y="2591"/>
                </a:lnTo>
                <a:lnTo>
                  <a:pt x="7527" y="2584"/>
                </a:lnTo>
                <a:lnTo>
                  <a:pt x="7535" y="2567"/>
                </a:lnTo>
                <a:lnTo>
                  <a:pt x="7538" y="2556"/>
                </a:lnTo>
                <a:lnTo>
                  <a:pt x="7539" y="2546"/>
                </a:lnTo>
                <a:lnTo>
                  <a:pt x="7538" y="2534"/>
                </a:lnTo>
                <a:lnTo>
                  <a:pt x="7534" y="2523"/>
                </a:lnTo>
                <a:lnTo>
                  <a:pt x="7530" y="2513"/>
                </a:lnTo>
                <a:lnTo>
                  <a:pt x="7523" y="2504"/>
                </a:lnTo>
                <a:lnTo>
                  <a:pt x="7515" y="2498"/>
                </a:lnTo>
                <a:lnTo>
                  <a:pt x="7505" y="2491"/>
                </a:lnTo>
                <a:lnTo>
                  <a:pt x="7481" y="2485"/>
                </a:lnTo>
                <a:lnTo>
                  <a:pt x="7441" y="2479"/>
                </a:lnTo>
                <a:lnTo>
                  <a:pt x="7401" y="2474"/>
                </a:lnTo>
                <a:lnTo>
                  <a:pt x="7359" y="2469"/>
                </a:lnTo>
                <a:lnTo>
                  <a:pt x="7320" y="2462"/>
                </a:lnTo>
                <a:lnTo>
                  <a:pt x="7292" y="2453"/>
                </a:lnTo>
                <a:lnTo>
                  <a:pt x="7266" y="2441"/>
                </a:lnTo>
                <a:lnTo>
                  <a:pt x="7243" y="2425"/>
                </a:lnTo>
                <a:lnTo>
                  <a:pt x="7224" y="2405"/>
                </a:lnTo>
                <a:lnTo>
                  <a:pt x="7208" y="2383"/>
                </a:lnTo>
                <a:lnTo>
                  <a:pt x="7197" y="2359"/>
                </a:lnTo>
                <a:lnTo>
                  <a:pt x="7190" y="2333"/>
                </a:lnTo>
                <a:lnTo>
                  <a:pt x="7188" y="2306"/>
                </a:lnTo>
                <a:lnTo>
                  <a:pt x="7189" y="2286"/>
                </a:lnTo>
                <a:lnTo>
                  <a:pt x="7192" y="2265"/>
                </a:lnTo>
                <a:lnTo>
                  <a:pt x="7197" y="2247"/>
                </a:lnTo>
                <a:lnTo>
                  <a:pt x="7204" y="2230"/>
                </a:lnTo>
                <a:lnTo>
                  <a:pt x="7222" y="2201"/>
                </a:lnTo>
                <a:lnTo>
                  <a:pt x="7246" y="2176"/>
                </a:lnTo>
                <a:lnTo>
                  <a:pt x="7281" y="2152"/>
                </a:lnTo>
                <a:lnTo>
                  <a:pt x="7302" y="2141"/>
                </a:lnTo>
                <a:lnTo>
                  <a:pt x="7324" y="2133"/>
                </a:lnTo>
                <a:lnTo>
                  <a:pt x="7346" y="2127"/>
                </a:lnTo>
                <a:lnTo>
                  <a:pt x="7370" y="2121"/>
                </a:lnTo>
                <a:lnTo>
                  <a:pt x="7396" y="2119"/>
                </a:lnTo>
                <a:lnTo>
                  <a:pt x="7422" y="2118"/>
                </a:lnTo>
                <a:lnTo>
                  <a:pt x="7448" y="2119"/>
                </a:lnTo>
                <a:lnTo>
                  <a:pt x="7475" y="2122"/>
                </a:lnTo>
                <a:lnTo>
                  <a:pt x="7500" y="2128"/>
                </a:lnTo>
                <a:lnTo>
                  <a:pt x="7523" y="2134"/>
                </a:lnTo>
                <a:lnTo>
                  <a:pt x="7546" y="2144"/>
                </a:lnTo>
                <a:lnTo>
                  <a:pt x="7568" y="2156"/>
                </a:lnTo>
                <a:lnTo>
                  <a:pt x="7588" y="2170"/>
                </a:lnTo>
                <a:lnTo>
                  <a:pt x="7605" y="2185"/>
                </a:lnTo>
                <a:lnTo>
                  <a:pt x="7626" y="2213"/>
                </a:lnTo>
                <a:lnTo>
                  <a:pt x="7642" y="2242"/>
                </a:lnTo>
                <a:lnTo>
                  <a:pt x="7647" y="2258"/>
                </a:lnTo>
                <a:lnTo>
                  <a:pt x="7652" y="2274"/>
                </a:lnTo>
                <a:lnTo>
                  <a:pt x="7656" y="2305"/>
                </a:lnTo>
                <a:lnTo>
                  <a:pt x="7523" y="2305"/>
                </a:lnTo>
                <a:lnTo>
                  <a:pt x="7521" y="2290"/>
                </a:lnTo>
                <a:lnTo>
                  <a:pt x="7516" y="2275"/>
                </a:lnTo>
                <a:lnTo>
                  <a:pt x="7509" y="2263"/>
                </a:lnTo>
                <a:lnTo>
                  <a:pt x="7500" y="2251"/>
                </a:lnTo>
                <a:lnTo>
                  <a:pt x="7484" y="2240"/>
                </a:lnTo>
                <a:lnTo>
                  <a:pt x="7466" y="2231"/>
                </a:lnTo>
                <a:lnTo>
                  <a:pt x="7445" y="2226"/>
                </a:lnTo>
                <a:lnTo>
                  <a:pt x="7424" y="2224"/>
                </a:lnTo>
                <a:lnTo>
                  <a:pt x="7394" y="2225"/>
                </a:lnTo>
                <a:lnTo>
                  <a:pt x="7379" y="2228"/>
                </a:lnTo>
                <a:lnTo>
                  <a:pt x="7364" y="2233"/>
                </a:lnTo>
                <a:lnTo>
                  <a:pt x="7355" y="2238"/>
                </a:lnTo>
                <a:lnTo>
                  <a:pt x="7346" y="2242"/>
                </a:lnTo>
                <a:lnTo>
                  <a:pt x="7332" y="2256"/>
                </a:lnTo>
                <a:lnTo>
                  <a:pt x="7327" y="2264"/>
                </a:lnTo>
                <a:lnTo>
                  <a:pt x="7322" y="2274"/>
                </a:lnTo>
                <a:lnTo>
                  <a:pt x="7320" y="2283"/>
                </a:lnTo>
                <a:lnTo>
                  <a:pt x="7319" y="2294"/>
                </a:lnTo>
                <a:lnTo>
                  <a:pt x="7320" y="2308"/>
                </a:lnTo>
                <a:lnTo>
                  <a:pt x="7325" y="2320"/>
                </a:lnTo>
                <a:lnTo>
                  <a:pt x="7332" y="2330"/>
                </a:lnTo>
                <a:lnTo>
                  <a:pt x="7341" y="2337"/>
                </a:lnTo>
                <a:lnTo>
                  <a:pt x="7351" y="2343"/>
                </a:lnTo>
                <a:lnTo>
                  <a:pt x="7363" y="2348"/>
                </a:lnTo>
                <a:lnTo>
                  <a:pt x="7385" y="2352"/>
                </a:lnTo>
                <a:lnTo>
                  <a:pt x="7446" y="2359"/>
                </a:lnTo>
                <a:lnTo>
                  <a:pt x="7509" y="2369"/>
                </a:lnTo>
                <a:lnTo>
                  <a:pt x="7543" y="2377"/>
                </a:lnTo>
                <a:lnTo>
                  <a:pt x="7558" y="2381"/>
                </a:lnTo>
                <a:lnTo>
                  <a:pt x="7573" y="2388"/>
                </a:lnTo>
                <a:lnTo>
                  <a:pt x="7600" y="2403"/>
                </a:lnTo>
                <a:lnTo>
                  <a:pt x="7613" y="2413"/>
                </a:lnTo>
                <a:lnTo>
                  <a:pt x="7623" y="2423"/>
                </a:lnTo>
                <a:lnTo>
                  <a:pt x="7633" y="2433"/>
                </a:lnTo>
                <a:lnTo>
                  <a:pt x="7642" y="2444"/>
                </a:lnTo>
                <a:lnTo>
                  <a:pt x="7656" y="2470"/>
                </a:lnTo>
                <a:lnTo>
                  <a:pt x="7661" y="2486"/>
                </a:lnTo>
                <a:lnTo>
                  <a:pt x="7665" y="2501"/>
                </a:lnTo>
                <a:lnTo>
                  <a:pt x="7668" y="2534"/>
                </a:lnTo>
                <a:lnTo>
                  <a:pt x="7667" y="2553"/>
                </a:lnTo>
                <a:lnTo>
                  <a:pt x="7665" y="2573"/>
                </a:lnTo>
                <a:lnTo>
                  <a:pt x="7660" y="2590"/>
                </a:lnTo>
                <a:lnTo>
                  <a:pt x="7654" y="2606"/>
                </a:lnTo>
                <a:lnTo>
                  <a:pt x="7647" y="2622"/>
                </a:lnTo>
                <a:lnTo>
                  <a:pt x="7639" y="2636"/>
                </a:lnTo>
                <a:lnTo>
                  <a:pt x="7618" y="2661"/>
                </a:lnTo>
                <a:close/>
                <a:moveTo>
                  <a:pt x="6915" y="2263"/>
                </a:moveTo>
                <a:lnTo>
                  <a:pt x="6907" y="2256"/>
                </a:lnTo>
                <a:lnTo>
                  <a:pt x="6899" y="2250"/>
                </a:lnTo>
                <a:lnTo>
                  <a:pt x="6879" y="2239"/>
                </a:lnTo>
                <a:lnTo>
                  <a:pt x="6867" y="2234"/>
                </a:lnTo>
                <a:lnTo>
                  <a:pt x="6855" y="2232"/>
                </a:lnTo>
                <a:lnTo>
                  <a:pt x="6827" y="2229"/>
                </a:lnTo>
                <a:lnTo>
                  <a:pt x="6797" y="2232"/>
                </a:lnTo>
                <a:lnTo>
                  <a:pt x="6770" y="2242"/>
                </a:lnTo>
                <a:lnTo>
                  <a:pt x="6748" y="2256"/>
                </a:lnTo>
                <a:lnTo>
                  <a:pt x="6738" y="2265"/>
                </a:lnTo>
                <a:lnTo>
                  <a:pt x="6730" y="2275"/>
                </a:lnTo>
                <a:lnTo>
                  <a:pt x="6717" y="2294"/>
                </a:lnTo>
                <a:lnTo>
                  <a:pt x="6707" y="2315"/>
                </a:lnTo>
                <a:lnTo>
                  <a:pt x="6702" y="2338"/>
                </a:lnTo>
                <a:lnTo>
                  <a:pt x="6700" y="2365"/>
                </a:lnTo>
                <a:lnTo>
                  <a:pt x="6951" y="2365"/>
                </a:lnTo>
                <a:lnTo>
                  <a:pt x="6950" y="2349"/>
                </a:lnTo>
                <a:lnTo>
                  <a:pt x="6948" y="2333"/>
                </a:lnTo>
                <a:lnTo>
                  <a:pt x="6941" y="2306"/>
                </a:lnTo>
                <a:lnTo>
                  <a:pt x="6930" y="2283"/>
                </a:lnTo>
                <a:lnTo>
                  <a:pt x="6924" y="2272"/>
                </a:lnTo>
                <a:lnTo>
                  <a:pt x="6915" y="2263"/>
                </a:lnTo>
                <a:close/>
                <a:moveTo>
                  <a:pt x="7089" y="2466"/>
                </a:moveTo>
                <a:lnTo>
                  <a:pt x="6701" y="2466"/>
                </a:lnTo>
                <a:lnTo>
                  <a:pt x="6702" y="2482"/>
                </a:lnTo>
                <a:lnTo>
                  <a:pt x="6703" y="2499"/>
                </a:lnTo>
                <a:lnTo>
                  <a:pt x="6712" y="2530"/>
                </a:lnTo>
                <a:lnTo>
                  <a:pt x="6717" y="2544"/>
                </a:lnTo>
                <a:lnTo>
                  <a:pt x="6725" y="2557"/>
                </a:lnTo>
                <a:lnTo>
                  <a:pt x="6734" y="2569"/>
                </a:lnTo>
                <a:lnTo>
                  <a:pt x="6743" y="2580"/>
                </a:lnTo>
                <a:lnTo>
                  <a:pt x="6760" y="2593"/>
                </a:lnTo>
                <a:lnTo>
                  <a:pt x="6780" y="2605"/>
                </a:lnTo>
                <a:lnTo>
                  <a:pt x="6803" y="2613"/>
                </a:lnTo>
                <a:lnTo>
                  <a:pt x="6829" y="2616"/>
                </a:lnTo>
                <a:lnTo>
                  <a:pt x="6856" y="2614"/>
                </a:lnTo>
                <a:lnTo>
                  <a:pt x="6879" y="2610"/>
                </a:lnTo>
                <a:lnTo>
                  <a:pt x="6898" y="2601"/>
                </a:lnTo>
                <a:lnTo>
                  <a:pt x="6914" y="2588"/>
                </a:lnTo>
                <a:lnTo>
                  <a:pt x="6923" y="2578"/>
                </a:lnTo>
                <a:lnTo>
                  <a:pt x="6930" y="2566"/>
                </a:lnTo>
                <a:lnTo>
                  <a:pt x="6937" y="2554"/>
                </a:lnTo>
                <a:lnTo>
                  <a:pt x="6942" y="2539"/>
                </a:lnTo>
                <a:lnTo>
                  <a:pt x="7076" y="2539"/>
                </a:lnTo>
                <a:lnTo>
                  <a:pt x="7070" y="2566"/>
                </a:lnTo>
                <a:lnTo>
                  <a:pt x="7065" y="2580"/>
                </a:lnTo>
                <a:lnTo>
                  <a:pt x="7058" y="2596"/>
                </a:lnTo>
                <a:lnTo>
                  <a:pt x="7043" y="2623"/>
                </a:lnTo>
                <a:lnTo>
                  <a:pt x="7027" y="2646"/>
                </a:lnTo>
                <a:lnTo>
                  <a:pt x="7007" y="2666"/>
                </a:lnTo>
                <a:lnTo>
                  <a:pt x="6986" y="2684"/>
                </a:lnTo>
                <a:lnTo>
                  <a:pt x="6963" y="2698"/>
                </a:lnTo>
                <a:lnTo>
                  <a:pt x="6939" y="2709"/>
                </a:lnTo>
                <a:lnTo>
                  <a:pt x="6913" y="2717"/>
                </a:lnTo>
                <a:lnTo>
                  <a:pt x="6887" y="2723"/>
                </a:lnTo>
                <a:lnTo>
                  <a:pt x="6860" y="2726"/>
                </a:lnTo>
                <a:lnTo>
                  <a:pt x="6831" y="2727"/>
                </a:lnTo>
                <a:lnTo>
                  <a:pt x="6803" y="2726"/>
                </a:lnTo>
                <a:lnTo>
                  <a:pt x="6776" y="2723"/>
                </a:lnTo>
                <a:lnTo>
                  <a:pt x="6763" y="2720"/>
                </a:lnTo>
                <a:lnTo>
                  <a:pt x="6751" y="2716"/>
                </a:lnTo>
                <a:lnTo>
                  <a:pt x="6728" y="2708"/>
                </a:lnTo>
                <a:lnTo>
                  <a:pt x="6705" y="2698"/>
                </a:lnTo>
                <a:lnTo>
                  <a:pt x="6686" y="2686"/>
                </a:lnTo>
                <a:lnTo>
                  <a:pt x="6666" y="2672"/>
                </a:lnTo>
                <a:lnTo>
                  <a:pt x="6649" y="2656"/>
                </a:lnTo>
                <a:lnTo>
                  <a:pt x="6628" y="2634"/>
                </a:lnTo>
                <a:lnTo>
                  <a:pt x="6611" y="2610"/>
                </a:lnTo>
                <a:lnTo>
                  <a:pt x="6596" y="2584"/>
                </a:lnTo>
                <a:lnTo>
                  <a:pt x="6582" y="2554"/>
                </a:lnTo>
                <a:lnTo>
                  <a:pt x="6577" y="2540"/>
                </a:lnTo>
                <a:lnTo>
                  <a:pt x="6573" y="2524"/>
                </a:lnTo>
                <a:lnTo>
                  <a:pt x="6565" y="2492"/>
                </a:lnTo>
                <a:lnTo>
                  <a:pt x="6561" y="2458"/>
                </a:lnTo>
                <a:lnTo>
                  <a:pt x="6560" y="2424"/>
                </a:lnTo>
                <a:lnTo>
                  <a:pt x="6561" y="2390"/>
                </a:lnTo>
                <a:lnTo>
                  <a:pt x="6565" y="2356"/>
                </a:lnTo>
                <a:lnTo>
                  <a:pt x="6572" y="2325"/>
                </a:lnTo>
                <a:lnTo>
                  <a:pt x="6580" y="2294"/>
                </a:lnTo>
                <a:lnTo>
                  <a:pt x="6592" y="2266"/>
                </a:lnTo>
                <a:lnTo>
                  <a:pt x="6606" y="2239"/>
                </a:lnTo>
                <a:lnTo>
                  <a:pt x="6624" y="2214"/>
                </a:lnTo>
                <a:lnTo>
                  <a:pt x="6643" y="2192"/>
                </a:lnTo>
                <a:lnTo>
                  <a:pt x="6661" y="2176"/>
                </a:lnTo>
                <a:lnTo>
                  <a:pt x="6679" y="2162"/>
                </a:lnTo>
                <a:lnTo>
                  <a:pt x="6700" y="2148"/>
                </a:lnTo>
                <a:lnTo>
                  <a:pt x="6723" y="2138"/>
                </a:lnTo>
                <a:lnTo>
                  <a:pt x="6747" y="2129"/>
                </a:lnTo>
                <a:lnTo>
                  <a:pt x="6772" y="2123"/>
                </a:lnTo>
                <a:lnTo>
                  <a:pt x="6800" y="2119"/>
                </a:lnTo>
                <a:lnTo>
                  <a:pt x="6828" y="2118"/>
                </a:lnTo>
                <a:lnTo>
                  <a:pt x="6860" y="2119"/>
                </a:lnTo>
                <a:lnTo>
                  <a:pt x="6891" y="2125"/>
                </a:lnTo>
                <a:lnTo>
                  <a:pt x="6920" y="2132"/>
                </a:lnTo>
                <a:lnTo>
                  <a:pt x="6949" y="2144"/>
                </a:lnTo>
                <a:lnTo>
                  <a:pt x="6975" y="2159"/>
                </a:lnTo>
                <a:lnTo>
                  <a:pt x="6999" y="2178"/>
                </a:lnTo>
                <a:lnTo>
                  <a:pt x="7020" y="2200"/>
                </a:lnTo>
                <a:lnTo>
                  <a:pt x="7040" y="2225"/>
                </a:lnTo>
                <a:lnTo>
                  <a:pt x="7055" y="2249"/>
                </a:lnTo>
                <a:lnTo>
                  <a:pt x="7066" y="2274"/>
                </a:lnTo>
                <a:lnTo>
                  <a:pt x="7082" y="2323"/>
                </a:lnTo>
                <a:lnTo>
                  <a:pt x="7087" y="2348"/>
                </a:lnTo>
                <a:lnTo>
                  <a:pt x="7090" y="2374"/>
                </a:lnTo>
                <a:lnTo>
                  <a:pt x="7090" y="2427"/>
                </a:lnTo>
                <a:lnTo>
                  <a:pt x="7089" y="2466"/>
                </a:lnTo>
                <a:close/>
                <a:moveTo>
                  <a:pt x="6372" y="2713"/>
                </a:moveTo>
                <a:lnTo>
                  <a:pt x="6209" y="2460"/>
                </a:lnTo>
                <a:lnTo>
                  <a:pt x="6116" y="2560"/>
                </a:lnTo>
                <a:lnTo>
                  <a:pt x="6116" y="2713"/>
                </a:lnTo>
                <a:lnTo>
                  <a:pt x="5977" y="2713"/>
                </a:lnTo>
                <a:lnTo>
                  <a:pt x="5977" y="1907"/>
                </a:lnTo>
                <a:lnTo>
                  <a:pt x="6116" y="1907"/>
                </a:lnTo>
                <a:lnTo>
                  <a:pt x="6116" y="2368"/>
                </a:lnTo>
                <a:lnTo>
                  <a:pt x="6336" y="2132"/>
                </a:lnTo>
                <a:lnTo>
                  <a:pt x="6511" y="2132"/>
                </a:lnTo>
                <a:lnTo>
                  <a:pt x="6303" y="2357"/>
                </a:lnTo>
                <a:lnTo>
                  <a:pt x="6534" y="2713"/>
                </a:lnTo>
                <a:lnTo>
                  <a:pt x="6372" y="2713"/>
                </a:lnTo>
                <a:close/>
                <a:moveTo>
                  <a:pt x="14362" y="1547"/>
                </a:moveTo>
                <a:lnTo>
                  <a:pt x="14362" y="1191"/>
                </a:lnTo>
                <a:lnTo>
                  <a:pt x="14361" y="1166"/>
                </a:lnTo>
                <a:lnTo>
                  <a:pt x="14358" y="1146"/>
                </a:lnTo>
                <a:lnTo>
                  <a:pt x="14355" y="1136"/>
                </a:lnTo>
                <a:lnTo>
                  <a:pt x="14352" y="1126"/>
                </a:lnTo>
                <a:lnTo>
                  <a:pt x="14347" y="1118"/>
                </a:lnTo>
                <a:lnTo>
                  <a:pt x="14342" y="1111"/>
                </a:lnTo>
                <a:lnTo>
                  <a:pt x="14336" y="1104"/>
                </a:lnTo>
                <a:lnTo>
                  <a:pt x="14330" y="1098"/>
                </a:lnTo>
                <a:lnTo>
                  <a:pt x="14312" y="1089"/>
                </a:lnTo>
                <a:lnTo>
                  <a:pt x="14292" y="1084"/>
                </a:lnTo>
                <a:lnTo>
                  <a:pt x="14267" y="1081"/>
                </a:lnTo>
                <a:lnTo>
                  <a:pt x="14249" y="1082"/>
                </a:lnTo>
                <a:lnTo>
                  <a:pt x="14233" y="1087"/>
                </a:lnTo>
                <a:lnTo>
                  <a:pt x="14218" y="1093"/>
                </a:lnTo>
                <a:lnTo>
                  <a:pt x="14205" y="1102"/>
                </a:lnTo>
                <a:lnTo>
                  <a:pt x="14194" y="1113"/>
                </a:lnTo>
                <a:lnTo>
                  <a:pt x="14183" y="1126"/>
                </a:lnTo>
                <a:lnTo>
                  <a:pt x="14174" y="1140"/>
                </a:lnTo>
                <a:lnTo>
                  <a:pt x="14167" y="1155"/>
                </a:lnTo>
                <a:lnTo>
                  <a:pt x="14159" y="1173"/>
                </a:lnTo>
                <a:lnTo>
                  <a:pt x="14155" y="1192"/>
                </a:lnTo>
                <a:lnTo>
                  <a:pt x="14152" y="1212"/>
                </a:lnTo>
                <a:lnTo>
                  <a:pt x="14149" y="1231"/>
                </a:lnTo>
                <a:lnTo>
                  <a:pt x="14147" y="1272"/>
                </a:lnTo>
                <a:lnTo>
                  <a:pt x="14147" y="1311"/>
                </a:lnTo>
                <a:lnTo>
                  <a:pt x="14147" y="1547"/>
                </a:lnTo>
                <a:lnTo>
                  <a:pt x="14008" y="1547"/>
                </a:lnTo>
                <a:lnTo>
                  <a:pt x="14008" y="966"/>
                </a:lnTo>
                <a:lnTo>
                  <a:pt x="14126" y="966"/>
                </a:lnTo>
                <a:lnTo>
                  <a:pt x="14135" y="1041"/>
                </a:lnTo>
                <a:lnTo>
                  <a:pt x="14149" y="1019"/>
                </a:lnTo>
                <a:lnTo>
                  <a:pt x="14167" y="1001"/>
                </a:lnTo>
                <a:lnTo>
                  <a:pt x="14186" y="986"/>
                </a:lnTo>
                <a:lnTo>
                  <a:pt x="14208" y="974"/>
                </a:lnTo>
                <a:lnTo>
                  <a:pt x="14231" y="964"/>
                </a:lnTo>
                <a:lnTo>
                  <a:pt x="14256" y="957"/>
                </a:lnTo>
                <a:lnTo>
                  <a:pt x="14281" y="953"/>
                </a:lnTo>
                <a:lnTo>
                  <a:pt x="14306" y="952"/>
                </a:lnTo>
                <a:lnTo>
                  <a:pt x="14329" y="953"/>
                </a:lnTo>
                <a:lnTo>
                  <a:pt x="14349" y="956"/>
                </a:lnTo>
                <a:lnTo>
                  <a:pt x="14370" y="961"/>
                </a:lnTo>
                <a:lnTo>
                  <a:pt x="14388" y="967"/>
                </a:lnTo>
                <a:lnTo>
                  <a:pt x="14406" y="976"/>
                </a:lnTo>
                <a:lnTo>
                  <a:pt x="14422" y="986"/>
                </a:lnTo>
                <a:lnTo>
                  <a:pt x="14437" y="998"/>
                </a:lnTo>
                <a:lnTo>
                  <a:pt x="14450" y="1011"/>
                </a:lnTo>
                <a:lnTo>
                  <a:pt x="14462" y="1025"/>
                </a:lnTo>
                <a:lnTo>
                  <a:pt x="14472" y="1041"/>
                </a:lnTo>
                <a:lnTo>
                  <a:pt x="14482" y="1059"/>
                </a:lnTo>
                <a:lnTo>
                  <a:pt x="14488" y="1076"/>
                </a:lnTo>
                <a:lnTo>
                  <a:pt x="14495" y="1095"/>
                </a:lnTo>
                <a:lnTo>
                  <a:pt x="14498" y="1116"/>
                </a:lnTo>
                <a:lnTo>
                  <a:pt x="14501" y="1138"/>
                </a:lnTo>
                <a:lnTo>
                  <a:pt x="14503" y="1160"/>
                </a:lnTo>
                <a:lnTo>
                  <a:pt x="14503" y="1547"/>
                </a:lnTo>
                <a:lnTo>
                  <a:pt x="14362" y="1547"/>
                </a:lnTo>
                <a:close/>
                <a:moveTo>
                  <a:pt x="13660" y="876"/>
                </a:moveTo>
                <a:lnTo>
                  <a:pt x="13660" y="741"/>
                </a:lnTo>
                <a:lnTo>
                  <a:pt x="13791" y="741"/>
                </a:lnTo>
                <a:lnTo>
                  <a:pt x="13791" y="876"/>
                </a:lnTo>
                <a:lnTo>
                  <a:pt x="13660" y="876"/>
                </a:lnTo>
                <a:close/>
                <a:moveTo>
                  <a:pt x="13430" y="876"/>
                </a:moveTo>
                <a:lnTo>
                  <a:pt x="13430" y="741"/>
                </a:lnTo>
                <a:lnTo>
                  <a:pt x="13561" y="741"/>
                </a:lnTo>
                <a:lnTo>
                  <a:pt x="13561" y="876"/>
                </a:lnTo>
                <a:lnTo>
                  <a:pt x="13430" y="876"/>
                </a:lnTo>
                <a:close/>
                <a:moveTo>
                  <a:pt x="13704" y="1289"/>
                </a:moveTo>
                <a:lnTo>
                  <a:pt x="13556" y="1300"/>
                </a:lnTo>
                <a:lnTo>
                  <a:pt x="13541" y="1302"/>
                </a:lnTo>
                <a:lnTo>
                  <a:pt x="13526" y="1307"/>
                </a:lnTo>
                <a:lnTo>
                  <a:pt x="13512" y="1313"/>
                </a:lnTo>
                <a:lnTo>
                  <a:pt x="13499" y="1322"/>
                </a:lnTo>
                <a:lnTo>
                  <a:pt x="13488" y="1333"/>
                </a:lnTo>
                <a:lnTo>
                  <a:pt x="13480" y="1345"/>
                </a:lnTo>
                <a:lnTo>
                  <a:pt x="13475" y="1360"/>
                </a:lnTo>
                <a:lnTo>
                  <a:pt x="13472" y="1376"/>
                </a:lnTo>
                <a:lnTo>
                  <a:pt x="13475" y="1392"/>
                </a:lnTo>
                <a:lnTo>
                  <a:pt x="13479" y="1407"/>
                </a:lnTo>
                <a:lnTo>
                  <a:pt x="13488" y="1419"/>
                </a:lnTo>
                <a:lnTo>
                  <a:pt x="13497" y="1429"/>
                </a:lnTo>
                <a:lnTo>
                  <a:pt x="13509" y="1438"/>
                </a:lnTo>
                <a:lnTo>
                  <a:pt x="13524" y="1444"/>
                </a:lnTo>
                <a:lnTo>
                  <a:pt x="13539" y="1448"/>
                </a:lnTo>
                <a:lnTo>
                  <a:pt x="13555" y="1449"/>
                </a:lnTo>
                <a:lnTo>
                  <a:pt x="13587" y="1447"/>
                </a:lnTo>
                <a:lnTo>
                  <a:pt x="13601" y="1444"/>
                </a:lnTo>
                <a:lnTo>
                  <a:pt x="13615" y="1440"/>
                </a:lnTo>
                <a:lnTo>
                  <a:pt x="13640" y="1429"/>
                </a:lnTo>
                <a:lnTo>
                  <a:pt x="13652" y="1423"/>
                </a:lnTo>
                <a:lnTo>
                  <a:pt x="13662" y="1414"/>
                </a:lnTo>
                <a:lnTo>
                  <a:pt x="13680" y="1396"/>
                </a:lnTo>
                <a:lnTo>
                  <a:pt x="13687" y="1385"/>
                </a:lnTo>
                <a:lnTo>
                  <a:pt x="13693" y="1373"/>
                </a:lnTo>
                <a:lnTo>
                  <a:pt x="13697" y="1360"/>
                </a:lnTo>
                <a:lnTo>
                  <a:pt x="13701" y="1347"/>
                </a:lnTo>
                <a:lnTo>
                  <a:pt x="13703" y="1332"/>
                </a:lnTo>
                <a:lnTo>
                  <a:pt x="13704" y="1316"/>
                </a:lnTo>
                <a:lnTo>
                  <a:pt x="13704" y="1289"/>
                </a:lnTo>
                <a:close/>
                <a:moveTo>
                  <a:pt x="13820" y="1556"/>
                </a:moveTo>
                <a:lnTo>
                  <a:pt x="13800" y="1555"/>
                </a:lnTo>
                <a:lnTo>
                  <a:pt x="13780" y="1549"/>
                </a:lnTo>
                <a:lnTo>
                  <a:pt x="13765" y="1541"/>
                </a:lnTo>
                <a:lnTo>
                  <a:pt x="13751" y="1532"/>
                </a:lnTo>
                <a:lnTo>
                  <a:pt x="13740" y="1520"/>
                </a:lnTo>
                <a:lnTo>
                  <a:pt x="13731" y="1506"/>
                </a:lnTo>
                <a:lnTo>
                  <a:pt x="13726" y="1490"/>
                </a:lnTo>
                <a:lnTo>
                  <a:pt x="13722" y="1474"/>
                </a:lnTo>
                <a:lnTo>
                  <a:pt x="13710" y="1491"/>
                </a:lnTo>
                <a:lnTo>
                  <a:pt x="13695" y="1508"/>
                </a:lnTo>
                <a:lnTo>
                  <a:pt x="13677" y="1523"/>
                </a:lnTo>
                <a:lnTo>
                  <a:pt x="13655" y="1536"/>
                </a:lnTo>
                <a:lnTo>
                  <a:pt x="13631" y="1547"/>
                </a:lnTo>
                <a:lnTo>
                  <a:pt x="13605" y="1555"/>
                </a:lnTo>
                <a:lnTo>
                  <a:pt x="13577" y="1560"/>
                </a:lnTo>
                <a:lnTo>
                  <a:pt x="13546" y="1561"/>
                </a:lnTo>
                <a:lnTo>
                  <a:pt x="13521" y="1561"/>
                </a:lnTo>
                <a:lnTo>
                  <a:pt x="13497" y="1558"/>
                </a:lnTo>
                <a:lnTo>
                  <a:pt x="13476" y="1553"/>
                </a:lnTo>
                <a:lnTo>
                  <a:pt x="13455" y="1547"/>
                </a:lnTo>
                <a:lnTo>
                  <a:pt x="13437" y="1538"/>
                </a:lnTo>
                <a:lnTo>
                  <a:pt x="13419" y="1530"/>
                </a:lnTo>
                <a:lnTo>
                  <a:pt x="13403" y="1519"/>
                </a:lnTo>
                <a:lnTo>
                  <a:pt x="13390" y="1507"/>
                </a:lnTo>
                <a:lnTo>
                  <a:pt x="13377" y="1493"/>
                </a:lnTo>
                <a:lnTo>
                  <a:pt x="13366" y="1478"/>
                </a:lnTo>
                <a:lnTo>
                  <a:pt x="13357" y="1464"/>
                </a:lnTo>
                <a:lnTo>
                  <a:pt x="13350" y="1448"/>
                </a:lnTo>
                <a:lnTo>
                  <a:pt x="13344" y="1432"/>
                </a:lnTo>
                <a:lnTo>
                  <a:pt x="13340" y="1414"/>
                </a:lnTo>
                <a:lnTo>
                  <a:pt x="13337" y="1379"/>
                </a:lnTo>
                <a:lnTo>
                  <a:pt x="13338" y="1360"/>
                </a:lnTo>
                <a:lnTo>
                  <a:pt x="13340" y="1340"/>
                </a:lnTo>
                <a:lnTo>
                  <a:pt x="13345" y="1323"/>
                </a:lnTo>
                <a:lnTo>
                  <a:pt x="13352" y="1305"/>
                </a:lnTo>
                <a:lnTo>
                  <a:pt x="13359" y="1290"/>
                </a:lnTo>
                <a:lnTo>
                  <a:pt x="13369" y="1275"/>
                </a:lnTo>
                <a:lnTo>
                  <a:pt x="13381" y="1262"/>
                </a:lnTo>
                <a:lnTo>
                  <a:pt x="13393" y="1250"/>
                </a:lnTo>
                <a:lnTo>
                  <a:pt x="13423" y="1229"/>
                </a:lnTo>
                <a:lnTo>
                  <a:pt x="13439" y="1221"/>
                </a:lnTo>
                <a:lnTo>
                  <a:pt x="13455" y="1214"/>
                </a:lnTo>
                <a:lnTo>
                  <a:pt x="13493" y="1203"/>
                </a:lnTo>
                <a:lnTo>
                  <a:pt x="13533" y="1198"/>
                </a:lnTo>
                <a:lnTo>
                  <a:pt x="13704" y="1186"/>
                </a:lnTo>
                <a:lnTo>
                  <a:pt x="13704" y="1150"/>
                </a:lnTo>
                <a:lnTo>
                  <a:pt x="13703" y="1130"/>
                </a:lnTo>
                <a:lnTo>
                  <a:pt x="13700" y="1112"/>
                </a:lnTo>
                <a:lnTo>
                  <a:pt x="13693" y="1097"/>
                </a:lnTo>
                <a:lnTo>
                  <a:pt x="13684" y="1084"/>
                </a:lnTo>
                <a:lnTo>
                  <a:pt x="13678" y="1078"/>
                </a:lnTo>
                <a:lnTo>
                  <a:pt x="13671" y="1073"/>
                </a:lnTo>
                <a:lnTo>
                  <a:pt x="13654" y="1065"/>
                </a:lnTo>
                <a:lnTo>
                  <a:pt x="13632" y="1060"/>
                </a:lnTo>
                <a:lnTo>
                  <a:pt x="13605" y="1059"/>
                </a:lnTo>
                <a:lnTo>
                  <a:pt x="13582" y="1060"/>
                </a:lnTo>
                <a:lnTo>
                  <a:pt x="13562" y="1063"/>
                </a:lnTo>
                <a:lnTo>
                  <a:pt x="13544" y="1070"/>
                </a:lnTo>
                <a:lnTo>
                  <a:pt x="13529" y="1079"/>
                </a:lnTo>
                <a:lnTo>
                  <a:pt x="13517" y="1091"/>
                </a:lnTo>
                <a:lnTo>
                  <a:pt x="13508" y="1105"/>
                </a:lnTo>
                <a:lnTo>
                  <a:pt x="13502" y="1122"/>
                </a:lnTo>
                <a:lnTo>
                  <a:pt x="13500" y="1140"/>
                </a:lnTo>
                <a:lnTo>
                  <a:pt x="13365" y="1140"/>
                </a:lnTo>
                <a:lnTo>
                  <a:pt x="13367" y="1117"/>
                </a:lnTo>
                <a:lnTo>
                  <a:pt x="13371" y="1095"/>
                </a:lnTo>
                <a:lnTo>
                  <a:pt x="13378" y="1075"/>
                </a:lnTo>
                <a:lnTo>
                  <a:pt x="13387" y="1056"/>
                </a:lnTo>
                <a:lnTo>
                  <a:pt x="13398" y="1039"/>
                </a:lnTo>
                <a:lnTo>
                  <a:pt x="13409" y="1024"/>
                </a:lnTo>
                <a:lnTo>
                  <a:pt x="13424" y="1010"/>
                </a:lnTo>
                <a:lnTo>
                  <a:pt x="13439" y="998"/>
                </a:lnTo>
                <a:lnTo>
                  <a:pt x="13456" y="987"/>
                </a:lnTo>
                <a:lnTo>
                  <a:pt x="13475" y="977"/>
                </a:lnTo>
                <a:lnTo>
                  <a:pt x="13494" y="969"/>
                </a:lnTo>
                <a:lnTo>
                  <a:pt x="13514" y="963"/>
                </a:lnTo>
                <a:lnTo>
                  <a:pt x="13558" y="955"/>
                </a:lnTo>
                <a:lnTo>
                  <a:pt x="13605" y="952"/>
                </a:lnTo>
                <a:lnTo>
                  <a:pt x="13642" y="953"/>
                </a:lnTo>
                <a:lnTo>
                  <a:pt x="13677" y="958"/>
                </a:lnTo>
                <a:lnTo>
                  <a:pt x="13693" y="962"/>
                </a:lnTo>
                <a:lnTo>
                  <a:pt x="13709" y="966"/>
                </a:lnTo>
                <a:lnTo>
                  <a:pt x="13739" y="978"/>
                </a:lnTo>
                <a:lnTo>
                  <a:pt x="13753" y="986"/>
                </a:lnTo>
                <a:lnTo>
                  <a:pt x="13766" y="994"/>
                </a:lnTo>
                <a:lnTo>
                  <a:pt x="13778" y="1004"/>
                </a:lnTo>
                <a:lnTo>
                  <a:pt x="13789" y="1015"/>
                </a:lnTo>
                <a:lnTo>
                  <a:pt x="13798" y="1027"/>
                </a:lnTo>
                <a:lnTo>
                  <a:pt x="13808" y="1040"/>
                </a:lnTo>
                <a:lnTo>
                  <a:pt x="13822" y="1070"/>
                </a:lnTo>
                <a:lnTo>
                  <a:pt x="13831" y="1099"/>
                </a:lnTo>
                <a:lnTo>
                  <a:pt x="13836" y="1128"/>
                </a:lnTo>
                <a:lnTo>
                  <a:pt x="13840" y="1188"/>
                </a:lnTo>
                <a:lnTo>
                  <a:pt x="13840" y="1403"/>
                </a:lnTo>
                <a:lnTo>
                  <a:pt x="13841" y="1420"/>
                </a:lnTo>
                <a:lnTo>
                  <a:pt x="13847" y="1432"/>
                </a:lnTo>
                <a:lnTo>
                  <a:pt x="13852" y="1435"/>
                </a:lnTo>
                <a:lnTo>
                  <a:pt x="13857" y="1438"/>
                </a:lnTo>
                <a:lnTo>
                  <a:pt x="13872" y="1440"/>
                </a:lnTo>
                <a:lnTo>
                  <a:pt x="13890" y="1438"/>
                </a:lnTo>
                <a:lnTo>
                  <a:pt x="13890" y="1540"/>
                </a:lnTo>
                <a:lnTo>
                  <a:pt x="13859" y="1552"/>
                </a:lnTo>
                <a:lnTo>
                  <a:pt x="13842" y="1555"/>
                </a:lnTo>
                <a:lnTo>
                  <a:pt x="13820" y="1556"/>
                </a:lnTo>
                <a:close/>
                <a:moveTo>
                  <a:pt x="13081" y="1547"/>
                </a:moveTo>
                <a:lnTo>
                  <a:pt x="13081" y="1187"/>
                </a:lnTo>
                <a:lnTo>
                  <a:pt x="13080" y="1161"/>
                </a:lnTo>
                <a:lnTo>
                  <a:pt x="13077" y="1139"/>
                </a:lnTo>
                <a:lnTo>
                  <a:pt x="13072" y="1119"/>
                </a:lnTo>
                <a:lnTo>
                  <a:pt x="13063" y="1103"/>
                </a:lnTo>
                <a:lnTo>
                  <a:pt x="13051" y="1090"/>
                </a:lnTo>
                <a:lnTo>
                  <a:pt x="13036" y="1081"/>
                </a:lnTo>
                <a:lnTo>
                  <a:pt x="13016" y="1076"/>
                </a:lnTo>
                <a:lnTo>
                  <a:pt x="12992" y="1074"/>
                </a:lnTo>
                <a:lnTo>
                  <a:pt x="12978" y="1075"/>
                </a:lnTo>
                <a:lnTo>
                  <a:pt x="12965" y="1077"/>
                </a:lnTo>
                <a:lnTo>
                  <a:pt x="12952" y="1081"/>
                </a:lnTo>
                <a:lnTo>
                  <a:pt x="12941" y="1088"/>
                </a:lnTo>
                <a:lnTo>
                  <a:pt x="12930" y="1095"/>
                </a:lnTo>
                <a:lnTo>
                  <a:pt x="12922" y="1104"/>
                </a:lnTo>
                <a:lnTo>
                  <a:pt x="12905" y="1125"/>
                </a:lnTo>
                <a:lnTo>
                  <a:pt x="12893" y="1149"/>
                </a:lnTo>
                <a:lnTo>
                  <a:pt x="12885" y="1175"/>
                </a:lnTo>
                <a:lnTo>
                  <a:pt x="12880" y="1202"/>
                </a:lnTo>
                <a:lnTo>
                  <a:pt x="12878" y="1230"/>
                </a:lnTo>
                <a:lnTo>
                  <a:pt x="12878" y="1547"/>
                </a:lnTo>
                <a:lnTo>
                  <a:pt x="12740" y="1547"/>
                </a:lnTo>
                <a:lnTo>
                  <a:pt x="12740" y="1187"/>
                </a:lnTo>
                <a:lnTo>
                  <a:pt x="12739" y="1161"/>
                </a:lnTo>
                <a:lnTo>
                  <a:pt x="12736" y="1139"/>
                </a:lnTo>
                <a:lnTo>
                  <a:pt x="12730" y="1119"/>
                </a:lnTo>
                <a:lnTo>
                  <a:pt x="12722" y="1103"/>
                </a:lnTo>
                <a:lnTo>
                  <a:pt x="12710" y="1090"/>
                </a:lnTo>
                <a:lnTo>
                  <a:pt x="12695" y="1081"/>
                </a:lnTo>
                <a:lnTo>
                  <a:pt x="12675" y="1076"/>
                </a:lnTo>
                <a:lnTo>
                  <a:pt x="12651" y="1074"/>
                </a:lnTo>
                <a:lnTo>
                  <a:pt x="12637" y="1075"/>
                </a:lnTo>
                <a:lnTo>
                  <a:pt x="12623" y="1077"/>
                </a:lnTo>
                <a:lnTo>
                  <a:pt x="12611" y="1081"/>
                </a:lnTo>
                <a:lnTo>
                  <a:pt x="12600" y="1088"/>
                </a:lnTo>
                <a:lnTo>
                  <a:pt x="12589" y="1095"/>
                </a:lnTo>
                <a:lnTo>
                  <a:pt x="12579" y="1104"/>
                </a:lnTo>
                <a:lnTo>
                  <a:pt x="12564" y="1125"/>
                </a:lnTo>
                <a:lnTo>
                  <a:pt x="12551" y="1149"/>
                </a:lnTo>
                <a:lnTo>
                  <a:pt x="12542" y="1175"/>
                </a:lnTo>
                <a:lnTo>
                  <a:pt x="12538" y="1202"/>
                </a:lnTo>
                <a:lnTo>
                  <a:pt x="12536" y="1230"/>
                </a:lnTo>
                <a:lnTo>
                  <a:pt x="12536" y="1547"/>
                </a:lnTo>
                <a:lnTo>
                  <a:pt x="12398" y="1547"/>
                </a:lnTo>
                <a:lnTo>
                  <a:pt x="12398" y="966"/>
                </a:lnTo>
                <a:lnTo>
                  <a:pt x="12514" y="966"/>
                </a:lnTo>
                <a:lnTo>
                  <a:pt x="12525" y="1043"/>
                </a:lnTo>
                <a:lnTo>
                  <a:pt x="12538" y="1024"/>
                </a:lnTo>
                <a:lnTo>
                  <a:pt x="12553" y="1006"/>
                </a:lnTo>
                <a:lnTo>
                  <a:pt x="12571" y="991"/>
                </a:lnTo>
                <a:lnTo>
                  <a:pt x="12590" y="978"/>
                </a:lnTo>
                <a:lnTo>
                  <a:pt x="12612" y="967"/>
                </a:lnTo>
                <a:lnTo>
                  <a:pt x="12636" y="958"/>
                </a:lnTo>
                <a:lnTo>
                  <a:pt x="12662" y="954"/>
                </a:lnTo>
                <a:lnTo>
                  <a:pt x="12690" y="952"/>
                </a:lnTo>
                <a:lnTo>
                  <a:pt x="12719" y="954"/>
                </a:lnTo>
                <a:lnTo>
                  <a:pt x="12747" y="958"/>
                </a:lnTo>
                <a:lnTo>
                  <a:pt x="12771" y="966"/>
                </a:lnTo>
                <a:lnTo>
                  <a:pt x="12792" y="977"/>
                </a:lnTo>
                <a:lnTo>
                  <a:pt x="12812" y="991"/>
                </a:lnTo>
                <a:lnTo>
                  <a:pt x="12829" y="1007"/>
                </a:lnTo>
                <a:lnTo>
                  <a:pt x="12844" y="1026"/>
                </a:lnTo>
                <a:lnTo>
                  <a:pt x="12856" y="1047"/>
                </a:lnTo>
                <a:lnTo>
                  <a:pt x="12871" y="1026"/>
                </a:lnTo>
                <a:lnTo>
                  <a:pt x="12887" y="1006"/>
                </a:lnTo>
                <a:lnTo>
                  <a:pt x="12906" y="990"/>
                </a:lnTo>
                <a:lnTo>
                  <a:pt x="12916" y="983"/>
                </a:lnTo>
                <a:lnTo>
                  <a:pt x="12927" y="977"/>
                </a:lnTo>
                <a:lnTo>
                  <a:pt x="12951" y="966"/>
                </a:lnTo>
                <a:lnTo>
                  <a:pt x="12976" y="958"/>
                </a:lnTo>
                <a:lnTo>
                  <a:pt x="13003" y="953"/>
                </a:lnTo>
                <a:lnTo>
                  <a:pt x="13031" y="952"/>
                </a:lnTo>
                <a:lnTo>
                  <a:pt x="13054" y="953"/>
                </a:lnTo>
                <a:lnTo>
                  <a:pt x="13075" y="955"/>
                </a:lnTo>
                <a:lnTo>
                  <a:pt x="13094" y="961"/>
                </a:lnTo>
                <a:lnTo>
                  <a:pt x="13113" y="967"/>
                </a:lnTo>
                <a:lnTo>
                  <a:pt x="13130" y="975"/>
                </a:lnTo>
                <a:lnTo>
                  <a:pt x="13145" y="985"/>
                </a:lnTo>
                <a:lnTo>
                  <a:pt x="13160" y="995"/>
                </a:lnTo>
                <a:lnTo>
                  <a:pt x="13172" y="1008"/>
                </a:lnTo>
                <a:lnTo>
                  <a:pt x="13183" y="1023"/>
                </a:lnTo>
                <a:lnTo>
                  <a:pt x="13193" y="1038"/>
                </a:lnTo>
                <a:lnTo>
                  <a:pt x="13207" y="1073"/>
                </a:lnTo>
                <a:lnTo>
                  <a:pt x="13213" y="1091"/>
                </a:lnTo>
                <a:lnTo>
                  <a:pt x="13215" y="1102"/>
                </a:lnTo>
                <a:lnTo>
                  <a:pt x="13217" y="1112"/>
                </a:lnTo>
                <a:lnTo>
                  <a:pt x="13219" y="1132"/>
                </a:lnTo>
                <a:lnTo>
                  <a:pt x="13219" y="1155"/>
                </a:lnTo>
                <a:lnTo>
                  <a:pt x="13219" y="1547"/>
                </a:lnTo>
                <a:lnTo>
                  <a:pt x="13081" y="1547"/>
                </a:lnTo>
                <a:close/>
                <a:moveTo>
                  <a:pt x="12050" y="876"/>
                </a:moveTo>
                <a:lnTo>
                  <a:pt x="12050" y="741"/>
                </a:lnTo>
                <a:lnTo>
                  <a:pt x="12181" y="741"/>
                </a:lnTo>
                <a:lnTo>
                  <a:pt x="12181" y="876"/>
                </a:lnTo>
                <a:lnTo>
                  <a:pt x="12050" y="876"/>
                </a:lnTo>
                <a:close/>
                <a:moveTo>
                  <a:pt x="11820" y="876"/>
                </a:moveTo>
                <a:lnTo>
                  <a:pt x="11820" y="741"/>
                </a:lnTo>
                <a:lnTo>
                  <a:pt x="11950" y="741"/>
                </a:lnTo>
                <a:lnTo>
                  <a:pt x="11950" y="876"/>
                </a:lnTo>
                <a:lnTo>
                  <a:pt x="11820" y="876"/>
                </a:lnTo>
                <a:close/>
                <a:moveTo>
                  <a:pt x="12094" y="1289"/>
                </a:moveTo>
                <a:lnTo>
                  <a:pt x="11946" y="1300"/>
                </a:lnTo>
                <a:lnTo>
                  <a:pt x="11931" y="1302"/>
                </a:lnTo>
                <a:lnTo>
                  <a:pt x="11915" y="1307"/>
                </a:lnTo>
                <a:lnTo>
                  <a:pt x="11901" y="1313"/>
                </a:lnTo>
                <a:lnTo>
                  <a:pt x="11888" y="1322"/>
                </a:lnTo>
                <a:lnTo>
                  <a:pt x="11877" y="1333"/>
                </a:lnTo>
                <a:lnTo>
                  <a:pt x="11870" y="1345"/>
                </a:lnTo>
                <a:lnTo>
                  <a:pt x="11864" y="1360"/>
                </a:lnTo>
                <a:lnTo>
                  <a:pt x="11862" y="1376"/>
                </a:lnTo>
                <a:lnTo>
                  <a:pt x="11864" y="1392"/>
                </a:lnTo>
                <a:lnTo>
                  <a:pt x="11869" y="1407"/>
                </a:lnTo>
                <a:lnTo>
                  <a:pt x="11877" y="1419"/>
                </a:lnTo>
                <a:lnTo>
                  <a:pt x="11887" y="1429"/>
                </a:lnTo>
                <a:lnTo>
                  <a:pt x="11900" y="1438"/>
                </a:lnTo>
                <a:lnTo>
                  <a:pt x="11913" y="1444"/>
                </a:lnTo>
                <a:lnTo>
                  <a:pt x="11928" y="1448"/>
                </a:lnTo>
                <a:lnTo>
                  <a:pt x="11945" y="1449"/>
                </a:lnTo>
                <a:lnTo>
                  <a:pt x="11976" y="1447"/>
                </a:lnTo>
                <a:lnTo>
                  <a:pt x="11990" y="1444"/>
                </a:lnTo>
                <a:lnTo>
                  <a:pt x="12005" y="1440"/>
                </a:lnTo>
                <a:lnTo>
                  <a:pt x="12031" y="1429"/>
                </a:lnTo>
                <a:lnTo>
                  <a:pt x="12041" y="1423"/>
                </a:lnTo>
                <a:lnTo>
                  <a:pt x="12051" y="1414"/>
                </a:lnTo>
                <a:lnTo>
                  <a:pt x="12070" y="1396"/>
                </a:lnTo>
                <a:lnTo>
                  <a:pt x="12076" y="1385"/>
                </a:lnTo>
                <a:lnTo>
                  <a:pt x="12083" y="1373"/>
                </a:lnTo>
                <a:lnTo>
                  <a:pt x="12087" y="1360"/>
                </a:lnTo>
                <a:lnTo>
                  <a:pt x="12090" y="1347"/>
                </a:lnTo>
                <a:lnTo>
                  <a:pt x="12093" y="1332"/>
                </a:lnTo>
                <a:lnTo>
                  <a:pt x="12094" y="1316"/>
                </a:lnTo>
                <a:lnTo>
                  <a:pt x="12094" y="1289"/>
                </a:lnTo>
                <a:close/>
                <a:moveTo>
                  <a:pt x="12210" y="1556"/>
                </a:moveTo>
                <a:lnTo>
                  <a:pt x="12189" y="1555"/>
                </a:lnTo>
                <a:lnTo>
                  <a:pt x="12171" y="1549"/>
                </a:lnTo>
                <a:lnTo>
                  <a:pt x="12154" y="1541"/>
                </a:lnTo>
                <a:lnTo>
                  <a:pt x="12140" y="1532"/>
                </a:lnTo>
                <a:lnTo>
                  <a:pt x="12129" y="1520"/>
                </a:lnTo>
                <a:lnTo>
                  <a:pt x="12121" y="1506"/>
                </a:lnTo>
                <a:lnTo>
                  <a:pt x="12115" y="1490"/>
                </a:lnTo>
                <a:lnTo>
                  <a:pt x="12112" y="1474"/>
                </a:lnTo>
                <a:lnTo>
                  <a:pt x="12100" y="1491"/>
                </a:lnTo>
                <a:lnTo>
                  <a:pt x="12085" y="1508"/>
                </a:lnTo>
                <a:lnTo>
                  <a:pt x="12066" y="1523"/>
                </a:lnTo>
                <a:lnTo>
                  <a:pt x="12045" y="1536"/>
                </a:lnTo>
                <a:lnTo>
                  <a:pt x="12021" y="1547"/>
                </a:lnTo>
                <a:lnTo>
                  <a:pt x="11995" y="1555"/>
                </a:lnTo>
                <a:lnTo>
                  <a:pt x="11966" y="1560"/>
                </a:lnTo>
                <a:lnTo>
                  <a:pt x="11936" y="1561"/>
                </a:lnTo>
                <a:lnTo>
                  <a:pt x="11911" y="1561"/>
                </a:lnTo>
                <a:lnTo>
                  <a:pt x="11887" y="1558"/>
                </a:lnTo>
                <a:lnTo>
                  <a:pt x="11865" y="1553"/>
                </a:lnTo>
                <a:lnTo>
                  <a:pt x="11845" y="1547"/>
                </a:lnTo>
                <a:lnTo>
                  <a:pt x="11826" y="1538"/>
                </a:lnTo>
                <a:lnTo>
                  <a:pt x="11809" y="1530"/>
                </a:lnTo>
                <a:lnTo>
                  <a:pt x="11794" y="1519"/>
                </a:lnTo>
                <a:lnTo>
                  <a:pt x="11780" y="1507"/>
                </a:lnTo>
                <a:lnTo>
                  <a:pt x="11767" y="1493"/>
                </a:lnTo>
                <a:lnTo>
                  <a:pt x="11756" y="1478"/>
                </a:lnTo>
                <a:lnTo>
                  <a:pt x="11747" y="1464"/>
                </a:lnTo>
                <a:lnTo>
                  <a:pt x="11739" y="1448"/>
                </a:lnTo>
                <a:lnTo>
                  <a:pt x="11734" y="1432"/>
                </a:lnTo>
                <a:lnTo>
                  <a:pt x="11730" y="1414"/>
                </a:lnTo>
                <a:lnTo>
                  <a:pt x="11726" y="1379"/>
                </a:lnTo>
                <a:lnTo>
                  <a:pt x="11727" y="1360"/>
                </a:lnTo>
                <a:lnTo>
                  <a:pt x="11731" y="1340"/>
                </a:lnTo>
                <a:lnTo>
                  <a:pt x="11735" y="1323"/>
                </a:lnTo>
                <a:lnTo>
                  <a:pt x="11742" y="1305"/>
                </a:lnTo>
                <a:lnTo>
                  <a:pt x="11749" y="1290"/>
                </a:lnTo>
                <a:lnTo>
                  <a:pt x="11759" y="1275"/>
                </a:lnTo>
                <a:lnTo>
                  <a:pt x="11771" y="1262"/>
                </a:lnTo>
                <a:lnTo>
                  <a:pt x="11783" y="1250"/>
                </a:lnTo>
                <a:lnTo>
                  <a:pt x="11812" y="1229"/>
                </a:lnTo>
                <a:lnTo>
                  <a:pt x="11828" y="1221"/>
                </a:lnTo>
                <a:lnTo>
                  <a:pt x="11846" y="1214"/>
                </a:lnTo>
                <a:lnTo>
                  <a:pt x="11883" y="1203"/>
                </a:lnTo>
                <a:lnTo>
                  <a:pt x="11923" y="1198"/>
                </a:lnTo>
                <a:lnTo>
                  <a:pt x="12094" y="1186"/>
                </a:lnTo>
                <a:lnTo>
                  <a:pt x="12094" y="1150"/>
                </a:lnTo>
                <a:lnTo>
                  <a:pt x="12093" y="1130"/>
                </a:lnTo>
                <a:lnTo>
                  <a:pt x="12089" y="1112"/>
                </a:lnTo>
                <a:lnTo>
                  <a:pt x="12083" y="1097"/>
                </a:lnTo>
                <a:lnTo>
                  <a:pt x="12074" y="1084"/>
                </a:lnTo>
                <a:lnTo>
                  <a:pt x="12068" y="1078"/>
                </a:lnTo>
                <a:lnTo>
                  <a:pt x="12061" y="1073"/>
                </a:lnTo>
                <a:lnTo>
                  <a:pt x="12044" y="1065"/>
                </a:lnTo>
                <a:lnTo>
                  <a:pt x="12022" y="1060"/>
                </a:lnTo>
                <a:lnTo>
                  <a:pt x="11995" y="1059"/>
                </a:lnTo>
                <a:lnTo>
                  <a:pt x="11972" y="1060"/>
                </a:lnTo>
                <a:lnTo>
                  <a:pt x="11951" y="1063"/>
                </a:lnTo>
                <a:lnTo>
                  <a:pt x="11934" y="1070"/>
                </a:lnTo>
                <a:lnTo>
                  <a:pt x="11919" y="1079"/>
                </a:lnTo>
                <a:lnTo>
                  <a:pt x="11907" y="1091"/>
                </a:lnTo>
                <a:lnTo>
                  <a:pt x="11898" y="1105"/>
                </a:lnTo>
                <a:lnTo>
                  <a:pt x="11892" y="1122"/>
                </a:lnTo>
                <a:lnTo>
                  <a:pt x="11889" y="1140"/>
                </a:lnTo>
                <a:lnTo>
                  <a:pt x="11755" y="1140"/>
                </a:lnTo>
                <a:lnTo>
                  <a:pt x="11757" y="1117"/>
                </a:lnTo>
                <a:lnTo>
                  <a:pt x="11761" y="1095"/>
                </a:lnTo>
                <a:lnTo>
                  <a:pt x="11769" y="1075"/>
                </a:lnTo>
                <a:lnTo>
                  <a:pt x="11777" y="1056"/>
                </a:lnTo>
                <a:lnTo>
                  <a:pt x="11787" y="1039"/>
                </a:lnTo>
                <a:lnTo>
                  <a:pt x="11800" y="1024"/>
                </a:lnTo>
                <a:lnTo>
                  <a:pt x="11813" y="1010"/>
                </a:lnTo>
                <a:lnTo>
                  <a:pt x="11830" y="998"/>
                </a:lnTo>
                <a:lnTo>
                  <a:pt x="11846" y="987"/>
                </a:lnTo>
                <a:lnTo>
                  <a:pt x="11864" y="977"/>
                </a:lnTo>
                <a:lnTo>
                  <a:pt x="11884" y="969"/>
                </a:lnTo>
                <a:lnTo>
                  <a:pt x="11903" y="963"/>
                </a:lnTo>
                <a:lnTo>
                  <a:pt x="11948" y="955"/>
                </a:lnTo>
                <a:lnTo>
                  <a:pt x="11995" y="952"/>
                </a:lnTo>
                <a:lnTo>
                  <a:pt x="12032" y="953"/>
                </a:lnTo>
                <a:lnTo>
                  <a:pt x="12066" y="958"/>
                </a:lnTo>
                <a:lnTo>
                  <a:pt x="12083" y="962"/>
                </a:lnTo>
                <a:lnTo>
                  <a:pt x="12099" y="966"/>
                </a:lnTo>
                <a:lnTo>
                  <a:pt x="12128" y="978"/>
                </a:lnTo>
                <a:lnTo>
                  <a:pt x="12143" y="986"/>
                </a:lnTo>
                <a:lnTo>
                  <a:pt x="12156" y="994"/>
                </a:lnTo>
                <a:lnTo>
                  <a:pt x="12168" y="1004"/>
                </a:lnTo>
                <a:lnTo>
                  <a:pt x="12178" y="1015"/>
                </a:lnTo>
                <a:lnTo>
                  <a:pt x="12188" y="1027"/>
                </a:lnTo>
                <a:lnTo>
                  <a:pt x="12198" y="1040"/>
                </a:lnTo>
                <a:lnTo>
                  <a:pt x="12213" y="1070"/>
                </a:lnTo>
                <a:lnTo>
                  <a:pt x="12222" y="1099"/>
                </a:lnTo>
                <a:lnTo>
                  <a:pt x="12226" y="1128"/>
                </a:lnTo>
                <a:lnTo>
                  <a:pt x="12229" y="1188"/>
                </a:lnTo>
                <a:lnTo>
                  <a:pt x="12229" y="1403"/>
                </a:lnTo>
                <a:lnTo>
                  <a:pt x="12232" y="1420"/>
                </a:lnTo>
                <a:lnTo>
                  <a:pt x="12237" y="1432"/>
                </a:lnTo>
                <a:lnTo>
                  <a:pt x="12241" y="1435"/>
                </a:lnTo>
                <a:lnTo>
                  <a:pt x="12247" y="1438"/>
                </a:lnTo>
                <a:lnTo>
                  <a:pt x="12262" y="1440"/>
                </a:lnTo>
                <a:lnTo>
                  <a:pt x="12279" y="1438"/>
                </a:lnTo>
                <a:lnTo>
                  <a:pt x="12279" y="1540"/>
                </a:lnTo>
                <a:lnTo>
                  <a:pt x="12249" y="1552"/>
                </a:lnTo>
                <a:lnTo>
                  <a:pt x="12232" y="1555"/>
                </a:lnTo>
                <a:lnTo>
                  <a:pt x="12210" y="1556"/>
                </a:lnTo>
                <a:close/>
                <a:moveTo>
                  <a:pt x="11596" y="1553"/>
                </a:moveTo>
                <a:lnTo>
                  <a:pt x="11562" y="1551"/>
                </a:lnTo>
                <a:lnTo>
                  <a:pt x="11546" y="1549"/>
                </a:lnTo>
                <a:lnTo>
                  <a:pt x="11531" y="1545"/>
                </a:lnTo>
                <a:lnTo>
                  <a:pt x="11517" y="1539"/>
                </a:lnTo>
                <a:lnTo>
                  <a:pt x="11504" y="1534"/>
                </a:lnTo>
                <a:lnTo>
                  <a:pt x="11492" y="1526"/>
                </a:lnTo>
                <a:lnTo>
                  <a:pt x="11481" y="1518"/>
                </a:lnTo>
                <a:lnTo>
                  <a:pt x="11471" y="1507"/>
                </a:lnTo>
                <a:lnTo>
                  <a:pt x="11462" y="1496"/>
                </a:lnTo>
                <a:lnTo>
                  <a:pt x="11455" y="1483"/>
                </a:lnTo>
                <a:lnTo>
                  <a:pt x="11449" y="1469"/>
                </a:lnTo>
                <a:lnTo>
                  <a:pt x="11441" y="1436"/>
                </a:lnTo>
                <a:lnTo>
                  <a:pt x="11438" y="1417"/>
                </a:lnTo>
                <a:lnTo>
                  <a:pt x="11437" y="1398"/>
                </a:lnTo>
                <a:lnTo>
                  <a:pt x="11437" y="740"/>
                </a:lnTo>
                <a:lnTo>
                  <a:pt x="11577" y="740"/>
                </a:lnTo>
                <a:lnTo>
                  <a:pt x="11577" y="1374"/>
                </a:lnTo>
                <a:lnTo>
                  <a:pt x="11579" y="1386"/>
                </a:lnTo>
                <a:lnTo>
                  <a:pt x="11580" y="1397"/>
                </a:lnTo>
                <a:lnTo>
                  <a:pt x="11583" y="1407"/>
                </a:lnTo>
                <a:lnTo>
                  <a:pt x="11588" y="1414"/>
                </a:lnTo>
                <a:lnTo>
                  <a:pt x="11595" y="1421"/>
                </a:lnTo>
                <a:lnTo>
                  <a:pt x="11605" y="1426"/>
                </a:lnTo>
                <a:lnTo>
                  <a:pt x="11618" y="1428"/>
                </a:lnTo>
                <a:lnTo>
                  <a:pt x="11634" y="1429"/>
                </a:lnTo>
                <a:lnTo>
                  <a:pt x="11657" y="1428"/>
                </a:lnTo>
                <a:lnTo>
                  <a:pt x="11657" y="1546"/>
                </a:lnTo>
                <a:lnTo>
                  <a:pt x="11626" y="1552"/>
                </a:lnTo>
                <a:lnTo>
                  <a:pt x="11596" y="1553"/>
                </a:lnTo>
                <a:close/>
                <a:moveTo>
                  <a:pt x="11139" y="1097"/>
                </a:moveTo>
                <a:lnTo>
                  <a:pt x="11131" y="1090"/>
                </a:lnTo>
                <a:lnTo>
                  <a:pt x="11122" y="1084"/>
                </a:lnTo>
                <a:lnTo>
                  <a:pt x="11103" y="1073"/>
                </a:lnTo>
                <a:lnTo>
                  <a:pt x="11091" y="1069"/>
                </a:lnTo>
                <a:lnTo>
                  <a:pt x="11079" y="1066"/>
                </a:lnTo>
                <a:lnTo>
                  <a:pt x="11051" y="1064"/>
                </a:lnTo>
                <a:lnTo>
                  <a:pt x="11020" y="1067"/>
                </a:lnTo>
                <a:lnTo>
                  <a:pt x="10994" y="1076"/>
                </a:lnTo>
                <a:lnTo>
                  <a:pt x="10971" y="1090"/>
                </a:lnTo>
                <a:lnTo>
                  <a:pt x="10961" y="1099"/>
                </a:lnTo>
                <a:lnTo>
                  <a:pt x="10954" y="1109"/>
                </a:lnTo>
                <a:lnTo>
                  <a:pt x="10941" y="1128"/>
                </a:lnTo>
                <a:lnTo>
                  <a:pt x="10931" y="1149"/>
                </a:lnTo>
                <a:lnTo>
                  <a:pt x="10926" y="1172"/>
                </a:lnTo>
                <a:lnTo>
                  <a:pt x="10923" y="1199"/>
                </a:lnTo>
                <a:lnTo>
                  <a:pt x="11174" y="1199"/>
                </a:lnTo>
                <a:lnTo>
                  <a:pt x="11173" y="1183"/>
                </a:lnTo>
                <a:lnTo>
                  <a:pt x="11171" y="1168"/>
                </a:lnTo>
                <a:lnTo>
                  <a:pt x="11165" y="1141"/>
                </a:lnTo>
                <a:lnTo>
                  <a:pt x="11154" y="1117"/>
                </a:lnTo>
                <a:lnTo>
                  <a:pt x="11146" y="1106"/>
                </a:lnTo>
                <a:lnTo>
                  <a:pt x="11139" y="1097"/>
                </a:lnTo>
                <a:close/>
                <a:moveTo>
                  <a:pt x="11312" y="1300"/>
                </a:moveTo>
                <a:lnTo>
                  <a:pt x="10924" y="1300"/>
                </a:lnTo>
                <a:lnTo>
                  <a:pt x="10924" y="1317"/>
                </a:lnTo>
                <a:lnTo>
                  <a:pt x="10927" y="1333"/>
                </a:lnTo>
                <a:lnTo>
                  <a:pt x="10935" y="1364"/>
                </a:lnTo>
                <a:lnTo>
                  <a:pt x="10941" y="1378"/>
                </a:lnTo>
                <a:lnTo>
                  <a:pt x="10948" y="1391"/>
                </a:lnTo>
                <a:lnTo>
                  <a:pt x="10957" y="1403"/>
                </a:lnTo>
                <a:lnTo>
                  <a:pt x="10967" y="1414"/>
                </a:lnTo>
                <a:lnTo>
                  <a:pt x="10983" y="1427"/>
                </a:lnTo>
                <a:lnTo>
                  <a:pt x="11003" y="1439"/>
                </a:lnTo>
                <a:lnTo>
                  <a:pt x="11027" y="1447"/>
                </a:lnTo>
                <a:lnTo>
                  <a:pt x="11053" y="1450"/>
                </a:lnTo>
                <a:lnTo>
                  <a:pt x="11080" y="1448"/>
                </a:lnTo>
                <a:lnTo>
                  <a:pt x="11103" y="1444"/>
                </a:lnTo>
                <a:lnTo>
                  <a:pt x="11121" y="1435"/>
                </a:lnTo>
                <a:lnTo>
                  <a:pt x="11137" y="1422"/>
                </a:lnTo>
                <a:lnTo>
                  <a:pt x="11146" y="1412"/>
                </a:lnTo>
                <a:lnTo>
                  <a:pt x="11154" y="1401"/>
                </a:lnTo>
                <a:lnTo>
                  <a:pt x="11160" y="1388"/>
                </a:lnTo>
                <a:lnTo>
                  <a:pt x="11166" y="1373"/>
                </a:lnTo>
                <a:lnTo>
                  <a:pt x="11299" y="1373"/>
                </a:lnTo>
                <a:lnTo>
                  <a:pt x="11293" y="1400"/>
                </a:lnTo>
                <a:lnTo>
                  <a:pt x="11288" y="1415"/>
                </a:lnTo>
                <a:lnTo>
                  <a:pt x="11282" y="1429"/>
                </a:lnTo>
                <a:lnTo>
                  <a:pt x="11267" y="1457"/>
                </a:lnTo>
                <a:lnTo>
                  <a:pt x="11250" y="1481"/>
                </a:lnTo>
                <a:lnTo>
                  <a:pt x="11231" y="1500"/>
                </a:lnTo>
                <a:lnTo>
                  <a:pt x="11209" y="1518"/>
                </a:lnTo>
                <a:lnTo>
                  <a:pt x="11186" y="1532"/>
                </a:lnTo>
                <a:lnTo>
                  <a:pt x="11161" y="1543"/>
                </a:lnTo>
                <a:lnTo>
                  <a:pt x="11136" y="1551"/>
                </a:lnTo>
                <a:lnTo>
                  <a:pt x="11109" y="1557"/>
                </a:lnTo>
                <a:lnTo>
                  <a:pt x="11082" y="1560"/>
                </a:lnTo>
                <a:lnTo>
                  <a:pt x="11055" y="1561"/>
                </a:lnTo>
                <a:lnTo>
                  <a:pt x="11027" y="1560"/>
                </a:lnTo>
                <a:lnTo>
                  <a:pt x="10999" y="1557"/>
                </a:lnTo>
                <a:lnTo>
                  <a:pt x="10986" y="1553"/>
                </a:lnTo>
                <a:lnTo>
                  <a:pt x="10974" y="1550"/>
                </a:lnTo>
                <a:lnTo>
                  <a:pt x="10951" y="1543"/>
                </a:lnTo>
                <a:lnTo>
                  <a:pt x="10929" y="1532"/>
                </a:lnTo>
                <a:lnTo>
                  <a:pt x="10909" y="1520"/>
                </a:lnTo>
                <a:lnTo>
                  <a:pt x="10890" y="1506"/>
                </a:lnTo>
                <a:lnTo>
                  <a:pt x="10872" y="1490"/>
                </a:lnTo>
                <a:lnTo>
                  <a:pt x="10852" y="1468"/>
                </a:lnTo>
                <a:lnTo>
                  <a:pt x="10833" y="1444"/>
                </a:lnTo>
                <a:lnTo>
                  <a:pt x="10818" y="1417"/>
                </a:lnTo>
                <a:lnTo>
                  <a:pt x="10806" y="1388"/>
                </a:lnTo>
                <a:lnTo>
                  <a:pt x="10801" y="1374"/>
                </a:lnTo>
                <a:lnTo>
                  <a:pt x="10796" y="1359"/>
                </a:lnTo>
                <a:lnTo>
                  <a:pt x="10789" y="1326"/>
                </a:lnTo>
                <a:lnTo>
                  <a:pt x="10784" y="1292"/>
                </a:lnTo>
                <a:lnTo>
                  <a:pt x="10783" y="1258"/>
                </a:lnTo>
                <a:lnTo>
                  <a:pt x="10784" y="1224"/>
                </a:lnTo>
                <a:lnTo>
                  <a:pt x="10788" y="1190"/>
                </a:lnTo>
                <a:lnTo>
                  <a:pt x="10794" y="1159"/>
                </a:lnTo>
                <a:lnTo>
                  <a:pt x="10804" y="1128"/>
                </a:lnTo>
                <a:lnTo>
                  <a:pt x="10816" y="1100"/>
                </a:lnTo>
                <a:lnTo>
                  <a:pt x="10830" y="1073"/>
                </a:lnTo>
                <a:lnTo>
                  <a:pt x="10847" y="1048"/>
                </a:lnTo>
                <a:lnTo>
                  <a:pt x="10867" y="1026"/>
                </a:lnTo>
                <a:lnTo>
                  <a:pt x="10883" y="1010"/>
                </a:lnTo>
                <a:lnTo>
                  <a:pt x="10903" y="995"/>
                </a:lnTo>
                <a:lnTo>
                  <a:pt x="10923" y="982"/>
                </a:lnTo>
                <a:lnTo>
                  <a:pt x="10946" y="971"/>
                </a:lnTo>
                <a:lnTo>
                  <a:pt x="10970" y="964"/>
                </a:lnTo>
                <a:lnTo>
                  <a:pt x="10995" y="957"/>
                </a:lnTo>
                <a:lnTo>
                  <a:pt x="11022" y="953"/>
                </a:lnTo>
                <a:lnTo>
                  <a:pt x="11052" y="952"/>
                </a:lnTo>
                <a:lnTo>
                  <a:pt x="11083" y="954"/>
                </a:lnTo>
                <a:lnTo>
                  <a:pt x="11115" y="958"/>
                </a:lnTo>
                <a:lnTo>
                  <a:pt x="11144" y="967"/>
                </a:lnTo>
                <a:lnTo>
                  <a:pt x="11172" y="978"/>
                </a:lnTo>
                <a:lnTo>
                  <a:pt x="11198" y="993"/>
                </a:lnTo>
                <a:lnTo>
                  <a:pt x="11222" y="1012"/>
                </a:lnTo>
                <a:lnTo>
                  <a:pt x="11244" y="1033"/>
                </a:lnTo>
                <a:lnTo>
                  <a:pt x="11263" y="1060"/>
                </a:lnTo>
                <a:lnTo>
                  <a:pt x="11278" y="1084"/>
                </a:lnTo>
                <a:lnTo>
                  <a:pt x="11290" y="1107"/>
                </a:lnTo>
                <a:lnTo>
                  <a:pt x="11306" y="1156"/>
                </a:lnTo>
                <a:lnTo>
                  <a:pt x="11310" y="1183"/>
                </a:lnTo>
                <a:lnTo>
                  <a:pt x="11312" y="1208"/>
                </a:lnTo>
                <a:lnTo>
                  <a:pt x="11313" y="1261"/>
                </a:lnTo>
                <a:lnTo>
                  <a:pt x="11312" y="1300"/>
                </a:lnTo>
                <a:close/>
                <a:moveTo>
                  <a:pt x="10509" y="1111"/>
                </a:moveTo>
                <a:lnTo>
                  <a:pt x="10502" y="1103"/>
                </a:lnTo>
                <a:lnTo>
                  <a:pt x="10493" y="1097"/>
                </a:lnTo>
                <a:lnTo>
                  <a:pt x="10472" y="1085"/>
                </a:lnTo>
                <a:lnTo>
                  <a:pt x="10462" y="1080"/>
                </a:lnTo>
                <a:lnTo>
                  <a:pt x="10449" y="1077"/>
                </a:lnTo>
                <a:lnTo>
                  <a:pt x="10421" y="1074"/>
                </a:lnTo>
                <a:lnTo>
                  <a:pt x="10394" y="1077"/>
                </a:lnTo>
                <a:lnTo>
                  <a:pt x="10370" y="1085"/>
                </a:lnTo>
                <a:lnTo>
                  <a:pt x="10350" y="1097"/>
                </a:lnTo>
                <a:lnTo>
                  <a:pt x="10341" y="1103"/>
                </a:lnTo>
                <a:lnTo>
                  <a:pt x="10333" y="1111"/>
                </a:lnTo>
                <a:lnTo>
                  <a:pt x="10322" y="1125"/>
                </a:lnTo>
                <a:lnTo>
                  <a:pt x="10313" y="1141"/>
                </a:lnTo>
                <a:lnTo>
                  <a:pt x="10306" y="1159"/>
                </a:lnTo>
                <a:lnTo>
                  <a:pt x="10301" y="1177"/>
                </a:lnTo>
                <a:lnTo>
                  <a:pt x="10294" y="1216"/>
                </a:lnTo>
                <a:lnTo>
                  <a:pt x="10292" y="1256"/>
                </a:lnTo>
                <a:lnTo>
                  <a:pt x="10292" y="1277"/>
                </a:lnTo>
                <a:lnTo>
                  <a:pt x="10294" y="1298"/>
                </a:lnTo>
                <a:lnTo>
                  <a:pt x="10301" y="1337"/>
                </a:lnTo>
                <a:lnTo>
                  <a:pt x="10306" y="1355"/>
                </a:lnTo>
                <a:lnTo>
                  <a:pt x="10313" y="1372"/>
                </a:lnTo>
                <a:lnTo>
                  <a:pt x="10322" y="1388"/>
                </a:lnTo>
                <a:lnTo>
                  <a:pt x="10333" y="1403"/>
                </a:lnTo>
                <a:lnTo>
                  <a:pt x="10341" y="1410"/>
                </a:lnTo>
                <a:lnTo>
                  <a:pt x="10350" y="1417"/>
                </a:lnTo>
                <a:lnTo>
                  <a:pt x="10370" y="1429"/>
                </a:lnTo>
                <a:lnTo>
                  <a:pt x="10382" y="1434"/>
                </a:lnTo>
                <a:lnTo>
                  <a:pt x="10394" y="1437"/>
                </a:lnTo>
                <a:lnTo>
                  <a:pt x="10421" y="1440"/>
                </a:lnTo>
                <a:lnTo>
                  <a:pt x="10449" y="1437"/>
                </a:lnTo>
                <a:lnTo>
                  <a:pt x="10472" y="1429"/>
                </a:lnTo>
                <a:lnTo>
                  <a:pt x="10493" y="1417"/>
                </a:lnTo>
                <a:lnTo>
                  <a:pt x="10502" y="1410"/>
                </a:lnTo>
                <a:lnTo>
                  <a:pt x="10509" y="1403"/>
                </a:lnTo>
                <a:lnTo>
                  <a:pt x="10521" y="1388"/>
                </a:lnTo>
                <a:lnTo>
                  <a:pt x="10530" y="1372"/>
                </a:lnTo>
                <a:lnTo>
                  <a:pt x="10538" y="1355"/>
                </a:lnTo>
                <a:lnTo>
                  <a:pt x="10543" y="1337"/>
                </a:lnTo>
                <a:lnTo>
                  <a:pt x="10550" y="1298"/>
                </a:lnTo>
                <a:lnTo>
                  <a:pt x="10551" y="1256"/>
                </a:lnTo>
                <a:lnTo>
                  <a:pt x="10551" y="1236"/>
                </a:lnTo>
                <a:lnTo>
                  <a:pt x="10550" y="1216"/>
                </a:lnTo>
                <a:lnTo>
                  <a:pt x="10543" y="1177"/>
                </a:lnTo>
                <a:lnTo>
                  <a:pt x="10538" y="1159"/>
                </a:lnTo>
                <a:lnTo>
                  <a:pt x="10530" y="1141"/>
                </a:lnTo>
                <a:lnTo>
                  <a:pt x="10521" y="1125"/>
                </a:lnTo>
                <a:lnTo>
                  <a:pt x="10509" y="1111"/>
                </a:lnTo>
                <a:close/>
                <a:moveTo>
                  <a:pt x="10625" y="1471"/>
                </a:moveTo>
                <a:lnTo>
                  <a:pt x="10608" y="1489"/>
                </a:lnTo>
                <a:lnTo>
                  <a:pt x="10589" y="1506"/>
                </a:lnTo>
                <a:lnTo>
                  <a:pt x="10566" y="1521"/>
                </a:lnTo>
                <a:lnTo>
                  <a:pt x="10541" y="1535"/>
                </a:lnTo>
                <a:lnTo>
                  <a:pt x="10514" y="1546"/>
                </a:lnTo>
                <a:lnTo>
                  <a:pt x="10484" y="1555"/>
                </a:lnTo>
                <a:lnTo>
                  <a:pt x="10454" y="1560"/>
                </a:lnTo>
                <a:lnTo>
                  <a:pt x="10421" y="1561"/>
                </a:lnTo>
                <a:lnTo>
                  <a:pt x="10389" y="1560"/>
                </a:lnTo>
                <a:lnTo>
                  <a:pt x="10358" y="1555"/>
                </a:lnTo>
                <a:lnTo>
                  <a:pt x="10329" y="1546"/>
                </a:lnTo>
                <a:lnTo>
                  <a:pt x="10302" y="1535"/>
                </a:lnTo>
                <a:lnTo>
                  <a:pt x="10277" y="1521"/>
                </a:lnTo>
                <a:lnTo>
                  <a:pt x="10255" y="1506"/>
                </a:lnTo>
                <a:lnTo>
                  <a:pt x="10236" y="1489"/>
                </a:lnTo>
                <a:lnTo>
                  <a:pt x="10227" y="1481"/>
                </a:lnTo>
                <a:lnTo>
                  <a:pt x="10218" y="1471"/>
                </a:lnTo>
                <a:lnTo>
                  <a:pt x="10190" y="1428"/>
                </a:lnTo>
                <a:lnTo>
                  <a:pt x="10178" y="1406"/>
                </a:lnTo>
                <a:lnTo>
                  <a:pt x="10168" y="1380"/>
                </a:lnTo>
                <a:lnTo>
                  <a:pt x="10161" y="1353"/>
                </a:lnTo>
                <a:lnTo>
                  <a:pt x="10155" y="1324"/>
                </a:lnTo>
                <a:lnTo>
                  <a:pt x="10152" y="1292"/>
                </a:lnTo>
                <a:lnTo>
                  <a:pt x="10151" y="1256"/>
                </a:lnTo>
                <a:lnTo>
                  <a:pt x="10152" y="1222"/>
                </a:lnTo>
                <a:lnTo>
                  <a:pt x="10155" y="1189"/>
                </a:lnTo>
                <a:lnTo>
                  <a:pt x="10161" y="1160"/>
                </a:lnTo>
                <a:lnTo>
                  <a:pt x="10168" y="1134"/>
                </a:lnTo>
                <a:lnTo>
                  <a:pt x="10178" y="1109"/>
                </a:lnTo>
                <a:lnTo>
                  <a:pt x="10190" y="1085"/>
                </a:lnTo>
                <a:lnTo>
                  <a:pt x="10203" y="1063"/>
                </a:lnTo>
                <a:lnTo>
                  <a:pt x="10218" y="1042"/>
                </a:lnTo>
                <a:lnTo>
                  <a:pt x="10236" y="1025"/>
                </a:lnTo>
                <a:lnTo>
                  <a:pt x="10255" y="1007"/>
                </a:lnTo>
                <a:lnTo>
                  <a:pt x="10277" y="992"/>
                </a:lnTo>
                <a:lnTo>
                  <a:pt x="10302" y="979"/>
                </a:lnTo>
                <a:lnTo>
                  <a:pt x="10329" y="967"/>
                </a:lnTo>
                <a:lnTo>
                  <a:pt x="10358" y="960"/>
                </a:lnTo>
                <a:lnTo>
                  <a:pt x="10389" y="954"/>
                </a:lnTo>
                <a:lnTo>
                  <a:pt x="10421" y="952"/>
                </a:lnTo>
                <a:lnTo>
                  <a:pt x="10454" y="954"/>
                </a:lnTo>
                <a:lnTo>
                  <a:pt x="10484" y="960"/>
                </a:lnTo>
                <a:lnTo>
                  <a:pt x="10514" y="967"/>
                </a:lnTo>
                <a:lnTo>
                  <a:pt x="10541" y="979"/>
                </a:lnTo>
                <a:lnTo>
                  <a:pt x="10566" y="992"/>
                </a:lnTo>
                <a:lnTo>
                  <a:pt x="10589" y="1007"/>
                </a:lnTo>
                <a:lnTo>
                  <a:pt x="10608" y="1025"/>
                </a:lnTo>
                <a:lnTo>
                  <a:pt x="10617" y="1033"/>
                </a:lnTo>
                <a:lnTo>
                  <a:pt x="10625" y="1042"/>
                </a:lnTo>
                <a:lnTo>
                  <a:pt x="10654" y="1085"/>
                </a:lnTo>
                <a:lnTo>
                  <a:pt x="10665" y="1109"/>
                </a:lnTo>
                <a:lnTo>
                  <a:pt x="10675" y="1134"/>
                </a:lnTo>
                <a:lnTo>
                  <a:pt x="10682" y="1160"/>
                </a:lnTo>
                <a:lnTo>
                  <a:pt x="10688" y="1189"/>
                </a:lnTo>
                <a:lnTo>
                  <a:pt x="10692" y="1222"/>
                </a:lnTo>
                <a:lnTo>
                  <a:pt x="10693" y="1256"/>
                </a:lnTo>
                <a:lnTo>
                  <a:pt x="10692" y="1292"/>
                </a:lnTo>
                <a:lnTo>
                  <a:pt x="10688" y="1324"/>
                </a:lnTo>
                <a:lnTo>
                  <a:pt x="10682" y="1353"/>
                </a:lnTo>
                <a:lnTo>
                  <a:pt x="10675" y="1380"/>
                </a:lnTo>
                <a:lnTo>
                  <a:pt x="10665" y="1406"/>
                </a:lnTo>
                <a:lnTo>
                  <a:pt x="10654" y="1428"/>
                </a:lnTo>
                <a:lnTo>
                  <a:pt x="10640" y="1450"/>
                </a:lnTo>
                <a:lnTo>
                  <a:pt x="10625" y="1471"/>
                </a:lnTo>
                <a:close/>
                <a:moveTo>
                  <a:pt x="9890" y="1547"/>
                </a:moveTo>
                <a:lnTo>
                  <a:pt x="9890" y="1191"/>
                </a:lnTo>
                <a:lnTo>
                  <a:pt x="9889" y="1166"/>
                </a:lnTo>
                <a:lnTo>
                  <a:pt x="9885" y="1146"/>
                </a:lnTo>
                <a:lnTo>
                  <a:pt x="9882" y="1136"/>
                </a:lnTo>
                <a:lnTo>
                  <a:pt x="9879" y="1126"/>
                </a:lnTo>
                <a:lnTo>
                  <a:pt x="9875" y="1118"/>
                </a:lnTo>
                <a:lnTo>
                  <a:pt x="9869" y="1111"/>
                </a:lnTo>
                <a:lnTo>
                  <a:pt x="9863" y="1104"/>
                </a:lnTo>
                <a:lnTo>
                  <a:pt x="9856" y="1098"/>
                </a:lnTo>
                <a:lnTo>
                  <a:pt x="9840" y="1089"/>
                </a:lnTo>
                <a:lnTo>
                  <a:pt x="9819" y="1084"/>
                </a:lnTo>
                <a:lnTo>
                  <a:pt x="9793" y="1081"/>
                </a:lnTo>
                <a:lnTo>
                  <a:pt x="9776" y="1082"/>
                </a:lnTo>
                <a:lnTo>
                  <a:pt x="9760" y="1087"/>
                </a:lnTo>
                <a:lnTo>
                  <a:pt x="9746" y="1093"/>
                </a:lnTo>
                <a:lnTo>
                  <a:pt x="9732" y="1102"/>
                </a:lnTo>
                <a:lnTo>
                  <a:pt x="9721" y="1113"/>
                </a:lnTo>
                <a:lnTo>
                  <a:pt x="9710" y="1126"/>
                </a:lnTo>
                <a:lnTo>
                  <a:pt x="9701" y="1140"/>
                </a:lnTo>
                <a:lnTo>
                  <a:pt x="9693" y="1155"/>
                </a:lnTo>
                <a:lnTo>
                  <a:pt x="9687" y="1173"/>
                </a:lnTo>
                <a:lnTo>
                  <a:pt x="9681" y="1192"/>
                </a:lnTo>
                <a:lnTo>
                  <a:pt x="9678" y="1212"/>
                </a:lnTo>
                <a:lnTo>
                  <a:pt x="9676" y="1231"/>
                </a:lnTo>
                <a:lnTo>
                  <a:pt x="9675" y="1272"/>
                </a:lnTo>
                <a:lnTo>
                  <a:pt x="9674" y="1311"/>
                </a:lnTo>
                <a:lnTo>
                  <a:pt x="9674" y="1547"/>
                </a:lnTo>
                <a:lnTo>
                  <a:pt x="9535" y="1547"/>
                </a:lnTo>
                <a:lnTo>
                  <a:pt x="9535" y="966"/>
                </a:lnTo>
                <a:lnTo>
                  <a:pt x="9652" y="966"/>
                </a:lnTo>
                <a:lnTo>
                  <a:pt x="9662" y="1041"/>
                </a:lnTo>
                <a:lnTo>
                  <a:pt x="9677" y="1019"/>
                </a:lnTo>
                <a:lnTo>
                  <a:pt x="9693" y="1001"/>
                </a:lnTo>
                <a:lnTo>
                  <a:pt x="9714" y="986"/>
                </a:lnTo>
                <a:lnTo>
                  <a:pt x="9736" y="974"/>
                </a:lnTo>
                <a:lnTo>
                  <a:pt x="9759" y="964"/>
                </a:lnTo>
                <a:lnTo>
                  <a:pt x="9782" y="957"/>
                </a:lnTo>
                <a:lnTo>
                  <a:pt x="9807" y="953"/>
                </a:lnTo>
                <a:lnTo>
                  <a:pt x="9832" y="952"/>
                </a:lnTo>
                <a:lnTo>
                  <a:pt x="9855" y="953"/>
                </a:lnTo>
                <a:lnTo>
                  <a:pt x="9877" y="956"/>
                </a:lnTo>
                <a:lnTo>
                  <a:pt x="9897" y="961"/>
                </a:lnTo>
                <a:lnTo>
                  <a:pt x="9916" y="967"/>
                </a:lnTo>
                <a:lnTo>
                  <a:pt x="9934" y="976"/>
                </a:lnTo>
                <a:lnTo>
                  <a:pt x="9949" y="986"/>
                </a:lnTo>
                <a:lnTo>
                  <a:pt x="9964" y="998"/>
                </a:lnTo>
                <a:lnTo>
                  <a:pt x="9977" y="1011"/>
                </a:lnTo>
                <a:lnTo>
                  <a:pt x="9989" y="1025"/>
                </a:lnTo>
                <a:lnTo>
                  <a:pt x="10000" y="1041"/>
                </a:lnTo>
                <a:lnTo>
                  <a:pt x="10008" y="1059"/>
                </a:lnTo>
                <a:lnTo>
                  <a:pt x="10016" y="1076"/>
                </a:lnTo>
                <a:lnTo>
                  <a:pt x="10022" y="1095"/>
                </a:lnTo>
                <a:lnTo>
                  <a:pt x="10026" y="1116"/>
                </a:lnTo>
                <a:lnTo>
                  <a:pt x="10028" y="1138"/>
                </a:lnTo>
                <a:lnTo>
                  <a:pt x="10029" y="1160"/>
                </a:lnTo>
                <a:lnTo>
                  <a:pt x="10029" y="1547"/>
                </a:lnTo>
                <a:lnTo>
                  <a:pt x="9890" y="1547"/>
                </a:lnTo>
                <a:close/>
                <a:moveTo>
                  <a:pt x="9222" y="1547"/>
                </a:moveTo>
                <a:lnTo>
                  <a:pt x="9222" y="966"/>
                </a:lnTo>
                <a:lnTo>
                  <a:pt x="9363" y="966"/>
                </a:lnTo>
                <a:lnTo>
                  <a:pt x="9363" y="1547"/>
                </a:lnTo>
                <a:lnTo>
                  <a:pt x="9222" y="1547"/>
                </a:lnTo>
                <a:close/>
                <a:moveTo>
                  <a:pt x="9217" y="886"/>
                </a:moveTo>
                <a:lnTo>
                  <a:pt x="9217" y="742"/>
                </a:lnTo>
                <a:lnTo>
                  <a:pt x="9366" y="742"/>
                </a:lnTo>
                <a:lnTo>
                  <a:pt x="9366" y="886"/>
                </a:lnTo>
                <a:lnTo>
                  <a:pt x="9217" y="886"/>
                </a:lnTo>
                <a:close/>
                <a:moveTo>
                  <a:pt x="8918" y="1097"/>
                </a:moveTo>
                <a:lnTo>
                  <a:pt x="8910" y="1090"/>
                </a:lnTo>
                <a:lnTo>
                  <a:pt x="8901" y="1084"/>
                </a:lnTo>
                <a:lnTo>
                  <a:pt x="8881" y="1073"/>
                </a:lnTo>
                <a:lnTo>
                  <a:pt x="8870" y="1069"/>
                </a:lnTo>
                <a:lnTo>
                  <a:pt x="8857" y="1066"/>
                </a:lnTo>
                <a:lnTo>
                  <a:pt x="8830" y="1064"/>
                </a:lnTo>
                <a:lnTo>
                  <a:pt x="8799" y="1067"/>
                </a:lnTo>
                <a:lnTo>
                  <a:pt x="8772" y="1076"/>
                </a:lnTo>
                <a:lnTo>
                  <a:pt x="8749" y="1090"/>
                </a:lnTo>
                <a:lnTo>
                  <a:pt x="8740" y="1099"/>
                </a:lnTo>
                <a:lnTo>
                  <a:pt x="8732" y="1109"/>
                </a:lnTo>
                <a:lnTo>
                  <a:pt x="8719" y="1128"/>
                </a:lnTo>
                <a:lnTo>
                  <a:pt x="8710" y="1149"/>
                </a:lnTo>
                <a:lnTo>
                  <a:pt x="8705" y="1172"/>
                </a:lnTo>
                <a:lnTo>
                  <a:pt x="8701" y="1199"/>
                </a:lnTo>
                <a:lnTo>
                  <a:pt x="8952" y="1199"/>
                </a:lnTo>
                <a:lnTo>
                  <a:pt x="8952" y="1183"/>
                </a:lnTo>
                <a:lnTo>
                  <a:pt x="8950" y="1168"/>
                </a:lnTo>
                <a:lnTo>
                  <a:pt x="8943" y="1141"/>
                </a:lnTo>
                <a:lnTo>
                  <a:pt x="8932" y="1117"/>
                </a:lnTo>
                <a:lnTo>
                  <a:pt x="8925" y="1106"/>
                </a:lnTo>
                <a:lnTo>
                  <a:pt x="8918" y="1097"/>
                </a:lnTo>
                <a:close/>
                <a:moveTo>
                  <a:pt x="9091" y="1300"/>
                </a:moveTo>
                <a:lnTo>
                  <a:pt x="8703" y="1300"/>
                </a:lnTo>
                <a:lnTo>
                  <a:pt x="8703" y="1317"/>
                </a:lnTo>
                <a:lnTo>
                  <a:pt x="8706" y="1333"/>
                </a:lnTo>
                <a:lnTo>
                  <a:pt x="8713" y="1364"/>
                </a:lnTo>
                <a:lnTo>
                  <a:pt x="8720" y="1378"/>
                </a:lnTo>
                <a:lnTo>
                  <a:pt x="8726" y="1391"/>
                </a:lnTo>
                <a:lnTo>
                  <a:pt x="8735" y="1403"/>
                </a:lnTo>
                <a:lnTo>
                  <a:pt x="8746" y="1414"/>
                </a:lnTo>
                <a:lnTo>
                  <a:pt x="8762" y="1427"/>
                </a:lnTo>
                <a:lnTo>
                  <a:pt x="8782" y="1439"/>
                </a:lnTo>
                <a:lnTo>
                  <a:pt x="8805" y="1447"/>
                </a:lnTo>
                <a:lnTo>
                  <a:pt x="8832" y="1450"/>
                </a:lnTo>
                <a:lnTo>
                  <a:pt x="8859" y="1448"/>
                </a:lnTo>
                <a:lnTo>
                  <a:pt x="8881" y="1444"/>
                </a:lnTo>
                <a:lnTo>
                  <a:pt x="8900" y="1435"/>
                </a:lnTo>
                <a:lnTo>
                  <a:pt x="8916" y="1422"/>
                </a:lnTo>
                <a:lnTo>
                  <a:pt x="8925" y="1412"/>
                </a:lnTo>
                <a:lnTo>
                  <a:pt x="8933" y="1401"/>
                </a:lnTo>
                <a:lnTo>
                  <a:pt x="8939" y="1388"/>
                </a:lnTo>
                <a:lnTo>
                  <a:pt x="8944" y="1373"/>
                </a:lnTo>
                <a:lnTo>
                  <a:pt x="9077" y="1373"/>
                </a:lnTo>
                <a:lnTo>
                  <a:pt x="9072" y="1400"/>
                </a:lnTo>
                <a:lnTo>
                  <a:pt x="9066" y="1415"/>
                </a:lnTo>
                <a:lnTo>
                  <a:pt x="9060" y="1429"/>
                </a:lnTo>
                <a:lnTo>
                  <a:pt x="9046" y="1457"/>
                </a:lnTo>
                <a:lnTo>
                  <a:pt x="9028" y="1481"/>
                </a:lnTo>
                <a:lnTo>
                  <a:pt x="9009" y="1500"/>
                </a:lnTo>
                <a:lnTo>
                  <a:pt x="8988" y="1518"/>
                </a:lnTo>
                <a:lnTo>
                  <a:pt x="8964" y="1532"/>
                </a:lnTo>
                <a:lnTo>
                  <a:pt x="8940" y="1543"/>
                </a:lnTo>
                <a:lnTo>
                  <a:pt x="8914" y="1551"/>
                </a:lnTo>
                <a:lnTo>
                  <a:pt x="8888" y="1557"/>
                </a:lnTo>
                <a:lnTo>
                  <a:pt x="8861" y="1560"/>
                </a:lnTo>
                <a:lnTo>
                  <a:pt x="8834" y="1561"/>
                </a:lnTo>
                <a:lnTo>
                  <a:pt x="8805" y="1560"/>
                </a:lnTo>
                <a:lnTo>
                  <a:pt x="8777" y="1557"/>
                </a:lnTo>
                <a:lnTo>
                  <a:pt x="8765" y="1553"/>
                </a:lnTo>
                <a:lnTo>
                  <a:pt x="8752" y="1550"/>
                </a:lnTo>
                <a:lnTo>
                  <a:pt x="8730" y="1543"/>
                </a:lnTo>
                <a:lnTo>
                  <a:pt x="8708" y="1532"/>
                </a:lnTo>
                <a:lnTo>
                  <a:pt x="8687" y="1520"/>
                </a:lnTo>
                <a:lnTo>
                  <a:pt x="8669" y="1506"/>
                </a:lnTo>
                <a:lnTo>
                  <a:pt x="8650" y="1490"/>
                </a:lnTo>
                <a:lnTo>
                  <a:pt x="8630" y="1468"/>
                </a:lnTo>
                <a:lnTo>
                  <a:pt x="8612" y="1444"/>
                </a:lnTo>
                <a:lnTo>
                  <a:pt x="8597" y="1417"/>
                </a:lnTo>
                <a:lnTo>
                  <a:pt x="8584" y="1388"/>
                </a:lnTo>
                <a:lnTo>
                  <a:pt x="8579" y="1374"/>
                </a:lnTo>
                <a:lnTo>
                  <a:pt x="8574" y="1359"/>
                </a:lnTo>
                <a:lnTo>
                  <a:pt x="8567" y="1326"/>
                </a:lnTo>
                <a:lnTo>
                  <a:pt x="8562" y="1292"/>
                </a:lnTo>
                <a:lnTo>
                  <a:pt x="8561" y="1258"/>
                </a:lnTo>
                <a:lnTo>
                  <a:pt x="8562" y="1224"/>
                </a:lnTo>
                <a:lnTo>
                  <a:pt x="8567" y="1190"/>
                </a:lnTo>
                <a:lnTo>
                  <a:pt x="8573" y="1159"/>
                </a:lnTo>
                <a:lnTo>
                  <a:pt x="8582" y="1128"/>
                </a:lnTo>
                <a:lnTo>
                  <a:pt x="8594" y="1100"/>
                </a:lnTo>
                <a:lnTo>
                  <a:pt x="8608" y="1073"/>
                </a:lnTo>
                <a:lnTo>
                  <a:pt x="8625" y="1048"/>
                </a:lnTo>
                <a:lnTo>
                  <a:pt x="8645" y="1026"/>
                </a:lnTo>
                <a:lnTo>
                  <a:pt x="8662" y="1010"/>
                </a:lnTo>
                <a:lnTo>
                  <a:pt x="8681" y="995"/>
                </a:lnTo>
                <a:lnTo>
                  <a:pt x="8701" y="982"/>
                </a:lnTo>
                <a:lnTo>
                  <a:pt x="8724" y="971"/>
                </a:lnTo>
                <a:lnTo>
                  <a:pt x="8748" y="964"/>
                </a:lnTo>
                <a:lnTo>
                  <a:pt x="8774" y="957"/>
                </a:lnTo>
                <a:lnTo>
                  <a:pt x="8801" y="953"/>
                </a:lnTo>
                <a:lnTo>
                  <a:pt x="8831" y="952"/>
                </a:lnTo>
                <a:lnTo>
                  <a:pt x="8862" y="954"/>
                </a:lnTo>
                <a:lnTo>
                  <a:pt x="8893" y="958"/>
                </a:lnTo>
                <a:lnTo>
                  <a:pt x="8922" y="967"/>
                </a:lnTo>
                <a:lnTo>
                  <a:pt x="8950" y="978"/>
                </a:lnTo>
                <a:lnTo>
                  <a:pt x="8976" y="993"/>
                </a:lnTo>
                <a:lnTo>
                  <a:pt x="9001" y="1012"/>
                </a:lnTo>
                <a:lnTo>
                  <a:pt x="9023" y="1033"/>
                </a:lnTo>
                <a:lnTo>
                  <a:pt x="9043" y="1060"/>
                </a:lnTo>
                <a:lnTo>
                  <a:pt x="9057" y="1084"/>
                </a:lnTo>
                <a:lnTo>
                  <a:pt x="9069" y="1107"/>
                </a:lnTo>
                <a:lnTo>
                  <a:pt x="9084" y="1156"/>
                </a:lnTo>
                <a:lnTo>
                  <a:pt x="9088" y="1183"/>
                </a:lnTo>
                <a:lnTo>
                  <a:pt x="9091" y="1208"/>
                </a:lnTo>
                <a:lnTo>
                  <a:pt x="9092" y="1261"/>
                </a:lnTo>
                <a:lnTo>
                  <a:pt x="9091" y="1300"/>
                </a:lnTo>
                <a:close/>
                <a:moveTo>
                  <a:pt x="8368" y="1547"/>
                </a:moveTo>
                <a:lnTo>
                  <a:pt x="8205" y="1293"/>
                </a:lnTo>
                <a:lnTo>
                  <a:pt x="8112" y="1395"/>
                </a:lnTo>
                <a:lnTo>
                  <a:pt x="8112" y="1547"/>
                </a:lnTo>
                <a:lnTo>
                  <a:pt x="7972" y="1547"/>
                </a:lnTo>
                <a:lnTo>
                  <a:pt x="7972" y="741"/>
                </a:lnTo>
                <a:lnTo>
                  <a:pt x="8112" y="741"/>
                </a:lnTo>
                <a:lnTo>
                  <a:pt x="8112" y="1202"/>
                </a:lnTo>
                <a:lnTo>
                  <a:pt x="8332" y="966"/>
                </a:lnTo>
                <a:lnTo>
                  <a:pt x="8507" y="966"/>
                </a:lnTo>
                <a:lnTo>
                  <a:pt x="8299" y="1191"/>
                </a:lnTo>
                <a:lnTo>
                  <a:pt x="8529" y="1547"/>
                </a:lnTo>
                <a:lnTo>
                  <a:pt x="8368" y="1547"/>
                </a:lnTo>
                <a:close/>
                <a:moveTo>
                  <a:pt x="7671" y="1547"/>
                </a:moveTo>
                <a:lnTo>
                  <a:pt x="7671" y="1191"/>
                </a:lnTo>
                <a:lnTo>
                  <a:pt x="7670" y="1166"/>
                </a:lnTo>
                <a:lnTo>
                  <a:pt x="7667" y="1146"/>
                </a:lnTo>
                <a:lnTo>
                  <a:pt x="7664" y="1136"/>
                </a:lnTo>
                <a:lnTo>
                  <a:pt x="7660" y="1126"/>
                </a:lnTo>
                <a:lnTo>
                  <a:pt x="7656" y="1118"/>
                </a:lnTo>
                <a:lnTo>
                  <a:pt x="7651" y="1111"/>
                </a:lnTo>
                <a:lnTo>
                  <a:pt x="7645" y="1104"/>
                </a:lnTo>
                <a:lnTo>
                  <a:pt x="7639" y="1098"/>
                </a:lnTo>
                <a:lnTo>
                  <a:pt x="7621" y="1089"/>
                </a:lnTo>
                <a:lnTo>
                  <a:pt x="7601" y="1084"/>
                </a:lnTo>
                <a:lnTo>
                  <a:pt x="7576" y="1081"/>
                </a:lnTo>
                <a:lnTo>
                  <a:pt x="7558" y="1082"/>
                </a:lnTo>
                <a:lnTo>
                  <a:pt x="7542" y="1087"/>
                </a:lnTo>
                <a:lnTo>
                  <a:pt x="7527" y="1093"/>
                </a:lnTo>
                <a:lnTo>
                  <a:pt x="7514" y="1102"/>
                </a:lnTo>
                <a:lnTo>
                  <a:pt x="7502" y="1113"/>
                </a:lnTo>
                <a:lnTo>
                  <a:pt x="7492" y="1126"/>
                </a:lnTo>
                <a:lnTo>
                  <a:pt x="7483" y="1140"/>
                </a:lnTo>
                <a:lnTo>
                  <a:pt x="7475" y="1155"/>
                </a:lnTo>
                <a:lnTo>
                  <a:pt x="7468" y="1173"/>
                </a:lnTo>
                <a:lnTo>
                  <a:pt x="7464" y="1192"/>
                </a:lnTo>
                <a:lnTo>
                  <a:pt x="7460" y="1212"/>
                </a:lnTo>
                <a:lnTo>
                  <a:pt x="7458" y="1231"/>
                </a:lnTo>
                <a:lnTo>
                  <a:pt x="7456" y="1272"/>
                </a:lnTo>
                <a:lnTo>
                  <a:pt x="7456" y="1311"/>
                </a:lnTo>
                <a:lnTo>
                  <a:pt x="7456" y="1547"/>
                </a:lnTo>
                <a:lnTo>
                  <a:pt x="7317" y="1547"/>
                </a:lnTo>
                <a:lnTo>
                  <a:pt x="7317" y="966"/>
                </a:lnTo>
                <a:lnTo>
                  <a:pt x="7434" y="966"/>
                </a:lnTo>
                <a:lnTo>
                  <a:pt x="7444" y="1041"/>
                </a:lnTo>
                <a:lnTo>
                  <a:pt x="7458" y="1019"/>
                </a:lnTo>
                <a:lnTo>
                  <a:pt x="7476" y="1001"/>
                </a:lnTo>
                <a:lnTo>
                  <a:pt x="7495" y="986"/>
                </a:lnTo>
                <a:lnTo>
                  <a:pt x="7517" y="974"/>
                </a:lnTo>
                <a:lnTo>
                  <a:pt x="7540" y="964"/>
                </a:lnTo>
                <a:lnTo>
                  <a:pt x="7565" y="957"/>
                </a:lnTo>
                <a:lnTo>
                  <a:pt x="7590" y="953"/>
                </a:lnTo>
                <a:lnTo>
                  <a:pt x="7615" y="952"/>
                </a:lnTo>
                <a:lnTo>
                  <a:pt x="7638" y="953"/>
                </a:lnTo>
                <a:lnTo>
                  <a:pt x="7658" y="956"/>
                </a:lnTo>
                <a:lnTo>
                  <a:pt x="7679" y="961"/>
                </a:lnTo>
                <a:lnTo>
                  <a:pt x="7697" y="967"/>
                </a:lnTo>
                <a:lnTo>
                  <a:pt x="7715" y="976"/>
                </a:lnTo>
                <a:lnTo>
                  <a:pt x="7731" y="986"/>
                </a:lnTo>
                <a:lnTo>
                  <a:pt x="7746" y="998"/>
                </a:lnTo>
                <a:lnTo>
                  <a:pt x="7759" y="1011"/>
                </a:lnTo>
                <a:lnTo>
                  <a:pt x="7771" y="1025"/>
                </a:lnTo>
                <a:lnTo>
                  <a:pt x="7781" y="1041"/>
                </a:lnTo>
                <a:lnTo>
                  <a:pt x="7790" y="1059"/>
                </a:lnTo>
                <a:lnTo>
                  <a:pt x="7797" y="1076"/>
                </a:lnTo>
                <a:lnTo>
                  <a:pt x="7804" y="1095"/>
                </a:lnTo>
                <a:lnTo>
                  <a:pt x="7807" y="1116"/>
                </a:lnTo>
                <a:lnTo>
                  <a:pt x="7810" y="1138"/>
                </a:lnTo>
                <a:lnTo>
                  <a:pt x="7810" y="1160"/>
                </a:lnTo>
                <a:lnTo>
                  <a:pt x="7810" y="1547"/>
                </a:lnTo>
                <a:lnTo>
                  <a:pt x="7671" y="1547"/>
                </a:lnTo>
                <a:close/>
                <a:moveTo>
                  <a:pt x="7012" y="1547"/>
                </a:moveTo>
                <a:lnTo>
                  <a:pt x="7012" y="966"/>
                </a:lnTo>
                <a:lnTo>
                  <a:pt x="7153" y="966"/>
                </a:lnTo>
                <a:lnTo>
                  <a:pt x="7153" y="1547"/>
                </a:lnTo>
                <a:lnTo>
                  <a:pt x="7012" y="1547"/>
                </a:lnTo>
                <a:close/>
                <a:moveTo>
                  <a:pt x="7006" y="886"/>
                </a:moveTo>
                <a:lnTo>
                  <a:pt x="7006" y="742"/>
                </a:lnTo>
                <a:lnTo>
                  <a:pt x="7156" y="742"/>
                </a:lnTo>
                <a:lnTo>
                  <a:pt x="7156" y="886"/>
                </a:lnTo>
                <a:lnTo>
                  <a:pt x="7006" y="886"/>
                </a:lnTo>
                <a:close/>
                <a:moveTo>
                  <a:pt x="6823" y="1553"/>
                </a:moveTo>
                <a:lnTo>
                  <a:pt x="6789" y="1551"/>
                </a:lnTo>
                <a:lnTo>
                  <a:pt x="6773" y="1549"/>
                </a:lnTo>
                <a:lnTo>
                  <a:pt x="6757" y="1545"/>
                </a:lnTo>
                <a:lnTo>
                  <a:pt x="6744" y="1539"/>
                </a:lnTo>
                <a:lnTo>
                  <a:pt x="6731" y="1534"/>
                </a:lnTo>
                <a:lnTo>
                  <a:pt x="6719" y="1526"/>
                </a:lnTo>
                <a:lnTo>
                  <a:pt x="6707" y="1518"/>
                </a:lnTo>
                <a:lnTo>
                  <a:pt x="6698" y="1507"/>
                </a:lnTo>
                <a:lnTo>
                  <a:pt x="6689" y="1496"/>
                </a:lnTo>
                <a:lnTo>
                  <a:pt x="6682" y="1483"/>
                </a:lnTo>
                <a:lnTo>
                  <a:pt x="6676" y="1469"/>
                </a:lnTo>
                <a:lnTo>
                  <a:pt x="6667" y="1436"/>
                </a:lnTo>
                <a:lnTo>
                  <a:pt x="6665" y="1417"/>
                </a:lnTo>
                <a:lnTo>
                  <a:pt x="6664" y="1398"/>
                </a:lnTo>
                <a:lnTo>
                  <a:pt x="6664" y="740"/>
                </a:lnTo>
                <a:lnTo>
                  <a:pt x="6805" y="740"/>
                </a:lnTo>
                <a:lnTo>
                  <a:pt x="6805" y="1374"/>
                </a:lnTo>
                <a:lnTo>
                  <a:pt x="6805" y="1386"/>
                </a:lnTo>
                <a:lnTo>
                  <a:pt x="6806" y="1397"/>
                </a:lnTo>
                <a:lnTo>
                  <a:pt x="6810" y="1407"/>
                </a:lnTo>
                <a:lnTo>
                  <a:pt x="6815" y="1414"/>
                </a:lnTo>
                <a:lnTo>
                  <a:pt x="6822" y="1421"/>
                </a:lnTo>
                <a:lnTo>
                  <a:pt x="6831" y="1426"/>
                </a:lnTo>
                <a:lnTo>
                  <a:pt x="6844" y="1428"/>
                </a:lnTo>
                <a:lnTo>
                  <a:pt x="6861" y="1429"/>
                </a:lnTo>
                <a:lnTo>
                  <a:pt x="6885" y="1428"/>
                </a:lnTo>
                <a:lnTo>
                  <a:pt x="6885" y="1546"/>
                </a:lnTo>
                <a:lnTo>
                  <a:pt x="6853" y="1552"/>
                </a:lnTo>
                <a:lnTo>
                  <a:pt x="6823" y="1553"/>
                </a:lnTo>
                <a:close/>
                <a:moveTo>
                  <a:pt x="5977" y="1547"/>
                </a:moveTo>
                <a:lnTo>
                  <a:pt x="5977" y="755"/>
                </a:lnTo>
                <a:lnTo>
                  <a:pt x="6540" y="755"/>
                </a:lnTo>
                <a:lnTo>
                  <a:pt x="6540" y="886"/>
                </a:lnTo>
                <a:lnTo>
                  <a:pt x="6121" y="886"/>
                </a:lnTo>
                <a:lnTo>
                  <a:pt x="6121" y="1070"/>
                </a:lnTo>
                <a:lnTo>
                  <a:pt x="6490" y="1070"/>
                </a:lnTo>
                <a:lnTo>
                  <a:pt x="6490" y="1200"/>
                </a:lnTo>
                <a:lnTo>
                  <a:pt x="6121" y="1200"/>
                </a:lnTo>
                <a:lnTo>
                  <a:pt x="6121" y="1416"/>
                </a:lnTo>
                <a:lnTo>
                  <a:pt x="6540" y="1416"/>
                </a:lnTo>
                <a:lnTo>
                  <a:pt x="6540" y="1547"/>
                </a:lnTo>
                <a:lnTo>
                  <a:pt x="5977" y="1547"/>
                </a:lnTo>
                <a:close/>
                <a:moveTo>
                  <a:pt x="11930" y="2637"/>
                </a:moveTo>
                <a:lnTo>
                  <a:pt x="11913" y="2655"/>
                </a:lnTo>
                <a:lnTo>
                  <a:pt x="11894" y="2672"/>
                </a:lnTo>
                <a:lnTo>
                  <a:pt x="11871" y="2687"/>
                </a:lnTo>
                <a:lnTo>
                  <a:pt x="11846" y="2701"/>
                </a:lnTo>
                <a:lnTo>
                  <a:pt x="11819" y="2712"/>
                </a:lnTo>
                <a:lnTo>
                  <a:pt x="11789" y="2721"/>
                </a:lnTo>
                <a:lnTo>
                  <a:pt x="11759" y="2726"/>
                </a:lnTo>
                <a:lnTo>
                  <a:pt x="11726" y="2727"/>
                </a:lnTo>
                <a:lnTo>
                  <a:pt x="11694" y="2726"/>
                </a:lnTo>
                <a:lnTo>
                  <a:pt x="11663" y="2721"/>
                </a:lnTo>
                <a:lnTo>
                  <a:pt x="11634" y="2712"/>
                </a:lnTo>
                <a:lnTo>
                  <a:pt x="11607" y="2701"/>
                </a:lnTo>
                <a:lnTo>
                  <a:pt x="11582" y="2687"/>
                </a:lnTo>
                <a:lnTo>
                  <a:pt x="11560" y="2672"/>
                </a:lnTo>
                <a:lnTo>
                  <a:pt x="11541" y="2655"/>
                </a:lnTo>
                <a:lnTo>
                  <a:pt x="11532" y="2647"/>
                </a:lnTo>
                <a:lnTo>
                  <a:pt x="11523" y="2637"/>
                </a:lnTo>
                <a:lnTo>
                  <a:pt x="11495" y="2594"/>
                </a:lnTo>
                <a:lnTo>
                  <a:pt x="11483" y="2572"/>
                </a:lnTo>
                <a:lnTo>
                  <a:pt x="11473" y="2547"/>
                </a:lnTo>
                <a:lnTo>
                  <a:pt x="11466" y="2519"/>
                </a:lnTo>
                <a:lnTo>
                  <a:pt x="11460" y="2490"/>
                </a:lnTo>
                <a:lnTo>
                  <a:pt x="11457" y="2457"/>
                </a:lnTo>
                <a:lnTo>
                  <a:pt x="11456" y="2423"/>
                </a:lnTo>
                <a:lnTo>
                  <a:pt x="11457" y="2388"/>
                </a:lnTo>
                <a:lnTo>
                  <a:pt x="11460" y="2355"/>
                </a:lnTo>
                <a:lnTo>
                  <a:pt x="11466" y="2326"/>
                </a:lnTo>
                <a:lnTo>
                  <a:pt x="11473" y="2300"/>
                </a:lnTo>
                <a:lnTo>
                  <a:pt x="11483" y="2275"/>
                </a:lnTo>
                <a:lnTo>
                  <a:pt x="11495" y="2251"/>
                </a:lnTo>
                <a:lnTo>
                  <a:pt x="11508" y="2229"/>
                </a:lnTo>
                <a:lnTo>
                  <a:pt x="11523" y="2208"/>
                </a:lnTo>
                <a:lnTo>
                  <a:pt x="11541" y="2190"/>
                </a:lnTo>
                <a:lnTo>
                  <a:pt x="11560" y="2173"/>
                </a:lnTo>
                <a:lnTo>
                  <a:pt x="11582" y="2158"/>
                </a:lnTo>
                <a:lnTo>
                  <a:pt x="11607" y="2144"/>
                </a:lnTo>
                <a:lnTo>
                  <a:pt x="11634" y="2133"/>
                </a:lnTo>
                <a:lnTo>
                  <a:pt x="11663" y="2125"/>
                </a:lnTo>
                <a:lnTo>
                  <a:pt x="11694" y="2120"/>
                </a:lnTo>
                <a:lnTo>
                  <a:pt x="11726" y="2118"/>
                </a:lnTo>
                <a:lnTo>
                  <a:pt x="11759" y="2120"/>
                </a:lnTo>
                <a:lnTo>
                  <a:pt x="11789" y="2125"/>
                </a:lnTo>
                <a:lnTo>
                  <a:pt x="11819" y="2133"/>
                </a:lnTo>
                <a:lnTo>
                  <a:pt x="11846" y="2144"/>
                </a:lnTo>
                <a:lnTo>
                  <a:pt x="11871" y="2158"/>
                </a:lnTo>
                <a:lnTo>
                  <a:pt x="11894" y="2173"/>
                </a:lnTo>
                <a:lnTo>
                  <a:pt x="11913" y="2190"/>
                </a:lnTo>
                <a:lnTo>
                  <a:pt x="11922" y="2200"/>
                </a:lnTo>
                <a:lnTo>
                  <a:pt x="11930" y="2208"/>
                </a:lnTo>
                <a:lnTo>
                  <a:pt x="11959" y="2251"/>
                </a:lnTo>
                <a:lnTo>
                  <a:pt x="11970" y="2275"/>
                </a:lnTo>
                <a:lnTo>
                  <a:pt x="11980" y="2300"/>
                </a:lnTo>
                <a:lnTo>
                  <a:pt x="11987" y="2326"/>
                </a:lnTo>
                <a:lnTo>
                  <a:pt x="11993" y="2355"/>
                </a:lnTo>
                <a:lnTo>
                  <a:pt x="11996" y="2388"/>
                </a:lnTo>
                <a:lnTo>
                  <a:pt x="11997" y="2423"/>
                </a:lnTo>
                <a:lnTo>
                  <a:pt x="11996" y="2457"/>
                </a:lnTo>
                <a:lnTo>
                  <a:pt x="11993" y="2490"/>
                </a:lnTo>
                <a:lnTo>
                  <a:pt x="11987" y="2519"/>
                </a:lnTo>
                <a:lnTo>
                  <a:pt x="11980" y="2547"/>
                </a:lnTo>
                <a:lnTo>
                  <a:pt x="11970" y="2572"/>
                </a:lnTo>
                <a:lnTo>
                  <a:pt x="11959" y="2594"/>
                </a:lnTo>
                <a:lnTo>
                  <a:pt x="11945" y="2616"/>
                </a:lnTo>
                <a:lnTo>
                  <a:pt x="11930" y="2637"/>
                </a:lnTo>
                <a:close/>
                <a:moveTo>
                  <a:pt x="11814" y="2277"/>
                </a:moveTo>
                <a:lnTo>
                  <a:pt x="11807" y="2269"/>
                </a:lnTo>
                <a:lnTo>
                  <a:pt x="11798" y="2263"/>
                </a:lnTo>
                <a:lnTo>
                  <a:pt x="11777" y="2251"/>
                </a:lnTo>
                <a:lnTo>
                  <a:pt x="11765" y="2246"/>
                </a:lnTo>
                <a:lnTo>
                  <a:pt x="11754" y="2242"/>
                </a:lnTo>
                <a:lnTo>
                  <a:pt x="11726" y="2240"/>
                </a:lnTo>
                <a:lnTo>
                  <a:pt x="11699" y="2242"/>
                </a:lnTo>
                <a:lnTo>
                  <a:pt x="11675" y="2251"/>
                </a:lnTo>
                <a:lnTo>
                  <a:pt x="11655" y="2263"/>
                </a:lnTo>
                <a:lnTo>
                  <a:pt x="11646" y="2269"/>
                </a:lnTo>
                <a:lnTo>
                  <a:pt x="11638" y="2277"/>
                </a:lnTo>
                <a:lnTo>
                  <a:pt x="11627" y="2291"/>
                </a:lnTo>
                <a:lnTo>
                  <a:pt x="11618" y="2307"/>
                </a:lnTo>
                <a:lnTo>
                  <a:pt x="11610" y="2325"/>
                </a:lnTo>
                <a:lnTo>
                  <a:pt x="11605" y="2343"/>
                </a:lnTo>
                <a:lnTo>
                  <a:pt x="11599" y="2382"/>
                </a:lnTo>
                <a:lnTo>
                  <a:pt x="11597" y="2423"/>
                </a:lnTo>
                <a:lnTo>
                  <a:pt x="11597" y="2443"/>
                </a:lnTo>
                <a:lnTo>
                  <a:pt x="11599" y="2464"/>
                </a:lnTo>
                <a:lnTo>
                  <a:pt x="11605" y="2502"/>
                </a:lnTo>
                <a:lnTo>
                  <a:pt x="11610" y="2520"/>
                </a:lnTo>
                <a:lnTo>
                  <a:pt x="11618" y="2538"/>
                </a:lnTo>
                <a:lnTo>
                  <a:pt x="11627" y="2554"/>
                </a:lnTo>
                <a:lnTo>
                  <a:pt x="11638" y="2569"/>
                </a:lnTo>
                <a:lnTo>
                  <a:pt x="11646" y="2576"/>
                </a:lnTo>
                <a:lnTo>
                  <a:pt x="11655" y="2584"/>
                </a:lnTo>
                <a:lnTo>
                  <a:pt x="11675" y="2594"/>
                </a:lnTo>
                <a:lnTo>
                  <a:pt x="11687" y="2600"/>
                </a:lnTo>
                <a:lnTo>
                  <a:pt x="11699" y="2603"/>
                </a:lnTo>
                <a:lnTo>
                  <a:pt x="11726" y="2605"/>
                </a:lnTo>
                <a:lnTo>
                  <a:pt x="11754" y="2603"/>
                </a:lnTo>
                <a:lnTo>
                  <a:pt x="11777" y="2594"/>
                </a:lnTo>
                <a:lnTo>
                  <a:pt x="11798" y="2584"/>
                </a:lnTo>
                <a:lnTo>
                  <a:pt x="11807" y="2576"/>
                </a:lnTo>
                <a:lnTo>
                  <a:pt x="11814" y="2569"/>
                </a:lnTo>
                <a:lnTo>
                  <a:pt x="11826" y="2554"/>
                </a:lnTo>
                <a:lnTo>
                  <a:pt x="11835" y="2538"/>
                </a:lnTo>
                <a:lnTo>
                  <a:pt x="11843" y="2520"/>
                </a:lnTo>
                <a:lnTo>
                  <a:pt x="11848" y="2502"/>
                </a:lnTo>
                <a:lnTo>
                  <a:pt x="11855" y="2464"/>
                </a:lnTo>
                <a:lnTo>
                  <a:pt x="11856" y="2423"/>
                </a:lnTo>
                <a:lnTo>
                  <a:pt x="11856" y="2402"/>
                </a:lnTo>
                <a:lnTo>
                  <a:pt x="11855" y="2382"/>
                </a:lnTo>
                <a:lnTo>
                  <a:pt x="11848" y="2343"/>
                </a:lnTo>
                <a:lnTo>
                  <a:pt x="11843" y="2325"/>
                </a:lnTo>
                <a:lnTo>
                  <a:pt x="11835" y="2307"/>
                </a:lnTo>
                <a:lnTo>
                  <a:pt x="11826" y="2291"/>
                </a:lnTo>
                <a:lnTo>
                  <a:pt x="11814" y="2277"/>
                </a:lnTo>
                <a:close/>
                <a:moveTo>
                  <a:pt x="4921" y="3366"/>
                </a:moveTo>
                <a:lnTo>
                  <a:pt x="4904" y="3364"/>
                </a:lnTo>
                <a:lnTo>
                  <a:pt x="4884" y="3357"/>
                </a:lnTo>
                <a:lnTo>
                  <a:pt x="4860" y="3346"/>
                </a:lnTo>
                <a:lnTo>
                  <a:pt x="4834" y="3332"/>
                </a:lnTo>
                <a:lnTo>
                  <a:pt x="4776" y="3293"/>
                </a:lnTo>
                <a:lnTo>
                  <a:pt x="4743" y="3269"/>
                </a:lnTo>
                <a:lnTo>
                  <a:pt x="4708" y="3241"/>
                </a:lnTo>
                <a:lnTo>
                  <a:pt x="4652" y="3194"/>
                </a:lnTo>
                <a:lnTo>
                  <a:pt x="4590" y="3139"/>
                </a:lnTo>
                <a:lnTo>
                  <a:pt x="4451" y="3010"/>
                </a:lnTo>
                <a:lnTo>
                  <a:pt x="4299" y="2862"/>
                </a:lnTo>
                <a:lnTo>
                  <a:pt x="4144" y="2704"/>
                </a:lnTo>
                <a:lnTo>
                  <a:pt x="3998" y="2546"/>
                </a:lnTo>
                <a:lnTo>
                  <a:pt x="3929" y="2469"/>
                </a:lnTo>
                <a:lnTo>
                  <a:pt x="3866" y="2395"/>
                </a:lnTo>
                <a:lnTo>
                  <a:pt x="3808" y="2326"/>
                </a:lnTo>
                <a:lnTo>
                  <a:pt x="3783" y="2293"/>
                </a:lnTo>
                <a:lnTo>
                  <a:pt x="3760" y="2262"/>
                </a:lnTo>
                <a:lnTo>
                  <a:pt x="3719" y="2204"/>
                </a:lnTo>
                <a:lnTo>
                  <a:pt x="3702" y="2179"/>
                </a:lnTo>
                <a:lnTo>
                  <a:pt x="3688" y="2155"/>
                </a:lnTo>
                <a:lnTo>
                  <a:pt x="3640" y="2059"/>
                </a:lnTo>
                <a:lnTo>
                  <a:pt x="3622" y="2014"/>
                </a:lnTo>
                <a:lnTo>
                  <a:pt x="3605" y="1968"/>
                </a:lnTo>
                <a:lnTo>
                  <a:pt x="3592" y="1923"/>
                </a:lnTo>
                <a:lnTo>
                  <a:pt x="3582" y="1879"/>
                </a:lnTo>
                <a:lnTo>
                  <a:pt x="3577" y="1833"/>
                </a:lnTo>
                <a:lnTo>
                  <a:pt x="3575" y="1786"/>
                </a:lnTo>
                <a:lnTo>
                  <a:pt x="3578" y="1735"/>
                </a:lnTo>
                <a:lnTo>
                  <a:pt x="3586" y="1682"/>
                </a:lnTo>
                <a:lnTo>
                  <a:pt x="3599" y="1627"/>
                </a:lnTo>
                <a:lnTo>
                  <a:pt x="3607" y="1599"/>
                </a:lnTo>
                <a:lnTo>
                  <a:pt x="3617" y="1572"/>
                </a:lnTo>
                <a:lnTo>
                  <a:pt x="3641" y="1514"/>
                </a:lnTo>
                <a:lnTo>
                  <a:pt x="3670" y="1454"/>
                </a:lnTo>
                <a:lnTo>
                  <a:pt x="3706" y="1394"/>
                </a:lnTo>
                <a:lnTo>
                  <a:pt x="3726" y="1362"/>
                </a:lnTo>
                <a:lnTo>
                  <a:pt x="3748" y="1329"/>
                </a:lnTo>
                <a:lnTo>
                  <a:pt x="3781" y="1283"/>
                </a:lnTo>
                <a:lnTo>
                  <a:pt x="3824" y="1228"/>
                </a:lnTo>
                <a:lnTo>
                  <a:pt x="3929" y="1101"/>
                </a:lnTo>
                <a:lnTo>
                  <a:pt x="4057" y="952"/>
                </a:lnTo>
                <a:lnTo>
                  <a:pt x="4203" y="787"/>
                </a:lnTo>
                <a:lnTo>
                  <a:pt x="4526" y="423"/>
                </a:lnTo>
                <a:lnTo>
                  <a:pt x="4690" y="234"/>
                </a:lnTo>
                <a:lnTo>
                  <a:pt x="4850" y="47"/>
                </a:lnTo>
                <a:lnTo>
                  <a:pt x="4860" y="45"/>
                </a:lnTo>
                <a:lnTo>
                  <a:pt x="4872" y="43"/>
                </a:lnTo>
                <a:lnTo>
                  <a:pt x="4892" y="41"/>
                </a:lnTo>
                <a:lnTo>
                  <a:pt x="4925" y="45"/>
                </a:lnTo>
                <a:lnTo>
                  <a:pt x="4944" y="49"/>
                </a:lnTo>
                <a:lnTo>
                  <a:pt x="4962" y="56"/>
                </a:lnTo>
                <a:lnTo>
                  <a:pt x="4983" y="63"/>
                </a:lnTo>
                <a:lnTo>
                  <a:pt x="5003" y="73"/>
                </a:lnTo>
                <a:lnTo>
                  <a:pt x="5043" y="96"/>
                </a:lnTo>
                <a:lnTo>
                  <a:pt x="5082" y="125"/>
                </a:lnTo>
                <a:lnTo>
                  <a:pt x="5100" y="142"/>
                </a:lnTo>
                <a:lnTo>
                  <a:pt x="5119" y="159"/>
                </a:lnTo>
                <a:lnTo>
                  <a:pt x="5135" y="178"/>
                </a:lnTo>
                <a:lnTo>
                  <a:pt x="5150" y="199"/>
                </a:lnTo>
                <a:lnTo>
                  <a:pt x="5165" y="221"/>
                </a:lnTo>
                <a:lnTo>
                  <a:pt x="5176" y="244"/>
                </a:lnTo>
                <a:lnTo>
                  <a:pt x="5184" y="266"/>
                </a:lnTo>
                <a:lnTo>
                  <a:pt x="5190" y="287"/>
                </a:lnTo>
                <a:lnTo>
                  <a:pt x="5193" y="310"/>
                </a:lnTo>
                <a:lnTo>
                  <a:pt x="5194" y="332"/>
                </a:lnTo>
                <a:lnTo>
                  <a:pt x="5193" y="357"/>
                </a:lnTo>
                <a:lnTo>
                  <a:pt x="5188" y="382"/>
                </a:lnTo>
                <a:lnTo>
                  <a:pt x="5182" y="407"/>
                </a:lnTo>
                <a:lnTo>
                  <a:pt x="5172" y="432"/>
                </a:lnTo>
                <a:lnTo>
                  <a:pt x="5161" y="458"/>
                </a:lnTo>
                <a:lnTo>
                  <a:pt x="5146" y="484"/>
                </a:lnTo>
                <a:lnTo>
                  <a:pt x="5130" y="511"/>
                </a:lnTo>
                <a:lnTo>
                  <a:pt x="5111" y="540"/>
                </a:lnTo>
                <a:lnTo>
                  <a:pt x="5078" y="584"/>
                </a:lnTo>
                <a:lnTo>
                  <a:pt x="5034" y="636"/>
                </a:lnTo>
                <a:lnTo>
                  <a:pt x="4927" y="763"/>
                </a:lnTo>
                <a:lnTo>
                  <a:pt x="4657" y="1067"/>
                </a:lnTo>
                <a:lnTo>
                  <a:pt x="4384" y="1378"/>
                </a:lnTo>
                <a:lnTo>
                  <a:pt x="4270" y="1512"/>
                </a:lnTo>
                <a:lnTo>
                  <a:pt x="4187" y="1621"/>
                </a:lnTo>
                <a:lnTo>
                  <a:pt x="4163" y="1655"/>
                </a:lnTo>
                <a:lnTo>
                  <a:pt x="4146" y="1688"/>
                </a:lnTo>
                <a:lnTo>
                  <a:pt x="4140" y="1706"/>
                </a:lnTo>
                <a:lnTo>
                  <a:pt x="4137" y="1722"/>
                </a:lnTo>
                <a:lnTo>
                  <a:pt x="4133" y="1739"/>
                </a:lnTo>
                <a:lnTo>
                  <a:pt x="4132" y="1757"/>
                </a:lnTo>
                <a:lnTo>
                  <a:pt x="4133" y="1778"/>
                </a:lnTo>
                <a:lnTo>
                  <a:pt x="4137" y="1797"/>
                </a:lnTo>
                <a:lnTo>
                  <a:pt x="4150" y="1837"/>
                </a:lnTo>
                <a:lnTo>
                  <a:pt x="4159" y="1858"/>
                </a:lnTo>
                <a:lnTo>
                  <a:pt x="4170" y="1880"/>
                </a:lnTo>
                <a:lnTo>
                  <a:pt x="4197" y="1923"/>
                </a:lnTo>
                <a:lnTo>
                  <a:pt x="4266" y="2007"/>
                </a:lnTo>
                <a:lnTo>
                  <a:pt x="4362" y="2117"/>
                </a:lnTo>
                <a:lnTo>
                  <a:pt x="4481" y="2245"/>
                </a:lnTo>
                <a:lnTo>
                  <a:pt x="4617" y="2388"/>
                </a:lnTo>
                <a:lnTo>
                  <a:pt x="4762" y="2537"/>
                </a:lnTo>
                <a:lnTo>
                  <a:pt x="4912" y="2688"/>
                </a:lnTo>
                <a:lnTo>
                  <a:pt x="5060" y="2834"/>
                </a:lnTo>
                <a:lnTo>
                  <a:pt x="5200" y="2968"/>
                </a:lnTo>
                <a:lnTo>
                  <a:pt x="5217" y="2986"/>
                </a:lnTo>
                <a:lnTo>
                  <a:pt x="5223" y="2995"/>
                </a:lnTo>
                <a:lnTo>
                  <a:pt x="5230" y="3005"/>
                </a:lnTo>
                <a:lnTo>
                  <a:pt x="5238" y="3026"/>
                </a:lnTo>
                <a:lnTo>
                  <a:pt x="5241" y="3038"/>
                </a:lnTo>
                <a:lnTo>
                  <a:pt x="5242" y="3051"/>
                </a:lnTo>
                <a:lnTo>
                  <a:pt x="5239" y="3076"/>
                </a:lnTo>
                <a:lnTo>
                  <a:pt x="5234" y="3102"/>
                </a:lnTo>
                <a:lnTo>
                  <a:pt x="5224" y="3129"/>
                </a:lnTo>
                <a:lnTo>
                  <a:pt x="5211" y="3156"/>
                </a:lnTo>
                <a:lnTo>
                  <a:pt x="5196" y="3182"/>
                </a:lnTo>
                <a:lnTo>
                  <a:pt x="5178" y="3208"/>
                </a:lnTo>
                <a:lnTo>
                  <a:pt x="5157" y="3233"/>
                </a:lnTo>
                <a:lnTo>
                  <a:pt x="5135" y="3257"/>
                </a:lnTo>
                <a:lnTo>
                  <a:pt x="5110" y="3280"/>
                </a:lnTo>
                <a:lnTo>
                  <a:pt x="5085" y="3300"/>
                </a:lnTo>
                <a:lnTo>
                  <a:pt x="5059" y="3319"/>
                </a:lnTo>
                <a:lnTo>
                  <a:pt x="5032" y="3335"/>
                </a:lnTo>
                <a:lnTo>
                  <a:pt x="5004" y="3347"/>
                </a:lnTo>
                <a:lnTo>
                  <a:pt x="4975" y="3357"/>
                </a:lnTo>
                <a:lnTo>
                  <a:pt x="4948" y="3364"/>
                </a:lnTo>
                <a:lnTo>
                  <a:pt x="4921" y="3366"/>
                </a:lnTo>
                <a:close/>
                <a:moveTo>
                  <a:pt x="1388" y="3419"/>
                </a:moveTo>
                <a:lnTo>
                  <a:pt x="1316" y="3417"/>
                </a:lnTo>
                <a:lnTo>
                  <a:pt x="1246" y="3410"/>
                </a:lnTo>
                <a:lnTo>
                  <a:pt x="1177" y="3401"/>
                </a:lnTo>
                <a:lnTo>
                  <a:pt x="1108" y="3386"/>
                </a:lnTo>
                <a:lnTo>
                  <a:pt x="1075" y="3378"/>
                </a:lnTo>
                <a:lnTo>
                  <a:pt x="1041" y="3368"/>
                </a:lnTo>
                <a:lnTo>
                  <a:pt x="976" y="3347"/>
                </a:lnTo>
                <a:lnTo>
                  <a:pt x="911" y="3321"/>
                </a:lnTo>
                <a:lnTo>
                  <a:pt x="879" y="3307"/>
                </a:lnTo>
                <a:lnTo>
                  <a:pt x="848" y="3293"/>
                </a:lnTo>
                <a:lnTo>
                  <a:pt x="787" y="3260"/>
                </a:lnTo>
                <a:lnTo>
                  <a:pt x="756" y="3243"/>
                </a:lnTo>
                <a:lnTo>
                  <a:pt x="727" y="3224"/>
                </a:lnTo>
                <a:lnTo>
                  <a:pt x="698" y="3206"/>
                </a:lnTo>
                <a:lnTo>
                  <a:pt x="668" y="3185"/>
                </a:lnTo>
                <a:lnTo>
                  <a:pt x="640" y="3164"/>
                </a:lnTo>
                <a:lnTo>
                  <a:pt x="613" y="3144"/>
                </a:lnTo>
                <a:lnTo>
                  <a:pt x="557" y="3098"/>
                </a:lnTo>
                <a:lnTo>
                  <a:pt x="505" y="3050"/>
                </a:lnTo>
                <a:lnTo>
                  <a:pt x="455" y="2999"/>
                </a:lnTo>
                <a:lnTo>
                  <a:pt x="406" y="2946"/>
                </a:lnTo>
                <a:lnTo>
                  <a:pt x="384" y="2918"/>
                </a:lnTo>
                <a:lnTo>
                  <a:pt x="361" y="2889"/>
                </a:lnTo>
                <a:lnTo>
                  <a:pt x="317" y="2831"/>
                </a:lnTo>
                <a:lnTo>
                  <a:pt x="276" y="2769"/>
                </a:lnTo>
                <a:lnTo>
                  <a:pt x="237" y="2704"/>
                </a:lnTo>
                <a:lnTo>
                  <a:pt x="218" y="2672"/>
                </a:lnTo>
                <a:lnTo>
                  <a:pt x="201" y="2639"/>
                </a:lnTo>
                <a:lnTo>
                  <a:pt x="167" y="2571"/>
                </a:lnTo>
                <a:lnTo>
                  <a:pt x="137" y="2500"/>
                </a:lnTo>
                <a:lnTo>
                  <a:pt x="110" y="2427"/>
                </a:lnTo>
                <a:lnTo>
                  <a:pt x="85" y="2353"/>
                </a:lnTo>
                <a:lnTo>
                  <a:pt x="63" y="2277"/>
                </a:lnTo>
                <a:lnTo>
                  <a:pt x="43" y="2199"/>
                </a:lnTo>
                <a:lnTo>
                  <a:pt x="28" y="2119"/>
                </a:lnTo>
                <a:lnTo>
                  <a:pt x="16" y="2039"/>
                </a:lnTo>
                <a:lnTo>
                  <a:pt x="8" y="1956"/>
                </a:lnTo>
                <a:lnTo>
                  <a:pt x="2" y="1872"/>
                </a:lnTo>
                <a:lnTo>
                  <a:pt x="0" y="1786"/>
                </a:lnTo>
                <a:lnTo>
                  <a:pt x="2" y="1699"/>
                </a:lnTo>
                <a:lnTo>
                  <a:pt x="8" y="1613"/>
                </a:lnTo>
                <a:lnTo>
                  <a:pt x="16" y="1527"/>
                </a:lnTo>
                <a:lnTo>
                  <a:pt x="29" y="1442"/>
                </a:lnTo>
                <a:lnTo>
                  <a:pt x="37" y="1400"/>
                </a:lnTo>
                <a:lnTo>
                  <a:pt x="46" y="1359"/>
                </a:lnTo>
                <a:lnTo>
                  <a:pt x="65" y="1276"/>
                </a:lnTo>
                <a:lnTo>
                  <a:pt x="89" y="1194"/>
                </a:lnTo>
                <a:lnTo>
                  <a:pt x="115" y="1114"/>
                </a:lnTo>
                <a:lnTo>
                  <a:pt x="145" y="1036"/>
                </a:lnTo>
                <a:lnTo>
                  <a:pt x="160" y="998"/>
                </a:lnTo>
                <a:lnTo>
                  <a:pt x="176" y="960"/>
                </a:lnTo>
                <a:lnTo>
                  <a:pt x="212" y="884"/>
                </a:lnTo>
                <a:lnTo>
                  <a:pt x="250" y="812"/>
                </a:lnTo>
                <a:lnTo>
                  <a:pt x="291" y="741"/>
                </a:lnTo>
                <a:lnTo>
                  <a:pt x="335" y="672"/>
                </a:lnTo>
                <a:lnTo>
                  <a:pt x="380" y="607"/>
                </a:lnTo>
                <a:lnTo>
                  <a:pt x="429" y="544"/>
                </a:lnTo>
                <a:lnTo>
                  <a:pt x="480" y="483"/>
                </a:lnTo>
                <a:lnTo>
                  <a:pt x="534" y="425"/>
                </a:lnTo>
                <a:lnTo>
                  <a:pt x="589" y="371"/>
                </a:lnTo>
                <a:lnTo>
                  <a:pt x="648" y="320"/>
                </a:lnTo>
                <a:lnTo>
                  <a:pt x="707" y="271"/>
                </a:lnTo>
                <a:lnTo>
                  <a:pt x="769" y="226"/>
                </a:lnTo>
                <a:lnTo>
                  <a:pt x="832" y="185"/>
                </a:lnTo>
                <a:lnTo>
                  <a:pt x="865" y="167"/>
                </a:lnTo>
                <a:lnTo>
                  <a:pt x="898" y="148"/>
                </a:lnTo>
                <a:lnTo>
                  <a:pt x="965" y="114"/>
                </a:lnTo>
                <a:lnTo>
                  <a:pt x="1034" y="85"/>
                </a:lnTo>
                <a:lnTo>
                  <a:pt x="1104" y="60"/>
                </a:lnTo>
                <a:lnTo>
                  <a:pt x="1140" y="48"/>
                </a:lnTo>
                <a:lnTo>
                  <a:pt x="1177" y="38"/>
                </a:lnTo>
                <a:lnTo>
                  <a:pt x="1250" y="22"/>
                </a:lnTo>
                <a:lnTo>
                  <a:pt x="1325" y="10"/>
                </a:lnTo>
                <a:lnTo>
                  <a:pt x="1400" y="2"/>
                </a:lnTo>
                <a:lnTo>
                  <a:pt x="1438" y="0"/>
                </a:lnTo>
                <a:lnTo>
                  <a:pt x="1477" y="0"/>
                </a:lnTo>
                <a:lnTo>
                  <a:pt x="1524" y="1"/>
                </a:lnTo>
                <a:lnTo>
                  <a:pt x="1571" y="4"/>
                </a:lnTo>
                <a:lnTo>
                  <a:pt x="1616" y="10"/>
                </a:lnTo>
                <a:lnTo>
                  <a:pt x="1660" y="17"/>
                </a:lnTo>
                <a:lnTo>
                  <a:pt x="1703" y="27"/>
                </a:lnTo>
                <a:lnTo>
                  <a:pt x="1744" y="38"/>
                </a:lnTo>
                <a:lnTo>
                  <a:pt x="1823" y="68"/>
                </a:lnTo>
                <a:lnTo>
                  <a:pt x="1860" y="84"/>
                </a:lnTo>
                <a:lnTo>
                  <a:pt x="1896" y="103"/>
                </a:lnTo>
                <a:lnTo>
                  <a:pt x="1931" y="124"/>
                </a:lnTo>
                <a:lnTo>
                  <a:pt x="1963" y="147"/>
                </a:lnTo>
                <a:lnTo>
                  <a:pt x="1996" y="171"/>
                </a:lnTo>
                <a:lnTo>
                  <a:pt x="2025" y="196"/>
                </a:lnTo>
                <a:lnTo>
                  <a:pt x="2055" y="223"/>
                </a:lnTo>
                <a:lnTo>
                  <a:pt x="2082" y="252"/>
                </a:lnTo>
                <a:lnTo>
                  <a:pt x="2108" y="283"/>
                </a:lnTo>
                <a:lnTo>
                  <a:pt x="2132" y="314"/>
                </a:lnTo>
                <a:lnTo>
                  <a:pt x="2155" y="347"/>
                </a:lnTo>
                <a:lnTo>
                  <a:pt x="2175" y="381"/>
                </a:lnTo>
                <a:lnTo>
                  <a:pt x="2213" y="454"/>
                </a:lnTo>
                <a:lnTo>
                  <a:pt x="2230" y="492"/>
                </a:lnTo>
                <a:lnTo>
                  <a:pt x="2245" y="531"/>
                </a:lnTo>
                <a:lnTo>
                  <a:pt x="2258" y="571"/>
                </a:lnTo>
                <a:lnTo>
                  <a:pt x="2269" y="613"/>
                </a:lnTo>
                <a:lnTo>
                  <a:pt x="2279" y="655"/>
                </a:lnTo>
                <a:lnTo>
                  <a:pt x="2286" y="697"/>
                </a:lnTo>
                <a:lnTo>
                  <a:pt x="2293" y="742"/>
                </a:lnTo>
                <a:lnTo>
                  <a:pt x="2297" y="787"/>
                </a:lnTo>
                <a:lnTo>
                  <a:pt x="2299" y="832"/>
                </a:lnTo>
                <a:lnTo>
                  <a:pt x="2300" y="878"/>
                </a:lnTo>
                <a:lnTo>
                  <a:pt x="2299" y="937"/>
                </a:lnTo>
                <a:lnTo>
                  <a:pt x="2294" y="994"/>
                </a:lnTo>
                <a:lnTo>
                  <a:pt x="2284" y="1052"/>
                </a:lnTo>
                <a:lnTo>
                  <a:pt x="2272" y="1109"/>
                </a:lnTo>
                <a:lnTo>
                  <a:pt x="2256" y="1165"/>
                </a:lnTo>
                <a:lnTo>
                  <a:pt x="2237" y="1219"/>
                </a:lnTo>
                <a:lnTo>
                  <a:pt x="2216" y="1274"/>
                </a:lnTo>
                <a:lnTo>
                  <a:pt x="2191" y="1328"/>
                </a:lnTo>
                <a:lnTo>
                  <a:pt x="2163" y="1380"/>
                </a:lnTo>
                <a:lnTo>
                  <a:pt x="2133" y="1432"/>
                </a:lnTo>
                <a:lnTo>
                  <a:pt x="2100" y="1482"/>
                </a:lnTo>
                <a:lnTo>
                  <a:pt x="2066" y="1530"/>
                </a:lnTo>
                <a:lnTo>
                  <a:pt x="2028" y="1577"/>
                </a:lnTo>
                <a:lnTo>
                  <a:pt x="1988" y="1623"/>
                </a:lnTo>
                <a:lnTo>
                  <a:pt x="1946" y="1667"/>
                </a:lnTo>
                <a:lnTo>
                  <a:pt x="1903" y="1709"/>
                </a:lnTo>
                <a:lnTo>
                  <a:pt x="1857" y="1749"/>
                </a:lnTo>
                <a:lnTo>
                  <a:pt x="1810" y="1787"/>
                </a:lnTo>
                <a:lnTo>
                  <a:pt x="1761" y="1824"/>
                </a:lnTo>
                <a:lnTo>
                  <a:pt x="1711" y="1858"/>
                </a:lnTo>
                <a:lnTo>
                  <a:pt x="1659" y="1891"/>
                </a:lnTo>
                <a:lnTo>
                  <a:pt x="1633" y="1906"/>
                </a:lnTo>
                <a:lnTo>
                  <a:pt x="1606" y="1920"/>
                </a:lnTo>
                <a:lnTo>
                  <a:pt x="1553" y="1948"/>
                </a:lnTo>
                <a:lnTo>
                  <a:pt x="1497" y="1972"/>
                </a:lnTo>
                <a:lnTo>
                  <a:pt x="1442" y="1995"/>
                </a:lnTo>
                <a:lnTo>
                  <a:pt x="1385" y="2015"/>
                </a:lnTo>
                <a:lnTo>
                  <a:pt x="1328" y="2032"/>
                </a:lnTo>
                <a:lnTo>
                  <a:pt x="1270" y="2046"/>
                </a:lnTo>
                <a:lnTo>
                  <a:pt x="1213" y="2057"/>
                </a:lnTo>
                <a:lnTo>
                  <a:pt x="1154" y="2065"/>
                </a:lnTo>
                <a:lnTo>
                  <a:pt x="1096" y="2070"/>
                </a:lnTo>
                <a:lnTo>
                  <a:pt x="1038" y="2071"/>
                </a:lnTo>
                <a:lnTo>
                  <a:pt x="1013" y="2070"/>
                </a:lnTo>
                <a:lnTo>
                  <a:pt x="988" y="2066"/>
                </a:lnTo>
                <a:lnTo>
                  <a:pt x="965" y="2058"/>
                </a:lnTo>
                <a:lnTo>
                  <a:pt x="942" y="2048"/>
                </a:lnTo>
                <a:lnTo>
                  <a:pt x="920" y="2036"/>
                </a:lnTo>
                <a:lnTo>
                  <a:pt x="901" y="2022"/>
                </a:lnTo>
                <a:lnTo>
                  <a:pt x="882" y="2005"/>
                </a:lnTo>
                <a:lnTo>
                  <a:pt x="865" y="1986"/>
                </a:lnTo>
                <a:lnTo>
                  <a:pt x="850" y="1966"/>
                </a:lnTo>
                <a:lnTo>
                  <a:pt x="836" y="1943"/>
                </a:lnTo>
                <a:lnTo>
                  <a:pt x="824" y="1919"/>
                </a:lnTo>
                <a:lnTo>
                  <a:pt x="814" y="1894"/>
                </a:lnTo>
                <a:lnTo>
                  <a:pt x="805" y="1867"/>
                </a:lnTo>
                <a:lnTo>
                  <a:pt x="800" y="1840"/>
                </a:lnTo>
                <a:lnTo>
                  <a:pt x="795" y="1810"/>
                </a:lnTo>
                <a:lnTo>
                  <a:pt x="794" y="1781"/>
                </a:lnTo>
                <a:lnTo>
                  <a:pt x="798" y="1729"/>
                </a:lnTo>
                <a:lnTo>
                  <a:pt x="803" y="1705"/>
                </a:lnTo>
                <a:lnTo>
                  <a:pt x="810" y="1683"/>
                </a:lnTo>
                <a:lnTo>
                  <a:pt x="818" y="1663"/>
                </a:lnTo>
                <a:lnTo>
                  <a:pt x="829" y="1646"/>
                </a:lnTo>
                <a:lnTo>
                  <a:pt x="843" y="1631"/>
                </a:lnTo>
                <a:lnTo>
                  <a:pt x="859" y="1621"/>
                </a:lnTo>
                <a:lnTo>
                  <a:pt x="911" y="1612"/>
                </a:lnTo>
                <a:lnTo>
                  <a:pt x="962" y="1602"/>
                </a:lnTo>
                <a:lnTo>
                  <a:pt x="1011" y="1590"/>
                </a:lnTo>
                <a:lnTo>
                  <a:pt x="1059" y="1577"/>
                </a:lnTo>
                <a:lnTo>
                  <a:pt x="1106" y="1562"/>
                </a:lnTo>
                <a:lnTo>
                  <a:pt x="1153" y="1546"/>
                </a:lnTo>
                <a:lnTo>
                  <a:pt x="1197" y="1528"/>
                </a:lnTo>
                <a:lnTo>
                  <a:pt x="1242" y="1509"/>
                </a:lnTo>
                <a:lnTo>
                  <a:pt x="1284" y="1488"/>
                </a:lnTo>
                <a:lnTo>
                  <a:pt x="1326" y="1466"/>
                </a:lnTo>
                <a:lnTo>
                  <a:pt x="1404" y="1420"/>
                </a:lnTo>
                <a:lnTo>
                  <a:pt x="1477" y="1369"/>
                </a:lnTo>
                <a:lnTo>
                  <a:pt x="1511" y="1341"/>
                </a:lnTo>
                <a:lnTo>
                  <a:pt x="1544" y="1314"/>
                </a:lnTo>
                <a:lnTo>
                  <a:pt x="1574" y="1286"/>
                </a:lnTo>
                <a:lnTo>
                  <a:pt x="1604" y="1256"/>
                </a:lnTo>
                <a:lnTo>
                  <a:pt x="1632" y="1226"/>
                </a:lnTo>
                <a:lnTo>
                  <a:pt x="1658" y="1196"/>
                </a:lnTo>
                <a:lnTo>
                  <a:pt x="1682" y="1164"/>
                </a:lnTo>
                <a:lnTo>
                  <a:pt x="1704" y="1132"/>
                </a:lnTo>
                <a:lnTo>
                  <a:pt x="1724" y="1101"/>
                </a:lnTo>
                <a:lnTo>
                  <a:pt x="1743" y="1068"/>
                </a:lnTo>
                <a:lnTo>
                  <a:pt x="1759" y="1036"/>
                </a:lnTo>
                <a:lnTo>
                  <a:pt x="1773" y="1003"/>
                </a:lnTo>
                <a:lnTo>
                  <a:pt x="1796" y="938"/>
                </a:lnTo>
                <a:lnTo>
                  <a:pt x="1804" y="905"/>
                </a:lnTo>
                <a:lnTo>
                  <a:pt x="1810" y="872"/>
                </a:lnTo>
                <a:lnTo>
                  <a:pt x="1814" y="840"/>
                </a:lnTo>
                <a:lnTo>
                  <a:pt x="1815" y="807"/>
                </a:lnTo>
                <a:lnTo>
                  <a:pt x="1812" y="768"/>
                </a:lnTo>
                <a:lnTo>
                  <a:pt x="1808" y="731"/>
                </a:lnTo>
                <a:lnTo>
                  <a:pt x="1799" y="696"/>
                </a:lnTo>
                <a:lnTo>
                  <a:pt x="1789" y="664"/>
                </a:lnTo>
                <a:lnTo>
                  <a:pt x="1774" y="633"/>
                </a:lnTo>
                <a:lnTo>
                  <a:pt x="1757" y="605"/>
                </a:lnTo>
                <a:lnTo>
                  <a:pt x="1737" y="579"/>
                </a:lnTo>
                <a:lnTo>
                  <a:pt x="1715" y="555"/>
                </a:lnTo>
                <a:lnTo>
                  <a:pt x="1689" y="534"/>
                </a:lnTo>
                <a:lnTo>
                  <a:pt x="1660" y="516"/>
                </a:lnTo>
                <a:lnTo>
                  <a:pt x="1630" y="499"/>
                </a:lnTo>
                <a:lnTo>
                  <a:pt x="1597" y="486"/>
                </a:lnTo>
                <a:lnTo>
                  <a:pt x="1579" y="481"/>
                </a:lnTo>
                <a:lnTo>
                  <a:pt x="1561" y="477"/>
                </a:lnTo>
                <a:lnTo>
                  <a:pt x="1523" y="469"/>
                </a:lnTo>
                <a:lnTo>
                  <a:pt x="1483" y="465"/>
                </a:lnTo>
                <a:lnTo>
                  <a:pt x="1441" y="462"/>
                </a:lnTo>
                <a:lnTo>
                  <a:pt x="1401" y="465"/>
                </a:lnTo>
                <a:lnTo>
                  <a:pt x="1359" y="470"/>
                </a:lnTo>
                <a:lnTo>
                  <a:pt x="1318" y="478"/>
                </a:lnTo>
                <a:lnTo>
                  <a:pt x="1277" y="490"/>
                </a:lnTo>
                <a:lnTo>
                  <a:pt x="1235" y="504"/>
                </a:lnTo>
                <a:lnTo>
                  <a:pt x="1195" y="522"/>
                </a:lnTo>
                <a:lnTo>
                  <a:pt x="1154" y="543"/>
                </a:lnTo>
                <a:lnTo>
                  <a:pt x="1114" y="566"/>
                </a:lnTo>
                <a:lnTo>
                  <a:pt x="1074" y="592"/>
                </a:lnTo>
                <a:lnTo>
                  <a:pt x="1034" y="621"/>
                </a:lnTo>
                <a:lnTo>
                  <a:pt x="995" y="653"/>
                </a:lnTo>
                <a:lnTo>
                  <a:pt x="958" y="686"/>
                </a:lnTo>
                <a:lnTo>
                  <a:pt x="921" y="722"/>
                </a:lnTo>
                <a:lnTo>
                  <a:pt x="884" y="762"/>
                </a:lnTo>
                <a:lnTo>
                  <a:pt x="850" y="803"/>
                </a:lnTo>
                <a:lnTo>
                  <a:pt x="816" y="845"/>
                </a:lnTo>
                <a:lnTo>
                  <a:pt x="752" y="939"/>
                </a:lnTo>
                <a:lnTo>
                  <a:pt x="723" y="988"/>
                </a:lnTo>
                <a:lnTo>
                  <a:pt x="694" y="1039"/>
                </a:lnTo>
                <a:lnTo>
                  <a:pt x="681" y="1065"/>
                </a:lnTo>
                <a:lnTo>
                  <a:pt x="668" y="1091"/>
                </a:lnTo>
                <a:lnTo>
                  <a:pt x="643" y="1146"/>
                </a:lnTo>
                <a:lnTo>
                  <a:pt x="620" y="1202"/>
                </a:lnTo>
                <a:lnTo>
                  <a:pt x="600" y="1260"/>
                </a:lnTo>
                <a:lnTo>
                  <a:pt x="580" y="1318"/>
                </a:lnTo>
                <a:lnTo>
                  <a:pt x="564" y="1378"/>
                </a:lnTo>
                <a:lnTo>
                  <a:pt x="550" y="1440"/>
                </a:lnTo>
                <a:lnTo>
                  <a:pt x="538" y="1502"/>
                </a:lnTo>
                <a:lnTo>
                  <a:pt x="528" y="1567"/>
                </a:lnTo>
                <a:lnTo>
                  <a:pt x="522" y="1631"/>
                </a:lnTo>
                <a:lnTo>
                  <a:pt x="517" y="1696"/>
                </a:lnTo>
                <a:lnTo>
                  <a:pt x="516" y="1763"/>
                </a:lnTo>
                <a:lnTo>
                  <a:pt x="517" y="1822"/>
                </a:lnTo>
                <a:lnTo>
                  <a:pt x="519" y="1881"/>
                </a:lnTo>
                <a:lnTo>
                  <a:pt x="525" y="1939"/>
                </a:lnTo>
                <a:lnTo>
                  <a:pt x="532" y="1994"/>
                </a:lnTo>
                <a:lnTo>
                  <a:pt x="541" y="2049"/>
                </a:lnTo>
                <a:lnTo>
                  <a:pt x="552" y="2103"/>
                </a:lnTo>
                <a:lnTo>
                  <a:pt x="564" y="2155"/>
                </a:lnTo>
                <a:lnTo>
                  <a:pt x="579" y="2206"/>
                </a:lnTo>
                <a:lnTo>
                  <a:pt x="595" y="2255"/>
                </a:lnTo>
                <a:lnTo>
                  <a:pt x="614" y="2303"/>
                </a:lnTo>
                <a:lnTo>
                  <a:pt x="633" y="2350"/>
                </a:lnTo>
                <a:lnTo>
                  <a:pt x="655" y="2394"/>
                </a:lnTo>
                <a:lnTo>
                  <a:pt x="678" y="2437"/>
                </a:lnTo>
                <a:lnTo>
                  <a:pt x="703" y="2478"/>
                </a:lnTo>
                <a:lnTo>
                  <a:pt x="730" y="2517"/>
                </a:lnTo>
                <a:lnTo>
                  <a:pt x="758" y="2555"/>
                </a:lnTo>
                <a:lnTo>
                  <a:pt x="788" y="2591"/>
                </a:lnTo>
                <a:lnTo>
                  <a:pt x="819" y="2625"/>
                </a:lnTo>
                <a:lnTo>
                  <a:pt x="852" y="2656"/>
                </a:lnTo>
                <a:lnTo>
                  <a:pt x="887" y="2687"/>
                </a:lnTo>
                <a:lnTo>
                  <a:pt x="923" y="2714"/>
                </a:lnTo>
                <a:lnTo>
                  <a:pt x="959" y="2740"/>
                </a:lnTo>
                <a:lnTo>
                  <a:pt x="999" y="2763"/>
                </a:lnTo>
                <a:lnTo>
                  <a:pt x="1039" y="2785"/>
                </a:lnTo>
                <a:lnTo>
                  <a:pt x="1080" y="2803"/>
                </a:lnTo>
                <a:lnTo>
                  <a:pt x="1122" y="2820"/>
                </a:lnTo>
                <a:lnTo>
                  <a:pt x="1167" y="2834"/>
                </a:lnTo>
                <a:lnTo>
                  <a:pt x="1213" y="2846"/>
                </a:lnTo>
                <a:lnTo>
                  <a:pt x="1258" y="2856"/>
                </a:lnTo>
                <a:lnTo>
                  <a:pt x="1306" y="2862"/>
                </a:lnTo>
                <a:lnTo>
                  <a:pt x="1355" y="2865"/>
                </a:lnTo>
                <a:lnTo>
                  <a:pt x="1405" y="2867"/>
                </a:lnTo>
                <a:lnTo>
                  <a:pt x="1454" y="2865"/>
                </a:lnTo>
                <a:lnTo>
                  <a:pt x="1503" y="2862"/>
                </a:lnTo>
                <a:lnTo>
                  <a:pt x="1551" y="2857"/>
                </a:lnTo>
                <a:lnTo>
                  <a:pt x="1597" y="2848"/>
                </a:lnTo>
                <a:lnTo>
                  <a:pt x="1644" y="2838"/>
                </a:lnTo>
                <a:lnTo>
                  <a:pt x="1690" y="2825"/>
                </a:lnTo>
                <a:lnTo>
                  <a:pt x="1734" y="2811"/>
                </a:lnTo>
                <a:lnTo>
                  <a:pt x="1779" y="2794"/>
                </a:lnTo>
                <a:lnTo>
                  <a:pt x="1821" y="2775"/>
                </a:lnTo>
                <a:lnTo>
                  <a:pt x="1865" y="2754"/>
                </a:lnTo>
                <a:lnTo>
                  <a:pt x="1906" y="2732"/>
                </a:lnTo>
                <a:lnTo>
                  <a:pt x="1947" y="2708"/>
                </a:lnTo>
                <a:lnTo>
                  <a:pt x="1987" y="2681"/>
                </a:lnTo>
                <a:lnTo>
                  <a:pt x="2028" y="2653"/>
                </a:lnTo>
                <a:lnTo>
                  <a:pt x="2066" y="2624"/>
                </a:lnTo>
                <a:lnTo>
                  <a:pt x="2105" y="2592"/>
                </a:lnTo>
                <a:lnTo>
                  <a:pt x="2142" y="2560"/>
                </a:lnTo>
                <a:lnTo>
                  <a:pt x="2179" y="2525"/>
                </a:lnTo>
                <a:lnTo>
                  <a:pt x="2249" y="2452"/>
                </a:lnTo>
                <a:lnTo>
                  <a:pt x="2283" y="2413"/>
                </a:lnTo>
                <a:lnTo>
                  <a:pt x="2317" y="2374"/>
                </a:lnTo>
                <a:lnTo>
                  <a:pt x="2381" y="2290"/>
                </a:lnTo>
                <a:lnTo>
                  <a:pt x="2443" y="2201"/>
                </a:lnTo>
                <a:lnTo>
                  <a:pt x="2501" y="2108"/>
                </a:lnTo>
                <a:lnTo>
                  <a:pt x="2556" y="2011"/>
                </a:lnTo>
                <a:lnTo>
                  <a:pt x="2608" y="1912"/>
                </a:lnTo>
                <a:lnTo>
                  <a:pt x="2656" y="1809"/>
                </a:lnTo>
                <a:lnTo>
                  <a:pt x="2701" y="1704"/>
                </a:lnTo>
                <a:lnTo>
                  <a:pt x="2743" y="1596"/>
                </a:lnTo>
                <a:lnTo>
                  <a:pt x="2781" y="1487"/>
                </a:lnTo>
                <a:lnTo>
                  <a:pt x="2815" y="1376"/>
                </a:lnTo>
                <a:lnTo>
                  <a:pt x="2847" y="1265"/>
                </a:lnTo>
                <a:lnTo>
                  <a:pt x="2875" y="1153"/>
                </a:lnTo>
                <a:lnTo>
                  <a:pt x="2888" y="1098"/>
                </a:lnTo>
                <a:lnTo>
                  <a:pt x="2899" y="1041"/>
                </a:lnTo>
                <a:lnTo>
                  <a:pt x="2921" y="930"/>
                </a:lnTo>
                <a:lnTo>
                  <a:pt x="2938" y="819"/>
                </a:lnTo>
                <a:lnTo>
                  <a:pt x="2951" y="709"/>
                </a:lnTo>
                <a:lnTo>
                  <a:pt x="2961" y="602"/>
                </a:lnTo>
                <a:lnTo>
                  <a:pt x="2967" y="496"/>
                </a:lnTo>
                <a:lnTo>
                  <a:pt x="2971" y="393"/>
                </a:lnTo>
                <a:lnTo>
                  <a:pt x="2970" y="293"/>
                </a:lnTo>
                <a:lnTo>
                  <a:pt x="2964" y="196"/>
                </a:lnTo>
                <a:lnTo>
                  <a:pt x="2969" y="185"/>
                </a:lnTo>
                <a:lnTo>
                  <a:pt x="2974" y="174"/>
                </a:lnTo>
                <a:lnTo>
                  <a:pt x="2989" y="153"/>
                </a:lnTo>
                <a:lnTo>
                  <a:pt x="3010" y="134"/>
                </a:lnTo>
                <a:lnTo>
                  <a:pt x="3035" y="118"/>
                </a:lnTo>
                <a:lnTo>
                  <a:pt x="3064" y="103"/>
                </a:lnTo>
                <a:lnTo>
                  <a:pt x="3097" y="93"/>
                </a:lnTo>
                <a:lnTo>
                  <a:pt x="3134" y="85"/>
                </a:lnTo>
                <a:lnTo>
                  <a:pt x="3172" y="83"/>
                </a:lnTo>
                <a:lnTo>
                  <a:pt x="3206" y="84"/>
                </a:lnTo>
                <a:lnTo>
                  <a:pt x="3238" y="88"/>
                </a:lnTo>
                <a:lnTo>
                  <a:pt x="3270" y="94"/>
                </a:lnTo>
                <a:lnTo>
                  <a:pt x="3299" y="102"/>
                </a:lnTo>
                <a:lnTo>
                  <a:pt x="3326" y="114"/>
                </a:lnTo>
                <a:lnTo>
                  <a:pt x="3352" y="130"/>
                </a:lnTo>
                <a:lnTo>
                  <a:pt x="3376" y="147"/>
                </a:lnTo>
                <a:lnTo>
                  <a:pt x="3398" y="169"/>
                </a:lnTo>
                <a:lnTo>
                  <a:pt x="3418" y="194"/>
                </a:lnTo>
                <a:lnTo>
                  <a:pt x="3436" y="222"/>
                </a:lnTo>
                <a:lnTo>
                  <a:pt x="3451" y="255"/>
                </a:lnTo>
                <a:lnTo>
                  <a:pt x="3463" y="291"/>
                </a:lnTo>
                <a:lnTo>
                  <a:pt x="3468" y="311"/>
                </a:lnTo>
                <a:lnTo>
                  <a:pt x="3473" y="332"/>
                </a:lnTo>
                <a:lnTo>
                  <a:pt x="3480" y="376"/>
                </a:lnTo>
                <a:lnTo>
                  <a:pt x="3485" y="427"/>
                </a:lnTo>
                <a:lnTo>
                  <a:pt x="3487" y="481"/>
                </a:lnTo>
                <a:lnTo>
                  <a:pt x="3481" y="626"/>
                </a:lnTo>
                <a:lnTo>
                  <a:pt x="3473" y="769"/>
                </a:lnTo>
                <a:lnTo>
                  <a:pt x="3459" y="912"/>
                </a:lnTo>
                <a:lnTo>
                  <a:pt x="3439" y="1052"/>
                </a:lnTo>
                <a:lnTo>
                  <a:pt x="3428" y="1122"/>
                </a:lnTo>
                <a:lnTo>
                  <a:pt x="3416" y="1190"/>
                </a:lnTo>
                <a:lnTo>
                  <a:pt x="3402" y="1259"/>
                </a:lnTo>
                <a:lnTo>
                  <a:pt x="3388" y="1327"/>
                </a:lnTo>
                <a:lnTo>
                  <a:pt x="3373" y="1395"/>
                </a:lnTo>
                <a:lnTo>
                  <a:pt x="3355" y="1462"/>
                </a:lnTo>
                <a:lnTo>
                  <a:pt x="3319" y="1594"/>
                </a:lnTo>
                <a:lnTo>
                  <a:pt x="3278" y="1722"/>
                </a:lnTo>
                <a:lnTo>
                  <a:pt x="3234" y="1848"/>
                </a:lnTo>
                <a:lnTo>
                  <a:pt x="3210" y="1910"/>
                </a:lnTo>
                <a:lnTo>
                  <a:pt x="3185" y="1971"/>
                </a:lnTo>
                <a:lnTo>
                  <a:pt x="3133" y="2091"/>
                </a:lnTo>
                <a:lnTo>
                  <a:pt x="3076" y="2207"/>
                </a:lnTo>
                <a:lnTo>
                  <a:pt x="3046" y="2264"/>
                </a:lnTo>
                <a:lnTo>
                  <a:pt x="3015" y="2319"/>
                </a:lnTo>
                <a:lnTo>
                  <a:pt x="2951" y="2427"/>
                </a:lnTo>
                <a:lnTo>
                  <a:pt x="2884" y="2531"/>
                </a:lnTo>
                <a:lnTo>
                  <a:pt x="2813" y="2630"/>
                </a:lnTo>
                <a:lnTo>
                  <a:pt x="2776" y="2678"/>
                </a:lnTo>
                <a:lnTo>
                  <a:pt x="2738" y="2724"/>
                </a:lnTo>
                <a:lnTo>
                  <a:pt x="2700" y="2770"/>
                </a:lnTo>
                <a:lnTo>
                  <a:pt x="2661" y="2814"/>
                </a:lnTo>
                <a:lnTo>
                  <a:pt x="2621" y="2857"/>
                </a:lnTo>
                <a:lnTo>
                  <a:pt x="2580" y="2898"/>
                </a:lnTo>
                <a:lnTo>
                  <a:pt x="2538" y="2938"/>
                </a:lnTo>
                <a:lnTo>
                  <a:pt x="2496" y="2976"/>
                </a:lnTo>
                <a:lnTo>
                  <a:pt x="2452" y="3013"/>
                </a:lnTo>
                <a:lnTo>
                  <a:pt x="2408" y="3049"/>
                </a:lnTo>
                <a:lnTo>
                  <a:pt x="2318" y="3117"/>
                </a:lnTo>
                <a:lnTo>
                  <a:pt x="2272" y="3148"/>
                </a:lnTo>
                <a:lnTo>
                  <a:pt x="2225" y="3178"/>
                </a:lnTo>
                <a:lnTo>
                  <a:pt x="2178" y="3206"/>
                </a:lnTo>
                <a:lnTo>
                  <a:pt x="2129" y="3233"/>
                </a:lnTo>
                <a:lnTo>
                  <a:pt x="2080" y="3257"/>
                </a:lnTo>
                <a:lnTo>
                  <a:pt x="2031" y="3281"/>
                </a:lnTo>
                <a:lnTo>
                  <a:pt x="1980" y="3303"/>
                </a:lnTo>
                <a:lnTo>
                  <a:pt x="1930" y="3322"/>
                </a:lnTo>
                <a:lnTo>
                  <a:pt x="1878" y="3340"/>
                </a:lnTo>
                <a:lnTo>
                  <a:pt x="1825" y="3356"/>
                </a:lnTo>
                <a:lnTo>
                  <a:pt x="1773" y="3371"/>
                </a:lnTo>
                <a:lnTo>
                  <a:pt x="1720" y="3383"/>
                </a:lnTo>
                <a:lnTo>
                  <a:pt x="1666" y="3394"/>
                </a:lnTo>
                <a:lnTo>
                  <a:pt x="1611" y="3403"/>
                </a:lnTo>
                <a:lnTo>
                  <a:pt x="1556" y="3410"/>
                </a:lnTo>
                <a:lnTo>
                  <a:pt x="1501" y="3415"/>
                </a:lnTo>
                <a:lnTo>
                  <a:pt x="1444" y="3418"/>
                </a:lnTo>
                <a:lnTo>
                  <a:pt x="1388" y="34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59396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and Picture 3" preserve="1" userDrawn="1">
  <p:cSld name="slide_3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4" y="620713"/>
            <a:ext cx="3385020" cy="1655762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4" y="2492895"/>
            <a:ext cx="3385020" cy="3744391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4295776" y="0"/>
            <a:ext cx="7896225" cy="6021388"/>
          </a:xfrm>
          <a:custGeom>
            <a:avLst/>
            <a:gdLst/>
            <a:ahLst/>
            <a:cxnLst/>
            <a:rect l="l" t="t" r="r" b="b"/>
            <a:pathLst>
              <a:path w="7896225" h="6021388">
                <a:moveTo>
                  <a:pt x="0" y="0"/>
                </a:moveTo>
                <a:lnTo>
                  <a:pt x="7896225" y="0"/>
                </a:lnTo>
                <a:lnTo>
                  <a:pt x="7896225" y="6019341"/>
                </a:lnTo>
                <a:lnTo>
                  <a:pt x="7541579" y="6019341"/>
                </a:lnTo>
                <a:lnTo>
                  <a:pt x="6688839" y="6019341"/>
                </a:lnTo>
                <a:lnTo>
                  <a:pt x="5836099" y="6019341"/>
                </a:lnTo>
                <a:lnTo>
                  <a:pt x="4982335" y="6019341"/>
                </a:lnTo>
                <a:lnTo>
                  <a:pt x="4129595" y="6019341"/>
                </a:lnTo>
                <a:lnTo>
                  <a:pt x="3276855" y="6019341"/>
                </a:lnTo>
                <a:lnTo>
                  <a:pt x="3080306" y="6021388"/>
                </a:lnTo>
                <a:lnTo>
                  <a:pt x="2979983" y="6021388"/>
                </a:lnTo>
                <a:lnTo>
                  <a:pt x="2877613" y="6019341"/>
                </a:lnTo>
                <a:lnTo>
                  <a:pt x="2775244" y="6015245"/>
                </a:lnTo>
                <a:lnTo>
                  <a:pt x="2670827" y="6010126"/>
                </a:lnTo>
                <a:lnTo>
                  <a:pt x="2568457" y="5999887"/>
                </a:lnTo>
                <a:lnTo>
                  <a:pt x="2465063" y="5986577"/>
                </a:lnTo>
                <a:lnTo>
                  <a:pt x="2390334" y="5974290"/>
                </a:lnTo>
                <a:lnTo>
                  <a:pt x="2315604" y="5958932"/>
                </a:lnTo>
                <a:lnTo>
                  <a:pt x="2240874" y="5942550"/>
                </a:lnTo>
                <a:lnTo>
                  <a:pt x="2166144" y="5923097"/>
                </a:lnTo>
                <a:lnTo>
                  <a:pt x="2093461" y="5901595"/>
                </a:lnTo>
                <a:lnTo>
                  <a:pt x="2020779" y="5875999"/>
                </a:lnTo>
                <a:lnTo>
                  <a:pt x="1949120" y="5848354"/>
                </a:lnTo>
                <a:lnTo>
                  <a:pt x="1879509" y="5818662"/>
                </a:lnTo>
                <a:lnTo>
                  <a:pt x="1809897" y="5783850"/>
                </a:lnTo>
                <a:lnTo>
                  <a:pt x="1740286" y="5746991"/>
                </a:lnTo>
                <a:lnTo>
                  <a:pt x="1673745" y="5706036"/>
                </a:lnTo>
                <a:lnTo>
                  <a:pt x="1608229" y="5662009"/>
                </a:lnTo>
                <a:lnTo>
                  <a:pt x="1542712" y="5614911"/>
                </a:lnTo>
                <a:lnTo>
                  <a:pt x="1479243" y="5564742"/>
                </a:lnTo>
                <a:lnTo>
                  <a:pt x="1418845" y="5508429"/>
                </a:lnTo>
                <a:lnTo>
                  <a:pt x="1387110" y="5479760"/>
                </a:lnTo>
                <a:lnTo>
                  <a:pt x="1358447" y="5450068"/>
                </a:lnTo>
                <a:lnTo>
                  <a:pt x="1275527" y="5363039"/>
                </a:lnTo>
                <a:lnTo>
                  <a:pt x="1201821" y="5279081"/>
                </a:lnTo>
                <a:lnTo>
                  <a:pt x="1135281" y="5199220"/>
                </a:lnTo>
                <a:lnTo>
                  <a:pt x="1075906" y="5123453"/>
                </a:lnTo>
                <a:lnTo>
                  <a:pt x="1023698" y="5050758"/>
                </a:lnTo>
                <a:lnTo>
                  <a:pt x="976608" y="4980111"/>
                </a:lnTo>
                <a:lnTo>
                  <a:pt x="895735" y="4851103"/>
                </a:lnTo>
                <a:lnTo>
                  <a:pt x="870143" y="4805029"/>
                </a:lnTo>
                <a:lnTo>
                  <a:pt x="845574" y="4759979"/>
                </a:lnTo>
                <a:lnTo>
                  <a:pt x="799508" y="4664759"/>
                </a:lnTo>
                <a:lnTo>
                  <a:pt x="778010" y="4615613"/>
                </a:lnTo>
                <a:lnTo>
                  <a:pt x="757536" y="4564419"/>
                </a:lnTo>
                <a:lnTo>
                  <a:pt x="737062" y="4509130"/>
                </a:lnTo>
                <a:lnTo>
                  <a:pt x="717612" y="4451793"/>
                </a:lnTo>
                <a:lnTo>
                  <a:pt x="679735" y="4323809"/>
                </a:lnTo>
                <a:lnTo>
                  <a:pt x="640835" y="4175348"/>
                </a:lnTo>
                <a:lnTo>
                  <a:pt x="600911" y="4003338"/>
                </a:lnTo>
                <a:lnTo>
                  <a:pt x="560986" y="3803683"/>
                </a:lnTo>
                <a:lnTo>
                  <a:pt x="490351" y="3328606"/>
                </a:lnTo>
                <a:lnTo>
                  <a:pt x="419716" y="2853530"/>
                </a:lnTo>
                <a:lnTo>
                  <a:pt x="350105" y="2377430"/>
                </a:lnTo>
                <a:lnTo>
                  <a:pt x="280493" y="1902353"/>
                </a:lnTo>
                <a:lnTo>
                  <a:pt x="209858" y="1426253"/>
                </a:lnTo>
                <a:lnTo>
                  <a:pt x="139223" y="951177"/>
                </a:lnTo>
                <a:lnTo>
                  <a:pt x="69612" y="47507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3164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Just Pattern" type="blank" preserve="1">
  <p:cSld name="Just Patter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>
            <a:spLocks noEditPoints="1"/>
          </p:cNvSpPr>
          <p:nvPr userDrawn="1"/>
        </p:nvSpPr>
        <p:spPr bwMode="auto">
          <a:xfrm>
            <a:off x="0" y="-1588"/>
            <a:ext cx="12195175" cy="6859588"/>
          </a:xfrm>
          <a:custGeom>
            <a:avLst/>
            <a:gdLst>
              <a:gd name="T0" fmla="*/ 1139 w 7682"/>
              <a:gd name="T1" fmla="*/ 102 h 4321"/>
              <a:gd name="T2" fmla="*/ 2246 w 7682"/>
              <a:gd name="T3" fmla="*/ 906 h 4321"/>
              <a:gd name="T4" fmla="*/ 2408 w 7682"/>
              <a:gd name="T5" fmla="*/ 2009 h 4321"/>
              <a:gd name="T6" fmla="*/ 134 w 7682"/>
              <a:gd name="T7" fmla="*/ 773 h 4321"/>
              <a:gd name="T8" fmla="*/ 3787 w 7682"/>
              <a:gd name="T9" fmla="*/ 814 h 4321"/>
              <a:gd name="T10" fmla="*/ 4164 w 7682"/>
              <a:gd name="T11" fmla="*/ 2123 h 4321"/>
              <a:gd name="T12" fmla="*/ 2906 w 7682"/>
              <a:gd name="T13" fmla="*/ 809 h 4321"/>
              <a:gd name="T14" fmla="*/ 2920 w 7682"/>
              <a:gd name="T15" fmla="*/ 2018 h 4321"/>
              <a:gd name="T16" fmla="*/ 3379 w 7682"/>
              <a:gd name="T17" fmla="*/ 2726 h 4321"/>
              <a:gd name="T18" fmla="*/ 817 w 7682"/>
              <a:gd name="T19" fmla="*/ 1842 h 4321"/>
              <a:gd name="T20" fmla="*/ 861 w 7682"/>
              <a:gd name="T21" fmla="*/ 2906 h 4321"/>
              <a:gd name="T22" fmla="*/ 4862 w 7682"/>
              <a:gd name="T23" fmla="*/ 981 h 4321"/>
              <a:gd name="T24" fmla="*/ 4483 w 7682"/>
              <a:gd name="T25" fmla="*/ 2922 h 4321"/>
              <a:gd name="T26" fmla="*/ 1694 w 7682"/>
              <a:gd name="T27" fmla="*/ 798 h 4321"/>
              <a:gd name="T28" fmla="*/ 1380 w 7682"/>
              <a:gd name="T29" fmla="*/ 3064 h 4321"/>
              <a:gd name="T30" fmla="*/ 5331 w 7682"/>
              <a:gd name="T31" fmla="*/ 823 h 4321"/>
              <a:gd name="T32" fmla="*/ 5343 w 7682"/>
              <a:gd name="T33" fmla="*/ 2122 h 4321"/>
              <a:gd name="T34" fmla="*/ 2408 w 7682"/>
              <a:gd name="T35" fmla="*/ 354 h 4321"/>
              <a:gd name="T36" fmla="*/ 2442 w 7682"/>
              <a:gd name="T37" fmla="*/ 1489 h 4321"/>
              <a:gd name="T38" fmla="*/ 2792 w 7682"/>
              <a:gd name="T39" fmla="*/ 2398 h 4321"/>
              <a:gd name="T40" fmla="*/ 338 w 7682"/>
              <a:gd name="T41" fmla="*/ 1301 h 4321"/>
              <a:gd name="T42" fmla="*/ 360 w 7682"/>
              <a:gd name="T43" fmla="*/ 2503 h 4321"/>
              <a:gd name="T44" fmla="*/ 4381 w 7682"/>
              <a:gd name="T45" fmla="*/ 458 h 4321"/>
              <a:gd name="T46" fmla="*/ 4025 w 7682"/>
              <a:gd name="T47" fmla="*/ 2472 h 4321"/>
              <a:gd name="T48" fmla="*/ 3522 w 7682"/>
              <a:gd name="T49" fmla="*/ 282 h 4321"/>
              <a:gd name="T50" fmla="*/ 3265 w 7682"/>
              <a:gd name="T51" fmla="*/ 2621 h 4321"/>
              <a:gd name="T52" fmla="*/ 1067 w 7682"/>
              <a:gd name="T53" fmla="*/ 346 h 4321"/>
              <a:gd name="T54" fmla="*/ 1123 w 7682"/>
              <a:gd name="T55" fmla="*/ 1600 h 4321"/>
              <a:gd name="T56" fmla="*/ 4708 w 7682"/>
              <a:gd name="T57" fmla="*/ 396 h 4321"/>
              <a:gd name="T58" fmla="*/ 4755 w 7682"/>
              <a:gd name="T59" fmla="*/ 1438 h 4321"/>
              <a:gd name="T60" fmla="*/ 5093 w 7682"/>
              <a:gd name="T61" fmla="*/ 2430 h 4321"/>
              <a:gd name="T62" fmla="*/ 1832 w 7682"/>
              <a:gd name="T63" fmla="*/ 1275 h 4321"/>
              <a:gd name="T64" fmla="*/ 1839 w 7682"/>
              <a:gd name="T65" fmla="*/ 2543 h 4321"/>
              <a:gd name="T66" fmla="*/ 5915 w 7682"/>
              <a:gd name="T67" fmla="*/ 431 h 4321"/>
              <a:gd name="T68" fmla="*/ 5573 w 7682"/>
              <a:gd name="T69" fmla="*/ 2478 h 4321"/>
              <a:gd name="T70" fmla="*/ 2425 w 7682"/>
              <a:gd name="T71" fmla="*/ 3723 h 4321"/>
              <a:gd name="T72" fmla="*/ 365 w 7682"/>
              <a:gd name="T73" fmla="*/ 4038 h 4321"/>
              <a:gd name="T74" fmla="*/ 2936 w 7682"/>
              <a:gd name="T75" fmla="*/ 3898 h 4321"/>
              <a:gd name="T76" fmla="*/ 947 w 7682"/>
              <a:gd name="T77" fmla="*/ 3782 h 4321"/>
              <a:gd name="T78" fmla="*/ 1358 w 7682"/>
              <a:gd name="T79" fmla="*/ 4035 h 4321"/>
              <a:gd name="T80" fmla="*/ 5309 w 7682"/>
              <a:gd name="T81" fmla="*/ 3766 h 4321"/>
              <a:gd name="T82" fmla="*/ 2533 w 7682"/>
              <a:gd name="T83" fmla="*/ 3591 h 4321"/>
              <a:gd name="T84" fmla="*/ 636 w 7682"/>
              <a:gd name="T85" fmla="*/ 3585 h 4321"/>
              <a:gd name="T86" fmla="*/ 4458 w 7682"/>
              <a:gd name="T87" fmla="*/ 3581 h 4321"/>
              <a:gd name="T88" fmla="*/ 3667 w 7682"/>
              <a:gd name="T89" fmla="*/ 3572 h 4321"/>
              <a:gd name="T90" fmla="*/ 1357 w 7682"/>
              <a:gd name="T91" fmla="*/ 3546 h 4321"/>
              <a:gd name="T92" fmla="*/ 5153 w 7682"/>
              <a:gd name="T93" fmla="*/ 3513 h 4321"/>
              <a:gd name="T94" fmla="*/ 2040 w 7682"/>
              <a:gd name="T95" fmla="*/ 3479 h 4321"/>
              <a:gd name="T96" fmla="*/ 5854 w 7682"/>
              <a:gd name="T97" fmla="*/ 3458 h 4321"/>
              <a:gd name="T98" fmla="*/ 6007 w 7682"/>
              <a:gd name="T99" fmla="*/ 1110 h 4321"/>
              <a:gd name="T100" fmla="*/ 6125 w 7682"/>
              <a:gd name="T101" fmla="*/ 1819 h 4321"/>
              <a:gd name="T102" fmla="*/ 6915 w 7682"/>
              <a:gd name="T103" fmla="*/ 1126 h 4321"/>
              <a:gd name="T104" fmla="*/ 6727 w 7682"/>
              <a:gd name="T105" fmla="*/ 2817 h 4321"/>
              <a:gd name="T106" fmla="*/ 7550 w 7682"/>
              <a:gd name="T107" fmla="*/ 1056 h 4321"/>
              <a:gd name="T108" fmla="*/ 6445 w 7682"/>
              <a:gd name="T109" fmla="*/ 277 h 4321"/>
              <a:gd name="T110" fmla="*/ 6452 w 7682"/>
              <a:gd name="T111" fmla="*/ 1555 h 4321"/>
              <a:gd name="T112" fmla="*/ 6718 w 7682"/>
              <a:gd name="T113" fmla="*/ 2404 h 4321"/>
              <a:gd name="T114" fmla="*/ 7141 w 7682"/>
              <a:gd name="T115" fmla="*/ 1484 h 4321"/>
              <a:gd name="T116" fmla="*/ 7352 w 7682"/>
              <a:gd name="T117" fmla="*/ 2263 h 4321"/>
              <a:gd name="T118" fmla="*/ 6329 w 7682"/>
              <a:gd name="T119" fmla="*/ 2936 h 4321"/>
              <a:gd name="T120" fmla="*/ 6880 w 7682"/>
              <a:gd name="T121" fmla="*/ 3851 h 4321"/>
              <a:gd name="T122" fmla="*/ 6400 w 7682"/>
              <a:gd name="T123" fmla="*/ 3218 h 4321"/>
              <a:gd name="T124" fmla="*/ 7185 w 7682"/>
              <a:gd name="T125" fmla="*/ 3219 h 4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682" h="4321">
                <a:moveTo>
                  <a:pt x="2229" y="142"/>
                </a:moveTo>
                <a:lnTo>
                  <a:pt x="2216" y="141"/>
                </a:lnTo>
                <a:lnTo>
                  <a:pt x="2203" y="139"/>
                </a:lnTo>
                <a:lnTo>
                  <a:pt x="2189" y="136"/>
                </a:lnTo>
                <a:lnTo>
                  <a:pt x="2183" y="134"/>
                </a:lnTo>
                <a:lnTo>
                  <a:pt x="2177" y="131"/>
                </a:lnTo>
                <a:lnTo>
                  <a:pt x="2171" y="129"/>
                </a:lnTo>
                <a:lnTo>
                  <a:pt x="2165" y="126"/>
                </a:lnTo>
                <a:lnTo>
                  <a:pt x="2154" y="119"/>
                </a:lnTo>
                <a:lnTo>
                  <a:pt x="2143" y="111"/>
                </a:lnTo>
                <a:lnTo>
                  <a:pt x="2133" y="102"/>
                </a:lnTo>
                <a:lnTo>
                  <a:pt x="2128" y="97"/>
                </a:lnTo>
                <a:lnTo>
                  <a:pt x="2123" y="92"/>
                </a:lnTo>
                <a:lnTo>
                  <a:pt x="2114" y="81"/>
                </a:lnTo>
                <a:lnTo>
                  <a:pt x="2107" y="69"/>
                </a:lnTo>
                <a:lnTo>
                  <a:pt x="2100" y="57"/>
                </a:lnTo>
                <a:lnTo>
                  <a:pt x="2097" y="51"/>
                </a:lnTo>
                <a:lnTo>
                  <a:pt x="2094" y="44"/>
                </a:lnTo>
                <a:lnTo>
                  <a:pt x="2088" y="29"/>
                </a:lnTo>
                <a:lnTo>
                  <a:pt x="2084" y="15"/>
                </a:lnTo>
                <a:lnTo>
                  <a:pt x="2081" y="0"/>
                </a:lnTo>
                <a:lnTo>
                  <a:pt x="2139" y="0"/>
                </a:lnTo>
                <a:lnTo>
                  <a:pt x="2141" y="9"/>
                </a:lnTo>
                <a:lnTo>
                  <a:pt x="2144" y="17"/>
                </a:lnTo>
                <a:lnTo>
                  <a:pt x="2148" y="25"/>
                </a:lnTo>
                <a:lnTo>
                  <a:pt x="2151" y="34"/>
                </a:lnTo>
                <a:lnTo>
                  <a:pt x="2156" y="41"/>
                </a:lnTo>
                <a:lnTo>
                  <a:pt x="2161" y="48"/>
                </a:lnTo>
                <a:lnTo>
                  <a:pt x="2166" y="54"/>
                </a:lnTo>
                <a:lnTo>
                  <a:pt x="2171" y="59"/>
                </a:lnTo>
                <a:lnTo>
                  <a:pt x="2177" y="64"/>
                </a:lnTo>
                <a:lnTo>
                  <a:pt x="2184" y="69"/>
                </a:lnTo>
                <a:lnTo>
                  <a:pt x="2192" y="73"/>
                </a:lnTo>
                <a:lnTo>
                  <a:pt x="2199" y="76"/>
                </a:lnTo>
                <a:lnTo>
                  <a:pt x="2207" y="78"/>
                </a:lnTo>
                <a:lnTo>
                  <a:pt x="2215" y="80"/>
                </a:lnTo>
                <a:lnTo>
                  <a:pt x="2223" y="81"/>
                </a:lnTo>
                <a:lnTo>
                  <a:pt x="2231" y="81"/>
                </a:lnTo>
                <a:lnTo>
                  <a:pt x="2241" y="81"/>
                </a:lnTo>
                <a:lnTo>
                  <a:pt x="2249" y="80"/>
                </a:lnTo>
                <a:lnTo>
                  <a:pt x="2259" y="78"/>
                </a:lnTo>
                <a:lnTo>
                  <a:pt x="2268" y="75"/>
                </a:lnTo>
                <a:lnTo>
                  <a:pt x="2276" y="72"/>
                </a:lnTo>
                <a:lnTo>
                  <a:pt x="2284" y="68"/>
                </a:lnTo>
                <a:lnTo>
                  <a:pt x="2291" y="64"/>
                </a:lnTo>
                <a:lnTo>
                  <a:pt x="2299" y="59"/>
                </a:lnTo>
                <a:lnTo>
                  <a:pt x="2306" y="53"/>
                </a:lnTo>
                <a:lnTo>
                  <a:pt x="2314" y="47"/>
                </a:lnTo>
                <a:lnTo>
                  <a:pt x="2321" y="41"/>
                </a:lnTo>
                <a:lnTo>
                  <a:pt x="2327" y="33"/>
                </a:lnTo>
                <a:lnTo>
                  <a:pt x="2334" y="25"/>
                </a:lnTo>
                <a:lnTo>
                  <a:pt x="2340" y="17"/>
                </a:lnTo>
                <a:lnTo>
                  <a:pt x="2345" y="9"/>
                </a:lnTo>
                <a:lnTo>
                  <a:pt x="2351" y="0"/>
                </a:lnTo>
                <a:lnTo>
                  <a:pt x="2419" y="0"/>
                </a:lnTo>
                <a:lnTo>
                  <a:pt x="2411" y="15"/>
                </a:lnTo>
                <a:lnTo>
                  <a:pt x="2403" y="30"/>
                </a:lnTo>
                <a:lnTo>
                  <a:pt x="2399" y="38"/>
                </a:lnTo>
                <a:lnTo>
                  <a:pt x="2394" y="45"/>
                </a:lnTo>
                <a:lnTo>
                  <a:pt x="2385" y="58"/>
                </a:lnTo>
                <a:lnTo>
                  <a:pt x="2375" y="70"/>
                </a:lnTo>
                <a:lnTo>
                  <a:pt x="2363" y="82"/>
                </a:lnTo>
                <a:lnTo>
                  <a:pt x="2357" y="87"/>
                </a:lnTo>
                <a:lnTo>
                  <a:pt x="2352" y="93"/>
                </a:lnTo>
                <a:lnTo>
                  <a:pt x="2340" y="103"/>
                </a:lnTo>
                <a:lnTo>
                  <a:pt x="2328" y="112"/>
                </a:lnTo>
                <a:lnTo>
                  <a:pt x="2316" y="119"/>
                </a:lnTo>
                <a:lnTo>
                  <a:pt x="2302" y="126"/>
                </a:lnTo>
                <a:lnTo>
                  <a:pt x="2295" y="129"/>
                </a:lnTo>
                <a:lnTo>
                  <a:pt x="2288" y="132"/>
                </a:lnTo>
                <a:lnTo>
                  <a:pt x="2274" y="136"/>
                </a:lnTo>
                <a:lnTo>
                  <a:pt x="2260" y="139"/>
                </a:lnTo>
                <a:lnTo>
                  <a:pt x="2244" y="141"/>
                </a:lnTo>
                <a:lnTo>
                  <a:pt x="2229" y="142"/>
                </a:lnTo>
                <a:close/>
                <a:moveTo>
                  <a:pt x="2481" y="4"/>
                </a:moveTo>
                <a:lnTo>
                  <a:pt x="2479" y="0"/>
                </a:lnTo>
                <a:lnTo>
                  <a:pt x="2556" y="0"/>
                </a:lnTo>
                <a:lnTo>
                  <a:pt x="2576" y="21"/>
                </a:lnTo>
                <a:lnTo>
                  <a:pt x="2599" y="46"/>
                </a:lnTo>
                <a:lnTo>
                  <a:pt x="2624" y="70"/>
                </a:lnTo>
                <a:lnTo>
                  <a:pt x="2647" y="93"/>
                </a:lnTo>
                <a:lnTo>
                  <a:pt x="2649" y="95"/>
                </a:lnTo>
                <a:lnTo>
                  <a:pt x="2650" y="97"/>
                </a:lnTo>
                <a:lnTo>
                  <a:pt x="2651" y="100"/>
                </a:lnTo>
                <a:lnTo>
                  <a:pt x="2652" y="102"/>
                </a:lnTo>
                <a:lnTo>
                  <a:pt x="2651" y="108"/>
                </a:lnTo>
                <a:lnTo>
                  <a:pt x="2650" y="111"/>
                </a:lnTo>
                <a:lnTo>
                  <a:pt x="2648" y="113"/>
                </a:lnTo>
                <a:lnTo>
                  <a:pt x="2645" y="119"/>
                </a:lnTo>
                <a:lnTo>
                  <a:pt x="2643" y="122"/>
                </a:lnTo>
                <a:lnTo>
                  <a:pt x="2640" y="124"/>
                </a:lnTo>
                <a:lnTo>
                  <a:pt x="2635" y="129"/>
                </a:lnTo>
                <a:lnTo>
                  <a:pt x="2632" y="131"/>
                </a:lnTo>
                <a:lnTo>
                  <a:pt x="2629" y="133"/>
                </a:lnTo>
                <a:lnTo>
                  <a:pt x="2623" y="135"/>
                </a:lnTo>
                <a:lnTo>
                  <a:pt x="2620" y="136"/>
                </a:lnTo>
                <a:lnTo>
                  <a:pt x="2617" y="136"/>
                </a:lnTo>
                <a:lnTo>
                  <a:pt x="2615" y="136"/>
                </a:lnTo>
                <a:lnTo>
                  <a:pt x="2613" y="135"/>
                </a:lnTo>
                <a:lnTo>
                  <a:pt x="2607" y="132"/>
                </a:lnTo>
                <a:lnTo>
                  <a:pt x="2600" y="128"/>
                </a:lnTo>
                <a:lnTo>
                  <a:pt x="2593" y="123"/>
                </a:lnTo>
                <a:lnTo>
                  <a:pt x="2580" y="112"/>
                </a:lnTo>
                <a:lnTo>
                  <a:pt x="2565" y="98"/>
                </a:lnTo>
                <a:lnTo>
                  <a:pt x="2548" y="81"/>
                </a:lnTo>
                <a:lnTo>
                  <a:pt x="2532" y="64"/>
                </a:lnTo>
                <a:lnTo>
                  <a:pt x="2516" y="47"/>
                </a:lnTo>
                <a:lnTo>
                  <a:pt x="2501" y="30"/>
                </a:lnTo>
                <a:lnTo>
                  <a:pt x="2489" y="15"/>
                </a:lnTo>
                <a:lnTo>
                  <a:pt x="2485" y="9"/>
                </a:lnTo>
                <a:lnTo>
                  <a:pt x="2481" y="4"/>
                </a:lnTo>
                <a:close/>
                <a:moveTo>
                  <a:pt x="0" y="69"/>
                </a:moveTo>
                <a:lnTo>
                  <a:pt x="5" y="66"/>
                </a:lnTo>
                <a:lnTo>
                  <a:pt x="10" y="63"/>
                </a:lnTo>
                <a:lnTo>
                  <a:pt x="19" y="57"/>
                </a:lnTo>
                <a:lnTo>
                  <a:pt x="28" y="49"/>
                </a:lnTo>
                <a:lnTo>
                  <a:pt x="34" y="45"/>
                </a:lnTo>
                <a:lnTo>
                  <a:pt x="38" y="41"/>
                </a:lnTo>
                <a:lnTo>
                  <a:pt x="46" y="32"/>
                </a:lnTo>
                <a:lnTo>
                  <a:pt x="50" y="26"/>
                </a:lnTo>
                <a:lnTo>
                  <a:pt x="54" y="21"/>
                </a:lnTo>
                <a:lnTo>
                  <a:pt x="61" y="11"/>
                </a:lnTo>
                <a:lnTo>
                  <a:pt x="68" y="0"/>
                </a:lnTo>
                <a:lnTo>
                  <a:pt x="137" y="0"/>
                </a:lnTo>
                <a:lnTo>
                  <a:pt x="131" y="12"/>
                </a:lnTo>
                <a:lnTo>
                  <a:pt x="124" y="23"/>
                </a:lnTo>
                <a:lnTo>
                  <a:pt x="118" y="36"/>
                </a:lnTo>
                <a:lnTo>
                  <a:pt x="111" y="46"/>
                </a:lnTo>
                <a:lnTo>
                  <a:pt x="103" y="56"/>
                </a:lnTo>
                <a:lnTo>
                  <a:pt x="96" y="66"/>
                </a:lnTo>
                <a:lnTo>
                  <a:pt x="87" y="75"/>
                </a:lnTo>
                <a:lnTo>
                  <a:pt x="78" y="84"/>
                </a:lnTo>
                <a:lnTo>
                  <a:pt x="70" y="93"/>
                </a:lnTo>
                <a:lnTo>
                  <a:pt x="61" y="101"/>
                </a:lnTo>
                <a:lnTo>
                  <a:pt x="51" y="108"/>
                </a:lnTo>
                <a:lnTo>
                  <a:pt x="42" y="114"/>
                </a:lnTo>
                <a:lnTo>
                  <a:pt x="32" y="120"/>
                </a:lnTo>
                <a:lnTo>
                  <a:pt x="21" y="125"/>
                </a:lnTo>
                <a:lnTo>
                  <a:pt x="11" y="130"/>
                </a:lnTo>
                <a:lnTo>
                  <a:pt x="0" y="133"/>
                </a:lnTo>
                <a:lnTo>
                  <a:pt x="0" y="69"/>
                </a:lnTo>
                <a:close/>
                <a:moveTo>
                  <a:pt x="199" y="4"/>
                </a:moveTo>
                <a:lnTo>
                  <a:pt x="197" y="0"/>
                </a:lnTo>
                <a:lnTo>
                  <a:pt x="274" y="0"/>
                </a:lnTo>
                <a:lnTo>
                  <a:pt x="294" y="21"/>
                </a:lnTo>
                <a:lnTo>
                  <a:pt x="317" y="46"/>
                </a:lnTo>
                <a:lnTo>
                  <a:pt x="342" y="70"/>
                </a:lnTo>
                <a:lnTo>
                  <a:pt x="365" y="93"/>
                </a:lnTo>
                <a:lnTo>
                  <a:pt x="367" y="95"/>
                </a:lnTo>
                <a:lnTo>
                  <a:pt x="368" y="97"/>
                </a:lnTo>
                <a:lnTo>
                  <a:pt x="369" y="100"/>
                </a:lnTo>
                <a:lnTo>
                  <a:pt x="369" y="102"/>
                </a:lnTo>
                <a:lnTo>
                  <a:pt x="368" y="108"/>
                </a:lnTo>
                <a:lnTo>
                  <a:pt x="367" y="111"/>
                </a:lnTo>
                <a:lnTo>
                  <a:pt x="366" y="113"/>
                </a:lnTo>
                <a:lnTo>
                  <a:pt x="362" y="119"/>
                </a:lnTo>
                <a:lnTo>
                  <a:pt x="360" y="122"/>
                </a:lnTo>
                <a:lnTo>
                  <a:pt x="358" y="124"/>
                </a:lnTo>
                <a:lnTo>
                  <a:pt x="352" y="129"/>
                </a:lnTo>
                <a:lnTo>
                  <a:pt x="350" y="131"/>
                </a:lnTo>
                <a:lnTo>
                  <a:pt x="347" y="133"/>
                </a:lnTo>
                <a:lnTo>
                  <a:pt x="341" y="135"/>
                </a:lnTo>
                <a:lnTo>
                  <a:pt x="338" y="136"/>
                </a:lnTo>
                <a:lnTo>
                  <a:pt x="335" y="136"/>
                </a:lnTo>
                <a:lnTo>
                  <a:pt x="333" y="136"/>
                </a:lnTo>
                <a:lnTo>
                  <a:pt x="331" y="135"/>
                </a:lnTo>
                <a:lnTo>
                  <a:pt x="324" y="132"/>
                </a:lnTo>
                <a:lnTo>
                  <a:pt x="318" y="128"/>
                </a:lnTo>
                <a:lnTo>
                  <a:pt x="311" y="123"/>
                </a:lnTo>
                <a:lnTo>
                  <a:pt x="298" y="112"/>
                </a:lnTo>
                <a:lnTo>
                  <a:pt x="283" y="98"/>
                </a:lnTo>
                <a:lnTo>
                  <a:pt x="266" y="81"/>
                </a:lnTo>
                <a:lnTo>
                  <a:pt x="249" y="64"/>
                </a:lnTo>
                <a:lnTo>
                  <a:pt x="233" y="47"/>
                </a:lnTo>
                <a:lnTo>
                  <a:pt x="219" y="30"/>
                </a:lnTo>
                <a:lnTo>
                  <a:pt x="207" y="15"/>
                </a:lnTo>
                <a:lnTo>
                  <a:pt x="202" y="9"/>
                </a:lnTo>
                <a:lnTo>
                  <a:pt x="199" y="4"/>
                </a:lnTo>
                <a:close/>
                <a:moveTo>
                  <a:pt x="3777" y="142"/>
                </a:moveTo>
                <a:lnTo>
                  <a:pt x="3764" y="141"/>
                </a:lnTo>
                <a:lnTo>
                  <a:pt x="3749" y="139"/>
                </a:lnTo>
                <a:lnTo>
                  <a:pt x="3737" y="136"/>
                </a:lnTo>
                <a:lnTo>
                  <a:pt x="3731" y="134"/>
                </a:lnTo>
                <a:lnTo>
                  <a:pt x="3725" y="131"/>
                </a:lnTo>
                <a:lnTo>
                  <a:pt x="3719" y="129"/>
                </a:lnTo>
                <a:lnTo>
                  <a:pt x="3713" y="126"/>
                </a:lnTo>
                <a:lnTo>
                  <a:pt x="3702" y="119"/>
                </a:lnTo>
                <a:lnTo>
                  <a:pt x="3691" y="111"/>
                </a:lnTo>
                <a:lnTo>
                  <a:pt x="3680" y="102"/>
                </a:lnTo>
                <a:lnTo>
                  <a:pt x="3675" y="97"/>
                </a:lnTo>
                <a:lnTo>
                  <a:pt x="3671" y="92"/>
                </a:lnTo>
                <a:lnTo>
                  <a:pt x="3662" y="81"/>
                </a:lnTo>
                <a:lnTo>
                  <a:pt x="3654" y="69"/>
                </a:lnTo>
                <a:lnTo>
                  <a:pt x="3647" y="57"/>
                </a:lnTo>
                <a:lnTo>
                  <a:pt x="3644" y="51"/>
                </a:lnTo>
                <a:lnTo>
                  <a:pt x="3641" y="44"/>
                </a:lnTo>
                <a:lnTo>
                  <a:pt x="3636" y="29"/>
                </a:lnTo>
                <a:lnTo>
                  <a:pt x="3632" y="15"/>
                </a:lnTo>
                <a:lnTo>
                  <a:pt x="3627" y="0"/>
                </a:lnTo>
                <a:lnTo>
                  <a:pt x="3685" y="0"/>
                </a:lnTo>
                <a:lnTo>
                  <a:pt x="3688" y="9"/>
                </a:lnTo>
                <a:lnTo>
                  <a:pt x="3692" y="17"/>
                </a:lnTo>
                <a:lnTo>
                  <a:pt x="3695" y="25"/>
                </a:lnTo>
                <a:lnTo>
                  <a:pt x="3699" y="34"/>
                </a:lnTo>
                <a:lnTo>
                  <a:pt x="3703" y="41"/>
                </a:lnTo>
                <a:lnTo>
                  <a:pt x="3708" y="48"/>
                </a:lnTo>
                <a:lnTo>
                  <a:pt x="3713" y="54"/>
                </a:lnTo>
                <a:lnTo>
                  <a:pt x="3719" y="59"/>
                </a:lnTo>
                <a:lnTo>
                  <a:pt x="3725" y="64"/>
                </a:lnTo>
                <a:lnTo>
                  <a:pt x="3731" y="69"/>
                </a:lnTo>
                <a:lnTo>
                  <a:pt x="3738" y="73"/>
                </a:lnTo>
                <a:lnTo>
                  <a:pt x="3745" y="76"/>
                </a:lnTo>
                <a:lnTo>
                  <a:pt x="3754" y="78"/>
                </a:lnTo>
                <a:lnTo>
                  <a:pt x="3762" y="80"/>
                </a:lnTo>
                <a:lnTo>
                  <a:pt x="3770" y="81"/>
                </a:lnTo>
                <a:lnTo>
                  <a:pt x="3779" y="81"/>
                </a:lnTo>
                <a:lnTo>
                  <a:pt x="3788" y="81"/>
                </a:lnTo>
                <a:lnTo>
                  <a:pt x="3797" y="80"/>
                </a:lnTo>
                <a:lnTo>
                  <a:pt x="3806" y="78"/>
                </a:lnTo>
                <a:lnTo>
                  <a:pt x="3815" y="75"/>
                </a:lnTo>
                <a:lnTo>
                  <a:pt x="3823" y="72"/>
                </a:lnTo>
                <a:lnTo>
                  <a:pt x="3831" y="68"/>
                </a:lnTo>
                <a:lnTo>
                  <a:pt x="3839" y="64"/>
                </a:lnTo>
                <a:lnTo>
                  <a:pt x="3846" y="59"/>
                </a:lnTo>
                <a:lnTo>
                  <a:pt x="3854" y="53"/>
                </a:lnTo>
                <a:lnTo>
                  <a:pt x="3861" y="47"/>
                </a:lnTo>
                <a:lnTo>
                  <a:pt x="3867" y="41"/>
                </a:lnTo>
                <a:lnTo>
                  <a:pt x="3875" y="33"/>
                </a:lnTo>
                <a:lnTo>
                  <a:pt x="3881" y="25"/>
                </a:lnTo>
                <a:lnTo>
                  <a:pt x="3887" y="17"/>
                </a:lnTo>
                <a:lnTo>
                  <a:pt x="3893" y="9"/>
                </a:lnTo>
                <a:lnTo>
                  <a:pt x="3898" y="0"/>
                </a:lnTo>
                <a:lnTo>
                  <a:pt x="3966" y="0"/>
                </a:lnTo>
                <a:lnTo>
                  <a:pt x="3959" y="15"/>
                </a:lnTo>
                <a:lnTo>
                  <a:pt x="3950" y="30"/>
                </a:lnTo>
                <a:lnTo>
                  <a:pt x="3946" y="38"/>
                </a:lnTo>
                <a:lnTo>
                  <a:pt x="3942" y="45"/>
                </a:lnTo>
                <a:lnTo>
                  <a:pt x="3932" y="58"/>
                </a:lnTo>
                <a:lnTo>
                  <a:pt x="3921" y="70"/>
                </a:lnTo>
                <a:lnTo>
                  <a:pt x="3910" y="82"/>
                </a:lnTo>
                <a:lnTo>
                  <a:pt x="3905" y="87"/>
                </a:lnTo>
                <a:lnTo>
                  <a:pt x="3899" y="93"/>
                </a:lnTo>
                <a:lnTo>
                  <a:pt x="3888" y="103"/>
                </a:lnTo>
                <a:lnTo>
                  <a:pt x="3876" y="112"/>
                </a:lnTo>
                <a:lnTo>
                  <a:pt x="3862" y="119"/>
                </a:lnTo>
                <a:lnTo>
                  <a:pt x="3849" y="126"/>
                </a:lnTo>
                <a:lnTo>
                  <a:pt x="3842" y="129"/>
                </a:lnTo>
                <a:lnTo>
                  <a:pt x="3836" y="132"/>
                </a:lnTo>
                <a:lnTo>
                  <a:pt x="3822" y="136"/>
                </a:lnTo>
                <a:lnTo>
                  <a:pt x="3807" y="139"/>
                </a:lnTo>
                <a:lnTo>
                  <a:pt x="3792" y="141"/>
                </a:lnTo>
                <a:lnTo>
                  <a:pt x="3777" y="142"/>
                </a:lnTo>
                <a:close/>
                <a:moveTo>
                  <a:pt x="4029" y="4"/>
                </a:moveTo>
                <a:lnTo>
                  <a:pt x="4027" y="0"/>
                </a:lnTo>
                <a:lnTo>
                  <a:pt x="4103" y="0"/>
                </a:lnTo>
                <a:lnTo>
                  <a:pt x="4124" y="21"/>
                </a:lnTo>
                <a:lnTo>
                  <a:pt x="4147" y="46"/>
                </a:lnTo>
                <a:lnTo>
                  <a:pt x="4172" y="70"/>
                </a:lnTo>
                <a:lnTo>
                  <a:pt x="4195" y="93"/>
                </a:lnTo>
                <a:lnTo>
                  <a:pt x="4196" y="95"/>
                </a:lnTo>
                <a:lnTo>
                  <a:pt x="4198" y="97"/>
                </a:lnTo>
                <a:lnTo>
                  <a:pt x="4199" y="100"/>
                </a:lnTo>
                <a:lnTo>
                  <a:pt x="4199" y="102"/>
                </a:lnTo>
                <a:lnTo>
                  <a:pt x="4198" y="108"/>
                </a:lnTo>
                <a:lnTo>
                  <a:pt x="4197" y="111"/>
                </a:lnTo>
                <a:lnTo>
                  <a:pt x="4196" y="113"/>
                </a:lnTo>
                <a:lnTo>
                  <a:pt x="4192" y="119"/>
                </a:lnTo>
                <a:lnTo>
                  <a:pt x="4190" y="122"/>
                </a:lnTo>
                <a:lnTo>
                  <a:pt x="4188" y="124"/>
                </a:lnTo>
                <a:lnTo>
                  <a:pt x="4182" y="129"/>
                </a:lnTo>
                <a:lnTo>
                  <a:pt x="4179" y="131"/>
                </a:lnTo>
                <a:lnTo>
                  <a:pt x="4177" y="133"/>
                </a:lnTo>
                <a:lnTo>
                  <a:pt x="4171" y="135"/>
                </a:lnTo>
                <a:lnTo>
                  <a:pt x="4167" y="136"/>
                </a:lnTo>
                <a:lnTo>
                  <a:pt x="4164" y="136"/>
                </a:lnTo>
                <a:lnTo>
                  <a:pt x="4162" y="136"/>
                </a:lnTo>
                <a:lnTo>
                  <a:pt x="4160" y="135"/>
                </a:lnTo>
                <a:lnTo>
                  <a:pt x="4154" y="132"/>
                </a:lnTo>
                <a:lnTo>
                  <a:pt x="4148" y="128"/>
                </a:lnTo>
                <a:lnTo>
                  <a:pt x="4141" y="123"/>
                </a:lnTo>
                <a:lnTo>
                  <a:pt x="4128" y="112"/>
                </a:lnTo>
                <a:lnTo>
                  <a:pt x="4113" y="98"/>
                </a:lnTo>
                <a:lnTo>
                  <a:pt x="4096" y="81"/>
                </a:lnTo>
                <a:lnTo>
                  <a:pt x="4079" y="64"/>
                </a:lnTo>
                <a:lnTo>
                  <a:pt x="4063" y="47"/>
                </a:lnTo>
                <a:lnTo>
                  <a:pt x="4048" y="30"/>
                </a:lnTo>
                <a:lnTo>
                  <a:pt x="4036" y="15"/>
                </a:lnTo>
                <a:lnTo>
                  <a:pt x="4032" y="9"/>
                </a:lnTo>
                <a:lnTo>
                  <a:pt x="4029" y="4"/>
                </a:lnTo>
                <a:close/>
                <a:moveTo>
                  <a:pt x="3000" y="142"/>
                </a:moveTo>
                <a:lnTo>
                  <a:pt x="2986" y="141"/>
                </a:lnTo>
                <a:lnTo>
                  <a:pt x="2973" y="139"/>
                </a:lnTo>
                <a:lnTo>
                  <a:pt x="2960" y="136"/>
                </a:lnTo>
                <a:lnTo>
                  <a:pt x="2953" y="134"/>
                </a:lnTo>
                <a:lnTo>
                  <a:pt x="2947" y="131"/>
                </a:lnTo>
                <a:lnTo>
                  <a:pt x="2941" y="129"/>
                </a:lnTo>
                <a:lnTo>
                  <a:pt x="2936" y="126"/>
                </a:lnTo>
                <a:lnTo>
                  <a:pt x="2924" y="119"/>
                </a:lnTo>
                <a:lnTo>
                  <a:pt x="2914" y="111"/>
                </a:lnTo>
                <a:lnTo>
                  <a:pt x="2903" y="102"/>
                </a:lnTo>
                <a:lnTo>
                  <a:pt x="2898" y="97"/>
                </a:lnTo>
                <a:lnTo>
                  <a:pt x="2893" y="92"/>
                </a:lnTo>
                <a:lnTo>
                  <a:pt x="2885" y="81"/>
                </a:lnTo>
                <a:lnTo>
                  <a:pt x="2877" y="69"/>
                </a:lnTo>
                <a:lnTo>
                  <a:pt x="2870" y="57"/>
                </a:lnTo>
                <a:lnTo>
                  <a:pt x="2867" y="51"/>
                </a:lnTo>
                <a:lnTo>
                  <a:pt x="2864" y="44"/>
                </a:lnTo>
                <a:lnTo>
                  <a:pt x="2859" y="29"/>
                </a:lnTo>
                <a:lnTo>
                  <a:pt x="2854" y="15"/>
                </a:lnTo>
                <a:lnTo>
                  <a:pt x="2851" y="0"/>
                </a:lnTo>
                <a:lnTo>
                  <a:pt x="2908" y="0"/>
                </a:lnTo>
                <a:lnTo>
                  <a:pt x="2911" y="9"/>
                </a:lnTo>
                <a:lnTo>
                  <a:pt x="2914" y="17"/>
                </a:lnTo>
                <a:lnTo>
                  <a:pt x="2918" y="25"/>
                </a:lnTo>
                <a:lnTo>
                  <a:pt x="2922" y="34"/>
                </a:lnTo>
                <a:lnTo>
                  <a:pt x="2926" y="41"/>
                </a:lnTo>
                <a:lnTo>
                  <a:pt x="2931" y="48"/>
                </a:lnTo>
                <a:lnTo>
                  <a:pt x="2936" y="54"/>
                </a:lnTo>
                <a:lnTo>
                  <a:pt x="2942" y="59"/>
                </a:lnTo>
                <a:lnTo>
                  <a:pt x="2948" y="64"/>
                </a:lnTo>
                <a:lnTo>
                  <a:pt x="2954" y="69"/>
                </a:lnTo>
                <a:lnTo>
                  <a:pt x="2961" y="73"/>
                </a:lnTo>
                <a:lnTo>
                  <a:pt x="2968" y="76"/>
                </a:lnTo>
                <a:lnTo>
                  <a:pt x="2977" y="78"/>
                </a:lnTo>
                <a:lnTo>
                  <a:pt x="2985" y="80"/>
                </a:lnTo>
                <a:lnTo>
                  <a:pt x="2993" y="81"/>
                </a:lnTo>
                <a:lnTo>
                  <a:pt x="3002" y="81"/>
                </a:lnTo>
                <a:lnTo>
                  <a:pt x="3011" y="81"/>
                </a:lnTo>
                <a:lnTo>
                  <a:pt x="3020" y="80"/>
                </a:lnTo>
                <a:lnTo>
                  <a:pt x="3028" y="78"/>
                </a:lnTo>
                <a:lnTo>
                  <a:pt x="3038" y="75"/>
                </a:lnTo>
                <a:lnTo>
                  <a:pt x="3046" y="72"/>
                </a:lnTo>
                <a:lnTo>
                  <a:pt x="3054" y="68"/>
                </a:lnTo>
                <a:lnTo>
                  <a:pt x="3062" y="64"/>
                </a:lnTo>
                <a:lnTo>
                  <a:pt x="3069" y="59"/>
                </a:lnTo>
                <a:lnTo>
                  <a:pt x="3076" y="53"/>
                </a:lnTo>
                <a:lnTo>
                  <a:pt x="3083" y="47"/>
                </a:lnTo>
                <a:lnTo>
                  <a:pt x="3091" y="41"/>
                </a:lnTo>
                <a:lnTo>
                  <a:pt x="3098" y="33"/>
                </a:lnTo>
                <a:lnTo>
                  <a:pt x="3104" y="25"/>
                </a:lnTo>
                <a:lnTo>
                  <a:pt x="3110" y="17"/>
                </a:lnTo>
                <a:lnTo>
                  <a:pt x="3115" y="9"/>
                </a:lnTo>
                <a:lnTo>
                  <a:pt x="3121" y="0"/>
                </a:lnTo>
                <a:lnTo>
                  <a:pt x="3189" y="0"/>
                </a:lnTo>
                <a:lnTo>
                  <a:pt x="3182" y="15"/>
                </a:lnTo>
                <a:lnTo>
                  <a:pt x="3173" y="30"/>
                </a:lnTo>
                <a:lnTo>
                  <a:pt x="3169" y="38"/>
                </a:lnTo>
                <a:lnTo>
                  <a:pt x="3164" y="45"/>
                </a:lnTo>
                <a:lnTo>
                  <a:pt x="3155" y="58"/>
                </a:lnTo>
                <a:lnTo>
                  <a:pt x="3144" y="70"/>
                </a:lnTo>
                <a:lnTo>
                  <a:pt x="3133" y="82"/>
                </a:lnTo>
                <a:lnTo>
                  <a:pt x="3128" y="87"/>
                </a:lnTo>
                <a:lnTo>
                  <a:pt x="3122" y="93"/>
                </a:lnTo>
                <a:lnTo>
                  <a:pt x="3110" y="103"/>
                </a:lnTo>
                <a:lnTo>
                  <a:pt x="3098" y="112"/>
                </a:lnTo>
                <a:lnTo>
                  <a:pt x="3085" y="119"/>
                </a:lnTo>
                <a:lnTo>
                  <a:pt x="3072" y="126"/>
                </a:lnTo>
                <a:lnTo>
                  <a:pt x="3065" y="129"/>
                </a:lnTo>
                <a:lnTo>
                  <a:pt x="3058" y="132"/>
                </a:lnTo>
                <a:lnTo>
                  <a:pt x="3045" y="136"/>
                </a:lnTo>
                <a:lnTo>
                  <a:pt x="3029" y="139"/>
                </a:lnTo>
                <a:lnTo>
                  <a:pt x="3015" y="141"/>
                </a:lnTo>
                <a:lnTo>
                  <a:pt x="3000" y="142"/>
                </a:lnTo>
                <a:close/>
                <a:moveTo>
                  <a:pt x="3252" y="4"/>
                </a:moveTo>
                <a:lnTo>
                  <a:pt x="3250" y="0"/>
                </a:lnTo>
                <a:lnTo>
                  <a:pt x="3325" y="0"/>
                </a:lnTo>
                <a:lnTo>
                  <a:pt x="3346" y="21"/>
                </a:lnTo>
                <a:lnTo>
                  <a:pt x="3370" y="46"/>
                </a:lnTo>
                <a:lnTo>
                  <a:pt x="3395" y="70"/>
                </a:lnTo>
                <a:lnTo>
                  <a:pt x="3417" y="93"/>
                </a:lnTo>
                <a:lnTo>
                  <a:pt x="3419" y="95"/>
                </a:lnTo>
                <a:lnTo>
                  <a:pt x="3421" y="97"/>
                </a:lnTo>
                <a:lnTo>
                  <a:pt x="3422" y="100"/>
                </a:lnTo>
                <a:lnTo>
                  <a:pt x="3422" y="102"/>
                </a:lnTo>
                <a:lnTo>
                  <a:pt x="3421" y="108"/>
                </a:lnTo>
                <a:lnTo>
                  <a:pt x="3420" y="111"/>
                </a:lnTo>
                <a:lnTo>
                  <a:pt x="3419" y="113"/>
                </a:lnTo>
                <a:lnTo>
                  <a:pt x="3415" y="119"/>
                </a:lnTo>
                <a:lnTo>
                  <a:pt x="3413" y="122"/>
                </a:lnTo>
                <a:lnTo>
                  <a:pt x="3410" y="124"/>
                </a:lnTo>
                <a:lnTo>
                  <a:pt x="3405" y="129"/>
                </a:lnTo>
                <a:lnTo>
                  <a:pt x="3402" y="131"/>
                </a:lnTo>
                <a:lnTo>
                  <a:pt x="3399" y="133"/>
                </a:lnTo>
                <a:lnTo>
                  <a:pt x="3393" y="135"/>
                </a:lnTo>
                <a:lnTo>
                  <a:pt x="3389" y="136"/>
                </a:lnTo>
                <a:lnTo>
                  <a:pt x="3386" y="136"/>
                </a:lnTo>
                <a:lnTo>
                  <a:pt x="3385" y="136"/>
                </a:lnTo>
                <a:lnTo>
                  <a:pt x="3382" y="135"/>
                </a:lnTo>
                <a:lnTo>
                  <a:pt x="3377" y="132"/>
                </a:lnTo>
                <a:lnTo>
                  <a:pt x="3371" y="128"/>
                </a:lnTo>
                <a:lnTo>
                  <a:pt x="3363" y="123"/>
                </a:lnTo>
                <a:lnTo>
                  <a:pt x="3351" y="112"/>
                </a:lnTo>
                <a:lnTo>
                  <a:pt x="3336" y="98"/>
                </a:lnTo>
                <a:lnTo>
                  <a:pt x="3318" y="81"/>
                </a:lnTo>
                <a:lnTo>
                  <a:pt x="3302" y="64"/>
                </a:lnTo>
                <a:lnTo>
                  <a:pt x="3286" y="47"/>
                </a:lnTo>
                <a:lnTo>
                  <a:pt x="3272" y="30"/>
                </a:lnTo>
                <a:lnTo>
                  <a:pt x="3259" y="15"/>
                </a:lnTo>
                <a:lnTo>
                  <a:pt x="3255" y="9"/>
                </a:lnTo>
                <a:lnTo>
                  <a:pt x="3252" y="4"/>
                </a:lnTo>
                <a:close/>
                <a:moveTo>
                  <a:pt x="717" y="142"/>
                </a:moveTo>
                <a:lnTo>
                  <a:pt x="704" y="141"/>
                </a:lnTo>
                <a:lnTo>
                  <a:pt x="691" y="139"/>
                </a:lnTo>
                <a:lnTo>
                  <a:pt x="677" y="136"/>
                </a:lnTo>
                <a:lnTo>
                  <a:pt x="671" y="134"/>
                </a:lnTo>
                <a:lnTo>
                  <a:pt x="665" y="131"/>
                </a:lnTo>
                <a:lnTo>
                  <a:pt x="659" y="129"/>
                </a:lnTo>
                <a:lnTo>
                  <a:pt x="653" y="126"/>
                </a:lnTo>
                <a:lnTo>
                  <a:pt x="642" y="119"/>
                </a:lnTo>
                <a:lnTo>
                  <a:pt x="631" y="111"/>
                </a:lnTo>
                <a:lnTo>
                  <a:pt x="620" y="102"/>
                </a:lnTo>
                <a:lnTo>
                  <a:pt x="615" y="97"/>
                </a:lnTo>
                <a:lnTo>
                  <a:pt x="611" y="92"/>
                </a:lnTo>
                <a:lnTo>
                  <a:pt x="602" y="81"/>
                </a:lnTo>
                <a:lnTo>
                  <a:pt x="594" y="69"/>
                </a:lnTo>
                <a:lnTo>
                  <a:pt x="587" y="57"/>
                </a:lnTo>
                <a:lnTo>
                  <a:pt x="584" y="51"/>
                </a:lnTo>
                <a:lnTo>
                  <a:pt x="581" y="44"/>
                </a:lnTo>
                <a:lnTo>
                  <a:pt x="576" y="29"/>
                </a:lnTo>
                <a:lnTo>
                  <a:pt x="572" y="15"/>
                </a:lnTo>
                <a:lnTo>
                  <a:pt x="568" y="0"/>
                </a:lnTo>
                <a:lnTo>
                  <a:pt x="626" y="0"/>
                </a:lnTo>
                <a:lnTo>
                  <a:pt x="628" y="9"/>
                </a:lnTo>
                <a:lnTo>
                  <a:pt x="632" y="17"/>
                </a:lnTo>
                <a:lnTo>
                  <a:pt x="635" y="25"/>
                </a:lnTo>
                <a:lnTo>
                  <a:pt x="639" y="34"/>
                </a:lnTo>
                <a:lnTo>
                  <a:pt x="643" y="41"/>
                </a:lnTo>
                <a:lnTo>
                  <a:pt x="648" y="48"/>
                </a:lnTo>
                <a:lnTo>
                  <a:pt x="653" y="54"/>
                </a:lnTo>
                <a:lnTo>
                  <a:pt x="659" y="59"/>
                </a:lnTo>
                <a:lnTo>
                  <a:pt x="665" y="64"/>
                </a:lnTo>
                <a:lnTo>
                  <a:pt x="672" y="69"/>
                </a:lnTo>
                <a:lnTo>
                  <a:pt x="679" y="73"/>
                </a:lnTo>
                <a:lnTo>
                  <a:pt x="686" y="76"/>
                </a:lnTo>
                <a:lnTo>
                  <a:pt x="694" y="78"/>
                </a:lnTo>
                <a:lnTo>
                  <a:pt x="702" y="80"/>
                </a:lnTo>
                <a:lnTo>
                  <a:pt x="711" y="81"/>
                </a:lnTo>
                <a:lnTo>
                  <a:pt x="719" y="81"/>
                </a:lnTo>
                <a:lnTo>
                  <a:pt x="728" y="81"/>
                </a:lnTo>
                <a:lnTo>
                  <a:pt x="737" y="80"/>
                </a:lnTo>
                <a:lnTo>
                  <a:pt x="746" y="78"/>
                </a:lnTo>
                <a:lnTo>
                  <a:pt x="755" y="75"/>
                </a:lnTo>
                <a:lnTo>
                  <a:pt x="763" y="72"/>
                </a:lnTo>
                <a:lnTo>
                  <a:pt x="771" y="68"/>
                </a:lnTo>
                <a:lnTo>
                  <a:pt x="779" y="64"/>
                </a:lnTo>
                <a:lnTo>
                  <a:pt x="787" y="59"/>
                </a:lnTo>
                <a:lnTo>
                  <a:pt x="794" y="53"/>
                </a:lnTo>
                <a:lnTo>
                  <a:pt x="801" y="47"/>
                </a:lnTo>
                <a:lnTo>
                  <a:pt x="808" y="41"/>
                </a:lnTo>
                <a:lnTo>
                  <a:pt x="815" y="33"/>
                </a:lnTo>
                <a:lnTo>
                  <a:pt x="821" y="25"/>
                </a:lnTo>
                <a:lnTo>
                  <a:pt x="827" y="17"/>
                </a:lnTo>
                <a:lnTo>
                  <a:pt x="833" y="9"/>
                </a:lnTo>
                <a:lnTo>
                  <a:pt x="838" y="0"/>
                </a:lnTo>
                <a:lnTo>
                  <a:pt x="907" y="0"/>
                </a:lnTo>
                <a:lnTo>
                  <a:pt x="899" y="15"/>
                </a:lnTo>
                <a:lnTo>
                  <a:pt x="891" y="30"/>
                </a:lnTo>
                <a:lnTo>
                  <a:pt x="886" y="38"/>
                </a:lnTo>
                <a:lnTo>
                  <a:pt x="882" y="45"/>
                </a:lnTo>
                <a:lnTo>
                  <a:pt x="872" y="58"/>
                </a:lnTo>
                <a:lnTo>
                  <a:pt x="861" y="70"/>
                </a:lnTo>
                <a:lnTo>
                  <a:pt x="851" y="82"/>
                </a:lnTo>
                <a:lnTo>
                  <a:pt x="845" y="87"/>
                </a:lnTo>
                <a:lnTo>
                  <a:pt x="840" y="93"/>
                </a:lnTo>
                <a:lnTo>
                  <a:pt x="828" y="103"/>
                </a:lnTo>
                <a:lnTo>
                  <a:pt x="816" y="112"/>
                </a:lnTo>
                <a:lnTo>
                  <a:pt x="802" y="119"/>
                </a:lnTo>
                <a:lnTo>
                  <a:pt x="789" y="126"/>
                </a:lnTo>
                <a:lnTo>
                  <a:pt x="783" y="129"/>
                </a:lnTo>
                <a:lnTo>
                  <a:pt x="776" y="132"/>
                </a:lnTo>
                <a:lnTo>
                  <a:pt x="762" y="136"/>
                </a:lnTo>
                <a:lnTo>
                  <a:pt x="747" y="139"/>
                </a:lnTo>
                <a:lnTo>
                  <a:pt x="732" y="141"/>
                </a:lnTo>
                <a:lnTo>
                  <a:pt x="717" y="142"/>
                </a:lnTo>
                <a:close/>
                <a:moveTo>
                  <a:pt x="969" y="4"/>
                </a:moveTo>
                <a:lnTo>
                  <a:pt x="967" y="0"/>
                </a:lnTo>
                <a:lnTo>
                  <a:pt x="1043" y="0"/>
                </a:lnTo>
                <a:lnTo>
                  <a:pt x="1064" y="21"/>
                </a:lnTo>
                <a:lnTo>
                  <a:pt x="1087" y="46"/>
                </a:lnTo>
                <a:lnTo>
                  <a:pt x="1112" y="70"/>
                </a:lnTo>
                <a:lnTo>
                  <a:pt x="1135" y="93"/>
                </a:lnTo>
                <a:lnTo>
                  <a:pt x="1137" y="95"/>
                </a:lnTo>
                <a:lnTo>
                  <a:pt x="1138" y="97"/>
                </a:lnTo>
                <a:lnTo>
                  <a:pt x="1139" y="100"/>
                </a:lnTo>
                <a:lnTo>
                  <a:pt x="1139" y="102"/>
                </a:lnTo>
                <a:lnTo>
                  <a:pt x="1139" y="108"/>
                </a:lnTo>
                <a:lnTo>
                  <a:pt x="1138" y="111"/>
                </a:lnTo>
                <a:lnTo>
                  <a:pt x="1136" y="113"/>
                </a:lnTo>
                <a:lnTo>
                  <a:pt x="1133" y="119"/>
                </a:lnTo>
                <a:lnTo>
                  <a:pt x="1130" y="122"/>
                </a:lnTo>
                <a:lnTo>
                  <a:pt x="1128" y="124"/>
                </a:lnTo>
                <a:lnTo>
                  <a:pt x="1123" y="129"/>
                </a:lnTo>
                <a:lnTo>
                  <a:pt x="1120" y="131"/>
                </a:lnTo>
                <a:lnTo>
                  <a:pt x="1117" y="133"/>
                </a:lnTo>
                <a:lnTo>
                  <a:pt x="1111" y="135"/>
                </a:lnTo>
                <a:lnTo>
                  <a:pt x="1107" y="136"/>
                </a:lnTo>
                <a:lnTo>
                  <a:pt x="1104" y="136"/>
                </a:lnTo>
                <a:lnTo>
                  <a:pt x="1102" y="136"/>
                </a:lnTo>
                <a:lnTo>
                  <a:pt x="1100" y="135"/>
                </a:lnTo>
                <a:lnTo>
                  <a:pt x="1095" y="132"/>
                </a:lnTo>
                <a:lnTo>
                  <a:pt x="1088" y="128"/>
                </a:lnTo>
                <a:lnTo>
                  <a:pt x="1081" y="123"/>
                </a:lnTo>
                <a:lnTo>
                  <a:pt x="1068" y="112"/>
                </a:lnTo>
                <a:lnTo>
                  <a:pt x="1053" y="98"/>
                </a:lnTo>
                <a:lnTo>
                  <a:pt x="1036" y="81"/>
                </a:lnTo>
                <a:lnTo>
                  <a:pt x="1019" y="64"/>
                </a:lnTo>
                <a:lnTo>
                  <a:pt x="1003" y="47"/>
                </a:lnTo>
                <a:lnTo>
                  <a:pt x="988" y="30"/>
                </a:lnTo>
                <a:lnTo>
                  <a:pt x="977" y="15"/>
                </a:lnTo>
                <a:lnTo>
                  <a:pt x="972" y="9"/>
                </a:lnTo>
                <a:lnTo>
                  <a:pt x="969" y="4"/>
                </a:lnTo>
                <a:close/>
                <a:moveTo>
                  <a:pt x="4547" y="142"/>
                </a:moveTo>
                <a:lnTo>
                  <a:pt x="4534" y="141"/>
                </a:lnTo>
                <a:lnTo>
                  <a:pt x="4520" y="139"/>
                </a:lnTo>
                <a:lnTo>
                  <a:pt x="4507" y="136"/>
                </a:lnTo>
                <a:lnTo>
                  <a:pt x="4501" y="134"/>
                </a:lnTo>
                <a:lnTo>
                  <a:pt x="4495" y="131"/>
                </a:lnTo>
                <a:lnTo>
                  <a:pt x="4489" y="129"/>
                </a:lnTo>
                <a:lnTo>
                  <a:pt x="4483" y="126"/>
                </a:lnTo>
                <a:lnTo>
                  <a:pt x="4472" y="119"/>
                </a:lnTo>
                <a:lnTo>
                  <a:pt x="4460" y="111"/>
                </a:lnTo>
                <a:lnTo>
                  <a:pt x="4450" y="102"/>
                </a:lnTo>
                <a:lnTo>
                  <a:pt x="4445" y="97"/>
                </a:lnTo>
                <a:lnTo>
                  <a:pt x="4441" y="92"/>
                </a:lnTo>
                <a:lnTo>
                  <a:pt x="4432" y="81"/>
                </a:lnTo>
                <a:lnTo>
                  <a:pt x="4424" y="69"/>
                </a:lnTo>
                <a:lnTo>
                  <a:pt x="4417" y="57"/>
                </a:lnTo>
                <a:lnTo>
                  <a:pt x="4414" y="51"/>
                </a:lnTo>
                <a:lnTo>
                  <a:pt x="4411" y="44"/>
                </a:lnTo>
                <a:lnTo>
                  <a:pt x="4405" y="29"/>
                </a:lnTo>
                <a:lnTo>
                  <a:pt x="4401" y="15"/>
                </a:lnTo>
                <a:lnTo>
                  <a:pt x="4398" y="0"/>
                </a:lnTo>
                <a:lnTo>
                  <a:pt x="4455" y="0"/>
                </a:lnTo>
                <a:lnTo>
                  <a:pt x="4458" y="9"/>
                </a:lnTo>
                <a:lnTo>
                  <a:pt x="4461" y="17"/>
                </a:lnTo>
                <a:lnTo>
                  <a:pt x="4464" y="25"/>
                </a:lnTo>
                <a:lnTo>
                  <a:pt x="4468" y="34"/>
                </a:lnTo>
                <a:lnTo>
                  <a:pt x="4473" y="41"/>
                </a:lnTo>
                <a:lnTo>
                  <a:pt x="4478" y="48"/>
                </a:lnTo>
                <a:lnTo>
                  <a:pt x="4483" y="54"/>
                </a:lnTo>
                <a:lnTo>
                  <a:pt x="4489" y="59"/>
                </a:lnTo>
                <a:lnTo>
                  <a:pt x="4495" y="64"/>
                </a:lnTo>
                <a:lnTo>
                  <a:pt x="4502" y="69"/>
                </a:lnTo>
                <a:lnTo>
                  <a:pt x="4508" y="73"/>
                </a:lnTo>
                <a:lnTo>
                  <a:pt x="4516" y="76"/>
                </a:lnTo>
                <a:lnTo>
                  <a:pt x="4523" y="78"/>
                </a:lnTo>
                <a:lnTo>
                  <a:pt x="4532" y="80"/>
                </a:lnTo>
                <a:lnTo>
                  <a:pt x="4540" y="81"/>
                </a:lnTo>
                <a:lnTo>
                  <a:pt x="4549" y="81"/>
                </a:lnTo>
                <a:lnTo>
                  <a:pt x="4558" y="81"/>
                </a:lnTo>
                <a:lnTo>
                  <a:pt x="4567" y="80"/>
                </a:lnTo>
                <a:lnTo>
                  <a:pt x="4576" y="78"/>
                </a:lnTo>
                <a:lnTo>
                  <a:pt x="4584" y="75"/>
                </a:lnTo>
                <a:lnTo>
                  <a:pt x="4593" y="72"/>
                </a:lnTo>
                <a:lnTo>
                  <a:pt x="4601" y="68"/>
                </a:lnTo>
                <a:lnTo>
                  <a:pt x="4609" y="64"/>
                </a:lnTo>
                <a:lnTo>
                  <a:pt x="4617" y="59"/>
                </a:lnTo>
                <a:lnTo>
                  <a:pt x="4624" y="53"/>
                </a:lnTo>
                <a:lnTo>
                  <a:pt x="4631" y="47"/>
                </a:lnTo>
                <a:lnTo>
                  <a:pt x="4637" y="41"/>
                </a:lnTo>
                <a:lnTo>
                  <a:pt x="4644" y="33"/>
                </a:lnTo>
                <a:lnTo>
                  <a:pt x="4651" y="25"/>
                </a:lnTo>
                <a:lnTo>
                  <a:pt x="4657" y="17"/>
                </a:lnTo>
                <a:lnTo>
                  <a:pt x="4663" y="9"/>
                </a:lnTo>
                <a:lnTo>
                  <a:pt x="4668" y="0"/>
                </a:lnTo>
                <a:lnTo>
                  <a:pt x="4737" y="0"/>
                </a:lnTo>
                <a:lnTo>
                  <a:pt x="4729" y="15"/>
                </a:lnTo>
                <a:lnTo>
                  <a:pt x="4721" y="30"/>
                </a:lnTo>
                <a:lnTo>
                  <a:pt x="4716" y="38"/>
                </a:lnTo>
                <a:lnTo>
                  <a:pt x="4712" y="45"/>
                </a:lnTo>
                <a:lnTo>
                  <a:pt x="4701" y="58"/>
                </a:lnTo>
                <a:lnTo>
                  <a:pt x="4691" y="70"/>
                </a:lnTo>
                <a:lnTo>
                  <a:pt x="4681" y="82"/>
                </a:lnTo>
                <a:lnTo>
                  <a:pt x="4675" y="87"/>
                </a:lnTo>
                <a:lnTo>
                  <a:pt x="4670" y="93"/>
                </a:lnTo>
                <a:lnTo>
                  <a:pt x="4658" y="103"/>
                </a:lnTo>
                <a:lnTo>
                  <a:pt x="4645" y="112"/>
                </a:lnTo>
                <a:lnTo>
                  <a:pt x="4632" y="119"/>
                </a:lnTo>
                <a:lnTo>
                  <a:pt x="4619" y="126"/>
                </a:lnTo>
                <a:lnTo>
                  <a:pt x="4613" y="129"/>
                </a:lnTo>
                <a:lnTo>
                  <a:pt x="4606" y="132"/>
                </a:lnTo>
                <a:lnTo>
                  <a:pt x="4592" y="136"/>
                </a:lnTo>
                <a:lnTo>
                  <a:pt x="4577" y="139"/>
                </a:lnTo>
                <a:lnTo>
                  <a:pt x="4562" y="141"/>
                </a:lnTo>
                <a:lnTo>
                  <a:pt x="4547" y="142"/>
                </a:lnTo>
                <a:close/>
                <a:moveTo>
                  <a:pt x="4799" y="4"/>
                </a:moveTo>
                <a:lnTo>
                  <a:pt x="4797" y="0"/>
                </a:lnTo>
                <a:lnTo>
                  <a:pt x="4873" y="0"/>
                </a:lnTo>
                <a:lnTo>
                  <a:pt x="4894" y="21"/>
                </a:lnTo>
                <a:lnTo>
                  <a:pt x="4917" y="46"/>
                </a:lnTo>
                <a:lnTo>
                  <a:pt x="4941" y="70"/>
                </a:lnTo>
                <a:lnTo>
                  <a:pt x="4965" y="93"/>
                </a:lnTo>
                <a:lnTo>
                  <a:pt x="4967" y="95"/>
                </a:lnTo>
                <a:lnTo>
                  <a:pt x="4968" y="97"/>
                </a:lnTo>
                <a:lnTo>
                  <a:pt x="4969" y="100"/>
                </a:lnTo>
                <a:lnTo>
                  <a:pt x="4969" y="102"/>
                </a:lnTo>
                <a:lnTo>
                  <a:pt x="4968" y="108"/>
                </a:lnTo>
                <a:lnTo>
                  <a:pt x="4967" y="111"/>
                </a:lnTo>
                <a:lnTo>
                  <a:pt x="4966" y="113"/>
                </a:lnTo>
                <a:lnTo>
                  <a:pt x="4962" y="119"/>
                </a:lnTo>
                <a:lnTo>
                  <a:pt x="4960" y="122"/>
                </a:lnTo>
                <a:lnTo>
                  <a:pt x="4958" y="124"/>
                </a:lnTo>
                <a:lnTo>
                  <a:pt x="4953" y="129"/>
                </a:lnTo>
                <a:lnTo>
                  <a:pt x="4949" y="131"/>
                </a:lnTo>
                <a:lnTo>
                  <a:pt x="4946" y="133"/>
                </a:lnTo>
                <a:lnTo>
                  <a:pt x="4940" y="135"/>
                </a:lnTo>
                <a:lnTo>
                  <a:pt x="4937" y="136"/>
                </a:lnTo>
                <a:lnTo>
                  <a:pt x="4934" y="136"/>
                </a:lnTo>
                <a:lnTo>
                  <a:pt x="4932" y="136"/>
                </a:lnTo>
                <a:lnTo>
                  <a:pt x="4930" y="135"/>
                </a:lnTo>
                <a:lnTo>
                  <a:pt x="4925" y="132"/>
                </a:lnTo>
                <a:lnTo>
                  <a:pt x="4918" y="128"/>
                </a:lnTo>
                <a:lnTo>
                  <a:pt x="4911" y="123"/>
                </a:lnTo>
                <a:lnTo>
                  <a:pt x="4898" y="112"/>
                </a:lnTo>
                <a:lnTo>
                  <a:pt x="4882" y="98"/>
                </a:lnTo>
                <a:lnTo>
                  <a:pt x="4866" y="81"/>
                </a:lnTo>
                <a:lnTo>
                  <a:pt x="4849" y="64"/>
                </a:lnTo>
                <a:lnTo>
                  <a:pt x="4833" y="47"/>
                </a:lnTo>
                <a:lnTo>
                  <a:pt x="4818" y="30"/>
                </a:lnTo>
                <a:lnTo>
                  <a:pt x="4807" y="15"/>
                </a:lnTo>
                <a:lnTo>
                  <a:pt x="4802" y="9"/>
                </a:lnTo>
                <a:lnTo>
                  <a:pt x="4799" y="4"/>
                </a:lnTo>
                <a:close/>
                <a:moveTo>
                  <a:pt x="1465" y="142"/>
                </a:moveTo>
                <a:lnTo>
                  <a:pt x="1451" y="141"/>
                </a:lnTo>
                <a:lnTo>
                  <a:pt x="1438" y="139"/>
                </a:lnTo>
                <a:lnTo>
                  <a:pt x="1426" y="136"/>
                </a:lnTo>
                <a:lnTo>
                  <a:pt x="1420" y="134"/>
                </a:lnTo>
                <a:lnTo>
                  <a:pt x="1414" y="131"/>
                </a:lnTo>
                <a:lnTo>
                  <a:pt x="1407" y="129"/>
                </a:lnTo>
                <a:lnTo>
                  <a:pt x="1401" y="126"/>
                </a:lnTo>
                <a:lnTo>
                  <a:pt x="1390" y="119"/>
                </a:lnTo>
                <a:lnTo>
                  <a:pt x="1379" y="111"/>
                </a:lnTo>
                <a:lnTo>
                  <a:pt x="1369" y="102"/>
                </a:lnTo>
                <a:lnTo>
                  <a:pt x="1364" y="97"/>
                </a:lnTo>
                <a:lnTo>
                  <a:pt x="1359" y="92"/>
                </a:lnTo>
                <a:lnTo>
                  <a:pt x="1351" y="81"/>
                </a:lnTo>
                <a:lnTo>
                  <a:pt x="1342" y="69"/>
                </a:lnTo>
                <a:lnTo>
                  <a:pt x="1335" y="57"/>
                </a:lnTo>
                <a:lnTo>
                  <a:pt x="1332" y="51"/>
                </a:lnTo>
                <a:lnTo>
                  <a:pt x="1329" y="44"/>
                </a:lnTo>
                <a:lnTo>
                  <a:pt x="1324" y="29"/>
                </a:lnTo>
                <a:lnTo>
                  <a:pt x="1320" y="15"/>
                </a:lnTo>
                <a:lnTo>
                  <a:pt x="1316" y="0"/>
                </a:lnTo>
                <a:lnTo>
                  <a:pt x="1374" y="0"/>
                </a:lnTo>
                <a:lnTo>
                  <a:pt x="1377" y="9"/>
                </a:lnTo>
                <a:lnTo>
                  <a:pt x="1379" y="17"/>
                </a:lnTo>
                <a:lnTo>
                  <a:pt x="1383" y="25"/>
                </a:lnTo>
                <a:lnTo>
                  <a:pt x="1387" y="34"/>
                </a:lnTo>
                <a:lnTo>
                  <a:pt x="1391" y="41"/>
                </a:lnTo>
                <a:lnTo>
                  <a:pt x="1396" y="48"/>
                </a:lnTo>
                <a:lnTo>
                  <a:pt x="1401" y="54"/>
                </a:lnTo>
                <a:lnTo>
                  <a:pt x="1407" y="59"/>
                </a:lnTo>
                <a:lnTo>
                  <a:pt x="1414" y="64"/>
                </a:lnTo>
                <a:lnTo>
                  <a:pt x="1420" y="69"/>
                </a:lnTo>
                <a:lnTo>
                  <a:pt x="1427" y="73"/>
                </a:lnTo>
                <a:lnTo>
                  <a:pt x="1434" y="76"/>
                </a:lnTo>
                <a:lnTo>
                  <a:pt x="1442" y="78"/>
                </a:lnTo>
                <a:lnTo>
                  <a:pt x="1450" y="80"/>
                </a:lnTo>
                <a:lnTo>
                  <a:pt x="1458" y="81"/>
                </a:lnTo>
                <a:lnTo>
                  <a:pt x="1467" y="81"/>
                </a:lnTo>
                <a:lnTo>
                  <a:pt x="1477" y="81"/>
                </a:lnTo>
                <a:lnTo>
                  <a:pt x="1486" y="80"/>
                </a:lnTo>
                <a:lnTo>
                  <a:pt x="1494" y="78"/>
                </a:lnTo>
                <a:lnTo>
                  <a:pt x="1503" y="75"/>
                </a:lnTo>
                <a:lnTo>
                  <a:pt x="1511" y="72"/>
                </a:lnTo>
                <a:lnTo>
                  <a:pt x="1519" y="68"/>
                </a:lnTo>
                <a:lnTo>
                  <a:pt x="1527" y="64"/>
                </a:lnTo>
                <a:lnTo>
                  <a:pt x="1535" y="59"/>
                </a:lnTo>
                <a:lnTo>
                  <a:pt x="1542" y="53"/>
                </a:lnTo>
                <a:lnTo>
                  <a:pt x="1549" y="47"/>
                </a:lnTo>
                <a:lnTo>
                  <a:pt x="1556" y="41"/>
                </a:lnTo>
                <a:lnTo>
                  <a:pt x="1563" y="33"/>
                </a:lnTo>
                <a:lnTo>
                  <a:pt x="1569" y="25"/>
                </a:lnTo>
                <a:lnTo>
                  <a:pt x="1575" y="17"/>
                </a:lnTo>
                <a:lnTo>
                  <a:pt x="1581" y="9"/>
                </a:lnTo>
                <a:lnTo>
                  <a:pt x="1586" y="0"/>
                </a:lnTo>
                <a:lnTo>
                  <a:pt x="1655" y="0"/>
                </a:lnTo>
                <a:lnTo>
                  <a:pt x="1647" y="15"/>
                </a:lnTo>
                <a:lnTo>
                  <a:pt x="1638" y="30"/>
                </a:lnTo>
                <a:lnTo>
                  <a:pt x="1634" y="38"/>
                </a:lnTo>
                <a:lnTo>
                  <a:pt x="1629" y="45"/>
                </a:lnTo>
                <a:lnTo>
                  <a:pt x="1620" y="58"/>
                </a:lnTo>
                <a:lnTo>
                  <a:pt x="1610" y="70"/>
                </a:lnTo>
                <a:lnTo>
                  <a:pt x="1599" y="82"/>
                </a:lnTo>
                <a:lnTo>
                  <a:pt x="1594" y="87"/>
                </a:lnTo>
                <a:lnTo>
                  <a:pt x="1587" y="93"/>
                </a:lnTo>
                <a:lnTo>
                  <a:pt x="1576" y="103"/>
                </a:lnTo>
                <a:lnTo>
                  <a:pt x="1564" y="112"/>
                </a:lnTo>
                <a:lnTo>
                  <a:pt x="1551" y="119"/>
                </a:lnTo>
                <a:lnTo>
                  <a:pt x="1538" y="126"/>
                </a:lnTo>
                <a:lnTo>
                  <a:pt x="1531" y="129"/>
                </a:lnTo>
                <a:lnTo>
                  <a:pt x="1524" y="132"/>
                </a:lnTo>
                <a:lnTo>
                  <a:pt x="1510" y="136"/>
                </a:lnTo>
                <a:lnTo>
                  <a:pt x="1495" y="139"/>
                </a:lnTo>
                <a:lnTo>
                  <a:pt x="1481" y="141"/>
                </a:lnTo>
                <a:lnTo>
                  <a:pt x="1465" y="142"/>
                </a:lnTo>
                <a:close/>
                <a:moveTo>
                  <a:pt x="1718" y="4"/>
                </a:moveTo>
                <a:lnTo>
                  <a:pt x="1716" y="0"/>
                </a:lnTo>
                <a:lnTo>
                  <a:pt x="1792" y="0"/>
                </a:lnTo>
                <a:lnTo>
                  <a:pt x="1812" y="21"/>
                </a:lnTo>
                <a:lnTo>
                  <a:pt x="1836" y="46"/>
                </a:lnTo>
                <a:lnTo>
                  <a:pt x="1860" y="70"/>
                </a:lnTo>
                <a:lnTo>
                  <a:pt x="1883" y="93"/>
                </a:lnTo>
                <a:lnTo>
                  <a:pt x="1884" y="95"/>
                </a:lnTo>
                <a:lnTo>
                  <a:pt x="1886" y="97"/>
                </a:lnTo>
                <a:lnTo>
                  <a:pt x="1887" y="100"/>
                </a:lnTo>
                <a:lnTo>
                  <a:pt x="1887" y="102"/>
                </a:lnTo>
                <a:lnTo>
                  <a:pt x="1886" y="108"/>
                </a:lnTo>
                <a:lnTo>
                  <a:pt x="1885" y="111"/>
                </a:lnTo>
                <a:lnTo>
                  <a:pt x="1884" y="113"/>
                </a:lnTo>
                <a:lnTo>
                  <a:pt x="1880" y="119"/>
                </a:lnTo>
                <a:lnTo>
                  <a:pt x="1878" y="122"/>
                </a:lnTo>
                <a:lnTo>
                  <a:pt x="1876" y="124"/>
                </a:lnTo>
                <a:lnTo>
                  <a:pt x="1870" y="129"/>
                </a:lnTo>
                <a:lnTo>
                  <a:pt x="1867" y="131"/>
                </a:lnTo>
                <a:lnTo>
                  <a:pt x="1864" y="133"/>
                </a:lnTo>
                <a:lnTo>
                  <a:pt x="1858" y="135"/>
                </a:lnTo>
                <a:lnTo>
                  <a:pt x="1856" y="136"/>
                </a:lnTo>
                <a:lnTo>
                  <a:pt x="1853" y="136"/>
                </a:lnTo>
                <a:lnTo>
                  <a:pt x="1851" y="136"/>
                </a:lnTo>
                <a:lnTo>
                  <a:pt x="1849" y="135"/>
                </a:lnTo>
                <a:lnTo>
                  <a:pt x="1843" y="132"/>
                </a:lnTo>
                <a:lnTo>
                  <a:pt x="1837" y="128"/>
                </a:lnTo>
                <a:lnTo>
                  <a:pt x="1829" y="123"/>
                </a:lnTo>
                <a:lnTo>
                  <a:pt x="1816" y="112"/>
                </a:lnTo>
                <a:lnTo>
                  <a:pt x="1801" y="98"/>
                </a:lnTo>
                <a:lnTo>
                  <a:pt x="1784" y="81"/>
                </a:lnTo>
                <a:lnTo>
                  <a:pt x="1767" y="64"/>
                </a:lnTo>
                <a:lnTo>
                  <a:pt x="1751" y="47"/>
                </a:lnTo>
                <a:lnTo>
                  <a:pt x="1737" y="30"/>
                </a:lnTo>
                <a:lnTo>
                  <a:pt x="1725" y="15"/>
                </a:lnTo>
                <a:lnTo>
                  <a:pt x="1721" y="9"/>
                </a:lnTo>
                <a:lnTo>
                  <a:pt x="1718" y="4"/>
                </a:lnTo>
                <a:close/>
                <a:moveTo>
                  <a:pt x="5295" y="142"/>
                </a:moveTo>
                <a:lnTo>
                  <a:pt x="5281" y="141"/>
                </a:lnTo>
                <a:lnTo>
                  <a:pt x="5268" y="139"/>
                </a:lnTo>
                <a:lnTo>
                  <a:pt x="5256" y="136"/>
                </a:lnTo>
                <a:lnTo>
                  <a:pt x="5248" y="134"/>
                </a:lnTo>
                <a:lnTo>
                  <a:pt x="5242" y="131"/>
                </a:lnTo>
                <a:lnTo>
                  <a:pt x="5236" y="129"/>
                </a:lnTo>
                <a:lnTo>
                  <a:pt x="5231" y="126"/>
                </a:lnTo>
                <a:lnTo>
                  <a:pt x="5219" y="119"/>
                </a:lnTo>
                <a:lnTo>
                  <a:pt x="5209" y="111"/>
                </a:lnTo>
                <a:lnTo>
                  <a:pt x="5199" y="102"/>
                </a:lnTo>
                <a:lnTo>
                  <a:pt x="5194" y="97"/>
                </a:lnTo>
                <a:lnTo>
                  <a:pt x="5188" y="92"/>
                </a:lnTo>
                <a:lnTo>
                  <a:pt x="5180" y="81"/>
                </a:lnTo>
                <a:lnTo>
                  <a:pt x="5172" y="69"/>
                </a:lnTo>
                <a:lnTo>
                  <a:pt x="5165" y="57"/>
                </a:lnTo>
                <a:lnTo>
                  <a:pt x="5162" y="51"/>
                </a:lnTo>
                <a:lnTo>
                  <a:pt x="5159" y="44"/>
                </a:lnTo>
                <a:lnTo>
                  <a:pt x="5154" y="29"/>
                </a:lnTo>
                <a:lnTo>
                  <a:pt x="5149" y="15"/>
                </a:lnTo>
                <a:lnTo>
                  <a:pt x="5146" y="0"/>
                </a:lnTo>
                <a:lnTo>
                  <a:pt x="5204" y="0"/>
                </a:lnTo>
                <a:lnTo>
                  <a:pt x="5206" y="9"/>
                </a:lnTo>
                <a:lnTo>
                  <a:pt x="5209" y="17"/>
                </a:lnTo>
                <a:lnTo>
                  <a:pt x="5213" y="25"/>
                </a:lnTo>
                <a:lnTo>
                  <a:pt x="5217" y="34"/>
                </a:lnTo>
                <a:lnTo>
                  <a:pt x="5221" y="41"/>
                </a:lnTo>
                <a:lnTo>
                  <a:pt x="5226" y="48"/>
                </a:lnTo>
                <a:lnTo>
                  <a:pt x="5231" y="54"/>
                </a:lnTo>
                <a:lnTo>
                  <a:pt x="5237" y="59"/>
                </a:lnTo>
                <a:lnTo>
                  <a:pt x="5243" y="64"/>
                </a:lnTo>
                <a:lnTo>
                  <a:pt x="5249" y="69"/>
                </a:lnTo>
                <a:lnTo>
                  <a:pt x="5257" y="73"/>
                </a:lnTo>
                <a:lnTo>
                  <a:pt x="5264" y="76"/>
                </a:lnTo>
                <a:lnTo>
                  <a:pt x="5272" y="78"/>
                </a:lnTo>
                <a:lnTo>
                  <a:pt x="5280" y="80"/>
                </a:lnTo>
                <a:lnTo>
                  <a:pt x="5288" y="81"/>
                </a:lnTo>
                <a:lnTo>
                  <a:pt x="5297" y="81"/>
                </a:lnTo>
                <a:lnTo>
                  <a:pt x="5306" y="81"/>
                </a:lnTo>
                <a:lnTo>
                  <a:pt x="5316" y="80"/>
                </a:lnTo>
                <a:lnTo>
                  <a:pt x="5324" y="78"/>
                </a:lnTo>
                <a:lnTo>
                  <a:pt x="5333" y="75"/>
                </a:lnTo>
                <a:lnTo>
                  <a:pt x="5341" y="72"/>
                </a:lnTo>
                <a:lnTo>
                  <a:pt x="5349" y="68"/>
                </a:lnTo>
                <a:lnTo>
                  <a:pt x="5357" y="64"/>
                </a:lnTo>
                <a:lnTo>
                  <a:pt x="5364" y="59"/>
                </a:lnTo>
                <a:lnTo>
                  <a:pt x="5372" y="53"/>
                </a:lnTo>
                <a:lnTo>
                  <a:pt x="5379" y="47"/>
                </a:lnTo>
                <a:lnTo>
                  <a:pt x="5386" y="41"/>
                </a:lnTo>
                <a:lnTo>
                  <a:pt x="5393" y="33"/>
                </a:lnTo>
                <a:lnTo>
                  <a:pt x="5399" y="25"/>
                </a:lnTo>
                <a:lnTo>
                  <a:pt x="5405" y="17"/>
                </a:lnTo>
                <a:lnTo>
                  <a:pt x="5410" y="9"/>
                </a:lnTo>
                <a:lnTo>
                  <a:pt x="5416" y="0"/>
                </a:lnTo>
                <a:lnTo>
                  <a:pt x="5484" y="0"/>
                </a:lnTo>
                <a:lnTo>
                  <a:pt x="5477" y="15"/>
                </a:lnTo>
                <a:lnTo>
                  <a:pt x="5468" y="30"/>
                </a:lnTo>
                <a:lnTo>
                  <a:pt x="5464" y="38"/>
                </a:lnTo>
                <a:lnTo>
                  <a:pt x="5459" y="45"/>
                </a:lnTo>
                <a:lnTo>
                  <a:pt x="5450" y="58"/>
                </a:lnTo>
                <a:lnTo>
                  <a:pt x="5440" y="70"/>
                </a:lnTo>
                <a:lnTo>
                  <a:pt x="5428" y="82"/>
                </a:lnTo>
                <a:lnTo>
                  <a:pt x="5423" y="87"/>
                </a:lnTo>
                <a:lnTo>
                  <a:pt x="5417" y="93"/>
                </a:lnTo>
                <a:lnTo>
                  <a:pt x="5406" y="103"/>
                </a:lnTo>
                <a:lnTo>
                  <a:pt x="5393" y="112"/>
                </a:lnTo>
                <a:lnTo>
                  <a:pt x="5381" y="119"/>
                </a:lnTo>
                <a:lnTo>
                  <a:pt x="5367" y="126"/>
                </a:lnTo>
                <a:lnTo>
                  <a:pt x="5360" y="129"/>
                </a:lnTo>
                <a:lnTo>
                  <a:pt x="5353" y="132"/>
                </a:lnTo>
                <a:lnTo>
                  <a:pt x="5340" y="136"/>
                </a:lnTo>
                <a:lnTo>
                  <a:pt x="5325" y="139"/>
                </a:lnTo>
                <a:lnTo>
                  <a:pt x="5311" y="141"/>
                </a:lnTo>
                <a:lnTo>
                  <a:pt x="5295" y="142"/>
                </a:lnTo>
                <a:close/>
                <a:moveTo>
                  <a:pt x="5547" y="4"/>
                </a:moveTo>
                <a:lnTo>
                  <a:pt x="5545" y="0"/>
                </a:lnTo>
                <a:lnTo>
                  <a:pt x="5622" y="0"/>
                </a:lnTo>
                <a:lnTo>
                  <a:pt x="5641" y="21"/>
                </a:lnTo>
                <a:lnTo>
                  <a:pt x="5665" y="46"/>
                </a:lnTo>
                <a:lnTo>
                  <a:pt x="5690" y="70"/>
                </a:lnTo>
                <a:lnTo>
                  <a:pt x="5713" y="93"/>
                </a:lnTo>
                <a:lnTo>
                  <a:pt x="5714" y="95"/>
                </a:lnTo>
                <a:lnTo>
                  <a:pt x="5716" y="97"/>
                </a:lnTo>
                <a:lnTo>
                  <a:pt x="5717" y="100"/>
                </a:lnTo>
                <a:lnTo>
                  <a:pt x="5717" y="102"/>
                </a:lnTo>
                <a:lnTo>
                  <a:pt x="5716" y="108"/>
                </a:lnTo>
                <a:lnTo>
                  <a:pt x="5715" y="111"/>
                </a:lnTo>
                <a:lnTo>
                  <a:pt x="5714" y="113"/>
                </a:lnTo>
                <a:lnTo>
                  <a:pt x="5710" y="119"/>
                </a:lnTo>
                <a:lnTo>
                  <a:pt x="5708" y="122"/>
                </a:lnTo>
                <a:lnTo>
                  <a:pt x="5705" y="124"/>
                </a:lnTo>
                <a:lnTo>
                  <a:pt x="5700" y="129"/>
                </a:lnTo>
                <a:lnTo>
                  <a:pt x="5697" y="131"/>
                </a:lnTo>
                <a:lnTo>
                  <a:pt x="5694" y="133"/>
                </a:lnTo>
                <a:lnTo>
                  <a:pt x="5688" y="135"/>
                </a:lnTo>
                <a:lnTo>
                  <a:pt x="5685" y="136"/>
                </a:lnTo>
                <a:lnTo>
                  <a:pt x="5682" y="136"/>
                </a:lnTo>
                <a:lnTo>
                  <a:pt x="5681" y="136"/>
                </a:lnTo>
                <a:lnTo>
                  <a:pt x="5678" y="135"/>
                </a:lnTo>
                <a:lnTo>
                  <a:pt x="5673" y="132"/>
                </a:lnTo>
                <a:lnTo>
                  <a:pt x="5666" y="128"/>
                </a:lnTo>
                <a:lnTo>
                  <a:pt x="5658" y="123"/>
                </a:lnTo>
                <a:lnTo>
                  <a:pt x="5646" y="112"/>
                </a:lnTo>
                <a:lnTo>
                  <a:pt x="5631" y="98"/>
                </a:lnTo>
                <a:lnTo>
                  <a:pt x="5614" y="81"/>
                </a:lnTo>
                <a:lnTo>
                  <a:pt x="5597" y="64"/>
                </a:lnTo>
                <a:lnTo>
                  <a:pt x="5581" y="47"/>
                </a:lnTo>
                <a:lnTo>
                  <a:pt x="5567" y="30"/>
                </a:lnTo>
                <a:lnTo>
                  <a:pt x="5555" y="15"/>
                </a:lnTo>
                <a:lnTo>
                  <a:pt x="5551" y="9"/>
                </a:lnTo>
                <a:lnTo>
                  <a:pt x="5547" y="4"/>
                </a:lnTo>
                <a:close/>
                <a:moveTo>
                  <a:pt x="2229" y="1136"/>
                </a:moveTo>
                <a:lnTo>
                  <a:pt x="2222" y="1136"/>
                </a:lnTo>
                <a:lnTo>
                  <a:pt x="2214" y="1135"/>
                </a:lnTo>
                <a:lnTo>
                  <a:pt x="2207" y="1134"/>
                </a:lnTo>
                <a:lnTo>
                  <a:pt x="2199" y="1132"/>
                </a:lnTo>
                <a:lnTo>
                  <a:pt x="2192" y="1131"/>
                </a:lnTo>
                <a:lnTo>
                  <a:pt x="2184" y="1128"/>
                </a:lnTo>
                <a:lnTo>
                  <a:pt x="2170" y="1122"/>
                </a:lnTo>
                <a:lnTo>
                  <a:pt x="2157" y="1115"/>
                </a:lnTo>
                <a:lnTo>
                  <a:pt x="2151" y="1110"/>
                </a:lnTo>
                <a:lnTo>
                  <a:pt x="2145" y="1105"/>
                </a:lnTo>
                <a:lnTo>
                  <a:pt x="2139" y="1101"/>
                </a:lnTo>
                <a:lnTo>
                  <a:pt x="2133" y="1095"/>
                </a:lnTo>
                <a:lnTo>
                  <a:pt x="2127" y="1090"/>
                </a:lnTo>
                <a:lnTo>
                  <a:pt x="2122" y="1084"/>
                </a:lnTo>
                <a:lnTo>
                  <a:pt x="2117" y="1078"/>
                </a:lnTo>
                <a:lnTo>
                  <a:pt x="2112" y="1072"/>
                </a:lnTo>
                <a:lnTo>
                  <a:pt x="2108" y="1065"/>
                </a:lnTo>
                <a:lnTo>
                  <a:pt x="2104" y="1058"/>
                </a:lnTo>
                <a:lnTo>
                  <a:pt x="2100" y="1050"/>
                </a:lnTo>
                <a:lnTo>
                  <a:pt x="2096" y="1043"/>
                </a:lnTo>
                <a:lnTo>
                  <a:pt x="2093" y="1035"/>
                </a:lnTo>
                <a:lnTo>
                  <a:pt x="2090" y="1027"/>
                </a:lnTo>
                <a:lnTo>
                  <a:pt x="2087" y="1020"/>
                </a:lnTo>
                <a:lnTo>
                  <a:pt x="2085" y="1011"/>
                </a:lnTo>
                <a:lnTo>
                  <a:pt x="2083" y="1003"/>
                </a:lnTo>
                <a:lnTo>
                  <a:pt x="2081" y="994"/>
                </a:lnTo>
                <a:lnTo>
                  <a:pt x="2080" y="985"/>
                </a:lnTo>
                <a:lnTo>
                  <a:pt x="2079" y="976"/>
                </a:lnTo>
                <a:lnTo>
                  <a:pt x="2078" y="967"/>
                </a:lnTo>
                <a:lnTo>
                  <a:pt x="2078" y="958"/>
                </a:lnTo>
                <a:lnTo>
                  <a:pt x="2079" y="939"/>
                </a:lnTo>
                <a:lnTo>
                  <a:pt x="2080" y="929"/>
                </a:lnTo>
                <a:lnTo>
                  <a:pt x="2081" y="920"/>
                </a:lnTo>
                <a:lnTo>
                  <a:pt x="2083" y="911"/>
                </a:lnTo>
                <a:lnTo>
                  <a:pt x="2085" y="902"/>
                </a:lnTo>
                <a:lnTo>
                  <a:pt x="2088" y="893"/>
                </a:lnTo>
                <a:lnTo>
                  <a:pt x="2090" y="884"/>
                </a:lnTo>
                <a:lnTo>
                  <a:pt x="2093" y="876"/>
                </a:lnTo>
                <a:lnTo>
                  <a:pt x="2097" y="867"/>
                </a:lnTo>
                <a:lnTo>
                  <a:pt x="2101" y="859"/>
                </a:lnTo>
                <a:lnTo>
                  <a:pt x="2105" y="851"/>
                </a:lnTo>
                <a:lnTo>
                  <a:pt x="2109" y="843"/>
                </a:lnTo>
                <a:lnTo>
                  <a:pt x="2114" y="836"/>
                </a:lnTo>
                <a:lnTo>
                  <a:pt x="2124" y="822"/>
                </a:lnTo>
                <a:lnTo>
                  <a:pt x="2131" y="816"/>
                </a:lnTo>
                <a:lnTo>
                  <a:pt x="2136" y="809"/>
                </a:lnTo>
                <a:lnTo>
                  <a:pt x="2149" y="797"/>
                </a:lnTo>
                <a:lnTo>
                  <a:pt x="2155" y="792"/>
                </a:lnTo>
                <a:lnTo>
                  <a:pt x="2162" y="787"/>
                </a:lnTo>
                <a:lnTo>
                  <a:pt x="2169" y="783"/>
                </a:lnTo>
                <a:lnTo>
                  <a:pt x="2176" y="779"/>
                </a:lnTo>
                <a:lnTo>
                  <a:pt x="2183" y="775"/>
                </a:lnTo>
                <a:lnTo>
                  <a:pt x="2191" y="772"/>
                </a:lnTo>
                <a:lnTo>
                  <a:pt x="2199" y="769"/>
                </a:lnTo>
                <a:lnTo>
                  <a:pt x="2207" y="767"/>
                </a:lnTo>
                <a:lnTo>
                  <a:pt x="2215" y="765"/>
                </a:lnTo>
                <a:lnTo>
                  <a:pt x="2223" y="764"/>
                </a:lnTo>
                <a:lnTo>
                  <a:pt x="2231" y="763"/>
                </a:lnTo>
                <a:lnTo>
                  <a:pt x="2239" y="763"/>
                </a:lnTo>
                <a:lnTo>
                  <a:pt x="2249" y="763"/>
                </a:lnTo>
                <a:lnTo>
                  <a:pt x="2255" y="764"/>
                </a:lnTo>
                <a:lnTo>
                  <a:pt x="2260" y="765"/>
                </a:lnTo>
                <a:lnTo>
                  <a:pt x="2264" y="766"/>
                </a:lnTo>
                <a:lnTo>
                  <a:pt x="2269" y="767"/>
                </a:lnTo>
                <a:lnTo>
                  <a:pt x="2277" y="770"/>
                </a:lnTo>
                <a:lnTo>
                  <a:pt x="2285" y="774"/>
                </a:lnTo>
                <a:lnTo>
                  <a:pt x="2293" y="779"/>
                </a:lnTo>
                <a:lnTo>
                  <a:pt x="2299" y="784"/>
                </a:lnTo>
                <a:lnTo>
                  <a:pt x="2305" y="790"/>
                </a:lnTo>
                <a:lnTo>
                  <a:pt x="2308" y="793"/>
                </a:lnTo>
                <a:lnTo>
                  <a:pt x="2312" y="797"/>
                </a:lnTo>
                <a:lnTo>
                  <a:pt x="2316" y="804"/>
                </a:lnTo>
                <a:lnTo>
                  <a:pt x="2320" y="813"/>
                </a:lnTo>
                <a:lnTo>
                  <a:pt x="2324" y="821"/>
                </a:lnTo>
                <a:lnTo>
                  <a:pt x="2326" y="830"/>
                </a:lnTo>
                <a:lnTo>
                  <a:pt x="2328" y="839"/>
                </a:lnTo>
                <a:lnTo>
                  <a:pt x="2329" y="848"/>
                </a:lnTo>
                <a:lnTo>
                  <a:pt x="2330" y="858"/>
                </a:lnTo>
                <a:lnTo>
                  <a:pt x="2329" y="872"/>
                </a:lnTo>
                <a:lnTo>
                  <a:pt x="2328" y="878"/>
                </a:lnTo>
                <a:lnTo>
                  <a:pt x="2327" y="884"/>
                </a:lnTo>
                <a:lnTo>
                  <a:pt x="2323" y="896"/>
                </a:lnTo>
                <a:lnTo>
                  <a:pt x="2318" y="907"/>
                </a:lnTo>
                <a:lnTo>
                  <a:pt x="2312" y="919"/>
                </a:lnTo>
                <a:lnTo>
                  <a:pt x="2303" y="929"/>
                </a:lnTo>
                <a:lnTo>
                  <a:pt x="2299" y="935"/>
                </a:lnTo>
                <a:lnTo>
                  <a:pt x="2295" y="940"/>
                </a:lnTo>
                <a:lnTo>
                  <a:pt x="2286" y="949"/>
                </a:lnTo>
                <a:lnTo>
                  <a:pt x="2276" y="958"/>
                </a:lnTo>
                <a:lnTo>
                  <a:pt x="2271" y="962"/>
                </a:lnTo>
                <a:lnTo>
                  <a:pt x="2265" y="965"/>
                </a:lnTo>
                <a:lnTo>
                  <a:pt x="2254" y="972"/>
                </a:lnTo>
                <a:lnTo>
                  <a:pt x="2241" y="978"/>
                </a:lnTo>
                <a:lnTo>
                  <a:pt x="2229" y="982"/>
                </a:lnTo>
                <a:lnTo>
                  <a:pt x="2223" y="984"/>
                </a:lnTo>
                <a:lnTo>
                  <a:pt x="2217" y="986"/>
                </a:lnTo>
                <a:lnTo>
                  <a:pt x="2211" y="987"/>
                </a:lnTo>
                <a:lnTo>
                  <a:pt x="2204" y="988"/>
                </a:lnTo>
                <a:lnTo>
                  <a:pt x="2192" y="988"/>
                </a:lnTo>
                <a:lnTo>
                  <a:pt x="2185" y="988"/>
                </a:lnTo>
                <a:lnTo>
                  <a:pt x="2180" y="986"/>
                </a:lnTo>
                <a:lnTo>
                  <a:pt x="2176" y="983"/>
                </a:lnTo>
                <a:lnTo>
                  <a:pt x="2174" y="981"/>
                </a:lnTo>
                <a:lnTo>
                  <a:pt x="2172" y="979"/>
                </a:lnTo>
                <a:lnTo>
                  <a:pt x="2169" y="974"/>
                </a:lnTo>
                <a:lnTo>
                  <a:pt x="2167" y="969"/>
                </a:lnTo>
                <a:lnTo>
                  <a:pt x="2166" y="966"/>
                </a:lnTo>
                <a:lnTo>
                  <a:pt x="2165" y="963"/>
                </a:lnTo>
                <a:lnTo>
                  <a:pt x="2165" y="957"/>
                </a:lnTo>
                <a:lnTo>
                  <a:pt x="2165" y="954"/>
                </a:lnTo>
                <a:lnTo>
                  <a:pt x="2165" y="951"/>
                </a:lnTo>
                <a:lnTo>
                  <a:pt x="2166" y="947"/>
                </a:lnTo>
                <a:lnTo>
                  <a:pt x="2167" y="944"/>
                </a:lnTo>
                <a:lnTo>
                  <a:pt x="2168" y="943"/>
                </a:lnTo>
                <a:lnTo>
                  <a:pt x="2170" y="941"/>
                </a:lnTo>
                <a:lnTo>
                  <a:pt x="2172" y="940"/>
                </a:lnTo>
                <a:lnTo>
                  <a:pt x="2183" y="938"/>
                </a:lnTo>
                <a:lnTo>
                  <a:pt x="2194" y="935"/>
                </a:lnTo>
                <a:lnTo>
                  <a:pt x="2204" y="932"/>
                </a:lnTo>
                <a:lnTo>
                  <a:pt x="2214" y="927"/>
                </a:lnTo>
                <a:lnTo>
                  <a:pt x="2223" y="922"/>
                </a:lnTo>
                <a:lnTo>
                  <a:pt x="2231" y="917"/>
                </a:lnTo>
                <a:lnTo>
                  <a:pt x="2239" y="912"/>
                </a:lnTo>
                <a:lnTo>
                  <a:pt x="2243" y="909"/>
                </a:lnTo>
                <a:lnTo>
                  <a:pt x="2246" y="906"/>
                </a:lnTo>
                <a:lnTo>
                  <a:pt x="2254" y="900"/>
                </a:lnTo>
                <a:lnTo>
                  <a:pt x="2260" y="893"/>
                </a:lnTo>
                <a:lnTo>
                  <a:pt x="2265" y="886"/>
                </a:lnTo>
                <a:lnTo>
                  <a:pt x="2269" y="880"/>
                </a:lnTo>
                <a:lnTo>
                  <a:pt x="2272" y="873"/>
                </a:lnTo>
                <a:lnTo>
                  <a:pt x="2274" y="865"/>
                </a:lnTo>
                <a:lnTo>
                  <a:pt x="2276" y="857"/>
                </a:lnTo>
                <a:lnTo>
                  <a:pt x="2276" y="850"/>
                </a:lnTo>
                <a:lnTo>
                  <a:pt x="2276" y="842"/>
                </a:lnTo>
                <a:lnTo>
                  <a:pt x="2274" y="835"/>
                </a:lnTo>
                <a:lnTo>
                  <a:pt x="2272" y="832"/>
                </a:lnTo>
                <a:lnTo>
                  <a:pt x="2270" y="829"/>
                </a:lnTo>
                <a:lnTo>
                  <a:pt x="2268" y="826"/>
                </a:lnTo>
                <a:lnTo>
                  <a:pt x="2266" y="823"/>
                </a:lnTo>
                <a:lnTo>
                  <a:pt x="2260" y="819"/>
                </a:lnTo>
                <a:lnTo>
                  <a:pt x="2257" y="817"/>
                </a:lnTo>
                <a:lnTo>
                  <a:pt x="2253" y="816"/>
                </a:lnTo>
                <a:lnTo>
                  <a:pt x="2244" y="814"/>
                </a:lnTo>
                <a:lnTo>
                  <a:pt x="2240" y="814"/>
                </a:lnTo>
                <a:lnTo>
                  <a:pt x="2235" y="814"/>
                </a:lnTo>
                <a:lnTo>
                  <a:pt x="2226" y="814"/>
                </a:lnTo>
                <a:lnTo>
                  <a:pt x="2222" y="815"/>
                </a:lnTo>
                <a:lnTo>
                  <a:pt x="2218" y="816"/>
                </a:lnTo>
                <a:lnTo>
                  <a:pt x="2213" y="818"/>
                </a:lnTo>
                <a:lnTo>
                  <a:pt x="2209" y="820"/>
                </a:lnTo>
                <a:lnTo>
                  <a:pt x="2204" y="822"/>
                </a:lnTo>
                <a:lnTo>
                  <a:pt x="2200" y="825"/>
                </a:lnTo>
                <a:lnTo>
                  <a:pt x="2196" y="827"/>
                </a:lnTo>
                <a:lnTo>
                  <a:pt x="2191" y="830"/>
                </a:lnTo>
                <a:lnTo>
                  <a:pt x="2182" y="838"/>
                </a:lnTo>
                <a:lnTo>
                  <a:pt x="2174" y="846"/>
                </a:lnTo>
                <a:lnTo>
                  <a:pt x="2167" y="855"/>
                </a:lnTo>
                <a:lnTo>
                  <a:pt x="2163" y="859"/>
                </a:lnTo>
                <a:lnTo>
                  <a:pt x="2160" y="865"/>
                </a:lnTo>
                <a:lnTo>
                  <a:pt x="2154" y="876"/>
                </a:lnTo>
                <a:lnTo>
                  <a:pt x="2148" y="888"/>
                </a:lnTo>
                <a:lnTo>
                  <a:pt x="2144" y="900"/>
                </a:lnTo>
                <a:lnTo>
                  <a:pt x="2140" y="913"/>
                </a:lnTo>
                <a:lnTo>
                  <a:pt x="2137" y="926"/>
                </a:lnTo>
                <a:lnTo>
                  <a:pt x="2135" y="941"/>
                </a:lnTo>
                <a:lnTo>
                  <a:pt x="2135" y="948"/>
                </a:lnTo>
                <a:lnTo>
                  <a:pt x="2135" y="955"/>
                </a:lnTo>
                <a:lnTo>
                  <a:pt x="2135" y="968"/>
                </a:lnTo>
                <a:lnTo>
                  <a:pt x="2136" y="980"/>
                </a:lnTo>
                <a:lnTo>
                  <a:pt x="2138" y="993"/>
                </a:lnTo>
                <a:lnTo>
                  <a:pt x="2140" y="998"/>
                </a:lnTo>
                <a:lnTo>
                  <a:pt x="2141" y="1004"/>
                </a:lnTo>
                <a:lnTo>
                  <a:pt x="2145" y="1014"/>
                </a:lnTo>
                <a:lnTo>
                  <a:pt x="2147" y="1019"/>
                </a:lnTo>
                <a:lnTo>
                  <a:pt x="2150" y="1024"/>
                </a:lnTo>
                <a:lnTo>
                  <a:pt x="2152" y="1029"/>
                </a:lnTo>
                <a:lnTo>
                  <a:pt x="2155" y="1033"/>
                </a:lnTo>
                <a:lnTo>
                  <a:pt x="2158" y="1037"/>
                </a:lnTo>
                <a:lnTo>
                  <a:pt x="2161" y="1041"/>
                </a:lnTo>
                <a:lnTo>
                  <a:pt x="2164" y="1045"/>
                </a:lnTo>
                <a:lnTo>
                  <a:pt x="2167" y="1049"/>
                </a:lnTo>
                <a:lnTo>
                  <a:pt x="2175" y="1056"/>
                </a:lnTo>
                <a:lnTo>
                  <a:pt x="2182" y="1062"/>
                </a:lnTo>
                <a:lnTo>
                  <a:pt x="2192" y="1067"/>
                </a:lnTo>
                <a:lnTo>
                  <a:pt x="2201" y="1071"/>
                </a:lnTo>
                <a:lnTo>
                  <a:pt x="2211" y="1073"/>
                </a:lnTo>
                <a:lnTo>
                  <a:pt x="2221" y="1075"/>
                </a:lnTo>
                <a:lnTo>
                  <a:pt x="2226" y="1076"/>
                </a:lnTo>
                <a:lnTo>
                  <a:pt x="2231" y="1076"/>
                </a:lnTo>
                <a:lnTo>
                  <a:pt x="2242" y="1075"/>
                </a:lnTo>
                <a:lnTo>
                  <a:pt x="2253" y="1074"/>
                </a:lnTo>
                <a:lnTo>
                  <a:pt x="2263" y="1071"/>
                </a:lnTo>
                <a:lnTo>
                  <a:pt x="2273" y="1068"/>
                </a:lnTo>
                <a:lnTo>
                  <a:pt x="2282" y="1064"/>
                </a:lnTo>
                <a:lnTo>
                  <a:pt x="2291" y="1059"/>
                </a:lnTo>
                <a:lnTo>
                  <a:pt x="2299" y="1053"/>
                </a:lnTo>
                <a:lnTo>
                  <a:pt x="2308" y="1045"/>
                </a:lnTo>
                <a:lnTo>
                  <a:pt x="2317" y="1038"/>
                </a:lnTo>
                <a:lnTo>
                  <a:pt x="2324" y="1030"/>
                </a:lnTo>
                <a:lnTo>
                  <a:pt x="2332" y="1022"/>
                </a:lnTo>
                <a:lnTo>
                  <a:pt x="2339" y="1013"/>
                </a:lnTo>
                <a:lnTo>
                  <a:pt x="2351" y="993"/>
                </a:lnTo>
                <a:lnTo>
                  <a:pt x="2357" y="982"/>
                </a:lnTo>
                <a:lnTo>
                  <a:pt x="2363" y="971"/>
                </a:lnTo>
                <a:lnTo>
                  <a:pt x="2368" y="960"/>
                </a:lnTo>
                <a:lnTo>
                  <a:pt x="2374" y="949"/>
                </a:lnTo>
                <a:lnTo>
                  <a:pt x="2378" y="937"/>
                </a:lnTo>
                <a:lnTo>
                  <a:pt x="2383" y="925"/>
                </a:lnTo>
                <a:lnTo>
                  <a:pt x="2386" y="913"/>
                </a:lnTo>
                <a:lnTo>
                  <a:pt x="2390" y="901"/>
                </a:lnTo>
                <a:lnTo>
                  <a:pt x="2393" y="889"/>
                </a:lnTo>
                <a:lnTo>
                  <a:pt x="2395" y="877"/>
                </a:lnTo>
                <a:lnTo>
                  <a:pt x="2398" y="864"/>
                </a:lnTo>
                <a:lnTo>
                  <a:pt x="2399" y="852"/>
                </a:lnTo>
                <a:lnTo>
                  <a:pt x="2401" y="840"/>
                </a:lnTo>
                <a:lnTo>
                  <a:pt x="2402" y="828"/>
                </a:lnTo>
                <a:lnTo>
                  <a:pt x="2403" y="817"/>
                </a:lnTo>
                <a:lnTo>
                  <a:pt x="2403" y="805"/>
                </a:lnTo>
                <a:lnTo>
                  <a:pt x="2403" y="794"/>
                </a:lnTo>
                <a:lnTo>
                  <a:pt x="2402" y="784"/>
                </a:lnTo>
                <a:lnTo>
                  <a:pt x="2403" y="781"/>
                </a:lnTo>
                <a:lnTo>
                  <a:pt x="2405" y="779"/>
                </a:lnTo>
                <a:lnTo>
                  <a:pt x="2407" y="777"/>
                </a:lnTo>
                <a:lnTo>
                  <a:pt x="2410" y="775"/>
                </a:lnTo>
                <a:lnTo>
                  <a:pt x="2417" y="773"/>
                </a:lnTo>
                <a:lnTo>
                  <a:pt x="2421" y="772"/>
                </a:lnTo>
                <a:lnTo>
                  <a:pt x="2425" y="772"/>
                </a:lnTo>
                <a:lnTo>
                  <a:pt x="2433" y="772"/>
                </a:lnTo>
                <a:lnTo>
                  <a:pt x="2436" y="773"/>
                </a:lnTo>
                <a:lnTo>
                  <a:pt x="2439" y="774"/>
                </a:lnTo>
                <a:lnTo>
                  <a:pt x="2445" y="777"/>
                </a:lnTo>
                <a:lnTo>
                  <a:pt x="2448" y="779"/>
                </a:lnTo>
                <a:lnTo>
                  <a:pt x="2450" y="781"/>
                </a:lnTo>
                <a:lnTo>
                  <a:pt x="2454" y="787"/>
                </a:lnTo>
                <a:lnTo>
                  <a:pt x="2456" y="790"/>
                </a:lnTo>
                <a:lnTo>
                  <a:pt x="2457" y="794"/>
                </a:lnTo>
                <a:lnTo>
                  <a:pt x="2458" y="798"/>
                </a:lnTo>
                <a:lnTo>
                  <a:pt x="2459" y="803"/>
                </a:lnTo>
                <a:lnTo>
                  <a:pt x="2459" y="809"/>
                </a:lnTo>
                <a:lnTo>
                  <a:pt x="2460" y="815"/>
                </a:lnTo>
                <a:lnTo>
                  <a:pt x="2459" y="831"/>
                </a:lnTo>
                <a:lnTo>
                  <a:pt x="2458" y="846"/>
                </a:lnTo>
                <a:lnTo>
                  <a:pt x="2457" y="862"/>
                </a:lnTo>
                <a:lnTo>
                  <a:pt x="2455" y="878"/>
                </a:lnTo>
                <a:lnTo>
                  <a:pt x="2452" y="893"/>
                </a:lnTo>
                <a:lnTo>
                  <a:pt x="2449" y="907"/>
                </a:lnTo>
                <a:lnTo>
                  <a:pt x="2446" y="922"/>
                </a:lnTo>
                <a:lnTo>
                  <a:pt x="2442" y="937"/>
                </a:lnTo>
                <a:lnTo>
                  <a:pt x="2437" y="951"/>
                </a:lnTo>
                <a:lnTo>
                  <a:pt x="2432" y="964"/>
                </a:lnTo>
                <a:lnTo>
                  <a:pt x="2426" y="978"/>
                </a:lnTo>
                <a:lnTo>
                  <a:pt x="2420" y="990"/>
                </a:lnTo>
                <a:lnTo>
                  <a:pt x="2414" y="1004"/>
                </a:lnTo>
                <a:lnTo>
                  <a:pt x="2408" y="1016"/>
                </a:lnTo>
                <a:lnTo>
                  <a:pt x="2401" y="1027"/>
                </a:lnTo>
                <a:lnTo>
                  <a:pt x="2394" y="1039"/>
                </a:lnTo>
                <a:lnTo>
                  <a:pt x="2386" y="1049"/>
                </a:lnTo>
                <a:lnTo>
                  <a:pt x="2378" y="1060"/>
                </a:lnTo>
                <a:lnTo>
                  <a:pt x="2369" y="1070"/>
                </a:lnTo>
                <a:lnTo>
                  <a:pt x="2360" y="1079"/>
                </a:lnTo>
                <a:lnTo>
                  <a:pt x="2351" y="1087"/>
                </a:lnTo>
                <a:lnTo>
                  <a:pt x="2341" y="1095"/>
                </a:lnTo>
                <a:lnTo>
                  <a:pt x="2332" y="1103"/>
                </a:lnTo>
                <a:lnTo>
                  <a:pt x="2322" y="1109"/>
                </a:lnTo>
                <a:lnTo>
                  <a:pt x="2311" y="1116"/>
                </a:lnTo>
                <a:lnTo>
                  <a:pt x="2300" y="1121"/>
                </a:lnTo>
                <a:lnTo>
                  <a:pt x="2289" y="1126"/>
                </a:lnTo>
                <a:lnTo>
                  <a:pt x="2278" y="1129"/>
                </a:lnTo>
                <a:lnTo>
                  <a:pt x="2266" y="1132"/>
                </a:lnTo>
                <a:lnTo>
                  <a:pt x="2255" y="1134"/>
                </a:lnTo>
                <a:lnTo>
                  <a:pt x="2242" y="1136"/>
                </a:lnTo>
                <a:lnTo>
                  <a:pt x="2229" y="1136"/>
                </a:lnTo>
                <a:close/>
                <a:moveTo>
                  <a:pt x="2617" y="1130"/>
                </a:moveTo>
                <a:lnTo>
                  <a:pt x="2615" y="1130"/>
                </a:lnTo>
                <a:lnTo>
                  <a:pt x="2613" y="1129"/>
                </a:lnTo>
                <a:lnTo>
                  <a:pt x="2607" y="1127"/>
                </a:lnTo>
                <a:lnTo>
                  <a:pt x="2600" y="1122"/>
                </a:lnTo>
                <a:lnTo>
                  <a:pt x="2593" y="1117"/>
                </a:lnTo>
                <a:lnTo>
                  <a:pt x="2580" y="1105"/>
                </a:lnTo>
                <a:lnTo>
                  <a:pt x="2565" y="1091"/>
                </a:lnTo>
                <a:lnTo>
                  <a:pt x="2548" y="1075"/>
                </a:lnTo>
                <a:lnTo>
                  <a:pt x="2532" y="1058"/>
                </a:lnTo>
                <a:lnTo>
                  <a:pt x="2516" y="1040"/>
                </a:lnTo>
                <a:lnTo>
                  <a:pt x="2501" y="1024"/>
                </a:lnTo>
                <a:lnTo>
                  <a:pt x="2489" y="1010"/>
                </a:lnTo>
                <a:lnTo>
                  <a:pt x="2485" y="1004"/>
                </a:lnTo>
                <a:lnTo>
                  <a:pt x="2481" y="998"/>
                </a:lnTo>
                <a:lnTo>
                  <a:pt x="2476" y="987"/>
                </a:lnTo>
                <a:lnTo>
                  <a:pt x="2472" y="977"/>
                </a:lnTo>
                <a:lnTo>
                  <a:pt x="2470" y="968"/>
                </a:lnTo>
                <a:lnTo>
                  <a:pt x="2469" y="958"/>
                </a:lnTo>
                <a:lnTo>
                  <a:pt x="2469" y="952"/>
                </a:lnTo>
                <a:lnTo>
                  <a:pt x="2470" y="946"/>
                </a:lnTo>
                <a:lnTo>
                  <a:pt x="2472" y="941"/>
                </a:lnTo>
                <a:lnTo>
                  <a:pt x="2474" y="935"/>
                </a:lnTo>
                <a:lnTo>
                  <a:pt x="2476" y="927"/>
                </a:lnTo>
                <a:lnTo>
                  <a:pt x="2479" y="921"/>
                </a:lnTo>
                <a:lnTo>
                  <a:pt x="2483" y="914"/>
                </a:lnTo>
                <a:lnTo>
                  <a:pt x="2488" y="908"/>
                </a:lnTo>
                <a:lnTo>
                  <a:pt x="2497" y="897"/>
                </a:lnTo>
                <a:lnTo>
                  <a:pt x="2508" y="883"/>
                </a:lnTo>
                <a:lnTo>
                  <a:pt x="2538" y="848"/>
                </a:lnTo>
                <a:lnTo>
                  <a:pt x="2574" y="808"/>
                </a:lnTo>
                <a:lnTo>
                  <a:pt x="2609" y="768"/>
                </a:lnTo>
                <a:lnTo>
                  <a:pt x="2611" y="768"/>
                </a:lnTo>
                <a:lnTo>
                  <a:pt x="2614" y="767"/>
                </a:lnTo>
                <a:lnTo>
                  <a:pt x="2618" y="768"/>
                </a:lnTo>
                <a:lnTo>
                  <a:pt x="2622" y="769"/>
                </a:lnTo>
                <a:lnTo>
                  <a:pt x="2626" y="771"/>
                </a:lnTo>
                <a:lnTo>
                  <a:pt x="2630" y="773"/>
                </a:lnTo>
                <a:lnTo>
                  <a:pt x="2635" y="776"/>
                </a:lnTo>
                <a:lnTo>
                  <a:pt x="2638" y="780"/>
                </a:lnTo>
                <a:lnTo>
                  <a:pt x="2642" y="784"/>
                </a:lnTo>
                <a:lnTo>
                  <a:pt x="2645" y="789"/>
                </a:lnTo>
                <a:lnTo>
                  <a:pt x="2646" y="794"/>
                </a:lnTo>
                <a:lnTo>
                  <a:pt x="2647" y="798"/>
                </a:lnTo>
                <a:lnTo>
                  <a:pt x="2646" y="804"/>
                </a:lnTo>
                <a:lnTo>
                  <a:pt x="2644" y="809"/>
                </a:lnTo>
                <a:lnTo>
                  <a:pt x="2641" y="816"/>
                </a:lnTo>
                <a:lnTo>
                  <a:pt x="2638" y="822"/>
                </a:lnTo>
                <a:lnTo>
                  <a:pt x="2629" y="832"/>
                </a:lnTo>
                <a:lnTo>
                  <a:pt x="2618" y="846"/>
                </a:lnTo>
                <a:lnTo>
                  <a:pt x="2588" y="879"/>
                </a:lnTo>
                <a:lnTo>
                  <a:pt x="2558" y="913"/>
                </a:lnTo>
                <a:lnTo>
                  <a:pt x="2545" y="927"/>
                </a:lnTo>
                <a:lnTo>
                  <a:pt x="2536" y="940"/>
                </a:lnTo>
                <a:lnTo>
                  <a:pt x="2533" y="944"/>
                </a:lnTo>
                <a:lnTo>
                  <a:pt x="2532" y="947"/>
                </a:lnTo>
                <a:lnTo>
                  <a:pt x="2531" y="951"/>
                </a:lnTo>
                <a:lnTo>
                  <a:pt x="2530" y="954"/>
                </a:lnTo>
                <a:lnTo>
                  <a:pt x="2531" y="959"/>
                </a:lnTo>
                <a:lnTo>
                  <a:pt x="2532" y="963"/>
                </a:lnTo>
                <a:lnTo>
                  <a:pt x="2534" y="968"/>
                </a:lnTo>
                <a:lnTo>
                  <a:pt x="2537" y="972"/>
                </a:lnTo>
                <a:lnTo>
                  <a:pt x="2545" y="981"/>
                </a:lnTo>
                <a:lnTo>
                  <a:pt x="2556" y="994"/>
                </a:lnTo>
                <a:lnTo>
                  <a:pt x="2583" y="1023"/>
                </a:lnTo>
                <a:lnTo>
                  <a:pt x="2616" y="1056"/>
                </a:lnTo>
                <a:lnTo>
                  <a:pt x="2647" y="1087"/>
                </a:lnTo>
                <a:lnTo>
                  <a:pt x="2649" y="1088"/>
                </a:lnTo>
                <a:lnTo>
                  <a:pt x="2650" y="1091"/>
                </a:lnTo>
                <a:lnTo>
                  <a:pt x="2651" y="1093"/>
                </a:lnTo>
                <a:lnTo>
                  <a:pt x="2652" y="1095"/>
                </a:lnTo>
                <a:lnTo>
                  <a:pt x="2651" y="1101"/>
                </a:lnTo>
                <a:lnTo>
                  <a:pt x="2650" y="1104"/>
                </a:lnTo>
                <a:lnTo>
                  <a:pt x="2648" y="1107"/>
                </a:lnTo>
                <a:lnTo>
                  <a:pt x="2645" y="1113"/>
                </a:lnTo>
                <a:lnTo>
                  <a:pt x="2643" y="1116"/>
                </a:lnTo>
                <a:lnTo>
                  <a:pt x="2640" y="1119"/>
                </a:lnTo>
                <a:lnTo>
                  <a:pt x="2635" y="1123"/>
                </a:lnTo>
                <a:lnTo>
                  <a:pt x="2632" y="1125"/>
                </a:lnTo>
                <a:lnTo>
                  <a:pt x="2629" y="1127"/>
                </a:lnTo>
                <a:lnTo>
                  <a:pt x="2623" y="1129"/>
                </a:lnTo>
                <a:lnTo>
                  <a:pt x="2620" y="1130"/>
                </a:lnTo>
                <a:lnTo>
                  <a:pt x="2617" y="1130"/>
                </a:lnTo>
                <a:close/>
                <a:moveTo>
                  <a:pt x="2229" y="2129"/>
                </a:moveTo>
                <a:lnTo>
                  <a:pt x="2222" y="2129"/>
                </a:lnTo>
                <a:lnTo>
                  <a:pt x="2214" y="2128"/>
                </a:lnTo>
                <a:lnTo>
                  <a:pt x="2207" y="2127"/>
                </a:lnTo>
                <a:lnTo>
                  <a:pt x="2199" y="2126"/>
                </a:lnTo>
                <a:lnTo>
                  <a:pt x="2192" y="2124"/>
                </a:lnTo>
                <a:lnTo>
                  <a:pt x="2184" y="2121"/>
                </a:lnTo>
                <a:lnTo>
                  <a:pt x="2170" y="2116"/>
                </a:lnTo>
                <a:lnTo>
                  <a:pt x="2157" y="2108"/>
                </a:lnTo>
                <a:lnTo>
                  <a:pt x="2151" y="2104"/>
                </a:lnTo>
                <a:lnTo>
                  <a:pt x="2145" y="2100"/>
                </a:lnTo>
                <a:lnTo>
                  <a:pt x="2139" y="2095"/>
                </a:lnTo>
                <a:lnTo>
                  <a:pt x="2133" y="2090"/>
                </a:lnTo>
                <a:lnTo>
                  <a:pt x="2127" y="2084"/>
                </a:lnTo>
                <a:lnTo>
                  <a:pt x="2122" y="2078"/>
                </a:lnTo>
                <a:lnTo>
                  <a:pt x="2117" y="2072"/>
                </a:lnTo>
                <a:lnTo>
                  <a:pt x="2112" y="2065"/>
                </a:lnTo>
                <a:lnTo>
                  <a:pt x="2108" y="2058"/>
                </a:lnTo>
                <a:lnTo>
                  <a:pt x="2104" y="2051"/>
                </a:lnTo>
                <a:lnTo>
                  <a:pt x="2100" y="2044"/>
                </a:lnTo>
                <a:lnTo>
                  <a:pt x="2096" y="2037"/>
                </a:lnTo>
                <a:lnTo>
                  <a:pt x="2093" y="2029"/>
                </a:lnTo>
                <a:lnTo>
                  <a:pt x="2090" y="2022"/>
                </a:lnTo>
                <a:lnTo>
                  <a:pt x="2087" y="2014"/>
                </a:lnTo>
                <a:lnTo>
                  <a:pt x="2085" y="2005"/>
                </a:lnTo>
                <a:lnTo>
                  <a:pt x="2083" y="1996"/>
                </a:lnTo>
                <a:lnTo>
                  <a:pt x="2081" y="1988"/>
                </a:lnTo>
                <a:lnTo>
                  <a:pt x="2080" y="1979"/>
                </a:lnTo>
                <a:lnTo>
                  <a:pt x="2079" y="1970"/>
                </a:lnTo>
                <a:lnTo>
                  <a:pt x="2078" y="1961"/>
                </a:lnTo>
                <a:lnTo>
                  <a:pt x="2078" y="1952"/>
                </a:lnTo>
                <a:lnTo>
                  <a:pt x="2079" y="1932"/>
                </a:lnTo>
                <a:lnTo>
                  <a:pt x="2080" y="1923"/>
                </a:lnTo>
                <a:lnTo>
                  <a:pt x="2081" y="1914"/>
                </a:lnTo>
                <a:lnTo>
                  <a:pt x="2083" y="1905"/>
                </a:lnTo>
                <a:lnTo>
                  <a:pt x="2085" y="1896"/>
                </a:lnTo>
                <a:lnTo>
                  <a:pt x="2088" y="1886"/>
                </a:lnTo>
                <a:lnTo>
                  <a:pt x="2090" y="1878"/>
                </a:lnTo>
                <a:lnTo>
                  <a:pt x="2093" y="1869"/>
                </a:lnTo>
                <a:lnTo>
                  <a:pt x="2097" y="1861"/>
                </a:lnTo>
                <a:lnTo>
                  <a:pt x="2101" y="1853"/>
                </a:lnTo>
                <a:lnTo>
                  <a:pt x="2105" y="1845"/>
                </a:lnTo>
                <a:lnTo>
                  <a:pt x="2109" y="1838"/>
                </a:lnTo>
                <a:lnTo>
                  <a:pt x="2114" y="1829"/>
                </a:lnTo>
                <a:lnTo>
                  <a:pt x="2124" y="1815"/>
                </a:lnTo>
                <a:lnTo>
                  <a:pt x="2131" y="1809"/>
                </a:lnTo>
                <a:lnTo>
                  <a:pt x="2136" y="1803"/>
                </a:lnTo>
                <a:lnTo>
                  <a:pt x="2149" y="1791"/>
                </a:lnTo>
                <a:lnTo>
                  <a:pt x="2155" y="1786"/>
                </a:lnTo>
                <a:lnTo>
                  <a:pt x="2162" y="1781"/>
                </a:lnTo>
                <a:lnTo>
                  <a:pt x="2169" y="1777"/>
                </a:lnTo>
                <a:lnTo>
                  <a:pt x="2176" y="1773"/>
                </a:lnTo>
                <a:lnTo>
                  <a:pt x="2183" y="1768"/>
                </a:lnTo>
                <a:lnTo>
                  <a:pt x="2191" y="1765"/>
                </a:lnTo>
                <a:lnTo>
                  <a:pt x="2199" y="1762"/>
                </a:lnTo>
                <a:lnTo>
                  <a:pt x="2207" y="1760"/>
                </a:lnTo>
                <a:lnTo>
                  <a:pt x="2215" y="1758"/>
                </a:lnTo>
                <a:lnTo>
                  <a:pt x="2223" y="1757"/>
                </a:lnTo>
                <a:lnTo>
                  <a:pt x="2231" y="1756"/>
                </a:lnTo>
                <a:lnTo>
                  <a:pt x="2239" y="1756"/>
                </a:lnTo>
                <a:lnTo>
                  <a:pt x="2249" y="1756"/>
                </a:lnTo>
                <a:lnTo>
                  <a:pt x="2255" y="1757"/>
                </a:lnTo>
                <a:lnTo>
                  <a:pt x="2260" y="1758"/>
                </a:lnTo>
                <a:lnTo>
                  <a:pt x="2264" y="1759"/>
                </a:lnTo>
                <a:lnTo>
                  <a:pt x="2269" y="1760"/>
                </a:lnTo>
                <a:lnTo>
                  <a:pt x="2277" y="1763"/>
                </a:lnTo>
                <a:lnTo>
                  <a:pt x="2285" y="1767"/>
                </a:lnTo>
                <a:lnTo>
                  <a:pt x="2293" y="1773"/>
                </a:lnTo>
                <a:lnTo>
                  <a:pt x="2299" y="1778"/>
                </a:lnTo>
                <a:lnTo>
                  <a:pt x="2305" y="1784"/>
                </a:lnTo>
                <a:lnTo>
                  <a:pt x="2308" y="1787"/>
                </a:lnTo>
                <a:lnTo>
                  <a:pt x="2312" y="1791"/>
                </a:lnTo>
                <a:lnTo>
                  <a:pt x="2316" y="1798"/>
                </a:lnTo>
                <a:lnTo>
                  <a:pt x="2320" y="1806"/>
                </a:lnTo>
                <a:lnTo>
                  <a:pt x="2324" y="1814"/>
                </a:lnTo>
                <a:lnTo>
                  <a:pt x="2326" y="1823"/>
                </a:lnTo>
                <a:lnTo>
                  <a:pt x="2328" y="1833"/>
                </a:lnTo>
                <a:lnTo>
                  <a:pt x="2329" y="1842"/>
                </a:lnTo>
                <a:lnTo>
                  <a:pt x="2330" y="1852"/>
                </a:lnTo>
                <a:lnTo>
                  <a:pt x="2329" y="1865"/>
                </a:lnTo>
                <a:lnTo>
                  <a:pt x="2328" y="1871"/>
                </a:lnTo>
                <a:lnTo>
                  <a:pt x="2327" y="1877"/>
                </a:lnTo>
                <a:lnTo>
                  <a:pt x="2323" y="1889"/>
                </a:lnTo>
                <a:lnTo>
                  <a:pt x="2318" y="1902"/>
                </a:lnTo>
                <a:lnTo>
                  <a:pt x="2312" y="1913"/>
                </a:lnTo>
                <a:lnTo>
                  <a:pt x="2303" y="1923"/>
                </a:lnTo>
                <a:lnTo>
                  <a:pt x="2299" y="1928"/>
                </a:lnTo>
                <a:lnTo>
                  <a:pt x="2295" y="1933"/>
                </a:lnTo>
                <a:lnTo>
                  <a:pt x="2286" y="1943"/>
                </a:lnTo>
                <a:lnTo>
                  <a:pt x="2276" y="1952"/>
                </a:lnTo>
                <a:lnTo>
                  <a:pt x="2271" y="1956"/>
                </a:lnTo>
                <a:lnTo>
                  <a:pt x="2265" y="1960"/>
                </a:lnTo>
                <a:lnTo>
                  <a:pt x="2254" y="1966"/>
                </a:lnTo>
                <a:lnTo>
                  <a:pt x="2241" y="1972"/>
                </a:lnTo>
                <a:lnTo>
                  <a:pt x="2229" y="1976"/>
                </a:lnTo>
                <a:lnTo>
                  <a:pt x="2223" y="1978"/>
                </a:lnTo>
                <a:lnTo>
                  <a:pt x="2217" y="1980"/>
                </a:lnTo>
                <a:lnTo>
                  <a:pt x="2211" y="1981"/>
                </a:lnTo>
                <a:lnTo>
                  <a:pt x="2204" y="1982"/>
                </a:lnTo>
                <a:lnTo>
                  <a:pt x="2192" y="1982"/>
                </a:lnTo>
                <a:lnTo>
                  <a:pt x="2185" y="1982"/>
                </a:lnTo>
                <a:lnTo>
                  <a:pt x="2180" y="1980"/>
                </a:lnTo>
                <a:lnTo>
                  <a:pt x="2176" y="1977"/>
                </a:lnTo>
                <a:lnTo>
                  <a:pt x="2174" y="1975"/>
                </a:lnTo>
                <a:lnTo>
                  <a:pt x="2172" y="1973"/>
                </a:lnTo>
                <a:lnTo>
                  <a:pt x="2169" y="1969"/>
                </a:lnTo>
                <a:lnTo>
                  <a:pt x="2167" y="1963"/>
                </a:lnTo>
                <a:lnTo>
                  <a:pt x="2166" y="1961"/>
                </a:lnTo>
                <a:lnTo>
                  <a:pt x="2165" y="1958"/>
                </a:lnTo>
                <a:lnTo>
                  <a:pt x="2165" y="1950"/>
                </a:lnTo>
                <a:lnTo>
                  <a:pt x="2165" y="1947"/>
                </a:lnTo>
                <a:lnTo>
                  <a:pt x="2165" y="1945"/>
                </a:lnTo>
                <a:lnTo>
                  <a:pt x="2166" y="1940"/>
                </a:lnTo>
                <a:lnTo>
                  <a:pt x="2167" y="1938"/>
                </a:lnTo>
                <a:lnTo>
                  <a:pt x="2168" y="1936"/>
                </a:lnTo>
                <a:lnTo>
                  <a:pt x="2170" y="1934"/>
                </a:lnTo>
                <a:lnTo>
                  <a:pt x="2172" y="1933"/>
                </a:lnTo>
                <a:lnTo>
                  <a:pt x="2183" y="1931"/>
                </a:lnTo>
                <a:lnTo>
                  <a:pt x="2194" y="1928"/>
                </a:lnTo>
                <a:lnTo>
                  <a:pt x="2204" y="1925"/>
                </a:lnTo>
                <a:lnTo>
                  <a:pt x="2214" y="1921"/>
                </a:lnTo>
                <a:lnTo>
                  <a:pt x="2223" y="1917"/>
                </a:lnTo>
                <a:lnTo>
                  <a:pt x="2231" y="1911"/>
                </a:lnTo>
                <a:lnTo>
                  <a:pt x="2239" y="1906"/>
                </a:lnTo>
                <a:lnTo>
                  <a:pt x="2243" y="1903"/>
                </a:lnTo>
                <a:lnTo>
                  <a:pt x="2246" y="1900"/>
                </a:lnTo>
                <a:lnTo>
                  <a:pt x="2254" y="1894"/>
                </a:lnTo>
                <a:lnTo>
                  <a:pt x="2260" y="1886"/>
                </a:lnTo>
                <a:lnTo>
                  <a:pt x="2265" y="1880"/>
                </a:lnTo>
                <a:lnTo>
                  <a:pt x="2269" y="1873"/>
                </a:lnTo>
                <a:lnTo>
                  <a:pt x="2272" y="1866"/>
                </a:lnTo>
                <a:lnTo>
                  <a:pt x="2274" y="1859"/>
                </a:lnTo>
                <a:lnTo>
                  <a:pt x="2276" y="1852"/>
                </a:lnTo>
                <a:lnTo>
                  <a:pt x="2276" y="1845"/>
                </a:lnTo>
                <a:lnTo>
                  <a:pt x="2276" y="1837"/>
                </a:lnTo>
                <a:lnTo>
                  <a:pt x="2274" y="1828"/>
                </a:lnTo>
                <a:lnTo>
                  <a:pt x="2272" y="1825"/>
                </a:lnTo>
                <a:lnTo>
                  <a:pt x="2270" y="1822"/>
                </a:lnTo>
                <a:lnTo>
                  <a:pt x="2268" y="1819"/>
                </a:lnTo>
                <a:lnTo>
                  <a:pt x="2266" y="1817"/>
                </a:lnTo>
                <a:lnTo>
                  <a:pt x="2260" y="1812"/>
                </a:lnTo>
                <a:lnTo>
                  <a:pt x="2257" y="1811"/>
                </a:lnTo>
                <a:lnTo>
                  <a:pt x="2253" y="1809"/>
                </a:lnTo>
                <a:lnTo>
                  <a:pt x="2244" y="1807"/>
                </a:lnTo>
                <a:lnTo>
                  <a:pt x="2240" y="1807"/>
                </a:lnTo>
                <a:lnTo>
                  <a:pt x="2235" y="1807"/>
                </a:lnTo>
                <a:lnTo>
                  <a:pt x="2226" y="1807"/>
                </a:lnTo>
                <a:lnTo>
                  <a:pt x="2222" y="1808"/>
                </a:lnTo>
                <a:lnTo>
                  <a:pt x="2218" y="1810"/>
                </a:lnTo>
                <a:lnTo>
                  <a:pt x="2213" y="1811"/>
                </a:lnTo>
                <a:lnTo>
                  <a:pt x="2209" y="1813"/>
                </a:lnTo>
                <a:lnTo>
                  <a:pt x="2204" y="1815"/>
                </a:lnTo>
                <a:lnTo>
                  <a:pt x="2200" y="1818"/>
                </a:lnTo>
                <a:lnTo>
                  <a:pt x="2196" y="1821"/>
                </a:lnTo>
                <a:lnTo>
                  <a:pt x="2191" y="1824"/>
                </a:lnTo>
                <a:lnTo>
                  <a:pt x="2182" y="1832"/>
                </a:lnTo>
                <a:lnTo>
                  <a:pt x="2174" y="1840"/>
                </a:lnTo>
                <a:lnTo>
                  <a:pt x="2167" y="1849"/>
                </a:lnTo>
                <a:lnTo>
                  <a:pt x="2163" y="1854"/>
                </a:lnTo>
                <a:lnTo>
                  <a:pt x="2160" y="1859"/>
                </a:lnTo>
                <a:lnTo>
                  <a:pt x="2154" y="1870"/>
                </a:lnTo>
                <a:lnTo>
                  <a:pt x="2148" y="1881"/>
                </a:lnTo>
                <a:lnTo>
                  <a:pt x="2144" y="1894"/>
                </a:lnTo>
                <a:lnTo>
                  <a:pt x="2140" y="1907"/>
                </a:lnTo>
                <a:lnTo>
                  <a:pt x="2137" y="1920"/>
                </a:lnTo>
                <a:lnTo>
                  <a:pt x="2135" y="1934"/>
                </a:lnTo>
                <a:lnTo>
                  <a:pt x="2135" y="1941"/>
                </a:lnTo>
                <a:lnTo>
                  <a:pt x="2135" y="1948"/>
                </a:lnTo>
                <a:lnTo>
                  <a:pt x="2135" y="1962"/>
                </a:lnTo>
                <a:lnTo>
                  <a:pt x="2136" y="1974"/>
                </a:lnTo>
                <a:lnTo>
                  <a:pt x="2138" y="1986"/>
                </a:lnTo>
                <a:lnTo>
                  <a:pt x="2140" y="1991"/>
                </a:lnTo>
                <a:lnTo>
                  <a:pt x="2141" y="1997"/>
                </a:lnTo>
                <a:lnTo>
                  <a:pt x="2145" y="2007"/>
                </a:lnTo>
                <a:lnTo>
                  <a:pt x="2147" y="2013"/>
                </a:lnTo>
                <a:lnTo>
                  <a:pt x="2150" y="2018"/>
                </a:lnTo>
                <a:lnTo>
                  <a:pt x="2152" y="2023"/>
                </a:lnTo>
                <a:lnTo>
                  <a:pt x="2155" y="2027"/>
                </a:lnTo>
                <a:lnTo>
                  <a:pt x="2158" y="2031"/>
                </a:lnTo>
                <a:lnTo>
                  <a:pt x="2161" y="2035"/>
                </a:lnTo>
                <a:lnTo>
                  <a:pt x="2164" y="2039"/>
                </a:lnTo>
                <a:lnTo>
                  <a:pt x="2167" y="2043"/>
                </a:lnTo>
                <a:lnTo>
                  <a:pt x="2175" y="2050"/>
                </a:lnTo>
                <a:lnTo>
                  <a:pt x="2182" y="2055"/>
                </a:lnTo>
                <a:lnTo>
                  <a:pt x="2192" y="2060"/>
                </a:lnTo>
                <a:lnTo>
                  <a:pt x="2201" y="2064"/>
                </a:lnTo>
                <a:lnTo>
                  <a:pt x="2211" y="2067"/>
                </a:lnTo>
                <a:lnTo>
                  <a:pt x="2221" y="2068"/>
                </a:lnTo>
                <a:lnTo>
                  <a:pt x="2226" y="2069"/>
                </a:lnTo>
                <a:lnTo>
                  <a:pt x="2231" y="2069"/>
                </a:lnTo>
                <a:lnTo>
                  <a:pt x="2242" y="2068"/>
                </a:lnTo>
                <a:lnTo>
                  <a:pt x="2253" y="2067"/>
                </a:lnTo>
                <a:lnTo>
                  <a:pt x="2263" y="2064"/>
                </a:lnTo>
                <a:lnTo>
                  <a:pt x="2273" y="2061"/>
                </a:lnTo>
                <a:lnTo>
                  <a:pt x="2282" y="2057"/>
                </a:lnTo>
                <a:lnTo>
                  <a:pt x="2291" y="2052"/>
                </a:lnTo>
                <a:lnTo>
                  <a:pt x="2299" y="2046"/>
                </a:lnTo>
                <a:lnTo>
                  <a:pt x="2308" y="2039"/>
                </a:lnTo>
                <a:lnTo>
                  <a:pt x="2317" y="2032"/>
                </a:lnTo>
                <a:lnTo>
                  <a:pt x="2324" y="2024"/>
                </a:lnTo>
                <a:lnTo>
                  <a:pt x="2332" y="2016"/>
                </a:lnTo>
                <a:lnTo>
                  <a:pt x="2339" y="2006"/>
                </a:lnTo>
                <a:lnTo>
                  <a:pt x="2351" y="1986"/>
                </a:lnTo>
                <a:lnTo>
                  <a:pt x="2357" y="1976"/>
                </a:lnTo>
                <a:lnTo>
                  <a:pt x="2363" y="1965"/>
                </a:lnTo>
                <a:lnTo>
                  <a:pt x="2368" y="1954"/>
                </a:lnTo>
                <a:lnTo>
                  <a:pt x="2374" y="1942"/>
                </a:lnTo>
                <a:lnTo>
                  <a:pt x="2378" y="1930"/>
                </a:lnTo>
                <a:lnTo>
                  <a:pt x="2383" y="1919"/>
                </a:lnTo>
                <a:lnTo>
                  <a:pt x="2386" y="1907"/>
                </a:lnTo>
                <a:lnTo>
                  <a:pt x="2390" y="1895"/>
                </a:lnTo>
                <a:lnTo>
                  <a:pt x="2393" y="1882"/>
                </a:lnTo>
                <a:lnTo>
                  <a:pt x="2395" y="1870"/>
                </a:lnTo>
                <a:lnTo>
                  <a:pt x="2398" y="1858"/>
                </a:lnTo>
                <a:lnTo>
                  <a:pt x="2399" y="1846"/>
                </a:lnTo>
                <a:lnTo>
                  <a:pt x="2401" y="1834"/>
                </a:lnTo>
                <a:lnTo>
                  <a:pt x="2402" y="1822"/>
                </a:lnTo>
                <a:lnTo>
                  <a:pt x="2403" y="1810"/>
                </a:lnTo>
                <a:lnTo>
                  <a:pt x="2403" y="1799"/>
                </a:lnTo>
                <a:lnTo>
                  <a:pt x="2403" y="1788"/>
                </a:lnTo>
                <a:lnTo>
                  <a:pt x="2402" y="1778"/>
                </a:lnTo>
                <a:lnTo>
                  <a:pt x="2403" y="1776"/>
                </a:lnTo>
                <a:lnTo>
                  <a:pt x="2405" y="1773"/>
                </a:lnTo>
                <a:lnTo>
                  <a:pt x="2407" y="1770"/>
                </a:lnTo>
                <a:lnTo>
                  <a:pt x="2410" y="1769"/>
                </a:lnTo>
                <a:lnTo>
                  <a:pt x="2417" y="1766"/>
                </a:lnTo>
                <a:lnTo>
                  <a:pt x="2421" y="1765"/>
                </a:lnTo>
                <a:lnTo>
                  <a:pt x="2425" y="1765"/>
                </a:lnTo>
                <a:lnTo>
                  <a:pt x="2433" y="1765"/>
                </a:lnTo>
                <a:lnTo>
                  <a:pt x="2436" y="1766"/>
                </a:lnTo>
                <a:lnTo>
                  <a:pt x="2439" y="1767"/>
                </a:lnTo>
                <a:lnTo>
                  <a:pt x="2445" y="1770"/>
                </a:lnTo>
                <a:lnTo>
                  <a:pt x="2448" y="1773"/>
                </a:lnTo>
                <a:lnTo>
                  <a:pt x="2450" y="1775"/>
                </a:lnTo>
                <a:lnTo>
                  <a:pt x="2454" y="1781"/>
                </a:lnTo>
                <a:lnTo>
                  <a:pt x="2456" y="1784"/>
                </a:lnTo>
                <a:lnTo>
                  <a:pt x="2457" y="1788"/>
                </a:lnTo>
                <a:lnTo>
                  <a:pt x="2458" y="1793"/>
                </a:lnTo>
                <a:lnTo>
                  <a:pt x="2459" y="1797"/>
                </a:lnTo>
                <a:lnTo>
                  <a:pt x="2459" y="1803"/>
                </a:lnTo>
                <a:lnTo>
                  <a:pt x="2460" y="1809"/>
                </a:lnTo>
                <a:lnTo>
                  <a:pt x="2459" y="1824"/>
                </a:lnTo>
                <a:lnTo>
                  <a:pt x="2458" y="1841"/>
                </a:lnTo>
                <a:lnTo>
                  <a:pt x="2457" y="1856"/>
                </a:lnTo>
                <a:lnTo>
                  <a:pt x="2455" y="1871"/>
                </a:lnTo>
                <a:lnTo>
                  <a:pt x="2452" y="1886"/>
                </a:lnTo>
                <a:lnTo>
                  <a:pt x="2449" y="1902"/>
                </a:lnTo>
                <a:lnTo>
                  <a:pt x="2446" y="1916"/>
                </a:lnTo>
                <a:lnTo>
                  <a:pt x="2442" y="1930"/>
                </a:lnTo>
                <a:lnTo>
                  <a:pt x="2437" y="1944"/>
                </a:lnTo>
                <a:lnTo>
                  <a:pt x="2432" y="1959"/>
                </a:lnTo>
                <a:lnTo>
                  <a:pt x="2426" y="1972"/>
                </a:lnTo>
                <a:lnTo>
                  <a:pt x="2420" y="1985"/>
                </a:lnTo>
                <a:lnTo>
                  <a:pt x="2414" y="1997"/>
                </a:lnTo>
                <a:lnTo>
                  <a:pt x="2408" y="2009"/>
                </a:lnTo>
                <a:lnTo>
                  <a:pt x="2401" y="2022"/>
                </a:lnTo>
                <a:lnTo>
                  <a:pt x="2394" y="2033"/>
                </a:lnTo>
                <a:lnTo>
                  <a:pt x="2386" y="2043"/>
                </a:lnTo>
                <a:lnTo>
                  <a:pt x="2378" y="2054"/>
                </a:lnTo>
                <a:lnTo>
                  <a:pt x="2369" y="2063"/>
                </a:lnTo>
                <a:lnTo>
                  <a:pt x="2360" y="2073"/>
                </a:lnTo>
                <a:lnTo>
                  <a:pt x="2351" y="2082"/>
                </a:lnTo>
                <a:lnTo>
                  <a:pt x="2341" y="2090"/>
                </a:lnTo>
                <a:lnTo>
                  <a:pt x="2332" y="2097"/>
                </a:lnTo>
                <a:lnTo>
                  <a:pt x="2322" y="2103"/>
                </a:lnTo>
                <a:lnTo>
                  <a:pt x="2311" y="2109"/>
                </a:lnTo>
                <a:lnTo>
                  <a:pt x="2300" y="2114"/>
                </a:lnTo>
                <a:lnTo>
                  <a:pt x="2289" y="2119"/>
                </a:lnTo>
                <a:lnTo>
                  <a:pt x="2278" y="2122"/>
                </a:lnTo>
                <a:lnTo>
                  <a:pt x="2266" y="2125"/>
                </a:lnTo>
                <a:lnTo>
                  <a:pt x="2255" y="2127"/>
                </a:lnTo>
                <a:lnTo>
                  <a:pt x="2242" y="2129"/>
                </a:lnTo>
                <a:lnTo>
                  <a:pt x="2229" y="2129"/>
                </a:lnTo>
                <a:close/>
                <a:moveTo>
                  <a:pt x="2617" y="2123"/>
                </a:moveTo>
                <a:lnTo>
                  <a:pt x="2615" y="2123"/>
                </a:lnTo>
                <a:lnTo>
                  <a:pt x="2613" y="2123"/>
                </a:lnTo>
                <a:lnTo>
                  <a:pt x="2607" y="2120"/>
                </a:lnTo>
                <a:lnTo>
                  <a:pt x="2600" y="2116"/>
                </a:lnTo>
                <a:lnTo>
                  <a:pt x="2593" y="2110"/>
                </a:lnTo>
                <a:lnTo>
                  <a:pt x="2580" y="2099"/>
                </a:lnTo>
                <a:lnTo>
                  <a:pt x="2565" y="2085"/>
                </a:lnTo>
                <a:lnTo>
                  <a:pt x="2548" y="2068"/>
                </a:lnTo>
                <a:lnTo>
                  <a:pt x="2532" y="2051"/>
                </a:lnTo>
                <a:lnTo>
                  <a:pt x="2516" y="2034"/>
                </a:lnTo>
                <a:lnTo>
                  <a:pt x="2501" y="2018"/>
                </a:lnTo>
                <a:lnTo>
                  <a:pt x="2489" y="2003"/>
                </a:lnTo>
                <a:lnTo>
                  <a:pt x="2485" y="1997"/>
                </a:lnTo>
                <a:lnTo>
                  <a:pt x="2481" y="1991"/>
                </a:lnTo>
                <a:lnTo>
                  <a:pt x="2476" y="1981"/>
                </a:lnTo>
                <a:lnTo>
                  <a:pt x="2472" y="1971"/>
                </a:lnTo>
                <a:lnTo>
                  <a:pt x="2470" y="1962"/>
                </a:lnTo>
                <a:lnTo>
                  <a:pt x="2469" y="1952"/>
                </a:lnTo>
                <a:lnTo>
                  <a:pt x="2469" y="1945"/>
                </a:lnTo>
                <a:lnTo>
                  <a:pt x="2470" y="1940"/>
                </a:lnTo>
                <a:lnTo>
                  <a:pt x="2472" y="1934"/>
                </a:lnTo>
                <a:lnTo>
                  <a:pt x="2474" y="1928"/>
                </a:lnTo>
                <a:lnTo>
                  <a:pt x="2476" y="1922"/>
                </a:lnTo>
                <a:lnTo>
                  <a:pt x="2479" y="1915"/>
                </a:lnTo>
                <a:lnTo>
                  <a:pt x="2483" y="1909"/>
                </a:lnTo>
                <a:lnTo>
                  <a:pt x="2488" y="1902"/>
                </a:lnTo>
                <a:lnTo>
                  <a:pt x="2497" y="1890"/>
                </a:lnTo>
                <a:lnTo>
                  <a:pt x="2508" y="1876"/>
                </a:lnTo>
                <a:lnTo>
                  <a:pt x="2538" y="1842"/>
                </a:lnTo>
                <a:lnTo>
                  <a:pt x="2574" y="1802"/>
                </a:lnTo>
                <a:lnTo>
                  <a:pt x="2609" y="1761"/>
                </a:lnTo>
                <a:lnTo>
                  <a:pt x="2611" y="1761"/>
                </a:lnTo>
                <a:lnTo>
                  <a:pt x="2614" y="1760"/>
                </a:lnTo>
                <a:lnTo>
                  <a:pt x="2618" y="1761"/>
                </a:lnTo>
                <a:lnTo>
                  <a:pt x="2622" y="1762"/>
                </a:lnTo>
                <a:lnTo>
                  <a:pt x="2626" y="1764"/>
                </a:lnTo>
                <a:lnTo>
                  <a:pt x="2630" y="1766"/>
                </a:lnTo>
                <a:lnTo>
                  <a:pt x="2635" y="1769"/>
                </a:lnTo>
                <a:lnTo>
                  <a:pt x="2638" y="1774"/>
                </a:lnTo>
                <a:lnTo>
                  <a:pt x="2642" y="1778"/>
                </a:lnTo>
                <a:lnTo>
                  <a:pt x="2645" y="1783"/>
                </a:lnTo>
                <a:lnTo>
                  <a:pt x="2646" y="1788"/>
                </a:lnTo>
                <a:lnTo>
                  <a:pt x="2647" y="1793"/>
                </a:lnTo>
                <a:lnTo>
                  <a:pt x="2646" y="1798"/>
                </a:lnTo>
                <a:lnTo>
                  <a:pt x="2644" y="1803"/>
                </a:lnTo>
                <a:lnTo>
                  <a:pt x="2641" y="1809"/>
                </a:lnTo>
                <a:lnTo>
                  <a:pt x="2638" y="1815"/>
                </a:lnTo>
                <a:lnTo>
                  <a:pt x="2629" y="1825"/>
                </a:lnTo>
                <a:lnTo>
                  <a:pt x="2618" y="1840"/>
                </a:lnTo>
                <a:lnTo>
                  <a:pt x="2588" y="1873"/>
                </a:lnTo>
                <a:lnTo>
                  <a:pt x="2558" y="1907"/>
                </a:lnTo>
                <a:lnTo>
                  <a:pt x="2545" y="1921"/>
                </a:lnTo>
                <a:lnTo>
                  <a:pt x="2536" y="1933"/>
                </a:lnTo>
                <a:lnTo>
                  <a:pt x="2533" y="1937"/>
                </a:lnTo>
                <a:lnTo>
                  <a:pt x="2532" y="1940"/>
                </a:lnTo>
                <a:lnTo>
                  <a:pt x="2531" y="1944"/>
                </a:lnTo>
                <a:lnTo>
                  <a:pt x="2530" y="1948"/>
                </a:lnTo>
                <a:lnTo>
                  <a:pt x="2531" y="1953"/>
                </a:lnTo>
                <a:lnTo>
                  <a:pt x="2532" y="1957"/>
                </a:lnTo>
                <a:lnTo>
                  <a:pt x="2534" y="1962"/>
                </a:lnTo>
                <a:lnTo>
                  <a:pt x="2537" y="1967"/>
                </a:lnTo>
                <a:lnTo>
                  <a:pt x="2545" y="1976"/>
                </a:lnTo>
                <a:lnTo>
                  <a:pt x="2556" y="1987"/>
                </a:lnTo>
                <a:lnTo>
                  <a:pt x="2583" y="2017"/>
                </a:lnTo>
                <a:lnTo>
                  <a:pt x="2616" y="2050"/>
                </a:lnTo>
                <a:lnTo>
                  <a:pt x="2647" y="2081"/>
                </a:lnTo>
                <a:lnTo>
                  <a:pt x="2649" y="2083"/>
                </a:lnTo>
                <a:lnTo>
                  <a:pt x="2650" y="2085"/>
                </a:lnTo>
                <a:lnTo>
                  <a:pt x="2651" y="2087"/>
                </a:lnTo>
                <a:lnTo>
                  <a:pt x="2652" y="2090"/>
                </a:lnTo>
                <a:lnTo>
                  <a:pt x="2651" y="2095"/>
                </a:lnTo>
                <a:lnTo>
                  <a:pt x="2650" y="2098"/>
                </a:lnTo>
                <a:lnTo>
                  <a:pt x="2648" y="2101"/>
                </a:lnTo>
                <a:lnTo>
                  <a:pt x="2645" y="2107"/>
                </a:lnTo>
                <a:lnTo>
                  <a:pt x="2643" y="2109"/>
                </a:lnTo>
                <a:lnTo>
                  <a:pt x="2640" y="2112"/>
                </a:lnTo>
                <a:lnTo>
                  <a:pt x="2635" y="2116"/>
                </a:lnTo>
                <a:lnTo>
                  <a:pt x="2632" y="2118"/>
                </a:lnTo>
                <a:lnTo>
                  <a:pt x="2629" y="2120"/>
                </a:lnTo>
                <a:lnTo>
                  <a:pt x="2623" y="2123"/>
                </a:lnTo>
                <a:lnTo>
                  <a:pt x="2620" y="2123"/>
                </a:lnTo>
                <a:lnTo>
                  <a:pt x="2617" y="2123"/>
                </a:lnTo>
                <a:close/>
                <a:moveTo>
                  <a:pt x="2229" y="3095"/>
                </a:moveTo>
                <a:lnTo>
                  <a:pt x="2222" y="3094"/>
                </a:lnTo>
                <a:lnTo>
                  <a:pt x="2214" y="3094"/>
                </a:lnTo>
                <a:lnTo>
                  <a:pt x="2207" y="3093"/>
                </a:lnTo>
                <a:lnTo>
                  <a:pt x="2199" y="3090"/>
                </a:lnTo>
                <a:lnTo>
                  <a:pt x="2192" y="3088"/>
                </a:lnTo>
                <a:lnTo>
                  <a:pt x="2184" y="3086"/>
                </a:lnTo>
                <a:lnTo>
                  <a:pt x="2170" y="3080"/>
                </a:lnTo>
                <a:lnTo>
                  <a:pt x="2157" y="3073"/>
                </a:lnTo>
                <a:lnTo>
                  <a:pt x="2151" y="3069"/>
                </a:lnTo>
                <a:lnTo>
                  <a:pt x="2145" y="3064"/>
                </a:lnTo>
                <a:lnTo>
                  <a:pt x="2139" y="3059"/>
                </a:lnTo>
                <a:lnTo>
                  <a:pt x="2133" y="3054"/>
                </a:lnTo>
                <a:lnTo>
                  <a:pt x="2127" y="3049"/>
                </a:lnTo>
                <a:lnTo>
                  <a:pt x="2122" y="3043"/>
                </a:lnTo>
                <a:lnTo>
                  <a:pt x="2117" y="3037"/>
                </a:lnTo>
                <a:lnTo>
                  <a:pt x="2112" y="3029"/>
                </a:lnTo>
                <a:lnTo>
                  <a:pt x="2108" y="3023"/>
                </a:lnTo>
                <a:lnTo>
                  <a:pt x="2104" y="3016"/>
                </a:lnTo>
                <a:lnTo>
                  <a:pt x="2100" y="3009"/>
                </a:lnTo>
                <a:lnTo>
                  <a:pt x="2096" y="3001"/>
                </a:lnTo>
                <a:lnTo>
                  <a:pt x="2093" y="2994"/>
                </a:lnTo>
                <a:lnTo>
                  <a:pt x="2090" y="2986"/>
                </a:lnTo>
                <a:lnTo>
                  <a:pt x="2087" y="2978"/>
                </a:lnTo>
                <a:lnTo>
                  <a:pt x="2085" y="2969"/>
                </a:lnTo>
                <a:lnTo>
                  <a:pt x="2083" y="2961"/>
                </a:lnTo>
                <a:lnTo>
                  <a:pt x="2081" y="2952"/>
                </a:lnTo>
                <a:lnTo>
                  <a:pt x="2080" y="2943"/>
                </a:lnTo>
                <a:lnTo>
                  <a:pt x="2079" y="2934"/>
                </a:lnTo>
                <a:lnTo>
                  <a:pt x="2078" y="2925"/>
                </a:lnTo>
                <a:lnTo>
                  <a:pt x="2078" y="2916"/>
                </a:lnTo>
                <a:lnTo>
                  <a:pt x="2079" y="2897"/>
                </a:lnTo>
                <a:lnTo>
                  <a:pt x="2080" y="2887"/>
                </a:lnTo>
                <a:lnTo>
                  <a:pt x="2081" y="2878"/>
                </a:lnTo>
                <a:lnTo>
                  <a:pt x="2083" y="2869"/>
                </a:lnTo>
                <a:lnTo>
                  <a:pt x="2085" y="2860"/>
                </a:lnTo>
                <a:lnTo>
                  <a:pt x="2088" y="2852"/>
                </a:lnTo>
                <a:lnTo>
                  <a:pt x="2090" y="2842"/>
                </a:lnTo>
                <a:lnTo>
                  <a:pt x="2093" y="2834"/>
                </a:lnTo>
                <a:lnTo>
                  <a:pt x="2097" y="2825"/>
                </a:lnTo>
                <a:lnTo>
                  <a:pt x="2101" y="2817"/>
                </a:lnTo>
                <a:lnTo>
                  <a:pt x="2105" y="2810"/>
                </a:lnTo>
                <a:lnTo>
                  <a:pt x="2109" y="2802"/>
                </a:lnTo>
                <a:lnTo>
                  <a:pt x="2114" y="2795"/>
                </a:lnTo>
                <a:lnTo>
                  <a:pt x="2124" y="2780"/>
                </a:lnTo>
                <a:lnTo>
                  <a:pt x="2131" y="2773"/>
                </a:lnTo>
                <a:lnTo>
                  <a:pt x="2136" y="2767"/>
                </a:lnTo>
                <a:lnTo>
                  <a:pt x="2149" y="2756"/>
                </a:lnTo>
                <a:lnTo>
                  <a:pt x="2155" y="2751"/>
                </a:lnTo>
                <a:lnTo>
                  <a:pt x="2162" y="2746"/>
                </a:lnTo>
                <a:lnTo>
                  <a:pt x="2169" y="2741"/>
                </a:lnTo>
                <a:lnTo>
                  <a:pt x="2176" y="2737"/>
                </a:lnTo>
                <a:lnTo>
                  <a:pt x="2183" y="2734"/>
                </a:lnTo>
                <a:lnTo>
                  <a:pt x="2191" y="2730"/>
                </a:lnTo>
                <a:lnTo>
                  <a:pt x="2199" y="2727"/>
                </a:lnTo>
                <a:lnTo>
                  <a:pt x="2207" y="2725"/>
                </a:lnTo>
                <a:lnTo>
                  <a:pt x="2215" y="2723"/>
                </a:lnTo>
                <a:lnTo>
                  <a:pt x="2223" y="2721"/>
                </a:lnTo>
                <a:lnTo>
                  <a:pt x="2231" y="2721"/>
                </a:lnTo>
                <a:lnTo>
                  <a:pt x="2239" y="2720"/>
                </a:lnTo>
                <a:lnTo>
                  <a:pt x="2249" y="2721"/>
                </a:lnTo>
                <a:lnTo>
                  <a:pt x="2255" y="2721"/>
                </a:lnTo>
                <a:lnTo>
                  <a:pt x="2260" y="2722"/>
                </a:lnTo>
                <a:lnTo>
                  <a:pt x="2264" y="2723"/>
                </a:lnTo>
                <a:lnTo>
                  <a:pt x="2269" y="2725"/>
                </a:lnTo>
                <a:lnTo>
                  <a:pt x="2277" y="2728"/>
                </a:lnTo>
                <a:lnTo>
                  <a:pt x="2285" y="2733"/>
                </a:lnTo>
                <a:lnTo>
                  <a:pt x="2293" y="2737"/>
                </a:lnTo>
                <a:lnTo>
                  <a:pt x="2299" y="2743"/>
                </a:lnTo>
                <a:lnTo>
                  <a:pt x="2305" y="2749"/>
                </a:lnTo>
                <a:lnTo>
                  <a:pt x="2308" y="2752"/>
                </a:lnTo>
                <a:lnTo>
                  <a:pt x="2312" y="2755"/>
                </a:lnTo>
                <a:lnTo>
                  <a:pt x="2316" y="2762"/>
                </a:lnTo>
                <a:lnTo>
                  <a:pt x="2320" y="2770"/>
                </a:lnTo>
                <a:lnTo>
                  <a:pt x="2324" y="2778"/>
                </a:lnTo>
                <a:lnTo>
                  <a:pt x="2326" y="2787"/>
                </a:lnTo>
                <a:lnTo>
                  <a:pt x="2328" y="2797"/>
                </a:lnTo>
                <a:lnTo>
                  <a:pt x="2329" y="2807"/>
                </a:lnTo>
                <a:lnTo>
                  <a:pt x="2330" y="2817"/>
                </a:lnTo>
                <a:lnTo>
                  <a:pt x="2329" y="2829"/>
                </a:lnTo>
                <a:lnTo>
                  <a:pt x="2328" y="2835"/>
                </a:lnTo>
                <a:lnTo>
                  <a:pt x="2327" y="2842"/>
                </a:lnTo>
                <a:lnTo>
                  <a:pt x="2323" y="2854"/>
                </a:lnTo>
                <a:lnTo>
                  <a:pt x="2318" y="2866"/>
                </a:lnTo>
                <a:lnTo>
                  <a:pt x="2312" y="2877"/>
                </a:lnTo>
                <a:lnTo>
                  <a:pt x="2303" y="2888"/>
                </a:lnTo>
                <a:lnTo>
                  <a:pt x="2299" y="2893"/>
                </a:lnTo>
                <a:lnTo>
                  <a:pt x="2295" y="2898"/>
                </a:lnTo>
                <a:lnTo>
                  <a:pt x="2286" y="2907"/>
                </a:lnTo>
                <a:lnTo>
                  <a:pt x="2276" y="2916"/>
                </a:lnTo>
                <a:lnTo>
                  <a:pt x="2271" y="2920"/>
                </a:lnTo>
                <a:lnTo>
                  <a:pt x="2265" y="2924"/>
                </a:lnTo>
                <a:lnTo>
                  <a:pt x="2254" y="2931"/>
                </a:lnTo>
                <a:lnTo>
                  <a:pt x="2241" y="2936"/>
                </a:lnTo>
                <a:lnTo>
                  <a:pt x="2229" y="2941"/>
                </a:lnTo>
                <a:lnTo>
                  <a:pt x="2223" y="2943"/>
                </a:lnTo>
                <a:lnTo>
                  <a:pt x="2217" y="2944"/>
                </a:lnTo>
                <a:lnTo>
                  <a:pt x="2211" y="2945"/>
                </a:lnTo>
                <a:lnTo>
                  <a:pt x="2204" y="2946"/>
                </a:lnTo>
                <a:lnTo>
                  <a:pt x="2192" y="2947"/>
                </a:lnTo>
                <a:lnTo>
                  <a:pt x="2185" y="2946"/>
                </a:lnTo>
                <a:lnTo>
                  <a:pt x="2180" y="2944"/>
                </a:lnTo>
                <a:lnTo>
                  <a:pt x="2176" y="2942"/>
                </a:lnTo>
                <a:lnTo>
                  <a:pt x="2174" y="2940"/>
                </a:lnTo>
                <a:lnTo>
                  <a:pt x="2172" y="2938"/>
                </a:lnTo>
                <a:lnTo>
                  <a:pt x="2169" y="2933"/>
                </a:lnTo>
                <a:lnTo>
                  <a:pt x="2167" y="2928"/>
                </a:lnTo>
                <a:lnTo>
                  <a:pt x="2166" y="2925"/>
                </a:lnTo>
                <a:lnTo>
                  <a:pt x="2165" y="2922"/>
                </a:lnTo>
                <a:lnTo>
                  <a:pt x="2165" y="2916"/>
                </a:lnTo>
                <a:lnTo>
                  <a:pt x="2165" y="2913"/>
                </a:lnTo>
                <a:lnTo>
                  <a:pt x="2165" y="2909"/>
                </a:lnTo>
                <a:lnTo>
                  <a:pt x="2166" y="2904"/>
                </a:lnTo>
                <a:lnTo>
                  <a:pt x="2167" y="2902"/>
                </a:lnTo>
                <a:lnTo>
                  <a:pt x="2168" y="2900"/>
                </a:lnTo>
                <a:lnTo>
                  <a:pt x="2170" y="2899"/>
                </a:lnTo>
                <a:lnTo>
                  <a:pt x="2172" y="2897"/>
                </a:lnTo>
                <a:lnTo>
                  <a:pt x="2183" y="2896"/>
                </a:lnTo>
                <a:lnTo>
                  <a:pt x="2194" y="2893"/>
                </a:lnTo>
                <a:lnTo>
                  <a:pt x="2204" y="2890"/>
                </a:lnTo>
                <a:lnTo>
                  <a:pt x="2214" y="2886"/>
                </a:lnTo>
                <a:lnTo>
                  <a:pt x="2223" y="2881"/>
                </a:lnTo>
                <a:lnTo>
                  <a:pt x="2231" y="2876"/>
                </a:lnTo>
                <a:lnTo>
                  <a:pt x="2239" y="2870"/>
                </a:lnTo>
                <a:lnTo>
                  <a:pt x="2243" y="2868"/>
                </a:lnTo>
                <a:lnTo>
                  <a:pt x="2246" y="2865"/>
                </a:lnTo>
                <a:lnTo>
                  <a:pt x="2254" y="2858"/>
                </a:lnTo>
                <a:lnTo>
                  <a:pt x="2260" y="2852"/>
                </a:lnTo>
                <a:lnTo>
                  <a:pt x="2265" y="2844"/>
                </a:lnTo>
                <a:lnTo>
                  <a:pt x="2269" y="2837"/>
                </a:lnTo>
                <a:lnTo>
                  <a:pt x="2272" y="2830"/>
                </a:lnTo>
                <a:lnTo>
                  <a:pt x="2274" y="2823"/>
                </a:lnTo>
                <a:lnTo>
                  <a:pt x="2276" y="2816"/>
                </a:lnTo>
                <a:lnTo>
                  <a:pt x="2276" y="2809"/>
                </a:lnTo>
                <a:lnTo>
                  <a:pt x="2276" y="2801"/>
                </a:lnTo>
                <a:lnTo>
                  <a:pt x="2274" y="2794"/>
                </a:lnTo>
                <a:lnTo>
                  <a:pt x="2272" y="2789"/>
                </a:lnTo>
                <a:lnTo>
                  <a:pt x="2270" y="2786"/>
                </a:lnTo>
                <a:lnTo>
                  <a:pt x="2268" y="2784"/>
                </a:lnTo>
                <a:lnTo>
                  <a:pt x="2266" y="2781"/>
                </a:lnTo>
                <a:lnTo>
                  <a:pt x="2260" y="2777"/>
                </a:lnTo>
                <a:lnTo>
                  <a:pt x="2257" y="2775"/>
                </a:lnTo>
                <a:lnTo>
                  <a:pt x="2253" y="2774"/>
                </a:lnTo>
                <a:lnTo>
                  <a:pt x="2244" y="2772"/>
                </a:lnTo>
                <a:lnTo>
                  <a:pt x="2240" y="2771"/>
                </a:lnTo>
                <a:lnTo>
                  <a:pt x="2235" y="2771"/>
                </a:lnTo>
                <a:lnTo>
                  <a:pt x="2226" y="2772"/>
                </a:lnTo>
                <a:lnTo>
                  <a:pt x="2222" y="2773"/>
                </a:lnTo>
                <a:lnTo>
                  <a:pt x="2218" y="2774"/>
                </a:lnTo>
                <a:lnTo>
                  <a:pt x="2213" y="2776"/>
                </a:lnTo>
                <a:lnTo>
                  <a:pt x="2209" y="2777"/>
                </a:lnTo>
                <a:lnTo>
                  <a:pt x="2204" y="2780"/>
                </a:lnTo>
                <a:lnTo>
                  <a:pt x="2200" y="2782"/>
                </a:lnTo>
                <a:lnTo>
                  <a:pt x="2196" y="2785"/>
                </a:lnTo>
                <a:lnTo>
                  <a:pt x="2191" y="2788"/>
                </a:lnTo>
                <a:lnTo>
                  <a:pt x="2182" y="2796"/>
                </a:lnTo>
                <a:lnTo>
                  <a:pt x="2174" y="2804"/>
                </a:lnTo>
                <a:lnTo>
                  <a:pt x="2167" y="2813"/>
                </a:lnTo>
                <a:lnTo>
                  <a:pt x="2163" y="2818"/>
                </a:lnTo>
                <a:lnTo>
                  <a:pt x="2160" y="2823"/>
                </a:lnTo>
                <a:lnTo>
                  <a:pt x="2154" y="2834"/>
                </a:lnTo>
                <a:lnTo>
                  <a:pt x="2148" y="2845"/>
                </a:lnTo>
                <a:lnTo>
                  <a:pt x="2144" y="2859"/>
                </a:lnTo>
                <a:lnTo>
                  <a:pt x="2140" y="2871"/>
                </a:lnTo>
                <a:lnTo>
                  <a:pt x="2137" y="2885"/>
                </a:lnTo>
                <a:lnTo>
                  <a:pt x="2135" y="2899"/>
                </a:lnTo>
                <a:lnTo>
                  <a:pt x="2135" y="2906"/>
                </a:lnTo>
                <a:lnTo>
                  <a:pt x="2135" y="2914"/>
                </a:lnTo>
                <a:lnTo>
                  <a:pt x="2135" y="2926"/>
                </a:lnTo>
                <a:lnTo>
                  <a:pt x="2136" y="2939"/>
                </a:lnTo>
                <a:lnTo>
                  <a:pt x="2138" y="2950"/>
                </a:lnTo>
                <a:lnTo>
                  <a:pt x="2140" y="2956"/>
                </a:lnTo>
                <a:lnTo>
                  <a:pt x="2141" y="2961"/>
                </a:lnTo>
                <a:lnTo>
                  <a:pt x="2145" y="2973"/>
                </a:lnTo>
                <a:lnTo>
                  <a:pt x="2147" y="2978"/>
                </a:lnTo>
                <a:lnTo>
                  <a:pt x="2150" y="2983"/>
                </a:lnTo>
                <a:lnTo>
                  <a:pt x="2152" y="2987"/>
                </a:lnTo>
                <a:lnTo>
                  <a:pt x="2155" y="2992"/>
                </a:lnTo>
                <a:lnTo>
                  <a:pt x="2158" y="2996"/>
                </a:lnTo>
                <a:lnTo>
                  <a:pt x="2161" y="3000"/>
                </a:lnTo>
                <a:lnTo>
                  <a:pt x="2164" y="3004"/>
                </a:lnTo>
                <a:lnTo>
                  <a:pt x="2167" y="3007"/>
                </a:lnTo>
                <a:lnTo>
                  <a:pt x="2175" y="3014"/>
                </a:lnTo>
                <a:lnTo>
                  <a:pt x="2182" y="3020"/>
                </a:lnTo>
                <a:lnTo>
                  <a:pt x="2192" y="3025"/>
                </a:lnTo>
                <a:lnTo>
                  <a:pt x="2201" y="3028"/>
                </a:lnTo>
                <a:lnTo>
                  <a:pt x="2211" y="3032"/>
                </a:lnTo>
                <a:lnTo>
                  <a:pt x="2221" y="3034"/>
                </a:lnTo>
                <a:lnTo>
                  <a:pt x="2226" y="3034"/>
                </a:lnTo>
                <a:lnTo>
                  <a:pt x="2231" y="3034"/>
                </a:lnTo>
                <a:lnTo>
                  <a:pt x="2242" y="3034"/>
                </a:lnTo>
                <a:lnTo>
                  <a:pt x="2253" y="3032"/>
                </a:lnTo>
                <a:lnTo>
                  <a:pt x="2263" y="3029"/>
                </a:lnTo>
                <a:lnTo>
                  <a:pt x="2273" y="3026"/>
                </a:lnTo>
                <a:lnTo>
                  <a:pt x="2282" y="3021"/>
                </a:lnTo>
                <a:lnTo>
                  <a:pt x="2291" y="3016"/>
                </a:lnTo>
                <a:lnTo>
                  <a:pt x="2299" y="3010"/>
                </a:lnTo>
                <a:lnTo>
                  <a:pt x="2308" y="3004"/>
                </a:lnTo>
                <a:lnTo>
                  <a:pt x="2317" y="2997"/>
                </a:lnTo>
                <a:lnTo>
                  <a:pt x="2324" y="2989"/>
                </a:lnTo>
                <a:lnTo>
                  <a:pt x="2332" y="2980"/>
                </a:lnTo>
                <a:lnTo>
                  <a:pt x="2339" y="2970"/>
                </a:lnTo>
                <a:lnTo>
                  <a:pt x="2351" y="2951"/>
                </a:lnTo>
                <a:lnTo>
                  <a:pt x="2357" y="2941"/>
                </a:lnTo>
                <a:lnTo>
                  <a:pt x="2363" y="2930"/>
                </a:lnTo>
                <a:lnTo>
                  <a:pt x="2368" y="2919"/>
                </a:lnTo>
                <a:lnTo>
                  <a:pt x="2374" y="2906"/>
                </a:lnTo>
                <a:lnTo>
                  <a:pt x="2378" y="2895"/>
                </a:lnTo>
                <a:lnTo>
                  <a:pt x="2383" y="2883"/>
                </a:lnTo>
                <a:lnTo>
                  <a:pt x="2386" y="2871"/>
                </a:lnTo>
                <a:lnTo>
                  <a:pt x="2390" y="2859"/>
                </a:lnTo>
                <a:lnTo>
                  <a:pt x="2393" y="2846"/>
                </a:lnTo>
                <a:lnTo>
                  <a:pt x="2395" y="2834"/>
                </a:lnTo>
                <a:lnTo>
                  <a:pt x="2398" y="2822"/>
                </a:lnTo>
                <a:lnTo>
                  <a:pt x="2399" y="2810"/>
                </a:lnTo>
                <a:lnTo>
                  <a:pt x="2401" y="2799"/>
                </a:lnTo>
                <a:lnTo>
                  <a:pt x="2402" y="2786"/>
                </a:lnTo>
                <a:lnTo>
                  <a:pt x="2403" y="2775"/>
                </a:lnTo>
                <a:lnTo>
                  <a:pt x="2403" y="2764"/>
                </a:lnTo>
                <a:lnTo>
                  <a:pt x="2403" y="2753"/>
                </a:lnTo>
                <a:lnTo>
                  <a:pt x="2402" y="2742"/>
                </a:lnTo>
                <a:lnTo>
                  <a:pt x="2403" y="2740"/>
                </a:lnTo>
                <a:lnTo>
                  <a:pt x="2405" y="2738"/>
                </a:lnTo>
                <a:lnTo>
                  <a:pt x="2407" y="2736"/>
                </a:lnTo>
                <a:lnTo>
                  <a:pt x="2410" y="2734"/>
                </a:lnTo>
                <a:lnTo>
                  <a:pt x="2417" y="2730"/>
                </a:lnTo>
                <a:lnTo>
                  <a:pt x="2421" y="2730"/>
                </a:lnTo>
                <a:lnTo>
                  <a:pt x="2425" y="2729"/>
                </a:lnTo>
                <a:lnTo>
                  <a:pt x="2433" y="2730"/>
                </a:lnTo>
                <a:lnTo>
                  <a:pt x="2436" y="2732"/>
                </a:lnTo>
                <a:lnTo>
                  <a:pt x="2439" y="2732"/>
                </a:lnTo>
                <a:lnTo>
                  <a:pt x="2445" y="2735"/>
                </a:lnTo>
                <a:lnTo>
                  <a:pt x="2448" y="2737"/>
                </a:lnTo>
                <a:lnTo>
                  <a:pt x="2450" y="2740"/>
                </a:lnTo>
                <a:lnTo>
                  <a:pt x="2454" y="2745"/>
                </a:lnTo>
                <a:lnTo>
                  <a:pt x="2456" y="2749"/>
                </a:lnTo>
                <a:lnTo>
                  <a:pt x="2457" y="2753"/>
                </a:lnTo>
                <a:lnTo>
                  <a:pt x="2458" y="2757"/>
                </a:lnTo>
                <a:lnTo>
                  <a:pt x="2459" y="2762"/>
                </a:lnTo>
                <a:lnTo>
                  <a:pt x="2459" y="2767"/>
                </a:lnTo>
                <a:lnTo>
                  <a:pt x="2460" y="2773"/>
                </a:lnTo>
                <a:lnTo>
                  <a:pt x="2459" y="2789"/>
                </a:lnTo>
                <a:lnTo>
                  <a:pt x="2458" y="2805"/>
                </a:lnTo>
                <a:lnTo>
                  <a:pt x="2457" y="2820"/>
                </a:lnTo>
                <a:lnTo>
                  <a:pt x="2455" y="2835"/>
                </a:lnTo>
                <a:lnTo>
                  <a:pt x="2452" y="2850"/>
                </a:lnTo>
                <a:lnTo>
                  <a:pt x="2449" y="2866"/>
                </a:lnTo>
                <a:lnTo>
                  <a:pt x="2446" y="2880"/>
                </a:lnTo>
                <a:lnTo>
                  <a:pt x="2442" y="2895"/>
                </a:lnTo>
                <a:lnTo>
                  <a:pt x="2437" y="2908"/>
                </a:lnTo>
                <a:lnTo>
                  <a:pt x="2432" y="2923"/>
                </a:lnTo>
                <a:lnTo>
                  <a:pt x="2426" y="2936"/>
                </a:lnTo>
                <a:lnTo>
                  <a:pt x="2420" y="2949"/>
                </a:lnTo>
                <a:lnTo>
                  <a:pt x="2414" y="2961"/>
                </a:lnTo>
                <a:lnTo>
                  <a:pt x="2408" y="2975"/>
                </a:lnTo>
                <a:lnTo>
                  <a:pt x="2401" y="2986"/>
                </a:lnTo>
                <a:lnTo>
                  <a:pt x="2394" y="2997"/>
                </a:lnTo>
                <a:lnTo>
                  <a:pt x="2386" y="3008"/>
                </a:lnTo>
                <a:lnTo>
                  <a:pt x="2378" y="3018"/>
                </a:lnTo>
                <a:lnTo>
                  <a:pt x="2369" y="3028"/>
                </a:lnTo>
                <a:lnTo>
                  <a:pt x="2360" y="3038"/>
                </a:lnTo>
                <a:lnTo>
                  <a:pt x="2351" y="3046"/>
                </a:lnTo>
                <a:lnTo>
                  <a:pt x="2341" y="3054"/>
                </a:lnTo>
                <a:lnTo>
                  <a:pt x="2332" y="3061"/>
                </a:lnTo>
                <a:lnTo>
                  <a:pt x="2322" y="3068"/>
                </a:lnTo>
                <a:lnTo>
                  <a:pt x="2311" y="3074"/>
                </a:lnTo>
                <a:lnTo>
                  <a:pt x="2300" y="3079"/>
                </a:lnTo>
                <a:lnTo>
                  <a:pt x="2289" y="3083"/>
                </a:lnTo>
                <a:lnTo>
                  <a:pt x="2278" y="3087"/>
                </a:lnTo>
                <a:lnTo>
                  <a:pt x="2266" y="3090"/>
                </a:lnTo>
                <a:lnTo>
                  <a:pt x="2255" y="3093"/>
                </a:lnTo>
                <a:lnTo>
                  <a:pt x="2242" y="3094"/>
                </a:lnTo>
                <a:lnTo>
                  <a:pt x="2229" y="3095"/>
                </a:lnTo>
                <a:close/>
                <a:moveTo>
                  <a:pt x="2617" y="3088"/>
                </a:moveTo>
                <a:lnTo>
                  <a:pt x="2615" y="3088"/>
                </a:lnTo>
                <a:lnTo>
                  <a:pt x="2613" y="3087"/>
                </a:lnTo>
                <a:lnTo>
                  <a:pt x="2607" y="3084"/>
                </a:lnTo>
                <a:lnTo>
                  <a:pt x="2600" y="3080"/>
                </a:lnTo>
                <a:lnTo>
                  <a:pt x="2593" y="3075"/>
                </a:lnTo>
                <a:lnTo>
                  <a:pt x="2580" y="3064"/>
                </a:lnTo>
                <a:lnTo>
                  <a:pt x="2565" y="3050"/>
                </a:lnTo>
                <a:lnTo>
                  <a:pt x="2548" y="3034"/>
                </a:lnTo>
                <a:lnTo>
                  <a:pt x="2532" y="3016"/>
                </a:lnTo>
                <a:lnTo>
                  <a:pt x="2516" y="2999"/>
                </a:lnTo>
                <a:lnTo>
                  <a:pt x="2501" y="2983"/>
                </a:lnTo>
                <a:lnTo>
                  <a:pt x="2489" y="2967"/>
                </a:lnTo>
                <a:lnTo>
                  <a:pt x="2485" y="2961"/>
                </a:lnTo>
                <a:lnTo>
                  <a:pt x="2481" y="2956"/>
                </a:lnTo>
                <a:lnTo>
                  <a:pt x="2476" y="2946"/>
                </a:lnTo>
                <a:lnTo>
                  <a:pt x="2472" y="2936"/>
                </a:lnTo>
                <a:lnTo>
                  <a:pt x="2470" y="2926"/>
                </a:lnTo>
                <a:lnTo>
                  <a:pt x="2469" y="2916"/>
                </a:lnTo>
                <a:lnTo>
                  <a:pt x="2469" y="2910"/>
                </a:lnTo>
                <a:lnTo>
                  <a:pt x="2470" y="2904"/>
                </a:lnTo>
                <a:lnTo>
                  <a:pt x="2472" y="2898"/>
                </a:lnTo>
                <a:lnTo>
                  <a:pt x="2474" y="2892"/>
                </a:lnTo>
                <a:lnTo>
                  <a:pt x="2476" y="2886"/>
                </a:lnTo>
                <a:lnTo>
                  <a:pt x="2479" y="2880"/>
                </a:lnTo>
                <a:lnTo>
                  <a:pt x="2483" y="2873"/>
                </a:lnTo>
                <a:lnTo>
                  <a:pt x="2488" y="2866"/>
                </a:lnTo>
                <a:lnTo>
                  <a:pt x="2497" y="2855"/>
                </a:lnTo>
                <a:lnTo>
                  <a:pt x="2508" y="2841"/>
                </a:lnTo>
                <a:lnTo>
                  <a:pt x="2538" y="2807"/>
                </a:lnTo>
                <a:lnTo>
                  <a:pt x="2574" y="2767"/>
                </a:lnTo>
                <a:lnTo>
                  <a:pt x="2609" y="2726"/>
                </a:lnTo>
                <a:lnTo>
                  <a:pt x="2611" y="2725"/>
                </a:lnTo>
                <a:lnTo>
                  <a:pt x="2614" y="2725"/>
                </a:lnTo>
                <a:lnTo>
                  <a:pt x="2618" y="2725"/>
                </a:lnTo>
                <a:lnTo>
                  <a:pt x="2622" y="2726"/>
                </a:lnTo>
                <a:lnTo>
                  <a:pt x="2626" y="2728"/>
                </a:lnTo>
                <a:lnTo>
                  <a:pt x="2630" y="2732"/>
                </a:lnTo>
                <a:lnTo>
                  <a:pt x="2635" y="2735"/>
                </a:lnTo>
                <a:lnTo>
                  <a:pt x="2638" y="2739"/>
                </a:lnTo>
                <a:lnTo>
                  <a:pt x="2642" y="2743"/>
                </a:lnTo>
                <a:lnTo>
                  <a:pt x="2645" y="2748"/>
                </a:lnTo>
                <a:lnTo>
                  <a:pt x="2646" y="2752"/>
                </a:lnTo>
                <a:lnTo>
                  <a:pt x="2647" y="2757"/>
                </a:lnTo>
                <a:lnTo>
                  <a:pt x="2646" y="2762"/>
                </a:lnTo>
                <a:lnTo>
                  <a:pt x="2644" y="2768"/>
                </a:lnTo>
                <a:lnTo>
                  <a:pt x="2641" y="2773"/>
                </a:lnTo>
                <a:lnTo>
                  <a:pt x="2638" y="2779"/>
                </a:lnTo>
                <a:lnTo>
                  <a:pt x="2629" y="2790"/>
                </a:lnTo>
                <a:lnTo>
                  <a:pt x="2618" y="2804"/>
                </a:lnTo>
                <a:lnTo>
                  <a:pt x="2588" y="2837"/>
                </a:lnTo>
                <a:lnTo>
                  <a:pt x="2558" y="2871"/>
                </a:lnTo>
                <a:lnTo>
                  <a:pt x="2545" y="2886"/>
                </a:lnTo>
                <a:lnTo>
                  <a:pt x="2536" y="2897"/>
                </a:lnTo>
                <a:lnTo>
                  <a:pt x="2533" y="2901"/>
                </a:lnTo>
                <a:lnTo>
                  <a:pt x="2532" y="2905"/>
                </a:lnTo>
                <a:lnTo>
                  <a:pt x="2531" y="2908"/>
                </a:lnTo>
                <a:lnTo>
                  <a:pt x="2530" y="2913"/>
                </a:lnTo>
                <a:lnTo>
                  <a:pt x="2531" y="2917"/>
                </a:lnTo>
                <a:lnTo>
                  <a:pt x="2532" y="2922"/>
                </a:lnTo>
                <a:lnTo>
                  <a:pt x="2534" y="2926"/>
                </a:lnTo>
                <a:lnTo>
                  <a:pt x="2537" y="2931"/>
                </a:lnTo>
                <a:lnTo>
                  <a:pt x="2545" y="2940"/>
                </a:lnTo>
                <a:lnTo>
                  <a:pt x="2556" y="2952"/>
                </a:lnTo>
                <a:lnTo>
                  <a:pt x="2583" y="2982"/>
                </a:lnTo>
                <a:lnTo>
                  <a:pt x="2616" y="3014"/>
                </a:lnTo>
                <a:lnTo>
                  <a:pt x="2647" y="3045"/>
                </a:lnTo>
                <a:lnTo>
                  <a:pt x="2649" y="3047"/>
                </a:lnTo>
                <a:lnTo>
                  <a:pt x="2650" y="3049"/>
                </a:lnTo>
                <a:lnTo>
                  <a:pt x="2651" y="3051"/>
                </a:lnTo>
                <a:lnTo>
                  <a:pt x="2652" y="3054"/>
                </a:lnTo>
                <a:lnTo>
                  <a:pt x="2651" y="3060"/>
                </a:lnTo>
                <a:lnTo>
                  <a:pt x="2650" y="3062"/>
                </a:lnTo>
                <a:lnTo>
                  <a:pt x="2648" y="3065"/>
                </a:lnTo>
                <a:lnTo>
                  <a:pt x="2645" y="3071"/>
                </a:lnTo>
                <a:lnTo>
                  <a:pt x="2643" y="3074"/>
                </a:lnTo>
                <a:lnTo>
                  <a:pt x="2640" y="3076"/>
                </a:lnTo>
                <a:lnTo>
                  <a:pt x="2635" y="3081"/>
                </a:lnTo>
                <a:lnTo>
                  <a:pt x="2632" y="3083"/>
                </a:lnTo>
                <a:lnTo>
                  <a:pt x="2629" y="3085"/>
                </a:lnTo>
                <a:lnTo>
                  <a:pt x="2623" y="3087"/>
                </a:lnTo>
                <a:lnTo>
                  <a:pt x="2620" y="3088"/>
                </a:lnTo>
                <a:lnTo>
                  <a:pt x="2617" y="3088"/>
                </a:lnTo>
                <a:close/>
                <a:moveTo>
                  <a:pt x="0" y="1063"/>
                </a:moveTo>
                <a:lnTo>
                  <a:pt x="8" y="1059"/>
                </a:lnTo>
                <a:lnTo>
                  <a:pt x="15" y="1054"/>
                </a:lnTo>
                <a:lnTo>
                  <a:pt x="22" y="1048"/>
                </a:lnTo>
                <a:lnTo>
                  <a:pt x="29" y="1042"/>
                </a:lnTo>
                <a:lnTo>
                  <a:pt x="36" y="1036"/>
                </a:lnTo>
                <a:lnTo>
                  <a:pt x="43" y="1029"/>
                </a:lnTo>
                <a:lnTo>
                  <a:pt x="49" y="1022"/>
                </a:lnTo>
                <a:lnTo>
                  <a:pt x="55" y="1014"/>
                </a:lnTo>
                <a:lnTo>
                  <a:pt x="66" y="998"/>
                </a:lnTo>
                <a:lnTo>
                  <a:pt x="76" y="980"/>
                </a:lnTo>
                <a:lnTo>
                  <a:pt x="81" y="971"/>
                </a:lnTo>
                <a:lnTo>
                  <a:pt x="85" y="962"/>
                </a:lnTo>
                <a:lnTo>
                  <a:pt x="94" y="943"/>
                </a:lnTo>
                <a:lnTo>
                  <a:pt x="101" y="922"/>
                </a:lnTo>
                <a:lnTo>
                  <a:pt x="107" y="902"/>
                </a:lnTo>
                <a:lnTo>
                  <a:pt x="112" y="882"/>
                </a:lnTo>
                <a:lnTo>
                  <a:pt x="116" y="860"/>
                </a:lnTo>
                <a:lnTo>
                  <a:pt x="118" y="841"/>
                </a:lnTo>
                <a:lnTo>
                  <a:pt x="120" y="821"/>
                </a:lnTo>
                <a:lnTo>
                  <a:pt x="121" y="802"/>
                </a:lnTo>
                <a:lnTo>
                  <a:pt x="120" y="793"/>
                </a:lnTo>
                <a:lnTo>
                  <a:pt x="120" y="784"/>
                </a:lnTo>
                <a:lnTo>
                  <a:pt x="121" y="781"/>
                </a:lnTo>
                <a:lnTo>
                  <a:pt x="123" y="779"/>
                </a:lnTo>
                <a:lnTo>
                  <a:pt x="125" y="777"/>
                </a:lnTo>
                <a:lnTo>
                  <a:pt x="128" y="775"/>
                </a:lnTo>
                <a:lnTo>
                  <a:pt x="134" y="773"/>
                </a:lnTo>
                <a:lnTo>
                  <a:pt x="138" y="772"/>
                </a:lnTo>
                <a:lnTo>
                  <a:pt x="142" y="772"/>
                </a:lnTo>
                <a:lnTo>
                  <a:pt x="149" y="772"/>
                </a:lnTo>
                <a:lnTo>
                  <a:pt x="154" y="773"/>
                </a:lnTo>
                <a:lnTo>
                  <a:pt x="157" y="774"/>
                </a:lnTo>
                <a:lnTo>
                  <a:pt x="163" y="777"/>
                </a:lnTo>
                <a:lnTo>
                  <a:pt x="165" y="779"/>
                </a:lnTo>
                <a:lnTo>
                  <a:pt x="168" y="781"/>
                </a:lnTo>
                <a:lnTo>
                  <a:pt x="172" y="787"/>
                </a:lnTo>
                <a:lnTo>
                  <a:pt x="173" y="790"/>
                </a:lnTo>
                <a:lnTo>
                  <a:pt x="175" y="794"/>
                </a:lnTo>
                <a:lnTo>
                  <a:pt x="176" y="798"/>
                </a:lnTo>
                <a:lnTo>
                  <a:pt x="177" y="803"/>
                </a:lnTo>
                <a:lnTo>
                  <a:pt x="177" y="809"/>
                </a:lnTo>
                <a:lnTo>
                  <a:pt x="177" y="815"/>
                </a:lnTo>
                <a:lnTo>
                  <a:pt x="177" y="829"/>
                </a:lnTo>
                <a:lnTo>
                  <a:pt x="176" y="842"/>
                </a:lnTo>
                <a:lnTo>
                  <a:pt x="175" y="855"/>
                </a:lnTo>
                <a:lnTo>
                  <a:pt x="173" y="868"/>
                </a:lnTo>
                <a:lnTo>
                  <a:pt x="171" y="882"/>
                </a:lnTo>
                <a:lnTo>
                  <a:pt x="169" y="895"/>
                </a:lnTo>
                <a:lnTo>
                  <a:pt x="163" y="920"/>
                </a:lnTo>
                <a:lnTo>
                  <a:pt x="160" y="933"/>
                </a:lnTo>
                <a:lnTo>
                  <a:pt x="157" y="945"/>
                </a:lnTo>
                <a:lnTo>
                  <a:pt x="153" y="957"/>
                </a:lnTo>
                <a:lnTo>
                  <a:pt x="147" y="969"/>
                </a:lnTo>
                <a:lnTo>
                  <a:pt x="138" y="992"/>
                </a:lnTo>
                <a:lnTo>
                  <a:pt x="127" y="1013"/>
                </a:lnTo>
                <a:lnTo>
                  <a:pt x="121" y="1023"/>
                </a:lnTo>
                <a:lnTo>
                  <a:pt x="115" y="1033"/>
                </a:lnTo>
                <a:lnTo>
                  <a:pt x="102" y="1053"/>
                </a:lnTo>
                <a:lnTo>
                  <a:pt x="95" y="1061"/>
                </a:lnTo>
                <a:lnTo>
                  <a:pt x="87" y="1070"/>
                </a:lnTo>
                <a:lnTo>
                  <a:pt x="79" y="1077"/>
                </a:lnTo>
                <a:lnTo>
                  <a:pt x="71" y="1085"/>
                </a:lnTo>
                <a:lnTo>
                  <a:pt x="63" y="1092"/>
                </a:lnTo>
                <a:lnTo>
                  <a:pt x="55" y="1098"/>
                </a:lnTo>
                <a:lnTo>
                  <a:pt x="47" y="1104"/>
                </a:lnTo>
                <a:lnTo>
                  <a:pt x="38" y="1110"/>
                </a:lnTo>
                <a:lnTo>
                  <a:pt x="28" y="1116"/>
                </a:lnTo>
                <a:lnTo>
                  <a:pt x="19" y="1120"/>
                </a:lnTo>
                <a:lnTo>
                  <a:pt x="0" y="1128"/>
                </a:lnTo>
                <a:lnTo>
                  <a:pt x="0" y="1063"/>
                </a:lnTo>
                <a:close/>
                <a:moveTo>
                  <a:pt x="0" y="772"/>
                </a:moveTo>
                <a:lnTo>
                  <a:pt x="6" y="775"/>
                </a:lnTo>
                <a:lnTo>
                  <a:pt x="11" y="779"/>
                </a:lnTo>
                <a:lnTo>
                  <a:pt x="20" y="787"/>
                </a:lnTo>
                <a:lnTo>
                  <a:pt x="24" y="791"/>
                </a:lnTo>
                <a:lnTo>
                  <a:pt x="28" y="796"/>
                </a:lnTo>
                <a:lnTo>
                  <a:pt x="32" y="801"/>
                </a:lnTo>
                <a:lnTo>
                  <a:pt x="35" y="806"/>
                </a:lnTo>
                <a:lnTo>
                  <a:pt x="38" y="813"/>
                </a:lnTo>
                <a:lnTo>
                  <a:pt x="41" y="819"/>
                </a:lnTo>
                <a:lnTo>
                  <a:pt x="43" y="825"/>
                </a:lnTo>
                <a:lnTo>
                  <a:pt x="44" y="831"/>
                </a:lnTo>
                <a:lnTo>
                  <a:pt x="46" y="838"/>
                </a:lnTo>
                <a:lnTo>
                  <a:pt x="47" y="844"/>
                </a:lnTo>
                <a:lnTo>
                  <a:pt x="47" y="851"/>
                </a:lnTo>
                <a:lnTo>
                  <a:pt x="47" y="858"/>
                </a:lnTo>
                <a:lnTo>
                  <a:pt x="47" y="872"/>
                </a:lnTo>
                <a:lnTo>
                  <a:pt x="45" y="879"/>
                </a:lnTo>
                <a:lnTo>
                  <a:pt x="44" y="885"/>
                </a:lnTo>
                <a:lnTo>
                  <a:pt x="42" y="891"/>
                </a:lnTo>
                <a:lnTo>
                  <a:pt x="40" y="897"/>
                </a:lnTo>
                <a:lnTo>
                  <a:pt x="37" y="903"/>
                </a:lnTo>
                <a:lnTo>
                  <a:pt x="35" y="909"/>
                </a:lnTo>
                <a:lnTo>
                  <a:pt x="31" y="915"/>
                </a:lnTo>
                <a:lnTo>
                  <a:pt x="27" y="921"/>
                </a:lnTo>
                <a:lnTo>
                  <a:pt x="19" y="933"/>
                </a:lnTo>
                <a:lnTo>
                  <a:pt x="15" y="938"/>
                </a:lnTo>
                <a:lnTo>
                  <a:pt x="10" y="943"/>
                </a:lnTo>
                <a:lnTo>
                  <a:pt x="0" y="952"/>
                </a:lnTo>
                <a:lnTo>
                  <a:pt x="0" y="772"/>
                </a:lnTo>
                <a:close/>
                <a:moveTo>
                  <a:pt x="335" y="1130"/>
                </a:moveTo>
                <a:lnTo>
                  <a:pt x="333" y="1130"/>
                </a:lnTo>
                <a:lnTo>
                  <a:pt x="331" y="1129"/>
                </a:lnTo>
                <a:lnTo>
                  <a:pt x="324" y="1127"/>
                </a:lnTo>
                <a:lnTo>
                  <a:pt x="318" y="1122"/>
                </a:lnTo>
                <a:lnTo>
                  <a:pt x="311" y="1117"/>
                </a:lnTo>
                <a:lnTo>
                  <a:pt x="298" y="1105"/>
                </a:lnTo>
                <a:lnTo>
                  <a:pt x="283" y="1091"/>
                </a:lnTo>
                <a:lnTo>
                  <a:pt x="266" y="1075"/>
                </a:lnTo>
                <a:lnTo>
                  <a:pt x="249" y="1058"/>
                </a:lnTo>
                <a:lnTo>
                  <a:pt x="233" y="1040"/>
                </a:lnTo>
                <a:lnTo>
                  <a:pt x="219" y="1024"/>
                </a:lnTo>
                <a:lnTo>
                  <a:pt x="207" y="1010"/>
                </a:lnTo>
                <a:lnTo>
                  <a:pt x="202" y="1004"/>
                </a:lnTo>
                <a:lnTo>
                  <a:pt x="199" y="998"/>
                </a:lnTo>
                <a:lnTo>
                  <a:pt x="194" y="987"/>
                </a:lnTo>
                <a:lnTo>
                  <a:pt x="190" y="977"/>
                </a:lnTo>
                <a:lnTo>
                  <a:pt x="188" y="968"/>
                </a:lnTo>
                <a:lnTo>
                  <a:pt x="187" y="958"/>
                </a:lnTo>
                <a:lnTo>
                  <a:pt x="187" y="952"/>
                </a:lnTo>
                <a:lnTo>
                  <a:pt x="188" y="946"/>
                </a:lnTo>
                <a:lnTo>
                  <a:pt x="189" y="941"/>
                </a:lnTo>
                <a:lnTo>
                  <a:pt x="191" y="935"/>
                </a:lnTo>
                <a:lnTo>
                  <a:pt x="194" y="927"/>
                </a:lnTo>
                <a:lnTo>
                  <a:pt x="197" y="921"/>
                </a:lnTo>
                <a:lnTo>
                  <a:pt x="201" y="914"/>
                </a:lnTo>
                <a:lnTo>
                  <a:pt x="205" y="908"/>
                </a:lnTo>
                <a:lnTo>
                  <a:pt x="214" y="897"/>
                </a:lnTo>
                <a:lnTo>
                  <a:pt x="226" y="883"/>
                </a:lnTo>
                <a:lnTo>
                  <a:pt x="255" y="848"/>
                </a:lnTo>
                <a:lnTo>
                  <a:pt x="291" y="808"/>
                </a:lnTo>
                <a:lnTo>
                  <a:pt x="326" y="768"/>
                </a:lnTo>
                <a:lnTo>
                  <a:pt x="327" y="768"/>
                </a:lnTo>
                <a:lnTo>
                  <a:pt x="332" y="767"/>
                </a:lnTo>
                <a:lnTo>
                  <a:pt x="335" y="768"/>
                </a:lnTo>
                <a:lnTo>
                  <a:pt x="339" y="769"/>
                </a:lnTo>
                <a:lnTo>
                  <a:pt x="344" y="771"/>
                </a:lnTo>
                <a:lnTo>
                  <a:pt x="348" y="773"/>
                </a:lnTo>
                <a:lnTo>
                  <a:pt x="352" y="776"/>
                </a:lnTo>
                <a:lnTo>
                  <a:pt x="356" y="780"/>
                </a:lnTo>
                <a:lnTo>
                  <a:pt x="359" y="784"/>
                </a:lnTo>
                <a:lnTo>
                  <a:pt x="362" y="789"/>
                </a:lnTo>
                <a:lnTo>
                  <a:pt x="364" y="794"/>
                </a:lnTo>
                <a:lnTo>
                  <a:pt x="364" y="798"/>
                </a:lnTo>
                <a:lnTo>
                  <a:pt x="364" y="804"/>
                </a:lnTo>
                <a:lnTo>
                  <a:pt x="362" y="809"/>
                </a:lnTo>
                <a:lnTo>
                  <a:pt x="359" y="816"/>
                </a:lnTo>
                <a:lnTo>
                  <a:pt x="355" y="822"/>
                </a:lnTo>
                <a:lnTo>
                  <a:pt x="347" y="832"/>
                </a:lnTo>
                <a:lnTo>
                  <a:pt x="335" y="846"/>
                </a:lnTo>
                <a:lnTo>
                  <a:pt x="305" y="879"/>
                </a:lnTo>
                <a:lnTo>
                  <a:pt x="276" y="913"/>
                </a:lnTo>
                <a:lnTo>
                  <a:pt x="263" y="927"/>
                </a:lnTo>
                <a:lnTo>
                  <a:pt x="254" y="940"/>
                </a:lnTo>
                <a:lnTo>
                  <a:pt x="251" y="944"/>
                </a:lnTo>
                <a:lnTo>
                  <a:pt x="249" y="947"/>
                </a:lnTo>
                <a:lnTo>
                  <a:pt x="248" y="951"/>
                </a:lnTo>
                <a:lnTo>
                  <a:pt x="248" y="954"/>
                </a:lnTo>
                <a:lnTo>
                  <a:pt x="248" y="959"/>
                </a:lnTo>
                <a:lnTo>
                  <a:pt x="250" y="963"/>
                </a:lnTo>
                <a:lnTo>
                  <a:pt x="252" y="968"/>
                </a:lnTo>
                <a:lnTo>
                  <a:pt x="255" y="972"/>
                </a:lnTo>
                <a:lnTo>
                  <a:pt x="262" y="981"/>
                </a:lnTo>
                <a:lnTo>
                  <a:pt x="273" y="994"/>
                </a:lnTo>
                <a:lnTo>
                  <a:pt x="301" y="1023"/>
                </a:lnTo>
                <a:lnTo>
                  <a:pt x="334" y="1056"/>
                </a:lnTo>
                <a:lnTo>
                  <a:pt x="365" y="1087"/>
                </a:lnTo>
                <a:lnTo>
                  <a:pt x="367" y="1088"/>
                </a:lnTo>
                <a:lnTo>
                  <a:pt x="368" y="1091"/>
                </a:lnTo>
                <a:lnTo>
                  <a:pt x="369" y="1093"/>
                </a:lnTo>
                <a:lnTo>
                  <a:pt x="369" y="1095"/>
                </a:lnTo>
                <a:lnTo>
                  <a:pt x="368" y="1101"/>
                </a:lnTo>
                <a:lnTo>
                  <a:pt x="367" y="1104"/>
                </a:lnTo>
                <a:lnTo>
                  <a:pt x="366" y="1107"/>
                </a:lnTo>
                <a:lnTo>
                  <a:pt x="362" y="1113"/>
                </a:lnTo>
                <a:lnTo>
                  <a:pt x="360" y="1116"/>
                </a:lnTo>
                <a:lnTo>
                  <a:pt x="358" y="1119"/>
                </a:lnTo>
                <a:lnTo>
                  <a:pt x="352" y="1123"/>
                </a:lnTo>
                <a:lnTo>
                  <a:pt x="350" y="1125"/>
                </a:lnTo>
                <a:lnTo>
                  <a:pt x="347" y="1127"/>
                </a:lnTo>
                <a:lnTo>
                  <a:pt x="341" y="1129"/>
                </a:lnTo>
                <a:lnTo>
                  <a:pt x="338" y="1130"/>
                </a:lnTo>
                <a:lnTo>
                  <a:pt x="335" y="1130"/>
                </a:lnTo>
                <a:close/>
                <a:moveTo>
                  <a:pt x="0" y="2056"/>
                </a:moveTo>
                <a:lnTo>
                  <a:pt x="8" y="2052"/>
                </a:lnTo>
                <a:lnTo>
                  <a:pt x="15" y="2047"/>
                </a:lnTo>
                <a:lnTo>
                  <a:pt x="22" y="2042"/>
                </a:lnTo>
                <a:lnTo>
                  <a:pt x="29" y="2036"/>
                </a:lnTo>
                <a:lnTo>
                  <a:pt x="36" y="2030"/>
                </a:lnTo>
                <a:lnTo>
                  <a:pt x="43" y="2023"/>
                </a:lnTo>
                <a:lnTo>
                  <a:pt x="49" y="2016"/>
                </a:lnTo>
                <a:lnTo>
                  <a:pt x="55" y="2008"/>
                </a:lnTo>
                <a:lnTo>
                  <a:pt x="66" y="1992"/>
                </a:lnTo>
                <a:lnTo>
                  <a:pt x="76" y="1974"/>
                </a:lnTo>
                <a:lnTo>
                  <a:pt x="81" y="1965"/>
                </a:lnTo>
                <a:lnTo>
                  <a:pt x="85" y="1956"/>
                </a:lnTo>
                <a:lnTo>
                  <a:pt x="94" y="1936"/>
                </a:lnTo>
                <a:lnTo>
                  <a:pt x="101" y="1916"/>
                </a:lnTo>
                <a:lnTo>
                  <a:pt x="107" y="1896"/>
                </a:lnTo>
                <a:lnTo>
                  <a:pt x="112" y="1875"/>
                </a:lnTo>
                <a:lnTo>
                  <a:pt x="116" y="1855"/>
                </a:lnTo>
                <a:lnTo>
                  <a:pt x="118" y="1835"/>
                </a:lnTo>
                <a:lnTo>
                  <a:pt x="120" y="1814"/>
                </a:lnTo>
                <a:lnTo>
                  <a:pt x="121" y="1796"/>
                </a:lnTo>
                <a:lnTo>
                  <a:pt x="120" y="1787"/>
                </a:lnTo>
                <a:lnTo>
                  <a:pt x="120" y="1778"/>
                </a:lnTo>
                <a:lnTo>
                  <a:pt x="121" y="1776"/>
                </a:lnTo>
                <a:lnTo>
                  <a:pt x="123" y="1773"/>
                </a:lnTo>
                <a:lnTo>
                  <a:pt x="125" y="1770"/>
                </a:lnTo>
                <a:lnTo>
                  <a:pt x="128" y="1769"/>
                </a:lnTo>
                <a:lnTo>
                  <a:pt x="134" y="1766"/>
                </a:lnTo>
                <a:lnTo>
                  <a:pt x="138" y="1765"/>
                </a:lnTo>
                <a:lnTo>
                  <a:pt x="142" y="1765"/>
                </a:lnTo>
                <a:lnTo>
                  <a:pt x="149" y="1765"/>
                </a:lnTo>
                <a:lnTo>
                  <a:pt x="154" y="1766"/>
                </a:lnTo>
                <a:lnTo>
                  <a:pt x="157" y="1767"/>
                </a:lnTo>
                <a:lnTo>
                  <a:pt x="163" y="1770"/>
                </a:lnTo>
                <a:lnTo>
                  <a:pt x="165" y="1773"/>
                </a:lnTo>
                <a:lnTo>
                  <a:pt x="168" y="1775"/>
                </a:lnTo>
                <a:lnTo>
                  <a:pt x="172" y="1781"/>
                </a:lnTo>
                <a:lnTo>
                  <a:pt x="173" y="1784"/>
                </a:lnTo>
                <a:lnTo>
                  <a:pt x="175" y="1788"/>
                </a:lnTo>
                <a:lnTo>
                  <a:pt x="176" y="1793"/>
                </a:lnTo>
                <a:lnTo>
                  <a:pt x="177" y="1797"/>
                </a:lnTo>
                <a:lnTo>
                  <a:pt x="177" y="1803"/>
                </a:lnTo>
                <a:lnTo>
                  <a:pt x="177" y="1809"/>
                </a:lnTo>
                <a:lnTo>
                  <a:pt x="177" y="1822"/>
                </a:lnTo>
                <a:lnTo>
                  <a:pt x="176" y="1836"/>
                </a:lnTo>
                <a:lnTo>
                  <a:pt x="175" y="1850"/>
                </a:lnTo>
                <a:lnTo>
                  <a:pt x="173" y="1863"/>
                </a:lnTo>
                <a:lnTo>
                  <a:pt x="171" y="1876"/>
                </a:lnTo>
                <a:lnTo>
                  <a:pt x="169" y="1888"/>
                </a:lnTo>
                <a:lnTo>
                  <a:pt x="163" y="1914"/>
                </a:lnTo>
                <a:lnTo>
                  <a:pt x="160" y="1927"/>
                </a:lnTo>
                <a:lnTo>
                  <a:pt x="157" y="1939"/>
                </a:lnTo>
                <a:lnTo>
                  <a:pt x="153" y="1950"/>
                </a:lnTo>
                <a:lnTo>
                  <a:pt x="147" y="1963"/>
                </a:lnTo>
                <a:lnTo>
                  <a:pt x="138" y="1985"/>
                </a:lnTo>
                <a:lnTo>
                  <a:pt x="127" y="2006"/>
                </a:lnTo>
                <a:lnTo>
                  <a:pt x="121" y="2018"/>
                </a:lnTo>
                <a:lnTo>
                  <a:pt x="115" y="2027"/>
                </a:lnTo>
                <a:lnTo>
                  <a:pt x="102" y="2046"/>
                </a:lnTo>
                <a:lnTo>
                  <a:pt x="95" y="2054"/>
                </a:lnTo>
                <a:lnTo>
                  <a:pt x="87" y="2063"/>
                </a:lnTo>
                <a:lnTo>
                  <a:pt x="79" y="2072"/>
                </a:lnTo>
                <a:lnTo>
                  <a:pt x="71" y="2079"/>
                </a:lnTo>
                <a:lnTo>
                  <a:pt x="63" y="2086"/>
                </a:lnTo>
                <a:lnTo>
                  <a:pt x="55" y="2092"/>
                </a:lnTo>
                <a:lnTo>
                  <a:pt x="47" y="2098"/>
                </a:lnTo>
                <a:lnTo>
                  <a:pt x="38" y="2104"/>
                </a:lnTo>
                <a:lnTo>
                  <a:pt x="28" y="2109"/>
                </a:lnTo>
                <a:lnTo>
                  <a:pt x="19" y="2114"/>
                </a:lnTo>
                <a:lnTo>
                  <a:pt x="0" y="2121"/>
                </a:lnTo>
                <a:lnTo>
                  <a:pt x="0" y="2056"/>
                </a:lnTo>
                <a:close/>
                <a:moveTo>
                  <a:pt x="0" y="1766"/>
                </a:moveTo>
                <a:lnTo>
                  <a:pt x="6" y="1769"/>
                </a:lnTo>
                <a:lnTo>
                  <a:pt x="11" y="1773"/>
                </a:lnTo>
                <a:lnTo>
                  <a:pt x="20" y="1781"/>
                </a:lnTo>
                <a:lnTo>
                  <a:pt x="24" y="1785"/>
                </a:lnTo>
                <a:lnTo>
                  <a:pt x="28" y="1790"/>
                </a:lnTo>
                <a:lnTo>
                  <a:pt x="32" y="1795"/>
                </a:lnTo>
                <a:lnTo>
                  <a:pt x="35" y="1800"/>
                </a:lnTo>
                <a:lnTo>
                  <a:pt x="38" y="1806"/>
                </a:lnTo>
                <a:lnTo>
                  <a:pt x="41" y="1812"/>
                </a:lnTo>
                <a:lnTo>
                  <a:pt x="43" y="1818"/>
                </a:lnTo>
                <a:lnTo>
                  <a:pt x="44" y="1824"/>
                </a:lnTo>
                <a:lnTo>
                  <a:pt x="46" y="1832"/>
                </a:lnTo>
                <a:lnTo>
                  <a:pt x="47" y="1838"/>
                </a:lnTo>
                <a:lnTo>
                  <a:pt x="47" y="1845"/>
                </a:lnTo>
                <a:lnTo>
                  <a:pt x="47" y="1852"/>
                </a:lnTo>
                <a:lnTo>
                  <a:pt x="47" y="1865"/>
                </a:lnTo>
                <a:lnTo>
                  <a:pt x="45" y="1872"/>
                </a:lnTo>
                <a:lnTo>
                  <a:pt x="44" y="1878"/>
                </a:lnTo>
                <a:lnTo>
                  <a:pt x="42" y="1884"/>
                </a:lnTo>
                <a:lnTo>
                  <a:pt x="40" y="1892"/>
                </a:lnTo>
                <a:lnTo>
                  <a:pt x="37" y="1898"/>
                </a:lnTo>
                <a:lnTo>
                  <a:pt x="35" y="1904"/>
                </a:lnTo>
                <a:lnTo>
                  <a:pt x="31" y="1909"/>
                </a:lnTo>
                <a:lnTo>
                  <a:pt x="27" y="1915"/>
                </a:lnTo>
                <a:lnTo>
                  <a:pt x="19" y="1926"/>
                </a:lnTo>
                <a:lnTo>
                  <a:pt x="15" y="1931"/>
                </a:lnTo>
                <a:lnTo>
                  <a:pt x="10" y="1936"/>
                </a:lnTo>
                <a:lnTo>
                  <a:pt x="0" y="1946"/>
                </a:lnTo>
                <a:lnTo>
                  <a:pt x="0" y="1766"/>
                </a:lnTo>
                <a:close/>
                <a:moveTo>
                  <a:pt x="335" y="2123"/>
                </a:moveTo>
                <a:lnTo>
                  <a:pt x="333" y="2123"/>
                </a:lnTo>
                <a:lnTo>
                  <a:pt x="331" y="2123"/>
                </a:lnTo>
                <a:lnTo>
                  <a:pt x="324" y="2120"/>
                </a:lnTo>
                <a:lnTo>
                  <a:pt x="318" y="2116"/>
                </a:lnTo>
                <a:lnTo>
                  <a:pt x="311" y="2110"/>
                </a:lnTo>
                <a:lnTo>
                  <a:pt x="298" y="2099"/>
                </a:lnTo>
                <a:lnTo>
                  <a:pt x="283" y="2085"/>
                </a:lnTo>
                <a:lnTo>
                  <a:pt x="266" y="2068"/>
                </a:lnTo>
                <a:lnTo>
                  <a:pt x="249" y="2051"/>
                </a:lnTo>
                <a:lnTo>
                  <a:pt x="233" y="2034"/>
                </a:lnTo>
                <a:lnTo>
                  <a:pt x="219" y="2018"/>
                </a:lnTo>
                <a:lnTo>
                  <a:pt x="207" y="2003"/>
                </a:lnTo>
                <a:lnTo>
                  <a:pt x="202" y="1997"/>
                </a:lnTo>
                <a:lnTo>
                  <a:pt x="199" y="1991"/>
                </a:lnTo>
                <a:lnTo>
                  <a:pt x="194" y="1981"/>
                </a:lnTo>
                <a:lnTo>
                  <a:pt x="190" y="1971"/>
                </a:lnTo>
                <a:lnTo>
                  <a:pt x="188" y="1962"/>
                </a:lnTo>
                <a:lnTo>
                  <a:pt x="187" y="1952"/>
                </a:lnTo>
                <a:lnTo>
                  <a:pt x="187" y="1945"/>
                </a:lnTo>
                <a:lnTo>
                  <a:pt x="188" y="1940"/>
                </a:lnTo>
                <a:lnTo>
                  <a:pt x="189" y="1934"/>
                </a:lnTo>
                <a:lnTo>
                  <a:pt x="191" y="1928"/>
                </a:lnTo>
                <a:lnTo>
                  <a:pt x="194" y="1922"/>
                </a:lnTo>
                <a:lnTo>
                  <a:pt x="197" y="1915"/>
                </a:lnTo>
                <a:lnTo>
                  <a:pt x="201" y="1909"/>
                </a:lnTo>
                <a:lnTo>
                  <a:pt x="205" y="1902"/>
                </a:lnTo>
                <a:lnTo>
                  <a:pt x="214" y="1890"/>
                </a:lnTo>
                <a:lnTo>
                  <a:pt x="226" y="1876"/>
                </a:lnTo>
                <a:lnTo>
                  <a:pt x="255" y="1842"/>
                </a:lnTo>
                <a:lnTo>
                  <a:pt x="291" y="1802"/>
                </a:lnTo>
                <a:lnTo>
                  <a:pt x="326" y="1761"/>
                </a:lnTo>
                <a:lnTo>
                  <a:pt x="327" y="1761"/>
                </a:lnTo>
                <a:lnTo>
                  <a:pt x="332" y="1760"/>
                </a:lnTo>
                <a:lnTo>
                  <a:pt x="335" y="1761"/>
                </a:lnTo>
                <a:lnTo>
                  <a:pt x="339" y="1762"/>
                </a:lnTo>
                <a:lnTo>
                  <a:pt x="344" y="1764"/>
                </a:lnTo>
                <a:lnTo>
                  <a:pt x="348" y="1766"/>
                </a:lnTo>
                <a:lnTo>
                  <a:pt x="352" y="1769"/>
                </a:lnTo>
                <a:lnTo>
                  <a:pt x="356" y="1774"/>
                </a:lnTo>
                <a:lnTo>
                  <a:pt x="359" y="1778"/>
                </a:lnTo>
                <a:lnTo>
                  <a:pt x="362" y="1783"/>
                </a:lnTo>
                <a:lnTo>
                  <a:pt x="364" y="1788"/>
                </a:lnTo>
                <a:lnTo>
                  <a:pt x="364" y="1793"/>
                </a:lnTo>
                <a:lnTo>
                  <a:pt x="364" y="1798"/>
                </a:lnTo>
                <a:lnTo>
                  <a:pt x="362" y="1803"/>
                </a:lnTo>
                <a:lnTo>
                  <a:pt x="359" y="1809"/>
                </a:lnTo>
                <a:lnTo>
                  <a:pt x="355" y="1815"/>
                </a:lnTo>
                <a:lnTo>
                  <a:pt x="347" y="1825"/>
                </a:lnTo>
                <a:lnTo>
                  <a:pt x="335" y="1840"/>
                </a:lnTo>
                <a:lnTo>
                  <a:pt x="305" y="1873"/>
                </a:lnTo>
                <a:lnTo>
                  <a:pt x="276" y="1907"/>
                </a:lnTo>
                <a:lnTo>
                  <a:pt x="263" y="1921"/>
                </a:lnTo>
                <a:lnTo>
                  <a:pt x="254" y="1933"/>
                </a:lnTo>
                <a:lnTo>
                  <a:pt x="251" y="1937"/>
                </a:lnTo>
                <a:lnTo>
                  <a:pt x="249" y="1940"/>
                </a:lnTo>
                <a:lnTo>
                  <a:pt x="248" y="1944"/>
                </a:lnTo>
                <a:lnTo>
                  <a:pt x="248" y="1948"/>
                </a:lnTo>
                <a:lnTo>
                  <a:pt x="248" y="1953"/>
                </a:lnTo>
                <a:lnTo>
                  <a:pt x="250" y="1957"/>
                </a:lnTo>
                <a:lnTo>
                  <a:pt x="252" y="1962"/>
                </a:lnTo>
                <a:lnTo>
                  <a:pt x="255" y="1967"/>
                </a:lnTo>
                <a:lnTo>
                  <a:pt x="262" y="1976"/>
                </a:lnTo>
                <a:lnTo>
                  <a:pt x="273" y="1987"/>
                </a:lnTo>
                <a:lnTo>
                  <a:pt x="301" y="2017"/>
                </a:lnTo>
                <a:lnTo>
                  <a:pt x="334" y="2050"/>
                </a:lnTo>
                <a:lnTo>
                  <a:pt x="365" y="2081"/>
                </a:lnTo>
                <a:lnTo>
                  <a:pt x="367" y="2083"/>
                </a:lnTo>
                <a:lnTo>
                  <a:pt x="368" y="2085"/>
                </a:lnTo>
                <a:lnTo>
                  <a:pt x="369" y="2087"/>
                </a:lnTo>
                <a:lnTo>
                  <a:pt x="369" y="2090"/>
                </a:lnTo>
                <a:lnTo>
                  <a:pt x="368" y="2095"/>
                </a:lnTo>
                <a:lnTo>
                  <a:pt x="367" y="2098"/>
                </a:lnTo>
                <a:lnTo>
                  <a:pt x="366" y="2101"/>
                </a:lnTo>
                <a:lnTo>
                  <a:pt x="362" y="2107"/>
                </a:lnTo>
                <a:lnTo>
                  <a:pt x="360" y="2109"/>
                </a:lnTo>
                <a:lnTo>
                  <a:pt x="358" y="2112"/>
                </a:lnTo>
                <a:lnTo>
                  <a:pt x="352" y="2116"/>
                </a:lnTo>
                <a:lnTo>
                  <a:pt x="350" y="2118"/>
                </a:lnTo>
                <a:lnTo>
                  <a:pt x="347" y="2120"/>
                </a:lnTo>
                <a:lnTo>
                  <a:pt x="341" y="2123"/>
                </a:lnTo>
                <a:lnTo>
                  <a:pt x="338" y="2123"/>
                </a:lnTo>
                <a:lnTo>
                  <a:pt x="335" y="2123"/>
                </a:lnTo>
                <a:close/>
                <a:moveTo>
                  <a:pt x="3777" y="1136"/>
                </a:moveTo>
                <a:lnTo>
                  <a:pt x="3769" y="1136"/>
                </a:lnTo>
                <a:lnTo>
                  <a:pt x="3762" y="1135"/>
                </a:lnTo>
                <a:lnTo>
                  <a:pt x="3754" y="1134"/>
                </a:lnTo>
                <a:lnTo>
                  <a:pt x="3746" y="1132"/>
                </a:lnTo>
                <a:lnTo>
                  <a:pt x="3739" y="1131"/>
                </a:lnTo>
                <a:lnTo>
                  <a:pt x="3731" y="1128"/>
                </a:lnTo>
                <a:lnTo>
                  <a:pt x="3718" y="1122"/>
                </a:lnTo>
                <a:lnTo>
                  <a:pt x="3705" y="1115"/>
                </a:lnTo>
                <a:lnTo>
                  <a:pt x="3698" y="1110"/>
                </a:lnTo>
                <a:lnTo>
                  <a:pt x="3692" y="1105"/>
                </a:lnTo>
                <a:lnTo>
                  <a:pt x="3686" y="1101"/>
                </a:lnTo>
                <a:lnTo>
                  <a:pt x="3680" y="1095"/>
                </a:lnTo>
                <a:lnTo>
                  <a:pt x="3674" y="1090"/>
                </a:lnTo>
                <a:lnTo>
                  <a:pt x="3669" y="1084"/>
                </a:lnTo>
                <a:lnTo>
                  <a:pt x="3664" y="1078"/>
                </a:lnTo>
                <a:lnTo>
                  <a:pt x="3660" y="1072"/>
                </a:lnTo>
                <a:lnTo>
                  <a:pt x="3655" y="1065"/>
                </a:lnTo>
                <a:lnTo>
                  <a:pt x="3651" y="1058"/>
                </a:lnTo>
                <a:lnTo>
                  <a:pt x="3647" y="1050"/>
                </a:lnTo>
                <a:lnTo>
                  <a:pt x="3643" y="1043"/>
                </a:lnTo>
                <a:lnTo>
                  <a:pt x="3640" y="1035"/>
                </a:lnTo>
                <a:lnTo>
                  <a:pt x="3637" y="1027"/>
                </a:lnTo>
                <a:lnTo>
                  <a:pt x="3634" y="1020"/>
                </a:lnTo>
                <a:lnTo>
                  <a:pt x="3632" y="1011"/>
                </a:lnTo>
                <a:lnTo>
                  <a:pt x="3629" y="1003"/>
                </a:lnTo>
                <a:lnTo>
                  <a:pt x="3627" y="994"/>
                </a:lnTo>
                <a:lnTo>
                  <a:pt x="3626" y="985"/>
                </a:lnTo>
                <a:lnTo>
                  <a:pt x="3625" y="976"/>
                </a:lnTo>
                <a:lnTo>
                  <a:pt x="3625" y="967"/>
                </a:lnTo>
                <a:lnTo>
                  <a:pt x="3624" y="958"/>
                </a:lnTo>
                <a:lnTo>
                  <a:pt x="3625" y="939"/>
                </a:lnTo>
                <a:lnTo>
                  <a:pt x="3626" y="929"/>
                </a:lnTo>
                <a:lnTo>
                  <a:pt x="3628" y="920"/>
                </a:lnTo>
                <a:lnTo>
                  <a:pt x="3629" y="911"/>
                </a:lnTo>
                <a:lnTo>
                  <a:pt x="3632" y="902"/>
                </a:lnTo>
                <a:lnTo>
                  <a:pt x="3635" y="893"/>
                </a:lnTo>
                <a:lnTo>
                  <a:pt x="3638" y="884"/>
                </a:lnTo>
                <a:lnTo>
                  <a:pt x="3641" y="876"/>
                </a:lnTo>
                <a:lnTo>
                  <a:pt x="3644" y="867"/>
                </a:lnTo>
                <a:lnTo>
                  <a:pt x="3648" y="859"/>
                </a:lnTo>
                <a:lnTo>
                  <a:pt x="3652" y="851"/>
                </a:lnTo>
                <a:lnTo>
                  <a:pt x="3657" y="843"/>
                </a:lnTo>
                <a:lnTo>
                  <a:pt x="3661" y="836"/>
                </a:lnTo>
                <a:lnTo>
                  <a:pt x="3672" y="822"/>
                </a:lnTo>
                <a:lnTo>
                  <a:pt x="3677" y="816"/>
                </a:lnTo>
                <a:lnTo>
                  <a:pt x="3683" y="809"/>
                </a:lnTo>
                <a:lnTo>
                  <a:pt x="3696" y="797"/>
                </a:lnTo>
                <a:lnTo>
                  <a:pt x="3703" y="792"/>
                </a:lnTo>
                <a:lnTo>
                  <a:pt x="3709" y="787"/>
                </a:lnTo>
                <a:lnTo>
                  <a:pt x="3716" y="783"/>
                </a:lnTo>
                <a:lnTo>
                  <a:pt x="3723" y="779"/>
                </a:lnTo>
                <a:lnTo>
                  <a:pt x="3730" y="775"/>
                </a:lnTo>
                <a:lnTo>
                  <a:pt x="3738" y="772"/>
                </a:lnTo>
                <a:lnTo>
                  <a:pt x="3745" y="769"/>
                </a:lnTo>
                <a:lnTo>
                  <a:pt x="3754" y="767"/>
                </a:lnTo>
                <a:lnTo>
                  <a:pt x="3762" y="765"/>
                </a:lnTo>
                <a:lnTo>
                  <a:pt x="3770" y="764"/>
                </a:lnTo>
                <a:lnTo>
                  <a:pt x="3778" y="763"/>
                </a:lnTo>
                <a:lnTo>
                  <a:pt x="3786" y="763"/>
                </a:lnTo>
                <a:lnTo>
                  <a:pt x="3797" y="763"/>
                </a:lnTo>
                <a:lnTo>
                  <a:pt x="3802" y="764"/>
                </a:lnTo>
                <a:lnTo>
                  <a:pt x="3806" y="765"/>
                </a:lnTo>
                <a:lnTo>
                  <a:pt x="3812" y="766"/>
                </a:lnTo>
                <a:lnTo>
                  <a:pt x="3816" y="767"/>
                </a:lnTo>
                <a:lnTo>
                  <a:pt x="3825" y="770"/>
                </a:lnTo>
                <a:lnTo>
                  <a:pt x="3833" y="774"/>
                </a:lnTo>
                <a:lnTo>
                  <a:pt x="3840" y="779"/>
                </a:lnTo>
                <a:lnTo>
                  <a:pt x="3847" y="784"/>
                </a:lnTo>
                <a:lnTo>
                  <a:pt x="3853" y="790"/>
                </a:lnTo>
                <a:lnTo>
                  <a:pt x="3855" y="793"/>
                </a:lnTo>
                <a:lnTo>
                  <a:pt x="3858" y="797"/>
                </a:lnTo>
                <a:lnTo>
                  <a:pt x="3863" y="804"/>
                </a:lnTo>
                <a:lnTo>
                  <a:pt x="3867" y="813"/>
                </a:lnTo>
                <a:lnTo>
                  <a:pt x="3871" y="821"/>
                </a:lnTo>
                <a:lnTo>
                  <a:pt x="3874" y="830"/>
                </a:lnTo>
                <a:lnTo>
                  <a:pt x="3876" y="839"/>
                </a:lnTo>
                <a:lnTo>
                  <a:pt x="3877" y="848"/>
                </a:lnTo>
                <a:lnTo>
                  <a:pt x="3877" y="858"/>
                </a:lnTo>
                <a:lnTo>
                  <a:pt x="3876" y="872"/>
                </a:lnTo>
                <a:lnTo>
                  <a:pt x="3876" y="878"/>
                </a:lnTo>
                <a:lnTo>
                  <a:pt x="3874" y="884"/>
                </a:lnTo>
                <a:lnTo>
                  <a:pt x="3869" y="896"/>
                </a:lnTo>
                <a:lnTo>
                  <a:pt x="3864" y="907"/>
                </a:lnTo>
                <a:lnTo>
                  <a:pt x="3858" y="919"/>
                </a:lnTo>
                <a:lnTo>
                  <a:pt x="3851" y="929"/>
                </a:lnTo>
                <a:lnTo>
                  <a:pt x="3847" y="935"/>
                </a:lnTo>
                <a:lnTo>
                  <a:pt x="3843" y="940"/>
                </a:lnTo>
                <a:lnTo>
                  <a:pt x="3833" y="949"/>
                </a:lnTo>
                <a:lnTo>
                  <a:pt x="3823" y="958"/>
                </a:lnTo>
                <a:lnTo>
                  <a:pt x="3818" y="962"/>
                </a:lnTo>
                <a:lnTo>
                  <a:pt x="3813" y="965"/>
                </a:lnTo>
                <a:lnTo>
                  <a:pt x="3800" y="972"/>
                </a:lnTo>
                <a:lnTo>
                  <a:pt x="3789" y="978"/>
                </a:lnTo>
                <a:lnTo>
                  <a:pt x="3777" y="982"/>
                </a:lnTo>
                <a:lnTo>
                  <a:pt x="3771" y="984"/>
                </a:lnTo>
                <a:lnTo>
                  <a:pt x="3764" y="986"/>
                </a:lnTo>
                <a:lnTo>
                  <a:pt x="3758" y="987"/>
                </a:lnTo>
                <a:lnTo>
                  <a:pt x="3752" y="988"/>
                </a:lnTo>
                <a:lnTo>
                  <a:pt x="3738" y="988"/>
                </a:lnTo>
                <a:lnTo>
                  <a:pt x="3733" y="988"/>
                </a:lnTo>
                <a:lnTo>
                  <a:pt x="3728" y="986"/>
                </a:lnTo>
                <a:lnTo>
                  <a:pt x="3723" y="983"/>
                </a:lnTo>
                <a:lnTo>
                  <a:pt x="3721" y="981"/>
                </a:lnTo>
                <a:lnTo>
                  <a:pt x="3720" y="979"/>
                </a:lnTo>
                <a:lnTo>
                  <a:pt x="3716" y="974"/>
                </a:lnTo>
                <a:lnTo>
                  <a:pt x="3714" y="969"/>
                </a:lnTo>
                <a:lnTo>
                  <a:pt x="3713" y="966"/>
                </a:lnTo>
                <a:lnTo>
                  <a:pt x="3713" y="963"/>
                </a:lnTo>
                <a:lnTo>
                  <a:pt x="3712" y="957"/>
                </a:lnTo>
                <a:lnTo>
                  <a:pt x="3712" y="954"/>
                </a:lnTo>
                <a:lnTo>
                  <a:pt x="3712" y="951"/>
                </a:lnTo>
                <a:lnTo>
                  <a:pt x="3714" y="947"/>
                </a:lnTo>
                <a:lnTo>
                  <a:pt x="3715" y="944"/>
                </a:lnTo>
                <a:lnTo>
                  <a:pt x="3716" y="943"/>
                </a:lnTo>
                <a:lnTo>
                  <a:pt x="3717" y="941"/>
                </a:lnTo>
                <a:lnTo>
                  <a:pt x="3719" y="940"/>
                </a:lnTo>
                <a:lnTo>
                  <a:pt x="3730" y="938"/>
                </a:lnTo>
                <a:lnTo>
                  <a:pt x="3741" y="935"/>
                </a:lnTo>
                <a:lnTo>
                  <a:pt x="3752" y="932"/>
                </a:lnTo>
                <a:lnTo>
                  <a:pt x="3761" y="927"/>
                </a:lnTo>
                <a:lnTo>
                  <a:pt x="3770" y="922"/>
                </a:lnTo>
                <a:lnTo>
                  <a:pt x="3779" y="917"/>
                </a:lnTo>
                <a:lnTo>
                  <a:pt x="3787" y="912"/>
                </a:lnTo>
                <a:lnTo>
                  <a:pt x="3790" y="909"/>
                </a:lnTo>
                <a:lnTo>
                  <a:pt x="3794" y="906"/>
                </a:lnTo>
                <a:lnTo>
                  <a:pt x="3800" y="900"/>
                </a:lnTo>
                <a:lnTo>
                  <a:pt x="3806" y="893"/>
                </a:lnTo>
                <a:lnTo>
                  <a:pt x="3812" y="886"/>
                </a:lnTo>
                <a:lnTo>
                  <a:pt x="3816" y="880"/>
                </a:lnTo>
                <a:lnTo>
                  <a:pt x="3819" y="873"/>
                </a:lnTo>
                <a:lnTo>
                  <a:pt x="3822" y="865"/>
                </a:lnTo>
                <a:lnTo>
                  <a:pt x="3823" y="857"/>
                </a:lnTo>
                <a:lnTo>
                  <a:pt x="3824" y="850"/>
                </a:lnTo>
                <a:lnTo>
                  <a:pt x="3823" y="842"/>
                </a:lnTo>
                <a:lnTo>
                  <a:pt x="3821" y="835"/>
                </a:lnTo>
                <a:lnTo>
                  <a:pt x="3820" y="832"/>
                </a:lnTo>
                <a:lnTo>
                  <a:pt x="3818" y="829"/>
                </a:lnTo>
                <a:lnTo>
                  <a:pt x="3816" y="826"/>
                </a:lnTo>
                <a:lnTo>
                  <a:pt x="3813" y="823"/>
                </a:lnTo>
                <a:lnTo>
                  <a:pt x="3806" y="819"/>
                </a:lnTo>
                <a:lnTo>
                  <a:pt x="3803" y="817"/>
                </a:lnTo>
                <a:lnTo>
                  <a:pt x="3799" y="816"/>
                </a:lnTo>
                <a:lnTo>
                  <a:pt x="3792" y="814"/>
                </a:lnTo>
                <a:lnTo>
                  <a:pt x="3787" y="814"/>
                </a:lnTo>
                <a:lnTo>
                  <a:pt x="3783" y="814"/>
                </a:lnTo>
                <a:lnTo>
                  <a:pt x="3774" y="814"/>
                </a:lnTo>
                <a:lnTo>
                  <a:pt x="3769" y="815"/>
                </a:lnTo>
                <a:lnTo>
                  <a:pt x="3765" y="816"/>
                </a:lnTo>
                <a:lnTo>
                  <a:pt x="3761" y="818"/>
                </a:lnTo>
                <a:lnTo>
                  <a:pt x="3756" y="820"/>
                </a:lnTo>
                <a:lnTo>
                  <a:pt x="3752" y="822"/>
                </a:lnTo>
                <a:lnTo>
                  <a:pt x="3746" y="825"/>
                </a:lnTo>
                <a:lnTo>
                  <a:pt x="3742" y="827"/>
                </a:lnTo>
                <a:lnTo>
                  <a:pt x="3738" y="830"/>
                </a:lnTo>
                <a:lnTo>
                  <a:pt x="3730" y="838"/>
                </a:lnTo>
                <a:lnTo>
                  <a:pt x="3722" y="846"/>
                </a:lnTo>
                <a:lnTo>
                  <a:pt x="3714" y="855"/>
                </a:lnTo>
                <a:lnTo>
                  <a:pt x="3711" y="859"/>
                </a:lnTo>
                <a:lnTo>
                  <a:pt x="3707" y="865"/>
                </a:lnTo>
                <a:lnTo>
                  <a:pt x="3701" y="876"/>
                </a:lnTo>
                <a:lnTo>
                  <a:pt x="3696" y="888"/>
                </a:lnTo>
                <a:lnTo>
                  <a:pt x="3691" y="900"/>
                </a:lnTo>
                <a:lnTo>
                  <a:pt x="3686" y="913"/>
                </a:lnTo>
                <a:lnTo>
                  <a:pt x="3683" y="926"/>
                </a:lnTo>
                <a:lnTo>
                  <a:pt x="3682" y="941"/>
                </a:lnTo>
                <a:lnTo>
                  <a:pt x="3681" y="948"/>
                </a:lnTo>
                <a:lnTo>
                  <a:pt x="3681" y="955"/>
                </a:lnTo>
                <a:lnTo>
                  <a:pt x="3681" y="968"/>
                </a:lnTo>
                <a:lnTo>
                  <a:pt x="3683" y="980"/>
                </a:lnTo>
                <a:lnTo>
                  <a:pt x="3685" y="993"/>
                </a:lnTo>
                <a:lnTo>
                  <a:pt x="3686" y="998"/>
                </a:lnTo>
                <a:lnTo>
                  <a:pt x="3688" y="1004"/>
                </a:lnTo>
                <a:lnTo>
                  <a:pt x="3693" y="1014"/>
                </a:lnTo>
                <a:lnTo>
                  <a:pt x="3695" y="1019"/>
                </a:lnTo>
                <a:lnTo>
                  <a:pt x="3697" y="1024"/>
                </a:lnTo>
                <a:lnTo>
                  <a:pt x="3699" y="1029"/>
                </a:lnTo>
                <a:lnTo>
                  <a:pt x="3702" y="1033"/>
                </a:lnTo>
                <a:lnTo>
                  <a:pt x="3705" y="1037"/>
                </a:lnTo>
                <a:lnTo>
                  <a:pt x="3708" y="1041"/>
                </a:lnTo>
                <a:lnTo>
                  <a:pt x="3711" y="1045"/>
                </a:lnTo>
                <a:lnTo>
                  <a:pt x="3715" y="1049"/>
                </a:lnTo>
                <a:lnTo>
                  <a:pt x="3722" y="1056"/>
                </a:lnTo>
                <a:lnTo>
                  <a:pt x="3730" y="1062"/>
                </a:lnTo>
                <a:lnTo>
                  <a:pt x="3738" y="1067"/>
                </a:lnTo>
                <a:lnTo>
                  <a:pt x="3747" y="1071"/>
                </a:lnTo>
                <a:lnTo>
                  <a:pt x="3758" y="1073"/>
                </a:lnTo>
                <a:lnTo>
                  <a:pt x="3768" y="1075"/>
                </a:lnTo>
                <a:lnTo>
                  <a:pt x="3773" y="1076"/>
                </a:lnTo>
                <a:lnTo>
                  <a:pt x="3779" y="1076"/>
                </a:lnTo>
                <a:lnTo>
                  <a:pt x="3789" y="1075"/>
                </a:lnTo>
                <a:lnTo>
                  <a:pt x="3800" y="1074"/>
                </a:lnTo>
                <a:lnTo>
                  <a:pt x="3809" y="1071"/>
                </a:lnTo>
                <a:lnTo>
                  <a:pt x="3820" y="1068"/>
                </a:lnTo>
                <a:lnTo>
                  <a:pt x="3829" y="1064"/>
                </a:lnTo>
                <a:lnTo>
                  <a:pt x="3838" y="1059"/>
                </a:lnTo>
                <a:lnTo>
                  <a:pt x="3847" y="1053"/>
                </a:lnTo>
                <a:lnTo>
                  <a:pt x="3855" y="1045"/>
                </a:lnTo>
                <a:lnTo>
                  <a:pt x="3863" y="1038"/>
                </a:lnTo>
                <a:lnTo>
                  <a:pt x="3872" y="1030"/>
                </a:lnTo>
                <a:lnTo>
                  <a:pt x="3879" y="1022"/>
                </a:lnTo>
                <a:lnTo>
                  <a:pt x="3886" y="1013"/>
                </a:lnTo>
                <a:lnTo>
                  <a:pt x="3899" y="993"/>
                </a:lnTo>
                <a:lnTo>
                  <a:pt x="3905" y="982"/>
                </a:lnTo>
                <a:lnTo>
                  <a:pt x="3910" y="971"/>
                </a:lnTo>
                <a:lnTo>
                  <a:pt x="3916" y="960"/>
                </a:lnTo>
                <a:lnTo>
                  <a:pt x="3920" y="949"/>
                </a:lnTo>
                <a:lnTo>
                  <a:pt x="3925" y="937"/>
                </a:lnTo>
                <a:lnTo>
                  <a:pt x="3929" y="925"/>
                </a:lnTo>
                <a:lnTo>
                  <a:pt x="3934" y="913"/>
                </a:lnTo>
                <a:lnTo>
                  <a:pt x="3937" y="901"/>
                </a:lnTo>
                <a:lnTo>
                  <a:pt x="3940" y="889"/>
                </a:lnTo>
                <a:lnTo>
                  <a:pt x="3943" y="877"/>
                </a:lnTo>
                <a:lnTo>
                  <a:pt x="3945" y="864"/>
                </a:lnTo>
                <a:lnTo>
                  <a:pt x="3947" y="852"/>
                </a:lnTo>
                <a:lnTo>
                  <a:pt x="3948" y="840"/>
                </a:lnTo>
                <a:lnTo>
                  <a:pt x="3949" y="828"/>
                </a:lnTo>
                <a:lnTo>
                  <a:pt x="3950" y="817"/>
                </a:lnTo>
                <a:lnTo>
                  <a:pt x="3950" y="805"/>
                </a:lnTo>
                <a:lnTo>
                  <a:pt x="3950" y="794"/>
                </a:lnTo>
                <a:lnTo>
                  <a:pt x="3950" y="784"/>
                </a:lnTo>
                <a:lnTo>
                  <a:pt x="3951" y="781"/>
                </a:lnTo>
                <a:lnTo>
                  <a:pt x="3953" y="779"/>
                </a:lnTo>
                <a:lnTo>
                  <a:pt x="3955" y="777"/>
                </a:lnTo>
                <a:lnTo>
                  <a:pt x="3957" y="775"/>
                </a:lnTo>
                <a:lnTo>
                  <a:pt x="3964" y="773"/>
                </a:lnTo>
                <a:lnTo>
                  <a:pt x="3968" y="772"/>
                </a:lnTo>
                <a:lnTo>
                  <a:pt x="3972" y="772"/>
                </a:lnTo>
                <a:lnTo>
                  <a:pt x="3979" y="772"/>
                </a:lnTo>
                <a:lnTo>
                  <a:pt x="3983" y="773"/>
                </a:lnTo>
                <a:lnTo>
                  <a:pt x="3986" y="774"/>
                </a:lnTo>
                <a:lnTo>
                  <a:pt x="3993" y="777"/>
                </a:lnTo>
                <a:lnTo>
                  <a:pt x="3995" y="779"/>
                </a:lnTo>
                <a:lnTo>
                  <a:pt x="3998" y="781"/>
                </a:lnTo>
                <a:lnTo>
                  <a:pt x="4002" y="787"/>
                </a:lnTo>
                <a:lnTo>
                  <a:pt x="4003" y="790"/>
                </a:lnTo>
                <a:lnTo>
                  <a:pt x="4005" y="794"/>
                </a:lnTo>
                <a:lnTo>
                  <a:pt x="4006" y="798"/>
                </a:lnTo>
                <a:lnTo>
                  <a:pt x="4006" y="803"/>
                </a:lnTo>
                <a:lnTo>
                  <a:pt x="4007" y="809"/>
                </a:lnTo>
                <a:lnTo>
                  <a:pt x="4007" y="815"/>
                </a:lnTo>
                <a:lnTo>
                  <a:pt x="4007" y="831"/>
                </a:lnTo>
                <a:lnTo>
                  <a:pt x="4006" y="846"/>
                </a:lnTo>
                <a:lnTo>
                  <a:pt x="4004" y="862"/>
                </a:lnTo>
                <a:lnTo>
                  <a:pt x="4002" y="878"/>
                </a:lnTo>
                <a:lnTo>
                  <a:pt x="3999" y="893"/>
                </a:lnTo>
                <a:lnTo>
                  <a:pt x="3996" y="907"/>
                </a:lnTo>
                <a:lnTo>
                  <a:pt x="3993" y="922"/>
                </a:lnTo>
                <a:lnTo>
                  <a:pt x="3988" y="937"/>
                </a:lnTo>
                <a:lnTo>
                  <a:pt x="3984" y="951"/>
                </a:lnTo>
                <a:lnTo>
                  <a:pt x="3979" y="964"/>
                </a:lnTo>
                <a:lnTo>
                  <a:pt x="3974" y="978"/>
                </a:lnTo>
                <a:lnTo>
                  <a:pt x="3968" y="990"/>
                </a:lnTo>
                <a:lnTo>
                  <a:pt x="3962" y="1004"/>
                </a:lnTo>
                <a:lnTo>
                  <a:pt x="3955" y="1016"/>
                </a:lnTo>
                <a:lnTo>
                  <a:pt x="3948" y="1027"/>
                </a:lnTo>
                <a:lnTo>
                  <a:pt x="3941" y="1039"/>
                </a:lnTo>
                <a:lnTo>
                  <a:pt x="3933" y="1049"/>
                </a:lnTo>
                <a:lnTo>
                  <a:pt x="3924" y="1060"/>
                </a:lnTo>
                <a:lnTo>
                  <a:pt x="3916" y="1070"/>
                </a:lnTo>
                <a:lnTo>
                  <a:pt x="3907" y="1079"/>
                </a:lnTo>
                <a:lnTo>
                  <a:pt x="3898" y="1087"/>
                </a:lnTo>
                <a:lnTo>
                  <a:pt x="3889" y="1095"/>
                </a:lnTo>
                <a:lnTo>
                  <a:pt x="3879" y="1103"/>
                </a:lnTo>
                <a:lnTo>
                  <a:pt x="3868" y="1109"/>
                </a:lnTo>
                <a:lnTo>
                  <a:pt x="3858" y="1116"/>
                </a:lnTo>
                <a:lnTo>
                  <a:pt x="3847" y="1121"/>
                </a:lnTo>
                <a:lnTo>
                  <a:pt x="3836" y="1126"/>
                </a:lnTo>
                <a:lnTo>
                  <a:pt x="3825" y="1129"/>
                </a:lnTo>
                <a:lnTo>
                  <a:pt x="3814" y="1132"/>
                </a:lnTo>
                <a:lnTo>
                  <a:pt x="3801" y="1134"/>
                </a:lnTo>
                <a:lnTo>
                  <a:pt x="3789" y="1136"/>
                </a:lnTo>
                <a:lnTo>
                  <a:pt x="3777" y="1136"/>
                </a:lnTo>
                <a:close/>
                <a:moveTo>
                  <a:pt x="4164" y="1130"/>
                </a:moveTo>
                <a:lnTo>
                  <a:pt x="4162" y="1130"/>
                </a:lnTo>
                <a:lnTo>
                  <a:pt x="4160" y="1129"/>
                </a:lnTo>
                <a:lnTo>
                  <a:pt x="4154" y="1127"/>
                </a:lnTo>
                <a:lnTo>
                  <a:pt x="4148" y="1122"/>
                </a:lnTo>
                <a:lnTo>
                  <a:pt x="4141" y="1117"/>
                </a:lnTo>
                <a:lnTo>
                  <a:pt x="4128" y="1105"/>
                </a:lnTo>
                <a:lnTo>
                  <a:pt x="4113" y="1091"/>
                </a:lnTo>
                <a:lnTo>
                  <a:pt x="4096" y="1075"/>
                </a:lnTo>
                <a:lnTo>
                  <a:pt x="4079" y="1058"/>
                </a:lnTo>
                <a:lnTo>
                  <a:pt x="4063" y="1040"/>
                </a:lnTo>
                <a:lnTo>
                  <a:pt x="4048" y="1024"/>
                </a:lnTo>
                <a:lnTo>
                  <a:pt x="4036" y="1010"/>
                </a:lnTo>
                <a:lnTo>
                  <a:pt x="4032" y="1004"/>
                </a:lnTo>
                <a:lnTo>
                  <a:pt x="4029" y="998"/>
                </a:lnTo>
                <a:lnTo>
                  <a:pt x="4024" y="987"/>
                </a:lnTo>
                <a:lnTo>
                  <a:pt x="4020" y="977"/>
                </a:lnTo>
                <a:lnTo>
                  <a:pt x="4017" y="968"/>
                </a:lnTo>
                <a:lnTo>
                  <a:pt x="4017" y="958"/>
                </a:lnTo>
                <a:lnTo>
                  <a:pt x="4017" y="952"/>
                </a:lnTo>
                <a:lnTo>
                  <a:pt x="4018" y="946"/>
                </a:lnTo>
                <a:lnTo>
                  <a:pt x="4019" y="941"/>
                </a:lnTo>
                <a:lnTo>
                  <a:pt x="4021" y="935"/>
                </a:lnTo>
                <a:lnTo>
                  <a:pt x="4024" y="927"/>
                </a:lnTo>
                <a:lnTo>
                  <a:pt x="4027" y="921"/>
                </a:lnTo>
                <a:lnTo>
                  <a:pt x="4031" y="914"/>
                </a:lnTo>
                <a:lnTo>
                  <a:pt x="4035" y="908"/>
                </a:lnTo>
                <a:lnTo>
                  <a:pt x="4043" y="897"/>
                </a:lnTo>
                <a:lnTo>
                  <a:pt x="4056" y="883"/>
                </a:lnTo>
                <a:lnTo>
                  <a:pt x="4085" y="848"/>
                </a:lnTo>
                <a:lnTo>
                  <a:pt x="4121" y="808"/>
                </a:lnTo>
                <a:lnTo>
                  <a:pt x="4156" y="768"/>
                </a:lnTo>
                <a:lnTo>
                  <a:pt x="4157" y="768"/>
                </a:lnTo>
                <a:lnTo>
                  <a:pt x="4160" y="767"/>
                </a:lnTo>
                <a:lnTo>
                  <a:pt x="4164" y="768"/>
                </a:lnTo>
                <a:lnTo>
                  <a:pt x="4168" y="769"/>
                </a:lnTo>
                <a:lnTo>
                  <a:pt x="4173" y="771"/>
                </a:lnTo>
                <a:lnTo>
                  <a:pt x="4178" y="773"/>
                </a:lnTo>
                <a:lnTo>
                  <a:pt x="4182" y="776"/>
                </a:lnTo>
                <a:lnTo>
                  <a:pt x="4186" y="780"/>
                </a:lnTo>
                <a:lnTo>
                  <a:pt x="4189" y="784"/>
                </a:lnTo>
                <a:lnTo>
                  <a:pt x="4192" y="789"/>
                </a:lnTo>
                <a:lnTo>
                  <a:pt x="4194" y="794"/>
                </a:lnTo>
                <a:lnTo>
                  <a:pt x="4194" y="798"/>
                </a:lnTo>
                <a:lnTo>
                  <a:pt x="4193" y="804"/>
                </a:lnTo>
                <a:lnTo>
                  <a:pt x="4192" y="809"/>
                </a:lnTo>
                <a:lnTo>
                  <a:pt x="4189" y="816"/>
                </a:lnTo>
                <a:lnTo>
                  <a:pt x="4185" y="822"/>
                </a:lnTo>
                <a:lnTo>
                  <a:pt x="4177" y="832"/>
                </a:lnTo>
                <a:lnTo>
                  <a:pt x="4164" y="846"/>
                </a:lnTo>
                <a:lnTo>
                  <a:pt x="4135" y="879"/>
                </a:lnTo>
                <a:lnTo>
                  <a:pt x="4105" y="913"/>
                </a:lnTo>
                <a:lnTo>
                  <a:pt x="4093" y="927"/>
                </a:lnTo>
                <a:lnTo>
                  <a:pt x="4083" y="940"/>
                </a:lnTo>
                <a:lnTo>
                  <a:pt x="4081" y="944"/>
                </a:lnTo>
                <a:lnTo>
                  <a:pt x="4079" y="947"/>
                </a:lnTo>
                <a:lnTo>
                  <a:pt x="4078" y="951"/>
                </a:lnTo>
                <a:lnTo>
                  <a:pt x="4078" y="954"/>
                </a:lnTo>
                <a:lnTo>
                  <a:pt x="4078" y="959"/>
                </a:lnTo>
                <a:lnTo>
                  <a:pt x="4080" y="963"/>
                </a:lnTo>
                <a:lnTo>
                  <a:pt x="4082" y="968"/>
                </a:lnTo>
                <a:lnTo>
                  <a:pt x="4085" y="972"/>
                </a:lnTo>
                <a:lnTo>
                  <a:pt x="4092" y="981"/>
                </a:lnTo>
                <a:lnTo>
                  <a:pt x="4102" y="994"/>
                </a:lnTo>
                <a:lnTo>
                  <a:pt x="4131" y="1023"/>
                </a:lnTo>
                <a:lnTo>
                  <a:pt x="4163" y="1056"/>
                </a:lnTo>
                <a:lnTo>
                  <a:pt x="4195" y="1087"/>
                </a:lnTo>
                <a:lnTo>
                  <a:pt x="4196" y="1088"/>
                </a:lnTo>
                <a:lnTo>
                  <a:pt x="4198" y="1091"/>
                </a:lnTo>
                <a:lnTo>
                  <a:pt x="4199" y="1093"/>
                </a:lnTo>
                <a:lnTo>
                  <a:pt x="4199" y="1095"/>
                </a:lnTo>
                <a:lnTo>
                  <a:pt x="4198" y="1101"/>
                </a:lnTo>
                <a:lnTo>
                  <a:pt x="4197" y="1104"/>
                </a:lnTo>
                <a:lnTo>
                  <a:pt x="4196" y="1107"/>
                </a:lnTo>
                <a:lnTo>
                  <a:pt x="4192" y="1113"/>
                </a:lnTo>
                <a:lnTo>
                  <a:pt x="4190" y="1116"/>
                </a:lnTo>
                <a:lnTo>
                  <a:pt x="4188" y="1119"/>
                </a:lnTo>
                <a:lnTo>
                  <a:pt x="4182" y="1123"/>
                </a:lnTo>
                <a:lnTo>
                  <a:pt x="4179" y="1125"/>
                </a:lnTo>
                <a:lnTo>
                  <a:pt x="4177" y="1127"/>
                </a:lnTo>
                <a:lnTo>
                  <a:pt x="4171" y="1129"/>
                </a:lnTo>
                <a:lnTo>
                  <a:pt x="4167" y="1130"/>
                </a:lnTo>
                <a:lnTo>
                  <a:pt x="4164" y="1130"/>
                </a:lnTo>
                <a:close/>
                <a:moveTo>
                  <a:pt x="3777" y="2129"/>
                </a:moveTo>
                <a:lnTo>
                  <a:pt x="3769" y="2129"/>
                </a:lnTo>
                <a:lnTo>
                  <a:pt x="3762" y="2128"/>
                </a:lnTo>
                <a:lnTo>
                  <a:pt x="3754" y="2127"/>
                </a:lnTo>
                <a:lnTo>
                  <a:pt x="3746" y="2126"/>
                </a:lnTo>
                <a:lnTo>
                  <a:pt x="3739" y="2124"/>
                </a:lnTo>
                <a:lnTo>
                  <a:pt x="3731" y="2121"/>
                </a:lnTo>
                <a:lnTo>
                  <a:pt x="3718" y="2116"/>
                </a:lnTo>
                <a:lnTo>
                  <a:pt x="3705" y="2108"/>
                </a:lnTo>
                <a:lnTo>
                  <a:pt x="3698" y="2104"/>
                </a:lnTo>
                <a:lnTo>
                  <a:pt x="3692" y="2100"/>
                </a:lnTo>
                <a:lnTo>
                  <a:pt x="3686" y="2095"/>
                </a:lnTo>
                <a:lnTo>
                  <a:pt x="3680" y="2090"/>
                </a:lnTo>
                <a:lnTo>
                  <a:pt x="3674" y="2084"/>
                </a:lnTo>
                <a:lnTo>
                  <a:pt x="3669" y="2078"/>
                </a:lnTo>
                <a:lnTo>
                  <a:pt x="3664" y="2072"/>
                </a:lnTo>
                <a:lnTo>
                  <a:pt x="3660" y="2065"/>
                </a:lnTo>
                <a:lnTo>
                  <a:pt x="3655" y="2058"/>
                </a:lnTo>
                <a:lnTo>
                  <a:pt x="3651" y="2051"/>
                </a:lnTo>
                <a:lnTo>
                  <a:pt x="3647" y="2044"/>
                </a:lnTo>
                <a:lnTo>
                  <a:pt x="3643" y="2037"/>
                </a:lnTo>
                <a:lnTo>
                  <a:pt x="3640" y="2029"/>
                </a:lnTo>
                <a:lnTo>
                  <a:pt x="3637" y="2022"/>
                </a:lnTo>
                <a:lnTo>
                  <a:pt x="3634" y="2014"/>
                </a:lnTo>
                <a:lnTo>
                  <a:pt x="3632" y="2005"/>
                </a:lnTo>
                <a:lnTo>
                  <a:pt x="3629" y="1996"/>
                </a:lnTo>
                <a:lnTo>
                  <a:pt x="3627" y="1988"/>
                </a:lnTo>
                <a:lnTo>
                  <a:pt x="3626" y="1979"/>
                </a:lnTo>
                <a:lnTo>
                  <a:pt x="3625" y="1970"/>
                </a:lnTo>
                <a:lnTo>
                  <a:pt x="3625" y="1961"/>
                </a:lnTo>
                <a:lnTo>
                  <a:pt x="3624" y="1952"/>
                </a:lnTo>
                <a:lnTo>
                  <a:pt x="3625" y="1932"/>
                </a:lnTo>
                <a:lnTo>
                  <a:pt x="3626" y="1923"/>
                </a:lnTo>
                <a:lnTo>
                  <a:pt x="3628" y="1914"/>
                </a:lnTo>
                <a:lnTo>
                  <a:pt x="3629" y="1905"/>
                </a:lnTo>
                <a:lnTo>
                  <a:pt x="3632" y="1896"/>
                </a:lnTo>
                <a:lnTo>
                  <a:pt x="3635" y="1886"/>
                </a:lnTo>
                <a:lnTo>
                  <a:pt x="3638" y="1878"/>
                </a:lnTo>
                <a:lnTo>
                  <a:pt x="3641" y="1869"/>
                </a:lnTo>
                <a:lnTo>
                  <a:pt x="3644" y="1861"/>
                </a:lnTo>
                <a:lnTo>
                  <a:pt x="3648" y="1853"/>
                </a:lnTo>
                <a:lnTo>
                  <a:pt x="3652" y="1845"/>
                </a:lnTo>
                <a:lnTo>
                  <a:pt x="3657" y="1838"/>
                </a:lnTo>
                <a:lnTo>
                  <a:pt x="3661" y="1829"/>
                </a:lnTo>
                <a:lnTo>
                  <a:pt x="3672" y="1815"/>
                </a:lnTo>
                <a:lnTo>
                  <a:pt x="3677" y="1809"/>
                </a:lnTo>
                <a:lnTo>
                  <a:pt x="3683" y="1803"/>
                </a:lnTo>
                <a:lnTo>
                  <a:pt x="3696" y="1791"/>
                </a:lnTo>
                <a:lnTo>
                  <a:pt x="3703" y="1786"/>
                </a:lnTo>
                <a:lnTo>
                  <a:pt x="3709" y="1781"/>
                </a:lnTo>
                <a:lnTo>
                  <a:pt x="3716" y="1777"/>
                </a:lnTo>
                <a:lnTo>
                  <a:pt x="3723" y="1773"/>
                </a:lnTo>
                <a:lnTo>
                  <a:pt x="3730" y="1768"/>
                </a:lnTo>
                <a:lnTo>
                  <a:pt x="3738" y="1765"/>
                </a:lnTo>
                <a:lnTo>
                  <a:pt x="3745" y="1762"/>
                </a:lnTo>
                <a:lnTo>
                  <a:pt x="3754" y="1760"/>
                </a:lnTo>
                <a:lnTo>
                  <a:pt x="3762" y="1758"/>
                </a:lnTo>
                <a:lnTo>
                  <a:pt x="3770" y="1757"/>
                </a:lnTo>
                <a:lnTo>
                  <a:pt x="3778" y="1756"/>
                </a:lnTo>
                <a:lnTo>
                  <a:pt x="3786" y="1756"/>
                </a:lnTo>
                <a:lnTo>
                  <a:pt x="3797" y="1756"/>
                </a:lnTo>
                <a:lnTo>
                  <a:pt x="3802" y="1757"/>
                </a:lnTo>
                <a:lnTo>
                  <a:pt x="3806" y="1758"/>
                </a:lnTo>
                <a:lnTo>
                  <a:pt x="3812" y="1759"/>
                </a:lnTo>
                <a:lnTo>
                  <a:pt x="3816" y="1760"/>
                </a:lnTo>
                <a:lnTo>
                  <a:pt x="3825" y="1763"/>
                </a:lnTo>
                <a:lnTo>
                  <a:pt x="3833" y="1767"/>
                </a:lnTo>
                <a:lnTo>
                  <a:pt x="3840" y="1773"/>
                </a:lnTo>
                <a:lnTo>
                  <a:pt x="3847" y="1778"/>
                </a:lnTo>
                <a:lnTo>
                  <a:pt x="3853" y="1784"/>
                </a:lnTo>
                <a:lnTo>
                  <a:pt x="3855" y="1787"/>
                </a:lnTo>
                <a:lnTo>
                  <a:pt x="3858" y="1791"/>
                </a:lnTo>
                <a:lnTo>
                  <a:pt x="3863" y="1798"/>
                </a:lnTo>
                <a:lnTo>
                  <a:pt x="3867" y="1806"/>
                </a:lnTo>
                <a:lnTo>
                  <a:pt x="3871" y="1814"/>
                </a:lnTo>
                <a:lnTo>
                  <a:pt x="3874" y="1823"/>
                </a:lnTo>
                <a:lnTo>
                  <a:pt x="3876" y="1833"/>
                </a:lnTo>
                <a:lnTo>
                  <a:pt x="3877" y="1842"/>
                </a:lnTo>
                <a:lnTo>
                  <a:pt x="3877" y="1852"/>
                </a:lnTo>
                <a:lnTo>
                  <a:pt x="3876" y="1865"/>
                </a:lnTo>
                <a:lnTo>
                  <a:pt x="3876" y="1871"/>
                </a:lnTo>
                <a:lnTo>
                  <a:pt x="3874" y="1877"/>
                </a:lnTo>
                <a:lnTo>
                  <a:pt x="3869" y="1889"/>
                </a:lnTo>
                <a:lnTo>
                  <a:pt x="3864" y="1902"/>
                </a:lnTo>
                <a:lnTo>
                  <a:pt x="3858" y="1913"/>
                </a:lnTo>
                <a:lnTo>
                  <a:pt x="3851" y="1923"/>
                </a:lnTo>
                <a:lnTo>
                  <a:pt x="3847" y="1928"/>
                </a:lnTo>
                <a:lnTo>
                  <a:pt x="3843" y="1933"/>
                </a:lnTo>
                <a:lnTo>
                  <a:pt x="3833" y="1943"/>
                </a:lnTo>
                <a:lnTo>
                  <a:pt x="3823" y="1952"/>
                </a:lnTo>
                <a:lnTo>
                  <a:pt x="3818" y="1956"/>
                </a:lnTo>
                <a:lnTo>
                  <a:pt x="3813" y="1960"/>
                </a:lnTo>
                <a:lnTo>
                  <a:pt x="3800" y="1966"/>
                </a:lnTo>
                <a:lnTo>
                  <a:pt x="3789" y="1972"/>
                </a:lnTo>
                <a:lnTo>
                  <a:pt x="3777" y="1976"/>
                </a:lnTo>
                <a:lnTo>
                  <a:pt x="3771" y="1978"/>
                </a:lnTo>
                <a:lnTo>
                  <a:pt x="3764" y="1980"/>
                </a:lnTo>
                <a:lnTo>
                  <a:pt x="3758" y="1981"/>
                </a:lnTo>
                <a:lnTo>
                  <a:pt x="3752" y="1982"/>
                </a:lnTo>
                <a:lnTo>
                  <a:pt x="3738" y="1982"/>
                </a:lnTo>
                <a:lnTo>
                  <a:pt x="3733" y="1982"/>
                </a:lnTo>
                <a:lnTo>
                  <a:pt x="3728" y="1980"/>
                </a:lnTo>
                <a:lnTo>
                  <a:pt x="3723" y="1977"/>
                </a:lnTo>
                <a:lnTo>
                  <a:pt x="3721" y="1975"/>
                </a:lnTo>
                <a:lnTo>
                  <a:pt x="3720" y="1973"/>
                </a:lnTo>
                <a:lnTo>
                  <a:pt x="3716" y="1969"/>
                </a:lnTo>
                <a:lnTo>
                  <a:pt x="3714" y="1963"/>
                </a:lnTo>
                <a:lnTo>
                  <a:pt x="3713" y="1961"/>
                </a:lnTo>
                <a:lnTo>
                  <a:pt x="3713" y="1958"/>
                </a:lnTo>
                <a:lnTo>
                  <a:pt x="3712" y="1950"/>
                </a:lnTo>
                <a:lnTo>
                  <a:pt x="3712" y="1947"/>
                </a:lnTo>
                <a:lnTo>
                  <a:pt x="3712" y="1945"/>
                </a:lnTo>
                <a:lnTo>
                  <a:pt x="3714" y="1940"/>
                </a:lnTo>
                <a:lnTo>
                  <a:pt x="3715" y="1938"/>
                </a:lnTo>
                <a:lnTo>
                  <a:pt x="3716" y="1936"/>
                </a:lnTo>
                <a:lnTo>
                  <a:pt x="3717" y="1934"/>
                </a:lnTo>
                <a:lnTo>
                  <a:pt x="3719" y="1933"/>
                </a:lnTo>
                <a:lnTo>
                  <a:pt x="3730" y="1931"/>
                </a:lnTo>
                <a:lnTo>
                  <a:pt x="3741" y="1928"/>
                </a:lnTo>
                <a:lnTo>
                  <a:pt x="3752" y="1925"/>
                </a:lnTo>
                <a:lnTo>
                  <a:pt x="3761" y="1921"/>
                </a:lnTo>
                <a:lnTo>
                  <a:pt x="3770" y="1917"/>
                </a:lnTo>
                <a:lnTo>
                  <a:pt x="3779" y="1911"/>
                </a:lnTo>
                <a:lnTo>
                  <a:pt x="3787" y="1906"/>
                </a:lnTo>
                <a:lnTo>
                  <a:pt x="3790" y="1903"/>
                </a:lnTo>
                <a:lnTo>
                  <a:pt x="3794" y="1900"/>
                </a:lnTo>
                <a:lnTo>
                  <a:pt x="3800" y="1894"/>
                </a:lnTo>
                <a:lnTo>
                  <a:pt x="3806" y="1886"/>
                </a:lnTo>
                <a:lnTo>
                  <a:pt x="3812" y="1880"/>
                </a:lnTo>
                <a:lnTo>
                  <a:pt x="3816" y="1873"/>
                </a:lnTo>
                <a:lnTo>
                  <a:pt x="3819" y="1866"/>
                </a:lnTo>
                <a:lnTo>
                  <a:pt x="3822" y="1859"/>
                </a:lnTo>
                <a:lnTo>
                  <a:pt x="3823" y="1852"/>
                </a:lnTo>
                <a:lnTo>
                  <a:pt x="3824" y="1845"/>
                </a:lnTo>
                <a:lnTo>
                  <a:pt x="3823" y="1837"/>
                </a:lnTo>
                <a:lnTo>
                  <a:pt x="3821" y="1828"/>
                </a:lnTo>
                <a:lnTo>
                  <a:pt x="3820" y="1825"/>
                </a:lnTo>
                <a:lnTo>
                  <a:pt x="3818" y="1822"/>
                </a:lnTo>
                <a:lnTo>
                  <a:pt x="3816" y="1819"/>
                </a:lnTo>
                <a:lnTo>
                  <a:pt x="3813" y="1817"/>
                </a:lnTo>
                <a:lnTo>
                  <a:pt x="3806" y="1812"/>
                </a:lnTo>
                <a:lnTo>
                  <a:pt x="3803" y="1811"/>
                </a:lnTo>
                <a:lnTo>
                  <a:pt x="3799" y="1809"/>
                </a:lnTo>
                <a:lnTo>
                  <a:pt x="3792" y="1807"/>
                </a:lnTo>
                <a:lnTo>
                  <a:pt x="3787" y="1807"/>
                </a:lnTo>
                <a:lnTo>
                  <a:pt x="3783" y="1807"/>
                </a:lnTo>
                <a:lnTo>
                  <a:pt x="3774" y="1807"/>
                </a:lnTo>
                <a:lnTo>
                  <a:pt x="3769" y="1808"/>
                </a:lnTo>
                <a:lnTo>
                  <a:pt x="3765" y="1810"/>
                </a:lnTo>
                <a:lnTo>
                  <a:pt x="3761" y="1811"/>
                </a:lnTo>
                <a:lnTo>
                  <a:pt x="3756" y="1813"/>
                </a:lnTo>
                <a:lnTo>
                  <a:pt x="3752" y="1815"/>
                </a:lnTo>
                <a:lnTo>
                  <a:pt x="3746" y="1818"/>
                </a:lnTo>
                <a:lnTo>
                  <a:pt x="3742" y="1821"/>
                </a:lnTo>
                <a:lnTo>
                  <a:pt x="3738" y="1824"/>
                </a:lnTo>
                <a:lnTo>
                  <a:pt x="3730" y="1832"/>
                </a:lnTo>
                <a:lnTo>
                  <a:pt x="3722" y="1840"/>
                </a:lnTo>
                <a:lnTo>
                  <a:pt x="3714" y="1849"/>
                </a:lnTo>
                <a:lnTo>
                  <a:pt x="3711" y="1854"/>
                </a:lnTo>
                <a:lnTo>
                  <a:pt x="3707" y="1859"/>
                </a:lnTo>
                <a:lnTo>
                  <a:pt x="3701" y="1870"/>
                </a:lnTo>
                <a:lnTo>
                  <a:pt x="3696" y="1881"/>
                </a:lnTo>
                <a:lnTo>
                  <a:pt x="3691" y="1894"/>
                </a:lnTo>
                <a:lnTo>
                  <a:pt x="3686" y="1907"/>
                </a:lnTo>
                <a:lnTo>
                  <a:pt x="3683" y="1920"/>
                </a:lnTo>
                <a:lnTo>
                  <a:pt x="3682" y="1934"/>
                </a:lnTo>
                <a:lnTo>
                  <a:pt x="3681" y="1941"/>
                </a:lnTo>
                <a:lnTo>
                  <a:pt x="3681" y="1948"/>
                </a:lnTo>
                <a:lnTo>
                  <a:pt x="3681" y="1962"/>
                </a:lnTo>
                <a:lnTo>
                  <a:pt x="3683" y="1974"/>
                </a:lnTo>
                <a:lnTo>
                  <a:pt x="3685" y="1986"/>
                </a:lnTo>
                <a:lnTo>
                  <a:pt x="3686" y="1991"/>
                </a:lnTo>
                <a:lnTo>
                  <a:pt x="3688" y="1997"/>
                </a:lnTo>
                <a:lnTo>
                  <a:pt x="3693" y="2007"/>
                </a:lnTo>
                <a:lnTo>
                  <a:pt x="3695" y="2013"/>
                </a:lnTo>
                <a:lnTo>
                  <a:pt x="3697" y="2018"/>
                </a:lnTo>
                <a:lnTo>
                  <a:pt x="3699" y="2023"/>
                </a:lnTo>
                <a:lnTo>
                  <a:pt x="3702" y="2027"/>
                </a:lnTo>
                <a:lnTo>
                  <a:pt x="3705" y="2031"/>
                </a:lnTo>
                <a:lnTo>
                  <a:pt x="3708" y="2035"/>
                </a:lnTo>
                <a:lnTo>
                  <a:pt x="3711" y="2039"/>
                </a:lnTo>
                <a:lnTo>
                  <a:pt x="3715" y="2043"/>
                </a:lnTo>
                <a:lnTo>
                  <a:pt x="3722" y="2050"/>
                </a:lnTo>
                <a:lnTo>
                  <a:pt x="3730" y="2055"/>
                </a:lnTo>
                <a:lnTo>
                  <a:pt x="3738" y="2060"/>
                </a:lnTo>
                <a:lnTo>
                  <a:pt x="3747" y="2064"/>
                </a:lnTo>
                <a:lnTo>
                  <a:pt x="3758" y="2067"/>
                </a:lnTo>
                <a:lnTo>
                  <a:pt x="3768" y="2068"/>
                </a:lnTo>
                <a:lnTo>
                  <a:pt x="3773" y="2069"/>
                </a:lnTo>
                <a:lnTo>
                  <a:pt x="3779" y="2069"/>
                </a:lnTo>
                <a:lnTo>
                  <a:pt x="3789" y="2068"/>
                </a:lnTo>
                <a:lnTo>
                  <a:pt x="3800" y="2067"/>
                </a:lnTo>
                <a:lnTo>
                  <a:pt x="3809" y="2064"/>
                </a:lnTo>
                <a:lnTo>
                  <a:pt x="3820" y="2061"/>
                </a:lnTo>
                <a:lnTo>
                  <a:pt x="3829" y="2057"/>
                </a:lnTo>
                <a:lnTo>
                  <a:pt x="3838" y="2052"/>
                </a:lnTo>
                <a:lnTo>
                  <a:pt x="3847" y="2046"/>
                </a:lnTo>
                <a:lnTo>
                  <a:pt x="3855" y="2039"/>
                </a:lnTo>
                <a:lnTo>
                  <a:pt x="3863" y="2032"/>
                </a:lnTo>
                <a:lnTo>
                  <a:pt x="3872" y="2024"/>
                </a:lnTo>
                <a:lnTo>
                  <a:pt x="3879" y="2016"/>
                </a:lnTo>
                <a:lnTo>
                  <a:pt x="3886" y="2006"/>
                </a:lnTo>
                <a:lnTo>
                  <a:pt x="3899" y="1986"/>
                </a:lnTo>
                <a:lnTo>
                  <a:pt x="3905" y="1976"/>
                </a:lnTo>
                <a:lnTo>
                  <a:pt x="3910" y="1965"/>
                </a:lnTo>
                <a:lnTo>
                  <a:pt x="3916" y="1954"/>
                </a:lnTo>
                <a:lnTo>
                  <a:pt x="3920" y="1942"/>
                </a:lnTo>
                <a:lnTo>
                  <a:pt x="3925" y="1930"/>
                </a:lnTo>
                <a:lnTo>
                  <a:pt x="3929" y="1919"/>
                </a:lnTo>
                <a:lnTo>
                  <a:pt x="3934" y="1907"/>
                </a:lnTo>
                <a:lnTo>
                  <a:pt x="3937" y="1895"/>
                </a:lnTo>
                <a:lnTo>
                  <a:pt x="3940" y="1882"/>
                </a:lnTo>
                <a:lnTo>
                  <a:pt x="3943" y="1870"/>
                </a:lnTo>
                <a:lnTo>
                  <a:pt x="3945" y="1858"/>
                </a:lnTo>
                <a:lnTo>
                  <a:pt x="3947" y="1846"/>
                </a:lnTo>
                <a:lnTo>
                  <a:pt x="3948" y="1834"/>
                </a:lnTo>
                <a:lnTo>
                  <a:pt x="3949" y="1822"/>
                </a:lnTo>
                <a:lnTo>
                  <a:pt x="3950" y="1810"/>
                </a:lnTo>
                <a:lnTo>
                  <a:pt x="3950" y="1799"/>
                </a:lnTo>
                <a:lnTo>
                  <a:pt x="3950" y="1788"/>
                </a:lnTo>
                <a:lnTo>
                  <a:pt x="3950" y="1778"/>
                </a:lnTo>
                <a:lnTo>
                  <a:pt x="3951" y="1776"/>
                </a:lnTo>
                <a:lnTo>
                  <a:pt x="3953" y="1773"/>
                </a:lnTo>
                <a:lnTo>
                  <a:pt x="3955" y="1770"/>
                </a:lnTo>
                <a:lnTo>
                  <a:pt x="3957" y="1769"/>
                </a:lnTo>
                <a:lnTo>
                  <a:pt x="3964" y="1766"/>
                </a:lnTo>
                <a:lnTo>
                  <a:pt x="3968" y="1765"/>
                </a:lnTo>
                <a:lnTo>
                  <a:pt x="3972" y="1765"/>
                </a:lnTo>
                <a:lnTo>
                  <a:pt x="3979" y="1765"/>
                </a:lnTo>
                <a:lnTo>
                  <a:pt x="3983" y="1766"/>
                </a:lnTo>
                <a:lnTo>
                  <a:pt x="3986" y="1767"/>
                </a:lnTo>
                <a:lnTo>
                  <a:pt x="3993" y="1770"/>
                </a:lnTo>
                <a:lnTo>
                  <a:pt x="3995" y="1773"/>
                </a:lnTo>
                <a:lnTo>
                  <a:pt x="3998" y="1775"/>
                </a:lnTo>
                <a:lnTo>
                  <a:pt x="4002" y="1781"/>
                </a:lnTo>
                <a:lnTo>
                  <a:pt x="4003" y="1784"/>
                </a:lnTo>
                <a:lnTo>
                  <a:pt x="4005" y="1788"/>
                </a:lnTo>
                <a:lnTo>
                  <a:pt x="4006" y="1793"/>
                </a:lnTo>
                <a:lnTo>
                  <a:pt x="4006" y="1797"/>
                </a:lnTo>
                <a:lnTo>
                  <a:pt x="4007" y="1803"/>
                </a:lnTo>
                <a:lnTo>
                  <a:pt x="4007" y="1809"/>
                </a:lnTo>
                <a:lnTo>
                  <a:pt x="4007" y="1824"/>
                </a:lnTo>
                <a:lnTo>
                  <a:pt x="4006" y="1841"/>
                </a:lnTo>
                <a:lnTo>
                  <a:pt x="4004" y="1856"/>
                </a:lnTo>
                <a:lnTo>
                  <a:pt x="4002" y="1871"/>
                </a:lnTo>
                <a:lnTo>
                  <a:pt x="3999" y="1886"/>
                </a:lnTo>
                <a:lnTo>
                  <a:pt x="3996" y="1902"/>
                </a:lnTo>
                <a:lnTo>
                  <a:pt x="3993" y="1916"/>
                </a:lnTo>
                <a:lnTo>
                  <a:pt x="3988" y="1930"/>
                </a:lnTo>
                <a:lnTo>
                  <a:pt x="3984" y="1944"/>
                </a:lnTo>
                <a:lnTo>
                  <a:pt x="3979" y="1959"/>
                </a:lnTo>
                <a:lnTo>
                  <a:pt x="3974" y="1972"/>
                </a:lnTo>
                <a:lnTo>
                  <a:pt x="3968" y="1985"/>
                </a:lnTo>
                <a:lnTo>
                  <a:pt x="3962" y="1997"/>
                </a:lnTo>
                <a:lnTo>
                  <a:pt x="3955" y="2009"/>
                </a:lnTo>
                <a:lnTo>
                  <a:pt x="3948" y="2022"/>
                </a:lnTo>
                <a:lnTo>
                  <a:pt x="3941" y="2033"/>
                </a:lnTo>
                <a:lnTo>
                  <a:pt x="3933" y="2043"/>
                </a:lnTo>
                <a:lnTo>
                  <a:pt x="3924" y="2054"/>
                </a:lnTo>
                <a:lnTo>
                  <a:pt x="3916" y="2063"/>
                </a:lnTo>
                <a:lnTo>
                  <a:pt x="3907" y="2073"/>
                </a:lnTo>
                <a:lnTo>
                  <a:pt x="3898" y="2082"/>
                </a:lnTo>
                <a:lnTo>
                  <a:pt x="3889" y="2090"/>
                </a:lnTo>
                <a:lnTo>
                  <a:pt x="3879" y="2097"/>
                </a:lnTo>
                <a:lnTo>
                  <a:pt x="3868" y="2103"/>
                </a:lnTo>
                <a:lnTo>
                  <a:pt x="3858" y="2109"/>
                </a:lnTo>
                <a:lnTo>
                  <a:pt x="3847" y="2114"/>
                </a:lnTo>
                <a:lnTo>
                  <a:pt x="3836" y="2119"/>
                </a:lnTo>
                <a:lnTo>
                  <a:pt x="3825" y="2122"/>
                </a:lnTo>
                <a:lnTo>
                  <a:pt x="3814" y="2125"/>
                </a:lnTo>
                <a:lnTo>
                  <a:pt x="3801" y="2127"/>
                </a:lnTo>
                <a:lnTo>
                  <a:pt x="3789" y="2129"/>
                </a:lnTo>
                <a:lnTo>
                  <a:pt x="3777" y="2129"/>
                </a:lnTo>
                <a:close/>
                <a:moveTo>
                  <a:pt x="4164" y="2123"/>
                </a:moveTo>
                <a:lnTo>
                  <a:pt x="4162" y="2123"/>
                </a:lnTo>
                <a:lnTo>
                  <a:pt x="4160" y="2123"/>
                </a:lnTo>
                <a:lnTo>
                  <a:pt x="4154" y="2120"/>
                </a:lnTo>
                <a:lnTo>
                  <a:pt x="4148" y="2116"/>
                </a:lnTo>
                <a:lnTo>
                  <a:pt x="4141" y="2110"/>
                </a:lnTo>
                <a:lnTo>
                  <a:pt x="4128" y="2099"/>
                </a:lnTo>
                <a:lnTo>
                  <a:pt x="4113" y="2085"/>
                </a:lnTo>
                <a:lnTo>
                  <a:pt x="4096" y="2068"/>
                </a:lnTo>
                <a:lnTo>
                  <a:pt x="4079" y="2051"/>
                </a:lnTo>
                <a:lnTo>
                  <a:pt x="4063" y="2034"/>
                </a:lnTo>
                <a:lnTo>
                  <a:pt x="4048" y="2018"/>
                </a:lnTo>
                <a:lnTo>
                  <a:pt x="4036" y="2003"/>
                </a:lnTo>
                <a:lnTo>
                  <a:pt x="4032" y="1997"/>
                </a:lnTo>
                <a:lnTo>
                  <a:pt x="4029" y="1991"/>
                </a:lnTo>
                <a:lnTo>
                  <a:pt x="4024" y="1981"/>
                </a:lnTo>
                <a:lnTo>
                  <a:pt x="4020" y="1971"/>
                </a:lnTo>
                <a:lnTo>
                  <a:pt x="4017" y="1962"/>
                </a:lnTo>
                <a:lnTo>
                  <a:pt x="4017" y="1952"/>
                </a:lnTo>
                <a:lnTo>
                  <a:pt x="4017" y="1945"/>
                </a:lnTo>
                <a:lnTo>
                  <a:pt x="4018" y="1940"/>
                </a:lnTo>
                <a:lnTo>
                  <a:pt x="4019" y="1934"/>
                </a:lnTo>
                <a:lnTo>
                  <a:pt x="4021" y="1928"/>
                </a:lnTo>
                <a:lnTo>
                  <a:pt x="4024" y="1922"/>
                </a:lnTo>
                <a:lnTo>
                  <a:pt x="4027" y="1915"/>
                </a:lnTo>
                <a:lnTo>
                  <a:pt x="4031" y="1909"/>
                </a:lnTo>
                <a:lnTo>
                  <a:pt x="4035" y="1902"/>
                </a:lnTo>
                <a:lnTo>
                  <a:pt x="4043" y="1890"/>
                </a:lnTo>
                <a:lnTo>
                  <a:pt x="4056" y="1876"/>
                </a:lnTo>
                <a:lnTo>
                  <a:pt x="4085" y="1842"/>
                </a:lnTo>
                <a:lnTo>
                  <a:pt x="4121" y="1802"/>
                </a:lnTo>
                <a:lnTo>
                  <a:pt x="4156" y="1761"/>
                </a:lnTo>
                <a:lnTo>
                  <a:pt x="4157" y="1761"/>
                </a:lnTo>
                <a:lnTo>
                  <a:pt x="4160" y="1760"/>
                </a:lnTo>
                <a:lnTo>
                  <a:pt x="4164" y="1761"/>
                </a:lnTo>
                <a:lnTo>
                  <a:pt x="4168" y="1762"/>
                </a:lnTo>
                <a:lnTo>
                  <a:pt x="4173" y="1764"/>
                </a:lnTo>
                <a:lnTo>
                  <a:pt x="4178" y="1766"/>
                </a:lnTo>
                <a:lnTo>
                  <a:pt x="4182" y="1769"/>
                </a:lnTo>
                <a:lnTo>
                  <a:pt x="4186" y="1774"/>
                </a:lnTo>
                <a:lnTo>
                  <a:pt x="4189" y="1778"/>
                </a:lnTo>
                <a:lnTo>
                  <a:pt x="4192" y="1783"/>
                </a:lnTo>
                <a:lnTo>
                  <a:pt x="4194" y="1788"/>
                </a:lnTo>
                <a:lnTo>
                  <a:pt x="4194" y="1793"/>
                </a:lnTo>
                <a:lnTo>
                  <a:pt x="4193" y="1798"/>
                </a:lnTo>
                <a:lnTo>
                  <a:pt x="4192" y="1803"/>
                </a:lnTo>
                <a:lnTo>
                  <a:pt x="4189" y="1809"/>
                </a:lnTo>
                <a:lnTo>
                  <a:pt x="4185" y="1815"/>
                </a:lnTo>
                <a:lnTo>
                  <a:pt x="4177" y="1825"/>
                </a:lnTo>
                <a:lnTo>
                  <a:pt x="4164" y="1840"/>
                </a:lnTo>
                <a:lnTo>
                  <a:pt x="4135" y="1873"/>
                </a:lnTo>
                <a:lnTo>
                  <a:pt x="4105" y="1907"/>
                </a:lnTo>
                <a:lnTo>
                  <a:pt x="4093" y="1921"/>
                </a:lnTo>
                <a:lnTo>
                  <a:pt x="4083" y="1933"/>
                </a:lnTo>
                <a:lnTo>
                  <a:pt x="4081" y="1937"/>
                </a:lnTo>
                <a:lnTo>
                  <a:pt x="4079" y="1940"/>
                </a:lnTo>
                <a:lnTo>
                  <a:pt x="4078" y="1944"/>
                </a:lnTo>
                <a:lnTo>
                  <a:pt x="4078" y="1948"/>
                </a:lnTo>
                <a:lnTo>
                  <a:pt x="4078" y="1953"/>
                </a:lnTo>
                <a:lnTo>
                  <a:pt x="4080" y="1957"/>
                </a:lnTo>
                <a:lnTo>
                  <a:pt x="4082" y="1962"/>
                </a:lnTo>
                <a:lnTo>
                  <a:pt x="4085" y="1967"/>
                </a:lnTo>
                <a:lnTo>
                  <a:pt x="4092" y="1976"/>
                </a:lnTo>
                <a:lnTo>
                  <a:pt x="4102" y="1987"/>
                </a:lnTo>
                <a:lnTo>
                  <a:pt x="4131" y="2017"/>
                </a:lnTo>
                <a:lnTo>
                  <a:pt x="4163" y="2050"/>
                </a:lnTo>
                <a:lnTo>
                  <a:pt x="4195" y="2081"/>
                </a:lnTo>
                <a:lnTo>
                  <a:pt x="4196" y="2083"/>
                </a:lnTo>
                <a:lnTo>
                  <a:pt x="4198" y="2085"/>
                </a:lnTo>
                <a:lnTo>
                  <a:pt x="4199" y="2087"/>
                </a:lnTo>
                <a:lnTo>
                  <a:pt x="4199" y="2090"/>
                </a:lnTo>
                <a:lnTo>
                  <a:pt x="4198" y="2095"/>
                </a:lnTo>
                <a:lnTo>
                  <a:pt x="4197" y="2098"/>
                </a:lnTo>
                <a:lnTo>
                  <a:pt x="4196" y="2101"/>
                </a:lnTo>
                <a:lnTo>
                  <a:pt x="4192" y="2107"/>
                </a:lnTo>
                <a:lnTo>
                  <a:pt x="4190" y="2109"/>
                </a:lnTo>
                <a:lnTo>
                  <a:pt x="4188" y="2112"/>
                </a:lnTo>
                <a:lnTo>
                  <a:pt x="4182" y="2116"/>
                </a:lnTo>
                <a:lnTo>
                  <a:pt x="4179" y="2118"/>
                </a:lnTo>
                <a:lnTo>
                  <a:pt x="4177" y="2120"/>
                </a:lnTo>
                <a:lnTo>
                  <a:pt x="4171" y="2123"/>
                </a:lnTo>
                <a:lnTo>
                  <a:pt x="4167" y="2123"/>
                </a:lnTo>
                <a:lnTo>
                  <a:pt x="4164" y="2123"/>
                </a:lnTo>
                <a:close/>
                <a:moveTo>
                  <a:pt x="3777" y="3095"/>
                </a:moveTo>
                <a:lnTo>
                  <a:pt x="3769" y="3094"/>
                </a:lnTo>
                <a:lnTo>
                  <a:pt x="3762" y="3094"/>
                </a:lnTo>
                <a:lnTo>
                  <a:pt x="3754" y="3093"/>
                </a:lnTo>
                <a:lnTo>
                  <a:pt x="3746" y="3090"/>
                </a:lnTo>
                <a:lnTo>
                  <a:pt x="3739" y="3088"/>
                </a:lnTo>
                <a:lnTo>
                  <a:pt x="3731" y="3086"/>
                </a:lnTo>
                <a:lnTo>
                  <a:pt x="3718" y="3080"/>
                </a:lnTo>
                <a:lnTo>
                  <a:pt x="3705" y="3073"/>
                </a:lnTo>
                <a:lnTo>
                  <a:pt x="3698" y="3069"/>
                </a:lnTo>
                <a:lnTo>
                  <a:pt x="3692" y="3064"/>
                </a:lnTo>
                <a:lnTo>
                  <a:pt x="3686" y="3059"/>
                </a:lnTo>
                <a:lnTo>
                  <a:pt x="3680" y="3054"/>
                </a:lnTo>
                <a:lnTo>
                  <a:pt x="3674" y="3049"/>
                </a:lnTo>
                <a:lnTo>
                  <a:pt x="3669" y="3043"/>
                </a:lnTo>
                <a:lnTo>
                  <a:pt x="3664" y="3037"/>
                </a:lnTo>
                <a:lnTo>
                  <a:pt x="3660" y="3029"/>
                </a:lnTo>
                <a:lnTo>
                  <a:pt x="3655" y="3023"/>
                </a:lnTo>
                <a:lnTo>
                  <a:pt x="3651" y="3016"/>
                </a:lnTo>
                <a:lnTo>
                  <a:pt x="3647" y="3009"/>
                </a:lnTo>
                <a:lnTo>
                  <a:pt x="3643" y="3001"/>
                </a:lnTo>
                <a:lnTo>
                  <a:pt x="3640" y="2994"/>
                </a:lnTo>
                <a:lnTo>
                  <a:pt x="3637" y="2986"/>
                </a:lnTo>
                <a:lnTo>
                  <a:pt x="3634" y="2978"/>
                </a:lnTo>
                <a:lnTo>
                  <a:pt x="3632" y="2969"/>
                </a:lnTo>
                <a:lnTo>
                  <a:pt x="3629" y="2961"/>
                </a:lnTo>
                <a:lnTo>
                  <a:pt x="3627" y="2952"/>
                </a:lnTo>
                <a:lnTo>
                  <a:pt x="3626" y="2943"/>
                </a:lnTo>
                <a:lnTo>
                  <a:pt x="3625" y="2934"/>
                </a:lnTo>
                <a:lnTo>
                  <a:pt x="3625" y="2925"/>
                </a:lnTo>
                <a:lnTo>
                  <a:pt x="3624" y="2916"/>
                </a:lnTo>
                <a:lnTo>
                  <a:pt x="3625" y="2897"/>
                </a:lnTo>
                <a:lnTo>
                  <a:pt x="3626" y="2887"/>
                </a:lnTo>
                <a:lnTo>
                  <a:pt x="3628" y="2878"/>
                </a:lnTo>
                <a:lnTo>
                  <a:pt x="3629" y="2869"/>
                </a:lnTo>
                <a:lnTo>
                  <a:pt x="3632" y="2860"/>
                </a:lnTo>
                <a:lnTo>
                  <a:pt x="3635" y="2852"/>
                </a:lnTo>
                <a:lnTo>
                  <a:pt x="3638" y="2842"/>
                </a:lnTo>
                <a:lnTo>
                  <a:pt x="3641" y="2834"/>
                </a:lnTo>
                <a:lnTo>
                  <a:pt x="3644" y="2825"/>
                </a:lnTo>
                <a:lnTo>
                  <a:pt x="3648" y="2817"/>
                </a:lnTo>
                <a:lnTo>
                  <a:pt x="3652" y="2810"/>
                </a:lnTo>
                <a:lnTo>
                  <a:pt x="3657" y="2802"/>
                </a:lnTo>
                <a:lnTo>
                  <a:pt x="3661" y="2795"/>
                </a:lnTo>
                <a:lnTo>
                  <a:pt x="3672" y="2780"/>
                </a:lnTo>
                <a:lnTo>
                  <a:pt x="3677" y="2773"/>
                </a:lnTo>
                <a:lnTo>
                  <a:pt x="3683" y="2767"/>
                </a:lnTo>
                <a:lnTo>
                  <a:pt x="3696" y="2756"/>
                </a:lnTo>
                <a:lnTo>
                  <a:pt x="3703" y="2751"/>
                </a:lnTo>
                <a:lnTo>
                  <a:pt x="3709" y="2746"/>
                </a:lnTo>
                <a:lnTo>
                  <a:pt x="3716" y="2741"/>
                </a:lnTo>
                <a:lnTo>
                  <a:pt x="3723" y="2737"/>
                </a:lnTo>
                <a:lnTo>
                  <a:pt x="3730" y="2734"/>
                </a:lnTo>
                <a:lnTo>
                  <a:pt x="3738" y="2730"/>
                </a:lnTo>
                <a:lnTo>
                  <a:pt x="3745" y="2727"/>
                </a:lnTo>
                <a:lnTo>
                  <a:pt x="3754" y="2725"/>
                </a:lnTo>
                <a:lnTo>
                  <a:pt x="3762" y="2723"/>
                </a:lnTo>
                <a:lnTo>
                  <a:pt x="3770" y="2721"/>
                </a:lnTo>
                <a:lnTo>
                  <a:pt x="3778" y="2721"/>
                </a:lnTo>
                <a:lnTo>
                  <a:pt x="3786" y="2720"/>
                </a:lnTo>
                <a:lnTo>
                  <a:pt x="3797" y="2721"/>
                </a:lnTo>
                <a:lnTo>
                  <a:pt x="3802" y="2721"/>
                </a:lnTo>
                <a:lnTo>
                  <a:pt x="3806" y="2722"/>
                </a:lnTo>
                <a:lnTo>
                  <a:pt x="3812" y="2723"/>
                </a:lnTo>
                <a:lnTo>
                  <a:pt x="3816" y="2725"/>
                </a:lnTo>
                <a:lnTo>
                  <a:pt x="3825" y="2728"/>
                </a:lnTo>
                <a:lnTo>
                  <a:pt x="3833" y="2733"/>
                </a:lnTo>
                <a:lnTo>
                  <a:pt x="3840" y="2737"/>
                </a:lnTo>
                <a:lnTo>
                  <a:pt x="3847" y="2743"/>
                </a:lnTo>
                <a:lnTo>
                  <a:pt x="3853" y="2749"/>
                </a:lnTo>
                <a:lnTo>
                  <a:pt x="3855" y="2752"/>
                </a:lnTo>
                <a:lnTo>
                  <a:pt x="3858" y="2755"/>
                </a:lnTo>
                <a:lnTo>
                  <a:pt x="3863" y="2762"/>
                </a:lnTo>
                <a:lnTo>
                  <a:pt x="3867" y="2770"/>
                </a:lnTo>
                <a:lnTo>
                  <a:pt x="3871" y="2778"/>
                </a:lnTo>
                <a:lnTo>
                  <a:pt x="3874" y="2787"/>
                </a:lnTo>
                <a:lnTo>
                  <a:pt x="3876" y="2797"/>
                </a:lnTo>
                <a:lnTo>
                  <a:pt x="3877" y="2807"/>
                </a:lnTo>
                <a:lnTo>
                  <a:pt x="3877" y="2817"/>
                </a:lnTo>
                <a:lnTo>
                  <a:pt x="3876" y="2829"/>
                </a:lnTo>
                <a:lnTo>
                  <a:pt x="3876" y="2835"/>
                </a:lnTo>
                <a:lnTo>
                  <a:pt x="3874" y="2842"/>
                </a:lnTo>
                <a:lnTo>
                  <a:pt x="3869" y="2854"/>
                </a:lnTo>
                <a:lnTo>
                  <a:pt x="3864" y="2866"/>
                </a:lnTo>
                <a:lnTo>
                  <a:pt x="3858" y="2877"/>
                </a:lnTo>
                <a:lnTo>
                  <a:pt x="3851" y="2888"/>
                </a:lnTo>
                <a:lnTo>
                  <a:pt x="3847" y="2893"/>
                </a:lnTo>
                <a:lnTo>
                  <a:pt x="3843" y="2898"/>
                </a:lnTo>
                <a:lnTo>
                  <a:pt x="3833" y="2907"/>
                </a:lnTo>
                <a:lnTo>
                  <a:pt x="3823" y="2916"/>
                </a:lnTo>
                <a:lnTo>
                  <a:pt x="3818" y="2920"/>
                </a:lnTo>
                <a:lnTo>
                  <a:pt x="3813" y="2924"/>
                </a:lnTo>
                <a:lnTo>
                  <a:pt x="3800" y="2931"/>
                </a:lnTo>
                <a:lnTo>
                  <a:pt x="3789" y="2936"/>
                </a:lnTo>
                <a:lnTo>
                  <a:pt x="3777" y="2941"/>
                </a:lnTo>
                <a:lnTo>
                  <a:pt x="3771" y="2943"/>
                </a:lnTo>
                <a:lnTo>
                  <a:pt x="3764" y="2944"/>
                </a:lnTo>
                <a:lnTo>
                  <a:pt x="3758" y="2945"/>
                </a:lnTo>
                <a:lnTo>
                  <a:pt x="3752" y="2946"/>
                </a:lnTo>
                <a:lnTo>
                  <a:pt x="3738" y="2947"/>
                </a:lnTo>
                <a:lnTo>
                  <a:pt x="3733" y="2946"/>
                </a:lnTo>
                <a:lnTo>
                  <a:pt x="3728" y="2944"/>
                </a:lnTo>
                <a:lnTo>
                  <a:pt x="3723" y="2942"/>
                </a:lnTo>
                <a:lnTo>
                  <a:pt x="3721" y="2940"/>
                </a:lnTo>
                <a:lnTo>
                  <a:pt x="3720" y="2938"/>
                </a:lnTo>
                <a:lnTo>
                  <a:pt x="3716" y="2933"/>
                </a:lnTo>
                <a:lnTo>
                  <a:pt x="3714" y="2928"/>
                </a:lnTo>
                <a:lnTo>
                  <a:pt x="3713" y="2925"/>
                </a:lnTo>
                <a:lnTo>
                  <a:pt x="3713" y="2922"/>
                </a:lnTo>
                <a:lnTo>
                  <a:pt x="3712" y="2916"/>
                </a:lnTo>
                <a:lnTo>
                  <a:pt x="3712" y="2913"/>
                </a:lnTo>
                <a:lnTo>
                  <a:pt x="3712" y="2909"/>
                </a:lnTo>
                <a:lnTo>
                  <a:pt x="3714" y="2904"/>
                </a:lnTo>
                <a:lnTo>
                  <a:pt x="3715" y="2902"/>
                </a:lnTo>
                <a:lnTo>
                  <a:pt x="3716" y="2900"/>
                </a:lnTo>
                <a:lnTo>
                  <a:pt x="3717" y="2899"/>
                </a:lnTo>
                <a:lnTo>
                  <a:pt x="3719" y="2897"/>
                </a:lnTo>
                <a:lnTo>
                  <a:pt x="3730" y="2896"/>
                </a:lnTo>
                <a:lnTo>
                  <a:pt x="3741" y="2893"/>
                </a:lnTo>
                <a:lnTo>
                  <a:pt x="3752" y="2890"/>
                </a:lnTo>
                <a:lnTo>
                  <a:pt x="3761" y="2886"/>
                </a:lnTo>
                <a:lnTo>
                  <a:pt x="3770" y="2881"/>
                </a:lnTo>
                <a:lnTo>
                  <a:pt x="3779" y="2876"/>
                </a:lnTo>
                <a:lnTo>
                  <a:pt x="3787" y="2870"/>
                </a:lnTo>
                <a:lnTo>
                  <a:pt x="3790" y="2868"/>
                </a:lnTo>
                <a:lnTo>
                  <a:pt x="3794" y="2865"/>
                </a:lnTo>
                <a:lnTo>
                  <a:pt x="3800" y="2858"/>
                </a:lnTo>
                <a:lnTo>
                  <a:pt x="3806" y="2852"/>
                </a:lnTo>
                <a:lnTo>
                  <a:pt x="3812" y="2844"/>
                </a:lnTo>
                <a:lnTo>
                  <a:pt x="3816" y="2837"/>
                </a:lnTo>
                <a:lnTo>
                  <a:pt x="3819" y="2830"/>
                </a:lnTo>
                <a:lnTo>
                  <a:pt x="3822" y="2823"/>
                </a:lnTo>
                <a:lnTo>
                  <a:pt x="3823" y="2816"/>
                </a:lnTo>
                <a:lnTo>
                  <a:pt x="3824" y="2809"/>
                </a:lnTo>
                <a:lnTo>
                  <a:pt x="3823" y="2801"/>
                </a:lnTo>
                <a:lnTo>
                  <a:pt x="3821" y="2794"/>
                </a:lnTo>
                <a:lnTo>
                  <a:pt x="3820" y="2789"/>
                </a:lnTo>
                <a:lnTo>
                  <a:pt x="3818" y="2786"/>
                </a:lnTo>
                <a:lnTo>
                  <a:pt x="3816" y="2784"/>
                </a:lnTo>
                <a:lnTo>
                  <a:pt x="3813" y="2781"/>
                </a:lnTo>
                <a:lnTo>
                  <a:pt x="3806" y="2777"/>
                </a:lnTo>
                <a:lnTo>
                  <a:pt x="3803" y="2775"/>
                </a:lnTo>
                <a:lnTo>
                  <a:pt x="3799" y="2774"/>
                </a:lnTo>
                <a:lnTo>
                  <a:pt x="3792" y="2772"/>
                </a:lnTo>
                <a:lnTo>
                  <a:pt x="3787" y="2771"/>
                </a:lnTo>
                <a:lnTo>
                  <a:pt x="3783" y="2771"/>
                </a:lnTo>
                <a:lnTo>
                  <a:pt x="3774" y="2772"/>
                </a:lnTo>
                <a:lnTo>
                  <a:pt x="3769" y="2773"/>
                </a:lnTo>
                <a:lnTo>
                  <a:pt x="3765" y="2774"/>
                </a:lnTo>
                <a:lnTo>
                  <a:pt x="3761" y="2776"/>
                </a:lnTo>
                <a:lnTo>
                  <a:pt x="3756" y="2777"/>
                </a:lnTo>
                <a:lnTo>
                  <a:pt x="3752" y="2780"/>
                </a:lnTo>
                <a:lnTo>
                  <a:pt x="3746" y="2782"/>
                </a:lnTo>
                <a:lnTo>
                  <a:pt x="3742" y="2785"/>
                </a:lnTo>
                <a:lnTo>
                  <a:pt x="3738" y="2788"/>
                </a:lnTo>
                <a:lnTo>
                  <a:pt x="3730" y="2796"/>
                </a:lnTo>
                <a:lnTo>
                  <a:pt x="3722" y="2804"/>
                </a:lnTo>
                <a:lnTo>
                  <a:pt x="3714" y="2813"/>
                </a:lnTo>
                <a:lnTo>
                  <a:pt x="3711" y="2818"/>
                </a:lnTo>
                <a:lnTo>
                  <a:pt x="3707" y="2823"/>
                </a:lnTo>
                <a:lnTo>
                  <a:pt x="3701" y="2834"/>
                </a:lnTo>
                <a:lnTo>
                  <a:pt x="3696" y="2845"/>
                </a:lnTo>
                <a:lnTo>
                  <a:pt x="3691" y="2859"/>
                </a:lnTo>
                <a:lnTo>
                  <a:pt x="3686" y="2871"/>
                </a:lnTo>
                <a:lnTo>
                  <a:pt x="3683" y="2885"/>
                </a:lnTo>
                <a:lnTo>
                  <a:pt x="3682" y="2899"/>
                </a:lnTo>
                <a:lnTo>
                  <a:pt x="3681" y="2906"/>
                </a:lnTo>
                <a:lnTo>
                  <a:pt x="3681" y="2914"/>
                </a:lnTo>
                <a:lnTo>
                  <a:pt x="3681" y="2926"/>
                </a:lnTo>
                <a:lnTo>
                  <a:pt x="3683" y="2939"/>
                </a:lnTo>
                <a:lnTo>
                  <a:pt x="3685" y="2950"/>
                </a:lnTo>
                <a:lnTo>
                  <a:pt x="3686" y="2956"/>
                </a:lnTo>
                <a:lnTo>
                  <a:pt x="3688" y="2961"/>
                </a:lnTo>
                <a:lnTo>
                  <a:pt x="3693" y="2973"/>
                </a:lnTo>
                <a:lnTo>
                  <a:pt x="3695" y="2978"/>
                </a:lnTo>
                <a:lnTo>
                  <a:pt x="3697" y="2983"/>
                </a:lnTo>
                <a:lnTo>
                  <a:pt x="3699" y="2987"/>
                </a:lnTo>
                <a:lnTo>
                  <a:pt x="3702" y="2992"/>
                </a:lnTo>
                <a:lnTo>
                  <a:pt x="3705" y="2996"/>
                </a:lnTo>
                <a:lnTo>
                  <a:pt x="3708" y="3000"/>
                </a:lnTo>
                <a:lnTo>
                  <a:pt x="3711" y="3004"/>
                </a:lnTo>
                <a:lnTo>
                  <a:pt x="3715" y="3007"/>
                </a:lnTo>
                <a:lnTo>
                  <a:pt x="3722" y="3014"/>
                </a:lnTo>
                <a:lnTo>
                  <a:pt x="3730" y="3020"/>
                </a:lnTo>
                <a:lnTo>
                  <a:pt x="3738" y="3025"/>
                </a:lnTo>
                <a:lnTo>
                  <a:pt x="3747" y="3028"/>
                </a:lnTo>
                <a:lnTo>
                  <a:pt x="3758" y="3032"/>
                </a:lnTo>
                <a:lnTo>
                  <a:pt x="3768" y="3034"/>
                </a:lnTo>
                <a:lnTo>
                  <a:pt x="3773" y="3034"/>
                </a:lnTo>
                <a:lnTo>
                  <a:pt x="3779" y="3034"/>
                </a:lnTo>
                <a:lnTo>
                  <a:pt x="3789" y="3034"/>
                </a:lnTo>
                <a:lnTo>
                  <a:pt x="3800" y="3032"/>
                </a:lnTo>
                <a:lnTo>
                  <a:pt x="3809" y="3029"/>
                </a:lnTo>
                <a:lnTo>
                  <a:pt x="3820" y="3026"/>
                </a:lnTo>
                <a:lnTo>
                  <a:pt x="3829" y="3021"/>
                </a:lnTo>
                <a:lnTo>
                  <a:pt x="3838" y="3016"/>
                </a:lnTo>
                <a:lnTo>
                  <a:pt x="3847" y="3010"/>
                </a:lnTo>
                <a:lnTo>
                  <a:pt x="3855" y="3004"/>
                </a:lnTo>
                <a:lnTo>
                  <a:pt x="3863" y="2997"/>
                </a:lnTo>
                <a:lnTo>
                  <a:pt x="3872" y="2989"/>
                </a:lnTo>
                <a:lnTo>
                  <a:pt x="3879" y="2980"/>
                </a:lnTo>
                <a:lnTo>
                  <a:pt x="3886" y="2970"/>
                </a:lnTo>
                <a:lnTo>
                  <a:pt x="3899" y="2951"/>
                </a:lnTo>
                <a:lnTo>
                  <a:pt x="3905" y="2941"/>
                </a:lnTo>
                <a:lnTo>
                  <a:pt x="3910" y="2930"/>
                </a:lnTo>
                <a:lnTo>
                  <a:pt x="3916" y="2919"/>
                </a:lnTo>
                <a:lnTo>
                  <a:pt x="3920" y="2906"/>
                </a:lnTo>
                <a:lnTo>
                  <a:pt x="3925" y="2895"/>
                </a:lnTo>
                <a:lnTo>
                  <a:pt x="3929" y="2883"/>
                </a:lnTo>
                <a:lnTo>
                  <a:pt x="3934" y="2871"/>
                </a:lnTo>
                <a:lnTo>
                  <a:pt x="3937" y="2859"/>
                </a:lnTo>
                <a:lnTo>
                  <a:pt x="3940" y="2846"/>
                </a:lnTo>
                <a:lnTo>
                  <a:pt x="3943" y="2834"/>
                </a:lnTo>
                <a:lnTo>
                  <a:pt x="3945" y="2822"/>
                </a:lnTo>
                <a:lnTo>
                  <a:pt x="3947" y="2810"/>
                </a:lnTo>
                <a:lnTo>
                  <a:pt x="3948" y="2799"/>
                </a:lnTo>
                <a:lnTo>
                  <a:pt x="3949" y="2786"/>
                </a:lnTo>
                <a:lnTo>
                  <a:pt x="3950" y="2775"/>
                </a:lnTo>
                <a:lnTo>
                  <a:pt x="3950" y="2764"/>
                </a:lnTo>
                <a:lnTo>
                  <a:pt x="3950" y="2753"/>
                </a:lnTo>
                <a:lnTo>
                  <a:pt x="3950" y="2742"/>
                </a:lnTo>
                <a:lnTo>
                  <a:pt x="3951" y="2740"/>
                </a:lnTo>
                <a:lnTo>
                  <a:pt x="3953" y="2738"/>
                </a:lnTo>
                <a:lnTo>
                  <a:pt x="3955" y="2736"/>
                </a:lnTo>
                <a:lnTo>
                  <a:pt x="3957" y="2734"/>
                </a:lnTo>
                <a:lnTo>
                  <a:pt x="3964" y="2730"/>
                </a:lnTo>
                <a:lnTo>
                  <a:pt x="3968" y="2730"/>
                </a:lnTo>
                <a:lnTo>
                  <a:pt x="3972" y="2729"/>
                </a:lnTo>
                <a:lnTo>
                  <a:pt x="3979" y="2730"/>
                </a:lnTo>
                <a:lnTo>
                  <a:pt x="3983" y="2732"/>
                </a:lnTo>
                <a:lnTo>
                  <a:pt x="3986" y="2732"/>
                </a:lnTo>
                <a:lnTo>
                  <a:pt x="3993" y="2735"/>
                </a:lnTo>
                <a:lnTo>
                  <a:pt x="3995" y="2737"/>
                </a:lnTo>
                <a:lnTo>
                  <a:pt x="3998" y="2740"/>
                </a:lnTo>
                <a:lnTo>
                  <a:pt x="4002" y="2745"/>
                </a:lnTo>
                <a:lnTo>
                  <a:pt x="4003" y="2749"/>
                </a:lnTo>
                <a:lnTo>
                  <a:pt x="4005" y="2753"/>
                </a:lnTo>
                <a:lnTo>
                  <a:pt x="4006" y="2757"/>
                </a:lnTo>
                <a:lnTo>
                  <a:pt x="4006" y="2762"/>
                </a:lnTo>
                <a:lnTo>
                  <a:pt x="4007" y="2767"/>
                </a:lnTo>
                <a:lnTo>
                  <a:pt x="4007" y="2773"/>
                </a:lnTo>
                <a:lnTo>
                  <a:pt x="4007" y="2789"/>
                </a:lnTo>
                <a:lnTo>
                  <a:pt x="4006" y="2805"/>
                </a:lnTo>
                <a:lnTo>
                  <a:pt x="4004" y="2820"/>
                </a:lnTo>
                <a:lnTo>
                  <a:pt x="4002" y="2835"/>
                </a:lnTo>
                <a:lnTo>
                  <a:pt x="3999" y="2850"/>
                </a:lnTo>
                <a:lnTo>
                  <a:pt x="3996" y="2866"/>
                </a:lnTo>
                <a:lnTo>
                  <a:pt x="3993" y="2880"/>
                </a:lnTo>
                <a:lnTo>
                  <a:pt x="3988" y="2895"/>
                </a:lnTo>
                <a:lnTo>
                  <a:pt x="3984" y="2908"/>
                </a:lnTo>
                <a:lnTo>
                  <a:pt x="3979" y="2923"/>
                </a:lnTo>
                <a:lnTo>
                  <a:pt x="3974" y="2936"/>
                </a:lnTo>
                <a:lnTo>
                  <a:pt x="3968" y="2949"/>
                </a:lnTo>
                <a:lnTo>
                  <a:pt x="3962" y="2961"/>
                </a:lnTo>
                <a:lnTo>
                  <a:pt x="3955" y="2975"/>
                </a:lnTo>
                <a:lnTo>
                  <a:pt x="3948" y="2986"/>
                </a:lnTo>
                <a:lnTo>
                  <a:pt x="3941" y="2997"/>
                </a:lnTo>
                <a:lnTo>
                  <a:pt x="3933" y="3008"/>
                </a:lnTo>
                <a:lnTo>
                  <a:pt x="3924" y="3018"/>
                </a:lnTo>
                <a:lnTo>
                  <a:pt x="3916" y="3028"/>
                </a:lnTo>
                <a:lnTo>
                  <a:pt x="3907" y="3038"/>
                </a:lnTo>
                <a:lnTo>
                  <a:pt x="3898" y="3046"/>
                </a:lnTo>
                <a:lnTo>
                  <a:pt x="3889" y="3054"/>
                </a:lnTo>
                <a:lnTo>
                  <a:pt x="3879" y="3061"/>
                </a:lnTo>
                <a:lnTo>
                  <a:pt x="3868" y="3068"/>
                </a:lnTo>
                <a:lnTo>
                  <a:pt x="3858" y="3074"/>
                </a:lnTo>
                <a:lnTo>
                  <a:pt x="3847" y="3079"/>
                </a:lnTo>
                <a:lnTo>
                  <a:pt x="3836" y="3083"/>
                </a:lnTo>
                <a:lnTo>
                  <a:pt x="3825" y="3087"/>
                </a:lnTo>
                <a:lnTo>
                  <a:pt x="3814" y="3090"/>
                </a:lnTo>
                <a:lnTo>
                  <a:pt x="3801" y="3093"/>
                </a:lnTo>
                <a:lnTo>
                  <a:pt x="3789" y="3094"/>
                </a:lnTo>
                <a:lnTo>
                  <a:pt x="3777" y="3095"/>
                </a:lnTo>
                <a:close/>
                <a:moveTo>
                  <a:pt x="4164" y="3088"/>
                </a:moveTo>
                <a:lnTo>
                  <a:pt x="4162" y="3088"/>
                </a:lnTo>
                <a:lnTo>
                  <a:pt x="4160" y="3087"/>
                </a:lnTo>
                <a:lnTo>
                  <a:pt x="4154" y="3084"/>
                </a:lnTo>
                <a:lnTo>
                  <a:pt x="4148" y="3080"/>
                </a:lnTo>
                <a:lnTo>
                  <a:pt x="4141" y="3075"/>
                </a:lnTo>
                <a:lnTo>
                  <a:pt x="4128" y="3064"/>
                </a:lnTo>
                <a:lnTo>
                  <a:pt x="4113" y="3050"/>
                </a:lnTo>
                <a:lnTo>
                  <a:pt x="4096" y="3034"/>
                </a:lnTo>
                <a:lnTo>
                  <a:pt x="4079" y="3016"/>
                </a:lnTo>
                <a:lnTo>
                  <a:pt x="4063" y="2999"/>
                </a:lnTo>
                <a:lnTo>
                  <a:pt x="4048" y="2983"/>
                </a:lnTo>
                <a:lnTo>
                  <a:pt x="4036" y="2967"/>
                </a:lnTo>
                <a:lnTo>
                  <a:pt x="4032" y="2961"/>
                </a:lnTo>
                <a:lnTo>
                  <a:pt x="4029" y="2956"/>
                </a:lnTo>
                <a:lnTo>
                  <a:pt x="4024" y="2946"/>
                </a:lnTo>
                <a:lnTo>
                  <a:pt x="4020" y="2936"/>
                </a:lnTo>
                <a:lnTo>
                  <a:pt x="4017" y="2926"/>
                </a:lnTo>
                <a:lnTo>
                  <a:pt x="4017" y="2916"/>
                </a:lnTo>
                <a:lnTo>
                  <a:pt x="4017" y="2910"/>
                </a:lnTo>
                <a:lnTo>
                  <a:pt x="4018" y="2904"/>
                </a:lnTo>
                <a:lnTo>
                  <a:pt x="4019" y="2898"/>
                </a:lnTo>
                <a:lnTo>
                  <a:pt x="4021" y="2892"/>
                </a:lnTo>
                <a:lnTo>
                  <a:pt x="4024" y="2886"/>
                </a:lnTo>
                <a:lnTo>
                  <a:pt x="4027" y="2880"/>
                </a:lnTo>
                <a:lnTo>
                  <a:pt x="4031" y="2873"/>
                </a:lnTo>
                <a:lnTo>
                  <a:pt x="4035" y="2866"/>
                </a:lnTo>
                <a:lnTo>
                  <a:pt x="4043" y="2855"/>
                </a:lnTo>
                <a:lnTo>
                  <a:pt x="4056" y="2841"/>
                </a:lnTo>
                <a:lnTo>
                  <a:pt x="4085" y="2807"/>
                </a:lnTo>
                <a:lnTo>
                  <a:pt x="4121" y="2767"/>
                </a:lnTo>
                <a:lnTo>
                  <a:pt x="4156" y="2726"/>
                </a:lnTo>
                <a:lnTo>
                  <a:pt x="4157" y="2725"/>
                </a:lnTo>
                <a:lnTo>
                  <a:pt x="4160" y="2725"/>
                </a:lnTo>
                <a:lnTo>
                  <a:pt x="4164" y="2725"/>
                </a:lnTo>
                <a:lnTo>
                  <a:pt x="4168" y="2726"/>
                </a:lnTo>
                <a:lnTo>
                  <a:pt x="4173" y="2728"/>
                </a:lnTo>
                <a:lnTo>
                  <a:pt x="4178" y="2732"/>
                </a:lnTo>
                <a:lnTo>
                  <a:pt x="4182" y="2735"/>
                </a:lnTo>
                <a:lnTo>
                  <a:pt x="4186" y="2739"/>
                </a:lnTo>
                <a:lnTo>
                  <a:pt x="4189" y="2743"/>
                </a:lnTo>
                <a:lnTo>
                  <a:pt x="4192" y="2748"/>
                </a:lnTo>
                <a:lnTo>
                  <a:pt x="4194" y="2752"/>
                </a:lnTo>
                <a:lnTo>
                  <a:pt x="4194" y="2757"/>
                </a:lnTo>
                <a:lnTo>
                  <a:pt x="4193" y="2762"/>
                </a:lnTo>
                <a:lnTo>
                  <a:pt x="4192" y="2768"/>
                </a:lnTo>
                <a:lnTo>
                  <a:pt x="4189" y="2773"/>
                </a:lnTo>
                <a:lnTo>
                  <a:pt x="4185" y="2779"/>
                </a:lnTo>
                <a:lnTo>
                  <a:pt x="4177" y="2790"/>
                </a:lnTo>
                <a:lnTo>
                  <a:pt x="4164" y="2804"/>
                </a:lnTo>
                <a:lnTo>
                  <a:pt x="4135" y="2837"/>
                </a:lnTo>
                <a:lnTo>
                  <a:pt x="4105" y="2871"/>
                </a:lnTo>
                <a:lnTo>
                  <a:pt x="4093" y="2886"/>
                </a:lnTo>
                <a:lnTo>
                  <a:pt x="4083" y="2897"/>
                </a:lnTo>
                <a:lnTo>
                  <a:pt x="4081" y="2901"/>
                </a:lnTo>
                <a:lnTo>
                  <a:pt x="4079" y="2905"/>
                </a:lnTo>
                <a:lnTo>
                  <a:pt x="4078" y="2908"/>
                </a:lnTo>
                <a:lnTo>
                  <a:pt x="4078" y="2913"/>
                </a:lnTo>
                <a:lnTo>
                  <a:pt x="4078" y="2917"/>
                </a:lnTo>
                <a:lnTo>
                  <a:pt x="4080" y="2922"/>
                </a:lnTo>
                <a:lnTo>
                  <a:pt x="4082" y="2926"/>
                </a:lnTo>
                <a:lnTo>
                  <a:pt x="4085" y="2931"/>
                </a:lnTo>
                <a:lnTo>
                  <a:pt x="4092" y="2940"/>
                </a:lnTo>
                <a:lnTo>
                  <a:pt x="4102" y="2952"/>
                </a:lnTo>
                <a:lnTo>
                  <a:pt x="4131" y="2982"/>
                </a:lnTo>
                <a:lnTo>
                  <a:pt x="4163" y="3014"/>
                </a:lnTo>
                <a:lnTo>
                  <a:pt x="4195" y="3045"/>
                </a:lnTo>
                <a:lnTo>
                  <a:pt x="4196" y="3047"/>
                </a:lnTo>
                <a:lnTo>
                  <a:pt x="4198" y="3049"/>
                </a:lnTo>
                <a:lnTo>
                  <a:pt x="4199" y="3051"/>
                </a:lnTo>
                <a:lnTo>
                  <a:pt x="4199" y="3054"/>
                </a:lnTo>
                <a:lnTo>
                  <a:pt x="4198" y="3060"/>
                </a:lnTo>
                <a:lnTo>
                  <a:pt x="4197" y="3062"/>
                </a:lnTo>
                <a:lnTo>
                  <a:pt x="4196" y="3065"/>
                </a:lnTo>
                <a:lnTo>
                  <a:pt x="4192" y="3071"/>
                </a:lnTo>
                <a:lnTo>
                  <a:pt x="4190" y="3074"/>
                </a:lnTo>
                <a:lnTo>
                  <a:pt x="4188" y="3076"/>
                </a:lnTo>
                <a:lnTo>
                  <a:pt x="4182" y="3081"/>
                </a:lnTo>
                <a:lnTo>
                  <a:pt x="4179" y="3083"/>
                </a:lnTo>
                <a:lnTo>
                  <a:pt x="4177" y="3085"/>
                </a:lnTo>
                <a:lnTo>
                  <a:pt x="4171" y="3087"/>
                </a:lnTo>
                <a:lnTo>
                  <a:pt x="4167" y="3088"/>
                </a:lnTo>
                <a:lnTo>
                  <a:pt x="4164" y="3088"/>
                </a:lnTo>
                <a:close/>
                <a:moveTo>
                  <a:pt x="3000" y="1136"/>
                </a:moveTo>
                <a:lnTo>
                  <a:pt x="2992" y="1136"/>
                </a:lnTo>
                <a:lnTo>
                  <a:pt x="2984" y="1135"/>
                </a:lnTo>
                <a:lnTo>
                  <a:pt x="2977" y="1134"/>
                </a:lnTo>
                <a:lnTo>
                  <a:pt x="2969" y="1132"/>
                </a:lnTo>
                <a:lnTo>
                  <a:pt x="2961" y="1131"/>
                </a:lnTo>
                <a:lnTo>
                  <a:pt x="2954" y="1128"/>
                </a:lnTo>
                <a:lnTo>
                  <a:pt x="2941" y="1122"/>
                </a:lnTo>
                <a:lnTo>
                  <a:pt x="2927" y="1115"/>
                </a:lnTo>
                <a:lnTo>
                  <a:pt x="2921" y="1110"/>
                </a:lnTo>
                <a:lnTo>
                  <a:pt x="2915" y="1105"/>
                </a:lnTo>
                <a:lnTo>
                  <a:pt x="2908" y="1101"/>
                </a:lnTo>
                <a:lnTo>
                  <a:pt x="2903" y="1095"/>
                </a:lnTo>
                <a:lnTo>
                  <a:pt x="2897" y="1090"/>
                </a:lnTo>
                <a:lnTo>
                  <a:pt x="2892" y="1084"/>
                </a:lnTo>
                <a:lnTo>
                  <a:pt x="2887" y="1078"/>
                </a:lnTo>
                <a:lnTo>
                  <a:pt x="2882" y="1072"/>
                </a:lnTo>
                <a:lnTo>
                  <a:pt x="2878" y="1065"/>
                </a:lnTo>
                <a:lnTo>
                  <a:pt x="2874" y="1058"/>
                </a:lnTo>
                <a:lnTo>
                  <a:pt x="2870" y="1050"/>
                </a:lnTo>
                <a:lnTo>
                  <a:pt x="2866" y="1043"/>
                </a:lnTo>
                <a:lnTo>
                  <a:pt x="2863" y="1035"/>
                </a:lnTo>
                <a:lnTo>
                  <a:pt x="2860" y="1027"/>
                </a:lnTo>
                <a:lnTo>
                  <a:pt x="2857" y="1020"/>
                </a:lnTo>
                <a:lnTo>
                  <a:pt x="2855" y="1011"/>
                </a:lnTo>
                <a:lnTo>
                  <a:pt x="2853" y="1003"/>
                </a:lnTo>
                <a:lnTo>
                  <a:pt x="2851" y="994"/>
                </a:lnTo>
                <a:lnTo>
                  <a:pt x="2849" y="985"/>
                </a:lnTo>
                <a:lnTo>
                  <a:pt x="2848" y="976"/>
                </a:lnTo>
                <a:lnTo>
                  <a:pt x="2847" y="967"/>
                </a:lnTo>
                <a:lnTo>
                  <a:pt x="2847" y="958"/>
                </a:lnTo>
                <a:lnTo>
                  <a:pt x="2848" y="939"/>
                </a:lnTo>
                <a:lnTo>
                  <a:pt x="2849" y="929"/>
                </a:lnTo>
                <a:lnTo>
                  <a:pt x="2851" y="920"/>
                </a:lnTo>
                <a:lnTo>
                  <a:pt x="2853" y="911"/>
                </a:lnTo>
                <a:lnTo>
                  <a:pt x="2855" y="902"/>
                </a:lnTo>
                <a:lnTo>
                  <a:pt x="2858" y="893"/>
                </a:lnTo>
                <a:lnTo>
                  <a:pt x="2861" y="884"/>
                </a:lnTo>
                <a:lnTo>
                  <a:pt x="2864" y="876"/>
                </a:lnTo>
                <a:lnTo>
                  <a:pt x="2867" y="867"/>
                </a:lnTo>
                <a:lnTo>
                  <a:pt x="2871" y="859"/>
                </a:lnTo>
                <a:lnTo>
                  <a:pt x="2875" y="851"/>
                </a:lnTo>
                <a:lnTo>
                  <a:pt x="2879" y="843"/>
                </a:lnTo>
                <a:lnTo>
                  <a:pt x="2884" y="836"/>
                </a:lnTo>
                <a:lnTo>
                  <a:pt x="2894" y="822"/>
                </a:lnTo>
                <a:lnTo>
                  <a:pt x="2900" y="816"/>
                </a:lnTo>
                <a:lnTo>
                  <a:pt x="2906" y="809"/>
                </a:lnTo>
                <a:lnTo>
                  <a:pt x="2919" y="797"/>
                </a:lnTo>
                <a:lnTo>
                  <a:pt x="2925" y="792"/>
                </a:lnTo>
                <a:lnTo>
                  <a:pt x="2932" y="787"/>
                </a:lnTo>
                <a:lnTo>
                  <a:pt x="2939" y="783"/>
                </a:lnTo>
                <a:lnTo>
                  <a:pt x="2946" y="779"/>
                </a:lnTo>
                <a:lnTo>
                  <a:pt x="2953" y="775"/>
                </a:lnTo>
                <a:lnTo>
                  <a:pt x="2961" y="772"/>
                </a:lnTo>
                <a:lnTo>
                  <a:pt x="2968" y="769"/>
                </a:lnTo>
                <a:lnTo>
                  <a:pt x="2977" y="767"/>
                </a:lnTo>
                <a:lnTo>
                  <a:pt x="2985" y="765"/>
                </a:lnTo>
                <a:lnTo>
                  <a:pt x="2993" y="764"/>
                </a:lnTo>
                <a:lnTo>
                  <a:pt x="3001" y="763"/>
                </a:lnTo>
                <a:lnTo>
                  <a:pt x="3009" y="763"/>
                </a:lnTo>
                <a:lnTo>
                  <a:pt x="3019" y="763"/>
                </a:lnTo>
                <a:lnTo>
                  <a:pt x="3024" y="764"/>
                </a:lnTo>
                <a:lnTo>
                  <a:pt x="3029" y="765"/>
                </a:lnTo>
                <a:lnTo>
                  <a:pt x="3035" y="766"/>
                </a:lnTo>
                <a:lnTo>
                  <a:pt x="3039" y="767"/>
                </a:lnTo>
                <a:lnTo>
                  <a:pt x="3048" y="770"/>
                </a:lnTo>
                <a:lnTo>
                  <a:pt x="3055" y="774"/>
                </a:lnTo>
                <a:lnTo>
                  <a:pt x="3063" y="779"/>
                </a:lnTo>
                <a:lnTo>
                  <a:pt x="3069" y="784"/>
                </a:lnTo>
                <a:lnTo>
                  <a:pt x="3075" y="790"/>
                </a:lnTo>
                <a:lnTo>
                  <a:pt x="3078" y="793"/>
                </a:lnTo>
                <a:lnTo>
                  <a:pt x="3081" y="797"/>
                </a:lnTo>
                <a:lnTo>
                  <a:pt x="3086" y="804"/>
                </a:lnTo>
                <a:lnTo>
                  <a:pt x="3091" y="813"/>
                </a:lnTo>
                <a:lnTo>
                  <a:pt x="3094" y="821"/>
                </a:lnTo>
                <a:lnTo>
                  <a:pt x="3097" y="830"/>
                </a:lnTo>
                <a:lnTo>
                  <a:pt x="3099" y="839"/>
                </a:lnTo>
                <a:lnTo>
                  <a:pt x="3100" y="848"/>
                </a:lnTo>
                <a:lnTo>
                  <a:pt x="3100" y="858"/>
                </a:lnTo>
                <a:lnTo>
                  <a:pt x="3099" y="872"/>
                </a:lnTo>
                <a:lnTo>
                  <a:pt x="3098" y="878"/>
                </a:lnTo>
                <a:lnTo>
                  <a:pt x="3097" y="884"/>
                </a:lnTo>
                <a:lnTo>
                  <a:pt x="3093" y="896"/>
                </a:lnTo>
                <a:lnTo>
                  <a:pt x="3087" y="907"/>
                </a:lnTo>
                <a:lnTo>
                  <a:pt x="3081" y="919"/>
                </a:lnTo>
                <a:lnTo>
                  <a:pt x="3074" y="929"/>
                </a:lnTo>
                <a:lnTo>
                  <a:pt x="3070" y="935"/>
                </a:lnTo>
                <a:lnTo>
                  <a:pt x="3065" y="940"/>
                </a:lnTo>
                <a:lnTo>
                  <a:pt x="3056" y="949"/>
                </a:lnTo>
                <a:lnTo>
                  <a:pt x="3046" y="958"/>
                </a:lnTo>
                <a:lnTo>
                  <a:pt x="3041" y="962"/>
                </a:lnTo>
                <a:lnTo>
                  <a:pt x="3036" y="965"/>
                </a:lnTo>
                <a:lnTo>
                  <a:pt x="3023" y="972"/>
                </a:lnTo>
                <a:lnTo>
                  <a:pt x="3012" y="978"/>
                </a:lnTo>
                <a:lnTo>
                  <a:pt x="2999" y="982"/>
                </a:lnTo>
                <a:lnTo>
                  <a:pt x="2993" y="984"/>
                </a:lnTo>
                <a:lnTo>
                  <a:pt x="2987" y="986"/>
                </a:lnTo>
                <a:lnTo>
                  <a:pt x="2981" y="987"/>
                </a:lnTo>
                <a:lnTo>
                  <a:pt x="2975" y="988"/>
                </a:lnTo>
                <a:lnTo>
                  <a:pt x="2961" y="988"/>
                </a:lnTo>
                <a:lnTo>
                  <a:pt x="2956" y="988"/>
                </a:lnTo>
                <a:lnTo>
                  <a:pt x="2951" y="986"/>
                </a:lnTo>
                <a:lnTo>
                  <a:pt x="2946" y="983"/>
                </a:lnTo>
                <a:lnTo>
                  <a:pt x="2944" y="981"/>
                </a:lnTo>
                <a:lnTo>
                  <a:pt x="2942" y="979"/>
                </a:lnTo>
                <a:lnTo>
                  <a:pt x="2939" y="974"/>
                </a:lnTo>
                <a:lnTo>
                  <a:pt x="2937" y="969"/>
                </a:lnTo>
                <a:lnTo>
                  <a:pt x="2936" y="966"/>
                </a:lnTo>
                <a:lnTo>
                  <a:pt x="2935" y="963"/>
                </a:lnTo>
                <a:lnTo>
                  <a:pt x="2935" y="957"/>
                </a:lnTo>
                <a:lnTo>
                  <a:pt x="2935" y="954"/>
                </a:lnTo>
                <a:lnTo>
                  <a:pt x="2935" y="951"/>
                </a:lnTo>
                <a:lnTo>
                  <a:pt x="2936" y="947"/>
                </a:lnTo>
                <a:lnTo>
                  <a:pt x="2937" y="944"/>
                </a:lnTo>
                <a:lnTo>
                  <a:pt x="2939" y="943"/>
                </a:lnTo>
                <a:lnTo>
                  <a:pt x="2940" y="941"/>
                </a:lnTo>
                <a:lnTo>
                  <a:pt x="2942" y="940"/>
                </a:lnTo>
                <a:lnTo>
                  <a:pt x="2953" y="938"/>
                </a:lnTo>
                <a:lnTo>
                  <a:pt x="2963" y="935"/>
                </a:lnTo>
                <a:lnTo>
                  <a:pt x="2974" y="932"/>
                </a:lnTo>
                <a:lnTo>
                  <a:pt x="2984" y="927"/>
                </a:lnTo>
                <a:lnTo>
                  <a:pt x="2993" y="922"/>
                </a:lnTo>
                <a:lnTo>
                  <a:pt x="3001" y="917"/>
                </a:lnTo>
                <a:lnTo>
                  <a:pt x="3009" y="912"/>
                </a:lnTo>
                <a:lnTo>
                  <a:pt x="3013" y="909"/>
                </a:lnTo>
                <a:lnTo>
                  <a:pt x="3017" y="906"/>
                </a:lnTo>
                <a:lnTo>
                  <a:pt x="3023" y="900"/>
                </a:lnTo>
                <a:lnTo>
                  <a:pt x="3029" y="893"/>
                </a:lnTo>
                <a:lnTo>
                  <a:pt x="3035" y="886"/>
                </a:lnTo>
                <a:lnTo>
                  <a:pt x="3039" y="880"/>
                </a:lnTo>
                <a:lnTo>
                  <a:pt x="3042" y="873"/>
                </a:lnTo>
                <a:lnTo>
                  <a:pt x="3045" y="865"/>
                </a:lnTo>
                <a:lnTo>
                  <a:pt x="3046" y="857"/>
                </a:lnTo>
                <a:lnTo>
                  <a:pt x="3047" y="850"/>
                </a:lnTo>
                <a:lnTo>
                  <a:pt x="3046" y="842"/>
                </a:lnTo>
                <a:lnTo>
                  <a:pt x="3044" y="835"/>
                </a:lnTo>
                <a:lnTo>
                  <a:pt x="3042" y="832"/>
                </a:lnTo>
                <a:lnTo>
                  <a:pt x="3040" y="829"/>
                </a:lnTo>
                <a:lnTo>
                  <a:pt x="3038" y="826"/>
                </a:lnTo>
                <a:lnTo>
                  <a:pt x="3036" y="823"/>
                </a:lnTo>
                <a:lnTo>
                  <a:pt x="3029" y="819"/>
                </a:lnTo>
                <a:lnTo>
                  <a:pt x="3026" y="817"/>
                </a:lnTo>
                <a:lnTo>
                  <a:pt x="3022" y="816"/>
                </a:lnTo>
                <a:lnTo>
                  <a:pt x="3014" y="814"/>
                </a:lnTo>
                <a:lnTo>
                  <a:pt x="3010" y="814"/>
                </a:lnTo>
                <a:lnTo>
                  <a:pt x="3005" y="814"/>
                </a:lnTo>
                <a:lnTo>
                  <a:pt x="2997" y="814"/>
                </a:lnTo>
                <a:lnTo>
                  <a:pt x="2992" y="815"/>
                </a:lnTo>
                <a:lnTo>
                  <a:pt x="2988" y="816"/>
                </a:lnTo>
                <a:lnTo>
                  <a:pt x="2983" y="818"/>
                </a:lnTo>
                <a:lnTo>
                  <a:pt x="2979" y="820"/>
                </a:lnTo>
                <a:lnTo>
                  <a:pt x="2975" y="822"/>
                </a:lnTo>
                <a:lnTo>
                  <a:pt x="2969" y="825"/>
                </a:lnTo>
                <a:lnTo>
                  <a:pt x="2965" y="827"/>
                </a:lnTo>
                <a:lnTo>
                  <a:pt x="2961" y="830"/>
                </a:lnTo>
                <a:lnTo>
                  <a:pt x="2952" y="838"/>
                </a:lnTo>
                <a:lnTo>
                  <a:pt x="2945" y="846"/>
                </a:lnTo>
                <a:lnTo>
                  <a:pt x="2937" y="855"/>
                </a:lnTo>
                <a:lnTo>
                  <a:pt x="2934" y="859"/>
                </a:lnTo>
                <a:lnTo>
                  <a:pt x="2930" y="865"/>
                </a:lnTo>
                <a:lnTo>
                  <a:pt x="2924" y="876"/>
                </a:lnTo>
                <a:lnTo>
                  <a:pt x="2918" y="888"/>
                </a:lnTo>
                <a:lnTo>
                  <a:pt x="2914" y="900"/>
                </a:lnTo>
                <a:lnTo>
                  <a:pt x="2909" y="913"/>
                </a:lnTo>
                <a:lnTo>
                  <a:pt x="2906" y="926"/>
                </a:lnTo>
                <a:lnTo>
                  <a:pt x="2904" y="941"/>
                </a:lnTo>
                <a:lnTo>
                  <a:pt x="2904" y="948"/>
                </a:lnTo>
                <a:lnTo>
                  <a:pt x="2904" y="955"/>
                </a:lnTo>
                <a:lnTo>
                  <a:pt x="2904" y="968"/>
                </a:lnTo>
                <a:lnTo>
                  <a:pt x="2905" y="980"/>
                </a:lnTo>
                <a:lnTo>
                  <a:pt x="2908" y="993"/>
                </a:lnTo>
                <a:lnTo>
                  <a:pt x="2909" y="998"/>
                </a:lnTo>
                <a:lnTo>
                  <a:pt x="2912" y="1004"/>
                </a:lnTo>
                <a:lnTo>
                  <a:pt x="2915" y="1014"/>
                </a:lnTo>
                <a:lnTo>
                  <a:pt x="2917" y="1019"/>
                </a:lnTo>
                <a:lnTo>
                  <a:pt x="2920" y="1024"/>
                </a:lnTo>
                <a:lnTo>
                  <a:pt x="2922" y="1029"/>
                </a:lnTo>
                <a:lnTo>
                  <a:pt x="2925" y="1033"/>
                </a:lnTo>
                <a:lnTo>
                  <a:pt x="2928" y="1037"/>
                </a:lnTo>
                <a:lnTo>
                  <a:pt x="2931" y="1041"/>
                </a:lnTo>
                <a:lnTo>
                  <a:pt x="2934" y="1045"/>
                </a:lnTo>
                <a:lnTo>
                  <a:pt x="2937" y="1049"/>
                </a:lnTo>
                <a:lnTo>
                  <a:pt x="2945" y="1056"/>
                </a:lnTo>
                <a:lnTo>
                  <a:pt x="2953" y="1062"/>
                </a:lnTo>
                <a:lnTo>
                  <a:pt x="2961" y="1067"/>
                </a:lnTo>
                <a:lnTo>
                  <a:pt x="2971" y="1071"/>
                </a:lnTo>
                <a:lnTo>
                  <a:pt x="2981" y="1073"/>
                </a:lnTo>
                <a:lnTo>
                  <a:pt x="2991" y="1075"/>
                </a:lnTo>
                <a:lnTo>
                  <a:pt x="2996" y="1076"/>
                </a:lnTo>
                <a:lnTo>
                  <a:pt x="3002" y="1076"/>
                </a:lnTo>
                <a:lnTo>
                  <a:pt x="3012" y="1075"/>
                </a:lnTo>
                <a:lnTo>
                  <a:pt x="3022" y="1074"/>
                </a:lnTo>
                <a:lnTo>
                  <a:pt x="3033" y="1071"/>
                </a:lnTo>
                <a:lnTo>
                  <a:pt x="3043" y="1068"/>
                </a:lnTo>
                <a:lnTo>
                  <a:pt x="3052" y="1064"/>
                </a:lnTo>
                <a:lnTo>
                  <a:pt x="3061" y="1059"/>
                </a:lnTo>
                <a:lnTo>
                  <a:pt x="3070" y="1053"/>
                </a:lnTo>
                <a:lnTo>
                  <a:pt x="3078" y="1045"/>
                </a:lnTo>
                <a:lnTo>
                  <a:pt x="3086" y="1038"/>
                </a:lnTo>
                <a:lnTo>
                  <a:pt x="3094" y="1030"/>
                </a:lnTo>
                <a:lnTo>
                  <a:pt x="3102" y="1022"/>
                </a:lnTo>
                <a:lnTo>
                  <a:pt x="3109" y="1013"/>
                </a:lnTo>
                <a:lnTo>
                  <a:pt x="3122" y="993"/>
                </a:lnTo>
                <a:lnTo>
                  <a:pt x="3128" y="982"/>
                </a:lnTo>
                <a:lnTo>
                  <a:pt x="3133" y="971"/>
                </a:lnTo>
                <a:lnTo>
                  <a:pt x="3138" y="960"/>
                </a:lnTo>
                <a:lnTo>
                  <a:pt x="3143" y="949"/>
                </a:lnTo>
                <a:lnTo>
                  <a:pt x="3148" y="937"/>
                </a:lnTo>
                <a:lnTo>
                  <a:pt x="3153" y="925"/>
                </a:lnTo>
                <a:lnTo>
                  <a:pt x="3157" y="913"/>
                </a:lnTo>
                <a:lnTo>
                  <a:pt x="3160" y="901"/>
                </a:lnTo>
                <a:lnTo>
                  <a:pt x="3163" y="889"/>
                </a:lnTo>
                <a:lnTo>
                  <a:pt x="3166" y="877"/>
                </a:lnTo>
                <a:lnTo>
                  <a:pt x="3168" y="864"/>
                </a:lnTo>
                <a:lnTo>
                  <a:pt x="3170" y="852"/>
                </a:lnTo>
                <a:lnTo>
                  <a:pt x="3171" y="840"/>
                </a:lnTo>
                <a:lnTo>
                  <a:pt x="3172" y="828"/>
                </a:lnTo>
                <a:lnTo>
                  <a:pt x="3173" y="817"/>
                </a:lnTo>
                <a:lnTo>
                  <a:pt x="3173" y="805"/>
                </a:lnTo>
                <a:lnTo>
                  <a:pt x="3173" y="794"/>
                </a:lnTo>
                <a:lnTo>
                  <a:pt x="3173" y="784"/>
                </a:lnTo>
                <a:lnTo>
                  <a:pt x="3174" y="781"/>
                </a:lnTo>
                <a:lnTo>
                  <a:pt x="3175" y="779"/>
                </a:lnTo>
                <a:lnTo>
                  <a:pt x="3177" y="777"/>
                </a:lnTo>
                <a:lnTo>
                  <a:pt x="3180" y="775"/>
                </a:lnTo>
                <a:lnTo>
                  <a:pt x="3187" y="773"/>
                </a:lnTo>
                <a:lnTo>
                  <a:pt x="3191" y="772"/>
                </a:lnTo>
                <a:lnTo>
                  <a:pt x="3195" y="772"/>
                </a:lnTo>
                <a:lnTo>
                  <a:pt x="3202" y="772"/>
                </a:lnTo>
                <a:lnTo>
                  <a:pt x="3205" y="773"/>
                </a:lnTo>
                <a:lnTo>
                  <a:pt x="3209" y="774"/>
                </a:lnTo>
                <a:lnTo>
                  <a:pt x="3215" y="777"/>
                </a:lnTo>
                <a:lnTo>
                  <a:pt x="3218" y="779"/>
                </a:lnTo>
                <a:lnTo>
                  <a:pt x="3220" y="781"/>
                </a:lnTo>
                <a:lnTo>
                  <a:pt x="3224" y="787"/>
                </a:lnTo>
                <a:lnTo>
                  <a:pt x="3226" y="790"/>
                </a:lnTo>
                <a:lnTo>
                  <a:pt x="3227" y="794"/>
                </a:lnTo>
                <a:lnTo>
                  <a:pt x="3228" y="798"/>
                </a:lnTo>
                <a:lnTo>
                  <a:pt x="3229" y="803"/>
                </a:lnTo>
                <a:lnTo>
                  <a:pt x="3230" y="809"/>
                </a:lnTo>
                <a:lnTo>
                  <a:pt x="3230" y="815"/>
                </a:lnTo>
                <a:lnTo>
                  <a:pt x="3229" y="831"/>
                </a:lnTo>
                <a:lnTo>
                  <a:pt x="3228" y="846"/>
                </a:lnTo>
                <a:lnTo>
                  <a:pt x="3227" y="862"/>
                </a:lnTo>
                <a:lnTo>
                  <a:pt x="3225" y="878"/>
                </a:lnTo>
                <a:lnTo>
                  <a:pt x="3222" y="893"/>
                </a:lnTo>
                <a:lnTo>
                  <a:pt x="3219" y="907"/>
                </a:lnTo>
                <a:lnTo>
                  <a:pt x="3216" y="922"/>
                </a:lnTo>
                <a:lnTo>
                  <a:pt x="3212" y="937"/>
                </a:lnTo>
                <a:lnTo>
                  <a:pt x="3206" y="951"/>
                </a:lnTo>
                <a:lnTo>
                  <a:pt x="3202" y="964"/>
                </a:lnTo>
                <a:lnTo>
                  <a:pt x="3196" y="978"/>
                </a:lnTo>
                <a:lnTo>
                  <a:pt x="3191" y="990"/>
                </a:lnTo>
                <a:lnTo>
                  <a:pt x="3185" y="1004"/>
                </a:lnTo>
                <a:lnTo>
                  <a:pt x="3178" y="1016"/>
                </a:lnTo>
                <a:lnTo>
                  <a:pt x="3171" y="1027"/>
                </a:lnTo>
                <a:lnTo>
                  <a:pt x="3164" y="1039"/>
                </a:lnTo>
                <a:lnTo>
                  <a:pt x="3156" y="1049"/>
                </a:lnTo>
                <a:lnTo>
                  <a:pt x="3147" y="1060"/>
                </a:lnTo>
                <a:lnTo>
                  <a:pt x="3139" y="1070"/>
                </a:lnTo>
                <a:lnTo>
                  <a:pt x="3130" y="1079"/>
                </a:lnTo>
                <a:lnTo>
                  <a:pt x="3121" y="1087"/>
                </a:lnTo>
                <a:lnTo>
                  <a:pt x="3112" y="1095"/>
                </a:lnTo>
                <a:lnTo>
                  <a:pt x="3102" y="1103"/>
                </a:lnTo>
                <a:lnTo>
                  <a:pt x="3092" y="1109"/>
                </a:lnTo>
                <a:lnTo>
                  <a:pt x="3081" y="1116"/>
                </a:lnTo>
                <a:lnTo>
                  <a:pt x="3070" y="1121"/>
                </a:lnTo>
                <a:lnTo>
                  <a:pt x="3059" y="1126"/>
                </a:lnTo>
                <a:lnTo>
                  <a:pt x="3048" y="1129"/>
                </a:lnTo>
                <a:lnTo>
                  <a:pt x="3036" y="1132"/>
                </a:lnTo>
                <a:lnTo>
                  <a:pt x="3024" y="1134"/>
                </a:lnTo>
                <a:lnTo>
                  <a:pt x="3012" y="1136"/>
                </a:lnTo>
                <a:lnTo>
                  <a:pt x="3000" y="1136"/>
                </a:lnTo>
                <a:close/>
                <a:moveTo>
                  <a:pt x="3386" y="1130"/>
                </a:moveTo>
                <a:lnTo>
                  <a:pt x="3385" y="1130"/>
                </a:lnTo>
                <a:lnTo>
                  <a:pt x="3382" y="1129"/>
                </a:lnTo>
                <a:lnTo>
                  <a:pt x="3377" y="1127"/>
                </a:lnTo>
                <a:lnTo>
                  <a:pt x="3371" y="1122"/>
                </a:lnTo>
                <a:lnTo>
                  <a:pt x="3363" y="1117"/>
                </a:lnTo>
                <a:lnTo>
                  <a:pt x="3351" y="1105"/>
                </a:lnTo>
                <a:lnTo>
                  <a:pt x="3336" y="1091"/>
                </a:lnTo>
                <a:lnTo>
                  <a:pt x="3318" y="1075"/>
                </a:lnTo>
                <a:lnTo>
                  <a:pt x="3302" y="1058"/>
                </a:lnTo>
                <a:lnTo>
                  <a:pt x="3286" y="1040"/>
                </a:lnTo>
                <a:lnTo>
                  <a:pt x="3272" y="1024"/>
                </a:lnTo>
                <a:lnTo>
                  <a:pt x="3259" y="1010"/>
                </a:lnTo>
                <a:lnTo>
                  <a:pt x="3255" y="1004"/>
                </a:lnTo>
                <a:lnTo>
                  <a:pt x="3252" y="998"/>
                </a:lnTo>
                <a:lnTo>
                  <a:pt x="3246" y="987"/>
                </a:lnTo>
                <a:lnTo>
                  <a:pt x="3243" y="977"/>
                </a:lnTo>
                <a:lnTo>
                  <a:pt x="3240" y="968"/>
                </a:lnTo>
                <a:lnTo>
                  <a:pt x="3239" y="958"/>
                </a:lnTo>
                <a:lnTo>
                  <a:pt x="3240" y="952"/>
                </a:lnTo>
                <a:lnTo>
                  <a:pt x="3240" y="946"/>
                </a:lnTo>
                <a:lnTo>
                  <a:pt x="3242" y="941"/>
                </a:lnTo>
                <a:lnTo>
                  <a:pt x="3244" y="935"/>
                </a:lnTo>
                <a:lnTo>
                  <a:pt x="3246" y="927"/>
                </a:lnTo>
                <a:lnTo>
                  <a:pt x="3250" y="921"/>
                </a:lnTo>
                <a:lnTo>
                  <a:pt x="3253" y="914"/>
                </a:lnTo>
                <a:lnTo>
                  <a:pt x="3258" y="908"/>
                </a:lnTo>
                <a:lnTo>
                  <a:pt x="3266" y="897"/>
                </a:lnTo>
                <a:lnTo>
                  <a:pt x="3278" y="883"/>
                </a:lnTo>
                <a:lnTo>
                  <a:pt x="3308" y="848"/>
                </a:lnTo>
                <a:lnTo>
                  <a:pt x="3344" y="808"/>
                </a:lnTo>
                <a:lnTo>
                  <a:pt x="3379" y="768"/>
                </a:lnTo>
                <a:lnTo>
                  <a:pt x="3380" y="768"/>
                </a:lnTo>
                <a:lnTo>
                  <a:pt x="3383" y="767"/>
                </a:lnTo>
                <a:lnTo>
                  <a:pt x="3387" y="768"/>
                </a:lnTo>
                <a:lnTo>
                  <a:pt x="3392" y="769"/>
                </a:lnTo>
                <a:lnTo>
                  <a:pt x="3396" y="771"/>
                </a:lnTo>
                <a:lnTo>
                  <a:pt x="3401" y="773"/>
                </a:lnTo>
                <a:lnTo>
                  <a:pt x="3405" y="776"/>
                </a:lnTo>
                <a:lnTo>
                  <a:pt x="3409" y="780"/>
                </a:lnTo>
                <a:lnTo>
                  <a:pt x="3412" y="784"/>
                </a:lnTo>
                <a:lnTo>
                  <a:pt x="3415" y="789"/>
                </a:lnTo>
                <a:lnTo>
                  <a:pt x="3416" y="794"/>
                </a:lnTo>
                <a:lnTo>
                  <a:pt x="3417" y="798"/>
                </a:lnTo>
                <a:lnTo>
                  <a:pt x="3416" y="804"/>
                </a:lnTo>
                <a:lnTo>
                  <a:pt x="3414" y="809"/>
                </a:lnTo>
                <a:lnTo>
                  <a:pt x="3412" y="816"/>
                </a:lnTo>
                <a:lnTo>
                  <a:pt x="3408" y="822"/>
                </a:lnTo>
                <a:lnTo>
                  <a:pt x="3400" y="832"/>
                </a:lnTo>
                <a:lnTo>
                  <a:pt x="3387" y="846"/>
                </a:lnTo>
                <a:lnTo>
                  <a:pt x="3358" y="879"/>
                </a:lnTo>
                <a:lnTo>
                  <a:pt x="3328" y="913"/>
                </a:lnTo>
                <a:lnTo>
                  <a:pt x="3315" y="927"/>
                </a:lnTo>
                <a:lnTo>
                  <a:pt x="3306" y="940"/>
                </a:lnTo>
                <a:lnTo>
                  <a:pt x="3304" y="944"/>
                </a:lnTo>
                <a:lnTo>
                  <a:pt x="3302" y="947"/>
                </a:lnTo>
                <a:lnTo>
                  <a:pt x="3301" y="951"/>
                </a:lnTo>
                <a:lnTo>
                  <a:pt x="3300" y="954"/>
                </a:lnTo>
                <a:lnTo>
                  <a:pt x="3301" y="959"/>
                </a:lnTo>
                <a:lnTo>
                  <a:pt x="3302" y="963"/>
                </a:lnTo>
                <a:lnTo>
                  <a:pt x="3304" y="968"/>
                </a:lnTo>
                <a:lnTo>
                  <a:pt x="3307" y="972"/>
                </a:lnTo>
                <a:lnTo>
                  <a:pt x="3315" y="981"/>
                </a:lnTo>
                <a:lnTo>
                  <a:pt x="3325" y="994"/>
                </a:lnTo>
                <a:lnTo>
                  <a:pt x="3354" y="1023"/>
                </a:lnTo>
                <a:lnTo>
                  <a:pt x="3385" y="1056"/>
                </a:lnTo>
                <a:lnTo>
                  <a:pt x="3417" y="1087"/>
                </a:lnTo>
                <a:lnTo>
                  <a:pt x="3419" y="1088"/>
                </a:lnTo>
                <a:lnTo>
                  <a:pt x="3421" y="1091"/>
                </a:lnTo>
                <a:lnTo>
                  <a:pt x="3422" y="1093"/>
                </a:lnTo>
                <a:lnTo>
                  <a:pt x="3422" y="1095"/>
                </a:lnTo>
                <a:lnTo>
                  <a:pt x="3421" y="1101"/>
                </a:lnTo>
                <a:lnTo>
                  <a:pt x="3420" y="1104"/>
                </a:lnTo>
                <a:lnTo>
                  <a:pt x="3419" y="1107"/>
                </a:lnTo>
                <a:lnTo>
                  <a:pt x="3415" y="1113"/>
                </a:lnTo>
                <a:lnTo>
                  <a:pt x="3413" y="1116"/>
                </a:lnTo>
                <a:lnTo>
                  <a:pt x="3410" y="1119"/>
                </a:lnTo>
                <a:lnTo>
                  <a:pt x="3405" y="1123"/>
                </a:lnTo>
                <a:lnTo>
                  <a:pt x="3402" y="1125"/>
                </a:lnTo>
                <a:lnTo>
                  <a:pt x="3399" y="1127"/>
                </a:lnTo>
                <a:lnTo>
                  <a:pt x="3393" y="1129"/>
                </a:lnTo>
                <a:lnTo>
                  <a:pt x="3389" y="1130"/>
                </a:lnTo>
                <a:lnTo>
                  <a:pt x="3386" y="1130"/>
                </a:lnTo>
                <a:close/>
                <a:moveTo>
                  <a:pt x="3000" y="2129"/>
                </a:moveTo>
                <a:lnTo>
                  <a:pt x="2992" y="2129"/>
                </a:lnTo>
                <a:lnTo>
                  <a:pt x="2984" y="2128"/>
                </a:lnTo>
                <a:lnTo>
                  <a:pt x="2977" y="2127"/>
                </a:lnTo>
                <a:lnTo>
                  <a:pt x="2969" y="2126"/>
                </a:lnTo>
                <a:lnTo>
                  <a:pt x="2961" y="2124"/>
                </a:lnTo>
                <a:lnTo>
                  <a:pt x="2954" y="2121"/>
                </a:lnTo>
                <a:lnTo>
                  <a:pt x="2941" y="2116"/>
                </a:lnTo>
                <a:lnTo>
                  <a:pt x="2927" y="2108"/>
                </a:lnTo>
                <a:lnTo>
                  <a:pt x="2921" y="2104"/>
                </a:lnTo>
                <a:lnTo>
                  <a:pt x="2915" y="2100"/>
                </a:lnTo>
                <a:lnTo>
                  <a:pt x="2908" y="2095"/>
                </a:lnTo>
                <a:lnTo>
                  <a:pt x="2903" y="2090"/>
                </a:lnTo>
                <a:lnTo>
                  <a:pt x="2897" y="2084"/>
                </a:lnTo>
                <a:lnTo>
                  <a:pt x="2892" y="2078"/>
                </a:lnTo>
                <a:lnTo>
                  <a:pt x="2887" y="2072"/>
                </a:lnTo>
                <a:lnTo>
                  <a:pt x="2882" y="2065"/>
                </a:lnTo>
                <a:lnTo>
                  <a:pt x="2878" y="2058"/>
                </a:lnTo>
                <a:lnTo>
                  <a:pt x="2874" y="2051"/>
                </a:lnTo>
                <a:lnTo>
                  <a:pt x="2870" y="2044"/>
                </a:lnTo>
                <a:lnTo>
                  <a:pt x="2866" y="2037"/>
                </a:lnTo>
                <a:lnTo>
                  <a:pt x="2863" y="2029"/>
                </a:lnTo>
                <a:lnTo>
                  <a:pt x="2860" y="2022"/>
                </a:lnTo>
                <a:lnTo>
                  <a:pt x="2857" y="2014"/>
                </a:lnTo>
                <a:lnTo>
                  <a:pt x="2855" y="2005"/>
                </a:lnTo>
                <a:lnTo>
                  <a:pt x="2853" y="1996"/>
                </a:lnTo>
                <a:lnTo>
                  <a:pt x="2851" y="1988"/>
                </a:lnTo>
                <a:lnTo>
                  <a:pt x="2849" y="1979"/>
                </a:lnTo>
                <a:lnTo>
                  <a:pt x="2848" y="1970"/>
                </a:lnTo>
                <a:lnTo>
                  <a:pt x="2847" y="1961"/>
                </a:lnTo>
                <a:lnTo>
                  <a:pt x="2847" y="1952"/>
                </a:lnTo>
                <a:lnTo>
                  <a:pt x="2848" y="1932"/>
                </a:lnTo>
                <a:lnTo>
                  <a:pt x="2849" y="1923"/>
                </a:lnTo>
                <a:lnTo>
                  <a:pt x="2851" y="1914"/>
                </a:lnTo>
                <a:lnTo>
                  <a:pt x="2853" y="1905"/>
                </a:lnTo>
                <a:lnTo>
                  <a:pt x="2855" y="1896"/>
                </a:lnTo>
                <a:lnTo>
                  <a:pt x="2858" y="1886"/>
                </a:lnTo>
                <a:lnTo>
                  <a:pt x="2861" y="1878"/>
                </a:lnTo>
                <a:lnTo>
                  <a:pt x="2864" y="1869"/>
                </a:lnTo>
                <a:lnTo>
                  <a:pt x="2867" y="1861"/>
                </a:lnTo>
                <a:lnTo>
                  <a:pt x="2871" y="1853"/>
                </a:lnTo>
                <a:lnTo>
                  <a:pt x="2875" y="1845"/>
                </a:lnTo>
                <a:lnTo>
                  <a:pt x="2879" y="1838"/>
                </a:lnTo>
                <a:lnTo>
                  <a:pt x="2884" y="1829"/>
                </a:lnTo>
                <a:lnTo>
                  <a:pt x="2894" y="1815"/>
                </a:lnTo>
                <a:lnTo>
                  <a:pt x="2900" y="1809"/>
                </a:lnTo>
                <a:lnTo>
                  <a:pt x="2906" y="1803"/>
                </a:lnTo>
                <a:lnTo>
                  <a:pt x="2919" y="1791"/>
                </a:lnTo>
                <a:lnTo>
                  <a:pt x="2925" y="1786"/>
                </a:lnTo>
                <a:lnTo>
                  <a:pt x="2932" y="1781"/>
                </a:lnTo>
                <a:lnTo>
                  <a:pt x="2939" y="1777"/>
                </a:lnTo>
                <a:lnTo>
                  <a:pt x="2946" y="1773"/>
                </a:lnTo>
                <a:lnTo>
                  <a:pt x="2953" y="1768"/>
                </a:lnTo>
                <a:lnTo>
                  <a:pt x="2961" y="1765"/>
                </a:lnTo>
                <a:lnTo>
                  <a:pt x="2968" y="1762"/>
                </a:lnTo>
                <a:lnTo>
                  <a:pt x="2977" y="1760"/>
                </a:lnTo>
                <a:lnTo>
                  <a:pt x="2985" y="1758"/>
                </a:lnTo>
                <a:lnTo>
                  <a:pt x="2993" y="1757"/>
                </a:lnTo>
                <a:lnTo>
                  <a:pt x="3001" y="1756"/>
                </a:lnTo>
                <a:lnTo>
                  <a:pt x="3009" y="1756"/>
                </a:lnTo>
                <a:lnTo>
                  <a:pt x="3019" y="1756"/>
                </a:lnTo>
                <a:lnTo>
                  <a:pt x="3024" y="1757"/>
                </a:lnTo>
                <a:lnTo>
                  <a:pt x="3029" y="1758"/>
                </a:lnTo>
                <a:lnTo>
                  <a:pt x="3035" y="1759"/>
                </a:lnTo>
                <a:lnTo>
                  <a:pt x="3039" y="1760"/>
                </a:lnTo>
                <a:lnTo>
                  <a:pt x="3048" y="1763"/>
                </a:lnTo>
                <a:lnTo>
                  <a:pt x="3055" y="1767"/>
                </a:lnTo>
                <a:lnTo>
                  <a:pt x="3063" y="1773"/>
                </a:lnTo>
                <a:lnTo>
                  <a:pt x="3069" y="1778"/>
                </a:lnTo>
                <a:lnTo>
                  <a:pt x="3075" y="1784"/>
                </a:lnTo>
                <a:lnTo>
                  <a:pt x="3078" y="1787"/>
                </a:lnTo>
                <a:lnTo>
                  <a:pt x="3081" y="1791"/>
                </a:lnTo>
                <a:lnTo>
                  <a:pt x="3086" y="1798"/>
                </a:lnTo>
                <a:lnTo>
                  <a:pt x="3091" y="1806"/>
                </a:lnTo>
                <a:lnTo>
                  <a:pt x="3094" y="1814"/>
                </a:lnTo>
                <a:lnTo>
                  <a:pt x="3097" y="1823"/>
                </a:lnTo>
                <a:lnTo>
                  <a:pt x="3099" y="1833"/>
                </a:lnTo>
                <a:lnTo>
                  <a:pt x="3100" y="1842"/>
                </a:lnTo>
                <a:lnTo>
                  <a:pt x="3100" y="1852"/>
                </a:lnTo>
                <a:lnTo>
                  <a:pt x="3099" y="1865"/>
                </a:lnTo>
                <a:lnTo>
                  <a:pt x="3098" y="1871"/>
                </a:lnTo>
                <a:lnTo>
                  <a:pt x="3097" y="1877"/>
                </a:lnTo>
                <a:lnTo>
                  <a:pt x="3093" y="1889"/>
                </a:lnTo>
                <a:lnTo>
                  <a:pt x="3087" y="1902"/>
                </a:lnTo>
                <a:lnTo>
                  <a:pt x="3081" y="1913"/>
                </a:lnTo>
                <a:lnTo>
                  <a:pt x="3074" y="1923"/>
                </a:lnTo>
                <a:lnTo>
                  <a:pt x="3070" y="1928"/>
                </a:lnTo>
                <a:lnTo>
                  <a:pt x="3065" y="1933"/>
                </a:lnTo>
                <a:lnTo>
                  <a:pt x="3056" y="1943"/>
                </a:lnTo>
                <a:lnTo>
                  <a:pt x="3046" y="1952"/>
                </a:lnTo>
                <a:lnTo>
                  <a:pt x="3041" y="1956"/>
                </a:lnTo>
                <a:lnTo>
                  <a:pt x="3036" y="1960"/>
                </a:lnTo>
                <a:lnTo>
                  <a:pt x="3023" y="1966"/>
                </a:lnTo>
                <a:lnTo>
                  <a:pt x="3012" y="1972"/>
                </a:lnTo>
                <a:lnTo>
                  <a:pt x="2999" y="1976"/>
                </a:lnTo>
                <a:lnTo>
                  <a:pt x="2993" y="1978"/>
                </a:lnTo>
                <a:lnTo>
                  <a:pt x="2987" y="1980"/>
                </a:lnTo>
                <a:lnTo>
                  <a:pt x="2981" y="1981"/>
                </a:lnTo>
                <a:lnTo>
                  <a:pt x="2975" y="1982"/>
                </a:lnTo>
                <a:lnTo>
                  <a:pt x="2961" y="1982"/>
                </a:lnTo>
                <a:lnTo>
                  <a:pt x="2956" y="1982"/>
                </a:lnTo>
                <a:lnTo>
                  <a:pt x="2951" y="1980"/>
                </a:lnTo>
                <a:lnTo>
                  <a:pt x="2946" y="1977"/>
                </a:lnTo>
                <a:lnTo>
                  <a:pt x="2944" y="1975"/>
                </a:lnTo>
                <a:lnTo>
                  <a:pt x="2942" y="1973"/>
                </a:lnTo>
                <a:lnTo>
                  <a:pt x="2939" y="1969"/>
                </a:lnTo>
                <a:lnTo>
                  <a:pt x="2937" y="1963"/>
                </a:lnTo>
                <a:lnTo>
                  <a:pt x="2936" y="1961"/>
                </a:lnTo>
                <a:lnTo>
                  <a:pt x="2935" y="1958"/>
                </a:lnTo>
                <a:lnTo>
                  <a:pt x="2935" y="1950"/>
                </a:lnTo>
                <a:lnTo>
                  <a:pt x="2935" y="1947"/>
                </a:lnTo>
                <a:lnTo>
                  <a:pt x="2935" y="1945"/>
                </a:lnTo>
                <a:lnTo>
                  <a:pt x="2936" y="1940"/>
                </a:lnTo>
                <a:lnTo>
                  <a:pt x="2937" y="1938"/>
                </a:lnTo>
                <a:lnTo>
                  <a:pt x="2939" y="1936"/>
                </a:lnTo>
                <a:lnTo>
                  <a:pt x="2940" y="1934"/>
                </a:lnTo>
                <a:lnTo>
                  <a:pt x="2942" y="1933"/>
                </a:lnTo>
                <a:lnTo>
                  <a:pt x="2953" y="1931"/>
                </a:lnTo>
                <a:lnTo>
                  <a:pt x="2963" y="1928"/>
                </a:lnTo>
                <a:lnTo>
                  <a:pt x="2974" y="1925"/>
                </a:lnTo>
                <a:lnTo>
                  <a:pt x="2984" y="1921"/>
                </a:lnTo>
                <a:lnTo>
                  <a:pt x="2993" y="1917"/>
                </a:lnTo>
                <a:lnTo>
                  <a:pt x="3001" y="1911"/>
                </a:lnTo>
                <a:lnTo>
                  <a:pt x="3009" y="1906"/>
                </a:lnTo>
                <a:lnTo>
                  <a:pt x="3013" y="1903"/>
                </a:lnTo>
                <a:lnTo>
                  <a:pt x="3017" y="1900"/>
                </a:lnTo>
                <a:lnTo>
                  <a:pt x="3023" y="1894"/>
                </a:lnTo>
                <a:lnTo>
                  <a:pt x="3029" y="1886"/>
                </a:lnTo>
                <a:lnTo>
                  <a:pt x="3035" y="1880"/>
                </a:lnTo>
                <a:lnTo>
                  <a:pt x="3039" y="1873"/>
                </a:lnTo>
                <a:lnTo>
                  <a:pt x="3042" y="1866"/>
                </a:lnTo>
                <a:lnTo>
                  <a:pt x="3045" y="1859"/>
                </a:lnTo>
                <a:lnTo>
                  <a:pt x="3046" y="1852"/>
                </a:lnTo>
                <a:lnTo>
                  <a:pt x="3047" y="1845"/>
                </a:lnTo>
                <a:lnTo>
                  <a:pt x="3046" y="1837"/>
                </a:lnTo>
                <a:lnTo>
                  <a:pt x="3044" y="1828"/>
                </a:lnTo>
                <a:lnTo>
                  <a:pt x="3042" y="1825"/>
                </a:lnTo>
                <a:lnTo>
                  <a:pt x="3040" y="1822"/>
                </a:lnTo>
                <a:lnTo>
                  <a:pt x="3038" y="1819"/>
                </a:lnTo>
                <a:lnTo>
                  <a:pt x="3036" y="1817"/>
                </a:lnTo>
                <a:lnTo>
                  <a:pt x="3029" y="1812"/>
                </a:lnTo>
                <a:lnTo>
                  <a:pt x="3026" y="1811"/>
                </a:lnTo>
                <a:lnTo>
                  <a:pt x="3022" y="1809"/>
                </a:lnTo>
                <a:lnTo>
                  <a:pt x="3014" y="1807"/>
                </a:lnTo>
                <a:lnTo>
                  <a:pt x="3010" y="1807"/>
                </a:lnTo>
                <a:lnTo>
                  <a:pt x="3005" y="1807"/>
                </a:lnTo>
                <a:lnTo>
                  <a:pt x="2997" y="1807"/>
                </a:lnTo>
                <a:lnTo>
                  <a:pt x="2992" y="1808"/>
                </a:lnTo>
                <a:lnTo>
                  <a:pt x="2988" y="1810"/>
                </a:lnTo>
                <a:lnTo>
                  <a:pt x="2983" y="1811"/>
                </a:lnTo>
                <a:lnTo>
                  <a:pt x="2979" y="1813"/>
                </a:lnTo>
                <a:lnTo>
                  <a:pt x="2975" y="1815"/>
                </a:lnTo>
                <a:lnTo>
                  <a:pt x="2969" y="1818"/>
                </a:lnTo>
                <a:lnTo>
                  <a:pt x="2965" y="1821"/>
                </a:lnTo>
                <a:lnTo>
                  <a:pt x="2961" y="1824"/>
                </a:lnTo>
                <a:lnTo>
                  <a:pt x="2952" y="1832"/>
                </a:lnTo>
                <a:lnTo>
                  <a:pt x="2945" y="1840"/>
                </a:lnTo>
                <a:lnTo>
                  <a:pt x="2937" y="1849"/>
                </a:lnTo>
                <a:lnTo>
                  <a:pt x="2934" y="1854"/>
                </a:lnTo>
                <a:lnTo>
                  <a:pt x="2930" y="1859"/>
                </a:lnTo>
                <a:lnTo>
                  <a:pt x="2924" y="1870"/>
                </a:lnTo>
                <a:lnTo>
                  <a:pt x="2918" y="1881"/>
                </a:lnTo>
                <a:lnTo>
                  <a:pt x="2914" y="1894"/>
                </a:lnTo>
                <a:lnTo>
                  <a:pt x="2909" y="1907"/>
                </a:lnTo>
                <a:lnTo>
                  <a:pt x="2906" y="1920"/>
                </a:lnTo>
                <a:lnTo>
                  <a:pt x="2904" y="1934"/>
                </a:lnTo>
                <a:lnTo>
                  <a:pt x="2904" y="1941"/>
                </a:lnTo>
                <a:lnTo>
                  <a:pt x="2904" y="1948"/>
                </a:lnTo>
                <a:lnTo>
                  <a:pt x="2904" y="1962"/>
                </a:lnTo>
                <a:lnTo>
                  <a:pt x="2905" y="1974"/>
                </a:lnTo>
                <a:lnTo>
                  <a:pt x="2908" y="1986"/>
                </a:lnTo>
                <a:lnTo>
                  <a:pt x="2909" y="1991"/>
                </a:lnTo>
                <a:lnTo>
                  <a:pt x="2912" y="1997"/>
                </a:lnTo>
                <a:lnTo>
                  <a:pt x="2915" y="2007"/>
                </a:lnTo>
                <a:lnTo>
                  <a:pt x="2917" y="2013"/>
                </a:lnTo>
                <a:lnTo>
                  <a:pt x="2920" y="2018"/>
                </a:lnTo>
                <a:lnTo>
                  <a:pt x="2922" y="2023"/>
                </a:lnTo>
                <a:lnTo>
                  <a:pt x="2925" y="2027"/>
                </a:lnTo>
                <a:lnTo>
                  <a:pt x="2928" y="2031"/>
                </a:lnTo>
                <a:lnTo>
                  <a:pt x="2931" y="2035"/>
                </a:lnTo>
                <a:lnTo>
                  <a:pt x="2934" y="2039"/>
                </a:lnTo>
                <a:lnTo>
                  <a:pt x="2937" y="2043"/>
                </a:lnTo>
                <a:lnTo>
                  <a:pt x="2945" y="2050"/>
                </a:lnTo>
                <a:lnTo>
                  <a:pt x="2953" y="2055"/>
                </a:lnTo>
                <a:lnTo>
                  <a:pt x="2961" y="2060"/>
                </a:lnTo>
                <a:lnTo>
                  <a:pt x="2971" y="2064"/>
                </a:lnTo>
                <a:lnTo>
                  <a:pt x="2981" y="2067"/>
                </a:lnTo>
                <a:lnTo>
                  <a:pt x="2991" y="2068"/>
                </a:lnTo>
                <a:lnTo>
                  <a:pt x="2996" y="2069"/>
                </a:lnTo>
                <a:lnTo>
                  <a:pt x="3002" y="2069"/>
                </a:lnTo>
                <a:lnTo>
                  <a:pt x="3012" y="2068"/>
                </a:lnTo>
                <a:lnTo>
                  <a:pt x="3022" y="2067"/>
                </a:lnTo>
                <a:lnTo>
                  <a:pt x="3033" y="2064"/>
                </a:lnTo>
                <a:lnTo>
                  <a:pt x="3043" y="2061"/>
                </a:lnTo>
                <a:lnTo>
                  <a:pt x="3052" y="2057"/>
                </a:lnTo>
                <a:lnTo>
                  <a:pt x="3061" y="2052"/>
                </a:lnTo>
                <a:lnTo>
                  <a:pt x="3070" y="2046"/>
                </a:lnTo>
                <a:lnTo>
                  <a:pt x="3078" y="2039"/>
                </a:lnTo>
                <a:lnTo>
                  <a:pt x="3086" y="2032"/>
                </a:lnTo>
                <a:lnTo>
                  <a:pt x="3094" y="2024"/>
                </a:lnTo>
                <a:lnTo>
                  <a:pt x="3102" y="2016"/>
                </a:lnTo>
                <a:lnTo>
                  <a:pt x="3109" y="2006"/>
                </a:lnTo>
                <a:lnTo>
                  <a:pt x="3122" y="1986"/>
                </a:lnTo>
                <a:lnTo>
                  <a:pt x="3128" y="1976"/>
                </a:lnTo>
                <a:lnTo>
                  <a:pt x="3133" y="1965"/>
                </a:lnTo>
                <a:lnTo>
                  <a:pt x="3138" y="1954"/>
                </a:lnTo>
                <a:lnTo>
                  <a:pt x="3143" y="1942"/>
                </a:lnTo>
                <a:lnTo>
                  <a:pt x="3148" y="1930"/>
                </a:lnTo>
                <a:lnTo>
                  <a:pt x="3153" y="1919"/>
                </a:lnTo>
                <a:lnTo>
                  <a:pt x="3157" y="1907"/>
                </a:lnTo>
                <a:lnTo>
                  <a:pt x="3160" y="1895"/>
                </a:lnTo>
                <a:lnTo>
                  <a:pt x="3163" y="1882"/>
                </a:lnTo>
                <a:lnTo>
                  <a:pt x="3166" y="1870"/>
                </a:lnTo>
                <a:lnTo>
                  <a:pt x="3168" y="1858"/>
                </a:lnTo>
                <a:lnTo>
                  <a:pt x="3170" y="1846"/>
                </a:lnTo>
                <a:lnTo>
                  <a:pt x="3171" y="1834"/>
                </a:lnTo>
                <a:lnTo>
                  <a:pt x="3172" y="1822"/>
                </a:lnTo>
                <a:lnTo>
                  <a:pt x="3173" y="1810"/>
                </a:lnTo>
                <a:lnTo>
                  <a:pt x="3173" y="1799"/>
                </a:lnTo>
                <a:lnTo>
                  <a:pt x="3173" y="1788"/>
                </a:lnTo>
                <a:lnTo>
                  <a:pt x="3173" y="1778"/>
                </a:lnTo>
                <a:lnTo>
                  <a:pt x="3174" y="1776"/>
                </a:lnTo>
                <a:lnTo>
                  <a:pt x="3175" y="1773"/>
                </a:lnTo>
                <a:lnTo>
                  <a:pt x="3177" y="1770"/>
                </a:lnTo>
                <a:lnTo>
                  <a:pt x="3180" y="1769"/>
                </a:lnTo>
                <a:lnTo>
                  <a:pt x="3187" y="1766"/>
                </a:lnTo>
                <a:lnTo>
                  <a:pt x="3191" y="1765"/>
                </a:lnTo>
                <a:lnTo>
                  <a:pt x="3195" y="1765"/>
                </a:lnTo>
                <a:lnTo>
                  <a:pt x="3202" y="1765"/>
                </a:lnTo>
                <a:lnTo>
                  <a:pt x="3205" y="1766"/>
                </a:lnTo>
                <a:lnTo>
                  <a:pt x="3209" y="1767"/>
                </a:lnTo>
                <a:lnTo>
                  <a:pt x="3215" y="1770"/>
                </a:lnTo>
                <a:lnTo>
                  <a:pt x="3218" y="1773"/>
                </a:lnTo>
                <a:lnTo>
                  <a:pt x="3220" y="1775"/>
                </a:lnTo>
                <a:lnTo>
                  <a:pt x="3224" y="1781"/>
                </a:lnTo>
                <a:lnTo>
                  <a:pt x="3226" y="1784"/>
                </a:lnTo>
                <a:lnTo>
                  <a:pt x="3227" y="1788"/>
                </a:lnTo>
                <a:lnTo>
                  <a:pt x="3228" y="1793"/>
                </a:lnTo>
                <a:lnTo>
                  <a:pt x="3229" y="1797"/>
                </a:lnTo>
                <a:lnTo>
                  <a:pt x="3230" y="1803"/>
                </a:lnTo>
                <a:lnTo>
                  <a:pt x="3230" y="1809"/>
                </a:lnTo>
                <a:lnTo>
                  <a:pt x="3229" y="1824"/>
                </a:lnTo>
                <a:lnTo>
                  <a:pt x="3228" y="1841"/>
                </a:lnTo>
                <a:lnTo>
                  <a:pt x="3227" y="1856"/>
                </a:lnTo>
                <a:lnTo>
                  <a:pt x="3225" y="1871"/>
                </a:lnTo>
                <a:lnTo>
                  <a:pt x="3222" y="1886"/>
                </a:lnTo>
                <a:lnTo>
                  <a:pt x="3219" y="1902"/>
                </a:lnTo>
                <a:lnTo>
                  <a:pt x="3216" y="1916"/>
                </a:lnTo>
                <a:lnTo>
                  <a:pt x="3212" y="1930"/>
                </a:lnTo>
                <a:lnTo>
                  <a:pt x="3206" y="1944"/>
                </a:lnTo>
                <a:lnTo>
                  <a:pt x="3202" y="1959"/>
                </a:lnTo>
                <a:lnTo>
                  <a:pt x="3196" y="1972"/>
                </a:lnTo>
                <a:lnTo>
                  <a:pt x="3191" y="1985"/>
                </a:lnTo>
                <a:lnTo>
                  <a:pt x="3185" y="1997"/>
                </a:lnTo>
                <a:lnTo>
                  <a:pt x="3178" y="2009"/>
                </a:lnTo>
                <a:lnTo>
                  <a:pt x="3171" y="2022"/>
                </a:lnTo>
                <a:lnTo>
                  <a:pt x="3164" y="2033"/>
                </a:lnTo>
                <a:lnTo>
                  <a:pt x="3156" y="2043"/>
                </a:lnTo>
                <a:lnTo>
                  <a:pt x="3147" y="2054"/>
                </a:lnTo>
                <a:lnTo>
                  <a:pt x="3139" y="2063"/>
                </a:lnTo>
                <a:lnTo>
                  <a:pt x="3130" y="2073"/>
                </a:lnTo>
                <a:lnTo>
                  <a:pt x="3121" y="2082"/>
                </a:lnTo>
                <a:lnTo>
                  <a:pt x="3112" y="2090"/>
                </a:lnTo>
                <a:lnTo>
                  <a:pt x="3102" y="2097"/>
                </a:lnTo>
                <a:lnTo>
                  <a:pt x="3092" y="2103"/>
                </a:lnTo>
                <a:lnTo>
                  <a:pt x="3081" y="2109"/>
                </a:lnTo>
                <a:lnTo>
                  <a:pt x="3070" y="2114"/>
                </a:lnTo>
                <a:lnTo>
                  <a:pt x="3059" y="2119"/>
                </a:lnTo>
                <a:lnTo>
                  <a:pt x="3048" y="2122"/>
                </a:lnTo>
                <a:lnTo>
                  <a:pt x="3036" y="2125"/>
                </a:lnTo>
                <a:lnTo>
                  <a:pt x="3024" y="2127"/>
                </a:lnTo>
                <a:lnTo>
                  <a:pt x="3012" y="2129"/>
                </a:lnTo>
                <a:lnTo>
                  <a:pt x="3000" y="2129"/>
                </a:lnTo>
                <a:close/>
                <a:moveTo>
                  <a:pt x="3386" y="2123"/>
                </a:moveTo>
                <a:lnTo>
                  <a:pt x="3385" y="2123"/>
                </a:lnTo>
                <a:lnTo>
                  <a:pt x="3382" y="2123"/>
                </a:lnTo>
                <a:lnTo>
                  <a:pt x="3377" y="2120"/>
                </a:lnTo>
                <a:lnTo>
                  <a:pt x="3371" y="2116"/>
                </a:lnTo>
                <a:lnTo>
                  <a:pt x="3363" y="2110"/>
                </a:lnTo>
                <a:lnTo>
                  <a:pt x="3351" y="2099"/>
                </a:lnTo>
                <a:lnTo>
                  <a:pt x="3336" y="2085"/>
                </a:lnTo>
                <a:lnTo>
                  <a:pt x="3318" y="2068"/>
                </a:lnTo>
                <a:lnTo>
                  <a:pt x="3302" y="2051"/>
                </a:lnTo>
                <a:lnTo>
                  <a:pt x="3286" y="2034"/>
                </a:lnTo>
                <a:lnTo>
                  <a:pt x="3272" y="2018"/>
                </a:lnTo>
                <a:lnTo>
                  <a:pt x="3259" y="2003"/>
                </a:lnTo>
                <a:lnTo>
                  <a:pt x="3255" y="1997"/>
                </a:lnTo>
                <a:lnTo>
                  <a:pt x="3252" y="1991"/>
                </a:lnTo>
                <a:lnTo>
                  <a:pt x="3246" y="1981"/>
                </a:lnTo>
                <a:lnTo>
                  <a:pt x="3243" y="1971"/>
                </a:lnTo>
                <a:lnTo>
                  <a:pt x="3240" y="1962"/>
                </a:lnTo>
                <a:lnTo>
                  <a:pt x="3239" y="1952"/>
                </a:lnTo>
                <a:lnTo>
                  <a:pt x="3240" y="1945"/>
                </a:lnTo>
                <a:lnTo>
                  <a:pt x="3240" y="1940"/>
                </a:lnTo>
                <a:lnTo>
                  <a:pt x="3242" y="1934"/>
                </a:lnTo>
                <a:lnTo>
                  <a:pt x="3244" y="1928"/>
                </a:lnTo>
                <a:lnTo>
                  <a:pt x="3246" y="1922"/>
                </a:lnTo>
                <a:lnTo>
                  <a:pt x="3250" y="1915"/>
                </a:lnTo>
                <a:lnTo>
                  <a:pt x="3253" y="1909"/>
                </a:lnTo>
                <a:lnTo>
                  <a:pt x="3258" y="1902"/>
                </a:lnTo>
                <a:lnTo>
                  <a:pt x="3266" y="1890"/>
                </a:lnTo>
                <a:lnTo>
                  <a:pt x="3278" y="1876"/>
                </a:lnTo>
                <a:lnTo>
                  <a:pt x="3308" y="1842"/>
                </a:lnTo>
                <a:lnTo>
                  <a:pt x="3344" y="1802"/>
                </a:lnTo>
                <a:lnTo>
                  <a:pt x="3379" y="1761"/>
                </a:lnTo>
                <a:lnTo>
                  <a:pt x="3380" y="1761"/>
                </a:lnTo>
                <a:lnTo>
                  <a:pt x="3383" y="1760"/>
                </a:lnTo>
                <a:lnTo>
                  <a:pt x="3387" y="1761"/>
                </a:lnTo>
                <a:lnTo>
                  <a:pt x="3392" y="1762"/>
                </a:lnTo>
                <a:lnTo>
                  <a:pt x="3396" y="1764"/>
                </a:lnTo>
                <a:lnTo>
                  <a:pt x="3401" y="1766"/>
                </a:lnTo>
                <a:lnTo>
                  <a:pt x="3405" y="1769"/>
                </a:lnTo>
                <a:lnTo>
                  <a:pt x="3409" y="1774"/>
                </a:lnTo>
                <a:lnTo>
                  <a:pt x="3412" y="1778"/>
                </a:lnTo>
                <a:lnTo>
                  <a:pt x="3415" y="1783"/>
                </a:lnTo>
                <a:lnTo>
                  <a:pt x="3416" y="1788"/>
                </a:lnTo>
                <a:lnTo>
                  <a:pt x="3417" y="1793"/>
                </a:lnTo>
                <a:lnTo>
                  <a:pt x="3416" y="1798"/>
                </a:lnTo>
                <a:lnTo>
                  <a:pt x="3414" y="1803"/>
                </a:lnTo>
                <a:lnTo>
                  <a:pt x="3412" y="1809"/>
                </a:lnTo>
                <a:lnTo>
                  <a:pt x="3408" y="1815"/>
                </a:lnTo>
                <a:lnTo>
                  <a:pt x="3400" y="1825"/>
                </a:lnTo>
                <a:lnTo>
                  <a:pt x="3387" y="1840"/>
                </a:lnTo>
                <a:lnTo>
                  <a:pt x="3358" y="1873"/>
                </a:lnTo>
                <a:lnTo>
                  <a:pt x="3328" y="1907"/>
                </a:lnTo>
                <a:lnTo>
                  <a:pt x="3315" y="1921"/>
                </a:lnTo>
                <a:lnTo>
                  <a:pt x="3306" y="1933"/>
                </a:lnTo>
                <a:lnTo>
                  <a:pt x="3304" y="1937"/>
                </a:lnTo>
                <a:lnTo>
                  <a:pt x="3302" y="1940"/>
                </a:lnTo>
                <a:lnTo>
                  <a:pt x="3301" y="1944"/>
                </a:lnTo>
                <a:lnTo>
                  <a:pt x="3300" y="1948"/>
                </a:lnTo>
                <a:lnTo>
                  <a:pt x="3301" y="1953"/>
                </a:lnTo>
                <a:lnTo>
                  <a:pt x="3302" y="1957"/>
                </a:lnTo>
                <a:lnTo>
                  <a:pt x="3304" y="1962"/>
                </a:lnTo>
                <a:lnTo>
                  <a:pt x="3307" y="1967"/>
                </a:lnTo>
                <a:lnTo>
                  <a:pt x="3315" y="1976"/>
                </a:lnTo>
                <a:lnTo>
                  <a:pt x="3325" y="1987"/>
                </a:lnTo>
                <a:lnTo>
                  <a:pt x="3354" y="2017"/>
                </a:lnTo>
                <a:lnTo>
                  <a:pt x="3385" y="2050"/>
                </a:lnTo>
                <a:lnTo>
                  <a:pt x="3417" y="2081"/>
                </a:lnTo>
                <a:lnTo>
                  <a:pt x="3419" y="2083"/>
                </a:lnTo>
                <a:lnTo>
                  <a:pt x="3421" y="2085"/>
                </a:lnTo>
                <a:lnTo>
                  <a:pt x="3422" y="2087"/>
                </a:lnTo>
                <a:lnTo>
                  <a:pt x="3422" y="2090"/>
                </a:lnTo>
                <a:lnTo>
                  <a:pt x="3421" y="2095"/>
                </a:lnTo>
                <a:lnTo>
                  <a:pt x="3420" y="2098"/>
                </a:lnTo>
                <a:lnTo>
                  <a:pt x="3419" y="2101"/>
                </a:lnTo>
                <a:lnTo>
                  <a:pt x="3415" y="2107"/>
                </a:lnTo>
                <a:lnTo>
                  <a:pt x="3413" y="2109"/>
                </a:lnTo>
                <a:lnTo>
                  <a:pt x="3410" y="2112"/>
                </a:lnTo>
                <a:lnTo>
                  <a:pt x="3405" y="2116"/>
                </a:lnTo>
                <a:lnTo>
                  <a:pt x="3402" y="2118"/>
                </a:lnTo>
                <a:lnTo>
                  <a:pt x="3399" y="2120"/>
                </a:lnTo>
                <a:lnTo>
                  <a:pt x="3393" y="2123"/>
                </a:lnTo>
                <a:lnTo>
                  <a:pt x="3389" y="2123"/>
                </a:lnTo>
                <a:lnTo>
                  <a:pt x="3386" y="2123"/>
                </a:lnTo>
                <a:close/>
                <a:moveTo>
                  <a:pt x="3000" y="3095"/>
                </a:moveTo>
                <a:lnTo>
                  <a:pt x="2992" y="3094"/>
                </a:lnTo>
                <a:lnTo>
                  <a:pt x="2984" y="3094"/>
                </a:lnTo>
                <a:lnTo>
                  <a:pt x="2977" y="3093"/>
                </a:lnTo>
                <a:lnTo>
                  <a:pt x="2969" y="3090"/>
                </a:lnTo>
                <a:lnTo>
                  <a:pt x="2961" y="3088"/>
                </a:lnTo>
                <a:lnTo>
                  <a:pt x="2954" y="3086"/>
                </a:lnTo>
                <a:lnTo>
                  <a:pt x="2941" y="3080"/>
                </a:lnTo>
                <a:lnTo>
                  <a:pt x="2927" y="3073"/>
                </a:lnTo>
                <a:lnTo>
                  <a:pt x="2921" y="3069"/>
                </a:lnTo>
                <a:lnTo>
                  <a:pt x="2915" y="3064"/>
                </a:lnTo>
                <a:lnTo>
                  <a:pt x="2908" y="3059"/>
                </a:lnTo>
                <a:lnTo>
                  <a:pt x="2903" y="3054"/>
                </a:lnTo>
                <a:lnTo>
                  <a:pt x="2897" y="3049"/>
                </a:lnTo>
                <a:lnTo>
                  <a:pt x="2892" y="3043"/>
                </a:lnTo>
                <a:lnTo>
                  <a:pt x="2887" y="3037"/>
                </a:lnTo>
                <a:lnTo>
                  <a:pt x="2882" y="3029"/>
                </a:lnTo>
                <a:lnTo>
                  <a:pt x="2878" y="3023"/>
                </a:lnTo>
                <a:lnTo>
                  <a:pt x="2874" y="3016"/>
                </a:lnTo>
                <a:lnTo>
                  <a:pt x="2870" y="3009"/>
                </a:lnTo>
                <a:lnTo>
                  <a:pt x="2866" y="3001"/>
                </a:lnTo>
                <a:lnTo>
                  <a:pt x="2863" y="2994"/>
                </a:lnTo>
                <a:lnTo>
                  <a:pt x="2860" y="2986"/>
                </a:lnTo>
                <a:lnTo>
                  <a:pt x="2857" y="2978"/>
                </a:lnTo>
                <a:lnTo>
                  <a:pt x="2855" y="2969"/>
                </a:lnTo>
                <a:lnTo>
                  <a:pt x="2853" y="2961"/>
                </a:lnTo>
                <a:lnTo>
                  <a:pt x="2851" y="2952"/>
                </a:lnTo>
                <a:lnTo>
                  <a:pt x="2849" y="2943"/>
                </a:lnTo>
                <a:lnTo>
                  <a:pt x="2848" y="2934"/>
                </a:lnTo>
                <a:lnTo>
                  <a:pt x="2847" y="2925"/>
                </a:lnTo>
                <a:lnTo>
                  <a:pt x="2847" y="2916"/>
                </a:lnTo>
                <a:lnTo>
                  <a:pt x="2848" y="2897"/>
                </a:lnTo>
                <a:lnTo>
                  <a:pt x="2849" y="2887"/>
                </a:lnTo>
                <a:lnTo>
                  <a:pt x="2851" y="2878"/>
                </a:lnTo>
                <a:lnTo>
                  <a:pt x="2853" y="2869"/>
                </a:lnTo>
                <a:lnTo>
                  <a:pt x="2855" y="2860"/>
                </a:lnTo>
                <a:lnTo>
                  <a:pt x="2858" y="2852"/>
                </a:lnTo>
                <a:lnTo>
                  <a:pt x="2861" y="2842"/>
                </a:lnTo>
                <a:lnTo>
                  <a:pt x="2864" y="2834"/>
                </a:lnTo>
                <a:lnTo>
                  <a:pt x="2867" y="2825"/>
                </a:lnTo>
                <a:lnTo>
                  <a:pt x="2871" y="2817"/>
                </a:lnTo>
                <a:lnTo>
                  <a:pt x="2875" y="2810"/>
                </a:lnTo>
                <a:lnTo>
                  <a:pt x="2879" y="2802"/>
                </a:lnTo>
                <a:lnTo>
                  <a:pt x="2884" y="2795"/>
                </a:lnTo>
                <a:lnTo>
                  <a:pt x="2894" y="2780"/>
                </a:lnTo>
                <a:lnTo>
                  <a:pt x="2900" y="2773"/>
                </a:lnTo>
                <a:lnTo>
                  <a:pt x="2906" y="2767"/>
                </a:lnTo>
                <a:lnTo>
                  <a:pt x="2919" y="2756"/>
                </a:lnTo>
                <a:lnTo>
                  <a:pt x="2925" y="2751"/>
                </a:lnTo>
                <a:lnTo>
                  <a:pt x="2932" y="2746"/>
                </a:lnTo>
                <a:lnTo>
                  <a:pt x="2939" y="2741"/>
                </a:lnTo>
                <a:lnTo>
                  <a:pt x="2946" y="2737"/>
                </a:lnTo>
                <a:lnTo>
                  <a:pt x="2953" y="2734"/>
                </a:lnTo>
                <a:lnTo>
                  <a:pt x="2961" y="2730"/>
                </a:lnTo>
                <a:lnTo>
                  <a:pt x="2968" y="2727"/>
                </a:lnTo>
                <a:lnTo>
                  <a:pt x="2977" y="2725"/>
                </a:lnTo>
                <a:lnTo>
                  <a:pt x="2985" y="2723"/>
                </a:lnTo>
                <a:lnTo>
                  <a:pt x="2993" y="2721"/>
                </a:lnTo>
                <a:lnTo>
                  <a:pt x="3001" y="2721"/>
                </a:lnTo>
                <a:lnTo>
                  <a:pt x="3009" y="2720"/>
                </a:lnTo>
                <a:lnTo>
                  <a:pt x="3019" y="2721"/>
                </a:lnTo>
                <a:lnTo>
                  <a:pt x="3024" y="2721"/>
                </a:lnTo>
                <a:lnTo>
                  <a:pt x="3029" y="2722"/>
                </a:lnTo>
                <a:lnTo>
                  <a:pt x="3035" y="2723"/>
                </a:lnTo>
                <a:lnTo>
                  <a:pt x="3039" y="2725"/>
                </a:lnTo>
                <a:lnTo>
                  <a:pt x="3048" y="2728"/>
                </a:lnTo>
                <a:lnTo>
                  <a:pt x="3055" y="2733"/>
                </a:lnTo>
                <a:lnTo>
                  <a:pt x="3063" y="2737"/>
                </a:lnTo>
                <a:lnTo>
                  <a:pt x="3069" y="2743"/>
                </a:lnTo>
                <a:lnTo>
                  <a:pt x="3075" y="2749"/>
                </a:lnTo>
                <a:lnTo>
                  <a:pt x="3078" y="2752"/>
                </a:lnTo>
                <a:lnTo>
                  <a:pt x="3081" y="2755"/>
                </a:lnTo>
                <a:lnTo>
                  <a:pt x="3086" y="2762"/>
                </a:lnTo>
                <a:lnTo>
                  <a:pt x="3091" y="2770"/>
                </a:lnTo>
                <a:lnTo>
                  <a:pt x="3094" y="2778"/>
                </a:lnTo>
                <a:lnTo>
                  <a:pt x="3097" y="2787"/>
                </a:lnTo>
                <a:lnTo>
                  <a:pt x="3099" y="2797"/>
                </a:lnTo>
                <a:lnTo>
                  <a:pt x="3100" y="2807"/>
                </a:lnTo>
                <a:lnTo>
                  <a:pt x="3100" y="2817"/>
                </a:lnTo>
                <a:lnTo>
                  <a:pt x="3099" y="2829"/>
                </a:lnTo>
                <a:lnTo>
                  <a:pt x="3098" y="2835"/>
                </a:lnTo>
                <a:lnTo>
                  <a:pt x="3097" y="2842"/>
                </a:lnTo>
                <a:lnTo>
                  <a:pt x="3093" y="2854"/>
                </a:lnTo>
                <a:lnTo>
                  <a:pt x="3087" y="2866"/>
                </a:lnTo>
                <a:lnTo>
                  <a:pt x="3081" y="2877"/>
                </a:lnTo>
                <a:lnTo>
                  <a:pt x="3074" y="2888"/>
                </a:lnTo>
                <a:lnTo>
                  <a:pt x="3070" y="2893"/>
                </a:lnTo>
                <a:lnTo>
                  <a:pt x="3065" y="2898"/>
                </a:lnTo>
                <a:lnTo>
                  <a:pt x="3056" y="2907"/>
                </a:lnTo>
                <a:lnTo>
                  <a:pt x="3046" y="2916"/>
                </a:lnTo>
                <a:lnTo>
                  <a:pt x="3041" y="2920"/>
                </a:lnTo>
                <a:lnTo>
                  <a:pt x="3036" y="2924"/>
                </a:lnTo>
                <a:lnTo>
                  <a:pt x="3023" y="2931"/>
                </a:lnTo>
                <a:lnTo>
                  <a:pt x="3012" y="2936"/>
                </a:lnTo>
                <a:lnTo>
                  <a:pt x="2999" y="2941"/>
                </a:lnTo>
                <a:lnTo>
                  <a:pt x="2993" y="2943"/>
                </a:lnTo>
                <a:lnTo>
                  <a:pt x="2987" y="2944"/>
                </a:lnTo>
                <a:lnTo>
                  <a:pt x="2981" y="2945"/>
                </a:lnTo>
                <a:lnTo>
                  <a:pt x="2975" y="2946"/>
                </a:lnTo>
                <a:lnTo>
                  <a:pt x="2961" y="2947"/>
                </a:lnTo>
                <a:lnTo>
                  <a:pt x="2956" y="2946"/>
                </a:lnTo>
                <a:lnTo>
                  <a:pt x="2951" y="2944"/>
                </a:lnTo>
                <a:lnTo>
                  <a:pt x="2946" y="2942"/>
                </a:lnTo>
                <a:lnTo>
                  <a:pt x="2944" y="2940"/>
                </a:lnTo>
                <a:lnTo>
                  <a:pt x="2942" y="2938"/>
                </a:lnTo>
                <a:lnTo>
                  <a:pt x="2939" y="2933"/>
                </a:lnTo>
                <a:lnTo>
                  <a:pt x="2937" y="2928"/>
                </a:lnTo>
                <a:lnTo>
                  <a:pt x="2936" y="2925"/>
                </a:lnTo>
                <a:lnTo>
                  <a:pt x="2935" y="2922"/>
                </a:lnTo>
                <a:lnTo>
                  <a:pt x="2935" y="2916"/>
                </a:lnTo>
                <a:lnTo>
                  <a:pt x="2935" y="2913"/>
                </a:lnTo>
                <a:lnTo>
                  <a:pt x="2935" y="2909"/>
                </a:lnTo>
                <a:lnTo>
                  <a:pt x="2936" y="2904"/>
                </a:lnTo>
                <a:lnTo>
                  <a:pt x="2937" y="2902"/>
                </a:lnTo>
                <a:lnTo>
                  <a:pt x="2939" y="2900"/>
                </a:lnTo>
                <a:lnTo>
                  <a:pt x="2940" y="2899"/>
                </a:lnTo>
                <a:lnTo>
                  <a:pt x="2942" y="2897"/>
                </a:lnTo>
                <a:lnTo>
                  <a:pt x="2953" y="2896"/>
                </a:lnTo>
                <a:lnTo>
                  <a:pt x="2963" y="2893"/>
                </a:lnTo>
                <a:lnTo>
                  <a:pt x="2974" y="2890"/>
                </a:lnTo>
                <a:lnTo>
                  <a:pt x="2984" y="2886"/>
                </a:lnTo>
                <a:lnTo>
                  <a:pt x="2993" y="2881"/>
                </a:lnTo>
                <a:lnTo>
                  <a:pt x="3001" y="2876"/>
                </a:lnTo>
                <a:lnTo>
                  <a:pt x="3009" y="2870"/>
                </a:lnTo>
                <a:lnTo>
                  <a:pt x="3013" y="2868"/>
                </a:lnTo>
                <a:lnTo>
                  <a:pt x="3017" y="2865"/>
                </a:lnTo>
                <a:lnTo>
                  <a:pt x="3023" y="2858"/>
                </a:lnTo>
                <a:lnTo>
                  <a:pt x="3029" y="2852"/>
                </a:lnTo>
                <a:lnTo>
                  <a:pt x="3035" y="2844"/>
                </a:lnTo>
                <a:lnTo>
                  <a:pt x="3039" y="2837"/>
                </a:lnTo>
                <a:lnTo>
                  <a:pt x="3042" y="2830"/>
                </a:lnTo>
                <a:lnTo>
                  <a:pt x="3045" y="2823"/>
                </a:lnTo>
                <a:lnTo>
                  <a:pt x="3046" y="2816"/>
                </a:lnTo>
                <a:lnTo>
                  <a:pt x="3047" y="2809"/>
                </a:lnTo>
                <a:lnTo>
                  <a:pt x="3046" y="2801"/>
                </a:lnTo>
                <a:lnTo>
                  <a:pt x="3044" y="2794"/>
                </a:lnTo>
                <a:lnTo>
                  <a:pt x="3042" y="2789"/>
                </a:lnTo>
                <a:lnTo>
                  <a:pt x="3040" y="2786"/>
                </a:lnTo>
                <a:lnTo>
                  <a:pt x="3038" y="2784"/>
                </a:lnTo>
                <a:lnTo>
                  <a:pt x="3036" y="2781"/>
                </a:lnTo>
                <a:lnTo>
                  <a:pt x="3029" y="2777"/>
                </a:lnTo>
                <a:lnTo>
                  <a:pt x="3026" y="2775"/>
                </a:lnTo>
                <a:lnTo>
                  <a:pt x="3022" y="2774"/>
                </a:lnTo>
                <a:lnTo>
                  <a:pt x="3014" y="2772"/>
                </a:lnTo>
                <a:lnTo>
                  <a:pt x="3010" y="2771"/>
                </a:lnTo>
                <a:lnTo>
                  <a:pt x="3005" y="2771"/>
                </a:lnTo>
                <a:lnTo>
                  <a:pt x="2997" y="2772"/>
                </a:lnTo>
                <a:lnTo>
                  <a:pt x="2992" y="2773"/>
                </a:lnTo>
                <a:lnTo>
                  <a:pt x="2988" y="2774"/>
                </a:lnTo>
                <a:lnTo>
                  <a:pt x="2983" y="2776"/>
                </a:lnTo>
                <a:lnTo>
                  <a:pt x="2979" y="2777"/>
                </a:lnTo>
                <a:lnTo>
                  <a:pt x="2975" y="2780"/>
                </a:lnTo>
                <a:lnTo>
                  <a:pt x="2969" y="2782"/>
                </a:lnTo>
                <a:lnTo>
                  <a:pt x="2965" y="2785"/>
                </a:lnTo>
                <a:lnTo>
                  <a:pt x="2961" y="2788"/>
                </a:lnTo>
                <a:lnTo>
                  <a:pt x="2952" y="2796"/>
                </a:lnTo>
                <a:lnTo>
                  <a:pt x="2945" y="2804"/>
                </a:lnTo>
                <a:lnTo>
                  <a:pt x="2937" y="2813"/>
                </a:lnTo>
                <a:lnTo>
                  <a:pt x="2934" y="2818"/>
                </a:lnTo>
                <a:lnTo>
                  <a:pt x="2930" y="2823"/>
                </a:lnTo>
                <a:lnTo>
                  <a:pt x="2924" y="2834"/>
                </a:lnTo>
                <a:lnTo>
                  <a:pt x="2918" y="2845"/>
                </a:lnTo>
                <a:lnTo>
                  <a:pt x="2914" y="2859"/>
                </a:lnTo>
                <a:lnTo>
                  <a:pt x="2909" y="2871"/>
                </a:lnTo>
                <a:lnTo>
                  <a:pt x="2906" y="2885"/>
                </a:lnTo>
                <a:lnTo>
                  <a:pt x="2904" y="2899"/>
                </a:lnTo>
                <a:lnTo>
                  <a:pt x="2904" y="2906"/>
                </a:lnTo>
                <a:lnTo>
                  <a:pt x="2904" y="2914"/>
                </a:lnTo>
                <a:lnTo>
                  <a:pt x="2904" y="2926"/>
                </a:lnTo>
                <a:lnTo>
                  <a:pt x="2905" y="2939"/>
                </a:lnTo>
                <a:lnTo>
                  <a:pt x="2908" y="2950"/>
                </a:lnTo>
                <a:lnTo>
                  <a:pt x="2909" y="2956"/>
                </a:lnTo>
                <a:lnTo>
                  <a:pt x="2912" y="2961"/>
                </a:lnTo>
                <a:lnTo>
                  <a:pt x="2915" y="2973"/>
                </a:lnTo>
                <a:lnTo>
                  <a:pt x="2917" y="2978"/>
                </a:lnTo>
                <a:lnTo>
                  <a:pt x="2920" y="2983"/>
                </a:lnTo>
                <a:lnTo>
                  <a:pt x="2922" y="2987"/>
                </a:lnTo>
                <a:lnTo>
                  <a:pt x="2925" y="2992"/>
                </a:lnTo>
                <a:lnTo>
                  <a:pt x="2928" y="2996"/>
                </a:lnTo>
                <a:lnTo>
                  <a:pt x="2931" y="3000"/>
                </a:lnTo>
                <a:lnTo>
                  <a:pt x="2934" y="3004"/>
                </a:lnTo>
                <a:lnTo>
                  <a:pt x="2937" y="3007"/>
                </a:lnTo>
                <a:lnTo>
                  <a:pt x="2945" y="3014"/>
                </a:lnTo>
                <a:lnTo>
                  <a:pt x="2953" y="3020"/>
                </a:lnTo>
                <a:lnTo>
                  <a:pt x="2961" y="3025"/>
                </a:lnTo>
                <a:lnTo>
                  <a:pt x="2971" y="3028"/>
                </a:lnTo>
                <a:lnTo>
                  <a:pt x="2981" y="3032"/>
                </a:lnTo>
                <a:lnTo>
                  <a:pt x="2991" y="3034"/>
                </a:lnTo>
                <a:lnTo>
                  <a:pt x="2996" y="3034"/>
                </a:lnTo>
                <a:lnTo>
                  <a:pt x="3002" y="3034"/>
                </a:lnTo>
                <a:lnTo>
                  <a:pt x="3012" y="3034"/>
                </a:lnTo>
                <a:lnTo>
                  <a:pt x="3022" y="3032"/>
                </a:lnTo>
                <a:lnTo>
                  <a:pt x="3033" y="3029"/>
                </a:lnTo>
                <a:lnTo>
                  <a:pt x="3043" y="3026"/>
                </a:lnTo>
                <a:lnTo>
                  <a:pt x="3052" y="3021"/>
                </a:lnTo>
                <a:lnTo>
                  <a:pt x="3061" y="3016"/>
                </a:lnTo>
                <a:lnTo>
                  <a:pt x="3070" y="3010"/>
                </a:lnTo>
                <a:lnTo>
                  <a:pt x="3078" y="3004"/>
                </a:lnTo>
                <a:lnTo>
                  <a:pt x="3086" y="2997"/>
                </a:lnTo>
                <a:lnTo>
                  <a:pt x="3094" y="2989"/>
                </a:lnTo>
                <a:lnTo>
                  <a:pt x="3102" y="2980"/>
                </a:lnTo>
                <a:lnTo>
                  <a:pt x="3109" y="2970"/>
                </a:lnTo>
                <a:lnTo>
                  <a:pt x="3122" y="2951"/>
                </a:lnTo>
                <a:lnTo>
                  <a:pt x="3128" y="2941"/>
                </a:lnTo>
                <a:lnTo>
                  <a:pt x="3133" y="2930"/>
                </a:lnTo>
                <a:lnTo>
                  <a:pt x="3138" y="2919"/>
                </a:lnTo>
                <a:lnTo>
                  <a:pt x="3143" y="2906"/>
                </a:lnTo>
                <a:lnTo>
                  <a:pt x="3148" y="2895"/>
                </a:lnTo>
                <a:lnTo>
                  <a:pt x="3153" y="2883"/>
                </a:lnTo>
                <a:lnTo>
                  <a:pt x="3157" y="2871"/>
                </a:lnTo>
                <a:lnTo>
                  <a:pt x="3160" y="2859"/>
                </a:lnTo>
                <a:lnTo>
                  <a:pt x="3163" y="2846"/>
                </a:lnTo>
                <a:lnTo>
                  <a:pt x="3166" y="2834"/>
                </a:lnTo>
                <a:lnTo>
                  <a:pt x="3168" y="2822"/>
                </a:lnTo>
                <a:lnTo>
                  <a:pt x="3170" y="2810"/>
                </a:lnTo>
                <a:lnTo>
                  <a:pt x="3171" y="2799"/>
                </a:lnTo>
                <a:lnTo>
                  <a:pt x="3172" y="2786"/>
                </a:lnTo>
                <a:lnTo>
                  <a:pt x="3173" y="2775"/>
                </a:lnTo>
                <a:lnTo>
                  <a:pt x="3173" y="2764"/>
                </a:lnTo>
                <a:lnTo>
                  <a:pt x="3173" y="2753"/>
                </a:lnTo>
                <a:lnTo>
                  <a:pt x="3173" y="2742"/>
                </a:lnTo>
                <a:lnTo>
                  <a:pt x="3174" y="2740"/>
                </a:lnTo>
                <a:lnTo>
                  <a:pt x="3175" y="2738"/>
                </a:lnTo>
                <a:lnTo>
                  <a:pt x="3177" y="2736"/>
                </a:lnTo>
                <a:lnTo>
                  <a:pt x="3180" y="2734"/>
                </a:lnTo>
                <a:lnTo>
                  <a:pt x="3187" y="2730"/>
                </a:lnTo>
                <a:lnTo>
                  <a:pt x="3191" y="2730"/>
                </a:lnTo>
                <a:lnTo>
                  <a:pt x="3195" y="2729"/>
                </a:lnTo>
                <a:lnTo>
                  <a:pt x="3202" y="2730"/>
                </a:lnTo>
                <a:lnTo>
                  <a:pt x="3205" y="2732"/>
                </a:lnTo>
                <a:lnTo>
                  <a:pt x="3209" y="2732"/>
                </a:lnTo>
                <a:lnTo>
                  <a:pt x="3215" y="2735"/>
                </a:lnTo>
                <a:lnTo>
                  <a:pt x="3218" y="2737"/>
                </a:lnTo>
                <a:lnTo>
                  <a:pt x="3220" y="2740"/>
                </a:lnTo>
                <a:lnTo>
                  <a:pt x="3224" y="2745"/>
                </a:lnTo>
                <a:lnTo>
                  <a:pt x="3226" y="2749"/>
                </a:lnTo>
                <a:lnTo>
                  <a:pt x="3227" y="2753"/>
                </a:lnTo>
                <a:lnTo>
                  <a:pt x="3228" y="2757"/>
                </a:lnTo>
                <a:lnTo>
                  <a:pt x="3229" y="2762"/>
                </a:lnTo>
                <a:lnTo>
                  <a:pt x="3230" y="2767"/>
                </a:lnTo>
                <a:lnTo>
                  <a:pt x="3230" y="2773"/>
                </a:lnTo>
                <a:lnTo>
                  <a:pt x="3229" y="2789"/>
                </a:lnTo>
                <a:lnTo>
                  <a:pt x="3228" y="2805"/>
                </a:lnTo>
                <a:lnTo>
                  <a:pt x="3227" y="2820"/>
                </a:lnTo>
                <a:lnTo>
                  <a:pt x="3225" y="2835"/>
                </a:lnTo>
                <a:lnTo>
                  <a:pt x="3222" y="2850"/>
                </a:lnTo>
                <a:lnTo>
                  <a:pt x="3219" y="2866"/>
                </a:lnTo>
                <a:lnTo>
                  <a:pt x="3216" y="2880"/>
                </a:lnTo>
                <a:lnTo>
                  <a:pt x="3212" y="2895"/>
                </a:lnTo>
                <a:lnTo>
                  <a:pt x="3206" y="2908"/>
                </a:lnTo>
                <a:lnTo>
                  <a:pt x="3202" y="2923"/>
                </a:lnTo>
                <a:lnTo>
                  <a:pt x="3196" y="2936"/>
                </a:lnTo>
                <a:lnTo>
                  <a:pt x="3191" y="2949"/>
                </a:lnTo>
                <a:lnTo>
                  <a:pt x="3185" y="2961"/>
                </a:lnTo>
                <a:lnTo>
                  <a:pt x="3178" y="2975"/>
                </a:lnTo>
                <a:lnTo>
                  <a:pt x="3171" y="2986"/>
                </a:lnTo>
                <a:lnTo>
                  <a:pt x="3164" y="2997"/>
                </a:lnTo>
                <a:lnTo>
                  <a:pt x="3156" y="3008"/>
                </a:lnTo>
                <a:lnTo>
                  <a:pt x="3147" y="3018"/>
                </a:lnTo>
                <a:lnTo>
                  <a:pt x="3139" y="3028"/>
                </a:lnTo>
                <a:lnTo>
                  <a:pt x="3130" y="3038"/>
                </a:lnTo>
                <a:lnTo>
                  <a:pt x="3121" y="3046"/>
                </a:lnTo>
                <a:lnTo>
                  <a:pt x="3112" y="3054"/>
                </a:lnTo>
                <a:lnTo>
                  <a:pt x="3102" y="3061"/>
                </a:lnTo>
                <a:lnTo>
                  <a:pt x="3092" y="3068"/>
                </a:lnTo>
                <a:lnTo>
                  <a:pt x="3081" y="3074"/>
                </a:lnTo>
                <a:lnTo>
                  <a:pt x="3070" y="3079"/>
                </a:lnTo>
                <a:lnTo>
                  <a:pt x="3059" y="3083"/>
                </a:lnTo>
                <a:lnTo>
                  <a:pt x="3048" y="3087"/>
                </a:lnTo>
                <a:lnTo>
                  <a:pt x="3036" y="3090"/>
                </a:lnTo>
                <a:lnTo>
                  <a:pt x="3024" y="3093"/>
                </a:lnTo>
                <a:lnTo>
                  <a:pt x="3012" y="3094"/>
                </a:lnTo>
                <a:lnTo>
                  <a:pt x="3000" y="3095"/>
                </a:lnTo>
                <a:close/>
                <a:moveTo>
                  <a:pt x="3386" y="3088"/>
                </a:moveTo>
                <a:lnTo>
                  <a:pt x="3385" y="3088"/>
                </a:lnTo>
                <a:lnTo>
                  <a:pt x="3382" y="3087"/>
                </a:lnTo>
                <a:lnTo>
                  <a:pt x="3377" y="3084"/>
                </a:lnTo>
                <a:lnTo>
                  <a:pt x="3371" y="3080"/>
                </a:lnTo>
                <a:lnTo>
                  <a:pt x="3363" y="3075"/>
                </a:lnTo>
                <a:lnTo>
                  <a:pt x="3351" y="3064"/>
                </a:lnTo>
                <a:lnTo>
                  <a:pt x="3336" y="3050"/>
                </a:lnTo>
                <a:lnTo>
                  <a:pt x="3318" y="3034"/>
                </a:lnTo>
                <a:lnTo>
                  <a:pt x="3302" y="3016"/>
                </a:lnTo>
                <a:lnTo>
                  <a:pt x="3286" y="2999"/>
                </a:lnTo>
                <a:lnTo>
                  <a:pt x="3272" y="2983"/>
                </a:lnTo>
                <a:lnTo>
                  <a:pt x="3259" y="2967"/>
                </a:lnTo>
                <a:lnTo>
                  <a:pt x="3255" y="2961"/>
                </a:lnTo>
                <a:lnTo>
                  <a:pt x="3252" y="2956"/>
                </a:lnTo>
                <a:lnTo>
                  <a:pt x="3246" y="2946"/>
                </a:lnTo>
                <a:lnTo>
                  <a:pt x="3243" y="2936"/>
                </a:lnTo>
                <a:lnTo>
                  <a:pt x="3240" y="2926"/>
                </a:lnTo>
                <a:lnTo>
                  <a:pt x="3239" y="2916"/>
                </a:lnTo>
                <a:lnTo>
                  <a:pt x="3240" y="2910"/>
                </a:lnTo>
                <a:lnTo>
                  <a:pt x="3240" y="2904"/>
                </a:lnTo>
                <a:lnTo>
                  <a:pt x="3242" y="2898"/>
                </a:lnTo>
                <a:lnTo>
                  <a:pt x="3244" y="2892"/>
                </a:lnTo>
                <a:lnTo>
                  <a:pt x="3246" y="2886"/>
                </a:lnTo>
                <a:lnTo>
                  <a:pt x="3250" y="2880"/>
                </a:lnTo>
                <a:lnTo>
                  <a:pt x="3253" y="2873"/>
                </a:lnTo>
                <a:lnTo>
                  <a:pt x="3258" y="2866"/>
                </a:lnTo>
                <a:lnTo>
                  <a:pt x="3266" y="2855"/>
                </a:lnTo>
                <a:lnTo>
                  <a:pt x="3278" y="2841"/>
                </a:lnTo>
                <a:lnTo>
                  <a:pt x="3308" y="2807"/>
                </a:lnTo>
                <a:lnTo>
                  <a:pt x="3344" y="2767"/>
                </a:lnTo>
                <a:lnTo>
                  <a:pt x="3379" y="2726"/>
                </a:lnTo>
                <a:lnTo>
                  <a:pt x="3380" y="2725"/>
                </a:lnTo>
                <a:lnTo>
                  <a:pt x="3383" y="2725"/>
                </a:lnTo>
                <a:lnTo>
                  <a:pt x="3387" y="2725"/>
                </a:lnTo>
                <a:lnTo>
                  <a:pt x="3392" y="2726"/>
                </a:lnTo>
                <a:lnTo>
                  <a:pt x="3396" y="2728"/>
                </a:lnTo>
                <a:lnTo>
                  <a:pt x="3401" y="2732"/>
                </a:lnTo>
                <a:lnTo>
                  <a:pt x="3405" y="2735"/>
                </a:lnTo>
                <a:lnTo>
                  <a:pt x="3409" y="2739"/>
                </a:lnTo>
                <a:lnTo>
                  <a:pt x="3412" y="2743"/>
                </a:lnTo>
                <a:lnTo>
                  <a:pt x="3415" y="2748"/>
                </a:lnTo>
                <a:lnTo>
                  <a:pt x="3416" y="2752"/>
                </a:lnTo>
                <a:lnTo>
                  <a:pt x="3417" y="2757"/>
                </a:lnTo>
                <a:lnTo>
                  <a:pt x="3416" y="2762"/>
                </a:lnTo>
                <a:lnTo>
                  <a:pt x="3414" y="2768"/>
                </a:lnTo>
                <a:lnTo>
                  <a:pt x="3412" y="2773"/>
                </a:lnTo>
                <a:lnTo>
                  <a:pt x="3408" y="2779"/>
                </a:lnTo>
                <a:lnTo>
                  <a:pt x="3400" y="2790"/>
                </a:lnTo>
                <a:lnTo>
                  <a:pt x="3387" y="2804"/>
                </a:lnTo>
                <a:lnTo>
                  <a:pt x="3358" y="2837"/>
                </a:lnTo>
                <a:lnTo>
                  <a:pt x="3328" y="2871"/>
                </a:lnTo>
                <a:lnTo>
                  <a:pt x="3315" y="2886"/>
                </a:lnTo>
                <a:lnTo>
                  <a:pt x="3306" y="2897"/>
                </a:lnTo>
                <a:lnTo>
                  <a:pt x="3304" y="2901"/>
                </a:lnTo>
                <a:lnTo>
                  <a:pt x="3302" y="2905"/>
                </a:lnTo>
                <a:lnTo>
                  <a:pt x="3301" y="2908"/>
                </a:lnTo>
                <a:lnTo>
                  <a:pt x="3300" y="2913"/>
                </a:lnTo>
                <a:lnTo>
                  <a:pt x="3301" y="2917"/>
                </a:lnTo>
                <a:lnTo>
                  <a:pt x="3302" y="2922"/>
                </a:lnTo>
                <a:lnTo>
                  <a:pt x="3304" y="2926"/>
                </a:lnTo>
                <a:lnTo>
                  <a:pt x="3307" y="2931"/>
                </a:lnTo>
                <a:lnTo>
                  <a:pt x="3315" y="2940"/>
                </a:lnTo>
                <a:lnTo>
                  <a:pt x="3325" y="2952"/>
                </a:lnTo>
                <a:lnTo>
                  <a:pt x="3354" y="2982"/>
                </a:lnTo>
                <a:lnTo>
                  <a:pt x="3385" y="3014"/>
                </a:lnTo>
                <a:lnTo>
                  <a:pt x="3417" y="3045"/>
                </a:lnTo>
                <a:lnTo>
                  <a:pt x="3419" y="3047"/>
                </a:lnTo>
                <a:lnTo>
                  <a:pt x="3421" y="3049"/>
                </a:lnTo>
                <a:lnTo>
                  <a:pt x="3422" y="3051"/>
                </a:lnTo>
                <a:lnTo>
                  <a:pt x="3422" y="3054"/>
                </a:lnTo>
                <a:lnTo>
                  <a:pt x="3421" y="3060"/>
                </a:lnTo>
                <a:lnTo>
                  <a:pt x="3420" y="3062"/>
                </a:lnTo>
                <a:lnTo>
                  <a:pt x="3419" y="3065"/>
                </a:lnTo>
                <a:lnTo>
                  <a:pt x="3415" y="3071"/>
                </a:lnTo>
                <a:lnTo>
                  <a:pt x="3413" y="3074"/>
                </a:lnTo>
                <a:lnTo>
                  <a:pt x="3410" y="3076"/>
                </a:lnTo>
                <a:lnTo>
                  <a:pt x="3405" y="3081"/>
                </a:lnTo>
                <a:lnTo>
                  <a:pt x="3402" y="3083"/>
                </a:lnTo>
                <a:lnTo>
                  <a:pt x="3399" y="3085"/>
                </a:lnTo>
                <a:lnTo>
                  <a:pt x="3393" y="3087"/>
                </a:lnTo>
                <a:lnTo>
                  <a:pt x="3389" y="3088"/>
                </a:lnTo>
                <a:lnTo>
                  <a:pt x="3386" y="3088"/>
                </a:lnTo>
                <a:close/>
                <a:moveTo>
                  <a:pt x="717" y="1136"/>
                </a:moveTo>
                <a:lnTo>
                  <a:pt x="710" y="1136"/>
                </a:lnTo>
                <a:lnTo>
                  <a:pt x="702" y="1135"/>
                </a:lnTo>
                <a:lnTo>
                  <a:pt x="694" y="1134"/>
                </a:lnTo>
                <a:lnTo>
                  <a:pt x="686" y="1132"/>
                </a:lnTo>
                <a:lnTo>
                  <a:pt x="679" y="1131"/>
                </a:lnTo>
                <a:lnTo>
                  <a:pt x="672" y="1128"/>
                </a:lnTo>
                <a:lnTo>
                  <a:pt x="658" y="1122"/>
                </a:lnTo>
                <a:lnTo>
                  <a:pt x="645" y="1115"/>
                </a:lnTo>
                <a:lnTo>
                  <a:pt x="639" y="1110"/>
                </a:lnTo>
                <a:lnTo>
                  <a:pt x="633" y="1105"/>
                </a:lnTo>
                <a:lnTo>
                  <a:pt x="626" y="1101"/>
                </a:lnTo>
                <a:lnTo>
                  <a:pt x="620" y="1095"/>
                </a:lnTo>
                <a:lnTo>
                  <a:pt x="615" y="1090"/>
                </a:lnTo>
                <a:lnTo>
                  <a:pt x="610" y="1084"/>
                </a:lnTo>
                <a:lnTo>
                  <a:pt x="605" y="1078"/>
                </a:lnTo>
                <a:lnTo>
                  <a:pt x="600" y="1072"/>
                </a:lnTo>
                <a:lnTo>
                  <a:pt x="595" y="1065"/>
                </a:lnTo>
                <a:lnTo>
                  <a:pt x="591" y="1058"/>
                </a:lnTo>
                <a:lnTo>
                  <a:pt x="587" y="1050"/>
                </a:lnTo>
                <a:lnTo>
                  <a:pt x="584" y="1043"/>
                </a:lnTo>
                <a:lnTo>
                  <a:pt x="580" y="1035"/>
                </a:lnTo>
                <a:lnTo>
                  <a:pt x="577" y="1027"/>
                </a:lnTo>
                <a:lnTo>
                  <a:pt x="575" y="1020"/>
                </a:lnTo>
                <a:lnTo>
                  <a:pt x="572" y="1011"/>
                </a:lnTo>
                <a:lnTo>
                  <a:pt x="569" y="1003"/>
                </a:lnTo>
                <a:lnTo>
                  <a:pt x="568" y="994"/>
                </a:lnTo>
                <a:lnTo>
                  <a:pt x="566" y="985"/>
                </a:lnTo>
                <a:lnTo>
                  <a:pt x="565" y="976"/>
                </a:lnTo>
                <a:lnTo>
                  <a:pt x="565" y="967"/>
                </a:lnTo>
                <a:lnTo>
                  <a:pt x="565" y="958"/>
                </a:lnTo>
                <a:lnTo>
                  <a:pt x="566" y="939"/>
                </a:lnTo>
                <a:lnTo>
                  <a:pt x="567" y="929"/>
                </a:lnTo>
                <a:lnTo>
                  <a:pt x="568" y="920"/>
                </a:lnTo>
                <a:lnTo>
                  <a:pt x="571" y="911"/>
                </a:lnTo>
                <a:lnTo>
                  <a:pt x="573" y="902"/>
                </a:lnTo>
                <a:lnTo>
                  <a:pt x="575" y="893"/>
                </a:lnTo>
                <a:lnTo>
                  <a:pt x="578" y="884"/>
                </a:lnTo>
                <a:lnTo>
                  <a:pt x="581" y="876"/>
                </a:lnTo>
                <a:lnTo>
                  <a:pt x="585" y="867"/>
                </a:lnTo>
                <a:lnTo>
                  <a:pt x="589" y="859"/>
                </a:lnTo>
                <a:lnTo>
                  <a:pt x="593" y="851"/>
                </a:lnTo>
                <a:lnTo>
                  <a:pt x="597" y="843"/>
                </a:lnTo>
                <a:lnTo>
                  <a:pt x="602" y="836"/>
                </a:lnTo>
                <a:lnTo>
                  <a:pt x="612" y="822"/>
                </a:lnTo>
                <a:lnTo>
                  <a:pt x="617" y="816"/>
                </a:lnTo>
                <a:lnTo>
                  <a:pt x="623" y="809"/>
                </a:lnTo>
                <a:lnTo>
                  <a:pt x="636" y="797"/>
                </a:lnTo>
                <a:lnTo>
                  <a:pt x="643" y="792"/>
                </a:lnTo>
                <a:lnTo>
                  <a:pt x="650" y="787"/>
                </a:lnTo>
                <a:lnTo>
                  <a:pt x="656" y="783"/>
                </a:lnTo>
                <a:lnTo>
                  <a:pt x="663" y="779"/>
                </a:lnTo>
                <a:lnTo>
                  <a:pt x="671" y="775"/>
                </a:lnTo>
                <a:lnTo>
                  <a:pt x="678" y="772"/>
                </a:lnTo>
                <a:lnTo>
                  <a:pt x="686" y="769"/>
                </a:lnTo>
                <a:lnTo>
                  <a:pt x="694" y="767"/>
                </a:lnTo>
                <a:lnTo>
                  <a:pt x="702" y="765"/>
                </a:lnTo>
                <a:lnTo>
                  <a:pt x="710" y="764"/>
                </a:lnTo>
                <a:lnTo>
                  <a:pt x="719" y="763"/>
                </a:lnTo>
                <a:lnTo>
                  <a:pt x="727" y="763"/>
                </a:lnTo>
                <a:lnTo>
                  <a:pt x="737" y="763"/>
                </a:lnTo>
                <a:lnTo>
                  <a:pt x="742" y="764"/>
                </a:lnTo>
                <a:lnTo>
                  <a:pt x="747" y="765"/>
                </a:lnTo>
                <a:lnTo>
                  <a:pt x="752" y="766"/>
                </a:lnTo>
                <a:lnTo>
                  <a:pt x="757" y="767"/>
                </a:lnTo>
                <a:lnTo>
                  <a:pt x="765" y="770"/>
                </a:lnTo>
                <a:lnTo>
                  <a:pt x="773" y="774"/>
                </a:lnTo>
                <a:lnTo>
                  <a:pt x="780" y="779"/>
                </a:lnTo>
                <a:lnTo>
                  <a:pt x="787" y="784"/>
                </a:lnTo>
                <a:lnTo>
                  <a:pt x="793" y="790"/>
                </a:lnTo>
                <a:lnTo>
                  <a:pt x="796" y="793"/>
                </a:lnTo>
                <a:lnTo>
                  <a:pt x="798" y="797"/>
                </a:lnTo>
                <a:lnTo>
                  <a:pt x="803" y="804"/>
                </a:lnTo>
                <a:lnTo>
                  <a:pt x="807" y="813"/>
                </a:lnTo>
                <a:lnTo>
                  <a:pt x="812" y="821"/>
                </a:lnTo>
                <a:lnTo>
                  <a:pt x="814" y="830"/>
                </a:lnTo>
                <a:lnTo>
                  <a:pt x="816" y="839"/>
                </a:lnTo>
                <a:lnTo>
                  <a:pt x="817" y="848"/>
                </a:lnTo>
                <a:lnTo>
                  <a:pt x="818" y="858"/>
                </a:lnTo>
                <a:lnTo>
                  <a:pt x="817" y="872"/>
                </a:lnTo>
                <a:lnTo>
                  <a:pt x="816" y="878"/>
                </a:lnTo>
                <a:lnTo>
                  <a:pt x="814" y="884"/>
                </a:lnTo>
                <a:lnTo>
                  <a:pt x="811" y="896"/>
                </a:lnTo>
                <a:lnTo>
                  <a:pt x="805" y="907"/>
                </a:lnTo>
                <a:lnTo>
                  <a:pt x="799" y="919"/>
                </a:lnTo>
                <a:lnTo>
                  <a:pt x="791" y="929"/>
                </a:lnTo>
                <a:lnTo>
                  <a:pt x="787" y="935"/>
                </a:lnTo>
                <a:lnTo>
                  <a:pt x="783" y="940"/>
                </a:lnTo>
                <a:lnTo>
                  <a:pt x="774" y="949"/>
                </a:lnTo>
                <a:lnTo>
                  <a:pt x="764" y="958"/>
                </a:lnTo>
                <a:lnTo>
                  <a:pt x="758" y="962"/>
                </a:lnTo>
                <a:lnTo>
                  <a:pt x="753" y="965"/>
                </a:lnTo>
                <a:lnTo>
                  <a:pt x="741" y="972"/>
                </a:lnTo>
                <a:lnTo>
                  <a:pt x="729" y="978"/>
                </a:lnTo>
                <a:lnTo>
                  <a:pt x="717" y="982"/>
                </a:lnTo>
                <a:lnTo>
                  <a:pt x="711" y="984"/>
                </a:lnTo>
                <a:lnTo>
                  <a:pt x="705" y="986"/>
                </a:lnTo>
                <a:lnTo>
                  <a:pt x="698" y="987"/>
                </a:lnTo>
                <a:lnTo>
                  <a:pt x="692" y="988"/>
                </a:lnTo>
                <a:lnTo>
                  <a:pt x="679" y="988"/>
                </a:lnTo>
                <a:lnTo>
                  <a:pt x="673" y="988"/>
                </a:lnTo>
                <a:lnTo>
                  <a:pt x="668" y="986"/>
                </a:lnTo>
                <a:lnTo>
                  <a:pt x="664" y="983"/>
                </a:lnTo>
                <a:lnTo>
                  <a:pt x="662" y="981"/>
                </a:lnTo>
                <a:lnTo>
                  <a:pt x="660" y="979"/>
                </a:lnTo>
                <a:lnTo>
                  <a:pt x="657" y="974"/>
                </a:lnTo>
                <a:lnTo>
                  <a:pt x="654" y="969"/>
                </a:lnTo>
                <a:lnTo>
                  <a:pt x="653" y="966"/>
                </a:lnTo>
                <a:lnTo>
                  <a:pt x="653" y="963"/>
                </a:lnTo>
                <a:lnTo>
                  <a:pt x="652" y="957"/>
                </a:lnTo>
                <a:lnTo>
                  <a:pt x="652" y="954"/>
                </a:lnTo>
                <a:lnTo>
                  <a:pt x="653" y="951"/>
                </a:lnTo>
                <a:lnTo>
                  <a:pt x="654" y="947"/>
                </a:lnTo>
                <a:lnTo>
                  <a:pt x="655" y="944"/>
                </a:lnTo>
                <a:lnTo>
                  <a:pt x="656" y="943"/>
                </a:lnTo>
                <a:lnTo>
                  <a:pt x="658" y="941"/>
                </a:lnTo>
                <a:lnTo>
                  <a:pt x="659" y="940"/>
                </a:lnTo>
                <a:lnTo>
                  <a:pt x="670" y="938"/>
                </a:lnTo>
                <a:lnTo>
                  <a:pt x="681" y="935"/>
                </a:lnTo>
                <a:lnTo>
                  <a:pt x="692" y="932"/>
                </a:lnTo>
                <a:lnTo>
                  <a:pt x="701" y="927"/>
                </a:lnTo>
                <a:lnTo>
                  <a:pt x="711" y="922"/>
                </a:lnTo>
                <a:lnTo>
                  <a:pt x="719" y="917"/>
                </a:lnTo>
                <a:lnTo>
                  <a:pt x="727" y="912"/>
                </a:lnTo>
                <a:lnTo>
                  <a:pt x="731" y="909"/>
                </a:lnTo>
                <a:lnTo>
                  <a:pt x="734" y="906"/>
                </a:lnTo>
                <a:lnTo>
                  <a:pt x="741" y="900"/>
                </a:lnTo>
                <a:lnTo>
                  <a:pt x="746" y="893"/>
                </a:lnTo>
                <a:lnTo>
                  <a:pt x="752" y="886"/>
                </a:lnTo>
                <a:lnTo>
                  <a:pt x="756" y="880"/>
                </a:lnTo>
                <a:lnTo>
                  <a:pt x="760" y="873"/>
                </a:lnTo>
                <a:lnTo>
                  <a:pt x="762" y="865"/>
                </a:lnTo>
                <a:lnTo>
                  <a:pt x="764" y="857"/>
                </a:lnTo>
                <a:lnTo>
                  <a:pt x="764" y="850"/>
                </a:lnTo>
                <a:lnTo>
                  <a:pt x="763" y="842"/>
                </a:lnTo>
                <a:lnTo>
                  <a:pt x="761" y="835"/>
                </a:lnTo>
                <a:lnTo>
                  <a:pt x="760" y="832"/>
                </a:lnTo>
                <a:lnTo>
                  <a:pt x="758" y="829"/>
                </a:lnTo>
                <a:lnTo>
                  <a:pt x="756" y="826"/>
                </a:lnTo>
                <a:lnTo>
                  <a:pt x="753" y="823"/>
                </a:lnTo>
                <a:lnTo>
                  <a:pt x="747" y="819"/>
                </a:lnTo>
                <a:lnTo>
                  <a:pt x="743" y="817"/>
                </a:lnTo>
                <a:lnTo>
                  <a:pt x="740" y="816"/>
                </a:lnTo>
                <a:lnTo>
                  <a:pt x="732" y="814"/>
                </a:lnTo>
                <a:lnTo>
                  <a:pt x="728" y="814"/>
                </a:lnTo>
                <a:lnTo>
                  <a:pt x="723" y="814"/>
                </a:lnTo>
                <a:lnTo>
                  <a:pt x="714" y="814"/>
                </a:lnTo>
                <a:lnTo>
                  <a:pt x="710" y="815"/>
                </a:lnTo>
                <a:lnTo>
                  <a:pt x="705" y="816"/>
                </a:lnTo>
                <a:lnTo>
                  <a:pt x="701" y="818"/>
                </a:lnTo>
                <a:lnTo>
                  <a:pt x="696" y="820"/>
                </a:lnTo>
                <a:lnTo>
                  <a:pt x="692" y="822"/>
                </a:lnTo>
                <a:lnTo>
                  <a:pt x="687" y="825"/>
                </a:lnTo>
                <a:lnTo>
                  <a:pt x="682" y="827"/>
                </a:lnTo>
                <a:lnTo>
                  <a:pt x="678" y="830"/>
                </a:lnTo>
                <a:lnTo>
                  <a:pt x="670" y="838"/>
                </a:lnTo>
                <a:lnTo>
                  <a:pt x="662" y="846"/>
                </a:lnTo>
                <a:lnTo>
                  <a:pt x="655" y="855"/>
                </a:lnTo>
                <a:lnTo>
                  <a:pt x="651" y="859"/>
                </a:lnTo>
                <a:lnTo>
                  <a:pt x="648" y="865"/>
                </a:lnTo>
                <a:lnTo>
                  <a:pt x="642" y="876"/>
                </a:lnTo>
                <a:lnTo>
                  <a:pt x="636" y="888"/>
                </a:lnTo>
                <a:lnTo>
                  <a:pt x="631" y="900"/>
                </a:lnTo>
                <a:lnTo>
                  <a:pt x="626" y="913"/>
                </a:lnTo>
                <a:lnTo>
                  <a:pt x="624" y="926"/>
                </a:lnTo>
                <a:lnTo>
                  <a:pt x="622" y="941"/>
                </a:lnTo>
                <a:lnTo>
                  <a:pt x="621" y="948"/>
                </a:lnTo>
                <a:lnTo>
                  <a:pt x="621" y="955"/>
                </a:lnTo>
                <a:lnTo>
                  <a:pt x="622" y="968"/>
                </a:lnTo>
                <a:lnTo>
                  <a:pt x="623" y="980"/>
                </a:lnTo>
                <a:lnTo>
                  <a:pt x="625" y="993"/>
                </a:lnTo>
                <a:lnTo>
                  <a:pt x="627" y="998"/>
                </a:lnTo>
                <a:lnTo>
                  <a:pt x="628" y="1004"/>
                </a:lnTo>
                <a:lnTo>
                  <a:pt x="633" y="1014"/>
                </a:lnTo>
                <a:lnTo>
                  <a:pt x="635" y="1019"/>
                </a:lnTo>
                <a:lnTo>
                  <a:pt x="637" y="1024"/>
                </a:lnTo>
                <a:lnTo>
                  <a:pt x="640" y="1029"/>
                </a:lnTo>
                <a:lnTo>
                  <a:pt x="642" y="1033"/>
                </a:lnTo>
                <a:lnTo>
                  <a:pt x="645" y="1037"/>
                </a:lnTo>
                <a:lnTo>
                  <a:pt x="648" y="1041"/>
                </a:lnTo>
                <a:lnTo>
                  <a:pt x="652" y="1045"/>
                </a:lnTo>
                <a:lnTo>
                  <a:pt x="655" y="1049"/>
                </a:lnTo>
                <a:lnTo>
                  <a:pt x="662" y="1056"/>
                </a:lnTo>
                <a:lnTo>
                  <a:pt x="670" y="1062"/>
                </a:lnTo>
                <a:lnTo>
                  <a:pt x="679" y="1067"/>
                </a:lnTo>
                <a:lnTo>
                  <a:pt x="688" y="1071"/>
                </a:lnTo>
                <a:lnTo>
                  <a:pt x="698" y="1073"/>
                </a:lnTo>
                <a:lnTo>
                  <a:pt x="708" y="1075"/>
                </a:lnTo>
                <a:lnTo>
                  <a:pt x="714" y="1076"/>
                </a:lnTo>
                <a:lnTo>
                  <a:pt x="719" y="1076"/>
                </a:lnTo>
                <a:lnTo>
                  <a:pt x="730" y="1075"/>
                </a:lnTo>
                <a:lnTo>
                  <a:pt x="740" y="1074"/>
                </a:lnTo>
                <a:lnTo>
                  <a:pt x="751" y="1071"/>
                </a:lnTo>
                <a:lnTo>
                  <a:pt x="760" y="1068"/>
                </a:lnTo>
                <a:lnTo>
                  <a:pt x="770" y="1064"/>
                </a:lnTo>
                <a:lnTo>
                  <a:pt x="779" y="1059"/>
                </a:lnTo>
                <a:lnTo>
                  <a:pt x="787" y="1053"/>
                </a:lnTo>
                <a:lnTo>
                  <a:pt x="795" y="1045"/>
                </a:lnTo>
                <a:lnTo>
                  <a:pt x="803" y="1038"/>
                </a:lnTo>
                <a:lnTo>
                  <a:pt x="812" y="1030"/>
                </a:lnTo>
                <a:lnTo>
                  <a:pt x="819" y="1022"/>
                </a:lnTo>
                <a:lnTo>
                  <a:pt x="826" y="1013"/>
                </a:lnTo>
                <a:lnTo>
                  <a:pt x="839" y="993"/>
                </a:lnTo>
                <a:lnTo>
                  <a:pt x="845" y="982"/>
                </a:lnTo>
                <a:lnTo>
                  <a:pt x="851" y="971"/>
                </a:lnTo>
                <a:lnTo>
                  <a:pt x="856" y="960"/>
                </a:lnTo>
                <a:lnTo>
                  <a:pt x="861" y="949"/>
                </a:lnTo>
                <a:lnTo>
                  <a:pt x="865" y="937"/>
                </a:lnTo>
                <a:lnTo>
                  <a:pt x="869" y="925"/>
                </a:lnTo>
                <a:lnTo>
                  <a:pt x="874" y="913"/>
                </a:lnTo>
                <a:lnTo>
                  <a:pt x="877" y="901"/>
                </a:lnTo>
                <a:lnTo>
                  <a:pt x="880" y="889"/>
                </a:lnTo>
                <a:lnTo>
                  <a:pt x="883" y="877"/>
                </a:lnTo>
                <a:lnTo>
                  <a:pt x="885" y="864"/>
                </a:lnTo>
                <a:lnTo>
                  <a:pt x="887" y="852"/>
                </a:lnTo>
                <a:lnTo>
                  <a:pt x="889" y="840"/>
                </a:lnTo>
                <a:lnTo>
                  <a:pt x="890" y="828"/>
                </a:lnTo>
                <a:lnTo>
                  <a:pt x="890" y="817"/>
                </a:lnTo>
                <a:lnTo>
                  <a:pt x="891" y="805"/>
                </a:lnTo>
                <a:lnTo>
                  <a:pt x="891" y="794"/>
                </a:lnTo>
                <a:lnTo>
                  <a:pt x="890" y="784"/>
                </a:lnTo>
                <a:lnTo>
                  <a:pt x="891" y="781"/>
                </a:lnTo>
                <a:lnTo>
                  <a:pt x="893" y="779"/>
                </a:lnTo>
                <a:lnTo>
                  <a:pt x="895" y="777"/>
                </a:lnTo>
                <a:lnTo>
                  <a:pt x="898" y="775"/>
                </a:lnTo>
                <a:lnTo>
                  <a:pt x="904" y="773"/>
                </a:lnTo>
                <a:lnTo>
                  <a:pt x="908" y="772"/>
                </a:lnTo>
                <a:lnTo>
                  <a:pt x="912" y="772"/>
                </a:lnTo>
                <a:lnTo>
                  <a:pt x="920" y="772"/>
                </a:lnTo>
                <a:lnTo>
                  <a:pt x="923" y="773"/>
                </a:lnTo>
                <a:lnTo>
                  <a:pt x="926" y="774"/>
                </a:lnTo>
                <a:lnTo>
                  <a:pt x="933" y="777"/>
                </a:lnTo>
                <a:lnTo>
                  <a:pt x="935" y="779"/>
                </a:lnTo>
                <a:lnTo>
                  <a:pt x="938" y="781"/>
                </a:lnTo>
                <a:lnTo>
                  <a:pt x="942" y="787"/>
                </a:lnTo>
                <a:lnTo>
                  <a:pt x="943" y="790"/>
                </a:lnTo>
                <a:lnTo>
                  <a:pt x="945" y="794"/>
                </a:lnTo>
                <a:lnTo>
                  <a:pt x="946" y="798"/>
                </a:lnTo>
                <a:lnTo>
                  <a:pt x="947" y="803"/>
                </a:lnTo>
                <a:lnTo>
                  <a:pt x="947" y="809"/>
                </a:lnTo>
                <a:lnTo>
                  <a:pt x="947" y="815"/>
                </a:lnTo>
                <a:lnTo>
                  <a:pt x="947" y="831"/>
                </a:lnTo>
                <a:lnTo>
                  <a:pt x="946" y="846"/>
                </a:lnTo>
                <a:lnTo>
                  <a:pt x="944" y="862"/>
                </a:lnTo>
                <a:lnTo>
                  <a:pt x="942" y="878"/>
                </a:lnTo>
                <a:lnTo>
                  <a:pt x="940" y="893"/>
                </a:lnTo>
                <a:lnTo>
                  <a:pt x="937" y="907"/>
                </a:lnTo>
                <a:lnTo>
                  <a:pt x="933" y="922"/>
                </a:lnTo>
                <a:lnTo>
                  <a:pt x="928" y="937"/>
                </a:lnTo>
                <a:lnTo>
                  <a:pt x="924" y="951"/>
                </a:lnTo>
                <a:lnTo>
                  <a:pt x="919" y="964"/>
                </a:lnTo>
                <a:lnTo>
                  <a:pt x="914" y="978"/>
                </a:lnTo>
                <a:lnTo>
                  <a:pt x="908" y="990"/>
                </a:lnTo>
                <a:lnTo>
                  <a:pt x="902" y="1004"/>
                </a:lnTo>
                <a:lnTo>
                  <a:pt x="896" y="1016"/>
                </a:lnTo>
                <a:lnTo>
                  <a:pt x="889" y="1027"/>
                </a:lnTo>
                <a:lnTo>
                  <a:pt x="881" y="1039"/>
                </a:lnTo>
                <a:lnTo>
                  <a:pt x="874" y="1049"/>
                </a:lnTo>
                <a:lnTo>
                  <a:pt x="865" y="1060"/>
                </a:lnTo>
                <a:lnTo>
                  <a:pt x="856" y="1070"/>
                </a:lnTo>
                <a:lnTo>
                  <a:pt x="848" y="1079"/>
                </a:lnTo>
                <a:lnTo>
                  <a:pt x="839" y="1087"/>
                </a:lnTo>
                <a:lnTo>
                  <a:pt x="829" y="1095"/>
                </a:lnTo>
                <a:lnTo>
                  <a:pt x="819" y="1103"/>
                </a:lnTo>
                <a:lnTo>
                  <a:pt x="808" y="1109"/>
                </a:lnTo>
                <a:lnTo>
                  <a:pt x="798" y="1116"/>
                </a:lnTo>
                <a:lnTo>
                  <a:pt x="787" y="1121"/>
                </a:lnTo>
                <a:lnTo>
                  <a:pt x="777" y="1126"/>
                </a:lnTo>
                <a:lnTo>
                  <a:pt x="765" y="1129"/>
                </a:lnTo>
                <a:lnTo>
                  <a:pt x="754" y="1132"/>
                </a:lnTo>
                <a:lnTo>
                  <a:pt x="741" y="1134"/>
                </a:lnTo>
                <a:lnTo>
                  <a:pt x="729" y="1136"/>
                </a:lnTo>
                <a:lnTo>
                  <a:pt x="717" y="1136"/>
                </a:lnTo>
                <a:close/>
                <a:moveTo>
                  <a:pt x="1104" y="1130"/>
                </a:moveTo>
                <a:lnTo>
                  <a:pt x="1102" y="1130"/>
                </a:lnTo>
                <a:lnTo>
                  <a:pt x="1100" y="1129"/>
                </a:lnTo>
                <a:lnTo>
                  <a:pt x="1095" y="1127"/>
                </a:lnTo>
                <a:lnTo>
                  <a:pt x="1088" y="1122"/>
                </a:lnTo>
                <a:lnTo>
                  <a:pt x="1081" y="1117"/>
                </a:lnTo>
                <a:lnTo>
                  <a:pt x="1068" y="1105"/>
                </a:lnTo>
                <a:lnTo>
                  <a:pt x="1053" y="1091"/>
                </a:lnTo>
                <a:lnTo>
                  <a:pt x="1036" y="1075"/>
                </a:lnTo>
                <a:lnTo>
                  <a:pt x="1019" y="1058"/>
                </a:lnTo>
                <a:lnTo>
                  <a:pt x="1003" y="1040"/>
                </a:lnTo>
                <a:lnTo>
                  <a:pt x="988" y="1024"/>
                </a:lnTo>
                <a:lnTo>
                  <a:pt x="977" y="1010"/>
                </a:lnTo>
                <a:lnTo>
                  <a:pt x="972" y="1004"/>
                </a:lnTo>
                <a:lnTo>
                  <a:pt x="969" y="998"/>
                </a:lnTo>
                <a:lnTo>
                  <a:pt x="964" y="987"/>
                </a:lnTo>
                <a:lnTo>
                  <a:pt x="960" y="977"/>
                </a:lnTo>
                <a:lnTo>
                  <a:pt x="958" y="968"/>
                </a:lnTo>
                <a:lnTo>
                  <a:pt x="957" y="958"/>
                </a:lnTo>
                <a:lnTo>
                  <a:pt x="957" y="952"/>
                </a:lnTo>
                <a:lnTo>
                  <a:pt x="958" y="946"/>
                </a:lnTo>
                <a:lnTo>
                  <a:pt x="959" y="941"/>
                </a:lnTo>
                <a:lnTo>
                  <a:pt x="961" y="935"/>
                </a:lnTo>
                <a:lnTo>
                  <a:pt x="964" y="927"/>
                </a:lnTo>
                <a:lnTo>
                  <a:pt x="967" y="921"/>
                </a:lnTo>
                <a:lnTo>
                  <a:pt x="971" y="914"/>
                </a:lnTo>
                <a:lnTo>
                  <a:pt x="975" y="908"/>
                </a:lnTo>
                <a:lnTo>
                  <a:pt x="984" y="897"/>
                </a:lnTo>
                <a:lnTo>
                  <a:pt x="996" y="883"/>
                </a:lnTo>
                <a:lnTo>
                  <a:pt x="1026" y="848"/>
                </a:lnTo>
                <a:lnTo>
                  <a:pt x="1061" y="808"/>
                </a:lnTo>
                <a:lnTo>
                  <a:pt x="1096" y="768"/>
                </a:lnTo>
                <a:lnTo>
                  <a:pt x="1097" y="768"/>
                </a:lnTo>
                <a:lnTo>
                  <a:pt x="1101" y="767"/>
                </a:lnTo>
                <a:lnTo>
                  <a:pt x="1104" y="768"/>
                </a:lnTo>
                <a:lnTo>
                  <a:pt x="1108" y="769"/>
                </a:lnTo>
                <a:lnTo>
                  <a:pt x="1114" y="771"/>
                </a:lnTo>
                <a:lnTo>
                  <a:pt x="1118" y="773"/>
                </a:lnTo>
                <a:lnTo>
                  <a:pt x="1122" y="776"/>
                </a:lnTo>
                <a:lnTo>
                  <a:pt x="1126" y="780"/>
                </a:lnTo>
                <a:lnTo>
                  <a:pt x="1130" y="784"/>
                </a:lnTo>
                <a:lnTo>
                  <a:pt x="1132" y="789"/>
                </a:lnTo>
                <a:lnTo>
                  <a:pt x="1134" y="794"/>
                </a:lnTo>
                <a:lnTo>
                  <a:pt x="1134" y="798"/>
                </a:lnTo>
                <a:lnTo>
                  <a:pt x="1134" y="804"/>
                </a:lnTo>
                <a:lnTo>
                  <a:pt x="1132" y="809"/>
                </a:lnTo>
                <a:lnTo>
                  <a:pt x="1129" y="816"/>
                </a:lnTo>
                <a:lnTo>
                  <a:pt x="1125" y="822"/>
                </a:lnTo>
                <a:lnTo>
                  <a:pt x="1117" y="832"/>
                </a:lnTo>
                <a:lnTo>
                  <a:pt x="1105" y="846"/>
                </a:lnTo>
                <a:lnTo>
                  <a:pt x="1076" y="879"/>
                </a:lnTo>
                <a:lnTo>
                  <a:pt x="1045" y="913"/>
                </a:lnTo>
                <a:lnTo>
                  <a:pt x="1033" y="927"/>
                </a:lnTo>
                <a:lnTo>
                  <a:pt x="1024" y="940"/>
                </a:lnTo>
                <a:lnTo>
                  <a:pt x="1021" y="944"/>
                </a:lnTo>
                <a:lnTo>
                  <a:pt x="1019" y="947"/>
                </a:lnTo>
                <a:lnTo>
                  <a:pt x="1018" y="951"/>
                </a:lnTo>
                <a:lnTo>
                  <a:pt x="1018" y="954"/>
                </a:lnTo>
                <a:lnTo>
                  <a:pt x="1018" y="959"/>
                </a:lnTo>
                <a:lnTo>
                  <a:pt x="1020" y="963"/>
                </a:lnTo>
                <a:lnTo>
                  <a:pt x="1022" y="968"/>
                </a:lnTo>
                <a:lnTo>
                  <a:pt x="1025" y="972"/>
                </a:lnTo>
                <a:lnTo>
                  <a:pt x="1032" y="981"/>
                </a:lnTo>
                <a:lnTo>
                  <a:pt x="1043" y="994"/>
                </a:lnTo>
                <a:lnTo>
                  <a:pt x="1071" y="1023"/>
                </a:lnTo>
                <a:lnTo>
                  <a:pt x="1103" y="1056"/>
                </a:lnTo>
                <a:lnTo>
                  <a:pt x="1135" y="1087"/>
                </a:lnTo>
                <a:lnTo>
                  <a:pt x="1137" y="1088"/>
                </a:lnTo>
                <a:lnTo>
                  <a:pt x="1138" y="1091"/>
                </a:lnTo>
                <a:lnTo>
                  <a:pt x="1139" y="1093"/>
                </a:lnTo>
                <a:lnTo>
                  <a:pt x="1139" y="1095"/>
                </a:lnTo>
                <a:lnTo>
                  <a:pt x="1139" y="1101"/>
                </a:lnTo>
                <a:lnTo>
                  <a:pt x="1138" y="1104"/>
                </a:lnTo>
                <a:lnTo>
                  <a:pt x="1136" y="1107"/>
                </a:lnTo>
                <a:lnTo>
                  <a:pt x="1133" y="1113"/>
                </a:lnTo>
                <a:lnTo>
                  <a:pt x="1130" y="1116"/>
                </a:lnTo>
                <a:lnTo>
                  <a:pt x="1128" y="1119"/>
                </a:lnTo>
                <a:lnTo>
                  <a:pt x="1123" y="1123"/>
                </a:lnTo>
                <a:lnTo>
                  <a:pt x="1120" y="1125"/>
                </a:lnTo>
                <a:lnTo>
                  <a:pt x="1117" y="1127"/>
                </a:lnTo>
                <a:lnTo>
                  <a:pt x="1111" y="1129"/>
                </a:lnTo>
                <a:lnTo>
                  <a:pt x="1107" y="1130"/>
                </a:lnTo>
                <a:lnTo>
                  <a:pt x="1104" y="1130"/>
                </a:lnTo>
                <a:close/>
                <a:moveTo>
                  <a:pt x="717" y="2129"/>
                </a:moveTo>
                <a:lnTo>
                  <a:pt x="710" y="2129"/>
                </a:lnTo>
                <a:lnTo>
                  <a:pt x="702" y="2128"/>
                </a:lnTo>
                <a:lnTo>
                  <a:pt x="694" y="2127"/>
                </a:lnTo>
                <a:lnTo>
                  <a:pt x="686" y="2126"/>
                </a:lnTo>
                <a:lnTo>
                  <a:pt x="679" y="2124"/>
                </a:lnTo>
                <a:lnTo>
                  <a:pt x="672" y="2121"/>
                </a:lnTo>
                <a:lnTo>
                  <a:pt x="658" y="2116"/>
                </a:lnTo>
                <a:lnTo>
                  <a:pt x="645" y="2108"/>
                </a:lnTo>
                <a:lnTo>
                  <a:pt x="639" y="2104"/>
                </a:lnTo>
                <a:lnTo>
                  <a:pt x="633" y="2100"/>
                </a:lnTo>
                <a:lnTo>
                  <a:pt x="626" y="2095"/>
                </a:lnTo>
                <a:lnTo>
                  <a:pt x="620" y="2090"/>
                </a:lnTo>
                <a:lnTo>
                  <a:pt x="615" y="2084"/>
                </a:lnTo>
                <a:lnTo>
                  <a:pt x="610" y="2078"/>
                </a:lnTo>
                <a:lnTo>
                  <a:pt x="605" y="2072"/>
                </a:lnTo>
                <a:lnTo>
                  <a:pt x="600" y="2065"/>
                </a:lnTo>
                <a:lnTo>
                  <a:pt x="595" y="2058"/>
                </a:lnTo>
                <a:lnTo>
                  <a:pt x="591" y="2051"/>
                </a:lnTo>
                <a:lnTo>
                  <a:pt x="587" y="2044"/>
                </a:lnTo>
                <a:lnTo>
                  <a:pt x="584" y="2037"/>
                </a:lnTo>
                <a:lnTo>
                  <a:pt x="580" y="2029"/>
                </a:lnTo>
                <a:lnTo>
                  <a:pt x="577" y="2022"/>
                </a:lnTo>
                <a:lnTo>
                  <a:pt x="575" y="2014"/>
                </a:lnTo>
                <a:lnTo>
                  <a:pt x="572" y="2005"/>
                </a:lnTo>
                <a:lnTo>
                  <a:pt x="569" y="1996"/>
                </a:lnTo>
                <a:lnTo>
                  <a:pt x="568" y="1988"/>
                </a:lnTo>
                <a:lnTo>
                  <a:pt x="566" y="1979"/>
                </a:lnTo>
                <a:lnTo>
                  <a:pt x="565" y="1970"/>
                </a:lnTo>
                <a:lnTo>
                  <a:pt x="565" y="1961"/>
                </a:lnTo>
                <a:lnTo>
                  <a:pt x="565" y="1952"/>
                </a:lnTo>
                <a:lnTo>
                  <a:pt x="566" y="1932"/>
                </a:lnTo>
                <a:lnTo>
                  <a:pt x="567" y="1923"/>
                </a:lnTo>
                <a:lnTo>
                  <a:pt x="568" y="1914"/>
                </a:lnTo>
                <a:lnTo>
                  <a:pt x="571" y="1905"/>
                </a:lnTo>
                <a:lnTo>
                  <a:pt x="573" y="1896"/>
                </a:lnTo>
                <a:lnTo>
                  <a:pt x="575" y="1886"/>
                </a:lnTo>
                <a:lnTo>
                  <a:pt x="578" y="1878"/>
                </a:lnTo>
                <a:lnTo>
                  <a:pt x="581" y="1869"/>
                </a:lnTo>
                <a:lnTo>
                  <a:pt x="585" y="1861"/>
                </a:lnTo>
                <a:lnTo>
                  <a:pt x="589" y="1853"/>
                </a:lnTo>
                <a:lnTo>
                  <a:pt x="593" y="1845"/>
                </a:lnTo>
                <a:lnTo>
                  <a:pt x="597" y="1838"/>
                </a:lnTo>
                <a:lnTo>
                  <a:pt x="602" y="1829"/>
                </a:lnTo>
                <a:lnTo>
                  <a:pt x="612" y="1815"/>
                </a:lnTo>
                <a:lnTo>
                  <a:pt x="617" y="1809"/>
                </a:lnTo>
                <a:lnTo>
                  <a:pt x="623" y="1803"/>
                </a:lnTo>
                <a:lnTo>
                  <a:pt x="636" y="1791"/>
                </a:lnTo>
                <a:lnTo>
                  <a:pt x="643" y="1786"/>
                </a:lnTo>
                <a:lnTo>
                  <a:pt x="650" y="1781"/>
                </a:lnTo>
                <a:lnTo>
                  <a:pt x="656" y="1777"/>
                </a:lnTo>
                <a:lnTo>
                  <a:pt x="663" y="1773"/>
                </a:lnTo>
                <a:lnTo>
                  <a:pt x="671" y="1768"/>
                </a:lnTo>
                <a:lnTo>
                  <a:pt x="678" y="1765"/>
                </a:lnTo>
                <a:lnTo>
                  <a:pt x="686" y="1762"/>
                </a:lnTo>
                <a:lnTo>
                  <a:pt x="694" y="1760"/>
                </a:lnTo>
                <a:lnTo>
                  <a:pt x="702" y="1758"/>
                </a:lnTo>
                <a:lnTo>
                  <a:pt x="710" y="1757"/>
                </a:lnTo>
                <a:lnTo>
                  <a:pt x="719" y="1756"/>
                </a:lnTo>
                <a:lnTo>
                  <a:pt x="727" y="1756"/>
                </a:lnTo>
                <a:lnTo>
                  <a:pt x="737" y="1756"/>
                </a:lnTo>
                <a:lnTo>
                  <a:pt x="742" y="1757"/>
                </a:lnTo>
                <a:lnTo>
                  <a:pt x="747" y="1758"/>
                </a:lnTo>
                <a:lnTo>
                  <a:pt x="752" y="1759"/>
                </a:lnTo>
                <a:lnTo>
                  <a:pt x="757" y="1760"/>
                </a:lnTo>
                <a:lnTo>
                  <a:pt x="765" y="1763"/>
                </a:lnTo>
                <a:lnTo>
                  <a:pt x="773" y="1767"/>
                </a:lnTo>
                <a:lnTo>
                  <a:pt x="780" y="1773"/>
                </a:lnTo>
                <a:lnTo>
                  <a:pt x="787" y="1778"/>
                </a:lnTo>
                <a:lnTo>
                  <a:pt x="793" y="1784"/>
                </a:lnTo>
                <a:lnTo>
                  <a:pt x="796" y="1787"/>
                </a:lnTo>
                <a:lnTo>
                  <a:pt x="798" y="1791"/>
                </a:lnTo>
                <a:lnTo>
                  <a:pt x="803" y="1798"/>
                </a:lnTo>
                <a:lnTo>
                  <a:pt x="807" y="1806"/>
                </a:lnTo>
                <a:lnTo>
                  <a:pt x="812" y="1814"/>
                </a:lnTo>
                <a:lnTo>
                  <a:pt x="814" y="1823"/>
                </a:lnTo>
                <a:lnTo>
                  <a:pt x="816" y="1833"/>
                </a:lnTo>
                <a:lnTo>
                  <a:pt x="817" y="1842"/>
                </a:lnTo>
                <a:lnTo>
                  <a:pt x="818" y="1852"/>
                </a:lnTo>
                <a:lnTo>
                  <a:pt x="817" y="1865"/>
                </a:lnTo>
                <a:lnTo>
                  <a:pt x="816" y="1871"/>
                </a:lnTo>
                <a:lnTo>
                  <a:pt x="814" y="1877"/>
                </a:lnTo>
                <a:lnTo>
                  <a:pt x="811" y="1889"/>
                </a:lnTo>
                <a:lnTo>
                  <a:pt x="805" y="1902"/>
                </a:lnTo>
                <a:lnTo>
                  <a:pt x="799" y="1913"/>
                </a:lnTo>
                <a:lnTo>
                  <a:pt x="791" y="1923"/>
                </a:lnTo>
                <a:lnTo>
                  <a:pt x="787" y="1928"/>
                </a:lnTo>
                <a:lnTo>
                  <a:pt x="783" y="1933"/>
                </a:lnTo>
                <a:lnTo>
                  <a:pt x="774" y="1943"/>
                </a:lnTo>
                <a:lnTo>
                  <a:pt x="764" y="1952"/>
                </a:lnTo>
                <a:lnTo>
                  <a:pt x="758" y="1956"/>
                </a:lnTo>
                <a:lnTo>
                  <a:pt x="753" y="1960"/>
                </a:lnTo>
                <a:lnTo>
                  <a:pt x="741" y="1966"/>
                </a:lnTo>
                <a:lnTo>
                  <a:pt x="729" y="1972"/>
                </a:lnTo>
                <a:lnTo>
                  <a:pt x="717" y="1976"/>
                </a:lnTo>
                <a:lnTo>
                  <a:pt x="711" y="1978"/>
                </a:lnTo>
                <a:lnTo>
                  <a:pt x="705" y="1980"/>
                </a:lnTo>
                <a:lnTo>
                  <a:pt x="698" y="1981"/>
                </a:lnTo>
                <a:lnTo>
                  <a:pt x="692" y="1982"/>
                </a:lnTo>
                <a:lnTo>
                  <a:pt x="679" y="1982"/>
                </a:lnTo>
                <a:lnTo>
                  <a:pt x="673" y="1982"/>
                </a:lnTo>
                <a:lnTo>
                  <a:pt x="668" y="1980"/>
                </a:lnTo>
                <a:lnTo>
                  <a:pt x="664" y="1977"/>
                </a:lnTo>
                <a:lnTo>
                  <a:pt x="662" y="1975"/>
                </a:lnTo>
                <a:lnTo>
                  <a:pt x="660" y="1973"/>
                </a:lnTo>
                <a:lnTo>
                  <a:pt x="657" y="1969"/>
                </a:lnTo>
                <a:lnTo>
                  <a:pt x="654" y="1963"/>
                </a:lnTo>
                <a:lnTo>
                  <a:pt x="653" y="1961"/>
                </a:lnTo>
                <a:lnTo>
                  <a:pt x="653" y="1958"/>
                </a:lnTo>
                <a:lnTo>
                  <a:pt x="652" y="1950"/>
                </a:lnTo>
                <a:lnTo>
                  <a:pt x="652" y="1947"/>
                </a:lnTo>
                <a:lnTo>
                  <a:pt x="653" y="1945"/>
                </a:lnTo>
                <a:lnTo>
                  <a:pt x="654" y="1940"/>
                </a:lnTo>
                <a:lnTo>
                  <a:pt x="655" y="1938"/>
                </a:lnTo>
                <a:lnTo>
                  <a:pt x="656" y="1936"/>
                </a:lnTo>
                <a:lnTo>
                  <a:pt x="658" y="1934"/>
                </a:lnTo>
                <a:lnTo>
                  <a:pt x="659" y="1933"/>
                </a:lnTo>
                <a:lnTo>
                  <a:pt x="670" y="1931"/>
                </a:lnTo>
                <a:lnTo>
                  <a:pt x="681" y="1928"/>
                </a:lnTo>
                <a:lnTo>
                  <a:pt x="692" y="1925"/>
                </a:lnTo>
                <a:lnTo>
                  <a:pt x="701" y="1921"/>
                </a:lnTo>
                <a:lnTo>
                  <a:pt x="711" y="1917"/>
                </a:lnTo>
                <a:lnTo>
                  <a:pt x="719" y="1911"/>
                </a:lnTo>
                <a:lnTo>
                  <a:pt x="727" y="1906"/>
                </a:lnTo>
                <a:lnTo>
                  <a:pt x="731" y="1903"/>
                </a:lnTo>
                <a:lnTo>
                  <a:pt x="734" y="1900"/>
                </a:lnTo>
                <a:lnTo>
                  <a:pt x="741" y="1894"/>
                </a:lnTo>
                <a:lnTo>
                  <a:pt x="746" y="1886"/>
                </a:lnTo>
                <a:lnTo>
                  <a:pt x="752" y="1880"/>
                </a:lnTo>
                <a:lnTo>
                  <a:pt x="756" y="1873"/>
                </a:lnTo>
                <a:lnTo>
                  <a:pt x="760" y="1866"/>
                </a:lnTo>
                <a:lnTo>
                  <a:pt x="762" y="1859"/>
                </a:lnTo>
                <a:lnTo>
                  <a:pt x="764" y="1852"/>
                </a:lnTo>
                <a:lnTo>
                  <a:pt x="764" y="1845"/>
                </a:lnTo>
                <a:lnTo>
                  <a:pt x="763" y="1837"/>
                </a:lnTo>
                <a:lnTo>
                  <a:pt x="761" y="1828"/>
                </a:lnTo>
                <a:lnTo>
                  <a:pt x="760" y="1825"/>
                </a:lnTo>
                <a:lnTo>
                  <a:pt x="758" y="1822"/>
                </a:lnTo>
                <a:lnTo>
                  <a:pt x="756" y="1819"/>
                </a:lnTo>
                <a:lnTo>
                  <a:pt x="753" y="1817"/>
                </a:lnTo>
                <a:lnTo>
                  <a:pt x="747" y="1812"/>
                </a:lnTo>
                <a:lnTo>
                  <a:pt x="743" y="1811"/>
                </a:lnTo>
                <a:lnTo>
                  <a:pt x="740" y="1809"/>
                </a:lnTo>
                <a:lnTo>
                  <a:pt x="732" y="1807"/>
                </a:lnTo>
                <a:lnTo>
                  <a:pt x="728" y="1807"/>
                </a:lnTo>
                <a:lnTo>
                  <a:pt x="723" y="1807"/>
                </a:lnTo>
                <a:lnTo>
                  <a:pt x="714" y="1807"/>
                </a:lnTo>
                <a:lnTo>
                  <a:pt x="710" y="1808"/>
                </a:lnTo>
                <a:lnTo>
                  <a:pt x="705" y="1810"/>
                </a:lnTo>
                <a:lnTo>
                  <a:pt x="701" y="1811"/>
                </a:lnTo>
                <a:lnTo>
                  <a:pt x="696" y="1813"/>
                </a:lnTo>
                <a:lnTo>
                  <a:pt x="692" y="1815"/>
                </a:lnTo>
                <a:lnTo>
                  <a:pt x="687" y="1818"/>
                </a:lnTo>
                <a:lnTo>
                  <a:pt x="682" y="1821"/>
                </a:lnTo>
                <a:lnTo>
                  <a:pt x="678" y="1824"/>
                </a:lnTo>
                <a:lnTo>
                  <a:pt x="670" y="1832"/>
                </a:lnTo>
                <a:lnTo>
                  <a:pt x="662" y="1840"/>
                </a:lnTo>
                <a:lnTo>
                  <a:pt x="655" y="1849"/>
                </a:lnTo>
                <a:lnTo>
                  <a:pt x="651" y="1854"/>
                </a:lnTo>
                <a:lnTo>
                  <a:pt x="648" y="1859"/>
                </a:lnTo>
                <a:lnTo>
                  <a:pt x="642" y="1870"/>
                </a:lnTo>
                <a:lnTo>
                  <a:pt x="636" y="1881"/>
                </a:lnTo>
                <a:lnTo>
                  <a:pt x="631" y="1894"/>
                </a:lnTo>
                <a:lnTo>
                  <a:pt x="626" y="1907"/>
                </a:lnTo>
                <a:lnTo>
                  <a:pt x="624" y="1920"/>
                </a:lnTo>
                <a:lnTo>
                  <a:pt x="622" y="1934"/>
                </a:lnTo>
                <a:lnTo>
                  <a:pt x="621" y="1941"/>
                </a:lnTo>
                <a:lnTo>
                  <a:pt x="621" y="1948"/>
                </a:lnTo>
                <a:lnTo>
                  <a:pt x="622" y="1962"/>
                </a:lnTo>
                <a:lnTo>
                  <a:pt x="623" y="1974"/>
                </a:lnTo>
                <a:lnTo>
                  <a:pt x="625" y="1986"/>
                </a:lnTo>
                <a:lnTo>
                  <a:pt x="627" y="1991"/>
                </a:lnTo>
                <a:lnTo>
                  <a:pt x="628" y="1997"/>
                </a:lnTo>
                <a:lnTo>
                  <a:pt x="633" y="2007"/>
                </a:lnTo>
                <a:lnTo>
                  <a:pt x="635" y="2013"/>
                </a:lnTo>
                <a:lnTo>
                  <a:pt x="637" y="2018"/>
                </a:lnTo>
                <a:lnTo>
                  <a:pt x="640" y="2023"/>
                </a:lnTo>
                <a:lnTo>
                  <a:pt x="642" y="2027"/>
                </a:lnTo>
                <a:lnTo>
                  <a:pt x="645" y="2031"/>
                </a:lnTo>
                <a:lnTo>
                  <a:pt x="648" y="2035"/>
                </a:lnTo>
                <a:lnTo>
                  <a:pt x="652" y="2039"/>
                </a:lnTo>
                <a:lnTo>
                  <a:pt x="655" y="2043"/>
                </a:lnTo>
                <a:lnTo>
                  <a:pt x="662" y="2050"/>
                </a:lnTo>
                <a:lnTo>
                  <a:pt x="670" y="2055"/>
                </a:lnTo>
                <a:lnTo>
                  <a:pt x="679" y="2060"/>
                </a:lnTo>
                <a:lnTo>
                  <a:pt x="688" y="2064"/>
                </a:lnTo>
                <a:lnTo>
                  <a:pt x="698" y="2067"/>
                </a:lnTo>
                <a:lnTo>
                  <a:pt x="708" y="2068"/>
                </a:lnTo>
                <a:lnTo>
                  <a:pt x="714" y="2069"/>
                </a:lnTo>
                <a:lnTo>
                  <a:pt x="719" y="2069"/>
                </a:lnTo>
                <a:lnTo>
                  <a:pt x="730" y="2068"/>
                </a:lnTo>
                <a:lnTo>
                  <a:pt x="740" y="2067"/>
                </a:lnTo>
                <a:lnTo>
                  <a:pt x="751" y="2064"/>
                </a:lnTo>
                <a:lnTo>
                  <a:pt x="760" y="2061"/>
                </a:lnTo>
                <a:lnTo>
                  <a:pt x="770" y="2057"/>
                </a:lnTo>
                <a:lnTo>
                  <a:pt x="779" y="2052"/>
                </a:lnTo>
                <a:lnTo>
                  <a:pt x="787" y="2046"/>
                </a:lnTo>
                <a:lnTo>
                  <a:pt x="795" y="2039"/>
                </a:lnTo>
                <a:lnTo>
                  <a:pt x="803" y="2032"/>
                </a:lnTo>
                <a:lnTo>
                  <a:pt x="812" y="2024"/>
                </a:lnTo>
                <a:lnTo>
                  <a:pt x="819" y="2016"/>
                </a:lnTo>
                <a:lnTo>
                  <a:pt x="826" y="2006"/>
                </a:lnTo>
                <a:lnTo>
                  <a:pt x="839" y="1986"/>
                </a:lnTo>
                <a:lnTo>
                  <a:pt x="845" y="1976"/>
                </a:lnTo>
                <a:lnTo>
                  <a:pt x="851" y="1965"/>
                </a:lnTo>
                <a:lnTo>
                  <a:pt x="856" y="1954"/>
                </a:lnTo>
                <a:lnTo>
                  <a:pt x="861" y="1942"/>
                </a:lnTo>
                <a:lnTo>
                  <a:pt x="865" y="1930"/>
                </a:lnTo>
                <a:lnTo>
                  <a:pt x="869" y="1919"/>
                </a:lnTo>
                <a:lnTo>
                  <a:pt x="874" y="1907"/>
                </a:lnTo>
                <a:lnTo>
                  <a:pt x="877" y="1895"/>
                </a:lnTo>
                <a:lnTo>
                  <a:pt x="880" y="1882"/>
                </a:lnTo>
                <a:lnTo>
                  <a:pt x="883" y="1870"/>
                </a:lnTo>
                <a:lnTo>
                  <a:pt x="885" y="1858"/>
                </a:lnTo>
                <a:lnTo>
                  <a:pt x="887" y="1846"/>
                </a:lnTo>
                <a:lnTo>
                  <a:pt x="889" y="1834"/>
                </a:lnTo>
                <a:lnTo>
                  <a:pt x="890" y="1822"/>
                </a:lnTo>
                <a:lnTo>
                  <a:pt x="890" y="1810"/>
                </a:lnTo>
                <a:lnTo>
                  <a:pt x="891" y="1799"/>
                </a:lnTo>
                <a:lnTo>
                  <a:pt x="891" y="1788"/>
                </a:lnTo>
                <a:lnTo>
                  <a:pt x="890" y="1778"/>
                </a:lnTo>
                <a:lnTo>
                  <a:pt x="891" y="1776"/>
                </a:lnTo>
                <a:lnTo>
                  <a:pt x="893" y="1773"/>
                </a:lnTo>
                <a:lnTo>
                  <a:pt x="895" y="1770"/>
                </a:lnTo>
                <a:lnTo>
                  <a:pt x="898" y="1769"/>
                </a:lnTo>
                <a:lnTo>
                  <a:pt x="904" y="1766"/>
                </a:lnTo>
                <a:lnTo>
                  <a:pt x="908" y="1765"/>
                </a:lnTo>
                <a:lnTo>
                  <a:pt x="912" y="1765"/>
                </a:lnTo>
                <a:lnTo>
                  <a:pt x="920" y="1765"/>
                </a:lnTo>
                <a:lnTo>
                  <a:pt x="923" y="1766"/>
                </a:lnTo>
                <a:lnTo>
                  <a:pt x="926" y="1767"/>
                </a:lnTo>
                <a:lnTo>
                  <a:pt x="933" y="1770"/>
                </a:lnTo>
                <a:lnTo>
                  <a:pt x="935" y="1773"/>
                </a:lnTo>
                <a:lnTo>
                  <a:pt x="938" y="1775"/>
                </a:lnTo>
                <a:lnTo>
                  <a:pt x="942" y="1781"/>
                </a:lnTo>
                <a:lnTo>
                  <a:pt x="943" y="1784"/>
                </a:lnTo>
                <a:lnTo>
                  <a:pt x="945" y="1788"/>
                </a:lnTo>
                <a:lnTo>
                  <a:pt x="946" y="1793"/>
                </a:lnTo>
                <a:lnTo>
                  <a:pt x="947" y="1797"/>
                </a:lnTo>
                <a:lnTo>
                  <a:pt x="947" y="1803"/>
                </a:lnTo>
                <a:lnTo>
                  <a:pt x="947" y="1809"/>
                </a:lnTo>
                <a:lnTo>
                  <a:pt x="947" y="1824"/>
                </a:lnTo>
                <a:lnTo>
                  <a:pt x="946" y="1841"/>
                </a:lnTo>
                <a:lnTo>
                  <a:pt x="944" y="1856"/>
                </a:lnTo>
                <a:lnTo>
                  <a:pt x="942" y="1871"/>
                </a:lnTo>
                <a:lnTo>
                  <a:pt x="940" y="1886"/>
                </a:lnTo>
                <a:lnTo>
                  <a:pt x="937" y="1902"/>
                </a:lnTo>
                <a:lnTo>
                  <a:pt x="933" y="1916"/>
                </a:lnTo>
                <a:lnTo>
                  <a:pt x="928" y="1930"/>
                </a:lnTo>
                <a:lnTo>
                  <a:pt x="924" y="1944"/>
                </a:lnTo>
                <a:lnTo>
                  <a:pt x="919" y="1959"/>
                </a:lnTo>
                <a:lnTo>
                  <a:pt x="914" y="1972"/>
                </a:lnTo>
                <a:lnTo>
                  <a:pt x="908" y="1985"/>
                </a:lnTo>
                <a:lnTo>
                  <a:pt x="902" y="1997"/>
                </a:lnTo>
                <a:lnTo>
                  <a:pt x="896" y="2009"/>
                </a:lnTo>
                <a:lnTo>
                  <a:pt x="889" y="2022"/>
                </a:lnTo>
                <a:lnTo>
                  <a:pt x="881" y="2033"/>
                </a:lnTo>
                <a:lnTo>
                  <a:pt x="874" y="2043"/>
                </a:lnTo>
                <a:lnTo>
                  <a:pt x="865" y="2054"/>
                </a:lnTo>
                <a:lnTo>
                  <a:pt x="856" y="2063"/>
                </a:lnTo>
                <a:lnTo>
                  <a:pt x="848" y="2073"/>
                </a:lnTo>
                <a:lnTo>
                  <a:pt x="839" y="2082"/>
                </a:lnTo>
                <a:lnTo>
                  <a:pt x="829" y="2090"/>
                </a:lnTo>
                <a:lnTo>
                  <a:pt x="819" y="2097"/>
                </a:lnTo>
                <a:lnTo>
                  <a:pt x="808" y="2103"/>
                </a:lnTo>
                <a:lnTo>
                  <a:pt x="798" y="2109"/>
                </a:lnTo>
                <a:lnTo>
                  <a:pt x="787" y="2114"/>
                </a:lnTo>
                <a:lnTo>
                  <a:pt x="777" y="2119"/>
                </a:lnTo>
                <a:lnTo>
                  <a:pt x="765" y="2122"/>
                </a:lnTo>
                <a:lnTo>
                  <a:pt x="754" y="2125"/>
                </a:lnTo>
                <a:lnTo>
                  <a:pt x="741" y="2127"/>
                </a:lnTo>
                <a:lnTo>
                  <a:pt x="729" y="2129"/>
                </a:lnTo>
                <a:lnTo>
                  <a:pt x="717" y="2129"/>
                </a:lnTo>
                <a:close/>
                <a:moveTo>
                  <a:pt x="1104" y="2123"/>
                </a:moveTo>
                <a:lnTo>
                  <a:pt x="1102" y="2123"/>
                </a:lnTo>
                <a:lnTo>
                  <a:pt x="1100" y="2123"/>
                </a:lnTo>
                <a:lnTo>
                  <a:pt x="1095" y="2120"/>
                </a:lnTo>
                <a:lnTo>
                  <a:pt x="1088" y="2116"/>
                </a:lnTo>
                <a:lnTo>
                  <a:pt x="1081" y="2110"/>
                </a:lnTo>
                <a:lnTo>
                  <a:pt x="1068" y="2099"/>
                </a:lnTo>
                <a:lnTo>
                  <a:pt x="1053" y="2085"/>
                </a:lnTo>
                <a:lnTo>
                  <a:pt x="1036" y="2068"/>
                </a:lnTo>
                <a:lnTo>
                  <a:pt x="1019" y="2051"/>
                </a:lnTo>
                <a:lnTo>
                  <a:pt x="1003" y="2034"/>
                </a:lnTo>
                <a:lnTo>
                  <a:pt x="988" y="2018"/>
                </a:lnTo>
                <a:lnTo>
                  <a:pt x="977" y="2003"/>
                </a:lnTo>
                <a:lnTo>
                  <a:pt x="972" y="1997"/>
                </a:lnTo>
                <a:lnTo>
                  <a:pt x="969" y="1991"/>
                </a:lnTo>
                <a:lnTo>
                  <a:pt x="964" y="1981"/>
                </a:lnTo>
                <a:lnTo>
                  <a:pt x="960" y="1971"/>
                </a:lnTo>
                <a:lnTo>
                  <a:pt x="958" y="1962"/>
                </a:lnTo>
                <a:lnTo>
                  <a:pt x="957" y="1952"/>
                </a:lnTo>
                <a:lnTo>
                  <a:pt x="957" y="1945"/>
                </a:lnTo>
                <a:lnTo>
                  <a:pt x="958" y="1940"/>
                </a:lnTo>
                <a:lnTo>
                  <a:pt x="959" y="1934"/>
                </a:lnTo>
                <a:lnTo>
                  <a:pt x="961" y="1928"/>
                </a:lnTo>
                <a:lnTo>
                  <a:pt x="964" y="1922"/>
                </a:lnTo>
                <a:lnTo>
                  <a:pt x="967" y="1915"/>
                </a:lnTo>
                <a:lnTo>
                  <a:pt x="971" y="1909"/>
                </a:lnTo>
                <a:lnTo>
                  <a:pt x="975" y="1902"/>
                </a:lnTo>
                <a:lnTo>
                  <a:pt x="984" y="1890"/>
                </a:lnTo>
                <a:lnTo>
                  <a:pt x="996" y="1876"/>
                </a:lnTo>
                <a:lnTo>
                  <a:pt x="1026" y="1842"/>
                </a:lnTo>
                <a:lnTo>
                  <a:pt x="1061" y="1802"/>
                </a:lnTo>
                <a:lnTo>
                  <a:pt x="1096" y="1761"/>
                </a:lnTo>
                <a:lnTo>
                  <a:pt x="1097" y="1761"/>
                </a:lnTo>
                <a:lnTo>
                  <a:pt x="1101" y="1760"/>
                </a:lnTo>
                <a:lnTo>
                  <a:pt x="1104" y="1761"/>
                </a:lnTo>
                <a:lnTo>
                  <a:pt x="1108" y="1762"/>
                </a:lnTo>
                <a:lnTo>
                  <a:pt x="1114" y="1764"/>
                </a:lnTo>
                <a:lnTo>
                  <a:pt x="1118" y="1766"/>
                </a:lnTo>
                <a:lnTo>
                  <a:pt x="1122" y="1769"/>
                </a:lnTo>
                <a:lnTo>
                  <a:pt x="1126" y="1774"/>
                </a:lnTo>
                <a:lnTo>
                  <a:pt x="1130" y="1778"/>
                </a:lnTo>
                <a:lnTo>
                  <a:pt x="1132" y="1783"/>
                </a:lnTo>
                <a:lnTo>
                  <a:pt x="1134" y="1788"/>
                </a:lnTo>
                <a:lnTo>
                  <a:pt x="1134" y="1793"/>
                </a:lnTo>
                <a:lnTo>
                  <a:pt x="1134" y="1798"/>
                </a:lnTo>
                <a:lnTo>
                  <a:pt x="1132" y="1803"/>
                </a:lnTo>
                <a:lnTo>
                  <a:pt x="1129" y="1809"/>
                </a:lnTo>
                <a:lnTo>
                  <a:pt x="1125" y="1815"/>
                </a:lnTo>
                <a:lnTo>
                  <a:pt x="1117" y="1825"/>
                </a:lnTo>
                <a:lnTo>
                  <a:pt x="1105" y="1840"/>
                </a:lnTo>
                <a:lnTo>
                  <a:pt x="1076" y="1873"/>
                </a:lnTo>
                <a:lnTo>
                  <a:pt x="1045" y="1907"/>
                </a:lnTo>
                <a:lnTo>
                  <a:pt x="1033" y="1921"/>
                </a:lnTo>
                <a:lnTo>
                  <a:pt x="1024" y="1933"/>
                </a:lnTo>
                <a:lnTo>
                  <a:pt x="1021" y="1937"/>
                </a:lnTo>
                <a:lnTo>
                  <a:pt x="1019" y="1940"/>
                </a:lnTo>
                <a:lnTo>
                  <a:pt x="1018" y="1944"/>
                </a:lnTo>
                <a:lnTo>
                  <a:pt x="1018" y="1948"/>
                </a:lnTo>
                <a:lnTo>
                  <a:pt x="1018" y="1953"/>
                </a:lnTo>
                <a:lnTo>
                  <a:pt x="1020" y="1957"/>
                </a:lnTo>
                <a:lnTo>
                  <a:pt x="1022" y="1962"/>
                </a:lnTo>
                <a:lnTo>
                  <a:pt x="1025" y="1967"/>
                </a:lnTo>
                <a:lnTo>
                  <a:pt x="1032" y="1976"/>
                </a:lnTo>
                <a:lnTo>
                  <a:pt x="1043" y="1987"/>
                </a:lnTo>
                <a:lnTo>
                  <a:pt x="1071" y="2017"/>
                </a:lnTo>
                <a:lnTo>
                  <a:pt x="1103" y="2050"/>
                </a:lnTo>
                <a:lnTo>
                  <a:pt x="1135" y="2081"/>
                </a:lnTo>
                <a:lnTo>
                  <a:pt x="1137" y="2083"/>
                </a:lnTo>
                <a:lnTo>
                  <a:pt x="1138" y="2085"/>
                </a:lnTo>
                <a:lnTo>
                  <a:pt x="1139" y="2087"/>
                </a:lnTo>
                <a:lnTo>
                  <a:pt x="1139" y="2090"/>
                </a:lnTo>
                <a:lnTo>
                  <a:pt x="1139" y="2095"/>
                </a:lnTo>
                <a:lnTo>
                  <a:pt x="1138" y="2098"/>
                </a:lnTo>
                <a:lnTo>
                  <a:pt x="1136" y="2101"/>
                </a:lnTo>
                <a:lnTo>
                  <a:pt x="1133" y="2107"/>
                </a:lnTo>
                <a:lnTo>
                  <a:pt x="1130" y="2109"/>
                </a:lnTo>
                <a:lnTo>
                  <a:pt x="1128" y="2112"/>
                </a:lnTo>
                <a:lnTo>
                  <a:pt x="1123" y="2116"/>
                </a:lnTo>
                <a:lnTo>
                  <a:pt x="1120" y="2118"/>
                </a:lnTo>
                <a:lnTo>
                  <a:pt x="1117" y="2120"/>
                </a:lnTo>
                <a:lnTo>
                  <a:pt x="1111" y="2123"/>
                </a:lnTo>
                <a:lnTo>
                  <a:pt x="1107" y="2123"/>
                </a:lnTo>
                <a:lnTo>
                  <a:pt x="1104" y="2123"/>
                </a:lnTo>
                <a:close/>
                <a:moveTo>
                  <a:pt x="717" y="3095"/>
                </a:moveTo>
                <a:lnTo>
                  <a:pt x="710" y="3094"/>
                </a:lnTo>
                <a:lnTo>
                  <a:pt x="702" y="3094"/>
                </a:lnTo>
                <a:lnTo>
                  <a:pt x="694" y="3093"/>
                </a:lnTo>
                <a:lnTo>
                  <a:pt x="686" y="3090"/>
                </a:lnTo>
                <a:lnTo>
                  <a:pt x="679" y="3088"/>
                </a:lnTo>
                <a:lnTo>
                  <a:pt x="672" y="3086"/>
                </a:lnTo>
                <a:lnTo>
                  <a:pt x="658" y="3080"/>
                </a:lnTo>
                <a:lnTo>
                  <a:pt x="645" y="3073"/>
                </a:lnTo>
                <a:lnTo>
                  <a:pt x="639" y="3069"/>
                </a:lnTo>
                <a:lnTo>
                  <a:pt x="633" y="3064"/>
                </a:lnTo>
                <a:lnTo>
                  <a:pt x="626" y="3059"/>
                </a:lnTo>
                <a:lnTo>
                  <a:pt x="620" y="3054"/>
                </a:lnTo>
                <a:lnTo>
                  <a:pt x="615" y="3049"/>
                </a:lnTo>
                <a:lnTo>
                  <a:pt x="610" y="3043"/>
                </a:lnTo>
                <a:lnTo>
                  <a:pt x="605" y="3037"/>
                </a:lnTo>
                <a:lnTo>
                  <a:pt x="600" y="3029"/>
                </a:lnTo>
                <a:lnTo>
                  <a:pt x="595" y="3023"/>
                </a:lnTo>
                <a:lnTo>
                  <a:pt x="591" y="3016"/>
                </a:lnTo>
                <a:lnTo>
                  <a:pt x="587" y="3009"/>
                </a:lnTo>
                <a:lnTo>
                  <a:pt x="584" y="3001"/>
                </a:lnTo>
                <a:lnTo>
                  <a:pt x="580" y="2994"/>
                </a:lnTo>
                <a:lnTo>
                  <a:pt x="577" y="2986"/>
                </a:lnTo>
                <a:lnTo>
                  <a:pt x="575" y="2978"/>
                </a:lnTo>
                <a:lnTo>
                  <a:pt x="572" y="2969"/>
                </a:lnTo>
                <a:lnTo>
                  <a:pt x="569" y="2961"/>
                </a:lnTo>
                <a:lnTo>
                  <a:pt x="568" y="2952"/>
                </a:lnTo>
                <a:lnTo>
                  <a:pt x="566" y="2943"/>
                </a:lnTo>
                <a:lnTo>
                  <a:pt x="565" y="2934"/>
                </a:lnTo>
                <a:lnTo>
                  <a:pt x="565" y="2925"/>
                </a:lnTo>
                <a:lnTo>
                  <a:pt x="565" y="2916"/>
                </a:lnTo>
                <a:lnTo>
                  <a:pt x="566" y="2897"/>
                </a:lnTo>
                <a:lnTo>
                  <a:pt x="567" y="2887"/>
                </a:lnTo>
                <a:lnTo>
                  <a:pt x="568" y="2878"/>
                </a:lnTo>
                <a:lnTo>
                  <a:pt x="571" y="2869"/>
                </a:lnTo>
                <a:lnTo>
                  <a:pt x="573" y="2860"/>
                </a:lnTo>
                <a:lnTo>
                  <a:pt x="575" y="2852"/>
                </a:lnTo>
                <a:lnTo>
                  <a:pt x="578" y="2842"/>
                </a:lnTo>
                <a:lnTo>
                  <a:pt x="581" y="2834"/>
                </a:lnTo>
                <a:lnTo>
                  <a:pt x="585" y="2825"/>
                </a:lnTo>
                <a:lnTo>
                  <a:pt x="589" y="2817"/>
                </a:lnTo>
                <a:lnTo>
                  <a:pt x="593" y="2810"/>
                </a:lnTo>
                <a:lnTo>
                  <a:pt x="597" y="2802"/>
                </a:lnTo>
                <a:lnTo>
                  <a:pt x="602" y="2795"/>
                </a:lnTo>
                <a:lnTo>
                  <a:pt x="612" y="2780"/>
                </a:lnTo>
                <a:lnTo>
                  <a:pt x="617" y="2773"/>
                </a:lnTo>
                <a:lnTo>
                  <a:pt x="623" y="2767"/>
                </a:lnTo>
                <a:lnTo>
                  <a:pt x="636" y="2756"/>
                </a:lnTo>
                <a:lnTo>
                  <a:pt x="643" y="2751"/>
                </a:lnTo>
                <a:lnTo>
                  <a:pt x="650" y="2746"/>
                </a:lnTo>
                <a:lnTo>
                  <a:pt x="656" y="2741"/>
                </a:lnTo>
                <a:lnTo>
                  <a:pt x="663" y="2737"/>
                </a:lnTo>
                <a:lnTo>
                  <a:pt x="671" y="2734"/>
                </a:lnTo>
                <a:lnTo>
                  <a:pt x="678" y="2730"/>
                </a:lnTo>
                <a:lnTo>
                  <a:pt x="686" y="2727"/>
                </a:lnTo>
                <a:lnTo>
                  <a:pt x="694" y="2725"/>
                </a:lnTo>
                <a:lnTo>
                  <a:pt x="702" y="2723"/>
                </a:lnTo>
                <a:lnTo>
                  <a:pt x="710" y="2721"/>
                </a:lnTo>
                <a:lnTo>
                  <a:pt x="719" y="2721"/>
                </a:lnTo>
                <a:lnTo>
                  <a:pt x="727" y="2720"/>
                </a:lnTo>
                <a:lnTo>
                  <a:pt x="737" y="2721"/>
                </a:lnTo>
                <a:lnTo>
                  <a:pt x="742" y="2721"/>
                </a:lnTo>
                <a:lnTo>
                  <a:pt x="747" y="2722"/>
                </a:lnTo>
                <a:lnTo>
                  <a:pt x="752" y="2723"/>
                </a:lnTo>
                <a:lnTo>
                  <a:pt x="757" y="2725"/>
                </a:lnTo>
                <a:lnTo>
                  <a:pt x="765" y="2728"/>
                </a:lnTo>
                <a:lnTo>
                  <a:pt x="773" y="2733"/>
                </a:lnTo>
                <a:lnTo>
                  <a:pt x="780" y="2737"/>
                </a:lnTo>
                <a:lnTo>
                  <a:pt x="787" y="2743"/>
                </a:lnTo>
                <a:lnTo>
                  <a:pt x="793" y="2749"/>
                </a:lnTo>
                <a:lnTo>
                  <a:pt x="796" y="2752"/>
                </a:lnTo>
                <a:lnTo>
                  <a:pt x="798" y="2755"/>
                </a:lnTo>
                <a:lnTo>
                  <a:pt x="803" y="2762"/>
                </a:lnTo>
                <a:lnTo>
                  <a:pt x="807" y="2770"/>
                </a:lnTo>
                <a:lnTo>
                  <a:pt x="812" y="2778"/>
                </a:lnTo>
                <a:lnTo>
                  <a:pt x="814" y="2787"/>
                </a:lnTo>
                <a:lnTo>
                  <a:pt x="816" y="2797"/>
                </a:lnTo>
                <a:lnTo>
                  <a:pt x="817" y="2807"/>
                </a:lnTo>
                <a:lnTo>
                  <a:pt x="818" y="2817"/>
                </a:lnTo>
                <a:lnTo>
                  <a:pt x="817" y="2829"/>
                </a:lnTo>
                <a:lnTo>
                  <a:pt x="816" y="2835"/>
                </a:lnTo>
                <a:lnTo>
                  <a:pt x="814" y="2842"/>
                </a:lnTo>
                <a:lnTo>
                  <a:pt x="811" y="2854"/>
                </a:lnTo>
                <a:lnTo>
                  <a:pt x="805" y="2866"/>
                </a:lnTo>
                <a:lnTo>
                  <a:pt x="799" y="2877"/>
                </a:lnTo>
                <a:lnTo>
                  <a:pt x="791" y="2888"/>
                </a:lnTo>
                <a:lnTo>
                  <a:pt x="787" y="2893"/>
                </a:lnTo>
                <a:lnTo>
                  <a:pt x="783" y="2898"/>
                </a:lnTo>
                <a:lnTo>
                  <a:pt x="774" y="2907"/>
                </a:lnTo>
                <a:lnTo>
                  <a:pt x="764" y="2916"/>
                </a:lnTo>
                <a:lnTo>
                  <a:pt x="758" y="2920"/>
                </a:lnTo>
                <a:lnTo>
                  <a:pt x="753" y="2924"/>
                </a:lnTo>
                <a:lnTo>
                  <a:pt x="741" y="2931"/>
                </a:lnTo>
                <a:lnTo>
                  <a:pt x="729" y="2936"/>
                </a:lnTo>
                <a:lnTo>
                  <a:pt x="717" y="2941"/>
                </a:lnTo>
                <a:lnTo>
                  <a:pt x="711" y="2943"/>
                </a:lnTo>
                <a:lnTo>
                  <a:pt x="705" y="2944"/>
                </a:lnTo>
                <a:lnTo>
                  <a:pt x="698" y="2945"/>
                </a:lnTo>
                <a:lnTo>
                  <a:pt x="692" y="2946"/>
                </a:lnTo>
                <a:lnTo>
                  <a:pt x="679" y="2947"/>
                </a:lnTo>
                <a:lnTo>
                  <a:pt x="673" y="2946"/>
                </a:lnTo>
                <a:lnTo>
                  <a:pt x="668" y="2944"/>
                </a:lnTo>
                <a:lnTo>
                  <a:pt x="664" y="2942"/>
                </a:lnTo>
                <a:lnTo>
                  <a:pt x="662" y="2940"/>
                </a:lnTo>
                <a:lnTo>
                  <a:pt x="660" y="2938"/>
                </a:lnTo>
                <a:lnTo>
                  <a:pt x="657" y="2933"/>
                </a:lnTo>
                <a:lnTo>
                  <a:pt x="654" y="2928"/>
                </a:lnTo>
                <a:lnTo>
                  <a:pt x="653" y="2925"/>
                </a:lnTo>
                <a:lnTo>
                  <a:pt x="653" y="2922"/>
                </a:lnTo>
                <a:lnTo>
                  <a:pt x="652" y="2916"/>
                </a:lnTo>
                <a:lnTo>
                  <a:pt x="652" y="2913"/>
                </a:lnTo>
                <a:lnTo>
                  <a:pt x="653" y="2909"/>
                </a:lnTo>
                <a:lnTo>
                  <a:pt x="654" y="2904"/>
                </a:lnTo>
                <a:lnTo>
                  <a:pt x="655" y="2902"/>
                </a:lnTo>
                <a:lnTo>
                  <a:pt x="656" y="2900"/>
                </a:lnTo>
                <a:lnTo>
                  <a:pt x="658" y="2899"/>
                </a:lnTo>
                <a:lnTo>
                  <a:pt x="659" y="2897"/>
                </a:lnTo>
                <a:lnTo>
                  <a:pt x="670" y="2896"/>
                </a:lnTo>
                <a:lnTo>
                  <a:pt x="681" y="2893"/>
                </a:lnTo>
                <a:lnTo>
                  <a:pt x="692" y="2890"/>
                </a:lnTo>
                <a:lnTo>
                  <a:pt x="701" y="2886"/>
                </a:lnTo>
                <a:lnTo>
                  <a:pt x="711" y="2881"/>
                </a:lnTo>
                <a:lnTo>
                  <a:pt x="719" y="2876"/>
                </a:lnTo>
                <a:lnTo>
                  <a:pt x="727" y="2870"/>
                </a:lnTo>
                <a:lnTo>
                  <a:pt x="731" y="2868"/>
                </a:lnTo>
                <a:lnTo>
                  <a:pt x="734" y="2865"/>
                </a:lnTo>
                <a:lnTo>
                  <a:pt x="741" y="2858"/>
                </a:lnTo>
                <a:lnTo>
                  <a:pt x="746" y="2852"/>
                </a:lnTo>
                <a:lnTo>
                  <a:pt x="752" y="2844"/>
                </a:lnTo>
                <a:lnTo>
                  <a:pt x="756" y="2837"/>
                </a:lnTo>
                <a:lnTo>
                  <a:pt x="760" y="2830"/>
                </a:lnTo>
                <a:lnTo>
                  <a:pt x="762" y="2823"/>
                </a:lnTo>
                <a:lnTo>
                  <a:pt x="764" y="2816"/>
                </a:lnTo>
                <a:lnTo>
                  <a:pt x="764" y="2809"/>
                </a:lnTo>
                <a:lnTo>
                  <a:pt x="763" y="2801"/>
                </a:lnTo>
                <a:lnTo>
                  <a:pt x="761" y="2794"/>
                </a:lnTo>
                <a:lnTo>
                  <a:pt x="760" y="2789"/>
                </a:lnTo>
                <a:lnTo>
                  <a:pt x="758" y="2786"/>
                </a:lnTo>
                <a:lnTo>
                  <a:pt x="756" y="2784"/>
                </a:lnTo>
                <a:lnTo>
                  <a:pt x="753" y="2781"/>
                </a:lnTo>
                <a:lnTo>
                  <a:pt x="747" y="2777"/>
                </a:lnTo>
                <a:lnTo>
                  <a:pt x="743" y="2775"/>
                </a:lnTo>
                <a:lnTo>
                  <a:pt x="740" y="2774"/>
                </a:lnTo>
                <a:lnTo>
                  <a:pt x="732" y="2772"/>
                </a:lnTo>
                <a:lnTo>
                  <a:pt x="728" y="2771"/>
                </a:lnTo>
                <a:lnTo>
                  <a:pt x="723" y="2771"/>
                </a:lnTo>
                <a:lnTo>
                  <a:pt x="714" y="2772"/>
                </a:lnTo>
                <a:lnTo>
                  <a:pt x="710" y="2773"/>
                </a:lnTo>
                <a:lnTo>
                  <a:pt x="705" y="2774"/>
                </a:lnTo>
                <a:lnTo>
                  <a:pt x="701" y="2776"/>
                </a:lnTo>
                <a:lnTo>
                  <a:pt x="696" y="2777"/>
                </a:lnTo>
                <a:lnTo>
                  <a:pt x="692" y="2780"/>
                </a:lnTo>
                <a:lnTo>
                  <a:pt x="687" y="2782"/>
                </a:lnTo>
                <a:lnTo>
                  <a:pt x="682" y="2785"/>
                </a:lnTo>
                <a:lnTo>
                  <a:pt x="678" y="2788"/>
                </a:lnTo>
                <a:lnTo>
                  <a:pt x="670" y="2796"/>
                </a:lnTo>
                <a:lnTo>
                  <a:pt x="662" y="2804"/>
                </a:lnTo>
                <a:lnTo>
                  <a:pt x="655" y="2813"/>
                </a:lnTo>
                <a:lnTo>
                  <a:pt x="651" y="2818"/>
                </a:lnTo>
                <a:lnTo>
                  <a:pt x="648" y="2823"/>
                </a:lnTo>
                <a:lnTo>
                  <a:pt x="642" y="2834"/>
                </a:lnTo>
                <a:lnTo>
                  <a:pt x="636" y="2845"/>
                </a:lnTo>
                <a:lnTo>
                  <a:pt x="631" y="2859"/>
                </a:lnTo>
                <a:lnTo>
                  <a:pt x="626" y="2871"/>
                </a:lnTo>
                <a:lnTo>
                  <a:pt x="624" y="2885"/>
                </a:lnTo>
                <a:lnTo>
                  <a:pt x="622" y="2899"/>
                </a:lnTo>
                <a:lnTo>
                  <a:pt x="621" y="2906"/>
                </a:lnTo>
                <a:lnTo>
                  <a:pt x="621" y="2914"/>
                </a:lnTo>
                <a:lnTo>
                  <a:pt x="622" y="2926"/>
                </a:lnTo>
                <a:lnTo>
                  <a:pt x="623" y="2939"/>
                </a:lnTo>
                <a:lnTo>
                  <a:pt x="625" y="2950"/>
                </a:lnTo>
                <a:lnTo>
                  <a:pt x="627" y="2956"/>
                </a:lnTo>
                <a:lnTo>
                  <a:pt x="628" y="2961"/>
                </a:lnTo>
                <a:lnTo>
                  <a:pt x="633" y="2973"/>
                </a:lnTo>
                <a:lnTo>
                  <a:pt x="635" y="2978"/>
                </a:lnTo>
                <a:lnTo>
                  <a:pt x="637" y="2983"/>
                </a:lnTo>
                <a:lnTo>
                  <a:pt x="640" y="2987"/>
                </a:lnTo>
                <a:lnTo>
                  <a:pt x="642" y="2992"/>
                </a:lnTo>
                <a:lnTo>
                  <a:pt x="645" y="2996"/>
                </a:lnTo>
                <a:lnTo>
                  <a:pt x="648" y="3000"/>
                </a:lnTo>
                <a:lnTo>
                  <a:pt x="652" y="3004"/>
                </a:lnTo>
                <a:lnTo>
                  <a:pt x="655" y="3007"/>
                </a:lnTo>
                <a:lnTo>
                  <a:pt x="662" y="3014"/>
                </a:lnTo>
                <a:lnTo>
                  <a:pt x="670" y="3020"/>
                </a:lnTo>
                <a:lnTo>
                  <a:pt x="679" y="3025"/>
                </a:lnTo>
                <a:lnTo>
                  <a:pt x="688" y="3028"/>
                </a:lnTo>
                <a:lnTo>
                  <a:pt x="698" y="3032"/>
                </a:lnTo>
                <a:lnTo>
                  <a:pt x="708" y="3034"/>
                </a:lnTo>
                <a:lnTo>
                  <a:pt x="714" y="3034"/>
                </a:lnTo>
                <a:lnTo>
                  <a:pt x="719" y="3034"/>
                </a:lnTo>
                <a:lnTo>
                  <a:pt x="730" y="3034"/>
                </a:lnTo>
                <a:lnTo>
                  <a:pt x="740" y="3032"/>
                </a:lnTo>
                <a:lnTo>
                  <a:pt x="751" y="3029"/>
                </a:lnTo>
                <a:lnTo>
                  <a:pt x="760" y="3026"/>
                </a:lnTo>
                <a:lnTo>
                  <a:pt x="770" y="3021"/>
                </a:lnTo>
                <a:lnTo>
                  <a:pt x="779" y="3016"/>
                </a:lnTo>
                <a:lnTo>
                  <a:pt x="787" y="3010"/>
                </a:lnTo>
                <a:lnTo>
                  <a:pt x="795" y="3004"/>
                </a:lnTo>
                <a:lnTo>
                  <a:pt x="803" y="2997"/>
                </a:lnTo>
                <a:lnTo>
                  <a:pt x="812" y="2989"/>
                </a:lnTo>
                <a:lnTo>
                  <a:pt x="819" y="2980"/>
                </a:lnTo>
                <a:lnTo>
                  <a:pt x="826" y="2970"/>
                </a:lnTo>
                <a:lnTo>
                  <a:pt x="839" y="2951"/>
                </a:lnTo>
                <a:lnTo>
                  <a:pt x="845" y="2941"/>
                </a:lnTo>
                <a:lnTo>
                  <a:pt x="851" y="2930"/>
                </a:lnTo>
                <a:lnTo>
                  <a:pt x="856" y="2919"/>
                </a:lnTo>
                <a:lnTo>
                  <a:pt x="861" y="2906"/>
                </a:lnTo>
                <a:lnTo>
                  <a:pt x="865" y="2895"/>
                </a:lnTo>
                <a:lnTo>
                  <a:pt x="869" y="2883"/>
                </a:lnTo>
                <a:lnTo>
                  <a:pt x="874" y="2871"/>
                </a:lnTo>
                <a:lnTo>
                  <a:pt x="877" y="2859"/>
                </a:lnTo>
                <a:lnTo>
                  <a:pt x="880" y="2846"/>
                </a:lnTo>
                <a:lnTo>
                  <a:pt x="883" y="2834"/>
                </a:lnTo>
                <a:lnTo>
                  <a:pt x="885" y="2822"/>
                </a:lnTo>
                <a:lnTo>
                  <a:pt x="887" y="2810"/>
                </a:lnTo>
                <a:lnTo>
                  <a:pt x="889" y="2799"/>
                </a:lnTo>
                <a:lnTo>
                  <a:pt x="890" y="2786"/>
                </a:lnTo>
                <a:lnTo>
                  <a:pt x="890" y="2775"/>
                </a:lnTo>
                <a:lnTo>
                  <a:pt x="891" y="2764"/>
                </a:lnTo>
                <a:lnTo>
                  <a:pt x="891" y="2753"/>
                </a:lnTo>
                <a:lnTo>
                  <a:pt x="890" y="2742"/>
                </a:lnTo>
                <a:lnTo>
                  <a:pt x="891" y="2740"/>
                </a:lnTo>
                <a:lnTo>
                  <a:pt x="893" y="2738"/>
                </a:lnTo>
                <a:lnTo>
                  <a:pt x="895" y="2736"/>
                </a:lnTo>
                <a:lnTo>
                  <a:pt x="898" y="2734"/>
                </a:lnTo>
                <a:lnTo>
                  <a:pt x="904" y="2730"/>
                </a:lnTo>
                <a:lnTo>
                  <a:pt x="908" y="2730"/>
                </a:lnTo>
                <a:lnTo>
                  <a:pt x="912" y="2729"/>
                </a:lnTo>
                <a:lnTo>
                  <a:pt x="920" y="2730"/>
                </a:lnTo>
                <a:lnTo>
                  <a:pt x="923" y="2732"/>
                </a:lnTo>
                <a:lnTo>
                  <a:pt x="926" y="2732"/>
                </a:lnTo>
                <a:lnTo>
                  <a:pt x="933" y="2735"/>
                </a:lnTo>
                <a:lnTo>
                  <a:pt x="935" y="2737"/>
                </a:lnTo>
                <a:lnTo>
                  <a:pt x="938" y="2740"/>
                </a:lnTo>
                <a:lnTo>
                  <a:pt x="942" y="2745"/>
                </a:lnTo>
                <a:lnTo>
                  <a:pt x="943" y="2749"/>
                </a:lnTo>
                <a:lnTo>
                  <a:pt x="945" y="2753"/>
                </a:lnTo>
                <a:lnTo>
                  <a:pt x="946" y="2757"/>
                </a:lnTo>
                <a:lnTo>
                  <a:pt x="947" y="2762"/>
                </a:lnTo>
                <a:lnTo>
                  <a:pt x="947" y="2767"/>
                </a:lnTo>
                <a:lnTo>
                  <a:pt x="947" y="2773"/>
                </a:lnTo>
                <a:lnTo>
                  <a:pt x="947" y="2789"/>
                </a:lnTo>
                <a:lnTo>
                  <a:pt x="946" y="2805"/>
                </a:lnTo>
                <a:lnTo>
                  <a:pt x="944" y="2820"/>
                </a:lnTo>
                <a:lnTo>
                  <a:pt x="942" y="2835"/>
                </a:lnTo>
                <a:lnTo>
                  <a:pt x="940" y="2850"/>
                </a:lnTo>
                <a:lnTo>
                  <a:pt x="937" y="2866"/>
                </a:lnTo>
                <a:lnTo>
                  <a:pt x="933" y="2880"/>
                </a:lnTo>
                <a:lnTo>
                  <a:pt x="928" y="2895"/>
                </a:lnTo>
                <a:lnTo>
                  <a:pt x="924" y="2908"/>
                </a:lnTo>
                <a:lnTo>
                  <a:pt x="919" y="2923"/>
                </a:lnTo>
                <a:lnTo>
                  <a:pt x="914" y="2936"/>
                </a:lnTo>
                <a:lnTo>
                  <a:pt x="908" y="2949"/>
                </a:lnTo>
                <a:lnTo>
                  <a:pt x="902" y="2961"/>
                </a:lnTo>
                <a:lnTo>
                  <a:pt x="896" y="2975"/>
                </a:lnTo>
                <a:lnTo>
                  <a:pt x="889" y="2986"/>
                </a:lnTo>
                <a:lnTo>
                  <a:pt x="881" y="2997"/>
                </a:lnTo>
                <a:lnTo>
                  <a:pt x="874" y="3008"/>
                </a:lnTo>
                <a:lnTo>
                  <a:pt x="865" y="3018"/>
                </a:lnTo>
                <a:lnTo>
                  <a:pt x="856" y="3028"/>
                </a:lnTo>
                <a:lnTo>
                  <a:pt x="848" y="3038"/>
                </a:lnTo>
                <a:lnTo>
                  <a:pt x="839" y="3046"/>
                </a:lnTo>
                <a:lnTo>
                  <a:pt x="829" y="3054"/>
                </a:lnTo>
                <a:lnTo>
                  <a:pt x="819" y="3061"/>
                </a:lnTo>
                <a:lnTo>
                  <a:pt x="808" y="3068"/>
                </a:lnTo>
                <a:lnTo>
                  <a:pt x="798" y="3074"/>
                </a:lnTo>
                <a:lnTo>
                  <a:pt x="787" y="3079"/>
                </a:lnTo>
                <a:lnTo>
                  <a:pt x="777" y="3083"/>
                </a:lnTo>
                <a:lnTo>
                  <a:pt x="765" y="3087"/>
                </a:lnTo>
                <a:lnTo>
                  <a:pt x="754" y="3090"/>
                </a:lnTo>
                <a:lnTo>
                  <a:pt x="741" y="3093"/>
                </a:lnTo>
                <a:lnTo>
                  <a:pt x="729" y="3094"/>
                </a:lnTo>
                <a:lnTo>
                  <a:pt x="717" y="3095"/>
                </a:lnTo>
                <a:close/>
                <a:moveTo>
                  <a:pt x="1104" y="3088"/>
                </a:moveTo>
                <a:lnTo>
                  <a:pt x="1102" y="3088"/>
                </a:lnTo>
                <a:lnTo>
                  <a:pt x="1100" y="3087"/>
                </a:lnTo>
                <a:lnTo>
                  <a:pt x="1095" y="3084"/>
                </a:lnTo>
                <a:lnTo>
                  <a:pt x="1088" y="3080"/>
                </a:lnTo>
                <a:lnTo>
                  <a:pt x="1081" y="3075"/>
                </a:lnTo>
                <a:lnTo>
                  <a:pt x="1068" y="3064"/>
                </a:lnTo>
                <a:lnTo>
                  <a:pt x="1053" y="3050"/>
                </a:lnTo>
                <a:lnTo>
                  <a:pt x="1036" y="3034"/>
                </a:lnTo>
                <a:lnTo>
                  <a:pt x="1019" y="3016"/>
                </a:lnTo>
                <a:lnTo>
                  <a:pt x="1003" y="2999"/>
                </a:lnTo>
                <a:lnTo>
                  <a:pt x="988" y="2983"/>
                </a:lnTo>
                <a:lnTo>
                  <a:pt x="977" y="2967"/>
                </a:lnTo>
                <a:lnTo>
                  <a:pt x="972" y="2961"/>
                </a:lnTo>
                <a:lnTo>
                  <a:pt x="969" y="2956"/>
                </a:lnTo>
                <a:lnTo>
                  <a:pt x="964" y="2946"/>
                </a:lnTo>
                <a:lnTo>
                  <a:pt x="960" y="2936"/>
                </a:lnTo>
                <a:lnTo>
                  <a:pt x="958" y="2926"/>
                </a:lnTo>
                <a:lnTo>
                  <a:pt x="957" y="2916"/>
                </a:lnTo>
                <a:lnTo>
                  <a:pt x="957" y="2910"/>
                </a:lnTo>
                <a:lnTo>
                  <a:pt x="958" y="2904"/>
                </a:lnTo>
                <a:lnTo>
                  <a:pt x="959" y="2898"/>
                </a:lnTo>
                <a:lnTo>
                  <a:pt x="961" y="2892"/>
                </a:lnTo>
                <a:lnTo>
                  <a:pt x="964" y="2886"/>
                </a:lnTo>
                <a:lnTo>
                  <a:pt x="967" y="2880"/>
                </a:lnTo>
                <a:lnTo>
                  <a:pt x="971" y="2873"/>
                </a:lnTo>
                <a:lnTo>
                  <a:pt x="975" y="2866"/>
                </a:lnTo>
                <a:lnTo>
                  <a:pt x="984" y="2855"/>
                </a:lnTo>
                <a:lnTo>
                  <a:pt x="996" y="2841"/>
                </a:lnTo>
                <a:lnTo>
                  <a:pt x="1026" y="2807"/>
                </a:lnTo>
                <a:lnTo>
                  <a:pt x="1061" y="2767"/>
                </a:lnTo>
                <a:lnTo>
                  <a:pt x="1096" y="2726"/>
                </a:lnTo>
                <a:lnTo>
                  <a:pt x="1097" y="2725"/>
                </a:lnTo>
                <a:lnTo>
                  <a:pt x="1101" y="2725"/>
                </a:lnTo>
                <a:lnTo>
                  <a:pt x="1104" y="2725"/>
                </a:lnTo>
                <a:lnTo>
                  <a:pt x="1108" y="2726"/>
                </a:lnTo>
                <a:lnTo>
                  <a:pt x="1114" y="2728"/>
                </a:lnTo>
                <a:lnTo>
                  <a:pt x="1118" y="2732"/>
                </a:lnTo>
                <a:lnTo>
                  <a:pt x="1122" y="2735"/>
                </a:lnTo>
                <a:lnTo>
                  <a:pt x="1126" y="2739"/>
                </a:lnTo>
                <a:lnTo>
                  <a:pt x="1130" y="2743"/>
                </a:lnTo>
                <a:lnTo>
                  <a:pt x="1132" y="2748"/>
                </a:lnTo>
                <a:lnTo>
                  <a:pt x="1134" y="2752"/>
                </a:lnTo>
                <a:lnTo>
                  <a:pt x="1134" y="2757"/>
                </a:lnTo>
                <a:lnTo>
                  <a:pt x="1134" y="2762"/>
                </a:lnTo>
                <a:lnTo>
                  <a:pt x="1132" y="2768"/>
                </a:lnTo>
                <a:lnTo>
                  <a:pt x="1129" y="2773"/>
                </a:lnTo>
                <a:lnTo>
                  <a:pt x="1125" y="2779"/>
                </a:lnTo>
                <a:lnTo>
                  <a:pt x="1117" y="2790"/>
                </a:lnTo>
                <a:lnTo>
                  <a:pt x="1105" y="2804"/>
                </a:lnTo>
                <a:lnTo>
                  <a:pt x="1076" y="2837"/>
                </a:lnTo>
                <a:lnTo>
                  <a:pt x="1045" y="2871"/>
                </a:lnTo>
                <a:lnTo>
                  <a:pt x="1033" y="2886"/>
                </a:lnTo>
                <a:lnTo>
                  <a:pt x="1024" y="2897"/>
                </a:lnTo>
                <a:lnTo>
                  <a:pt x="1021" y="2901"/>
                </a:lnTo>
                <a:lnTo>
                  <a:pt x="1019" y="2905"/>
                </a:lnTo>
                <a:lnTo>
                  <a:pt x="1018" y="2908"/>
                </a:lnTo>
                <a:lnTo>
                  <a:pt x="1018" y="2913"/>
                </a:lnTo>
                <a:lnTo>
                  <a:pt x="1018" y="2917"/>
                </a:lnTo>
                <a:lnTo>
                  <a:pt x="1020" y="2922"/>
                </a:lnTo>
                <a:lnTo>
                  <a:pt x="1022" y="2926"/>
                </a:lnTo>
                <a:lnTo>
                  <a:pt x="1025" y="2931"/>
                </a:lnTo>
                <a:lnTo>
                  <a:pt x="1032" y="2940"/>
                </a:lnTo>
                <a:lnTo>
                  <a:pt x="1043" y="2952"/>
                </a:lnTo>
                <a:lnTo>
                  <a:pt x="1071" y="2982"/>
                </a:lnTo>
                <a:lnTo>
                  <a:pt x="1103" y="3014"/>
                </a:lnTo>
                <a:lnTo>
                  <a:pt x="1135" y="3045"/>
                </a:lnTo>
                <a:lnTo>
                  <a:pt x="1137" y="3047"/>
                </a:lnTo>
                <a:lnTo>
                  <a:pt x="1138" y="3049"/>
                </a:lnTo>
                <a:lnTo>
                  <a:pt x="1139" y="3051"/>
                </a:lnTo>
                <a:lnTo>
                  <a:pt x="1139" y="3054"/>
                </a:lnTo>
                <a:lnTo>
                  <a:pt x="1139" y="3060"/>
                </a:lnTo>
                <a:lnTo>
                  <a:pt x="1138" y="3062"/>
                </a:lnTo>
                <a:lnTo>
                  <a:pt x="1136" y="3065"/>
                </a:lnTo>
                <a:lnTo>
                  <a:pt x="1133" y="3071"/>
                </a:lnTo>
                <a:lnTo>
                  <a:pt x="1130" y="3074"/>
                </a:lnTo>
                <a:lnTo>
                  <a:pt x="1128" y="3076"/>
                </a:lnTo>
                <a:lnTo>
                  <a:pt x="1123" y="3081"/>
                </a:lnTo>
                <a:lnTo>
                  <a:pt x="1120" y="3083"/>
                </a:lnTo>
                <a:lnTo>
                  <a:pt x="1117" y="3085"/>
                </a:lnTo>
                <a:lnTo>
                  <a:pt x="1111" y="3087"/>
                </a:lnTo>
                <a:lnTo>
                  <a:pt x="1107" y="3088"/>
                </a:lnTo>
                <a:lnTo>
                  <a:pt x="1104" y="3088"/>
                </a:lnTo>
                <a:close/>
                <a:moveTo>
                  <a:pt x="4547" y="1136"/>
                </a:moveTo>
                <a:lnTo>
                  <a:pt x="4539" y="1136"/>
                </a:lnTo>
                <a:lnTo>
                  <a:pt x="4532" y="1135"/>
                </a:lnTo>
                <a:lnTo>
                  <a:pt x="4523" y="1134"/>
                </a:lnTo>
                <a:lnTo>
                  <a:pt x="4516" y="1132"/>
                </a:lnTo>
                <a:lnTo>
                  <a:pt x="4509" y="1131"/>
                </a:lnTo>
                <a:lnTo>
                  <a:pt x="4502" y="1128"/>
                </a:lnTo>
                <a:lnTo>
                  <a:pt x="4488" y="1122"/>
                </a:lnTo>
                <a:lnTo>
                  <a:pt x="4475" y="1115"/>
                </a:lnTo>
                <a:lnTo>
                  <a:pt x="4468" y="1110"/>
                </a:lnTo>
                <a:lnTo>
                  <a:pt x="4462" y="1105"/>
                </a:lnTo>
                <a:lnTo>
                  <a:pt x="4456" y="1101"/>
                </a:lnTo>
                <a:lnTo>
                  <a:pt x="4450" y="1095"/>
                </a:lnTo>
                <a:lnTo>
                  <a:pt x="4445" y="1090"/>
                </a:lnTo>
                <a:lnTo>
                  <a:pt x="4439" y="1084"/>
                </a:lnTo>
                <a:lnTo>
                  <a:pt x="4434" y="1078"/>
                </a:lnTo>
                <a:lnTo>
                  <a:pt x="4430" y="1072"/>
                </a:lnTo>
                <a:lnTo>
                  <a:pt x="4425" y="1065"/>
                </a:lnTo>
                <a:lnTo>
                  <a:pt x="4421" y="1058"/>
                </a:lnTo>
                <a:lnTo>
                  <a:pt x="4417" y="1050"/>
                </a:lnTo>
                <a:lnTo>
                  <a:pt x="4414" y="1043"/>
                </a:lnTo>
                <a:lnTo>
                  <a:pt x="4409" y="1035"/>
                </a:lnTo>
                <a:lnTo>
                  <a:pt x="4406" y="1027"/>
                </a:lnTo>
                <a:lnTo>
                  <a:pt x="4404" y="1020"/>
                </a:lnTo>
                <a:lnTo>
                  <a:pt x="4401" y="1011"/>
                </a:lnTo>
                <a:lnTo>
                  <a:pt x="4399" y="1003"/>
                </a:lnTo>
                <a:lnTo>
                  <a:pt x="4398" y="994"/>
                </a:lnTo>
                <a:lnTo>
                  <a:pt x="4396" y="985"/>
                </a:lnTo>
                <a:lnTo>
                  <a:pt x="4395" y="976"/>
                </a:lnTo>
                <a:lnTo>
                  <a:pt x="4395" y="967"/>
                </a:lnTo>
                <a:lnTo>
                  <a:pt x="4395" y="958"/>
                </a:lnTo>
                <a:lnTo>
                  <a:pt x="4395" y="939"/>
                </a:lnTo>
                <a:lnTo>
                  <a:pt x="4396" y="929"/>
                </a:lnTo>
                <a:lnTo>
                  <a:pt x="4398" y="920"/>
                </a:lnTo>
                <a:lnTo>
                  <a:pt x="4400" y="911"/>
                </a:lnTo>
                <a:lnTo>
                  <a:pt x="4402" y="902"/>
                </a:lnTo>
                <a:lnTo>
                  <a:pt x="4404" y="893"/>
                </a:lnTo>
                <a:lnTo>
                  <a:pt x="4407" y="884"/>
                </a:lnTo>
                <a:lnTo>
                  <a:pt x="4411" y="876"/>
                </a:lnTo>
                <a:lnTo>
                  <a:pt x="4415" y="867"/>
                </a:lnTo>
                <a:lnTo>
                  <a:pt x="4418" y="859"/>
                </a:lnTo>
                <a:lnTo>
                  <a:pt x="4423" y="851"/>
                </a:lnTo>
                <a:lnTo>
                  <a:pt x="4427" y="843"/>
                </a:lnTo>
                <a:lnTo>
                  <a:pt x="4432" y="836"/>
                </a:lnTo>
                <a:lnTo>
                  <a:pt x="4442" y="822"/>
                </a:lnTo>
                <a:lnTo>
                  <a:pt x="4447" y="816"/>
                </a:lnTo>
                <a:lnTo>
                  <a:pt x="4453" y="809"/>
                </a:lnTo>
                <a:lnTo>
                  <a:pt x="4465" y="797"/>
                </a:lnTo>
                <a:lnTo>
                  <a:pt x="4473" y="792"/>
                </a:lnTo>
                <a:lnTo>
                  <a:pt x="4479" y="787"/>
                </a:lnTo>
                <a:lnTo>
                  <a:pt x="4486" y="783"/>
                </a:lnTo>
                <a:lnTo>
                  <a:pt x="4493" y="779"/>
                </a:lnTo>
                <a:lnTo>
                  <a:pt x="4501" y="775"/>
                </a:lnTo>
                <a:lnTo>
                  <a:pt x="4508" y="772"/>
                </a:lnTo>
                <a:lnTo>
                  <a:pt x="4516" y="769"/>
                </a:lnTo>
                <a:lnTo>
                  <a:pt x="4523" y="767"/>
                </a:lnTo>
                <a:lnTo>
                  <a:pt x="4532" y="765"/>
                </a:lnTo>
                <a:lnTo>
                  <a:pt x="4540" y="764"/>
                </a:lnTo>
                <a:lnTo>
                  <a:pt x="4548" y="763"/>
                </a:lnTo>
                <a:lnTo>
                  <a:pt x="4557" y="763"/>
                </a:lnTo>
                <a:lnTo>
                  <a:pt x="4567" y="763"/>
                </a:lnTo>
                <a:lnTo>
                  <a:pt x="4572" y="764"/>
                </a:lnTo>
                <a:lnTo>
                  <a:pt x="4576" y="765"/>
                </a:lnTo>
                <a:lnTo>
                  <a:pt x="4581" y="766"/>
                </a:lnTo>
                <a:lnTo>
                  <a:pt x="4586" y="767"/>
                </a:lnTo>
                <a:lnTo>
                  <a:pt x="4595" y="770"/>
                </a:lnTo>
                <a:lnTo>
                  <a:pt x="4603" y="774"/>
                </a:lnTo>
                <a:lnTo>
                  <a:pt x="4610" y="779"/>
                </a:lnTo>
                <a:lnTo>
                  <a:pt x="4617" y="784"/>
                </a:lnTo>
                <a:lnTo>
                  <a:pt x="4623" y="790"/>
                </a:lnTo>
                <a:lnTo>
                  <a:pt x="4626" y="793"/>
                </a:lnTo>
                <a:lnTo>
                  <a:pt x="4628" y="797"/>
                </a:lnTo>
                <a:lnTo>
                  <a:pt x="4633" y="804"/>
                </a:lnTo>
                <a:lnTo>
                  <a:pt x="4637" y="813"/>
                </a:lnTo>
                <a:lnTo>
                  <a:pt x="4640" y="821"/>
                </a:lnTo>
                <a:lnTo>
                  <a:pt x="4643" y="830"/>
                </a:lnTo>
                <a:lnTo>
                  <a:pt x="4645" y="839"/>
                </a:lnTo>
                <a:lnTo>
                  <a:pt x="4646" y="848"/>
                </a:lnTo>
                <a:lnTo>
                  <a:pt x="4646" y="858"/>
                </a:lnTo>
                <a:lnTo>
                  <a:pt x="4646" y="872"/>
                </a:lnTo>
                <a:lnTo>
                  <a:pt x="4645" y="878"/>
                </a:lnTo>
                <a:lnTo>
                  <a:pt x="4643" y="884"/>
                </a:lnTo>
                <a:lnTo>
                  <a:pt x="4640" y="896"/>
                </a:lnTo>
                <a:lnTo>
                  <a:pt x="4635" y="907"/>
                </a:lnTo>
                <a:lnTo>
                  <a:pt x="4628" y="919"/>
                </a:lnTo>
                <a:lnTo>
                  <a:pt x="4621" y="929"/>
                </a:lnTo>
                <a:lnTo>
                  <a:pt x="4617" y="935"/>
                </a:lnTo>
                <a:lnTo>
                  <a:pt x="4613" y="940"/>
                </a:lnTo>
                <a:lnTo>
                  <a:pt x="4604" y="949"/>
                </a:lnTo>
                <a:lnTo>
                  <a:pt x="4594" y="958"/>
                </a:lnTo>
                <a:lnTo>
                  <a:pt x="4587" y="962"/>
                </a:lnTo>
                <a:lnTo>
                  <a:pt x="4582" y="965"/>
                </a:lnTo>
                <a:lnTo>
                  <a:pt x="4571" y="972"/>
                </a:lnTo>
                <a:lnTo>
                  <a:pt x="4559" y="978"/>
                </a:lnTo>
                <a:lnTo>
                  <a:pt x="4547" y="982"/>
                </a:lnTo>
                <a:lnTo>
                  <a:pt x="4541" y="984"/>
                </a:lnTo>
                <a:lnTo>
                  <a:pt x="4535" y="986"/>
                </a:lnTo>
                <a:lnTo>
                  <a:pt x="4527" y="987"/>
                </a:lnTo>
                <a:lnTo>
                  <a:pt x="4521" y="988"/>
                </a:lnTo>
                <a:lnTo>
                  <a:pt x="4508" y="988"/>
                </a:lnTo>
                <a:lnTo>
                  <a:pt x="4503" y="988"/>
                </a:lnTo>
                <a:lnTo>
                  <a:pt x="4498" y="986"/>
                </a:lnTo>
                <a:lnTo>
                  <a:pt x="4494" y="983"/>
                </a:lnTo>
                <a:lnTo>
                  <a:pt x="4492" y="981"/>
                </a:lnTo>
                <a:lnTo>
                  <a:pt x="4490" y="979"/>
                </a:lnTo>
                <a:lnTo>
                  <a:pt x="4487" y="974"/>
                </a:lnTo>
                <a:lnTo>
                  <a:pt x="4484" y="969"/>
                </a:lnTo>
                <a:lnTo>
                  <a:pt x="4483" y="966"/>
                </a:lnTo>
                <a:lnTo>
                  <a:pt x="4483" y="963"/>
                </a:lnTo>
                <a:lnTo>
                  <a:pt x="4482" y="957"/>
                </a:lnTo>
                <a:lnTo>
                  <a:pt x="4482" y="954"/>
                </a:lnTo>
                <a:lnTo>
                  <a:pt x="4483" y="951"/>
                </a:lnTo>
                <a:lnTo>
                  <a:pt x="4484" y="947"/>
                </a:lnTo>
                <a:lnTo>
                  <a:pt x="4485" y="944"/>
                </a:lnTo>
                <a:lnTo>
                  <a:pt x="4486" y="943"/>
                </a:lnTo>
                <a:lnTo>
                  <a:pt x="4487" y="941"/>
                </a:lnTo>
                <a:lnTo>
                  <a:pt x="4489" y="940"/>
                </a:lnTo>
                <a:lnTo>
                  <a:pt x="4500" y="938"/>
                </a:lnTo>
                <a:lnTo>
                  <a:pt x="4511" y="935"/>
                </a:lnTo>
                <a:lnTo>
                  <a:pt x="4521" y="932"/>
                </a:lnTo>
                <a:lnTo>
                  <a:pt x="4531" y="927"/>
                </a:lnTo>
                <a:lnTo>
                  <a:pt x="4540" y="922"/>
                </a:lnTo>
                <a:lnTo>
                  <a:pt x="4549" y="917"/>
                </a:lnTo>
                <a:lnTo>
                  <a:pt x="4557" y="912"/>
                </a:lnTo>
                <a:lnTo>
                  <a:pt x="4560" y="909"/>
                </a:lnTo>
                <a:lnTo>
                  <a:pt x="4564" y="906"/>
                </a:lnTo>
                <a:lnTo>
                  <a:pt x="4570" y="900"/>
                </a:lnTo>
                <a:lnTo>
                  <a:pt x="4576" y="893"/>
                </a:lnTo>
                <a:lnTo>
                  <a:pt x="4581" y="886"/>
                </a:lnTo>
                <a:lnTo>
                  <a:pt x="4585" y="880"/>
                </a:lnTo>
                <a:lnTo>
                  <a:pt x="4589" y="873"/>
                </a:lnTo>
                <a:lnTo>
                  <a:pt x="4592" y="865"/>
                </a:lnTo>
                <a:lnTo>
                  <a:pt x="4594" y="857"/>
                </a:lnTo>
                <a:lnTo>
                  <a:pt x="4594" y="850"/>
                </a:lnTo>
                <a:lnTo>
                  <a:pt x="4593" y="842"/>
                </a:lnTo>
                <a:lnTo>
                  <a:pt x="4591" y="835"/>
                </a:lnTo>
                <a:lnTo>
                  <a:pt x="4589" y="832"/>
                </a:lnTo>
                <a:lnTo>
                  <a:pt x="4587" y="829"/>
                </a:lnTo>
                <a:lnTo>
                  <a:pt x="4585" y="826"/>
                </a:lnTo>
                <a:lnTo>
                  <a:pt x="4582" y="823"/>
                </a:lnTo>
                <a:lnTo>
                  <a:pt x="4577" y="819"/>
                </a:lnTo>
                <a:lnTo>
                  <a:pt x="4573" y="817"/>
                </a:lnTo>
                <a:lnTo>
                  <a:pt x="4570" y="816"/>
                </a:lnTo>
                <a:lnTo>
                  <a:pt x="4562" y="814"/>
                </a:lnTo>
                <a:lnTo>
                  <a:pt x="4557" y="814"/>
                </a:lnTo>
                <a:lnTo>
                  <a:pt x="4553" y="814"/>
                </a:lnTo>
                <a:lnTo>
                  <a:pt x="4544" y="814"/>
                </a:lnTo>
                <a:lnTo>
                  <a:pt x="4540" y="815"/>
                </a:lnTo>
                <a:lnTo>
                  <a:pt x="4535" y="816"/>
                </a:lnTo>
                <a:lnTo>
                  <a:pt x="4531" y="818"/>
                </a:lnTo>
                <a:lnTo>
                  <a:pt x="4525" y="820"/>
                </a:lnTo>
                <a:lnTo>
                  <a:pt x="4521" y="822"/>
                </a:lnTo>
                <a:lnTo>
                  <a:pt x="4517" y="825"/>
                </a:lnTo>
                <a:lnTo>
                  <a:pt x="4512" y="827"/>
                </a:lnTo>
                <a:lnTo>
                  <a:pt x="4508" y="830"/>
                </a:lnTo>
                <a:lnTo>
                  <a:pt x="4500" y="838"/>
                </a:lnTo>
                <a:lnTo>
                  <a:pt x="4492" y="846"/>
                </a:lnTo>
                <a:lnTo>
                  <a:pt x="4485" y="855"/>
                </a:lnTo>
                <a:lnTo>
                  <a:pt x="4481" y="859"/>
                </a:lnTo>
                <a:lnTo>
                  <a:pt x="4478" y="865"/>
                </a:lnTo>
                <a:lnTo>
                  <a:pt x="4471" y="876"/>
                </a:lnTo>
                <a:lnTo>
                  <a:pt x="4465" y="888"/>
                </a:lnTo>
                <a:lnTo>
                  <a:pt x="4460" y="900"/>
                </a:lnTo>
                <a:lnTo>
                  <a:pt x="4456" y="913"/>
                </a:lnTo>
                <a:lnTo>
                  <a:pt x="4454" y="926"/>
                </a:lnTo>
                <a:lnTo>
                  <a:pt x="4452" y="941"/>
                </a:lnTo>
                <a:lnTo>
                  <a:pt x="4451" y="948"/>
                </a:lnTo>
                <a:lnTo>
                  <a:pt x="4451" y="955"/>
                </a:lnTo>
                <a:lnTo>
                  <a:pt x="4452" y="968"/>
                </a:lnTo>
                <a:lnTo>
                  <a:pt x="4453" y="980"/>
                </a:lnTo>
                <a:lnTo>
                  <a:pt x="4455" y="993"/>
                </a:lnTo>
                <a:lnTo>
                  <a:pt x="4456" y="998"/>
                </a:lnTo>
                <a:lnTo>
                  <a:pt x="4458" y="1004"/>
                </a:lnTo>
                <a:lnTo>
                  <a:pt x="4462" y="1014"/>
                </a:lnTo>
                <a:lnTo>
                  <a:pt x="4464" y="1019"/>
                </a:lnTo>
                <a:lnTo>
                  <a:pt x="4466" y="1024"/>
                </a:lnTo>
                <a:lnTo>
                  <a:pt x="4469" y="1029"/>
                </a:lnTo>
                <a:lnTo>
                  <a:pt x="4472" y="1033"/>
                </a:lnTo>
                <a:lnTo>
                  <a:pt x="4475" y="1037"/>
                </a:lnTo>
                <a:lnTo>
                  <a:pt x="4478" y="1041"/>
                </a:lnTo>
                <a:lnTo>
                  <a:pt x="4482" y="1045"/>
                </a:lnTo>
                <a:lnTo>
                  <a:pt x="4485" y="1049"/>
                </a:lnTo>
                <a:lnTo>
                  <a:pt x="4492" y="1056"/>
                </a:lnTo>
                <a:lnTo>
                  <a:pt x="4500" y="1062"/>
                </a:lnTo>
                <a:lnTo>
                  <a:pt x="4509" y="1067"/>
                </a:lnTo>
                <a:lnTo>
                  <a:pt x="4518" y="1071"/>
                </a:lnTo>
                <a:lnTo>
                  <a:pt x="4527" y="1073"/>
                </a:lnTo>
                <a:lnTo>
                  <a:pt x="4538" y="1075"/>
                </a:lnTo>
                <a:lnTo>
                  <a:pt x="4544" y="1076"/>
                </a:lnTo>
                <a:lnTo>
                  <a:pt x="4549" y="1076"/>
                </a:lnTo>
                <a:lnTo>
                  <a:pt x="4560" y="1075"/>
                </a:lnTo>
                <a:lnTo>
                  <a:pt x="4570" y="1074"/>
                </a:lnTo>
                <a:lnTo>
                  <a:pt x="4580" y="1071"/>
                </a:lnTo>
                <a:lnTo>
                  <a:pt x="4589" y="1068"/>
                </a:lnTo>
                <a:lnTo>
                  <a:pt x="4599" y="1064"/>
                </a:lnTo>
                <a:lnTo>
                  <a:pt x="4608" y="1059"/>
                </a:lnTo>
                <a:lnTo>
                  <a:pt x="4617" y="1053"/>
                </a:lnTo>
                <a:lnTo>
                  <a:pt x="4625" y="1045"/>
                </a:lnTo>
                <a:lnTo>
                  <a:pt x="4633" y="1038"/>
                </a:lnTo>
                <a:lnTo>
                  <a:pt x="4641" y="1030"/>
                </a:lnTo>
                <a:lnTo>
                  <a:pt x="4648" y="1022"/>
                </a:lnTo>
                <a:lnTo>
                  <a:pt x="4656" y="1013"/>
                </a:lnTo>
                <a:lnTo>
                  <a:pt x="4669" y="993"/>
                </a:lnTo>
                <a:lnTo>
                  <a:pt x="4675" y="982"/>
                </a:lnTo>
                <a:lnTo>
                  <a:pt x="4681" y="971"/>
                </a:lnTo>
                <a:lnTo>
                  <a:pt x="4686" y="960"/>
                </a:lnTo>
                <a:lnTo>
                  <a:pt x="4691" y="949"/>
                </a:lnTo>
                <a:lnTo>
                  <a:pt x="4695" y="937"/>
                </a:lnTo>
                <a:lnTo>
                  <a:pt x="4699" y="925"/>
                </a:lnTo>
                <a:lnTo>
                  <a:pt x="4703" y="913"/>
                </a:lnTo>
                <a:lnTo>
                  <a:pt x="4706" y="901"/>
                </a:lnTo>
                <a:lnTo>
                  <a:pt x="4709" y="889"/>
                </a:lnTo>
                <a:lnTo>
                  <a:pt x="4713" y="877"/>
                </a:lnTo>
                <a:lnTo>
                  <a:pt x="4715" y="864"/>
                </a:lnTo>
                <a:lnTo>
                  <a:pt x="4717" y="852"/>
                </a:lnTo>
                <a:lnTo>
                  <a:pt x="4719" y="840"/>
                </a:lnTo>
                <a:lnTo>
                  <a:pt x="4720" y="828"/>
                </a:lnTo>
                <a:lnTo>
                  <a:pt x="4720" y="817"/>
                </a:lnTo>
                <a:lnTo>
                  <a:pt x="4721" y="805"/>
                </a:lnTo>
                <a:lnTo>
                  <a:pt x="4721" y="794"/>
                </a:lnTo>
                <a:lnTo>
                  <a:pt x="4720" y="784"/>
                </a:lnTo>
                <a:lnTo>
                  <a:pt x="4721" y="781"/>
                </a:lnTo>
                <a:lnTo>
                  <a:pt x="4723" y="779"/>
                </a:lnTo>
                <a:lnTo>
                  <a:pt x="4725" y="777"/>
                </a:lnTo>
                <a:lnTo>
                  <a:pt x="4728" y="775"/>
                </a:lnTo>
                <a:lnTo>
                  <a:pt x="4734" y="773"/>
                </a:lnTo>
                <a:lnTo>
                  <a:pt x="4738" y="772"/>
                </a:lnTo>
                <a:lnTo>
                  <a:pt x="4742" y="772"/>
                </a:lnTo>
                <a:lnTo>
                  <a:pt x="4750" y="772"/>
                </a:lnTo>
                <a:lnTo>
                  <a:pt x="4753" y="773"/>
                </a:lnTo>
                <a:lnTo>
                  <a:pt x="4756" y="774"/>
                </a:lnTo>
                <a:lnTo>
                  <a:pt x="4762" y="777"/>
                </a:lnTo>
                <a:lnTo>
                  <a:pt x="4764" y="779"/>
                </a:lnTo>
                <a:lnTo>
                  <a:pt x="4767" y="781"/>
                </a:lnTo>
                <a:lnTo>
                  <a:pt x="4772" y="787"/>
                </a:lnTo>
                <a:lnTo>
                  <a:pt x="4773" y="790"/>
                </a:lnTo>
                <a:lnTo>
                  <a:pt x="4775" y="794"/>
                </a:lnTo>
                <a:lnTo>
                  <a:pt x="4776" y="798"/>
                </a:lnTo>
                <a:lnTo>
                  <a:pt x="4777" y="803"/>
                </a:lnTo>
                <a:lnTo>
                  <a:pt x="4777" y="809"/>
                </a:lnTo>
                <a:lnTo>
                  <a:pt x="4777" y="815"/>
                </a:lnTo>
                <a:lnTo>
                  <a:pt x="4777" y="831"/>
                </a:lnTo>
                <a:lnTo>
                  <a:pt x="4776" y="846"/>
                </a:lnTo>
                <a:lnTo>
                  <a:pt x="4774" y="862"/>
                </a:lnTo>
                <a:lnTo>
                  <a:pt x="4772" y="878"/>
                </a:lnTo>
                <a:lnTo>
                  <a:pt x="4769" y="893"/>
                </a:lnTo>
                <a:lnTo>
                  <a:pt x="4766" y="907"/>
                </a:lnTo>
                <a:lnTo>
                  <a:pt x="4762" y="922"/>
                </a:lnTo>
                <a:lnTo>
                  <a:pt x="4758" y="937"/>
                </a:lnTo>
                <a:lnTo>
                  <a:pt x="4754" y="951"/>
                </a:lnTo>
                <a:lnTo>
                  <a:pt x="4749" y="964"/>
                </a:lnTo>
                <a:lnTo>
                  <a:pt x="4744" y="978"/>
                </a:lnTo>
                <a:lnTo>
                  <a:pt x="4738" y="990"/>
                </a:lnTo>
                <a:lnTo>
                  <a:pt x="4732" y="1004"/>
                </a:lnTo>
                <a:lnTo>
                  <a:pt x="4726" y="1016"/>
                </a:lnTo>
                <a:lnTo>
                  <a:pt x="4719" y="1027"/>
                </a:lnTo>
                <a:lnTo>
                  <a:pt x="4711" y="1039"/>
                </a:lnTo>
                <a:lnTo>
                  <a:pt x="4703" y="1049"/>
                </a:lnTo>
                <a:lnTo>
                  <a:pt x="4695" y="1060"/>
                </a:lnTo>
                <a:lnTo>
                  <a:pt x="4686" y="1070"/>
                </a:lnTo>
                <a:lnTo>
                  <a:pt x="4678" y="1079"/>
                </a:lnTo>
                <a:lnTo>
                  <a:pt x="4668" y="1087"/>
                </a:lnTo>
                <a:lnTo>
                  <a:pt x="4659" y="1095"/>
                </a:lnTo>
                <a:lnTo>
                  <a:pt x="4648" y="1103"/>
                </a:lnTo>
                <a:lnTo>
                  <a:pt x="4638" y="1109"/>
                </a:lnTo>
                <a:lnTo>
                  <a:pt x="4628" y="1116"/>
                </a:lnTo>
                <a:lnTo>
                  <a:pt x="4617" y="1121"/>
                </a:lnTo>
                <a:lnTo>
                  <a:pt x="4606" y="1126"/>
                </a:lnTo>
                <a:lnTo>
                  <a:pt x="4595" y="1129"/>
                </a:lnTo>
                <a:lnTo>
                  <a:pt x="4583" y="1132"/>
                </a:lnTo>
                <a:lnTo>
                  <a:pt x="4571" y="1134"/>
                </a:lnTo>
                <a:lnTo>
                  <a:pt x="4559" y="1136"/>
                </a:lnTo>
                <a:lnTo>
                  <a:pt x="4547" y="1136"/>
                </a:lnTo>
                <a:close/>
                <a:moveTo>
                  <a:pt x="4934" y="1130"/>
                </a:moveTo>
                <a:lnTo>
                  <a:pt x="4932" y="1130"/>
                </a:lnTo>
                <a:lnTo>
                  <a:pt x="4930" y="1129"/>
                </a:lnTo>
                <a:lnTo>
                  <a:pt x="4925" y="1127"/>
                </a:lnTo>
                <a:lnTo>
                  <a:pt x="4918" y="1122"/>
                </a:lnTo>
                <a:lnTo>
                  <a:pt x="4911" y="1117"/>
                </a:lnTo>
                <a:lnTo>
                  <a:pt x="4898" y="1105"/>
                </a:lnTo>
                <a:lnTo>
                  <a:pt x="4882" y="1091"/>
                </a:lnTo>
                <a:lnTo>
                  <a:pt x="4866" y="1075"/>
                </a:lnTo>
                <a:lnTo>
                  <a:pt x="4849" y="1058"/>
                </a:lnTo>
                <a:lnTo>
                  <a:pt x="4833" y="1040"/>
                </a:lnTo>
                <a:lnTo>
                  <a:pt x="4818" y="1024"/>
                </a:lnTo>
                <a:lnTo>
                  <a:pt x="4807" y="1010"/>
                </a:lnTo>
                <a:lnTo>
                  <a:pt x="4802" y="1004"/>
                </a:lnTo>
                <a:lnTo>
                  <a:pt x="4799" y="998"/>
                </a:lnTo>
                <a:lnTo>
                  <a:pt x="4794" y="987"/>
                </a:lnTo>
                <a:lnTo>
                  <a:pt x="4790" y="977"/>
                </a:lnTo>
                <a:lnTo>
                  <a:pt x="4788" y="968"/>
                </a:lnTo>
                <a:lnTo>
                  <a:pt x="4787" y="958"/>
                </a:lnTo>
                <a:lnTo>
                  <a:pt x="4787" y="952"/>
                </a:lnTo>
                <a:lnTo>
                  <a:pt x="4788" y="946"/>
                </a:lnTo>
                <a:lnTo>
                  <a:pt x="4789" y="941"/>
                </a:lnTo>
                <a:lnTo>
                  <a:pt x="4791" y="935"/>
                </a:lnTo>
                <a:lnTo>
                  <a:pt x="4794" y="927"/>
                </a:lnTo>
                <a:lnTo>
                  <a:pt x="4797" y="921"/>
                </a:lnTo>
                <a:lnTo>
                  <a:pt x="4801" y="914"/>
                </a:lnTo>
                <a:lnTo>
                  <a:pt x="4805" y="908"/>
                </a:lnTo>
                <a:lnTo>
                  <a:pt x="4814" y="897"/>
                </a:lnTo>
                <a:lnTo>
                  <a:pt x="4825" y="883"/>
                </a:lnTo>
                <a:lnTo>
                  <a:pt x="4855" y="848"/>
                </a:lnTo>
                <a:lnTo>
                  <a:pt x="4891" y="808"/>
                </a:lnTo>
                <a:lnTo>
                  <a:pt x="4926" y="768"/>
                </a:lnTo>
                <a:lnTo>
                  <a:pt x="4927" y="768"/>
                </a:lnTo>
                <a:lnTo>
                  <a:pt x="4931" y="767"/>
                </a:lnTo>
                <a:lnTo>
                  <a:pt x="4934" y="768"/>
                </a:lnTo>
                <a:lnTo>
                  <a:pt x="4938" y="769"/>
                </a:lnTo>
                <a:lnTo>
                  <a:pt x="4943" y="771"/>
                </a:lnTo>
                <a:lnTo>
                  <a:pt x="4947" y="773"/>
                </a:lnTo>
                <a:lnTo>
                  <a:pt x="4952" y="776"/>
                </a:lnTo>
                <a:lnTo>
                  <a:pt x="4956" y="780"/>
                </a:lnTo>
                <a:lnTo>
                  <a:pt x="4960" y="784"/>
                </a:lnTo>
                <a:lnTo>
                  <a:pt x="4962" y="789"/>
                </a:lnTo>
                <a:lnTo>
                  <a:pt x="4964" y="794"/>
                </a:lnTo>
                <a:lnTo>
                  <a:pt x="4964" y="798"/>
                </a:lnTo>
                <a:lnTo>
                  <a:pt x="4964" y="804"/>
                </a:lnTo>
                <a:lnTo>
                  <a:pt x="4962" y="809"/>
                </a:lnTo>
                <a:lnTo>
                  <a:pt x="4959" y="816"/>
                </a:lnTo>
                <a:lnTo>
                  <a:pt x="4955" y="822"/>
                </a:lnTo>
                <a:lnTo>
                  <a:pt x="4946" y="832"/>
                </a:lnTo>
                <a:lnTo>
                  <a:pt x="4934" y="846"/>
                </a:lnTo>
                <a:lnTo>
                  <a:pt x="4905" y="879"/>
                </a:lnTo>
                <a:lnTo>
                  <a:pt x="4875" y="913"/>
                </a:lnTo>
                <a:lnTo>
                  <a:pt x="4863" y="927"/>
                </a:lnTo>
                <a:lnTo>
                  <a:pt x="4854" y="940"/>
                </a:lnTo>
                <a:lnTo>
                  <a:pt x="4851" y="944"/>
                </a:lnTo>
                <a:lnTo>
                  <a:pt x="4849" y="947"/>
                </a:lnTo>
                <a:lnTo>
                  <a:pt x="4848" y="951"/>
                </a:lnTo>
                <a:lnTo>
                  <a:pt x="4848" y="954"/>
                </a:lnTo>
                <a:lnTo>
                  <a:pt x="4848" y="959"/>
                </a:lnTo>
                <a:lnTo>
                  <a:pt x="4850" y="963"/>
                </a:lnTo>
                <a:lnTo>
                  <a:pt x="4852" y="968"/>
                </a:lnTo>
                <a:lnTo>
                  <a:pt x="4855" y="972"/>
                </a:lnTo>
                <a:lnTo>
                  <a:pt x="4862" y="981"/>
                </a:lnTo>
                <a:lnTo>
                  <a:pt x="4873" y="994"/>
                </a:lnTo>
                <a:lnTo>
                  <a:pt x="4901" y="1023"/>
                </a:lnTo>
                <a:lnTo>
                  <a:pt x="4933" y="1056"/>
                </a:lnTo>
                <a:lnTo>
                  <a:pt x="4965" y="1087"/>
                </a:lnTo>
                <a:lnTo>
                  <a:pt x="4967" y="1088"/>
                </a:lnTo>
                <a:lnTo>
                  <a:pt x="4968" y="1091"/>
                </a:lnTo>
                <a:lnTo>
                  <a:pt x="4969" y="1093"/>
                </a:lnTo>
                <a:lnTo>
                  <a:pt x="4969" y="1095"/>
                </a:lnTo>
                <a:lnTo>
                  <a:pt x="4968" y="1101"/>
                </a:lnTo>
                <a:lnTo>
                  <a:pt x="4967" y="1104"/>
                </a:lnTo>
                <a:lnTo>
                  <a:pt x="4966" y="1107"/>
                </a:lnTo>
                <a:lnTo>
                  <a:pt x="4962" y="1113"/>
                </a:lnTo>
                <a:lnTo>
                  <a:pt x="4960" y="1116"/>
                </a:lnTo>
                <a:lnTo>
                  <a:pt x="4958" y="1119"/>
                </a:lnTo>
                <a:lnTo>
                  <a:pt x="4953" y="1123"/>
                </a:lnTo>
                <a:lnTo>
                  <a:pt x="4949" y="1125"/>
                </a:lnTo>
                <a:lnTo>
                  <a:pt x="4946" y="1127"/>
                </a:lnTo>
                <a:lnTo>
                  <a:pt x="4940" y="1129"/>
                </a:lnTo>
                <a:lnTo>
                  <a:pt x="4937" y="1130"/>
                </a:lnTo>
                <a:lnTo>
                  <a:pt x="4934" y="1130"/>
                </a:lnTo>
                <a:close/>
                <a:moveTo>
                  <a:pt x="4547" y="2129"/>
                </a:moveTo>
                <a:lnTo>
                  <a:pt x="4539" y="2129"/>
                </a:lnTo>
                <a:lnTo>
                  <a:pt x="4532" y="2128"/>
                </a:lnTo>
                <a:lnTo>
                  <a:pt x="4523" y="2127"/>
                </a:lnTo>
                <a:lnTo>
                  <a:pt x="4516" y="2126"/>
                </a:lnTo>
                <a:lnTo>
                  <a:pt x="4509" y="2124"/>
                </a:lnTo>
                <a:lnTo>
                  <a:pt x="4502" y="2121"/>
                </a:lnTo>
                <a:lnTo>
                  <a:pt x="4488" y="2116"/>
                </a:lnTo>
                <a:lnTo>
                  <a:pt x="4475" y="2108"/>
                </a:lnTo>
                <a:lnTo>
                  <a:pt x="4468" y="2104"/>
                </a:lnTo>
                <a:lnTo>
                  <a:pt x="4462" y="2100"/>
                </a:lnTo>
                <a:lnTo>
                  <a:pt x="4456" y="2095"/>
                </a:lnTo>
                <a:lnTo>
                  <a:pt x="4450" y="2090"/>
                </a:lnTo>
                <a:lnTo>
                  <a:pt x="4445" y="2084"/>
                </a:lnTo>
                <a:lnTo>
                  <a:pt x="4439" y="2078"/>
                </a:lnTo>
                <a:lnTo>
                  <a:pt x="4434" y="2072"/>
                </a:lnTo>
                <a:lnTo>
                  <a:pt x="4430" y="2065"/>
                </a:lnTo>
                <a:lnTo>
                  <a:pt x="4425" y="2058"/>
                </a:lnTo>
                <a:lnTo>
                  <a:pt x="4421" y="2051"/>
                </a:lnTo>
                <a:lnTo>
                  <a:pt x="4417" y="2044"/>
                </a:lnTo>
                <a:lnTo>
                  <a:pt x="4414" y="2037"/>
                </a:lnTo>
                <a:lnTo>
                  <a:pt x="4409" y="2029"/>
                </a:lnTo>
                <a:lnTo>
                  <a:pt x="4406" y="2022"/>
                </a:lnTo>
                <a:lnTo>
                  <a:pt x="4404" y="2014"/>
                </a:lnTo>
                <a:lnTo>
                  <a:pt x="4401" y="2005"/>
                </a:lnTo>
                <a:lnTo>
                  <a:pt x="4399" y="1996"/>
                </a:lnTo>
                <a:lnTo>
                  <a:pt x="4398" y="1988"/>
                </a:lnTo>
                <a:lnTo>
                  <a:pt x="4396" y="1979"/>
                </a:lnTo>
                <a:lnTo>
                  <a:pt x="4395" y="1970"/>
                </a:lnTo>
                <a:lnTo>
                  <a:pt x="4395" y="1961"/>
                </a:lnTo>
                <a:lnTo>
                  <a:pt x="4395" y="1952"/>
                </a:lnTo>
                <a:lnTo>
                  <a:pt x="4395" y="1932"/>
                </a:lnTo>
                <a:lnTo>
                  <a:pt x="4396" y="1923"/>
                </a:lnTo>
                <a:lnTo>
                  <a:pt x="4398" y="1914"/>
                </a:lnTo>
                <a:lnTo>
                  <a:pt x="4400" y="1905"/>
                </a:lnTo>
                <a:lnTo>
                  <a:pt x="4402" y="1896"/>
                </a:lnTo>
                <a:lnTo>
                  <a:pt x="4404" y="1886"/>
                </a:lnTo>
                <a:lnTo>
                  <a:pt x="4407" y="1878"/>
                </a:lnTo>
                <a:lnTo>
                  <a:pt x="4411" y="1869"/>
                </a:lnTo>
                <a:lnTo>
                  <a:pt x="4415" y="1861"/>
                </a:lnTo>
                <a:lnTo>
                  <a:pt x="4418" y="1853"/>
                </a:lnTo>
                <a:lnTo>
                  <a:pt x="4423" y="1845"/>
                </a:lnTo>
                <a:lnTo>
                  <a:pt x="4427" y="1838"/>
                </a:lnTo>
                <a:lnTo>
                  <a:pt x="4432" y="1829"/>
                </a:lnTo>
                <a:lnTo>
                  <a:pt x="4442" y="1815"/>
                </a:lnTo>
                <a:lnTo>
                  <a:pt x="4447" y="1809"/>
                </a:lnTo>
                <a:lnTo>
                  <a:pt x="4453" y="1803"/>
                </a:lnTo>
                <a:lnTo>
                  <a:pt x="4465" y="1791"/>
                </a:lnTo>
                <a:lnTo>
                  <a:pt x="4473" y="1786"/>
                </a:lnTo>
                <a:lnTo>
                  <a:pt x="4479" y="1781"/>
                </a:lnTo>
                <a:lnTo>
                  <a:pt x="4486" y="1777"/>
                </a:lnTo>
                <a:lnTo>
                  <a:pt x="4493" y="1773"/>
                </a:lnTo>
                <a:lnTo>
                  <a:pt x="4501" y="1768"/>
                </a:lnTo>
                <a:lnTo>
                  <a:pt x="4508" y="1765"/>
                </a:lnTo>
                <a:lnTo>
                  <a:pt x="4516" y="1762"/>
                </a:lnTo>
                <a:lnTo>
                  <a:pt x="4523" y="1760"/>
                </a:lnTo>
                <a:lnTo>
                  <a:pt x="4532" y="1758"/>
                </a:lnTo>
                <a:lnTo>
                  <a:pt x="4540" y="1757"/>
                </a:lnTo>
                <a:lnTo>
                  <a:pt x="4548" y="1756"/>
                </a:lnTo>
                <a:lnTo>
                  <a:pt x="4557" y="1756"/>
                </a:lnTo>
                <a:lnTo>
                  <a:pt x="4567" y="1756"/>
                </a:lnTo>
                <a:lnTo>
                  <a:pt x="4572" y="1757"/>
                </a:lnTo>
                <a:lnTo>
                  <a:pt x="4576" y="1758"/>
                </a:lnTo>
                <a:lnTo>
                  <a:pt x="4581" y="1759"/>
                </a:lnTo>
                <a:lnTo>
                  <a:pt x="4586" y="1760"/>
                </a:lnTo>
                <a:lnTo>
                  <a:pt x="4595" y="1763"/>
                </a:lnTo>
                <a:lnTo>
                  <a:pt x="4603" y="1767"/>
                </a:lnTo>
                <a:lnTo>
                  <a:pt x="4610" y="1773"/>
                </a:lnTo>
                <a:lnTo>
                  <a:pt x="4617" y="1778"/>
                </a:lnTo>
                <a:lnTo>
                  <a:pt x="4623" y="1784"/>
                </a:lnTo>
                <a:lnTo>
                  <a:pt x="4626" y="1787"/>
                </a:lnTo>
                <a:lnTo>
                  <a:pt x="4628" y="1791"/>
                </a:lnTo>
                <a:lnTo>
                  <a:pt x="4633" y="1798"/>
                </a:lnTo>
                <a:lnTo>
                  <a:pt x="4637" y="1806"/>
                </a:lnTo>
                <a:lnTo>
                  <a:pt x="4640" y="1814"/>
                </a:lnTo>
                <a:lnTo>
                  <a:pt x="4643" y="1823"/>
                </a:lnTo>
                <a:lnTo>
                  <a:pt x="4645" y="1833"/>
                </a:lnTo>
                <a:lnTo>
                  <a:pt x="4646" y="1842"/>
                </a:lnTo>
                <a:lnTo>
                  <a:pt x="4646" y="1852"/>
                </a:lnTo>
                <a:lnTo>
                  <a:pt x="4646" y="1865"/>
                </a:lnTo>
                <a:lnTo>
                  <a:pt x="4645" y="1871"/>
                </a:lnTo>
                <a:lnTo>
                  <a:pt x="4643" y="1877"/>
                </a:lnTo>
                <a:lnTo>
                  <a:pt x="4640" y="1889"/>
                </a:lnTo>
                <a:lnTo>
                  <a:pt x="4635" y="1902"/>
                </a:lnTo>
                <a:lnTo>
                  <a:pt x="4628" y="1913"/>
                </a:lnTo>
                <a:lnTo>
                  <a:pt x="4621" y="1923"/>
                </a:lnTo>
                <a:lnTo>
                  <a:pt x="4617" y="1928"/>
                </a:lnTo>
                <a:lnTo>
                  <a:pt x="4613" y="1933"/>
                </a:lnTo>
                <a:lnTo>
                  <a:pt x="4604" y="1943"/>
                </a:lnTo>
                <a:lnTo>
                  <a:pt x="4594" y="1952"/>
                </a:lnTo>
                <a:lnTo>
                  <a:pt x="4587" y="1956"/>
                </a:lnTo>
                <a:lnTo>
                  <a:pt x="4582" y="1960"/>
                </a:lnTo>
                <a:lnTo>
                  <a:pt x="4571" y="1966"/>
                </a:lnTo>
                <a:lnTo>
                  <a:pt x="4559" y="1972"/>
                </a:lnTo>
                <a:lnTo>
                  <a:pt x="4547" y="1976"/>
                </a:lnTo>
                <a:lnTo>
                  <a:pt x="4541" y="1978"/>
                </a:lnTo>
                <a:lnTo>
                  <a:pt x="4535" y="1980"/>
                </a:lnTo>
                <a:lnTo>
                  <a:pt x="4527" y="1981"/>
                </a:lnTo>
                <a:lnTo>
                  <a:pt x="4521" y="1982"/>
                </a:lnTo>
                <a:lnTo>
                  <a:pt x="4508" y="1982"/>
                </a:lnTo>
                <a:lnTo>
                  <a:pt x="4503" y="1982"/>
                </a:lnTo>
                <a:lnTo>
                  <a:pt x="4498" y="1980"/>
                </a:lnTo>
                <a:lnTo>
                  <a:pt x="4494" y="1977"/>
                </a:lnTo>
                <a:lnTo>
                  <a:pt x="4492" y="1975"/>
                </a:lnTo>
                <a:lnTo>
                  <a:pt x="4490" y="1973"/>
                </a:lnTo>
                <a:lnTo>
                  <a:pt x="4487" y="1969"/>
                </a:lnTo>
                <a:lnTo>
                  <a:pt x="4484" y="1963"/>
                </a:lnTo>
                <a:lnTo>
                  <a:pt x="4483" y="1961"/>
                </a:lnTo>
                <a:lnTo>
                  <a:pt x="4483" y="1958"/>
                </a:lnTo>
                <a:lnTo>
                  <a:pt x="4482" y="1950"/>
                </a:lnTo>
                <a:lnTo>
                  <a:pt x="4482" y="1947"/>
                </a:lnTo>
                <a:lnTo>
                  <a:pt x="4483" y="1945"/>
                </a:lnTo>
                <a:lnTo>
                  <a:pt x="4484" y="1940"/>
                </a:lnTo>
                <a:lnTo>
                  <a:pt x="4485" y="1938"/>
                </a:lnTo>
                <a:lnTo>
                  <a:pt x="4486" y="1936"/>
                </a:lnTo>
                <a:lnTo>
                  <a:pt x="4487" y="1934"/>
                </a:lnTo>
                <a:lnTo>
                  <a:pt x="4489" y="1933"/>
                </a:lnTo>
                <a:lnTo>
                  <a:pt x="4500" y="1931"/>
                </a:lnTo>
                <a:lnTo>
                  <a:pt x="4511" y="1928"/>
                </a:lnTo>
                <a:lnTo>
                  <a:pt x="4521" y="1925"/>
                </a:lnTo>
                <a:lnTo>
                  <a:pt x="4531" y="1921"/>
                </a:lnTo>
                <a:lnTo>
                  <a:pt x="4540" y="1917"/>
                </a:lnTo>
                <a:lnTo>
                  <a:pt x="4549" y="1911"/>
                </a:lnTo>
                <a:lnTo>
                  <a:pt x="4557" y="1906"/>
                </a:lnTo>
                <a:lnTo>
                  <a:pt x="4560" y="1903"/>
                </a:lnTo>
                <a:lnTo>
                  <a:pt x="4564" y="1900"/>
                </a:lnTo>
                <a:lnTo>
                  <a:pt x="4570" y="1894"/>
                </a:lnTo>
                <a:lnTo>
                  <a:pt x="4576" y="1886"/>
                </a:lnTo>
                <a:lnTo>
                  <a:pt x="4581" y="1880"/>
                </a:lnTo>
                <a:lnTo>
                  <a:pt x="4585" y="1873"/>
                </a:lnTo>
                <a:lnTo>
                  <a:pt x="4589" y="1866"/>
                </a:lnTo>
                <a:lnTo>
                  <a:pt x="4592" y="1859"/>
                </a:lnTo>
                <a:lnTo>
                  <a:pt x="4594" y="1852"/>
                </a:lnTo>
                <a:lnTo>
                  <a:pt x="4594" y="1845"/>
                </a:lnTo>
                <a:lnTo>
                  <a:pt x="4593" y="1837"/>
                </a:lnTo>
                <a:lnTo>
                  <a:pt x="4591" y="1828"/>
                </a:lnTo>
                <a:lnTo>
                  <a:pt x="4589" y="1825"/>
                </a:lnTo>
                <a:lnTo>
                  <a:pt x="4587" y="1822"/>
                </a:lnTo>
                <a:lnTo>
                  <a:pt x="4585" y="1819"/>
                </a:lnTo>
                <a:lnTo>
                  <a:pt x="4582" y="1817"/>
                </a:lnTo>
                <a:lnTo>
                  <a:pt x="4577" y="1812"/>
                </a:lnTo>
                <a:lnTo>
                  <a:pt x="4573" y="1811"/>
                </a:lnTo>
                <a:lnTo>
                  <a:pt x="4570" y="1809"/>
                </a:lnTo>
                <a:lnTo>
                  <a:pt x="4562" y="1807"/>
                </a:lnTo>
                <a:lnTo>
                  <a:pt x="4557" y="1807"/>
                </a:lnTo>
                <a:lnTo>
                  <a:pt x="4553" y="1807"/>
                </a:lnTo>
                <a:lnTo>
                  <a:pt x="4544" y="1807"/>
                </a:lnTo>
                <a:lnTo>
                  <a:pt x="4540" y="1808"/>
                </a:lnTo>
                <a:lnTo>
                  <a:pt x="4535" y="1810"/>
                </a:lnTo>
                <a:lnTo>
                  <a:pt x="4531" y="1811"/>
                </a:lnTo>
                <a:lnTo>
                  <a:pt x="4525" y="1813"/>
                </a:lnTo>
                <a:lnTo>
                  <a:pt x="4521" y="1815"/>
                </a:lnTo>
                <a:lnTo>
                  <a:pt x="4517" y="1818"/>
                </a:lnTo>
                <a:lnTo>
                  <a:pt x="4512" y="1821"/>
                </a:lnTo>
                <a:lnTo>
                  <a:pt x="4508" y="1824"/>
                </a:lnTo>
                <a:lnTo>
                  <a:pt x="4500" y="1832"/>
                </a:lnTo>
                <a:lnTo>
                  <a:pt x="4492" y="1840"/>
                </a:lnTo>
                <a:lnTo>
                  <a:pt x="4485" y="1849"/>
                </a:lnTo>
                <a:lnTo>
                  <a:pt x="4481" y="1854"/>
                </a:lnTo>
                <a:lnTo>
                  <a:pt x="4478" y="1859"/>
                </a:lnTo>
                <a:lnTo>
                  <a:pt x="4471" y="1870"/>
                </a:lnTo>
                <a:lnTo>
                  <a:pt x="4465" y="1881"/>
                </a:lnTo>
                <a:lnTo>
                  <a:pt x="4460" y="1894"/>
                </a:lnTo>
                <a:lnTo>
                  <a:pt x="4456" y="1907"/>
                </a:lnTo>
                <a:lnTo>
                  <a:pt x="4454" y="1920"/>
                </a:lnTo>
                <a:lnTo>
                  <a:pt x="4452" y="1934"/>
                </a:lnTo>
                <a:lnTo>
                  <a:pt x="4451" y="1941"/>
                </a:lnTo>
                <a:lnTo>
                  <a:pt x="4451" y="1948"/>
                </a:lnTo>
                <a:lnTo>
                  <a:pt x="4452" y="1962"/>
                </a:lnTo>
                <a:lnTo>
                  <a:pt x="4453" y="1974"/>
                </a:lnTo>
                <a:lnTo>
                  <a:pt x="4455" y="1986"/>
                </a:lnTo>
                <a:lnTo>
                  <a:pt x="4456" y="1991"/>
                </a:lnTo>
                <a:lnTo>
                  <a:pt x="4458" y="1997"/>
                </a:lnTo>
                <a:lnTo>
                  <a:pt x="4462" y="2007"/>
                </a:lnTo>
                <a:lnTo>
                  <a:pt x="4464" y="2013"/>
                </a:lnTo>
                <a:lnTo>
                  <a:pt x="4466" y="2018"/>
                </a:lnTo>
                <a:lnTo>
                  <a:pt x="4469" y="2023"/>
                </a:lnTo>
                <a:lnTo>
                  <a:pt x="4472" y="2027"/>
                </a:lnTo>
                <a:lnTo>
                  <a:pt x="4475" y="2031"/>
                </a:lnTo>
                <a:lnTo>
                  <a:pt x="4478" y="2035"/>
                </a:lnTo>
                <a:lnTo>
                  <a:pt x="4482" y="2039"/>
                </a:lnTo>
                <a:lnTo>
                  <a:pt x="4485" y="2043"/>
                </a:lnTo>
                <a:lnTo>
                  <a:pt x="4492" y="2050"/>
                </a:lnTo>
                <a:lnTo>
                  <a:pt x="4500" y="2055"/>
                </a:lnTo>
                <a:lnTo>
                  <a:pt x="4509" y="2060"/>
                </a:lnTo>
                <a:lnTo>
                  <a:pt x="4518" y="2064"/>
                </a:lnTo>
                <a:lnTo>
                  <a:pt x="4527" y="2067"/>
                </a:lnTo>
                <a:lnTo>
                  <a:pt x="4538" y="2068"/>
                </a:lnTo>
                <a:lnTo>
                  <a:pt x="4544" y="2069"/>
                </a:lnTo>
                <a:lnTo>
                  <a:pt x="4549" y="2069"/>
                </a:lnTo>
                <a:lnTo>
                  <a:pt x="4560" y="2068"/>
                </a:lnTo>
                <a:lnTo>
                  <a:pt x="4570" y="2067"/>
                </a:lnTo>
                <a:lnTo>
                  <a:pt x="4580" y="2064"/>
                </a:lnTo>
                <a:lnTo>
                  <a:pt x="4589" y="2061"/>
                </a:lnTo>
                <a:lnTo>
                  <a:pt x="4599" y="2057"/>
                </a:lnTo>
                <a:lnTo>
                  <a:pt x="4608" y="2052"/>
                </a:lnTo>
                <a:lnTo>
                  <a:pt x="4617" y="2046"/>
                </a:lnTo>
                <a:lnTo>
                  <a:pt x="4625" y="2039"/>
                </a:lnTo>
                <a:lnTo>
                  <a:pt x="4633" y="2032"/>
                </a:lnTo>
                <a:lnTo>
                  <a:pt x="4641" y="2024"/>
                </a:lnTo>
                <a:lnTo>
                  <a:pt x="4648" y="2016"/>
                </a:lnTo>
                <a:lnTo>
                  <a:pt x="4656" y="2006"/>
                </a:lnTo>
                <a:lnTo>
                  <a:pt x="4669" y="1986"/>
                </a:lnTo>
                <a:lnTo>
                  <a:pt x="4675" y="1976"/>
                </a:lnTo>
                <a:lnTo>
                  <a:pt x="4681" y="1965"/>
                </a:lnTo>
                <a:lnTo>
                  <a:pt x="4686" y="1954"/>
                </a:lnTo>
                <a:lnTo>
                  <a:pt x="4691" y="1942"/>
                </a:lnTo>
                <a:lnTo>
                  <a:pt x="4695" y="1930"/>
                </a:lnTo>
                <a:lnTo>
                  <a:pt x="4699" y="1919"/>
                </a:lnTo>
                <a:lnTo>
                  <a:pt x="4703" y="1907"/>
                </a:lnTo>
                <a:lnTo>
                  <a:pt x="4706" y="1895"/>
                </a:lnTo>
                <a:lnTo>
                  <a:pt x="4709" y="1882"/>
                </a:lnTo>
                <a:lnTo>
                  <a:pt x="4713" y="1870"/>
                </a:lnTo>
                <a:lnTo>
                  <a:pt x="4715" y="1858"/>
                </a:lnTo>
                <a:lnTo>
                  <a:pt x="4717" y="1846"/>
                </a:lnTo>
                <a:lnTo>
                  <a:pt x="4719" y="1834"/>
                </a:lnTo>
                <a:lnTo>
                  <a:pt x="4720" y="1822"/>
                </a:lnTo>
                <a:lnTo>
                  <a:pt x="4720" y="1810"/>
                </a:lnTo>
                <a:lnTo>
                  <a:pt x="4721" y="1799"/>
                </a:lnTo>
                <a:lnTo>
                  <a:pt x="4721" y="1788"/>
                </a:lnTo>
                <a:lnTo>
                  <a:pt x="4720" y="1778"/>
                </a:lnTo>
                <a:lnTo>
                  <a:pt x="4721" y="1776"/>
                </a:lnTo>
                <a:lnTo>
                  <a:pt x="4723" y="1773"/>
                </a:lnTo>
                <a:lnTo>
                  <a:pt x="4725" y="1770"/>
                </a:lnTo>
                <a:lnTo>
                  <a:pt x="4728" y="1769"/>
                </a:lnTo>
                <a:lnTo>
                  <a:pt x="4734" y="1766"/>
                </a:lnTo>
                <a:lnTo>
                  <a:pt x="4738" y="1765"/>
                </a:lnTo>
                <a:lnTo>
                  <a:pt x="4742" y="1765"/>
                </a:lnTo>
                <a:lnTo>
                  <a:pt x="4750" y="1765"/>
                </a:lnTo>
                <a:lnTo>
                  <a:pt x="4753" y="1766"/>
                </a:lnTo>
                <a:lnTo>
                  <a:pt x="4756" y="1767"/>
                </a:lnTo>
                <a:lnTo>
                  <a:pt x="4762" y="1770"/>
                </a:lnTo>
                <a:lnTo>
                  <a:pt x="4764" y="1773"/>
                </a:lnTo>
                <a:lnTo>
                  <a:pt x="4767" y="1775"/>
                </a:lnTo>
                <a:lnTo>
                  <a:pt x="4772" y="1781"/>
                </a:lnTo>
                <a:lnTo>
                  <a:pt x="4773" y="1784"/>
                </a:lnTo>
                <a:lnTo>
                  <a:pt x="4775" y="1788"/>
                </a:lnTo>
                <a:lnTo>
                  <a:pt x="4776" y="1793"/>
                </a:lnTo>
                <a:lnTo>
                  <a:pt x="4777" y="1797"/>
                </a:lnTo>
                <a:lnTo>
                  <a:pt x="4777" y="1803"/>
                </a:lnTo>
                <a:lnTo>
                  <a:pt x="4777" y="1809"/>
                </a:lnTo>
                <a:lnTo>
                  <a:pt x="4777" y="1824"/>
                </a:lnTo>
                <a:lnTo>
                  <a:pt x="4776" y="1841"/>
                </a:lnTo>
                <a:lnTo>
                  <a:pt x="4774" y="1856"/>
                </a:lnTo>
                <a:lnTo>
                  <a:pt x="4772" y="1871"/>
                </a:lnTo>
                <a:lnTo>
                  <a:pt x="4769" y="1886"/>
                </a:lnTo>
                <a:lnTo>
                  <a:pt x="4766" y="1902"/>
                </a:lnTo>
                <a:lnTo>
                  <a:pt x="4762" y="1916"/>
                </a:lnTo>
                <a:lnTo>
                  <a:pt x="4758" y="1930"/>
                </a:lnTo>
                <a:lnTo>
                  <a:pt x="4754" y="1944"/>
                </a:lnTo>
                <a:lnTo>
                  <a:pt x="4749" y="1959"/>
                </a:lnTo>
                <a:lnTo>
                  <a:pt x="4744" y="1972"/>
                </a:lnTo>
                <a:lnTo>
                  <a:pt x="4738" y="1985"/>
                </a:lnTo>
                <a:lnTo>
                  <a:pt x="4732" y="1997"/>
                </a:lnTo>
                <a:lnTo>
                  <a:pt x="4726" y="2009"/>
                </a:lnTo>
                <a:lnTo>
                  <a:pt x="4719" y="2022"/>
                </a:lnTo>
                <a:lnTo>
                  <a:pt x="4711" y="2033"/>
                </a:lnTo>
                <a:lnTo>
                  <a:pt x="4703" y="2043"/>
                </a:lnTo>
                <a:lnTo>
                  <a:pt x="4695" y="2054"/>
                </a:lnTo>
                <a:lnTo>
                  <a:pt x="4686" y="2063"/>
                </a:lnTo>
                <a:lnTo>
                  <a:pt x="4678" y="2073"/>
                </a:lnTo>
                <a:lnTo>
                  <a:pt x="4668" y="2082"/>
                </a:lnTo>
                <a:lnTo>
                  <a:pt x="4659" y="2090"/>
                </a:lnTo>
                <a:lnTo>
                  <a:pt x="4648" y="2097"/>
                </a:lnTo>
                <a:lnTo>
                  <a:pt x="4638" y="2103"/>
                </a:lnTo>
                <a:lnTo>
                  <a:pt x="4628" y="2109"/>
                </a:lnTo>
                <a:lnTo>
                  <a:pt x="4617" y="2114"/>
                </a:lnTo>
                <a:lnTo>
                  <a:pt x="4606" y="2119"/>
                </a:lnTo>
                <a:lnTo>
                  <a:pt x="4595" y="2122"/>
                </a:lnTo>
                <a:lnTo>
                  <a:pt x="4583" y="2125"/>
                </a:lnTo>
                <a:lnTo>
                  <a:pt x="4571" y="2127"/>
                </a:lnTo>
                <a:lnTo>
                  <a:pt x="4559" y="2129"/>
                </a:lnTo>
                <a:lnTo>
                  <a:pt x="4547" y="2129"/>
                </a:lnTo>
                <a:close/>
                <a:moveTo>
                  <a:pt x="4934" y="2123"/>
                </a:moveTo>
                <a:lnTo>
                  <a:pt x="4932" y="2123"/>
                </a:lnTo>
                <a:lnTo>
                  <a:pt x="4930" y="2123"/>
                </a:lnTo>
                <a:lnTo>
                  <a:pt x="4925" y="2120"/>
                </a:lnTo>
                <a:lnTo>
                  <a:pt x="4918" y="2116"/>
                </a:lnTo>
                <a:lnTo>
                  <a:pt x="4911" y="2110"/>
                </a:lnTo>
                <a:lnTo>
                  <a:pt x="4898" y="2099"/>
                </a:lnTo>
                <a:lnTo>
                  <a:pt x="4882" y="2085"/>
                </a:lnTo>
                <a:lnTo>
                  <a:pt x="4866" y="2068"/>
                </a:lnTo>
                <a:lnTo>
                  <a:pt x="4849" y="2051"/>
                </a:lnTo>
                <a:lnTo>
                  <a:pt x="4833" y="2034"/>
                </a:lnTo>
                <a:lnTo>
                  <a:pt x="4818" y="2018"/>
                </a:lnTo>
                <a:lnTo>
                  <a:pt x="4807" y="2003"/>
                </a:lnTo>
                <a:lnTo>
                  <a:pt x="4802" y="1997"/>
                </a:lnTo>
                <a:lnTo>
                  <a:pt x="4799" y="1991"/>
                </a:lnTo>
                <a:lnTo>
                  <a:pt x="4794" y="1981"/>
                </a:lnTo>
                <a:lnTo>
                  <a:pt x="4790" y="1971"/>
                </a:lnTo>
                <a:lnTo>
                  <a:pt x="4788" y="1962"/>
                </a:lnTo>
                <a:lnTo>
                  <a:pt x="4787" y="1952"/>
                </a:lnTo>
                <a:lnTo>
                  <a:pt x="4787" y="1945"/>
                </a:lnTo>
                <a:lnTo>
                  <a:pt x="4788" y="1940"/>
                </a:lnTo>
                <a:lnTo>
                  <a:pt x="4789" y="1934"/>
                </a:lnTo>
                <a:lnTo>
                  <a:pt x="4791" y="1928"/>
                </a:lnTo>
                <a:lnTo>
                  <a:pt x="4794" y="1922"/>
                </a:lnTo>
                <a:lnTo>
                  <a:pt x="4797" y="1915"/>
                </a:lnTo>
                <a:lnTo>
                  <a:pt x="4801" y="1909"/>
                </a:lnTo>
                <a:lnTo>
                  <a:pt x="4805" y="1902"/>
                </a:lnTo>
                <a:lnTo>
                  <a:pt x="4814" y="1890"/>
                </a:lnTo>
                <a:lnTo>
                  <a:pt x="4825" y="1876"/>
                </a:lnTo>
                <a:lnTo>
                  <a:pt x="4855" y="1842"/>
                </a:lnTo>
                <a:lnTo>
                  <a:pt x="4891" y="1802"/>
                </a:lnTo>
                <a:lnTo>
                  <a:pt x="4926" y="1761"/>
                </a:lnTo>
                <a:lnTo>
                  <a:pt x="4927" y="1761"/>
                </a:lnTo>
                <a:lnTo>
                  <a:pt x="4931" y="1760"/>
                </a:lnTo>
                <a:lnTo>
                  <a:pt x="4934" y="1761"/>
                </a:lnTo>
                <a:lnTo>
                  <a:pt x="4938" y="1762"/>
                </a:lnTo>
                <a:lnTo>
                  <a:pt x="4943" y="1764"/>
                </a:lnTo>
                <a:lnTo>
                  <a:pt x="4947" y="1766"/>
                </a:lnTo>
                <a:lnTo>
                  <a:pt x="4952" y="1769"/>
                </a:lnTo>
                <a:lnTo>
                  <a:pt x="4956" y="1774"/>
                </a:lnTo>
                <a:lnTo>
                  <a:pt x="4960" y="1778"/>
                </a:lnTo>
                <a:lnTo>
                  <a:pt x="4962" y="1783"/>
                </a:lnTo>
                <a:lnTo>
                  <a:pt x="4964" y="1788"/>
                </a:lnTo>
                <a:lnTo>
                  <a:pt x="4964" y="1793"/>
                </a:lnTo>
                <a:lnTo>
                  <a:pt x="4964" y="1798"/>
                </a:lnTo>
                <a:lnTo>
                  <a:pt x="4962" y="1803"/>
                </a:lnTo>
                <a:lnTo>
                  <a:pt x="4959" y="1809"/>
                </a:lnTo>
                <a:lnTo>
                  <a:pt x="4955" y="1815"/>
                </a:lnTo>
                <a:lnTo>
                  <a:pt x="4946" y="1825"/>
                </a:lnTo>
                <a:lnTo>
                  <a:pt x="4934" y="1840"/>
                </a:lnTo>
                <a:lnTo>
                  <a:pt x="4905" y="1873"/>
                </a:lnTo>
                <a:lnTo>
                  <a:pt x="4875" y="1907"/>
                </a:lnTo>
                <a:lnTo>
                  <a:pt x="4863" y="1921"/>
                </a:lnTo>
                <a:lnTo>
                  <a:pt x="4854" y="1933"/>
                </a:lnTo>
                <a:lnTo>
                  <a:pt x="4851" y="1937"/>
                </a:lnTo>
                <a:lnTo>
                  <a:pt x="4849" y="1940"/>
                </a:lnTo>
                <a:lnTo>
                  <a:pt x="4848" y="1944"/>
                </a:lnTo>
                <a:lnTo>
                  <a:pt x="4848" y="1948"/>
                </a:lnTo>
                <a:lnTo>
                  <a:pt x="4848" y="1953"/>
                </a:lnTo>
                <a:lnTo>
                  <a:pt x="4850" y="1957"/>
                </a:lnTo>
                <a:lnTo>
                  <a:pt x="4852" y="1962"/>
                </a:lnTo>
                <a:lnTo>
                  <a:pt x="4855" y="1967"/>
                </a:lnTo>
                <a:lnTo>
                  <a:pt x="4862" y="1976"/>
                </a:lnTo>
                <a:lnTo>
                  <a:pt x="4873" y="1987"/>
                </a:lnTo>
                <a:lnTo>
                  <a:pt x="4901" y="2017"/>
                </a:lnTo>
                <a:lnTo>
                  <a:pt x="4933" y="2050"/>
                </a:lnTo>
                <a:lnTo>
                  <a:pt x="4965" y="2081"/>
                </a:lnTo>
                <a:lnTo>
                  <a:pt x="4967" y="2083"/>
                </a:lnTo>
                <a:lnTo>
                  <a:pt x="4968" y="2085"/>
                </a:lnTo>
                <a:lnTo>
                  <a:pt x="4969" y="2087"/>
                </a:lnTo>
                <a:lnTo>
                  <a:pt x="4969" y="2090"/>
                </a:lnTo>
                <a:lnTo>
                  <a:pt x="4968" y="2095"/>
                </a:lnTo>
                <a:lnTo>
                  <a:pt x="4967" y="2098"/>
                </a:lnTo>
                <a:lnTo>
                  <a:pt x="4966" y="2101"/>
                </a:lnTo>
                <a:lnTo>
                  <a:pt x="4962" y="2107"/>
                </a:lnTo>
                <a:lnTo>
                  <a:pt x="4960" y="2109"/>
                </a:lnTo>
                <a:lnTo>
                  <a:pt x="4958" y="2112"/>
                </a:lnTo>
                <a:lnTo>
                  <a:pt x="4953" y="2116"/>
                </a:lnTo>
                <a:lnTo>
                  <a:pt x="4949" y="2118"/>
                </a:lnTo>
                <a:lnTo>
                  <a:pt x="4946" y="2120"/>
                </a:lnTo>
                <a:lnTo>
                  <a:pt x="4940" y="2123"/>
                </a:lnTo>
                <a:lnTo>
                  <a:pt x="4937" y="2123"/>
                </a:lnTo>
                <a:lnTo>
                  <a:pt x="4934" y="2123"/>
                </a:lnTo>
                <a:close/>
                <a:moveTo>
                  <a:pt x="4547" y="3095"/>
                </a:moveTo>
                <a:lnTo>
                  <a:pt x="4539" y="3094"/>
                </a:lnTo>
                <a:lnTo>
                  <a:pt x="4532" y="3094"/>
                </a:lnTo>
                <a:lnTo>
                  <a:pt x="4523" y="3093"/>
                </a:lnTo>
                <a:lnTo>
                  <a:pt x="4516" y="3090"/>
                </a:lnTo>
                <a:lnTo>
                  <a:pt x="4509" y="3088"/>
                </a:lnTo>
                <a:lnTo>
                  <a:pt x="4502" y="3086"/>
                </a:lnTo>
                <a:lnTo>
                  <a:pt x="4488" y="3080"/>
                </a:lnTo>
                <a:lnTo>
                  <a:pt x="4475" y="3073"/>
                </a:lnTo>
                <a:lnTo>
                  <a:pt x="4468" y="3069"/>
                </a:lnTo>
                <a:lnTo>
                  <a:pt x="4462" y="3064"/>
                </a:lnTo>
                <a:lnTo>
                  <a:pt x="4456" y="3059"/>
                </a:lnTo>
                <a:lnTo>
                  <a:pt x="4450" y="3054"/>
                </a:lnTo>
                <a:lnTo>
                  <a:pt x="4445" y="3049"/>
                </a:lnTo>
                <a:lnTo>
                  <a:pt x="4439" y="3043"/>
                </a:lnTo>
                <a:lnTo>
                  <a:pt x="4434" y="3037"/>
                </a:lnTo>
                <a:lnTo>
                  <a:pt x="4430" y="3029"/>
                </a:lnTo>
                <a:lnTo>
                  <a:pt x="4425" y="3023"/>
                </a:lnTo>
                <a:lnTo>
                  <a:pt x="4421" y="3016"/>
                </a:lnTo>
                <a:lnTo>
                  <a:pt x="4417" y="3009"/>
                </a:lnTo>
                <a:lnTo>
                  <a:pt x="4414" y="3001"/>
                </a:lnTo>
                <a:lnTo>
                  <a:pt x="4409" y="2994"/>
                </a:lnTo>
                <a:lnTo>
                  <a:pt x="4406" y="2986"/>
                </a:lnTo>
                <a:lnTo>
                  <a:pt x="4404" y="2978"/>
                </a:lnTo>
                <a:lnTo>
                  <a:pt x="4401" y="2969"/>
                </a:lnTo>
                <a:lnTo>
                  <a:pt x="4399" y="2961"/>
                </a:lnTo>
                <a:lnTo>
                  <a:pt x="4398" y="2952"/>
                </a:lnTo>
                <a:lnTo>
                  <a:pt x="4396" y="2943"/>
                </a:lnTo>
                <a:lnTo>
                  <a:pt x="4395" y="2934"/>
                </a:lnTo>
                <a:lnTo>
                  <a:pt x="4395" y="2925"/>
                </a:lnTo>
                <a:lnTo>
                  <a:pt x="4395" y="2916"/>
                </a:lnTo>
                <a:lnTo>
                  <a:pt x="4395" y="2897"/>
                </a:lnTo>
                <a:lnTo>
                  <a:pt x="4396" y="2887"/>
                </a:lnTo>
                <a:lnTo>
                  <a:pt x="4398" y="2878"/>
                </a:lnTo>
                <a:lnTo>
                  <a:pt x="4400" y="2869"/>
                </a:lnTo>
                <a:lnTo>
                  <a:pt x="4402" y="2860"/>
                </a:lnTo>
                <a:lnTo>
                  <a:pt x="4404" y="2852"/>
                </a:lnTo>
                <a:lnTo>
                  <a:pt x="4407" y="2842"/>
                </a:lnTo>
                <a:lnTo>
                  <a:pt x="4411" y="2834"/>
                </a:lnTo>
                <a:lnTo>
                  <a:pt x="4415" y="2825"/>
                </a:lnTo>
                <a:lnTo>
                  <a:pt x="4418" y="2817"/>
                </a:lnTo>
                <a:lnTo>
                  <a:pt x="4423" y="2810"/>
                </a:lnTo>
                <a:lnTo>
                  <a:pt x="4427" y="2802"/>
                </a:lnTo>
                <a:lnTo>
                  <a:pt x="4432" y="2795"/>
                </a:lnTo>
                <a:lnTo>
                  <a:pt x="4442" y="2780"/>
                </a:lnTo>
                <a:lnTo>
                  <a:pt x="4447" y="2773"/>
                </a:lnTo>
                <a:lnTo>
                  <a:pt x="4453" y="2767"/>
                </a:lnTo>
                <a:lnTo>
                  <a:pt x="4465" y="2756"/>
                </a:lnTo>
                <a:lnTo>
                  <a:pt x="4473" y="2751"/>
                </a:lnTo>
                <a:lnTo>
                  <a:pt x="4479" y="2746"/>
                </a:lnTo>
                <a:lnTo>
                  <a:pt x="4486" y="2741"/>
                </a:lnTo>
                <a:lnTo>
                  <a:pt x="4493" y="2737"/>
                </a:lnTo>
                <a:lnTo>
                  <a:pt x="4501" y="2734"/>
                </a:lnTo>
                <a:lnTo>
                  <a:pt x="4508" y="2730"/>
                </a:lnTo>
                <a:lnTo>
                  <a:pt x="4516" y="2727"/>
                </a:lnTo>
                <a:lnTo>
                  <a:pt x="4523" y="2725"/>
                </a:lnTo>
                <a:lnTo>
                  <a:pt x="4532" y="2723"/>
                </a:lnTo>
                <a:lnTo>
                  <a:pt x="4540" y="2721"/>
                </a:lnTo>
                <a:lnTo>
                  <a:pt x="4548" y="2721"/>
                </a:lnTo>
                <a:lnTo>
                  <a:pt x="4557" y="2720"/>
                </a:lnTo>
                <a:lnTo>
                  <a:pt x="4567" y="2721"/>
                </a:lnTo>
                <a:lnTo>
                  <a:pt x="4572" y="2721"/>
                </a:lnTo>
                <a:lnTo>
                  <a:pt x="4576" y="2722"/>
                </a:lnTo>
                <a:lnTo>
                  <a:pt x="4581" y="2723"/>
                </a:lnTo>
                <a:lnTo>
                  <a:pt x="4586" y="2725"/>
                </a:lnTo>
                <a:lnTo>
                  <a:pt x="4595" y="2728"/>
                </a:lnTo>
                <a:lnTo>
                  <a:pt x="4603" y="2733"/>
                </a:lnTo>
                <a:lnTo>
                  <a:pt x="4610" y="2737"/>
                </a:lnTo>
                <a:lnTo>
                  <a:pt x="4617" y="2743"/>
                </a:lnTo>
                <a:lnTo>
                  <a:pt x="4623" y="2749"/>
                </a:lnTo>
                <a:lnTo>
                  <a:pt x="4626" y="2752"/>
                </a:lnTo>
                <a:lnTo>
                  <a:pt x="4628" y="2755"/>
                </a:lnTo>
                <a:lnTo>
                  <a:pt x="4633" y="2762"/>
                </a:lnTo>
                <a:lnTo>
                  <a:pt x="4637" y="2770"/>
                </a:lnTo>
                <a:lnTo>
                  <a:pt x="4640" y="2778"/>
                </a:lnTo>
                <a:lnTo>
                  <a:pt x="4643" y="2787"/>
                </a:lnTo>
                <a:lnTo>
                  <a:pt x="4645" y="2797"/>
                </a:lnTo>
                <a:lnTo>
                  <a:pt x="4646" y="2807"/>
                </a:lnTo>
                <a:lnTo>
                  <a:pt x="4646" y="2817"/>
                </a:lnTo>
                <a:lnTo>
                  <a:pt x="4646" y="2829"/>
                </a:lnTo>
                <a:lnTo>
                  <a:pt x="4645" y="2835"/>
                </a:lnTo>
                <a:lnTo>
                  <a:pt x="4643" y="2842"/>
                </a:lnTo>
                <a:lnTo>
                  <a:pt x="4640" y="2854"/>
                </a:lnTo>
                <a:lnTo>
                  <a:pt x="4635" y="2866"/>
                </a:lnTo>
                <a:lnTo>
                  <a:pt x="4628" y="2877"/>
                </a:lnTo>
                <a:lnTo>
                  <a:pt x="4621" y="2888"/>
                </a:lnTo>
                <a:lnTo>
                  <a:pt x="4617" y="2893"/>
                </a:lnTo>
                <a:lnTo>
                  <a:pt x="4613" y="2898"/>
                </a:lnTo>
                <a:lnTo>
                  <a:pt x="4604" y="2907"/>
                </a:lnTo>
                <a:lnTo>
                  <a:pt x="4594" y="2916"/>
                </a:lnTo>
                <a:lnTo>
                  <a:pt x="4587" y="2920"/>
                </a:lnTo>
                <a:lnTo>
                  <a:pt x="4582" y="2924"/>
                </a:lnTo>
                <a:lnTo>
                  <a:pt x="4571" y="2931"/>
                </a:lnTo>
                <a:lnTo>
                  <a:pt x="4559" y="2936"/>
                </a:lnTo>
                <a:lnTo>
                  <a:pt x="4547" y="2941"/>
                </a:lnTo>
                <a:lnTo>
                  <a:pt x="4541" y="2943"/>
                </a:lnTo>
                <a:lnTo>
                  <a:pt x="4535" y="2944"/>
                </a:lnTo>
                <a:lnTo>
                  <a:pt x="4527" y="2945"/>
                </a:lnTo>
                <a:lnTo>
                  <a:pt x="4521" y="2946"/>
                </a:lnTo>
                <a:lnTo>
                  <a:pt x="4508" y="2947"/>
                </a:lnTo>
                <a:lnTo>
                  <a:pt x="4503" y="2946"/>
                </a:lnTo>
                <a:lnTo>
                  <a:pt x="4498" y="2944"/>
                </a:lnTo>
                <a:lnTo>
                  <a:pt x="4494" y="2942"/>
                </a:lnTo>
                <a:lnTo>
                  <a:pt x="4492" y="2940"/>
                </a:lnTo>
                <a:lnTo>
                  <a:pt x="4490" y="2938"/>
                </a:lnTo>
                <a:lnTo>
                  <a:pt x="4487" y="2933"/>
                </a:lnTo>
                <a:lnTo>
                  <a:pt x="4484" y="2928"/>
                </a:lnTo>
                <a:lnTo>
                  <a:pt x="4483" y="2925"/>
                </a:lnTo>
                <a:lnTo>
                  <a:pt x="4483" y="2922"/>
                </a:lnTo>
                <a:lnTo>
                  <a:pt x="4482" y="2916"/>
                </a:lnTo>
                <a:lnTo>
                  <a:pt x="4482" y="2913"/>
                </a:lnTo>
                <a:lnTo>
                  <a:pt x="4483" y="2909"/>
                </a:lnTo>
                <a:lnTo>
                  <a:pt x="4484" y="2904"/>
                </a:lnTo>
                <a:lnTo>
                  <a:pt x="4485" y="2902"/>
                </a:lnTo>
                <a:lnTo>
                  <a:pt x="4486" y="2900"/>
                </a:lnTo>
                <a:lnTo>
                  <a:pt x="4487" y="2899"/>
                </a:lnTo>
                <a:lnTo>
                  <a:pt x="4489" y="2897"/>
                </a:lnTo>
                <a:lnTo>
                  <a:pt x="4500" y="2896"/>
                </a:lnTo>
                <a:lnTo>
                  <a:pt x="4511" y="2893"/>
                </a:lnTo>
                <a:lnTo>
                  <a:pt x="4521" y="2890"/>
                </a:lnTo>
                <a:lnTo>
                  <a:pt x="4531" y="2886"/>
                </a:lnTo>
                <a:lnTo>
                  <a:pt x="4540" y="2881"/>
                </a:lnTo>
                <a:lnTo>
                  <a:pt x="4549" y="2876"/>
                </a:lnTo>
                <a:lnTo>
                  <a:pt x="4557" y="2870"/>
                </a:lnTo>
                <a:lnTo>
                  <a:pt x="4560" y="2868"/>
                </a:lnTo>
                <a:lnTo>
                  <a:pt x="4564" y="2865"/>
                </a:lnTo>
                <a:lnTo>
                  <a:pt x="4570" y="2858"/>
                </a:lnTo>
                <a:lnTo>
                  <a:pt x="4576" y="2852"/>
                </a:lnTo>
                <a:lnTo>
                  <a:pt x="4581" y="2844"/>
                </a:lnTo>
                <a:lnTo>
                  <a:pt x="4585" y="2837"/>
                </a:lnTo>
                <a:lnTo>
                  <a:pt x="4589" y="2830"/>
                </a:lnTo>
                <a:lnTo>
                  <a:pt x="4592" y="2823"/>
                </a:lnTo>
                <a:lnTo>
                  <a:pt x="4594" y="2816"/>
                </a:lnTo>
                <a:lnTo>
                  <a:pt x="4594" y="2809"/>
                </a:lnTo>
                <a:lnTo>
                  <a:pt x="4593" y="2801"/>
                </a:lnTo>
                <a:lnTo>
                  <a:pt x="4591" y="2794"/>
                </a:lnTo>
                <a:lnTo>
                  <a:pt x="4589" y="2789"/>
                </a:lnTo>
                <a:lnTo>
                  <a:pt x="4587" y="2786"/>
                </a:lnTo>
                <a:lnTo>
                  <a:pt x="4585" y="2784"/>
                </a:lnTo>
                <a:lnTo>
                  <a:pt x="4582" y="2781"/>
                </a:lnTo>
                <a:lnTo>
                  <a:pt x="4577" y="2777"/>
                </a:lnTo>
                <a:lnTo>
                  <a:pt x="4573" y="2775"/>
                </a:lnTo>
                <a:lnTo>
                  <a:pt x="4570" y="2774"/>
                </a:lnTo>
                <a:lnTo>
                  <a:pt x="4562" y="2772"/>
                </a:lnTo>
                <a:lnTo>
                  <a:pt x="4557" y="2771"/>
                </a:lnTo>
                <a:lnTo>
                  <a:pt x="4553" y="2771"/>
                </a:lnTo>
                <a:lnTo>
                  <a:pt x="4544" y="2772"/>
                </a:lnTo>
                <a:lnTo>
                  <a:pt x="4540" y="2773"/>
                </a:lnTo>
                <a:lnTo>
                  <a:pt x="4535" y="2774"/>
                </a:lnTo>
                <a:lnTo>
                  <a:pt x="4531" y="2776"/>
                </a:lnTo>
                <a:lnTo>
                  <a:pt x="4525" y="2777"/>
                </a:lnTo>
                <a:lnTo>
                  <a:pt x="4521" y="2780"/>
                </a:lnTo>
                <a:lnTo>
                  <a:pt x="4517" y="2782"/>
                </a:lnTo>
                <a:lnTo>
                  <a:pt x="4512" y="2785"/>
                </a:lnTo>
                <a:lnTo>
                  <a:pt x="4508" y="2788"/>
                </a:lnTo>
                <a:lnTo>
                  <a:pt x="4500" y="2796"/>
                </a:lnTo>
                <a:lnTo>
                  <a:pt x="4492" y="2804"/>
                </a:lnTo>
                <a:lnTo>
                  <a:pt x="4485" y="2813"/>
                </a:lnTo>
                <a:lnTo>
                  <a:pt x="4481" y="2818"/>
                </a:lnTo>
                <a:lnTo>
                  <a:pt x="4478" y="2823"/>
                </a:lnTo>
                <a:lnTo>
                  <a:pt x="4471" y="2834"/>
                </a:lnTo>
                <a:lnTo>
                  <a:pt x="4465" y="2845"/>
                </a:lnTo>
                <a:lnTo>
                  <a:pt x="4460" y="2859"/>
                </a:lnTo>
                <a:lnTo>
                  <a:pt x="4456" y="2871"/>
                </a:lnTo>
                <a:lnTo>
                  <a:pt x="4454" y="2885"/>
                </a:lnTo>
                <a:lnTo>
                  <a:pt x="4452" y="2899"/>
                </a:lnTo>
                <a:lnTo>
                  <a:pt x="4451" y="2906"/>
                </a:lnTo>
                <a:lnTo>
                  <a:pt x="4451" y="2914"/>
                </a:lnTo>
                <a:lnTo>
                  <a:pt x="4452" y="2926"/>
                </a:lnTo>
                <a:lnTo>
                  <a:pt x="4453" y="2939"/>
                </a:lnTo>
                <a:lnTo>
                  <a:pt x="4455" y="2950"/>
                </a:lnTo>
                <a:lnTo>
                  <a:pt x="4456" y="2956"/>
                </a:lnTo>
                <a:lnTo>
                  <a:pt x="4458" y="2961"/>
                </a:lnTo>
                <a:lnTo>
                  <a:pt x="4462" y="2973"/>
                </a:lnTo>
                <a:lnTo>
                  <a:pt x="4464" y="2978"/>
                </a:lnTo>
                <a:lnTo>
                  <a:pt x="4466" y="2983"/>
                </a:lnTo>
                <a:lnTo>
                  <a:pt x="4469" y="2987"/>
                </a:lnTo>
                <a:lnTo>
                  <a:pt x="4472" y="2992"/>
                </a:lnTo>
                <a:lnTo>
                  <a:pt x="4475" y="2996"/>
                </a:lnTo>
                <a:lnTo>
                  <a:pt x="4478" y="3000"/>
                </a:lnTo>
                <a:lnTo>
                  <a:pt x="4482" y="3004"/>
                </a:lnTo>
                <a:lnTo>
                  <a:pt x="4485" y="3007"/>
                </a:lnTo>
                <a:lnTo>
                  <a:pt x="4492" y="3014"/>
                </a:lnTo>
                <a:lnTo>
                  <a:pt x="4500" y="3020"/>
                </a:lnTo>
                <a:lnTo>
                  <a:pt x="4509" y="3025"/>
                </a:lnTo>
                <a:lnTo>
                  <a:pt x="4518" y="3028"/>
                </a:lnTo>
                <a:lnTo>
                  <a:pt x="4527" y="3032"/>
                </a:lnTo>
                <a:lnTo>
                  <a:pt x="4538" y="3034"/>
                </a:lnTo>
                <a:lnTo>
                  <a:pt x="4544" y="3034"/>
                </a:lnTo>
                <a:lnTo>
                  <a:pt x="4549" y="3034"/>
                </a:lnTo>
                <a:lnTo>
                  <a:pt x="4560" y="3034"/>
                </a:lnTo>
                <a:lnTo>
                  <a:pt x="4570" y="3032"/>
                </a:lnTo>
                <a:lnTo>
                  <a:pt x="4580" y="3029"/>
                </a:lnTo>
                <a:lnTo>
                  <a:pt x="4589" y="3026"/>
                </a:lnTo>
                <a:lnTo>
                  <a:pt x="4599" y="3021"/>
                </a:lnTo>
                <a:lnTo>
                  <a:pt x="4608" y="3016"/>
                </a:lnTo>
                <a:lnTo>
                  <a:pt x="4617" y="3010"/>
                </a:lnTo>
                <a:lnTo>
                  <a:pt x="4625" y="3004"/>
                </a:lnTo>
                <a:lnTo>
                  <a:pt x="4633" y="2997"/>
                </a:lnTo>
                <a:lnTo>
                  <a:pt x="4641" y="2989"/>
                </a:lnTo>
                <a:lnTo>
                  <a:pt x="4648" y="2980"/>
                </a:lnTo>
                <a:lnTo>
                  <a:pt x="4656" y="2970"/>
                </a:lnTo>
                <a:lnTo>
                  <a:pt x="4669" y="2951"/>
                </a:lnTo>
                <a:lnTo>
                  <a:pt x="4675" y="2941"/>
                </a:lnTo>
                <a:lnTo>
                  <a:pt x="4681" y="2930"/>
                </a:lnTo>
                <a:lnTo>
                  <a:pt x="4686" y="2919"/>
                </a:lnTo>
                <a:lnTo>
                  <a:pt x="4691" y="2906"/>
                </a:lnTo>
                <a:lnTo>
                  <a:pt x="4695" y="2895"/>
                </a:lnTo>
                <a:lnTo>
                  <a:pt x="4699" y="2883"/>
                </a:lnTo>
                <a:lnTo>
                  <a:pt x="4703" y="2871"/>
                </a:lnTo>
                <a:lnTo>
                  <a:pt x="4706" y="2859"/>
                </a:lnTo>
                <a:lnTo>
                  <a:pt x="4709" y="2846"/>
                </a:lnTo>
                <a:lnTo>
                  <a:pt x="4713" y="2834"/>
                </a:lnTo>
                <a:lnTo>
                  <a:pt x="4715" y="2822"/>
                </a:lnTo>
                <a:lnTo>
                  <a:pt x="4717" y="2810"/>
                </a:lnTo>
                <a:lnTo>
                  <a:pt x="4719" y="2799"/>
                </a:lnTo>
                <a:lnTo>
                  <a:pt x="4720" y="2786"/>
                </a:lnTo>
                <a:lnTo>
                  <a:pt x="4720" y="2775"/>
                </a:lnTo>
                <a:lnTo>
                  <a:pt x="4721" y="2764"/>
                </a:lnTo>
                <a:lnTo>
                  <a:pt x="4721" y="2753"/>
                </a:lnTo>
                <a:lnTo>
                  <a:pt x="4720" y="2742"/>
                </a:lnTo>
                <a:lnTo>
                  <a:pt x="4721" y="2740"/>
                </a:lnTo>
                <a:lnTo>
                  <a:pt x="4723" y="2738"/>
                </a:lnTo>
                <a:lnTo>
                  <a:pt x="4725" y="2736"/>
                </a:lnTo>
                <a:lnTo>
                  <a:pt x="4728" y="2734"/>
                </a:lnTo>
                <a:lnTo>
                  <a:pt x="4734" y="2730"/>
                </a:lnTo>
                <a:lnTo>
                  <a:pt x="4738" y="2730"/>
                </a:lnTo>
                <a:lnTo>
                  <a:pt x="4742" y="2729"/>
                </a:lnTo>
                <a:lnTo>
                  <a:pt x="4750" y="2730"/>
                </a:lnTo>
                <a:lnTo>
                  <a:pt x="4753" y="2732"/>
                </a:lnTo>
                <a:lnTo>
                  <a:pt x="4756" y="2732"/>
                </a:lnTo>
                <a:lnTo>
                  <a:pt x="4762" y="2735"/>
                </a:lnTo>
                <a:lnTo>
                  <a:pt x="4764" y="2737"/>
                </a:lnTo>
                <a:lnTo>
                  <a:pt x="4767" y="2740"/>
                </a:lnTo>
                <a:lnTo>
                  <a:pt x="4772" y="2745"/>
                </a:lnTo>
                <a:lnTo>
                  <a:pt x="4773" y="2749"/>
                </a:lnTo>
                <a:lnTo>
                  <a:pt x="4775" y="2753"/>
                </a:lnTo>
                <a:lnTo>
                  <a:pt x="4776" y="2757"/>
                </a:lnTo>
                <a:lnTo>
                  <a:pt x="4777" y="2762"/>
                </a:lnTo>
                <a:lnTo>
                  <a:pt x="4777" y="2767"/>
                </a:lnTo>
                <a:lnTo>
                  <a:pt x="4777" y="2773"/>
                </a:lnTo>
                <a:lnTo>
                  <a:pt x="4777" y="2789"/>
                </a:lnTo>
                <a:lnTo>
                  <a:pt x="4776" y="2805"/>
                </a:lnTo>
                <a:lnTo>
                  <a:pt x="4774" y="2820"/>
                </a:lnTo>
                <a:lnTo>
                  <a:pt x="4772" y="2835"/>
                </a:lnTo>
                <a:lnTo>
                  <a:pt x="4769" y="2850"/>
                </a:lnTo>
                <a:lnTo>
                  <a:pt x="4766" y="2866"/>
                </a:lnTo>
                <a:lnTo>
                  <a:pt x="4762" y="2880"/>
                </a:lnTo>
                <a:lnTo>
                  <a:pt x="4758" y="2895"/>
                </a:lnTo>
                <a:lnTo>
                  <a:pt x="4754" y="2908"/>
                </a:lnTo>
                <a:lnTo>
                  <a:pt x="4749" y="2923"/>
                </a:lnTo>
                <a:lnTo>
                  <a:pt x="4744" y="2936"/>
                </a:lnTo>
                <a:lnTo>
                  <a:pt x="4738" y="2949"/>
                </a:lnTo>
                <a:lnTo>
                  <a:pt x="4732" y="2961"/>
                </a:lnTo>
                <a:lnTo>
                  <a:pt x="4726" y="2975"/>
                </a:lnTo>
                <a:lnTo>
                  <a:pt x="4719" y="2986"/>
                </a:lnTo>
                <a:lnTo>
                  <a:pt x="4711" y="2997"/>
                </a:lnTo>
                <a:lnTo>
                  <a:pt x="4703" y="3008"/>
                </a:lnTo>
                <a:lnTo>
                  <a:pt x="4695" y="3018"/>
                </a:lnTo>
                <a:lnTo>
                  <a:pt x="4686" y="3028"/>
                </a:lnTo>
                <a:lnTo>
                  <a:pt x="4678" y="3038"/>
                </a:lnTo>
                <a:lnTo>
                  <a:pt x="4668" y="3046"/>
                </a:lnTo>
                <a:lnTo>
                  <a:pt x="4659" y="3054"/>
                </a:lnTo>
                <a:lnTo>
                  <a:pt x="4648" y="3061"/>
                </a:lnTo>
                <a:lnTo>
                  <a:pt x="4638" y="3068"/>
                </a:lnTo>
                <a:lnTo>
                  <a:pt x="4628" y="3074"/>
                </a:lnTo>
                <a:lnTo>
                  <a:pt x="4617" y="3079"/>
                </a:lnTo>
                <a:lnTo>
                  <a:pt x="4606" y="3083"/>
                </a:lnTo>
                <a:lnTo>
                  <a:pt x="4595" y="3087"/>
                </a:lnTo>
                <a:lnTo>
                  <a:pt x="4583" y="3090"/>
                </a:lnTo>
                <a:lnTo>
                  <a:pt x="4571" y="3093"/>
                </a:lnTo>
                <a:lnTo>
                  <a:pt x="4559" y="3094"/>
                </a:lnTo>
                <a:lnTo>
                  <a:pt x="4547" y="3095"/>
                </a:lnTo>
                <a:close/>
                <a:moveTo>
                  <a:pt x="4934" y="3088"/>
                </a:moveTo>
                <a:lnTo>
                  <a:pt x="4932" y="3088"/>
                </a:lnTo>
                <a:lnTo>
                  <a:pt x="4930" y="3087"/>
                </a:lnTo>
                <a:lnTo>
                  <a:pt x="4925" y="3084"/>
                </a:lnTo>
                <a:lnTo>
                  <a:pt x="4918" y="3080"/>
                </a:lnTo>
                <a:lnTo>
                  <a:pt x="4911" y="3075"/>
                </a:lnTo>
                <a:lnTo>
                  <a:pt x="4898" y="3064"/>
                </a:lnTo>
                <a:lnTo>
                  <a:pt x="4882" y="3050"/>
                </a:lnTo>
                <a:lnTo>
                  <a:pt x="4866" y="3034"/>
                </a:lnTo>
                <a:lnTo>
                  <a:pt x="4849" y="3016"/>
                </a:lnTo>
                <a:lnTo>
                  <a:pt x="4833" y="2999"/>
                </a:lnTo>
                <a:lnTo>
                  <a:pt x="4818" y="2983"/>
                </a:lnTo>
                <a:lnTo>
                  <a:pt x="4807" y="2967"/>
                </a:lnTo>
                <a:lnTo>
                  <a:pt x="4802" y="2961"/>
                </a:lnTo>
                <a:lnTo>
                  <a:pt x="4799" y="2956"/>
                </a:lnTo>
                <a:lnTo>
                  <a:pt x="4794" y="2946"/>
                </a:lnTo>
                <a:lnTo>
                  <a:pt x="4790" y="2936"/>
                </a:lnTo>
                <a:lnTo>
                  <a:pt x="4788" y="2926"/>
                </a:lnTo>
                <a:lnTo>
                  <a:pt x="4787" y="2916"/>
                </a:lnTo>
                <a:lnTo>
                  <a:pt x="4787" y="2910"/>
                </a:lnTo>
                <a:lnTo>
                  <a:pt x="4788" y="2904"/>
                </a:lnTo>
                <a:lnTo>
                  <a:pt x="4789" y="2898"/>
                </a:lnTo>
                <a:lnTo>
                  <a:pt x="4791" y="2892"/>
                </a:lnTo>
                <a:lnTo>
                  <a:pt x="4794" y="2886"/>
                </a:lnTo>
                <a:lnTo>
                  <a:pt x="4797" y="2880"/>
                </a:lnTo>
                <a:lnTo>
                  <a:pt x="4801" y="2873"/>
                </a:lnTo>
                <a:lnTo>
                  <a:pt x="4805" y="2866"/>
                </a:lnTo>
                <a:lnTo>
                  <a:pt x="4814" y="2855"/>
                </a:lnTo>
                <a:lnTo>
                  <a:pt x="4825" y="2841"/>
                </a:lnTo>
                <a:lnTo>
                  <a:pt x="4855" y="2807"/>
                </a:lnTo>
                <a:lnTo>
                  <a:pt x="4891" y="2767"/>
                </a:lnTo>
                <a:lnTo>
                  <a:pt x="4926" y="2726"/>
                </a:lnTo>
                <a:lnTo>
                  <a:pt x="4927" y="2725"/>
                </a:lnTo>
                <a:lnTo>
                  <a:pt x="4931" y="2725"/>
                </a:lnTo>
                <a:lnTo>
                  <a:pt x="4934" y="2725"/>
                </a:lnTo>
                <a:lnTo>
                  <a:pt x="4938" y="2726"/>
                </a:lnTo>
                <a:lnTo>
                  <a:pt x="4943" y="2728"/>
                </a:lnTo>
                <a:lnTo>
                  <a:pt x="4947" y="2732"/>
                </a:lnTo>
                <a:lnTo>
                  <a:pt x="4952" y="2735"/>
                </a:lnTo>
                <a:lnTo>
                  <a:pt x="4956" y="2739"/>
                </a:lnTo>
                <a:lnTo>
                  <a:pt x="4960" y="2743"/>
                </a:lnTo>
                <a:lnTo>
                  <a:pt x="4962" y="2748"/>
                </a:lnTo>
                <a:lnTo>
                  <a:pt x="4964" y="2752"/>
                </a:lnTo>
                <a:lnTo>
                  <a:pt x="4964" y="2757"/>
                </a:lnTo>
                <a:lnTo>
                  <a:pt x="4964" y="2762"/>
                </a:lnTo>
                <a:lnTo>
                  <a:pt x="4962" y="2768"/>
                </a:lnTo>
                <a:lnTo>
                  <a:pt x="4959" y="2773"/>
                </a:lnTo>
                <a:lnTo>
                  <a:pt x="4955" y="2779"/>
                </a:lnTo>
                <a:lnTo>
                  <a:pt x="4946" y="2790"/>
                </a:lnTo>
                <a:lnTo>
                  <a:pt x="4934" y="2804"/>
                </a:lnTo>
                <a:lnTo>
                  <a:pt x="4905" y="2837"/>
                </a:lnTo>
                <a:lnTo>
                  <a:pt x="4875" y="2871"/>
                </a:lnTo>
                <a:lnTo>
                  <a:pt x="4863" y="2886"/>
                </a:lnTo>
                <a:lnTo>
                  <a:pt x="4854" y="2897"/>
                </a:lnTo>
                <a:lnTo>
                  <a:pt x="4851" y="2901"/>
                </a:lnTo>
                <a:lnTo>
                  <a:pt x="4849" y="2905"/>
                </a:lnTo>
                <a:lnTo>
                  <a:pt x="4848" y="2908"/>
                </a:lnTo>
                <a:lnTo>
                  <a:pt x="4848" y="2913"/>
                </a:lnTo>
                <a:lnTo>
                  <a:pt x="4848" y="2917"/>
                </a:lnTo>
                <a:lnTo>
                  <a:pt x="4850" y="2922"/>
                </a:lnTo>
                <a:lnTo>
                  <a:pt x="4852" y="2926"/>
                </a:lnTo>
                <a:lnTo>
                  <a:pt x="4855" y="2931"/>
                </a:lnTo>
                <a:lnTo>
                  <a:pt x="4862" y="2940"/>
                </a:lnTo>
                <a:lnTo>
                  <a:pt x="4873" y="2952"/>
                </a:lnTo>
                <a:lnTo>
                  <a:pt x="4901" y="2982"/>
                </a:lnTo>
                <a:lnTo>
                  <a:pt x="4933" y="3014"/>
                </a:lnTo>
                <a:lnTo>
                  <a:pt x="4965" y="3045"/>
                </a:lnTo>
                <a:lnTo>
                  <a:pt x="4967" y="3047"/>
                </a:lnTo>
                <a:lnTo>
                  <a:pt x="4968" y="3049"/>
                </a:lnTo>
                <a:lnTo>
                  <a:pt x="4969" y="3051"/>
                </a:lnTo>
                <a:lnTo>
                  <a:pt x="4969" y="3054"/>
                </a:lnTo>
                <a:lnTo>
                  <a:pt x="4968" y="3060"/>
                </a:lnTo>
                <a:lnTo>
                  <a:pt x="4967" y="3062"/>
                </a:lnTo>
                <a:lnTo>
                  <a:pt x="4966" y="3065"/>
                </a:lnTo>
                <a:lnTo>
                  <a:pt x="4962" y="3071"/>
                </a:lnTo>
                <a:lnTo>
                  <a:pt x="4960" y="3074"/>
                </a:lnTo>
                <a:lnTo>
                  <a:pt x="4958" y="3076"/>
                </a:lnTo>
                <a:lnTo>
                  <a:pt x="4953" y="3081"/>
                </a:lnTo>
                <a:lnTo>
                  <a:pt x="4949" y="3083"/>
                </a:lnTo>
                <a:lnTo>
                  <a:pt x="4946" y="3085"/>
                </a:lnTo>
                <a:lnTo>
                  <a:pt x="4940" y="3087"/>
                </a:lnTo>
                <a:lnTo>
                  <a:pt x="4937" y="3088"/>
                </a:lnTo>
                <a:lnTo>
                  <a:pt x="4934" y="3088"/>
                </a:lnTo>
                <a:close/>
                <a:moveTo>
                  <a:pt x="1465" y="1136"/>
                </a:moveTo>
                <a:lnTo>
                  <a:pt x="1457" y="1136"/>
                </a:lnTo>
                <a:lnTo>
                  <a:pt x="1450" y="1135"/>
                </a:lnTo>
                <a:lnTo>
                  <a:pt x="1442" y="1134"/>
                </a:lnTo>
                <a:lnTo>
                  <a:pt x="1435" y="1132"/>
                </a:lnTo>
                <a:lnTo>
                  <a:pt x="1428" y="1131"/>
                </a:lnTo>
                <a:lnTo>
                  <a:pt x="1420" y="1128"/>
                </a:lnTo>
                <a:lnTo>
                  <a:pt x="1406" y="1122"/>
                </a:lnTo>
                <a:lnTo>
                  <a:pt x="1393" y="1115"/>
                </a:lnTo>
                <a:lnTo>
                  <a:pt x="1386" y="1110"/>
                </a:lnTo>
                <a:lnTo>
                  <a:pt x="1380" y="1105"/>
                </a:lnTo>
                <a:lnTo>
                  <a:pt x="1374" y="1101"/>
                </a:lnTo>
                <a:lnTo>
                  <a:pt x="1369" y="1095"/>
                </a:lnTo>
                <a:lnTo>
                  <a:pt x="1363" y="1090"/>
                </a:lnTo>
                <a:lnTo>
                  <a:pt x="1358" y="1084"/>
                </a:lnTo>
                <a:lnTo>
                  <a:pt x="1353" y="1078"/>
                </a:lnTo>
                <a:lnTo>
                  <a:pt x="1348" y="1072"/>
                </a:lnTo>
                <a:lnTo>
                  <a:pt x="1343" y="1065"/>
                </a:lnTo>
                <a:lnTo>
                  <a:pt x="1339" y="1058"/>
                </a:lnTo>
                <a:lnTo>
                  <a:pt x="1335" y="1050"/>
                </a:lnTo>
                <a:lnTo>
                  <a:pt x="1331" y="1043"/>
                </a:lnTo>
                <a:lnTo>
                  <a:pt x="1328" y="1035"/>
                </a:lnTo>
                <a:lnTo>
                  <a:pt x="1325" y="1027"/>
                </a:lnTo>
                <a:lnTo>
                  <a:pt x="1322" y="1020"/>
                </a:lnTo>
                <a:lnTo>
                  <a:pt x="1320" y="1011"/>
                </a:lnTo>
                <a:lnTo>
                  <a:pt x="1318" y="1003"/>
                </a:lnTo>
                <a:lnTo>
                  <a:pt x="1316" y="994"/>
                </a:lnTo>
                <a:lnTo>
                  <a:pt x="1315" y="985"/>
                </a:lnTo>
                <a:lnTo>
                  <a:pt x="1314" y="976"/>
                </a:lnTo>
                <a:lnTo>
                  <a:pt x="1314" y="967"/>
                </a:lnTo>
                <a:lnTo>
                  <a:pt x="1313" y="958"/>
                </a:lnTo>
                <a:lnTo>
                  <a:pt x="1314" y="939"/>
                </a:lnTo>
                <a:lnTo>
                  <a:pt x="1315" y="929"/>
                </a:lnTo>
                <a:lnTo>
                  <a:pt x="1317" y="920"/>
                </a:lnTo>
                <a:lnTo>
                  <a:pt x="1318" y="911"/>
                </a:lnTo>
                <a:lnTo>
                  <a:pt x="1320" y="902"/>
                </a:lnTo>
                <a:lnTo>
                  <a:pt x="1323" y="893"/>
                </a:lnTo>
                <a:lnTo>
                  <a:pt x="1326" y="884"/>
                </a:lnTo>
                <a:lnTo>
                  <a:pt x="1329" y="876"/>
                </a:lnTo>
                <a:lnTo>
                  <a:pt x="1332" y="867"/>
                </a:lnTo>
                <a:lnTo>
                  <a:pt x="1336" y="859"/>
                </a:lnTo>
                <a:lnTo>
                  <a:pt x="1340" y="851"/>
                </a:lnTo>
                <a:lnTo>
                  <a:pt x="1345" y="843"/>
                </a:lnTo>
                <a:lnTo>
                  <a:pt x="1349" y="836"/>
                </a:lnTo>
                <a:lnTo>
                  <a:pt x="1361" y="822"/>
                </a:lnTo>
                <a:lnTo>
                  <a:pt x="1366" y="816"/>
                </a:lnTo>
                <a:lnTo>
                  <a:pt x="1372" y="809"/>
                </a:lnTo>
                <a:lnTo>
                  <a:pt x="1384" y="797"/>
                </a:lnTo>
                <a:lnTo>
                  <a:pt x="1391" y="792"/>
                </a:lnTo>
                <a:lnTo>
                  <a:pt x="1397" y="787"/>
                </a:lnTo>
                <a:lnTo>
                  <a:pt x="1404" y="783"/>
                </a:lnTo>
                <a:lnTo>
                  <a:pt x="1412" y="779"/>
                </a:lnTo>
                <a:lnTo>
                  <a:pt x="1419" y="775"/>
                </a:lnTo>
                <a:lnTo>
                  <a:pt x="1427" y="772"/>
                </a:lnTo>
                <a:lnTo>
                  <a:pt x="1434" y="769"/>
                </a:lnTo>
                <a:lnTo>
                  <a:pt x="1442" y="767"/>
                </a:lnTo>
                <a:lnTo>
                  <a:pt x="1450" y="765"/>
                </a:lnTo>
                <a:lnTo>
                  <a:pt x="1458" y="764"/>
                </a:lnTo>
                <a:lnTo>
                  <a:pt x="1466" y="763"/>
                </a:lnTo>
                <a:lnTo>
                  <a:pt x="1475" y="763"/>
                </a:lnTo>
                <a:lnTo>
                  <a:pt x="1486" y="763"/>
                </a:lnTo>
                <a:lnTo>
                  <a:pt x="1490" y="764"/>
                </a:lnTo>
                <a:lnTo>
                  <a:pt x="1495" y="765"/>
                </a:lnTo>
                <a:lnTo>
                  <a:pt x="1500" y="766"/>
                </a:lnTo>
                <a:lnTo>
                  <a:pt x="1504" y="767"/>
                </a:lnTo>
                <a:lnTo>
                  <a:pt x="1513" y="770"/>
                </a:lnTo>
                <a:lnTo>
                  <a:pt x="1521" y="774"/>
                </a:lnTo>
                <a:lnTo>
                  <a:pt x="1528" y="779"/>
                </a:lnTo>
                <a:lnTo>
                  <a:pt x="1536" y="784"/>
                </a:lnTo>
                <a:lnTo>
                  <a:pt x="1542" y="790"/>
                </a:lnTo>
                <a:lnTo>
                  <a:pt x="1544" y="793"/>
                </a:lnTo>
                <a:lnTo>
                  <a:pt x="1547" y="797"/>
                </a:lnTo>
                <a:lnTo>
                  <a:pt x="1552" y="804"/>
                </a:lnTo>
                <a:lnTo>
                  <a:pt x="1556" y="813"/>
                </a:lnTo>
                <a:lnTo>
                  <a:pt x="1559" y="821"/>
                </a:lnTo>
                <a:lnTo>
                  <a:pt x="1562" y="830"/>
                </a:lnTo>
                <a:lnTo>
                  <a:pt x="1564" y="839"/>
                </a:lnTo>
                <a:lnTo>
                  <a:pt x="1565" y="848"/>
                </a:lnTo>
                <a:lnTo>
                  <a:pt x="1565" y="858"/>
                </a:lnTo>
                <a:lnTo>
                  <a:pt x="1564" y="872"/>
                </a:lnTo>
                <a:lnTo>
                  <a:pt x="1563" y="878"/>
                </a:lnTo>
                <a:lnTo>
                  <a:pt x="1562" y="884"/>
                </a:lnTo>
                <a:lnTo>
                  <a:pt x="1558" y="896"/>
                </a:lnTo>
                <a:lnTo>
                  <a:pt x="1553" y="907"/>
                </a:lnTo>
                <a:lnTo>
                  <a:pt x="1547" y="919"/>
                </a:lnTo>
                <a:lnTo>
                  <a:pt x="1540" y="929"/>
                </a:lnTo>
                <a:lnTo>
                  <a:pt x="1536" y="935"/>
                </a:lnTo>
                <a:lnTo>
                  <a:pt x="1532" y="940"/>
                </a:lnTo>
                <a:lnTo>
                  <a:pt x="1521" y="949"/>
                </a:lnTo>
                <a:lnTo>
                  <a:pt x="1511" y="958"/>
                </a:lnTo>
                <a:lnTo>
                  <a:pt x="1506" y="962"/>
                </a:lnTo>
                <a:lnTo>
                  <a:pt x="1501" y="965"/>
                </a:lnTo>
                <a:lnTo>
                  <a:pt x="1489" y="972"/>
                </a:lnTo>
                <a:lnTo>
                  <a:pt x="1478" y="978"/>
                </a:lnTo>
                <a:lnTo>
                  <a:pt x="1465" y="982"/>
                </a:lnTo>
                <a:lnTo>
                  <a:pt x="1458" y="984"/>
                </a:lnTo>
                <a:lnTo>
                  <a:pt x="1452" y="986"/>
                </a:lnTo>
                <a:lnTo>
                  <a:pt x="1446" y="987"/>
                </a:lnTo>
                <a:lnTo>
                  <a:pt x="1440" y="988"/>
                </a:lnTo>
                <a:lnTo>
                  <a:pt x="1427" y="988"/>
                </a:lnTo>
                <a:lnTo>
                  <a:pt x="1422" y="988"/>
                </a:lnTo>
                <a:lnTo>
                  <a:pt x="1417" y="986"/>
                </a:lnTo>
                <a:lnTo>
                  <a:pt x="1412" y="983"/>
                </a:lnTo>
                <a:lnTo>
                  <a:pt x="1409" y="981"/>
                </a:lnTo>
                <a:lnTo>
                  <a:pt x="1408" y="979"/>
                </a:lnTo>
                <a:lnTo>
                  <a:pt x="1404" y="974"/>
                </a:lnTo>
                <a:lnTo>
                  <a:pt x="1402" y="969"/>
                </a:lnTo>
                <a:lnTo>
                  <a:pt x="1401" y="966"/>
                </a:lnTo>
                <a:lnTo>
                  <a:pt x="1400" y="963"/>
                </a:lnTo>
                <a:lnTo>
                  <a:pt x="1400" y="957"/>
                </a:lnTo>
                <a:lnTo>
                  <a:pt x="1400" y="954"/>
                </a:lnTo>
                <a:lnTo>
                  <a:pt x="1400" y="951"/>
                </a:lnTo>
                <a:lnTo>
                  <a:pt x="1402" y="947"/>
                </a:lnTo>
                <a:lnTo>
                  <a:pt x="1403" y="944"/>
                </a:lnTo>
                <a:lnTo>
                  <a:pt x="1404" y="943"/>
                </a:lnTo>
                <a:lnTo>
                  <a:pt x="1405" y="941"/>
                </a:lnTo>
                <a:lnTo>
                  <a:pt x="1407" y="940"/>
                </a:lnTo>
                <a:lnTo>
                  <a:pt x="1419" y="938"/>
                </a:lnTo>
                <a:lnTo>
                  <a:pt x="1429" y="935"/>
                </a:lnTo>
                <a:lnTo>
                  <a:pt x="1440" y="932"/>
                </a:lnTo>
                <a:lnTo>
                  <a:pt x="1449" y="927"/>
                </a:lnTo>
                <a:lnTo>
                  <a:pt x="1458" y="922"/>
                </a:lnTo>
                <a:lnTo>
                  <a:pt x="1467" y="917"/>
                </a:lnTo>
                <a:lnTo>
                  <a:pt x="1475" y="912"/>
                </a:lnTo>
                <a:lnTo>
                  <a:pt x="1479" y="909"/>
                </a:lnTo>
                <a:lnTo>
                  <a:pt x="1483" y="906"/>
                </a:lnTo>
                <a:lnTo>
                  <a:pt x="1489" y="900"/>
                </a:lnTo>
                <a:lnTo>
                  <a:pt x="1495" y="893"/>
                </a:lnTo>
                <a:lnTo>
                  <a:pt x="1500" y="886"/>
                </a:lnTo>
                <a:lnTo>
                  <a:pt x="1504" y="880"/>
                </a:lnTo>
                <a:lnTo>
                  <a:pt x="1507" y="873"/>
                </a:lnTo>
                <a:lnTo>
                  <a:pt x="1510" y="865"/>
                </a:lnTo>
                <a:lnTo>
                  <a:pt x="1511" y="857"/>
                </a:lnTo>
                <a:lnTo>
                  <a:pt x="1512" y="850"/>
                </a:lnTo>
                <a:lnTo>
                  <a:pt x="1511" y="842"/>
                </a:lnTo>
                <a:lnTo>
                  <a:pt x="1509" y="835"/>
                </a:lnTo>
                <a:lnTo>
                  <a:pt x="1508" y="832"/>
                </a:lnTo>
                <a:lnTo>
                  <a:pt x="1506" y="829"/>
                </a:lnTo>
                <a:lnTo>
                  <a:pt x="1504" y="826"/>
                </a:lnTo>
                <a:lnTo>
                  <a:pt x="1501" y="823"/>
                </a:lnTo>
                <a:lnTo>
                  <a:pt x="1495" y="819"/>
                </a:lnTo>
                <a:lnTo>
                  <a:pt x="1492" y="817"/>
                </a:lnTo>
                <a:lnTo>
                  <a:pt x="1488" y="816"/>
                </a:lnTo>
                <a:lnTo>
                  <a:pt x="1480" y="814"/>
                </a:lnTo>
                <a:lnTo>
                  <a:pt x="1476" y="814"/>
                </a:lnTo>
                <a:lnTo>
                  <a:pt x="1472" y="814"/>
                </a:lnTo>
                <a:lnTo>
                  <a:pt x="1462" y="814"/>
                </a:lnTo>
                <a:lnTo>
                  <a:pt x="1457" y="815"/>
                </a:lnTo>
                <a:lnTo>
                  <a:pt x="1453" y="816"/>
                </a:lnTo>
                <a:lnTo>
                  <a:pt x="1448" y="818"/>
                </a:lnTo>
                <a:lnTo>
                  <a:pt x="1444" y="820"/>
                </a:lnTo>
                <a:lnTo>
                  <a:pt x="1440" y="822"/>
                </a:lnTo>
                <a:lnTo>
                  <a:pt x="1435" y="825"/>
                </a:lnTo>
                <a:lnTo>
                  <a:pt x="1431" y="827"/>
                </a:lnTo>
                <a:lnTo>
                  <a:pt x="1427" y="830"/>
                </a:lnTo>
                <a:lnTo>
                  <a:pt x="1419" y="838"/>
                </a:lnTo>
                <a:lnTo>
                  <a:pt x="1411" y="846"/>
                </a:lnTo>
                <a:lnTo>
                  <a:pt x="1402" y="855"/>
                </a:lnTo>
                <a:lnTo>
                  <a:pt x="1399" y="859"/>
                </a:lnTo>
                <a:lnTo>
                  <a:pt x="1395" y="865"/>
                </a:lnTo>
                <a:lnTo>
                  <a:pt x="1389" y="876"/>
                </a:lnTo>
                <a:lnTo>
                  <a:pt x="1384" y="888"/>
                </a:lnTo>
                <a:lnTo>
                  <a:pt x="1379" y="900"/>
                </a:lnTo>
                <a:lnTo>
                  <a:pt x="1375" y="913"/>
                </a:lnTo>
                <a:lnTo>
                  <a:pt x="1372" y="926"/>
                </a:lnTo>
                <a:lnTo>
                  <a:pt x="1371" y="941"/>
                </a:lnTo>
                <a:lnTo>
                  <a:pt x="1370" y="948"/>
                </a:lnTo>
                <a:lnTo>
                  <a:pt x="1370" y="955"/>
                </a:lnTo>
                <a:lnTo>
                  <a:pt x="1370" y="968"/>
                </a:lnTo>
                <a:lnTo>
                  <a:pt x="1372" y="980"/>
                </a:lnTo>
                <a:lnTo>
                  <a:pt x="1374" y="993"/>
                </a:lnTo>
                <a:lnTo>
                  <a:pt x="1375" y="998"/>
                </a:lnTo>
                <a:lnTo>
                  <a:pt x="1377" y="1004"/>
                </a:lnTo>
                <a:lnTo>
                  <a:pt x="1380" y="1014"/>
                </a:lnTo>
                <a:lnTo>
                  <a:pt x="1383" y="1019"/>
                </a:lnTo>
                <a:lnTo>
                  <a:pt x="1385" y="1024"/>
                </a:lnTo>
                <a:lnTo>
                  <a:pt x="1387" y="1029"/>
                </a:lnTo>
                <a:lnTo>
                  <a:pt x="1390" y="1033"/>
                </a:lnTo>
                <a:lnTo>
                  <a:pt x="1393" y="1037"/>
                </a:lnTo>
                <a:lnTo>
                  <a:pt x="1396" y="1041"/>
                </a:lnTo>
                <a:lnTo>
                  <a:pt x="1399" y="1045"/>
                </a:lnTo>
                <a:lnTo>
                  <a:pt x="1403" y="1049"/>
                </a:lnTo>
                <a:lnTo>
                  <a:pt x="1411" y="1056"/>
                </a:lnTo>
                <a:lnTo>
                  <a:pt x="1419" y="1062"/>
                </a:lnTo>
                <a:lnTo>
                  <a:pt x="1427" y="1067"/>
                </a:lnTo>
                <a:lnTo>
                  <a:pt x="1436" y="1071"/>
                </a:lnTo>
                <a:lnTo>
                  <a:pt x="1446" y="1073"/>
                </a:lnTo>
                <a:lnTo>
                  <a:pt x="1456" y="1075"/>
                </a:lnTo>
                <a:lnTo>
                  <a:pt x="1461" y="1076"/>
                </a:lnTo>
                <a:lnTo>
                  <a:pt x="1467" y="1076"/>
                </a:lnTo>
                <a:lnTo>
                  <a:pt x="1478" y="1075"/>
                </a:lnTo>
                <a:lnTo>
                  <a:pt x="1488" y="1074"/>
                </a:lnTo>
                <a:lnTo>
                  <a:pt x="1498" y="1071"/>
                </a:lnTo>
                <a:lnTo>
                  <a:pt x="1508" y="1068"/>
                </a:lnTo>
                <a:lnTo>
                  <a:pt x="1517" y="1064"/>
                </a:lnTo>
                <a:lnTo>
                  <a:pt x="1526" y="1059"/>
                </a:lnTo>
                <a:lnTo>
                  <a:pt x="1536" y="1053"/>
                </a:lnTo>
                <a:lnTo>
                  <a:pt x="1544" y="1045"/>
                </a:lnTo>
                <a:lnTo>
                  <a:pt x="1552" y="1038"/>
                </a:lnTo>
                <a:lnTo>
                  <a:pt x="1560" y="1030"/>
                </a:lnTo>
                <a:lnTo>
                  <a:pt x="1567" y="1022"/>
                </a:lnTo>
                <a:lnTo>
                  <a:pt x="1574" y="1013"/>
                </a:lnTo>
                <a:lnTo>
                  <a:pt x="1587" y="993"/>
                </a:lnTo>
                <a:lnTo>
                  <a:pt x="1594" y="982"/>
                </a:lnTo>
                <a:lnTo>
                  <a:pt x="1599" y="971"/>
                </a:lnTo>
                <a:lnTo>
                  <a:pt x="1604" y="960"/>
                </a:lnTo>
                <a:lnTo>
                  <a:pt x="1609" y="949"/>
                </a:lnTo>
                <a:lnTo>
                  <a:pt x="1614" y="937"/>
                </a:lnTo>
                <a:lnTo>
                  <a:pt x="1618" y="925"/>
                </a:lnTo>
                <a:lnTo>
                  <a:pt x="1622" y="913"/>
                </a:lnTo>
                <a:lnTo>
                  <a:pt x="1625" y="901"/>
                </a:lnTo>
                <a:lnTo>
                  <a:pt x="1628" y="889"/>
                </a:lnTo>
                <a:lnTo>
                  <a:pt x="1631" y="877"/>
                </a:lnTo>
                <a:lnTo>
                  <a:pt x="1633" y="864"/>
                </a:lnTo>
                <a:lnTo>
                  <a:pt x="1635" y="852"/>
                </a:lnTo>
                <a:lnTo>
                  <a:pt x="1636" y="840"/>
                </a:lnTo>
                <a:lnTo>
                  <a:pt x="1637" y="828"/>
                </a:lnTo>
                <a:lnTo>
                  <a:pt x="1638" y="817"/>
                </a:lnTo>
                <a:lnTo>
                  <a:pt x="1638" y="805"/>
                </a:lnTo>
                <a:lnTo>
                  <a:pt x="1638" y="794"/>
                </a:lnTo>
                <a:lnTo>
                  <a:pt x="1638" y="784"/>
                </a:lnTo>
                <a:lnTo>
                  <a:pt x="1639" y="781"/>
                </a:lnTo>
                <a:lnTo>
                  <a:pt x="1640" y="779"/>
                </a:lnTo>
                <a:lnTo>
                  <a:pt x="1643" y="777"/>
                </a:lnTo>
                <a:lnTo>
                  <a:pt x="1645" y="775"/>
                </a:lnTo>
                <a:lnTo>
                  <a:pt x="1653" y="773"/>
                </a:lnTo>
                <a:lnTo>
                  <a:pt x="1657" y="772"/>
                </a:lnTo>
                <a:lnTo>
                  <a:pt x="1661" y="772"/>
                </a:lnTo>
                <a:lnTo>
                  <a:pt x="1668" y="772"/>
                </a:lnTo>
                <a:lnTo>
                  <a:pt x="1672" y="773"/>
                </a:lnTo>
                <a:lnTo>
                  <a:pt x="1675" y="774"/>
                </a:lnTo>
                <a:lnTo>
                  <a:pt x="1681" y="777"/>
                </a:lnTo>
                <a:lnTo>
                  <a:pt x="1683" y="779"/>
                </a:lnTo>
                <a:lnTo>
                  <a:pt x="1685" y="781"/>
                </a:lnTo>
                <a:lnTo>
                  <a:pt x="1689" y="787"/>
                </a:lnTo>
                <a:lnTo>
                  <a:pt x="1691" y="790"/>
                </a:lnTo>
                <a:lnTo>
                  <a:pt x="1692" y="794"/>
                </a:lnTo>
                <a:lnTo>
                  <a:pt x="1694" y="798"/>
                </a:lnTo>
                <a:lnTo>
                  <a:pt x="1694" y="803"/>
                </a:lnTo>
                <a:lnTo>
                  <a:pt x="1695" y="809"/>
                </a:lnTo>
                <a:lnTo>
                  <a:pt x="1695" y="815"/>
                </a:lnTo>
                <a:lnTo>
                  <a:pt x="1694" y="831"/>
                </a:lnTo>
                <a:lnTo>
                  <a:pt x="1693" y="846"/>
                </a:lnTo>
                <a:lnTo>
                  <a:pt x="1692" y="862"/>
                </a:lnTo>
                <a:lnTo>
                  <a:pt x="1690" y="878"/>
                </a:lnTo>
                <a:lnTo>
                  <a:pt x="1687" y="893"/>
                </a:lnTo>
                <a:lnTo>
                  <a:pt x="1684" y="907"/>
                </a:lnTo>
                <a:lnTo>
                  <a:pt x="1681" y="922"/>
                </a:lnTo>
                <a:lnTo>
                  <a:pt x="1677" y="937"/>
                </a:lnTo>
                <a:lnTo>
                  <a:pt x="1673" y="951"/>
                </a:lnTo>
                <a:lnTo>
                  <a:pt x="1668" y="964"/>
                </a:lnTo>
                <a:lnTo>
                  <a:pt x="1663" y="978"/>
                </a:lnTo>
                <a:lnTo>
                  <a:pt x="1657" y="990"/>
                </a:lnTo>
                <a:lnTo>
                  <a:pt x="1651" y="1004"/>
                </a:lnTo>
                <a:lnTo>
                  <a:pt x="1643" y="1016"/>
                </a:lnTo>
                <a:lnTo>
                  <a:pt x="1636" y="1027"/>
                </a:lnTo>
                <a:lnTo>
                  <a:pt x="1629" y="1039"/>
                </a:lnTo>
                <a:lnTo>
                  <a:pt x="1621" y="1049"/>
                </a:lnTo>
                <a:lnTo>
                  <a:pt x="1613" y="1060"/>
                </a:lnTo>
                <a:lnTo>
                  <a:pt x="1605" y="1070"/>
                </a:lnTo>
                <a:lnTo>
                  <a:pt x="1596" y="1079"/>
                </a:lnTo>
                <a:lnTo>
                  <a:pt x="1586" y="1087"/>
                </a:lnTo>
                <a:lnTo>
                  <a:pt x="1577" y="1095"/>
                </a:lnTo>
                <a:lnTo>
                  <a:pt x="1567" y="1103"/>
                </a:lnTo>
                <a:lnTo>
                  <a:pt x="1557" y="1109"/>
                </a:lnTo>
                <a:lnTo>
                  <a:pt x="1547" y="1116"/>
                </a:lnTo>
                <a:lnTo>
                  <a:pt x="1536" y="1121"/>
                </a:lnTo>
                <a:lnTo>
                  <a:pt x="1524" y="1126"/>
                </a:lnTo>
                <a:lnTo>
                  <a:pt x="1513" y="1129"/>
                </a:lnTo>
                <a:lnTo>
                  <a:pt x="1502" y="1132"/>
                </a:lnTo>
                <a:lnTo>
                  <a:pt x="1490" y="1134"/>
                </a:lnTo>
                <a:lnTo>
                  <a:pt x="1478" y="1136"/>
                </a:lnTo>
                <a:lnTo>
                  <a:pt x="1465" y="1136"/>
                </a:lnTo>
                <a:close/>
                <a:moveTo>
                  <a:pt x="1853" y="1130"/>
                </a:moveTo>
                <a:lnTo>
                  <a:pt x="1851" y="1130"/>
                </a:lnTo>
                <a:lnTo>
                  <a:pt x="1849" y="1129"/>
                </a:lnTo>
                <a:lnTo>
                  <a:pt x="1843" y="1127"/>
                </a:lnTo>
                <a:lnTo>
                  <a:pt x="1837" y="1122"/>
                </a:lnTo>
                <a:lnTo>
                  <a:pt x="1829" y="1117"/>
                </a:lnTo>
                <a:lnTo>
                  <a:pt x="1816" y="1105"/>
                </a:lnTo>
                <a:lnTo>
                  <a:pt x="1801" y="1091"/>
                </a:lnTo>
                <a:lnTo>
                  <a:pt x="1784" y="1075"/>
                </a:lnTo>
                <a:lnTo>
                  <a:pt x="1767" y="1058"/>
                </a:lnTo>
                <a:lnTo>
                  <a:pt x="1751" y="1040"/>
                </a:lnTo>
                <a:lnTo>
                  <a:pt x="1737" y="1024"/>
                </a:lnTo>
                <a:lnTo>
                  <a:pt x="1725" y="1010"/>
                </a:lnTo>
                <a:lnTo>
                  <a:pt x="1721" y="1004"/>
                </a:lnTo>
                <a:lnTo>
                  <a:pt x="1718" y="998"/>
                </a:lnTo>
                <a:lnTo>
                  <a:pt x="1713" y="987"/>
                </a:lnTo>
                <a:lnTo>
                  <a:pt x="1708" y="977"/>
                </a:lnTo>
                <a:lnTo>
                  <a:pt x="1705" y="968"/>
                </a:lnTo>
                <a:lnTo>
                  <a:pt x="1705" y="958"/>
                </a:lnTo>
                <a:lnTo>
                  <a:pt x="1705" y="952"/>
                </a:lnTo>
                <a:lnTo>
                  <a:pt x="1706" y="946"/>
                </a:lnTo>
                <a:lnTo>
                  <a:pt x="1707" y="941"/>
                </a:lnTo>
                <a:lnTo>
                  <a:pt x="1709" y="935"/>
                </a:lnTo>
                <a:lnTo>
                  <a:pt x="1713" y="927"/>
                </a:lnTo>
                <a:lnTo>
                  <a:pt x="1716" y="921"/>
                </a:lnTo>
                <a:lnTo>
                  <a:pt x="1720" y="914"/>
                </a:lnTo>
                <a:lnTo>
                  <a:pt x="1724" y="908"/>
                </a:lnTo>
                <a:lnTo>
                  <a:pt x="1732" y="897"/>
                </a:lnTo>
                <a:lnTo>
                  <a:pt x="1744" y="883"/>
                </a:lnTo>
                <a:lnTo>
                  <a:pt x="1774" y="848"/>
                </a:lnTo>
                <a:lnTo>
                  <a:pt x="1809" y="808"/>
                </a:lnTo>
                <a:lnTo>
                  <a:pt x="1845" y="768"/>
                </a:lnTo>
                <a:lnTo>
                  <a:pt x="1846" y="768"/>
                </a:lnTo>
                <a:lnTo>
                  <a:pt x="1849" y="767"/>
                </a:lnTo>
                <a:lnTo>
                  <a:pt x="1853" y="768"/>
                </a:lnTo>
                <a:lnTo>
                  <a:pt x="1857" y="769"/>
                </a:lnTo>
                <a:lnTo>
                  <a:pt x="1861" y="771"/>
                </a:lnTo>
                <a:lnTo>
                  <a:pt x="1866" y="773"/>
                </a:lnTo>
                <a:lnTo>
                  <a:pt x="1870" y="776"/>
                </a:lnTo>
                <a:lnTo>
                  <a:pt x="1874" y="780"/>
                </a:lnTo>
                <a:lnTo>
                  <a:pt x="1877" y="784"/>
                </a:lnTo>
                <a:lnTo>
                  <a:pt x="1880" y="789"/>
                </a:lnTo>
                <a:lnTo>
                  <a:pt x="1881" y="794"/>
                </a:lnTo>
                <a:lnTo>
                  <a:pt x="1882" y="798"/>
                </a:lnTo>
                <a:lnTo>
                  <a:pt x="1881" y="804"/>
                </a:lnTo>
                <a:lnTo>
                  <a:pt x="1880" y="809"/>
                </a:lnTo>
                <a:lnTo>
                  <a:pt x="1877" y="816"/>
                </a:lnTo>
                <a:lnTo>
                  <a:pt x="1873" y="822"/>
                </a:lnTo>
                <a:lnTo>
                  <a:pt x="1865" y="832"/>
                </a:lnTo>
                <a:lnTo>
                  <a:pt x="1853" y="846"/>
                </a:lnTo>
                <a:lnTo>
                  <a:pt x="1823" y="879"/>
                </a:lnTo>
                <a:lnTo>
                  <a:pt x="1794" y="913"/>
                </a:lnTo>
                <a:lnTo>
                  <a:pt x="1781" y="927"/>
                </a:lnTo>
                <a:lnTo>
                  <a:pt x="1772" y="940"/>
                </a:lnTo>
                <a:lnTo>
                  <a:pt x="1769" y="944"/>
                </a:lnTo>
                <a:lnTo>
                  <a:pt x="1767" y="947"/>
                </a:lnTo>
                <a:lnTo>
                  <a:pt x="1766" y="951"/>
                </a:lnTo>
                <a:lnTo>
                  <a:pt x="1766" y="954"/>
                </a:lnTo>
                <a:lnTo>
                  <a:pt x="1766" y="959"/>
                </a:lnTo>
                <a:lnTo>
                  <a:pt x="1767" y="963"/>
                </a:lnTo>
                <a:lnTo>
                  <a:pt x="1771" y="968"/>
                </a:lnTo>
                <a:lnTo>
                  <a:pt x="1774" y="972"/>
                </a:lnTo>
                <a:lnTo>
                  <a:pt x="1781" y="981"/>
                </a:lnTo>
                <a:lnTo>
                  <a:pt x="1791" y="994"/>
                </a:lnTo>
                <a:lnTo>
                  <a:pt x="1819" y="1023"/>
                </a:lnTo>
                <a:lnTo>
                  <a:pt x="1852" y="1056"/>
                </a:lnTo>
                <a:lnTo>
                  <a:pt x="1883" y="1087"/>
                </a:lnTo>
                <a:lnTo>
                  <a:pt x="1884" y="1088"/>
                </a:lnTo>
                <a:lnTo>
                  <a:pt x="1886" y="1091"/>
                </a:lnTo>
                <a:lnTo>
                  <a:pt x="1887" y="1093"/>
                </a:lnTo>
                <a:lnTo>
                  <a:pt x="1887" y="1095"/>
                </a:lnTo>
                <a:lnTo>
                  <a:pt x="1886" y="1101"/>
                </a:lnTo>
                <a:lnTo>
                  <a:pt x="1885" y="1104"/>
                </a:lnTo>
                <a:lnTo>
                  <a:pt x="1884" y="1107"/>
                </a:lnTo>
                <a:lnTo>
                  <a:pt x="1880" y="1113"/>
                </a:lnTo>
                <a:lnTo>
                  <a:pt x="1878" y="1116"/>
                </a:lnTo>
                <a:lnTo>
                  <a:pt x="1876" y="1119"/>
                </a:lnTo>
                <a:lnTo>
                  <a:pt x="1870" y="1123"/>
                </a:lnTo>
                <a:lnTo>
                  <a:pt x="1867" y="1125"/>
                </a:lnTo>
                <a:lnTo>
                  <a:pt x="1864" y="1127"/>
                </a:lnTo>
                <a:lnTo>
                  <a:pt x="1858" y="1129"/>
                </a:lnTo>
                <a:lnTo>
                  <a:pt x="1856" y="1130"/>
                </a:lnTo>
                <a:lnTo>
                  <a:pt x="1853" y="1130"/>
                </a:lnTo>
                <a:close/>
                <a:moveTo>
                  <a:pt x="1465" y="2129"/>
                </a:moveTo>
                <a:lnTo>
                  <a:pt x="1457" y="2129"/>
                </a:lnTo>
                <a:lnTo>
                  <a:pt x="1450" y="2128"/>
                </a:lnTo>
                <a:lnTo>
                  <a:pt x="1442" y="2127"/>
                </a:lnTo>
                <a:lnTo>
                  <a:pt x="1435" y="2126"/>
                </a:lnTo>
                <a:lnTo>
                  <a:pt x="1428" y="2124"/>
                </a:lnTo>
                <a:lnTo>
                  <a:pt x="1420" y="2121"/>
                </a:lnTo>
                <a:lnTo>
                  <a:pt x="1406" y="2116"/>
                </a:lnTo>
                <a:lnTo>
                  <a:pt x="1393" y="2108"/>
                </a:lnTo>
                <a:lnTo>
                  <a:pt x="1386" y="2104"/>
                </a:lnTo>
                <a:lnTo>
                  <a:pt x="1380" y="2100"/>
                </a:lnTo>
                <a:lnTo>
                  <a:pt x="1374" y="2095"/>
                </a:lnTo>
                <a:lnTo>
                  <a:pt x="1369" y="2090"/>
                </a:lnTo>
                <a:lnTo>
                  <a:pt x="1363" y="2084"/>
                </a:lnTo>
                <a:lnTo>
                  <a:pt x="1358" y="2078"/>
                </a:lnTo>
                <a:lnTo>
                  <a:pt x="1353" y="2072"/>
                </a:lnTo>
                <a:lnTo>
                  <a:pt x="1348" y="2065"/>
                </a:lnTo>
                <a:lnTo>
                  <a:pt x="1343" y="2058"/>
                </a:lnTo>
                <a:lnTo>
                  <a:pt x="1339" y="2051"/>
                </a:lnTo>
                <a:lnTo>
                  <a:pt x="1335" y="2044"/>
                </a:lnTo>
                <a:lnTo>
                  <a:pt x="1331" y="2037"/>
                </a:lnTo>
                <a:lnTo>
                  <a:pt x="1328" y="2029"/>
                </a:lnTo>
                <a:lnTo>
                  <a:pt x="1325" y="2022"/>
                </a:lnTo>
                <a:lnTo>
                  <a:pt x="1322" y="2014"/>
                </a:lnTo>
                <a:lnTo>
                  <a:pt x="1320" y="2005"/>
                </a:lnTo>
                <a:lnTo>
                  <a:pt x="1318" y="1996"/>
                </a:lnTo>
                <a:lnTo>
                  <a:pt x="1316" y="1988"/>
                </a:lnTo>
                <a:lnTo>
                  <a:pt x="1315" y="1979"/>
                </a:lnTo>
                <a:lnTo>
                  <a:pt x="1314" y="1970"/>
                </a:lnTo>
                <a:lnTo>
                  <a:pt x="1314" y="1961"/>
                </a:lnTo>
                <a:lnTo>
                  <a:pt x="1313" y="1952"/>
                </a:lnTo>
                <a:lnTo>
                  <a:pt x="1314" y="1932"/>
                </a:lnTo>
                <a:lnTo>
                  <a:pt x="1315" y="1923"/>
                </a:lnTo>
                <a:lnTo>
                  <a:pt x="1317" y="1914"/>
                </a:lnTo>
                <a:lnTo>
                  <a:pt x="1318" y="1905"/>
                </a:lnTo>
                <a:lnTo>
                  <a:pt x="1320" y="1896"/>
                </a:lnTo>
                <a:lnTo>
                  <a:pt x="1323" y="1886"/>
                </a:lnTo>
                <a:lnTo>
                  <a:pt x="1326" y="1878"/>
                </a:lnTo>
                <a:lnTo>
                  <a:pt x="1329" y="1869"/>
                </a:lnTo>
                <a:lnTo>
                  <a:pt x="1332" y="1861"/>
                </a:lnTo>
                <a:lnTo>
                  <a:pt x="1336" y="1853"/>
                </a:lnTo>
                <a:lnTo>
                  <a:pt x="1340" y="1845"/>
                </a:lnTo>
                <a:lnTo>
                  <a:pt x="1345" y="1838"/>
                </a:lnTo>
                <a:lnTo>
                  <a:pt x="1349" y="1829"/>
                </a:lnTo>
                <a:lnTo>
                  <a:pt x="1361" y="1815"/>
                </a:lnTo>
                <a:lnTo>
                  <a:pt x="1366" y="1809"/>
                </a:lnTo>
                <a:lnTo>
                  <a:pt x="1372" y="1803"/>
                </a:lnTo>
                <a:lnTo>
                  <a:pt x="1384" y="1791"/>
                </a:lnTo>
                <a:lnTo>
                  <a:pt x="1391" y="1786"/>
                </a:lnTo>
                <a:lnTo>
                  <a:pt x="1397" y="1781"/>
                </a:lnTo>
                <a:lnTo>
                  <a:pt x="1404" y="1777"/>
                </a:lnTo>
                <a:lnTo>
                  <a:pt x="1412" y="1773"/>
                </a:lnTo>
                <a:lnTo>
                  <a:pt x="1419" y="1768"/>
                </a:lnTo>
                <a:lnTo>
                  <a:pt x="1427" y="1765"/>
                </a:lnTo>
                <a:lnTo>
                  <a:pt x="1434" y="1762"/>
                </a:lnTo>
                <a:lnTo>
                  <a:pt x="1442" y="1760"/>
                </a:lnTo>
                <a:lnTo>
                  <a:pt x="1450" y="1758"/>
                </a:lnTo>
                <a:lnTo>
                  <a:pt x="1458" y="1757"/>
                </a:lnTo>
                <a:lnTo>
                  <a:pt x="1466" y="1756"/>
                </a:lnTo>
                <a:lnTo>
                  <a:pt x="1475" y="1756"/>
                </a:lnTo>
                <a:lnTo>
                  <a:pt x="1486" y="1756"/>
                </a:lnTo>
                <a:lnTo>
                  <a:pt x="1490" y="1757"/>
                </a:lnTo>
                <a:lnTo>
                  <a:pt x="1495" y="1758"/>
                </a:lnTo>
                <a:lnTo>
                  <a:pt x="1500" y="1759"/>
                </a:lnTo>
                <a:lnTo>
                  <a:pt x="1504" y="1760"/>
                </a:lnTo>
                <a:lnTo>
                  <a:pt x="1513" y="1763"/>
                </a:lnTo>
                <a:lnTo>
                  <a:pt x="1521" y="1767"/>
                </a:lnTo>
                <a:lnTo>
                  <a:pt x="1528" y="1773"/>
                </a:lnTo>
                <a:lnTo>
                  <a:pt x="1536" y="1778"/>
                </a:lnTo>
                <a:lnTo>
                  <a:pt x="1542" y="1784"/>
                </a:lnTo>
                <a:lnTo>
                  <a:pt x="1544" y="1787"/>
                </a:lnTo>
                <a:lnTo>
                  <a:pt x="1547" y="1791"/>
                </a:lnTo>
                <a:lnTo>
                  <a:pt x="1552" y="1798"/>
                </a:lnTo>
                <a:lnTo>
                  <a:pt x="1556" y="1806"/>
                </a:lnTo>
                <a:lnTo>
                  <a:pt x="1559" y="1814"/>
                </a:lnTo>
                <a:lnTo>
                  <a:pt x="1562" y="1823"/>
                </a:lnTo>
                <a:lnTo>
                  <a:pt x="1564" y="1833"/>
                </a:lnTo>
                <a:lnTo>
                  <a:pt x="1565" y="1842"/>
                </a:lnTo>
                <a:lnTo>
                  <a:pt x="1565" y="1852"/>
                </a:lnTo>
                <a:lnTo>
                  <a:pt x="1564" y="1865"/>
                </a:lnTo>
                <a:lnTo>
                  <a:pt x="1563" y="1871"/>
                </a:lnTo>
                <a:lnTo>
                  <a:pt x="1562" y="1877"/>
                </a:lnTo>
                <a:lnTo>
                  <a:pt x="1558" y="1889"/>
                </a:lnTo>
                <a:lnTo>
                  <a:pt x="1553" y="1902"/>
                </a:lnTo>
                <a:lnTo>
                  <a:pt x="1547" y="1913"/>
                </a:lnTo>
                <a:lnTo>
                  <a:pt x="1540" y="1923"/>
                </a:lnTo>
                <a:lnTo>
                  <a:pt x="1536" y="1928"/>
                </a:lnTo>
                <a:lnTo>
                  <a:pt x="1532" y="1933"/>
                </a:lnTo>
                <a:lnTo>
                  <a:pt x="1521" y="1943"/>
                </a:lnTo>
                <a:lnTo>
                  <a:pt x="1511" y="1952"/>
                </a:lnTo>
                <a:lnTo>
                  <a:pt x="1506" y="1956"/>
                </a:lnTo>
                <a:lnTo>
                  <a:pt x="1501" y="1960"/>
                </a:lnTo>
                <a:lnTo>
                  <a:pt x="1489" y="1966"/>
                </a:lnTo>
                <a:lnTo>
                  <a:pt x="1478" y="1972"/>
                </a:lnTo>
                <a:lnTo>
                  <a:pt x="1465" y="1976"/>
                </a:lnTo>
                <a:lnTo>
                  <a:pt x="1458" y="1978"/>
                </a:lnTo>
                <a:lnTo>
                  <a:pt x="1452" y="1980"/>
                </a:lnTo>
                <a:lnTo>
                  <a:pt x="1446" y="1981"/>
                </a:lnTo>
                <a:lnTo>
                  <a:pt x="1440" y="1982"/>
                </a:lnTo>
                <a:lnTo>
                  <a:pt x="1427" y="1982"/>
                </a:lnTo>
                <a:lnTo>
                  <a:pt x="1422" y="1982"/>
                </a:lnTo>
                <a:lnTo>
                  <a:pt x="1417" y="1980"/>
                </a:lnTo>
                <a:lnTo>
                  <a:pt x="1412" y="1977"/>
                </a:lnTo>
                <a:lnTo>
                  <a:pt x="1409" y="1975"/>
                </a:lnTo>
                <a:lnTo>
                  <a:pt x="1408" y="1973"/>
                </a:lnTo>
                <a:lnTo>
                  <a:pt x="1404" y="1969"/>
                </a:lnTo>
                <a:lnTo>
                  <a:pt x="1402" y="1963"/>
                </a:lnTo>
                <a:lnTo>
                  <a:pt x="1401" y="1961"/>
                </a:lnTo>
                <a:lnTo>
                  <a:pt x="1400" y="1958"/>
                </a:lnTo>
                <a:lnTo>
                  <a:pt x="1400" y="1950"/>
                </a:lnTo>
                <a:lnTo>
                  <a:pt x="1400" y="1947"/>
                </a:lnTo>
                <a:lnTo>
                  <a:pt x="1400" y="1945"/>
                </a:lnTo>
                <a:lnTo>
                  <a:pt x="1402" y="1940"/>
                </a:lnTo>
                <a:lnTo>
                  <a:pt x="1403" y="1938"/>
                </a:lnTo>
                <a:lnTo>
                  <a:pt x="1404" y="1936"/>
                </a:lnTo>
                <a:lnTo>
                  <a:pt x="1405" y="1934"/>
                </a:lnTo>
                <a:lnTo>
                  <a:pt x="1407" y="1933"/>
                </a:lnTo>
                <a:lnTo>
                  <a:pt x="1419" y="1931"/>
                </a:lnTo>
                <a:lnTo>
                  <a:pt x="1429" y="1928"/>
                </a:lnTo>
                <a:lnTo>
                  <a:pt x="1440" y="1925"/>
                </a:lnTo>
                <a:lnTo>
                  <a:pt x="1449" y="1921"/>
                </a:lnTo>
                <a:lnTo>
                  <a:pt x="1458" y="1917"/>
                </a:lnTo>
                <a:lnTo>
                  <a:pt x="1467" y="1911"/>
                </a:lnTo>
                <a:lnTo>
                  <a:pt x="1475" y="1906"/>
                </a:lnTo>
                <a:lnTo>
                  <a:pt x="1479" y="1903"/>
                </a:lnTo>
                <a:lnTo>
                  <a:pt x="1483" y="1900"/>
                </a:lnTo>
                <a:lnTo>
                  <a:pt x="1489" y="1894"/>
                </a:lnTo>
                <a:lnTo>
                  <a:pt x="1495" y="1886"/>
                </a:lnTo>
                <a:lnTo>
                  <a:pt x="1500" y="1880"/>
                </a:lnTo>
                <a:lnTo>
                  <a:pt x="1504" y="1873"/>
                </a:lnTo>
                <a:lnTo>
                  <a:pt x="1507" y="1866"/>
                </a:lnTo>
                <a:lnTo>
                  <a:pt x="1510" y="1859"/>
                </a:lnTo>
                <a:lnTo>
                  <a:pt x="1511" y="1852"/>
                </a:lnTo>
                <a:lnTo>
                  <a:pt x="1512" y="1845"/>
                </a:lnTo>
                <a:lnTo>
                  <a:pt x="1511" y="1837"/>
                </a:lnTo>
                <a:lnTo>
                  <a:pt x="1509" y="1828"/>
                </a:lnTo>
                <a:lnTo>
                  <a:pt x="1508" y="1825"/>
                </a:lnTo>
                <a:lnTo>
                  <a:pt x="1506" y="1822"/>
                </a:lnTo>
                <a:lnTo>
                  <a:pt x="1504" y="1819"/>
                </a:lnTo>
                <a:lnTo>
                  <a:pt x="1501" y="1817"/>
                </a:lnTo>
                <a:lnTo>
                  <a:pt x="1495" y="1812"/>
                </a:lnTo>
                <a:lnTo>
                  <a:pt x="1492" y="1811"/>
                </a:lnTo>
                <a:lnTo>
                  <a:pt x="1488" y="1809"/>
                </a:lnTo>
                <a:lnTo>
                  <a:pt x="1480" y="1807"/>
                </a:lnTo>
                <a:lnTo>
                  <a:pt x="1476" y="1807"/>
                </a:lnTo>
                <a:lnTo>
                  <a:pt x="1472" y="1807"/>
                </a:lnTo>
                <a:lnTo>
                  <a:pt x="1462" y="1807"/>
                </a:lnTo>
                <a:lnTo>
                  <a:pt x="1457" y="1808"/>
                </a:lnTo>
                <a:lnTo>
                  <a:pt x="1453" y="1810"/>
                </a:lnTo>
                <a:lnTo>
                  <a:pt x="1448" y="1811"/>
                </a:lnTo>
                <a:lnTo>
                  <a:pt x="1444" y="1813"/>
                </a:lnTo>
                <a:lnTo>
                  <a:pt x="1440" y="1815"/>
                </a:lnTo>
                <a:lnTo>
                  <a:pt x="1435" y="1818"/>
                </a:lnTo>
                <a:lnTo>
                  <a:pt x="1431" y="1821"/>
                </a:lnTo>
                <a:lnTo>
                  <a:pt x="1427" y="1824"/>
                </a:lnTo>
                <a:lnTo>
                  <a:pt x="1419" y="1832"/>
                </a:lnTo>
                <a:lnTo>
                  <a:pt x="1411" y="1840"/>
                </a:lnTo>
                <a:lnTo>
                  <a:pt x="1402" y="1849"/>
                </a:lnTo>
                <a:lnTo>
                  <a:pt x="1399" y="1854"/>
                </a:lnTo>
                <a:lnTo>
                  <a:pt x="1395" y="1859"/>
                </a:lnTo>
                <a:lnTo>
                  <a:pt x="1389" y="1870"/>
                </a:lnTo>
                <a:lnTo>
                  <a:pt x="1384" y="1881"/>
                </a:lnTo>
                <a:lnTo>
                  <a:pt x="1379" y="1894"/>
                </a:lnTo>
                <a:lnTo>
                  <a:pt x="1375" y="1907"/>
                </a:lnTo>
                <a:lnTo>
                  <a:pt x="1372" y="1920"/>
                </a:lnTo>
                <a:lnTo>
                  <a:pt x="1371" y="1934"/>
                </a:lnTo>
                <a:lnTo>
                  <a:pt x="1370" y="1941"/>
                </a:lnTo>
                <a:lnTo>
                  <a:pt x="1370" y="1948"/>
                </a:lnTo>
                <a:lnTo>
                  <a:pt x="1370" y="1962"/>
                </a:lnTo>
                <a:lnTo>
                  <a:pt x="1372" y="1974"/>
                </a:lnTo>
                <a:lnTo>
                  <a:pt x="1374" y="1986"/>
                </a:lnTo>
                <a:lnTo>
                  <a:pt x="1375" y="1991"/>
                </a:lnTo>
                <a:lnTo>
                  <a:pt x="1377" y="1997"/>
                </a:lnTo>
                <a:lnTo>
                  <a:pt x="1380" y="2007"/>
                </a:lnTo>
                <a:lnTo>
                  <a:pt x="1383" y="2013"/>
                </a:lnTo>
                <a:lnTo>
                  <a:pt x="1385" y="2018"/>
                </a:lnTo>
                <a:lnTo>
                  <a:pt x="1387" y="2023"/>
                </a:lnTo>
                <a:lnTo>
                  <a:pt x="1390" y="2027"/>
                </a:lnTo>
                <a:lnTo>
                  <a:pt x="1393" y="2031"/>
                </a:lnTo>
                <a:lnTo>
                  <a:pt x="1396" y="2035"/>
                </a:lnTo>
                <a:lnTo>
                  <a:pt x="1399" y="2039"/>
                </a:lnTo>
                <a:lnTo>
                  <a:pt x="1403" y="2043"/>
                </a:lnTo>
                <a:lnTo>
                  <a:pt x="1411" y="2050"/>
                </a:lnTo>
                <a:lnTo>
                  <a:pt x="1419" y="2055"/>
                </a:lnTo>
                <a:lnTo>
                  <a:pt x="1427" y="2060"/>
                </a:lnTo>
                <a:lnTo>
                  <a:pt x="1436" y="2064"/>
                </a:lnTo>
                <a:lnTo>
                  <a:pt x="1446" y="2067"/>
                </a:lnTo>
                <a:lnTo>
                  <a:pt x="1456" y="2068"/>
                </a:lnTo>
                <a:lnTo>
                  <a:pt x="1461" y="2069"/>
                </a:lnTo>
                <a:lnTo>
                  <a:pt x="1467" y="2069"/>
                </a:lnTo>
                <a:lnTo>
                  <a:pt x="1478" y="2068"/>
                </a:lnTo>
                <a:lnTo>
                  <a:pt x="1488" y="2067"/>
                </a:lnTo>
                <a:lnTo>
                  <a:pt x="1498" y="2064"/>
                </a:lnTo>
                <a:lnTo>
                  <a:pt x="1508" y="2061"/>
                </a:lnTo>
                <a:lnTo>
                  <a:pt x="1517" y="2057"/>
                </a:lnTo>
                <a:lnTo>
                  <a:pt x="1526" y="2052"/>
                </a:lnTo>
                <a:lnTo>
                  <a:pt x="1536" y="2046"/>
                </a:lnTo>
                <a:lnTo>
                  <a:pt x="1544" y="2039"/>
                </a:lnTo>
                <a:lnTo>
                  <a:pt x="1552" y="2032"/>
                </a:lnTo>
                <a:lnTo>
                  <a:pt x="1560" y="2024"/>
                </a:lnTo>
                <a:lnTo>
                  <a:pt x="1567" y="2016"/>
                </a:lnTo>
                <a:lnTo>
                  <a:pt x="1574" y="2006"/>
                </a:lnTo>
                <a:lnTo>
                  <a:pt x="1587" y="1986"/>
                </a:lnTo>
                <a:lnTo>
                  <a:pt x="1594" y="1976"/>
                </a:lnTo>
                <a:lnTo>
                  <a:pt x="1599" y="1965"/>
                </a:lnTo>
                <a:lnTo>
                  <a:pt x="1604" y="1954"/>
                </a:lnTo>
                <a:lnTo>
                  <a:pt x="1609" y="1942"/>
                </a:lnTo>
                <a:lnTo>
                  <a:pt x="1614" y="1930"/>
                </a:lnTo>
                <a:lnTo>
                  <a:pt x="1618" y="1919"/>
                </a:lnTo>
                <a:lnTo>
                  <a:pt x="1622" y="1907"/>
                </a:lnTo>
                <a:lnTo>
                  <a:pt x="1625" y="1895"/>
                </a:lnTo>
                <a:lnTo>
                  <a:pt x="1628" y="1882"/>
                </a:lnTo>
                <a:lnTo>
                  <a:pt x="1631" y="1870"/>
                </a:lnTo>
                <a:lnTo>
                  <a:pt x="1633" y="1858"/>
                </a:lnTo>
                <a:lnTo>
                  <a:pt x="1635" y="1846"/>
                </a:lnTo>
                <a:lnTo>
                  <a:pt x="1636" y="1834"/>
                </a:lnTo>
                <a:lnTo>
                  <a:pt x="1637" y="1822"/>
                </a:lnTo>
                <a:lnTo>
                  <a:pt x="1638" y="1810"/>
                </a:lnTo>
                <a:lnTo>
                  <a:pt x="1638" y="1799"/>
                </a:lnTo>
                <a:lnTo>
                  <a:pt x="1638" y="1788"/>
                </a:lnTo>
                <a:lnTo>
                  <a:pt x="1638" y="1778"/>
                </a:lnTo>
                <a:lnTo>
                  <a:pt x="1639" y="1776"/>
                </a:lnTo>
                <a:lnTo>
                  <a:pt x="1640" y="1773"/>
                </a:lnTo>
                <a:lnTo>
                  <a:pt x="1643" y="1770"/>
                </a:lnTo>
                <a:lnTo>
                  <a:pt x="1645" y="1769"/>
                </a:lnTo>
                <a:lnTo>
                  <a:pt x="1653" y="1766"/>
                </a:lnTo>
                <a:lnTo>
                  <a:pt x="1657" y="1765"/>
                </a:lnTo>
                <a:lnTo>
                  <a:pt x="1661" y="1765"/>
                </a:lnTo>
                <a:lnTo>
                  <a:pt x="1668" y="1765"/>
                </a:lnTo>
                <a:lnTo>
                  <a:pt x="1672" y="1766"/>
                </a:lnTo>
                <a:lnTo>
                  <a:pt x="1675" y="1767"/>
                </a:lnTo>
                <a:lnTo>
                  <a:pt x="1681" y="1770"/>
                </a:lnTo>
                <a:lnTo>
                  <a:pt x="1683" y="1773"/>
                </a:lnTo>
                <a:lnTo>
                  <a:pt x="1685" y="1775"/>
                </a:lnTo>
                <a:lnTo>
                  <a:pt x="1689" y="1781"/>
                </a:lnTo>
                <a:lnTo>
                  <a:pt x="1691" y="1784"/>
                </a:lnTo>
                <a:lnTo>
                  <a:pt x="1692" y="1788"/>
                </a:lnTo>
                <a:lnTo>
                  <a:pt x="1694" y="1793"/>
                </a:lnTo>
                <a:lnTo>
                  <a:pt x="1694" y="1797"/>
                </a:lnTo>
                <a:lnTo>
                  <a:pt x="1695" y="1803"/>
                </a:lnTo>
                <a:lnTo>
                  <a:pt x="1695" y="1809"/>
                </a:lnTo>
                <a:lnTo>
                  <a:pt x="1694" y="1824"/>
                </a:lnTo>
                <a:lnTo>
                  <a:pt x="1693" y="1841"/>
                </a:lnTo>
                <a:lnTo>
                  <a:pt x="1692" y="1856"/>
                </a:lnTo>
                <a:lnTo>
                  <a:pt x="1690" y="1871"/>
                </a:lnTo>
                <a:lnTo>
                  <a:pt x="1687" y="1886"/>
                </a:lnTo>
                <a:lnTo>
                  <a:pt x="1684" y="1902"/>
                </a:lnTo>
                <a:lnTo>
                  <a:pt x="1681" y="1916"/>
                </a:lnTo>
                <a:lnTo>
                  <a:pt x="1677" y="1930"/>
                </a:lnTo>
                <a:lnTo>
                  <a:pt x="1673" y="1944"/>
                </a:lnTo>
                <a:lnTo>
                  <a:pt x="1668" y="1959"/>
                </a:lnTo>
                <a:lnTo>
                  <a:pt x="1663" y="1972"/>
                </a:lnTo>
                <a:lnTo>
                  <a:pt x="1657" y="1985"/>
                </a:lnTo>
                <a:lnTo>
                  <a:pt x="1651" y="1997"/>
                </a:lnTo>
                <a:lnTo>
                  <a:pt x="1643" y="2009"/>
                </a:lnTo>
                <a:lnTo>
                  <a:pt x="1636" y="2022"/>
                </a:lnTo>
                <a:lnTo>
                  <a:pt x="1629" y="2033"/>
                </a:lnTo>
                <a:lnTo>
                  <a:pt x="1621" y="2043"/>
                </a:lnTo>
                <a:lnTo>
                  <a:pt x="1613" y="2054"/>
                </a:lnTo>
                <a:lnTo>
                  <a:pt x="1605" y="2063"/>
                </a:lnTo>
                <a:lnTo>
                  <a:pt x="1596" y="2073"/>
                </a:lnTo>
                <a:lnTo>
                  <a:pt x="1586" y="2082"/>
                </a:lnTo>
                <a:lnTo>
                  <a:pt x="1577" y="2090"/>
                </a:lnTo>
                <a:lnTo>
                  <a:pt x="1567" y="2097"/>
                </a:lnTo>
                <a:lnTo>
                  <a:pt x="1557" y="2103"/>
                </a:lnTo>
                <a:lnTo>
                  <a:pt x="1547" y="2109"/>
                </a:lnTo>
                <a:lnTo>
                  <a:pt x="1536" y="2114"/>
                </a:lnTo>
                <a:lnTo>
                  <a:pt x="1524" y="2119"/>
                </a:lnTo>
                <a:lnTo>
                  <a:pt x="1513" y="2122"/>
                </a:lnTo>
                <a:lnTo>
                  <a:pt x="1502" y="2125"/>
                </a:lnTo>
                <a:lnTo>
                  <a:pt x="1490" y="2127"/>
                </a:lnTo>
                <a:lnTo>
                  <a:pt x="1478" y="2129"/>
                </a:lnTo>
                <a:lnTo>
                  <a:pt x="1465" y="2129"/>
                </a:lnTo>
                <a:close/>
                <a:moveTo>
                  <a:pt x="1853" y="2123"/>
                </a:moveTo>
                <a:lnTo>
                  <a:pt x="1851" y="2123"/>
                </a:lnTo>
                <a:lnTo>
                  <a:pt x="1849" y="2123"/>
                </a:lnTo>
                <a:lnTo>
                  <a:pt x="1843" y="2120"/>
                </a:lnTo>
                <a:lnTo>
                  <a:pt x="1837" y="2116"/>
                </a:lnTo>
                <a:lnTo>
                  <a:pt x="1829" y="2110"/>
                </a:lnTo>
                <a:lnTo>
                  <a:pt x="1816" y="2099"/>
                </a:lnTo>
                <a:lnTo>
                  <a:pt x="1801" y="2085"/>
                </a:lnTo>
                <a:lnTo>
                  <a:pt x="1784" y="2068"/>
                </a:lnTo>
                <a:lnTo>
                  <a:pt x="1767" y="2051"/>
                </a:lnTo>
                <a:lnTo>
                  <a:pt x="1751" y="2034"/>
                </a:lnTo>
                <a:lnTo>
                  <a:pt x="1737" y="2018"/>
                </a:lnTo>
                <a:lnTo>
                  <a:pt x="1725" y="2003"/>
                </a:lnTo>
                <a:lnTo>
                  <a:pt x="1721" y="1997"/>
                </a:lnTo>
                <a:lnTo>
                  <a:pt x="1718" y="1991"/>
                </a:lnTo>
                <a:lnTo>
                  <a:pt x="1713" y="1981"/>
                </a:lnTo>
                <a:lnTo>
                  <a:pt x="1708" y="1971"/>
                </a:lnTo>
                <a:lnTo>
                  <a:pt x="1705" y="1962"/>
                </a:lnTo>
                <a:lnTo>
                  <a:pt x="1705" y="1952"/>
                </a:lnTo>
                <a:lnTo>
                  <a:pt x="1705" y="1945"/>
                </a:lnTo>
                <a:lnTo>
                  <a:pt x="1706" y="1940"/>
                </a:lnTo>
                <a:lnTo>
                  <a:pt x="1707" y="1934"/>
                </a:lnTo>
                <a:lnTo>
                  <a:pt x="1709" y="1928"/>
                </a:lnTo>
                <a:lnTo>
                  <a:pt x="1713" y="1922"/>
                </a:lnTo>
                <a:lnTo>
                  <a:pt x="1716" y="1915"/>
                </a:lnTo>
                <a:lnTo>
                  <a:pt x="1720" y="1909"/>
                </a:lnTo>
                <a:lnTo>
                  <a:pt x="1724" y="1902"/>
                </a:lnTo>
                <a:lnTo>
                  <a:pt x="1732" y="1890"/>
                </a:lnTo>
                <a:lnTo>
                  <a:pt x="1744" y="1876"/>
                </a:lnTo>
                <a:lnTo>
                  <a:pt x="1774" y="1842"/>
                </a:lnTo>
                <a:lnTo>
                  <a:pt x="1809" y="1802"/>
                </a:lnTo>
                <a:lnTo>
                  <a:pt x="1845" y="1761"/>
                </a:lnTo>
                <a:lnTo>
                  <a:pt x="1846" y="1761"/>
                </a:lnTo>
                <a:lnTo>
                  <a:pt x="1849" y="1760"/>
                </a:lnTo>
                <a:lnTo>
                  <a:pt x="1853" y="1761"/>
                </a:lnTo>
                <a:lnTo>
                  <a:pt x="1857" y="1762"/>
                </a:lnTo>
                <a:lnTo>
                  <a:pt x="1861" y="1764"/>
                </a:lnTo>
                <a:lnTo>
                  <a:pt x="1866" y="1766"/>
                </a:lnTo>
                <a:lnTo>
                  <a:pt x="1870" y="1769"/>
                </a:lnTo>
                <a:lnTo>
                  <a:pt x="1874" y="1774"/>
                </a:lnTo>
                <a:lnTo>
                  <a:pt x="1877" y="1778"/>
                </a:lnTo>
                <a:lnTo>
                  <a:pt x="1880" y="1783"/>
                </a:lnTo>
                <a:lnTo>
                  <a:pt x="1881" y="1788"/>
                </a:lnTo>
                <a:lnTo>
                  <a:pt x="1882" y="1793"/>
                </a:lnTo>
                <a:lnTo>
                  <a:pt x="1881" y="1798"/>
                </a:lnTo>
                <a:lnTo>
                  <a:pt x="1880" y="1803"/>
                </a:lnTo>
                <a:lnTo>
                  <a:pt x="1877" y="1809"/>
                </a:lnTo>
                <a:lnTo>
                  <a:pt x="1873" y="1815"/>
                </a:lnTo>
                <a:lnTo>
                  <a:pt x="1865" y="1825"/>
                </a:lnTo>
                <a:lnTo>
                  <a:pt x="1853" y="1840"/>
                </a:lnTo>
                <a:lnTo>
                  <a:pt x="1823" y="1873"/>
                </a:lnTo>
                <a:lnTo>
                  <a:pt x="1794" y="1907"/>
                </a:lnTo>
                <a:lnTo>
                  <a:pt x="1781" y="1921"/>
                </a:lnTo>
                <a:lnTo>
                  <a:pt x="1772" y="1933"/>
                </a:lnTo>
                <a:lnTo>
                  <a:pt x="1769" y="1937"/>
                </a:lnTo>
                <a:lnTo>
                  <a:pt x="1767" y="1940"/>
                </a:lnTo>
                <a:lnTo>
                  <a:pt x="1766" y="1944"/>
                </a:lnTo>
                <a:lnTo>
                  <a:pt x="1766" y="1948"/>
                </a:lnTo>
                <a:lnTo>
                  <a:pt x="1766" y="1953"/>
                </a:lnTo>
                <a:lnTo>
                  <a:pt x="1767" y="1957"/>
                </a:lnTo>
                <a:lnTo>
                  <a:pt x="1771" y="1962"/>
                </a:lnTo>
                <a:lnTo>
                  <a:pt x="1774" y="1967"/>
                </a:lnTo>
                <a:lnTo>
                  <a:pt x="1781" y="1976"/>
                </a:lnTo>
                <a:lnTo>
                  <a:pt x="1791" y="1987"/>
                </a:lnTo>
                <a:lnTo>
                  <a:pt x="1819" y="2017"/>
                </a:lnTo>
                <a:lnTo>
                  <a:pt x="1852" y="2050"/>
                </a:lnTo>
                <a:lnTo>
                  <a:pt x="1883" y="2081"/>
                </a:lnTo>
                <a:lnTo>
                  <a:pt x="1884" y="2083"/>
                </a:lnTo>
                <a:lnTo>
                  <a:pt x="1886" y="2085"/>
                </a:lnTo>
                <a:lnTo>
                  <a:pt x="1887" y="2087"/>
                </a:lnTo>
                <a:lnTo>
                  <a:pt x="1887" y="2090"/>
                </a:lnTo>
                <a:lnTo>
                  <a:pt x="1886" y="2095"/>
                </a:lnTo>
                <a:lnTo>
                  <a:pt x="1885" y="2098"/>
                </a:lnTo>
                <a:lnTo>
                  <a:pt x="1884" y="2101"/>
                </a:lnTo>
                <a:lnTo>
                  <a:pt x="1880" y="2107"/>
                </a:lnTo>
                <a:lnTo>
                  <a:pt x="1878" y="2109"/>
                </a:lnTo>
                <a:lnTo>
                  <a:pt x="1876" y="2112"/>
                </a:lnTo>
                <a:lnTo>
                  <a:pt x="1870" y="2116"/>
                </a:lnTo>
                <a:lnTo>
                  <a:pt x="1867" y="2118"/>
                </a:lnTo>
                <a:lnTo>
                  <a:pt x="1864" y="2120"/>
                </a:lnTo>
                <a:lnTo>
                  <a:pt x="1858" y="2123"/>
                </a:lnTo>
                <a:lnTo>
                  <a:pt x="1856" y="2123"/>
                </a:lnTo>
                <a:lnTo>
                  <a:pt x="1853" y="2123"/>
                </a:lnTo>
                <a:close/>
                <a:moveTo>
                  <a:pt x="1465" y="3095"/>
                </a:moveTo>
                <a:lnTo>
                  <a:pt x="1457" y="3094"/>
                </a:lnTo>
                <a:lnTo>
                  <a:pt x="1450" y="3094"/>
                </a:lnTo>
                <a:lnTo>
                  <a:pt x="1442" y="3093"/>
                </a:lnTo>
                <a:lnTo>
                  <a:pt x="1435" y="3090"/>
                </a:lnTo>
                <a:lnTo>
                  <a:pt x="1428" y="3088"/>
                </a:lnTo>
                <a:lnTo>
                  <a:pt x="1420" y="3086"/>
                </a:lnTo>
                <a:lnTo>
                  <a:pt x="1406" y="3080"/>
                </a:lnTo>
                <a:lnTo>
                  <a:pt x="1393" y="3073"/>
                </a:lnTo>
                <a:lnTo>
                  <a:pt x="1386" y="3069"/>
                </a:lnTo>
                <a:lnTo>
                  <a:pt x="1380" y="3064"/>
                </a:lnTo>
                <a:lnTo>
                  <a:pt x="1374" y="3059"/>
                </a:lnTo>
                <a:lnTo>
                  <a:pt x="1369" y="3054"/>
                </a:lnTo>
                <a:lnTo>
                  <a:pt x="1363" y="3049"/>
                </a:lnTo>
                <a:lnTo>
                  <a:pt x="1358" y="3043"/>
                </a:lnTo>
                <a:lnTo>
                  <a:pt x="1353" y="3037"/>
                </a:lnTo>
                <a:lnTo>
                  <a:pt x="1348" y="3029"/>
                </a:lnTo>
                <a:lnTo>
                  <a:pt x="1343" y="3023"/>
                </a:lnTo>
                <a:lnTo>
                  <a:pt x="1339" y="3016"/>
                </a:lnTo>
                <a:lnTo>
                  <a:pt x="1335" y="3009"/>
                </a:lnTo>
                <a:lnTo>
                  <a:pt x="1331" y="3001"/>
                </a:lnTo>
                <a:lnTo>
                  <a:pt x="1328" y="2994"/>
                </a:lnTo>
                <a:lnTo>
                  <a:pt x="1325" y="2986"/>
                </a:lnTo>
                <a:lnTo>
                  <a:pt x="1322" y="2978"/>
                </a:lnTo>
                <a:lnTo>
                  <a:pt x="1320" y="2969"/>
                </a:lnTo>
                <a:lnTo>
                  <a:pt x="1318" y="2961"/>
                </a:lnTo>
                <a:lnTo>
                  <a:pt x="1316" y="2952"/>
                </a:lnTo>
                <a:lnTo>
                  <a:pt x="1315" y="2943"/>
                </a:lnTo>
                <a:lnTo>
                  <a:pt x="1314" y="2934"/>
                </a:lnTo>
                <a:lnTo>
                  <a:pt x="1314" y="2925"/>
                </a:lnTo>
                <a:lnTo>
                  <a:pt x="1313" y="2916"/>
                </a:lnTo>
                <a:lnTo>
                  <a:pt x="1314" y="2897"/>
                </a:lnTo>
                <a:lnTo>
                  <a:pt x="1315" y="2887"/>
                </a:lnTo>
                <a:lnTo>
                  <a:pt x="1317" y="2878"/>
                </a:lnTo>
                <a:lnTo>
                  <a:pt x="1318" y="2869"/>
                </a:lnTo>
                <a:lnTo>
                  <a:pt x="1320" y="2860"/>
                </a:lnTo>
                <a:lnTo>
                  <a:pt x="1323" y="2852"/>
                </a:lnTo>
                <a:lnTo>
                  <a:pt x="1326" y="2842"/>
                </a:lnTo>
                <a:lnTo>
                  <a:pt x="1329" y="2834"/>
                </a:lnTo>
                <a:lnTo>
                  <a:pt x="1332" y="2825"/>
                </a:lnTo>
                <a:lnTo>
                  <a:pt x="1336" y="2817"/>
                </a:lnTo>
                <a:lnTo>
                  <a:pt x="1340" y="2810"/>
                </a:lnTo>
                <a:lnTo>
                  <a:pt x="1345" y="2802"/>
                </a:lnTo>
                <a:lnTo>
                  <a:pt x="1349" y="2795"/>
                </a:lnTo>
                <a:lnTo>
                  <a:pt x="1361" y="2780"/>
                </a:lnTo>
                <a:lnTo>
                  <a:pt x="1366" y="2773"/>
                </a:lnTo>
                <a:lnTo>
                  <a:pt x="1372" y="2767"/>
                </a:lnTo>
                <a:lnTo>
                  <a:pt x="1384" y="2756"/>
                </a:lnTo>
                <a:lnTo>
                  <a:pt x="1391" y="2751"/>
                </a:lnTo>
                <a:lnTo>
                  <a:pt x="1397" y="2746"/>
                </a:lnTo>
                <a:lnTo>
                  <a:pt x="1404" y="2741"/>
                </a:lnTo>
                <a:lnTo>
                  <a:pt x="1412" y="2737"/>
                </a:lnTo>
                <a:lnTo>
                  <a:pt x="1419" y="2734"/>
                </a:lnTo>
                <a:lnTo>
                  <a:pt x="1427" y="2730"/>
                </a:lnTo>
                <a:lnTo>
                  <a:pt x="1434" y="2727"/>
                </a:lnTo>
                <a:lnTo>
                  <a:pt x="1442" y="2725"/>
                </a:lnTo>
                <a:lnTo>
                  <a:pt x="1450" y="2723"/>
                </a:lnTo>
                <a:lnTo>
                  <a:pt x="1458" y="2721"/>
                </a:lnTo>
                <a:lnTo>
                  <a:pt x="1466" y="2721"/>
                </a:lnTo>
                <a:lnTo>
                  <a:pt x="1475" y="2720"/>
                </a:lnTo>
                <a:lnTo>
                  <a:pt x="1486" y="2721"/>
                </a:lnTo>
                <a:lnTo>
                  <a:pt x="1490" y="2721"/>
                </a:lnTo>
                <a:lnTo>
                  <a:pt x="1495" y="2722"/>
                </a:lnTo>
                <a:lnTo>
                  <a:pt x="1500" y="2723"/>
                </a:lnTo>
                <a:lnTo>
                  <a:pt x="1504" y="2725"/>
                </a:lnTo>
                <a:lnTo>
                  <a:pt x="1513" y="2728"/>
                </a:lnTo>
                <a:lnTo>
                  <a:pt x="1521" y="2733"/>
                </a:lnTo>
                <a:lnTo>
                  <a:pt x="1528" y="2737"/>
                </a:lnTo>
                <a:lnTo>
                  <a:pt x="1536" y="2743"/>
                </a:lnTo>
                <a:lnTo>
                  <a:pt x="1542" y="2749"/>
                </a:lnTo>
                <a:lnTo>
                  <a:pt x="1544" y="2752"/>
                </a:lnTo>
                <a:lnTo>
                  <a:pt x="1547" y="2755"/>
                </a:lnTo>
                <a:lnTo>
                  <a:pt x="1552" y="2762"/>
                </a:lnTo>
                <a:lnTo>
                  <a:pt x="1556" y="2770"/>
                </a:lnTo>
                <a:lnTo>
                  <a:pt x="1559" y="2778"/>
                </a:lnTo>
                <a:lnTo>
                  <a:pt x="1562" y="2787"/>
                </a:lnTo>
                <a:lnTo>
                  <a:pt x="1564" y="2797"/>
                </a:lnTo>
                <a:lnTo>
                  <a:pt x="1565" y="2807"/>
                </a:lnTo>
                <a:lnTo>
                  <a:pt x="1565" y="2817"/>
                </a:lnTo>
                <a:lnTo>
                  <a:pt x="1564" y="2829"/>
                </a:lnTo>
                <a:lnTo>
                  <a:pt x="1563" y="2835"/>
                </a:lnTo>
                <a:lnTo>
                  <a:pt x="1562" y="2842"/>
                </a:lnTo>
                <a:lnTo>
                  <a:pt x="1558" y="2854"/>
                </a:lnTo>
                <a:lnTo>
                  <a:pt x="1553" y="2866"/>
                </a:lnTo>
                <a:lnTo>
                  <a:pt x="1547" y="2877"/>
                </a:lnTo>
                <a:lnTo>
                  <a:pt x="1540" y="2888"/>
                </a:lnTo>
                <a:lnTo>
                  <a:pt x="1536" y="2893"/>
                </a:lnTo>
                <a:lnTo>
                  <a:pt x="1532" y="2898"/>
                </a:lnTo>
                <a:lnTo>
                  <a:pt x="1521" y="2907"/>
                </a:lnTo>
                <a:lnTo>
                  <a:pt x="1511" y="2916"/>
                </a:lnTo>
                <a:lnTo>
                  <a:pt x="1506" y="2920"/>
                </a:lnTo>
                <a:lnTo>
                  <a:pt x="1501" y="2924"/>
                </a:lnTo>
                <a:lnTo>
                  <a:pt x="1489" y="2931"/>
                </a:lnTo>
                <a:lnTo>
                  <a:pt x="1478" y="2936"/>
                </a:lnTo>
                <a:lnTo>
                  <a:pt x="1465" y="2941"/>
                </a:lnTo>
                <a:lnTo>
                  <a:pt x="1458" y="2943"/>
                </a:lnTo>
                <a:lnTo>
                  <a:pt x="1452" y="2944"/>
                </a:lnTo>
                <a:lnTo>
                  <a:pt x="1446" y="2945"/>
                </a:lnTo>
                <a:lnTo>
                  <a:pt x="1440" y="2946"/>
                </a:lnTo>
                <a:lnTo>
                  <a:pt x="1427" y="2947"/>
                </a:lnTo>
                <a:lnTo>
                  <a:pt x="1422" y="2946"/>
                </a:lnTo>
                <a:lnTo>
                  <a:pt x="1417" y="2944"/>
                </a:lnTo>
                <a:lnTo>
                  <a:pt x="1412" y="2942"/>
                </a:lnTo>
                <a:lnTo>
                  <a:pt x="1409" y="2940"/>
                </a:lnTo>
                <a:lnTo>
                  <a:pt x="1408" y="2938"/>
                </a:lnTo>
                <a:lnTo>
                  <a:pt x="1404" y="2933"/>
                </a:lnTo>
                <a:lnTo>
                  <a:pt x="1402" y="2928"/>
                </a:lnTo>
                <a:lnTo>
                  <a:pt x="1401" y="2925"/>
                </a:lnTo>
                <a:lnTo>
                  <a:pt x="1400" y="2922"/>
                </a:lnTo>
                <a:lnTo>
                  <a:pt x="1400" y="2916"/>
                </a:lnTo>
                <a:lnTo>
                  <a:pt x="1400" y="2913"/>
                </a:lnTo>
                <a:lnTo>
                  <a:pt x="1400" y="2909"/>
                </a:lnTo>
                <a:lnTo>
                  <a:pt x="1402" y="2904"/>
                </a:lnTo>
                <a:lnTo>
                  <a:pt x="1403" y="2902"/>
                </a:lnTo>
                <a:lnTo>
                  <a:pt x="1404" y="2900"/>
                </a:lnTo>
                <a:lnTo>
                  <a:pt x="1405" y="2899"/>
                </a:lnTo>
                <a:lnTo>
                  <a:pt x="1407" y="2897"/>
                </a:lnTo>
                <a:lnTo>
                  <a:pt x="1419" y="2896"/>
                </a:lnTo>
                <a:lnTo>
                  <a:pt x="1429" y="2893"/>
                </a:lnTo>
                <a:lnTo>
                  <a:pt x="1440" y="2890"/>
                </a:lnTo>
                <a:lnTo>
                  <a:pt x="1449" y="2886"/>
                </a:lnTo>
                <a:lnTo>
                  <a:pt x="1458" y="2881"/>
                </a:lnTo>
                <a:lnTo>
                  <a:pt x="1467" y="2876"/>
                </a:lnTo>
                <a:lnTo>
                  <a:pt x="1475" y="2870"/>
                </a:lnTo>
                <a:lnTo>
                  <a:pt x="1479" y="2868"/>
                </a:lnTo>
                <a:lnTo>
                  <a:pt x="1483" y="2865"/>
                </a:lnTo>
                <a:lnTo>
                  <a:pt x="1489" y="2858"/>
                </a:lnTo>
                <a:lnTo>
                  <a:pt x="1495" y="2852"/>
                </a:lnTo>
                <a:lnTo>
                  <a:pt x="1500" y="2844"/>
                </a:lnTo>
                <a:lnTo>
                  <a:pt x="1504" y="2837"/>
                </a:lnTo>
                <a:lnTo>
                  <a:pt x="1507" y="2830"/>
                </a:lnTo>
                <a:lnTo>
                  <a:pt x="1510" y="2823"/>
                </a:lnTo>
                <a:lnTo>
                  <a:pt x="1511" y="2816"/>
                </a:lnTo>
                <a:lnTo>
                  <a:pt x="1512" y="2809"/>
                </a:lnTo>
                <a:lnTo>
                  <a:pt x="1511" y="2801"/>
                </a:lnTo>
                <a:lnTo>
                  <a:pt x="1509" y="2794"/>
                </a:lnTo>
                <a:lnTo>
                  <a:pt x="1508" y="2789"/>
                </a:lnTo>
                <a:lnTo>
                  <a:pt x="1506" y="2786"/>
                </a:lnTo>
                <a:lnTo>
                  <a:pt x="1504" y="2784"/>
                </a:lnTo>
                <a:lnTo>
                  <a:pt x="1501" y="2781"/>
                </a:lnTo>
                <a:lnTo>
                  <a:pt x="1495" y="2777"/>
                </a:lnTo>
                <a:lnTo>
                  <a:pt x="1492" y="2775"/>
                </a:lnTo>
                <a:lnTo>
                  <a:pt x="1488" y="2774"/>
                </a:lnTo>
                <a:lnTo>
                  <a:pt x="1480" y="2772"/>
                </a:lnTo>
                <a:lnTo>
                  <a:pt x="1476" y="2771"/>
                </a:lnTo>
                <a:lnTo>
                  <a:pt x="1472" y="2771"/>
                </a:lnTo>
                <a:lnTo>
                  <a:pt x="1462" y="2772"/>
                </a:lnTo>
                <a:lnTo>
                  <a:pt x="1457" y="2773"/>
                </a:lnTo>
                <a:lnTo>
                  <a:pt x="1453" y="2774"/>
                </a:lnTo>
                <a:lnTo>
                  <a:pt x="1448" y="2776"/>
                </a:lnTo>
                <a:lnTo>
                  <a:pt x="1444" y="2777"/>
                </a:lnTo>
                <a:lnTo>
                  <a:pt x="1440" y="2780"/>
                </a:lnTo>
                <a:lnTo>
                  <a:pt x="1435" y="2782"/>
                </a:lnTo>
                <a:lnTo>
                  <a:pt x="1431" y="2785"/>
                </a:lnTo>
                <a:lnTo>
                  <a:pt x="1427" y="2788"/>
                </a:lnTo>
                <a:lnTo>
                  <a:pt x="1419" y="2796"/>
                </a:lnTo>
                <a:lnTo>
                  <a:pt x="1411" y="2804"/>
                </a:lnTo>
                <a:lnTo>
                  <a:pt x="1402" y="2813"/>
                </a:lnTo>
                <a:lnTo>
                  <a:pt x="1399" y="2818"/>
                </a:lnTo>
                <a:lnTo>
                  <a:pt x="1395" y="2823"/>
                </a:lnTo>
                <a:lnTo>
                  <a:pt x="1389" y="2834"/>
                </a:lnTo>
                <a:lnTo>
                  <a:pt x="1384" y="2845"/>
                </a:lnTo>
                <a:lnTo>
                  <a:pt x="1379" y="2859"/>
                </a:lnTo>
                <a:lnTo>
                  <a:pt x="1375" y="2871"/>
                </a:lnTo>
                <a:lnTo>
                  <a:pt x="1372" y="2885"/>
                </a:lnTo>
                <a:lnTo>
                  <a:pt x="1371" y="2899"/>
                </a:lnTo>
                <a:lnTo>
                  <a:pt x="1370" y="2906"/>
                </a:lnTo>
                <a:lnTo>
                  <a:pt x="1370" y="2914"/>
                </a:lnTo>
                <a:lnTo>
                  <a:pt x="1370" y="2926"/>
                </a:lnTo>
                <a:lnTo>
                  <a:pt x="1372" y="2939"/>
                </a:lnTo>
                <a:lnTo>
                  <a:pt x="1374" y="2950"/>
                </a:lnTo>
                <a:lnTo>
                  <a:pt x="1375" y="2956"/>
                </a:lnTo>
                <a:lnTo>
                  <a:pt x="1377" y="2961"/>
                </a:lnTo>
                <a:lnTo>
                  <a:pt x="1380" y="2973"/>
                </a:lnTo>
                <a:lnTo>
                  <a:pt x="1383" y="2978"/>
                </a:lnTo>
                <a:lnTo>
                  <a:pt x="1385" y="2983"/>
                </a:lnTo>
                <a:lnTo>
                  <a:pt x="1387" y="2987"/>
                </a:lnTo>
                <a:lnTo>
                  <a:pt x="1390" y="2992"/>
                </a:lnTo>
                <a:lnTo>
                  <a:pt x="1393" y="2996"/>
                </a:lnTo>
                <a:lnTo>
                  <a:pt x="1396" y="3000"/>
                </a:lnTo>
                <a:lnTo>
                  <a:pt x="1399" y="3004"/>
                </a:lnTo>
                <a:lnTo>
                  <a:pt x="1403" y="3007"/>
                </a:lnTo>
                <a:lnTo>
                  <a:pt x="1411" y="3014"/>
                </a:lnTo>
                <a:lnTo>
                  <a:pt x="1419" y="3020"/>
                </a:lnTo>
                <a:lnTo>
                  <a:pt x="1427" y="3025"/>
                </a:lnTo>
                <a:lnTo>
                  <a:pt x="1436" y="3028"/>
                </a:lnTo>
                <a:lnTo>
                  <a:pt x="1446" y="3032"/>
                </a:lnTo>
                <a:lnTo>
                  <a:pt x="1456" y="3034"/>
                </a:lnTo>
                <a:lnTo>
                  <a:pt x="1461" y="3034"/>
                </a:lnTo>
                <a:lnTo>
                  <a:pt x="1467" y="3034"/>
                </a:lnTo>
                <a:lnTo>
                  <a:pt x="1478" y="3034"/>
                </a:lnTo>
                <a:lnTo>
                  <a:pt x="1488" y="3032"/>
                </a:lnTo>
                <a:lnTo>
                  <a:pt x="1498" y="3029"/>
                </a:lnTo>
                <a:lnTo>
                  <a:pt x="1508" y="3026"/>
                </a:lnTo>
                <a:lnTo>
                  <a:pt x="1517" y="3021"/>
                </a:lnTo>
                <a:lnTo>
                  <a:pt x="1526" y="3016"/>
                </a:lnTo>
                <a:lnTo>
                  <a:pt x="1536" y="3010"/>
                </a:lnTo>
                <a:lnTo>
                  <a:pt x="1544" y="3004"/>
                </a:lnTo>
                <a:lnTo>
                  <a:pt x="1552" y="2997"/>
                </a:lnTo>
                <a:lnTo>
                  <a:pt x="1560" y="2989"/>
                </a:lnTo>
                <a:lnTo>
                  <a:pt x="1567" y="2980"/>
                </a:lnTo>
                <a:lnTo>
                  <a:pt x="1574" y="2970"/>
                </a:lnTo>
                <a:lnTo>
                  <a:pt x="1587" y="2951"/>
                </a:lnTo>
                <a:lnTo>
                  <a:pt x="1594" y="2941"/>
                </a:lnTo>
                <a:lnTo>
                  <a:pt x="1599" y="2930"/>
                </a:lnTo>
                <a:lnTo>
                  <a:pt x="1604" y="2919"/>
                </a:lnTo>
                <a:lnTo>
                  <a:pt x="1609" y="2906"/>
                </a:lnTo>
                <a:lnTo>
                  <a:pt x="1614" y="2895"/>
                </a:lnTo>
                <a:lnTo>
                  <a:pt x="1618" y="2883"/>
                </a:lnTo>
                <a:lnTo>
                  <a:pt x="1622" y="2871"/>
                </a:lnTo>
                <a:lnTo>
                  <a:pt x="1625" y="2859"/>
                </a:lnTo>
                <a:lnTo>
                  <a:pt x="1628" y="2846"/>
                </a:lnTo>
                <a:lnTo>
                  <a:pt x="1631" y="2834"/>
                </a:lnTo>
                <a:lnTo>
                  <a:pt x="1633" y="2822"/>
                </a:lnTo>
                <a:lnTo>
                  <a:pt x="1635" y="2810"/>
                </a:lnTo>
                <a:lnTo>
                  <a:pt x="1636" y="2799"/>
                </a:lnTo>
                <a:lnTo>
                  <a:pt x="1637" y="2786"/>
                </a:lnTo>
                <a:lnTo>
                  <a:pt x="1638" y="2775"/>
                </a:lnTo>
                <a:lnTo>
                  <a:pt x="1638" y="2764"/>
                </a:lnTo>
                <a:lnTo>
                  <a:pt x="1638" y="2753"/>
                </a:lnTo>
                <a:lnTo>
                  <a:pt x="1638" y="2742"/>
                </a:lnTo>
                <a:lnTo>
                  <a:pt x="1639" y="2740"/>
                </a:lnTo>
                <a:lnTo>
                  <a:pt x="1640" y="2738"/>
                </a:lnTo>
                <a:lnTo>
                  <a:pt x="1643" y="2736"/>
                </a:lnTo>
                <a:lnTo>
                  <a:pt x="1645" y="2734"/>
                </a:lnTo>
                <a:lnTo>
                  <a:pt x="1653" y="2730"/>
                </a:lnTo>
                <a:lnTo>
                  <a:pt x="1657" y="2730"/>
                </a:lnTo>
                <a:lnTo>
                  <a:pt x="1661" y="2729"/>
                </a:lnTo>
                <a:lnTo>
                  <a:pt x="1668" y="2730"/>
                </a:lnTo>
                <a:lnTo>
                  <a:pt x="1672" y="2732"/>
                </a:lnTo>
                <a:lnTo>
                  <a:pt x="1675" y="2732"/>
                </a:lnTo>
                <a:lnTo>
                  <a:pt x="1681" y="2735"/>
                </a:lnTo>
                <a:lnTo>
                  <a:pt x="1683" y="2737"/>
                </a:lnTo>
                <a:lnTo>
                  <a:pt x="1685" y="2740"/>
                </a:lnTo>
                <a:lnTo>
                  <a:pt x="1689" y="2745"/>
                </a:lnTo>
                <a:lnTo>
                  <a:pt x="1691" y="2749"/>
                </a:lnTo>
                <a:lnTo>
                  <a:pt x="1692" y="2753"/>
                </a:lnTo>
                <a:lnTo>
                  <a:pt x="1694" y="2757"/>
                </a:lnTo>
                <a:lnTo>
                  <a:pt x="1694" y="2762"/>
                </a:lnTo>
                <a:lnTo>
                  <a:pt x="1695" y="2767"/>
                </a:lnTo>
                <a:lnTo>
                  <a:pt x="1695" y="2773"/>
                </a:lnTo>
                <a:lnTo>
                  <a:pt x="1694" y="2789"/>
                </a:lnTo>
                <a:lnTo>
                  <a:pt x="1693" y="2805"/>
                </a:lnTo>
                <a:lnTo>
                  <a:pt x="1692" y="2820"/>
                </a:lnTo>
                <a:lnTo>
                  <a:pt x="1690" y="2835"/>
                </a:lnTo>
                <a:lnTo>
                  <a:pt x="1687" y="2850"/>
                </a:lnTo>
                <a:lnTo>
                  <a:pt x="1684" y="2866"/>
                </a:lnTo>
                <a:lnTo>
                  <a:pt x="1681" y="2880"/>
                </a:lnTo>
                <a:lnTo>
                  <a:pt x="1677" y="2895"/>
                </a:lnTo>
                <a:lnTo>
                  <a:pt x="1673" y="2908"/>
                </a:lnTo>
                <a:lnTo>
                  <a:pt x="1668" y="2923"/>
                </a:lnTo>
                <a:lnTo>
                  <a:pt x="1663" y="2936"/>
                </a:lnTo>
                <a:lnTo>
                  <a:pt x="1657" y="2949"/>
                </a:lnTo>
                <a:lnTo>
                  <a:pt x="1651" y="2961"/>
                </a:lnTo>
                <a:lnTo>
                  <a:pt x="1643" y="2975"/>
                </a:lnTo>
                <a:lnTo>
                  <a:pt x="1636" y="2986"/>
                </a:lnTo>
                <a:lnTo>
                  <a:pt x="1629" y="2997"/>
                </a:lnTo>
                <a:lnTo>
                  <a:pt x="1621" y="3008"/>
                </a:lnTo>
                <a:lnTo>
                  <a:pt x="1613" y="3018"/>
                </a:lnTo>
                <a:lnTo>
                  <a:pt x="1605" y="3028"/>
                </a:lnTo>
                <a:lnTo>
                  <a:pt x="1596" y="3038"/>
                </a:lnTo>
                <a:lnTo>
                  <a:pt x="1586" y="3046"/>
                </a:lnTo>
                <a:lnTo>
                  <a:pt x="1577" y="3054"/>
                </a:lnTo>
                <a:lnTo>
                  <a:pt x="1567" y="3061"/>
                </a:lnTo>
                <a:lnTo>
                  <a:pt x="1557" y="3068"/>
                </a:lnTo>
                <a:lnTo>
                  <a:pt x="1547" y="3074"/>
                </a:lnTo>
                <a:lnTo>
                  <a:pt x="1536" y="3079"/>
                </a:lnTo>
                <a:lnTo>
                  <a:pt x="1524" y="3083"/>
                </a:lnTo>
                <a:lnTo>
                  <a:pt x="1513" y="3087"/>
                </a:lnTo>
                <a:lnTo>
                  <a:pt x="1502" y="3090"/>
                </a:lnTo>
                <a:lnTo>
                  <a:pt x="1490" y="3093"/>
                </a:lnTo>
                <a:lnTo>
                  <a:pt x="1478" y="3094"/>
                </a:lnTo>
                <a:lnTo>
                  <a:pt x="1465" y="3095"/>
                </a:lnTo>
                <a:close/>
                <a:moveTo>
                  <a:pt x="1853" y="3088"/>
                </a:moveTo>
                <a:lnTo>
                  <a:pt x="1851" y="3088"/>
                </a:lnTo>
                <a:lnTo>
                  <a:pt x="1849" y="3087"/>
                </a:lnTo>
                <a:lnTo>
                  <a:pt x="1843" y="3084"/>
                </a:lnTo>
                <a:lnTo>
                  <a:pt x="1837" y="3080"/>
                </a:lnTo>
                <a:lnTo>
                  <a:pt x="1829" y="3075"/>
                </a:lnTo>
                <a:lnTo>
                  <a:pt x="1816" y="3064"/>
                </a:lnTo>
                <a:lnTo>
                  <a:pt x="1801" y="3050"/>
                </a:lnTo>
                <a:lnTo>
                  <a:pt x="1784" y="3034"/>
                </a:lnTo>
                <a:lnTo>
                  <a:pt x="1767" y="3016"/>
                </a:lnTo>
                <a:lnTo>
                  <a:pt x="1751" y="2999"/>
                </a:lnTo>
                <a:lnTo>
                  <a:pt x="1737" y="2983"/>
                </a:lnTo>
                <a:lnTo>
                  <a:pt x="1725" y="2967"/>
                </a:lnTo>
                <a:lnTo>
                  <a:pt x="1721" y="2961"/>
                </a:lnTo>
                <a:lnTo>
                  <a:pt x="1718" y="2956"/>
                </a:lnTo>
                <a:lnTo>
                  <a:pt x="1713" y="2946"/>
                </a:lnTo>
                <a:lnTo>
                  <a:pt x="1708" y="2936"/>
                </a:lnTo>
                <a:lnTo>
                  <a:pt x="1705" y="2926"/>
                </a:lnTo>
                <a:lnTo>
                  <a:pt x="1705" y="2916"/>
                </a:lnTo>
                <a:lnTo>
                  <a:pt x="1705" y="2910"/>
                </a:lnTo>
                <a:lnTo>
                  <a:pt x="1706" y="2904"/>
                </a:lnTo>
                <a:lnTo>
                  <a:pt x="1707" y="2898"/>
                </a:lnTo>
                <a:lnTo>
                  <a:pt x="1709" y="2892"/>
                </a:lnTo>
                <a:lnTo>
                  <a:pt x="1713" y="2886"/>
                </a:lnTo>
                <a:lnTo>
                  <a:pt x="1716" y="2880"/>
                </a:lnTo>
                <a:lnTo>
                  <a:pt x="1720" y="2873"/>
                </a:lnTo>
                <a:lnTo>
                  <a:pt x="1724" y="2866"/>
                </a:lnTo>
                <a:lnTo>
                  <a:pt x="1732" y="2855"/>
                </a:lnTo>
                <a:lnTo>
                  <a:pt x="1744" y="2841"/>
                </a:lnTo>
                <a:lnTo>
                  <a:pt x="1774" y="2807"/>
                </a:lnTo>
                <a:lnTo>
                  <a:pt x="1809" y="2767"/>
                </a:lnTo>
                <a:lnTo>
                  <a:pt x="1845" y="2726"/>
                </a:lnTo>
                <a:lnTo>
                  <a:pt x="1846" y="2725"/>
                </a:lnTo>
                <a:lnTo>
                  <a:pt x="1849" y="2725"/>
                </a:lnTo>
                <a:lnTo>
                  <a:pt x="1853" y="2725"/>
                </a:lnTo>
                <a:lnTo>
                  <a:pt x="1857" y="2726"/>
                </a:lnTo>
                <a:lnTo>
                  <a:pt x="1861" y="2728"/>
                </a:lnTo>
                <a:lnTo>
                  <a:pt x="1866" y="2732"/>
                </a:lnTo>
                <a:lnTo>
                  <a:pt x="1870" y="2735"/>
                </a:lnTo>
                <a:lnTo>
                  <a:pt x="1874" y="2739"/>
                </a:lnTo>
                <a:lnTo>
                  <a:pt x="1877" y="2743"/>
                </a:lnTo>
                <a:lnTo>
                  <a:pt x="1880" y="2748"/>
                </a:lnTo>
                <a:lnTo>
                  <a:pt x="1881" y="2752"/>
                </a:lnTo>
                <a:lnTo>
                  <a:pt x="1882" y="2757"/>
                </a:lnTo>
                <a:lnTo>
                  <a:pt x="1881" y="2762"/>
                </a:lnTo>
                <a:lnTo>
                  <a:pt x="1880" y="2768"/>
                </a:lnTo>
                <a:lnTo>
                  <a:pt x="1877" y="2773"/>
                </a:lnTo>
                <a:lnTo>
                  <a:pt x="1873" y="2779"/>
                </a:lnTo>
                <a:lnTo>
                  <a:pt x="1865" y="2790"/>
                </a:lnTo>
                <a:lnTo>
                  <a:pt x="1853" y="2804"/>
                </a:lnTo>
                <a:lnTo>
                  <a:pt x="1823" y="2837"/>
                </a:lnTo>
                <a:lnTo>
                  <a:pt x="1794" y="2871"/>
                </a:lnTo>
                <a:lnTo>
                  <a:pt x="1781" y="2886"/>
                </a:lnTo>
                <a:lnTo>
                  <a:pt x="1772" y="2897"/>
                </a:lnTo>
                <a:lnTo>
                  <a:pt x="1769" y="2901"/>
                </a:lnTo>
                <a:lnTo>
                  <a:pt x="1767" y="2905"/>
                </a:lnTo>
                <a:lnTo>
                  <a:pt x="1766" y="2908"/>
                </a:lnTo>
                <a:lnTo>
                  <a:pt x="1766" y="2913"/>
                </a:lnTo>
                <a:lnTo>
                  <a:pt x="1766" y="2917"/>
                </a:lnTo>
                <a:lnTo>
                  <a:pt x="1767" y="2922"/>
                </a:lnTo>
                <a:lnTo>
                  <a:pt x="1771" y="2926"/>
                </a:lnTo>
                <a:lnTo>
                  <a:pt x="1774" y="2931"/>
                </a:lnTo>
                <a:lnTo>
                  <a:pt x="1781" y="2940"/>
                </a:lnTo>
                <a:lnTo>
                  <a:pt x="1791" y="2952"/>
                </a:lnTo>
                <a:lnTo>
                  <a:pt x="1819" y="2982"/>
                </a:lnTo>
                <a:lnTo>
                  <a:pt x="1852" y="3014"/>
                </a:lnTo>
                <a:lnTo>
                  <a:pt x="1883" y="3045"/>
                </a:lnTo>
                <a:lnTo>
                  <a:pt x="1884" y="3047"/>
                </a:lnTo>
                <a:lnTo>
                  <a:pt x="1886" y="3049"/>
                </a:lnTo>
                <a:lnTo>
                  <a:pt x="1887" y="3051"/>
                </a:lnTo>
                <a:lnTo>
                  <a:pt x="1887" y="3054"/>
                </a:lnTo>
                <a:lnTo>
                  <a:pt x="1886" y="3060"/>
                </a:lnTo>
                <a:lnTo>
                  <a:pt x="1885" y="3062"/>
                </a:lnTo>
                <a:lnTo>
                  <a:pt x="1884" y="3065"/>
                </a:lnTo>
                <a:lnTo>
                  <a:pt x="1880" y="3071"/>
                </a:lnTo>
                <a:lnTo>
                  <a:pt x="1878" y="3074"/>
                </a:lnTo>
                <a:lnTo>
                  <a:pt x="1876" y="3076"/>
                </a:lnTo>
                <a:lnTo>
                  <a:pt x="1870" y="3081"/>
                </a:lnTo>
                <a:lnTo>
                  <a:pt x="1867" y="3083"/>
                </a:lnTo>
                <a:lnTo>
                  <a:pt x="1864" y="3085"/>
                </a:lnTo>
                <a:lnTo>
                  <a:pt x="1858" y="3087"/>
                </a:lnTo>
                <a:lnTo>
                  <a:pt x="1856" y="3088"/>
                </a:lnTo>
                <a:lnTo>
                  <a:pt x="1853" y="3088"/>
                </a:lnTo>
                <a:close/>
                <a:moveTo>
                  <a:pt x="5295" y="1136"/>
                </a:moveTo>
                <a:lnTo>
                  <a:pt x="5287" y="1136"/>
                </a:lnTo>
                <a:lnTo>
                  <a:pt x="5279" y="1135"/>
                </a:lnTo>
                <a:lnTo>
                  <a:pt x="5272" y="1134"/>
                </a:lnTo>
                <a:lnTo>
                  <a:pt x="5265" y="1132"/>
                </a:lnTo>
                <a:lnTo>
                  <a:pt x="5257" y="1131"/>
                </a:lnTo>
                <a:lnTo>
                  <a:pt x="5249" y="1128"/>
                </a:lnTo>
                <a:lnTo>
                  <a:pt x="5236" y="1122"/>
                </a:lnTo>
                <a:lnTo>
                  <a:pt x="5223" y="1115"/>
                </a:lnTo>
                <a:lnTo>
                  <a:pt x="5216" y="1110"/>
                </a:lnTo>
                <a:lnTo>
                  <a:pt x="5210" y="1105"/>
                </a:lnTo>
                <a:lnTo>
                  <a:pt x="5204" y="1101"/>
                </a:lnTo>
                <a:lnTo>
                  <a:pt x="5199" y="1095"/>
                </a:lnTo>
                <a:lnTo>
                  <a:pt x="5193" y="1090"/>
                </a:lnTo>
                <a:lnTo>
                  <a:pt x="5187" y="1084"/>
                </a:lnTo>
                <a:lnTo>
                  <a:pt x="5182" y="1078"/>
                </a:lnTo>
                <a:lnTo>
                  <a:pt x="5177" y="1072"/>
                </a:lnTo>
                <a:lnTo>
                  <a:pt x="5173" y="1065"/>
                </a:lnTo>
                <a:lnTo>
                  <a:pt x="5169" y="1058"/>
                </a:lnTo>
                <a:lnTo>
                  <a:pt x="5165" y="1050"/>
                </a:lnTo>
                <a:lnTo>
                  <a:pt x="5161" y="1043"/>
                </a:lnTo>
                <a:lnTo>
                  <a:pt x="5158" y="1035"/>
                </a:lnTo>
                <a:lnTo>
                  <a:pt x="5155" y="1027"/>
                </a:lnTo>
                <a:lnTo>
                  <a:pt x="5152" y="1020"/>
                </a:lnTo>
                <a:lnTo>
                  <a:pt x="5150" y="1011"/>
                </a:lnTo>
                <a:lnTo>
                  <a:pt x="5148" y="1003"/>
                </a:lnTo>
                <a:lnTo>
                  <a:pt x="5146" y="994"/>
                </a:lnTo>
                <a:lnTo>
                  <a:pt x="5145" y="985"/>
                </a:lnTo>
                <a:lnTo>
                  <a:pt x="5144" y="976"/>
                </a:lnTo>
                <a:lnTo>
                  <a:pt x="5143" y="967"/>
                </a:lnTo>
                <a:lnTo>
                  <a:pt x="5143" y="958"/>
                </a:lnTo>
                <a:lnTo>
                  <a:pt x="5144" y="939"/>
                </a:lnTo>
                <a:lnTo>
                  <a:pt x="5145" y="929"/>
                </a:lnTo>
                <a:lnTo>
                  <a:pt x="5146" y="920"/>
                </a:lnTo>
                <a:lnTo>
                  <a:pt x="5148" y="911"/>
                </a:lnTo>
                <a:lnTo>
                  <a:pt x="5150" y="902"/>
                </a:lnTo>
                <a:lnTo>
                  <a:pt x="5153" y="893"/>
                </a:lnTo>
                <a:lnTo>
                  <a:pt x="5156" y="884"/>
                </a:lnTo>
                <a:lnTo>
                  <a:pt x="5159" y="876"/>
                </a:lnTo>
                <a:lnTo>
                  <a:pt x="5162" y="867"/>
                </a:lnTo>
                <a:lnTo>
                  <a:pt x="5166" y="859"/>
                </a:lnTo>
                <a:lnTo>
                  <a:pt x="5170" y="851"/>
                </a:lnTo>
                <a:lnTo>
                  <a:pt x="5175" y="843"/>
                </a:lnTo>
                <a:lnTo>
                  <a:pt x="5179" y="836"/>
                </a:lnTo>
                <a:lnTo>
                  <a:pt x="5189" y="822"/>
                </a:lnTo>
                <a:lnTo>
                  <a:pt x="5196" y="816"/>
                </a:lnTo>
                <a:lnTo>
                  <a:pt x="5202" y="809"/>
                </a:lnTo>
                <a:lnTo>
                  <a:pt x="5214" y="797"/>
                </a:lnTo>
                <a:lnTo>
                  <a:pt x="5220" y="792"/>
                </a:lnTo>
                <a:lnTo>
                  <a:pt x="5227" y="787"/>
                </a:lnTo>
                <a:lnTo>
                  <a:pt x="5234" y="783"/>
                </a:lnTo>
                <a:lnTo>
                  <a:pt x="5241" y="779"/>
                </a:lnTo>
                <a:lnTo>
                  <a:pt x="5248" y="775"/>
                </a:lnTo>
                <a:lnTo>
                  <a:pt x="5257" y="772"/>
                </a:lnTo>
                <a:lnTo>
                  <a:pt x="5264" y="769"/>
                </a:lnTo>
                <a:lnTo>
                  <a:pt x="5272" y="767"/>
                </a:lnTo>
                <a:lnTo>
                  <a:pt x="5280" y="765"/>
                </a:lnTo>
                <a:lnTo>
                  <a:pt x="5288" y="764"/>
                </a:lnTo>
                <a:lnTo>
                  <a:pt x="5296" y="763"/>
                </a:lnTo>
                <a:lnTo>
                  <a:pt x="5304" y="763"/>
                </a:lnTo>
                <a:lnTo>
                  <a:pt x="5315" y="763"/>
                </a:lnTo>
                <a:lnTo>
                  <a:pt x="5320" y="764"/>
                </a:lnTo>
                <a:lnTo>
                  <a:pt x="5325" y="765"/>
                </a:lnTo>
                <a:lnTo>
                  <a:pt x="5330" y="766"/>
                </a:lnTo>
                <a:lnTo>
                  <a:pt x="5334" y="767"/>
                </a:lnTo>
                <a:lnTo>
                  <a:pt x="5343" y="770"/>
                </a:lnTo>
                <a:lnTo>
                  <a:pt x="5351" y="774"/>
                </a:lnTo>
                <a:lnTo>
                  <a:pt x="5358" y="779"/>
                </a:lnTo>
                <a:lnTo>
                  <a:pt x="5365" y="784"/>
                </a:lnTo>
                <a:lnTo>
                  <a:pt x="5372" y="790"/>
                </a:lnTo>
                <a:lnTo>
                  <a:pt x="5374" y="793"/>
                </a:lnTo>
                <a:lnTo>
                  <a:pt x="5377" y="797"/>
                </a:lnTo>
                <a:lnTo>
                  <a:pt x="5382" y="804"/>
                </a:lnTo>
                <a:lnTo>
                  <a:pt x="5386" y="813"/>
                </a:lnTo>
                <a:lnTo>
                  <a:pt x="5389" y="821"/>
                </a:lnTo>
                <a:lnTo>
                  <a:pt x="5392" y="830"/>
                </a:lnTo>
                <a:lnTo>
                  <a:pt x="5394" y="839"/>
                </a:lnTo>
                <a:lnTo>
                  <a:pt x="5395" y="848"/>
                </a:lnTo>
                <a:lnTo>
                  <a:pt x="5395" y="858"/>
                </a:lnTo>
                <a:lnTo>
                  <a:pt x="5394" y="872"/>
                </a:lnTo>
                <a:lnTo>
                  <a:pt x="5393" y="878"/>
                </a:lnTo>
                <a:lnTo>
                  <a:pt x="5392" y="884"/>
                </a:lnTo>
                <a:lnTo>
                  <a:pt x="5388" y="896"/>
                </a:lnTo>
                <a:lnTo>
                  <a:pt x="5383" y="907"/>
                </a:lnTo>
                <a:lnTo>
                  <a:pt x="5377" y="919"/>
                </a:lnTo>
                <a:lnTo>
                  <a:pt x="5369" y="929"/>
                </a:lnTo>
                <a:lnTo>
                  <a:pt x="5365" y="935"/>
                </a:lnTo>
                <a:lnTo>
                  <a:pt x="5360" y="940"/>
                </a:lnTo>
                <a:lnTo>
                  <a:pt x="5351" y="949"/>
                </a:lnTo>
                <a:lnTo>
                  <a:pt x="5341" y="958"/>
                </a:lnTo>
                <a:lnTo>
                  <a:pt x="5336" y="962"/>
                </a:lnTo>
                <a:lnTo>
                  <a:pt x="5331" y="965"/>
                </a:lnTo>
                <a:lnTo>
                  <a:pt x="5319" y="972"/>
                </a:lnTo>
                <a:lnTo>
                  <a:pt x="5307" y="978"/>
                </a:lnTo>
                <a:lnTo>
                  <a:pt x="5294" y="982"/>
                </a:lnTo>
                <a:lnTo>
                  <a:pt x="5288" y="984"/>
                </a:lnTo>
                <a:lnTo>
                  <a:pt x="5282" y="986"/>
                </a:lnTo>
                <a:lnTo>
                  <a:pt x="5276" y="987"/>
                </a:lnTo>
                <a:lnTo>
                  <a:pt x="5270" y="988"/>
                </a:lnTo>
                <a:lnTo>
                  <a:pt x="5257" y="988"/>
                </a:lnTo>
                <a:lnTo>
                  <a:pt x="5252" y="988"/>
                </a:lnTo>
                <a:lnTo>
                  <a:pt x="5246" y="986"/>
                </a:lnTo>
                <a:lnTo>
                  <a:pt x="5241" y="983"/>
                </a:lnTo>
                <a:lnTo>
                  <a:pt x="5239" y="981"/>
                </a:lnTo>
                <a:lnTo>
                  <a:pt x="5237" y="979"/>
                </a:lnTo>
                <a:lnTo>
                  <a:pt x="5234" y="974"/>
                </a:lnTo>
                <a:lnTo>
                  <a:pt x="5232" y="969"/>
                </a:lnTo>
                <a:lnTo>
                  <a:pt x="5231" y="966"/>
                </a:lnTo>
                <a:lnTo>
                  <a:pt x="5230" y="963"/>
                </a:lnTo>
                <a:lnTo>
                  <a:pt x="5230" y="957"/>
                </a:lnTo>
                <a:lnTo>
                  <a:pt x="5230" y="954"/>
                </a:lnTo>
                <a:lnTo>
                  <a:pt x="5230" y="951"/>
                </a:lnTo>
                <a:lnTo>
                  <a:pt x="5231" y="947"/>
                </a:lnTo>
                <a:lnTo>
                  <a:pt x="5232" y="944"/>
                </a:lnTo>
                <a:lnTo>
                  <a:pt x="5234" y="943"/>
                </a:lnTo>
                <a:lnTo>
                  <a:pt x="5235" y="941"/>
                </a:lnTo>
                <a:lnTo>
                  <a:pt x="5237" y="940"/>
                </a:lnTo>
                <a:lnTo>
                  <a:pt x="5248" y="938"/>
                </a:lnTo>
                <a:lnTo>
                  <a:pt x="5259" y="935"/>
                </a:lnTo>
                <a:lnTo>
                  <a:pt x="5269" y="932"/>
                </a:lnTo>
                <a:lnTo>
                  <a:pt x="5279" y="927"/>
                </a:lnTo>
                <a:lnTo>
                  <a:pt x="5288" y="922"/>
                </a:lnTo>
                <a:lnTo>
                  <a:pt x="5297" y="917"/>
                </a:lnTo>
                <a:lnTo>
                  <a:pt x="5304" y="912"/>
                </a:lnTo>
                <a:lnTo>
                  <a:pt x="5308" y="909"/>
                </a:lnTo>
                <a:lnTo>
                  <a:pt x="5313" y="906"/>
                </a:lnTo>
                <a:lnTo>
                  <a:pt x="5319" y="900"/>
                </a:lnTo>
                <a:lnTo>
                  <a:pt x="5325" y="893"/>
                </a:lnTo>
                <a:lnTo>
                  <a:pt x="5330" y="886"/>
                </a:lnTo>
                <a:lnTo>
                  <a:pt x="5334" y="880"/>
                </a:lnTo>
                <a:lnTo>
                  <a:pt x="5337" y="873"/>
                </a:lnTo>
                <a:lnTo>
                  <a:pt x="5340" y="865"/>
                </a:lnTo>
                <a:lnTo>
                  <a:pt x="5341" y="857"/>
                </a:lnTo>
                <a:lnTo>
                  <a:pt x="5342" y="850"/>
                </a:lnTo>
                <a:lnTo>
                  <a:pt x="5341" y="842"/>
                </a:lnTo>
                <a:lnTo>
                  <a:pt x="5339" y="835"/>
                </a:lnTo>
                <a:lnTo>
                  <a:pt x="5337" y="832"/>
                </a:lnTo>
                <a:lnTo>
                  <a:pt x="5336" y="829"/>
                </a:lnTo>
                <a:lnTo>
                  <a:pt x="5333" y="826"/>
                </a:lnTo>
                <a:lnTo>
                  <a:pt x="5331" y="823"/>
                </a:lnTo>
                <a:lnTo>
                  <a:pt x="5325" y="819"/>
                </a:lnTo>
                <a:lnTo>
                  <a:pt x="5322" y="817"/>
                </a:lnTo>
                <a:lnTo>
                  <a:pt x="5318" y="816"/>
                </a:lnTo>
                <a:lnTo>
                  <a:pt x="5309" y="814"/>
                </a:lnTo>
                <a:lnTo>
                  <a:pt x="5305" y="814"/>
                </a:lnTo>
                <a:lnTo>
                  <a:pt x="5300" y="814"/>
                </a:lnTo>
                <a:lnTo>
                  <a:pt x="5292" y="814"/>
                </a:lnTo>
                <a:lnTo>
                  <a:pt x="5287" y="815"/>
                </a:lnTo>
                <a:lnTo>
                  <a:pt x="5283" y="816"/>
                </a:lnTo>
                <a:lnTo>
                  <a:pt x="5278" y="818"/>
                </a:lnTo>
                <a:lnTo>
                  <a:pt x="5274" y="820"/>
                </a:lnTo>
                <a:lnTo>
                  <a:pt x="5270" y="822"/>
                </a:lnTo>
                <a:lnTo>
                  <a:pt x="5265" y="825"/>
                </a:lnTo>
                <a:lnTo>
                  <a:pt x="5261" y="827"/>
                </a:lnTo>
                <a:lnTo>
                  <a:pt x="5257" y="830"/>
                </a:lnTo>
                <a:lnTo>
                  <a:pt x="5247" y="838"/>
                </a:lnTo>
                <a:lnTo>
                  <a:pt x="5240" y="846"/>
                </a:lnTo>
                <a:lnTo>
                  <a:pt x="5232" y="855"/>
                </a:lnTo>
                <a:lnTo>
                  <a:pt x="5229" y="859"/>
                </a:lnTo>
                <a:lnTo>
                  <a:pt x="5225" y="865"/>
                </a:lnTo>
                <a:lnTo>
                  <a:pt x="5219" y="876"/>
                </a:lnTo>
                <a:lnTo>
                  <a:pt x="5214" y="888"/>
                </a:lnTo>
                <a:lnTo>
                  <a:pt x="5209" y="900"/>
                </a:lnTo>
                <a:lnTo>
                  <a:pt x="5205" y="913"/>
                </a:lnTo>
                <a:lnTo>
                  <a:pt x="5202" y="926"/>
                </a:lnTo>
                <a:lnTo>
                  <a:pt x="5200" y="941"/>
                </a:lnTo>
                <a:lnTo>
                  <a:pt x="5200" y="948"/>
                </a:lnTo>
                <a:lnTo>
                  <a:pt x="5200" y="955"/>
                </a:lnTo>
                <a:lnTo>
                  <a:pt x="5200" y="968"/>
                </a:lnTo>
                <a:lnTo>
                  <a:pt x="5202" y="980"/>
                </a:lnTo>
                <a:lnTo>
                  <a:pt x="5204" y="993"/>
                </a:lnTo>
                <a:lnTo>
                  <a:pt x="5205" y="998"/>
                </a:lnTo>
                <a:lnTo>
                  <a:pt x="5207" y="1004"/>
                </a:lnTo>
                <a:lnTo>
                  <a:pt x="5210" y="1014"/>
                </a:lnTo>
                <a:lnTo>
                  <a:pt x="5212" y="1019"/>
                </a:lnTo>
                <a:lnTo>
                  <a:pt x="5215" y="1024"/>
                </a:lnTo>
                <a:lnTo>
                  <a:pt x="5217" y="1029"/>
                </a:lnTo>
                <a:lnTo>
                  <a:pt x="5220" y="1033"/>
                </a:lnTo>
                <a:lnTo>
                  <a:pt x="5223" y="1037"/>
                </a:lnTo>
                <a:lnTo>
                  <a:pt x="5226" y="1041"/>
                </a:lnTo>
                <a:lnTo>
                  <a:pt x="5229" y="1045"/>
                </a:lnTo>
                <a:lnTo>
                  <a:pt x="5233" y="1049"/>
                </a:lnTo>
                <a:lnTo>
                  <a:pt x="5240" y="1056"/>
                </a:lnTo>
                <a:lnTo>
                  <a:pt x="5248" y="1062"/>
                </a:lnTo>
                <a:lnTo>
                  <a:pt x="5257" y="1067"/>
                </a:lnTo>
                <a:lnTo>
                  <a:pt x="5266" y="1071"/>
                </a:lnTo>
                <a:lnTo>
                  <a:pt x="5276" y="1073"/>
                </a:lnTo>
                <a:lnTo>
                  <a:pt x="5286" y="1075"/>
                </a:lnTo>
                <a:lnTo>
                  <a:pt x="5291" y="1076"/>
                </a:lnTo>
                <a:lnTo>
                  <a:pt x="5297" y="1076"/>
                </a:lnTo>
                <a:lnTo>
                  <a:pt x="5307" y="1075"/>
                </a:lnTo>
                <a:lnTo>
                  <a:pt x="5318" y="1074"/>
                </a:lnTo>
                <a:lnTo>
                  <a:pt x="5328" y="1071"/>
                </a:lnTo>
                <a:lnTo>
                  <a:pt x="5338" y="1068"/>
                </a:lnTo>
                <a:lnTo>
                  <a:pt x="5347" y="1064"/>
                </a:lnTo>
                <a:lnTo>
                  <a:pt x="5356" y="1059"/>
                </a:lnTo>
                <a:lnTo>
                  <a:pt x="5365" y="1053"/>
                </a:lnTo>
                <a:lnTo>
                  <a:pt x="5374" y="1045"/>
                </a:lnTo>
                <a:lnTo>
                  <a:pt x="5382" y="1038"/>
                </a:lnTo>
                <a:lnTo>
                  <a:pt x="5390" y="1030"/>
                </a:lnTo>
                <a:lnTo>
                  <a:pt x="5397" y="1022"/>
                </a:lnTo>
                <a:lnTo>
                  <a:pt x="5404" y="1013"/>
                </a:lnTo>
                <a:lnTo>
                  <a:pt x="5417" y="993"/>
                </a:lnTo>
                <a:lnTo>
                  <a:pt x="5423" y="982"/>
                </a:lnTo>
                <a:lnTo>
                  <a:pt x="5428" y="971"/>
                </a:lnTo>
                <a:lnTo>
                  <a:pt x="5434" y="960"/>
                </a:lnTo>
                <a:lnTo>
                  <a:pt x="5439" y="949"/>
                </a:lnTo>
                <a:lnTo>
                  <a:pt x="5444" y="937"/>
                </a:lnTo>
                <a:lnTo>
                  <a:pt x="5448" y="925"/>
                </a:lnTo>
                <a:lnTo>
                  <a:pt x="5452" y="913"/>
                </a:lnTo>
                <a:lnTo>
                  <a:pt x="5455" y="901"/>
                </a:lnTo>
                <a:lnTo>
                  <a:pt x="5458" y="889"/>
                </a:lnTo>
                <a:lnTo>
                  <a:pt x="5461" y="877"/>
                </a:lnTo>
                <a:lnTo>
                  <a:pt x="5463" y="864"/>
                </a:lnTo>
                <a:lnTo>
                  <a:pt x="5465" y="852"/>
                </a:lnTo>
                <a:lnTo>
                  <a:pt x="5466" y="840"/>
                </a:lnTo>
                <a:lnTo>
                  <a:pt x="5467" y="828"/>
                </a:lnTo>
                <a:lnTo>
                  <a:pt x="5468" y="817"/>
                </a:lnTo>
                <a:lnTo>
                  <a:pt x="5468" y="805"/>
                </a:lnTo>
                <a:lnTo>
                  <a:pt x="5468" y="794"/>
                </a:lnTo>
                <a:lnTo>
                  <a:pt x="5468" y="784"/>
                </a:lnTo>
                <a:lnTo>
                  <a:pt x="5469" y="781"/>
                </a:lnTo>
                <a:lnTo>
                  <a:pt x="5470" y="779"/>
                </a:lnTo>
                <a:lnTo>
                  <a:pt x="5473" y="777"/>
                </a:lnTo>
                <a:lnTo>
                  <a:pt x="5475" y="775"/>
                </a:lnTo>
                <a:lnTo>
                  <a:pt x="5482" y="773"/>
                </a:lnTo>
                <a:lnTo>
                  <a:pt x="5486" y="772"/>
                </a:lnTo>
                <a:lnTo>
                  <a:pt x="5491" y="772"/>
                </a:lnTo>
                <a:lnTo>
                  <a:pt x="5498" y="772"/>
                </a:lnTo>
                <a:lnTo>
                  <a:pt x="5501" y="773"/>
                </a:lnTo>
                <a:lnTo>
                  <a:pt x="5505" y="774"/>
                </a:lnTo>
                <a:lnTo>
                  <a:pt x="5510" y="777"/>
                </a:lnTo>
                <a:lnTo>
                  <a:pt x="5513" y="779"/>
                </a:lnTo>
                <a:lnTo>
                  <a:pt x="5515" y="781"/>
                </a:lnTo>
                <a:lnTo>
                  <a:pt x="5519" y="787"/>
                </a:lnTo>
                <a:lnTo>
                  <a:pt x="5521" y="790"/>
                </a:lnTo>
                <a:lnTo>
                  <a:pt x="5522" y="794"/>
                </a:lnTo>
                <a:lnTo>
                  <a:pt x="5523" y="798"/>
                </a:lnTo>
                <a:lnTo>
                  <a:pt x="5524" y="803"/>
                </a:lnTo>
                <a:lnTo>
                  <a:pt x="5525" y="809"/>
                </a:lnTo>
                <a:lnTo>
                  <a:pt x="5525" y="815"/>
                </a:lnTo>
                <a:lnTo>
                  <a:pt x="5524" y="831"/>
                </a:lnTo>
                <a:lnTo>
                  <a:pt x="5523" y="846"/>
                </a:lnTo>
                <a:lnTo>
                  <a:pt x="5522" y="862"/>
                </a:lnTo>
                <a:lnTo>
                  <a:pt x="5520" y="878"/>
                </a:lnTo>
                <a:lnTo>
                  <a:pt x="5517" y="893"/>
                </a:lnTo>
                <a:lnTo>
                  <a:pt x="5514" y="907"/>
                </a:lnTo>
                <a:lnTo>
                  <a:pt x="5511" y="922"/>
                </a:lnTo>
                <a:lnTo>
                  <a:pt x="5507" y="937"/>
                </a:lnTo>
                <a:lnTo>
                  <a:pt x="5502" y="951"/>
                </a:lnTo>
                <a:lnTo>
                  <a:pt x="5498" y="964"/>
                </a:lnTo>
                <a:lnTo>
                  <a:pt x="5492" y="978"/>
                </a:lnTo>
                <a:lnTo>
                  <a:pt x="5486" y="990"/>
                </a:lnTo>
                <a:lnTo>
                  <a:pt x="5480" y="1004"/>
                </a:lnTo>
                <a:lnTo>
                  <a:pt x="5473" y="1016"/>
                </a:lnTo>
                <a:lnTo>
                  <a:pt x="5466" y="1027"/>
                </a:lnTo>
                <a:lnTo>
                  <a:pt x="5459" y="1039"/>
                </a:lnTo>
                <a:lnTo>
                  <a:pt x="5451" y="1049"/>
                </a:lnTo>
                <a:lnTo>
                  <a:pt x="5443" y="1060"/>
                </a:lnTo>
                <a:lnTo>
                  <a:pt x="5435" y="1070"/>
                </a:lnTo>
                <a:lnTo>
                  <a:pt x="5425" y="1079"/>
                </a:lnTo>
                <a:lnTo>
                  <a:pt x="5416" y="1087"/>
                </a:lnTo>
                <a:lnTo>
                  <a:pt x="5407" y="1095"/>
                </a:lnTo>
                <a:lnTo>
                  <a:pt x="5397" y="1103"/>
                </a:lnTo>
                <a:lnTo>
                  <a:pt x="5387" y="1109"/>
                </a:lnTo>
                <a:lnTo>
                  <a:pt x="5377" y="1116"/>
                </a:lnTo>
                <a:lnTo>
                  <a:pt x="5365" y="1121"/>
                </a:lnTo>
                <a:lnTo>
                  <a:pt x="5354" y="1126"/>
                </a:lnTo>
                <a:lnTo>
                  <a:pt x="5343" y="1129"/>
                </a:lnTo>
                <a:lnTo>
                  <a:pt x="5332" y="1132"/>
                </a:lnTo>
                <a:lnTo>
                  <a:pt x="5320" y="1134"/>
                </a:lnTo>
                <a:lnTo>
                  <a:pt x="5307" y="1136"/>
                </a:lnTo>
                <a:lnTo>
                  <a:pt x="5295" y="1136"/>
                </a:lnTo>
                <a:close/>
                <a:moveTo>
                  <a:pt x="5682" y="1130"/>
                </a:moveTo>
                <a:lnTo>
                  <a:pt x="5681" y="1130"/>
                </a:lnTo>
                <a:lnTo>
                  <a:pt x="5678" y="1129"/>
                </a:lnTo>
                <a:lnTo>
                  <a:pt x="5673" y="1127"/>
                </a:lnTo>
                <a:lnTo>
                  <a:pt x="5666" y="1122"/>
                </a:lnTo>
                <a:lnTo>
                  <a:pt x="5658" y="1117"/>
                </a:lnTo>
                <a:lnTo>
                  <a:pt x="5646" y="1105"/>
                </a:lnTo>
                <a:lnTo>
                  <a:pt x="5631" y="1091"/>
                </a:lnTo>
                <a:lnTo>
                  <a:pt x="5614" y="1075"/>
                </a:lnTo>
                <a:lnTo>
                  <a:pt x="5597" y="1058"/>
                </a:lnTo>
                <a:lnTo>
                  <a:pt x="5581" y="1040"/>
                </a:lnTo>
                <a:lnTo>
                  <a:pt x="5567" y="1024"/>
                </a:lnTo>
                <a:lnTo>
                  <a:pt x="5555" y="1010"/>
                </a:lnTo>
                <a:lnTo>
                  <a:pt x="5551" y="1004"/>
                </a:lnTo>
                <a:lnTo>
                  <a:pt x="5547" y="998"/>
                </a:lnTo>
                <a:lnTo>
                  <a:pt x="5541" y="987"/>
                </a:lnTo>
                <a:lnTo>
                  <a:pt x="5538" y="977"/>
                </a:lnTo>
                <a:lnTo>
                  <a:pt x="5535" y="968"/>
                </a:lnTo>
                <a:lnTo>
                  <a:pt x="5534" y="958"/>
                </a:lnTo>
                <a:lnTo>
                  <a:pt x="5535" y="952"/>
                </a:lnTo>
                <a:lnTo>
                  <a:pt x="5536" y="946"/>
                </a:lnTo>
                <a:lnTo>
                  <a:pt x="5537" y="941"/>
                </a:lnTo>
                <a:lnTo>
                  <a:pt x="5539" y="935"/>
                </a:lnTo>
                <a:lnTo>
                  <a:pt x="5542" y="927"/>
                </a:lnTo>
                <a:lnTo>
                  <a:pt x="5545" y="921"/>
                </a:lnTo>
                <a:lnTo>
                  <a:pt x="5549" y="914"/>
                </a:lnTo>
                <a:lnTo>
                  <a:pt x="5554" y="908"/>
                </a:lnTo>
                <a:lnTo>
                  <a:pt x="5562" y="897"/>
                </a:lnTo>
                <a:lnTo>
                  <a:pt x="5574" y="883"/>
                </a:lnTo>
                <a:lnTo>
                  <a:pt x="5603" y="848"/>
                </a:lnTo>
                <a:lnTo>
                  <a:pt x="5639" y="808"/>
                </a:lnTo>
                <a:lnTo>
                  <a:pt x="5675" y="768"/>
                </a:lnTo>
                <a:lnTo>
                  <a:pt x="5676" y="768"/>
                </a:lnTo>
                <a:lnTo>
                  <a:pt x="5679" y="767"/>
                </a:lnTo>
                <a:lnTo>
                  <a:pt x="5683" y="768"/>
                </a:lnTo>
                <a:lnTo>
                  <a:pt x="5687" y="769"/>
                </a:lnTo>
                <a:lnTo>
                  <a:pt x="5691" y="771"/>
                </a:lnTo>
                <a:lnTo>
                  <a:pt x="5696" y="773"/>
                </a:lnTo>
                <a:lnTo>
                  <a:pt x="5700" y="776"/>
                </a:lnTo>
                <a:lnTo>
                  <a:pt x="5704" y="780"/>
                </a:lnTo>
                <a:lnTo>
                  <a:pt x="5707" y="784"/>
                </a:lnTo>
                <a:lnTo>
                  <a:pt x="5710" y="789"/>
                </a:lnTo>
                <a:lnTo>
                  <a:pt x="5711" y="794"/>
                </a:lnTo>
                <a:lnTo>
                  <a:pt x="5712" y="798"/>
                </a:lnTo>
                <a:lnTo>
                  <a:pt x="5711" y="804"/>
                </a:lnTo>
                <a:lnTo>
                  <a:pt x="5710" y="809"/>
                </a:lnTo>
                <a:lnTo>
                  <a:pt x="5707" y="816"/>
                </a:lnTo>
                <a:lnTo>
                  <a:pt x="5703" y="822"/>
                </a:lnTo>
                <a:lnTo>
                  <a:pt x="5695" y="832"/>
                </a:lnTo>
                <a:lnTo>
                  <a:pt x="5683" y="846"/>
                </a:lnTo>
                <a:lnTo>
                  <a:pt x="5653" y="879"/>
                </a:lnTo>
                <a:lnTo>
                  <a:pt x="5624" y="913"/>
                </a:lnTo>
                <a:lnTo>
                  <a:pt x="5611" y="927"/>
                </a:lnTo>
                <a:lnTo>
                  <a:pt x="5601" y="940"/>
                </a:lnTo>
                <a:lnTo>
                  <a:pt x="5599" y="944"/>
                </a:lnTo>
                <a:lnTo>
                  <a:pt x="5597" y="947"/>
                </a:lnTo>
                <a:lnTo>
                  <a:pt x="5596" y="951"/>
                </a:lnTo>
                <a:lnTo>
                  <a:pt x="5596" y="954"/>
                </a:lnTo>
                <a:lnTo>
                  <a:pt x="5596" y="959"/>
                </a:lnTo>
                <a:lnTo>
                  <a:pt x="5597" y="963"/>
                </a:lnTo>
                <a:lnTo>
                  <a:pt x="5600" y="968"/>
                </a:lnTo>
                <a:lnTo>
                  <a:pt x="5603" y="972"/>
                </a:lnTo>
                <a:lnTo>
                  <a:pt x="5611" y="981"/>
                </a:lnTo>
                <a:lnTo>
                  <a:pt x="5621" y="994"/>
                </a:lnTo>
                <a:lnTo>
                  <a:pt x="5649" y="1023"/>
                </a:lnTo>
                <a:lnTo>
                  <a:pt x="5682" y="1056"/>
                </a:lnTo>
                <a:lnTo>
                  <a:pt x="5713" y="1087"/>
                </a:lnTo>
                <a:lnTo>
                  <a:pt x="5714" y="1088"/>
                </a:lnTo>
                <a:lnTo>
                  <a:pt x="5716" y="1091"/>
                </a:lnTo>
                <a:lnTo>
                  <a:pt x="5717" y="1093"/>
                </a:lnTo>
                <a:lnTo>
                  <a:pt x="5717" y="1095"/>
                </a:lnTo>
                <a:lnTo>
                  <a:pt x="5716" y="1101"/>
                </a:lnTo>
                <a:lnTo>
                  <a:pt x="5715" y="1104"/>
                </a:lnTo>
                <a:lnTo>
                  <a:pt x="5714" y="1107"/>
                </a:lnTo>
                <a:lnTo>
                  <a:pt x="5710" y="1113"/>
                </a:lnTo>
                <a:lnTo>
                  <a:pt x="5708" y="1116"/>
                </a:lnTo>
                <a:lnTo>
                  <a:pt x="5705" y="1119"/>
                </a:lnTo>
                <a:lnTo>
                  <a:pt x="5700" y="1123"/>
                </a:lnTo>
                <a:lnTo>
                  <a:pt x="5697" y="1125"/>
                </a:lnTo>
                <a:lnTo>
                  <a:pt x="5694" y="1127"/>
                </a:lnTo>
                <a:lnTo>
                  <a:pt x="5688" y="1129"/>
                </a:lnTo>
                <a:lnTo>
                  <a:pt x="5685" y="1130"/>
                </a:lnTo>
                <a:lnTo>
                  <a:pt x="5682" y="1130"/>
                </a:lnTo>
                <a:close/>
                <a:moveTo>
                  <a:pt x="5295" y="2129"/>
                </a:moveTo>
                <a:lnTo>
                  <a:pt x="5287" y="2129"/>
                </a:lnTo>
                <a:lnTo>
                  <a:pt x="5279" y="2128"/>
                </a:lnTo>
                <a:lnTo>
                  <a:pt x="5272" y="2127"/>
                </a:lnTo>
                <a:lnTo>
                  <a:pt x="5265" y="2126"/>
                </a:lnTo>
                <a:lnTo>
                  <a:pt x="5257" y="2124"/>
                </a:lnTo>
                <a:lnTo>
                  <a:pt x="5249" y="2121"/>
                </a:lnTo>
                <a:lnTo>
                  <a:pt x="5236" y="2116"/>
                </a:lnTo>
                <a:lnTo>
                  <a:pt x="5223" y="2108"/>
                </a:lnTo>
                <a:lnTo>
                  <a:pt x="5216" y="2104"/>
                </a:lnTo>
                <a:lnTo>
                  <a:pt x="5210" y="2100"/>
                </a:lnTo>
                <a:lnTo>
                  <a:pt x="5204" y="2095"/>
                </a:lnTo>
                <a:lnTo>
                  <a:pt x="5199" y="2090"/>
                </a:lnTo>
                <a:lnTo>
                  <a:pt x="5193" y="2084"/>
                </a:lnTo>
                <a:lnTo>
                  <a:pt x="5187" y="2078"/>
                </a:lnTo>
                <a:lnTo>
                  <a:pt x="5182" y="2072"/>
                </a:lnTo>
                <a:lnTo>
                  <a:pt x="5177" y="2065"/>
                </a:lnTo>
                <a:lnTo>
                  <a:pt x="5173" y="2058"/>
                </a:lnTo>
                <a:lnTo>
                  <a:pt x="5169" y="2051"/>
                </a:lnTo>
                <a:lnTo>
                  <a:pt x="5165" y="2044"/>
                </a:lnTo>
                <a:lnTo>
                  <a:pt x="5161" y="2037"/>
                </a:lnTo>
                <a:lnTo>
                  <a:pt x="5158" y="2029"/>
                </a:lnTo>
                <a:lnTo>
                  <a:pt x="5155" y="2022"/>
                </a:lnTo>
                <a:lnTo>
                  <a:pt x="5152" y="2014"/>
                </a:lnTo>
                <a:lnTo>
                  <a:pt x="5150" y="2005"/>
                </a:lnTo>
                <a:lnTo>
                  <a:pt x="5148" y="1996"/>
                </a:lnTo>
                <a:lnTo>
                  <a:pt x="5146" y="1988"/>
                </a:lnTo>
                <a:lnTo>
                  <a:pt x="5145" y="1979"/>
                </a:lnTo>
                <a:lnTo>
                  <a:pt x="5144" y="1970"/>
                </a:lnTo>
                <a:lnTo>
                  <a:pt x="5143" y="1961"/>
                </a:lnTo>
                <a:lnTo>
                  <a:pt x="5143" y="1952"/>
                </a:lnTo>
                <a:lnTo>
                  <a:pt x="5144" y="1932"/>
                </a:lnTo>
                <a:lnTo>
                  <a:pt x="5145" y="1923"/>
                </a:lnTo>
                <a:lnTo>
                  <a:pt x="5146" y="1914"/>
                </a:lnTo>
                <a:lnTo>
                  <a:pt x="5148" y="1905"/>
                </a:lnTo>
                <a:lnTo>
                  <a:pt x="5150" y="1896"/>
                </a:lnTo>
                <a:lnTo>
                  <a:pt x="5153" y="1886"/>
                </a:lnTo>
                <a:lnTo>
                  <a:pt x="5156" y="1878"/>
                </a:lnTo>
                <a:lnTo>
                  <a:pt x="5159" y="1869"/>
                </a:lnTo>
                <a:lnTo>
                  <a:pt x="5162" y="1861"/>
                </a:lnTo>
                <a:lnTo>
                  <a:pt x="5166" y="1853"/>
                </a:lnTo>
                <a:lnTo>
                  <a:pt x="5170" y="1845"/>
                </a:lnTo>
                <a:lnTo>
                  <a:pt x="5175" y="1838"/>
                </a:lnTo>
                <a:lnTo>
                  <a:pt x="5179" y="1829"/>
                </a:lnTo>
                <a:lnTo>
                  <a:pt x="5189" y="1815"/>
                </a:lnTo>
                <a:lnTo>
                  <a:pt x="5196" y="1809"/>
                </a:lnTo>
                <a:lnTo>
                  <a:pt x="5202" y="1803"/>
                </a:lnTo>
                <a:lnTo>
                  <a:pt x="5214" y="1791"/>
                </a:lnTo>
                <a:lnTo>
                  <a:pt x="5220" y="1786"/>
                </a:lnTo>
                <a:lnTo>
                  <a:pt x="5227" y="1781"/>
                </a:lnTo>
                <a:lnTo>
                  <a:pt x="5234" y="1777"/>
                </a:lnTo>
                <a:lnTo>
                  <a:pt x="5241" y="1773"/>
                </a:lnTo>
                <a:lnTo>
                  <a:pt x="5248" y="1768"/>
                </a:lnTo>
                <a:lnTo>
                  <a:pt x="5257" y="1765"/>
                </a:lnTo>
                <a:lnTo>
                  <a:pt x="5264" y="1762"/>
                </a:lnTo>
                <a:lnTo>
                  <a:pt x="5272" y="1760"/>
                </a:lnTo>
                <a:lnTo>
                  <a:pt x="5280" y="1758"/>
                </a:lnTo>
                <a:lnTo>
                  <a:pt x="5288" y="1757"/>
                </a:lnTo>
                <a:lnTo>
                  <a:pt x="5296" y="1756"/>
                </a:lnTo>
                <a:lnTo>
                  <a:pt x="5304" y="1756"/>
                </a:lnTo>
                <a:lnTo>
                  <a:pt x="5315" y="1756"/>
                </a:lnTo>
                <a:lnTo>
                  <a:pt x="5320" y="1757"/>
                </a:lnTo>
                <a:lnTo>
                  <a:pt x="5325" y="1758"/>
                </a:lnTo>
                <a:lnTo>
                  <a:pt x="5330" y="1759"/>
                </a:lnTo>
                <a:lnTo>
                  <a:pt x="5334" y="1760"/>
                </a:lnTo>
                <a:lnTo>
                  <a:pt x="5343" y="1763"/>
                </a:lnTo>
                <a:lnTo>
                  <a:pt x="5351" y="1767"/>
                </a:lnTo>
                <a:lnTo>
                  <a:pt x="5358" y="1773"/>
                </a:lnTo>
                <a:lnTo>
                  <a:pt x="5365" y="1778"/>
                </a:lnTo>
                <a:lnTo>
                  <a:pt x="5372" y="1784"/>
                </a:lnTo>
                <a:lnTo>
                  <a:pt x="5374" y="1787"/>
                </a:lnTo>
                <a:lnTo>
                  <a:pt x="5377" y="1791"/>
                </a:lnTo>
                <a:lnTo>
                  <a:pt x="5382" y="1798"/>
                </a:lnTo>
                <a:lnTo>
                  <a:pt x="5386" y="1806"/>
                </a:lnTo>
                <a:lnTo>
                  <a:pt x="5389" y="1814"/>
                </a:lnTo>
                <a:lnTo>
                  <a:pt x="5392" y="1823"/>
                </a:lnTo>
                <a:lnTo>
                  <a:pt x="5394" y="1833"/>
                </a:lnTo>
                <a:lnTo>
                  <a:pt x="5395" y="1842"/>
                </a:lnTo>
                <a:lnTo>
                  <a:pt x="5395" y="1852"/>
                </a:lnTo>
                <a:lnTo>
                  <a:pt x="5394" y="1865"/>
                </a:lnTo>
                <a:lnTo>
                  <a:pt x="5393" y="1871"/>
                </a:lnTo>
                <a:lnTo>
                  <a:pt x="5392" y="1877"/>
                </a:lnTo>
                <a:lnTo>
                  <a:pt x="5388" y="1889"/>
                </a:lnTo>
                <a:lnTo>
                  <a:pt x="5383" y="1902"/>
                </a:lnTo>
                <a:lnTo>
                  <a:pt x="5377" y="1913"/>
                </a:lnTo>
                <a:lnTo>
                  <a:pt x="5369" y="1923"/>
                </a:lnTo>
                <a:lnTo>
                  <a:pt x="5365" y="1928"/>
                </a:lnTo>
                <a:lnTo>
                  <a:pt x="5360" y="1933"/>
                </a:lnTo>
                <a:lnTo>
                  <a:pt x="5351" y="1943"/>
                </a:lnTo>
                <a:lnTo>
                  <a:pt x="5341" y="1952"/>
                </a:lnTo>
                <a:lnTo>
                  <a:pt x="5336" y="1956"/>
                </a:lnTo>
                <a:lnTo>
                  <a:pt x="5331" y="1960"/>
                </a:lnTo>
                <a:lnTo>
                  <a:pt x="5319" y="1966"/>
                </a:lnTo>
                <a:lnTo>
                  <a:pt x="5307" y="1972"/>
                </a:lnTo>
                <a:lnTo>
                  <a:pt x="5294" y="1976"/>
                </a:lnTo>
                <a:lnTo>
                  <a:pt x="5288" y="1978"/>
                </a:lnTo>
                <a:lnTo>
                  <a:pt x="5282" y="1980"/>
                </a:lnTo>
                <a:lnTo>
                  <a:pt x="5276" y="1981"/>
                </a:lnTo>
                <a:lnTo>
                  <a:pt x="5270" y="1982"/>
                </a:lnTo>
                <a:lnTo>
                  <a:pt x="5257" y="1982"/>
                </a:lnTo>
                <a:lnTo>
                  <a:pt x="5252" y="1982"/>
                </a:lnTo>
                <a:lnTo>
                  <a:pt x="5246" y="1980"/>
                </a:lnTo>
                <a:lnTo>
                  <a:pt x="5241" y="1977"/>
                </a:lnTo>
                <a:lnTo>
                  <a:pt x="5239" y="1975"/>
                </a:lnTo>
                <a:lnTo>
                  <a:pt x="5237" y="1973"/>
                </a:lnTo>
                <a:lnTo>
                  <a:pt x="5234" y="1969"/>
                </a:lnTo>
                <a:lnTo>
                  <a:pt x="5232" y="1963"/>
                </a:lnTo>
                <a:lnTo>
                  <a:pt x="5231" y="1961"/>
                </a:lnTo>
                <a:lnTo>
                  <a:pt x="5230" y="1958"/>
                </a:lnTo>
                <a:lnTo>
                  <a:pt x="5230" y="1950"/>
                </a:lnTo>
                <a:lnTo>
                  <a:pt x="5230" y="1947"/>
                </a:lnTo>
                <a:lnTo>
                  <a:pt x="5230" y="1945"/>
                </a:lnTo>
                <a:lnTo>
                  <a:pt x="5231" y="1940"/>
                </a:lnTo>
                <a:lnTo>
                  <a:pt x="5232" y="1938"/>
                </a:lnTo>
                <a:lnTo>
                  <a:pt x="5234" y="1936"/>
                </a:lnTo>
                <a:lnTo>
                  <a:pt x="5235" y="1934"/>
                </a:lnTo>
                <a:lnTo>
                  <a:pt x="5237" y="1933"/>
                </a:lnTo>
                <a:lnTo>
                  <a:pt x="5248" y="1931"/>
                </a:lnTo>
                <a:lnTo>
                  <a:pt x="5259" y="1928"/>
                </a:lnTo>
                <a:lnTo>
                  <a:pt x="5269" y="1925"/>
                </a:lnTo>
                <a:lnTo>
                  <a:pt x="5279" y="1921"/>
                </a:lnTo>
                <a:lnTo>
                  <a:pt x="5288" y="1917"/>
                </a:lnTo>
                <a:lnTo>
                  <a:pt x="5297" y="1911"/>
                </a:lnTo>
                <a:lnTo>
                  <a:pt x="5304" y="1906"/>
                </a:lnTo>
                <a:lnTo>
                  <a:pt x="5308" y="1903"/>
                </a:lnTo>
                <a:lnTo>
                  <a:pt x="5313" y="1900"/>
                </a:lnTo>
                <a:lnTo>
                  <a:pt x="5319" y="1894"/>
                </a:lnTo>
                <a:lnTo>
                  <a:pt x="5325" y="1886"/>
                </a:lnTo>
                <a:lnTo>
                  <a:pt x="5330" y="1880"/>
                </a:lnTo>
                <a:lnTo>
                  <a:pt x="5334" y="1873"/>
                </a:lnTo>
                <a:lnTo>
                  <a:pt x="5337" y="1866"/>
                </a:lnTo>
                <a:lnTo>
                  <a:pt x="5340" y="1859"/>
                </a:lnTo>
                <a:lnTo>
                  <a:pt x="5341" y="1852"/>
                </a:lnTo>
                <a:lnTo>
                  <a:pt x="5342" y="1845"/>
                </a:lnTo>
                <a:lnTo>
                  <a:pt x="5341" y="1837"/>
                </a:lnTo>
                <a:lnTo>
                  <a:pt x="5339" y="1828"/>
                </a:lnTo>
                <a:lnTo>
                  <a:pt x="5337" y="1825"/>
                </a:lnTo>
                <a:lnTo>
                  <a:pt x="5336" y="1822"/>
                </a:lnTo>
                <a:lnTo>
                  <a:pt x="5333" y="1819"/>
                </a:lnTo>
                <a:lnTo>
                  <a:pt x="5331" y="1817"/>
                </a:lnTo>
                <a:lnTo>
                  <a:pt x="5325" y="1812"/>
                </a:lnTo>
                <a:lnTo>
                  <a:pt x="5322" y="1811"/>
                </a:lnTo>
                <a:lnTo>
                  <a:pt x="5318" y="1809"/>
                </a:lnTo>
                <a:lnTo>
                  <a:pt x="5309" y="1807"/>
                </a:lnTo>
                <a:lnTo>
                  <a:pt x="5305" y="1807"/>
                </a:lnTo>
                <a:lnTo>
                  <a:pt x="5300" y="1807"/>
                </a:lnTo>
                <a:lnTo>
                  <a:pt x="5292" y="1807"/>
                </a:lnTo>
                <a:lnTo>
                  <a:pt x="5287" y="1808"/>
                </a:lnTo>
                <a:lnTo>
                  <a:pt x="5283" y="1810"/>
                </a:lnTo>
                <a:lnTo>
                  <a:pt x="5278" y="1811"/>
                </a:lnTo>
                <a:lnTo>
                  <a:pt x="5274" y="1813"/>
                </a:lnTo>
                <a:lnTo>
                  <a:pt x="5270" y="1815"/>
                </a:lnTo>
                <a:lnTo>
                  <a:pt x="5265" y="1818"/>
                </a:lnTo>
                <a:lnTo>
                  <a:pt x="5261" y="1821"/>
                </a:lnTo>
                <a:lnTo>
                  <a:pt x="5257" y="1824"/>
                </a:lnTo>
                <a:lnTo>
                  <a:pt x="5247" y="1832"/>
                </a:lnTo>
                <a:lnTo>
                  <a:pt x="5240" y="1840"/>
                </a:lnTo>
                <a:lnTo>
                  <a:pt x="5232" y="1849"/>
                </a:lnTo>
                <a:lnTo>
                  <a:pt x="5229" y="1854"/>
                </a:lnTo>
                <a:lnTo>
                  <a:pt x="5225" y="1859"/>
                </a:lnTo>
                <a:lnTo>
                  <a:pt x="5219" y="1870"/>
                </a:lnTo>
                <a:lnTo>
                  <a:pt x="5214" y="1881"/>
                </a:lnTo>
                <a:lnTo>
                  <a:pt x="5209" y="1894"/>
                </a:lnTo>
                <a:lnTo>
                  <a:pt x="5205" y="1907"/>
                </a:lnTo>
                <a:lnTo>
                  <a:pt x="5202" y="1920"/>
                </a:lnTo>
                <a:lnTo>
                  <a:pt x="5200" y="1934"/>
                </a:lnTo>
                <a:lnTo>
                  <a:pt x="5200" y="1941"/>
                </a:lnTo>
                <a:lnTo>
                  <a:pt x="5200" y="1948"/>
                </a:lnTo>
                <a:lnTo>
                  <a:pt x="5200" y="1962"/>
                </a:lnTo>
                <a:lnTo>
                  <a:pt x="5202" y="1974"/>
                </a:lnTo>
                <a:lnTo>
                  <a:pt x="5204" y="1986"/>
                </a:lnTo>
                <a:lnTo>
                  <a:pt x="5205" y="1991"/>
                </a:lnTo>
                <a:lnTo>
                  <a:pt x="5207" y="1997"/>
                </a:lnTo>
                <a:lnTo>
                  <a:pt x="5210" y="2007"/>
                </a:lnTo>
                <a:lnTo>
                  <a:pt x="5212" y="2013"/>
                </a:lnTo>
                <a:lnTo>
                  <a:pt x="5215" y="2018"/>
                </a:lnTo>
                <a:lnTo>
                  <a:pt x="5217" y="2023"/>
                </a:lnTo>
                <a:lnTo>
                  <a:pt x="5220" y="2027"/>
                </a:lnTo>
                <a:lnTo>
                  <a:pt x="5223" y="2031"/>
                </a:lnTo>
                <a:lnTo>
                  <a:pt x="5226" y="2035"/>
                </a:lnTo>
                <a:lnTo>
                  <a:pt x="5229" y="2039"/>
                </a:lnTo>
                <a:lnTo>
                  <a:pt x="5233" y="2043"/>
                </a:lnTo>
                <a:lnTo>
                  <a:pt x="5240" y="2050"/>
                </a:lnTo>
                <a:lnTo>
                  <a:pt x="5248" y="2055"/>
                </a:lnTo>
                <a:lnTo>
                  <a:pt x="5257" y="2060"/>
                </a:lnTo>
                <a:lnTo>
                  <a:pt x="5266" y="2064"/>
                </a:lnTo>
                <a:lnTo>
                  <a:pt x="5276" y="2067"/>
                </a:lnTo>
                <a:lnTo>
                  <a:pt x="5286" y="2068"/>
                </a:lnTo>
                <a:lnTo>
                  <a:pt x="5291" y="2069"/>
                </a:lnTo>
                <a:lnTo>
                  <a:pt x="5297" y="2069"/>
                </a:lnTo>
                <a:lnTo>
                  <a:pt x="5307" y="2068"/>
                </a:lnTo>
                <a:lnTo>
                  <a:pt x="5318" y="2067"/>
                </a:lnTo>
                <a:lnTo>
                  <a:pt x="5328" y="2064"/>
                </a:lnTo>
                <a:lnTo>
                  <a:pt x="5338" y="2061"/>
                </a:lnTo>
                <a:lnTo>
                  <a:pt x="5347" y="2057"/>
                </a:lnTo>
                <a:lnTo>
                  <a:pt x="5356" y="2052"/>
                </a:lnTo>
                <a:lnTo>
                  <a:pt x="5365" y="2046"/>
                </a:lnTo>
                <a:lnTo>
                  <a:pt x="5374" y="2039"/>
                </a:lnTo>
                <a:lnTo>
                  <a:pt x="5382" y="2032"/>
                </a:lnTo>
                <a:lnTo>
                  <a:pt x="5390" y="2024"/>
                </a:lnTo>
                <a:lnTo>
                  <a:pt x="5397" y="2016"/>
                </a:lnTo>
                <a:lnTo>
                  <a:pt x="5404" y="2006"/>
                </a:lnTo>
                <a:lnTo>
                  <a:pt x="5417" y="1986"/>
                </a:lnTo>
                <a:lnTo>
                  <a:pt x="5423" y="1976"/>
                </a:lnTo>
                <a:lnTo>
                  <a:pt x="5428" y="1965"/>
                </a:lnTo>
                <a:lnTo>
                  <a:pt x="5434" y="1954"/>
                </a:lnTo>
                <a:lnTo>
                  <a:pt x="5439" y="1942"/>
                </a:lnTo>
                <a:lnTo>
                  <a:pt x="5444" y="1930"/>
                </a:lnTo>
                <a:lnTo>
                  <a:pt x="5448" y="1919"/>
                </a:lnTo>
                <a:lnTo>
                  <a:pt x="5452" y="1907"/>
                </a:lnTo>
                <a:lnTo>
                  <a:pt x="5455" y="1895"/>
                </a:lnTo>
                <a:lnTo>
                  <a:pt x="5458" y="1882"/>
                </a:lnTo>
                <a:lnTo>
                  <a:pt x="5461" y="1870"/>
                </a:lnTo>
                <a:lnTo>
                  <a:pt x="5463" y="1858"/>
                </a:lnTo>
                <a:lnTo>
                  <a:pt x="5465" y="1846"/>
                </a:lnTo>
                <a:lnTo>
                  <a:pt x="5466" y="1834"/>
                </a:lnTo>
                <a:lnTo>
                  <a:pt x="5467" y="1822"/>
                </a:lnTo>
                <a:lnTo>
                  <a:pt x="5468" y="1810"/>
                </a:lnTo>
                <a:lnTo>
                  <a:pt x="5468" y="1799"/>
                </a:lnTo>
                <a:lnTo>
                  <a:pt x="5468" y="1788"/>
                </a:lnTo>
                <a:lnTo>
                  <a:pt x="5468" y="1778"/>
                </a:lnTo>
                <a:lnTo>
                  <a:pt x="5469" y="1776"/>
                </a:lnTo>
                <a:lnTo>
                  <a:pt x="5470" y="1773"/>
                </a:lnTo>
                <a:lnTo>
                  <a:pt x="5473" y="1770"/>
                </a:lnTo>
                <a:lnTo>
                  <a:pt x="5475" y="1769"/>
                </a:lnTo>
                <a:lnTo>
                  <a:pt x="5482" y="1766"/>
                </a:lnTo>
                <a:lnTo>
                  <a:pt x="5486" y="1765"/>
                </a:lnTo>
                <a:lnTo>
                  <a:pt x="5491" y="1765"/>
                </a:lnTo>
                <a:lnTo>
                  <a:pt x="5498" y="1765"/>
                </a:lnTo>
                <a:lnTo>
                  <a:pt x="5501" y="1766"/>
                </a:lnTo>
                <a:lnTo>
                  <a:pt x="5505" y="1767"/>
                </a:lnTo>
                <a:lnTo>
                  <a:pt x="5510" y="1770"/>
                </a:lnTo>
                <a:lnTo>
                  <a:pt x="5513" y="1773"/>
                </a:lnTo>
                <a:lnTo>
                  <a:pt x="5515" y="1775"/>
                </a:lnTo>
                <a:lnTo>
                  <a:pt x="5519" y="1781"/>
                </a:lnTo>
                <a:lnTo>
                  <a:pt x="5521" y="1784"/>
                </a:lnTo>
                <a:lnTo>
                  <a:pt x="5522" y="1788"/>
                </a:lnTo>
                <a:lnTo>
                  <a:pt x="5523" y="1793"/>
                </a:lnTo>
                <a:lnTo>
                  <a:pt x="5524" y="1797"/>
                </a:lnTo>
                <a:lnTo>
                  <a:pt x="5525" y="1803"/>
                </a:lnTo>
                <a:lnTo>
                  <a:pt x="5525" y="1809"/>
                </a:lnTo>
                <a:lnTo>
                  <a:pt x="5524" y="1824"/>
                </a:lnTo>
                <a:lnTo>
                  <a:pt x="5523" y="1841"/>
                </a:lnTo>
                <a:lnTo>
                  <a:pt x="5522" y="1856"/>
                </a:lnTo>
                <a:lnTo>
                  <a:pt x="5520" y="1871"/>
                </a:lnTo>
                <a:lnTo>
                  <a:pt x="5517" y="1886"/>
                </a:lnTo>
                <a:lnTo>
                  <a:pt x="5514" y="1902"/>
                </a:lnTo>
                <a:lnTo>
                  <a:pt x="5511" y="1916"/>
                </a:lnTo>
                <a:lnTo>
                  <a:pt x="5507" y="1930"/>
                </a:lnTo>
                <a:lnTo>
                  <a:pt x="5502" y="1944"/>
                </a:lnTo>
                <a:lnTo>
                  <a:pt x="5498" y="1959"/>
                </a:lnTo>
                <a:lnTo>
                  <a:pt x="5492" y="1972"/>
                </a:lnTo>
                <a:lnTo>
                  <a:pt x="5486" y="1985"/>
                </a:lnTo>
                <a:lnTo>
                  <a:pt x="5480" y="1997"/>
                </a:lnTo>
                <a:lnTo>
                  <a:pt x="5473" y="2009"/>
                </a:lnTo>
                <a:lnTo>
                  <a:pt x="5466" y="2022"/>
                </a:lnTo>
                <a:lnTo>
                  <a:pt x="5459" y="2033"/>
                </a:lnTo>
                <a:lnTo>
                  <a:pt x="5451" y="2043"/>
                </a:lnTo>
                <a:lnTo>
                  <a:pt x="5443" y="2054"/>
                </a:lnTo>
                <a:lnTo>
                  <a:pt x="5435" y="2063"/>
                </a:lnTo>
                <a:lnTo>
                  <a:pt x="5425" y="2073"/>
                </a:lnTo>
                <a:lnTo>
                  <a:pt x="5416" y="2082"/>
                </a:lnTo>
                <a:lnTo>
                  <a:pt x="5407" y="2090"/>
                </a:lnTo>
                <a:lnTo>
                  <a:pt x="5397" y="2097"/>
                </a:lnTo>
                <a:lnTo>
                  <a:pt x="5387" y="2103"/>
                </a:lnTo>
                <a:lnTo>
                  <a:pt x="5377" y="2109"/>
                </a:lnTo>
                <a:lnTo>
                  <a:pt x="5365" y="2114"/>
                </a:lnTo>
                <a:lnTo>
                  <a:pt x="5354" y="2119"/>
                </a:lnTo>
                <a:lnTo>
                  <a:pt x="5343" y="2122"/>
                </a:lnTo>
                <a:lnTo>
                  <a:pt x="5332" y="2125"/>
                </a:lnTo>
                <a:lnTo>
                  <a:pt x="5320" y="2127"/>
                </a:lnTo>
                <a:lnTo>
                  <a:pt x="5307" y="2129"/>
                </a:lnTo>
                <a:lnTo>
                  <a:pt x="5295" y="2129"/>
                </a:lnTo>
                <a:close/>
                <a:moveTo>
                  <a:pt x="5682" y="2123"/>
                </a:moveTo>
                <a:lnTo>
                  <a:pt x="5681" y="2123"/>
                </a:lnTo>
                <a:lnTo>
                  <a:pt x="5678" y="2123"/>
                </a:lnTo>
                <a:lnTo>
                  <a:pt x="5673" y="2120"/>
                </a:lnTo>
                <a:lnTo>
                  <a:pt x="5666" y="2116"/>
                </a:lnTo>
                <a:lnTo>
                  <a:pt x="5658" y="2110"/>
                </a:lnTo>
                <a:lnTo>
                  <a:pt x="5646" y="2099"/>
                </a:lnTo>
                <a:lnTo>
                  <a:pt x="5631" y="2085"/>
                </a:lnTo>
                <a:lnTo>
                  <a:pt x="5614" y="2068"/>
                </a:lnTo>
                <a:lnTo>
                  <a:pt x="5597" y="2051"/>
                </a:lnTo>
                <a:lnTo>
                  <a:pt x="5581" y="2034"/>
                </a:lnTo>
                <a:lnTo>
                  <a:pt x="5567" y="2018"/>
                </a:lnTo>
                <a:lnTo>
                  <a:pt x="5555" y="2003"/>
                </a:lnTo>
                <a:lnTo>
                  <a:pt x="5551" y="1997"/>
                </a:lnTo>
                <a:lnTo>
                  <a:pt x="5547" y="1991"/>
                </a:lnTo>
                <a:lnTo>
                  <a:pt x="5541" y="1981"/>
                </a:lnTo>
                <a:lnTo>
                  <a:pt x="5538" y="1971"/>
                </a:lnTo>
                <a:lnTo>
                  <a:pt x="5535" y="1962"/>
                </a:lnTo>
                <a:lnTo>
                  <a:pt x="5534" y="1952"/>
                </a:lnTo>
                <a:lnTo>
                  <a:pt x="5535" y="1945"/>
                </a:lnTo>
                <a:lnTo>
                  <a:pt x="5536" y="1940"/>
                </a:lnTo>
                <a:lnTo>
                  <a:pt x="5537" y="1934"/>
                </a:lnTo>
                <a:lnTo>
                  <a:pt x="5539" y="1928"/>
                </a:lnTo>
                <a:lnTo>
                  <a:pt x="5542" y="1922"/>
                </a:lnTo>
                <a:lnTo>
                  <a:pt x="5545" y="1915"/>
                </a:lnTo>
                <a:lnTo>
                  <a:pt x="5549" y="1909"/>
                </a:lnTo>
                <a:lnTo>
                  <a:pt x="5554" y="1902"/>
                </a:lnTo>
                <a:lnTo>
                  <a:pt x="5562" y="1890"/>
                </a:lnTo>
                <a:lnTo>
                  <a:pt x="5574" y="1876"/>
                </a:lnTo>
                <a:lnTo>
                  <a:pt x="5603" y="1842"/>
                </a:lnTo>
                <a:lnTo>
                  <a:pt x="5639" y="1802"/>
                </a:lnTo>
                <a:lnTo>
                  <a:pt x="5675" y="1761"/>
                </a:lnTo>
                <a:lnTo>
                  <a:pt x="5676" y="1761"/>
                </a:lnTo>
                <a:lnTo>
                  <a:pt x="5679" y="1760"/>
                </a:lnTo>
                <a:lnTo>
                  <a:pt x="5683" y="1761"/>
                </a:lnTo>
                <a:lnTo>
                  <a:pt x="5687" y="1762"/>
                </a:lnTo>
                <a:lnTo>
                  <a:pt x="5691" y="1764"/>
                </a:lnTo>
                <a:lnTo>
                  <a:pt x="5696" y="1766"/>
                </a:lnTo>
                <a:lnTo>
                  <a:pt x="5700" y="1769"/>
                </a:lnTo>
                <a:lnTo>
                  <a:pt x="5704" y="1774"/>
                </a:lnTo>
                <a:lnTo>
                  <a:pt x="5707" y="1778"/>
                </a:lnTo>
                <a:lnTo>
                  <a:pt x="5710" y="1783"/>
                </a:lnTo>
                <a:lnTo>
                  <a:pt x="5711" y="1788"/>
                </a:lnTo>
                <a:lnTo>
                  <a:pt x="5712" y="1793"/>
                </a:lnTo>
                <a:lnTo>
                  <a:pt x="5711" y="1798"/>
                </a:lnTo>
                <a:lnTo>
                  <a:pt x="5710" y="1803"/>
                </a:lnTo>
                <a:lnTo>
                  <a:pt x="5707" y="1809"/>
                </a:lnTo>
                <a:lnTo>
                  <a:pt x="5703" y="1815"/>
                </a:lnTo>
                <a:lnTo>
                  <a:pt x="5695" y="1825"/>
                </a:lnTo>
                <a:lnTo>
                  <a:pt x="5683" y="1840"/>
                </a:lnTo>
                <a:lnTo>
                  <a:pt x="5653" y="1873"/>
                </a:lnTo>
                <a:lnTo>
                  <a:pt x="5624" y="1907"/>
                </a:lnTo>
                <a:lnTo>
                  <a:pt x="5611" y="1921"/>
                </a:lnTo>
                <a:lnTo>
                  <a:pt x="5601" y="1933"/>
                </a:lnTo>
                <a:lnTo>
                  <a:pt x="5599" y="1937"/>
                </a:lnTo>
                <a:lnTo>
                  <a:pt x="5597" y="1940"/>
                </a:lnTo>
                <a:lnTo>
                  <a:pt x="5596" y="1944"/>
                </a:lnTo>
                <a:lnTo>
                  <a:pt x="5596" y="1948"/>
                </a:lnTo>
                <a:lnTo>
                  <a:pt x="5596" y="1953"/>
                </a:lnTo>
                <a:lnTo>
                  <a:pt x="5597" y="1957"/>
                </a:lnTo>
                <a:lnTo>
                  <a:pt x="5600" y="1962"/>
                </a:lnTo>
                <a:lnTo>
                  <a:pt x="5603" y="1967"/>
                </a:lnTo>
                <a:lnTo>
                  <a:pt x="5611" y="1976"/>
                </a:lnTo>
                <a:lnTo>
                  <a:pt x="5621" y="1987"/>
                </a:lnTo>
                <a:lnTo>
                  <a:pt x="5649" y="2017"/>
                </a:lnTo>
                <a:lnTo>
                  <a:pt x="5682" y="2050"/>
                </a:lnTo>
                <a:lnTo>
                  <a:pt x="5713" y="2081"/>
                </a:lnTo>
                <a:lnTo>
                  <a:pt x="5714" y="2083"/>
                </a:lnTo>
                <a:lnTo>
                  <a:pt x="5716" y="2085"/>
                </a:lnTo>
                <a:lnTo>
                  <a:pt x="5717" y="2087"/>
                </a:lnTo>
                <a:lnTo>
                  <a:pt x="5717" y="2090"/>
                </a:lnTo>
                <a:lnTo>
                  <a:pt x="5716" y="2095"/>
                </a:lnTo>
                <a:lnTo>
                  <a:pt x="5715" y="2098"/>
                </a:lnTo>
                <a:lnTo>
                  <a:pt x="5714" y="2101"/>
                </a:lnTo>
                <a:lnTo>
                  <a:pt x="5710" y="2107"/>
                </a:lnTo>
                <a:lnTo>
                  <a:pt x="5708" y="2109"/>
                </a:lnTo>
                <a:lnTo>
                  <a:pt x="5705" y="2112"/>
                </a:lnTo>
                <a:lnTo>
                  <a:pt x="5700" y="2116"/>
                </a:lnTo>
                <a:lnTo>
                  <a:pt x="5697" y="2118"/>
                </a:lnTo>
                <a:lnTo>
                  <a:pt x="5694" y="2120"/>
                </a:lnTo>
                <a:lnTo>
                  <a:pt x="5688" y="2123"/>
                </a:lnTo>
                <a:lnTo>
                  <a:pt x="5685" y="2123"/>
                </a:lnTo>
                <a:lnTo>
                  <a:pt x="5682" y="2123"/>
                </a:lnTo>
                <a:close/>
                <a:moveTo>
                  <a:pt x="5295" y="3095"/>
                </a:moveTo>
                <a:lnTo>
                  <a:pt x="5287" y="3094"/>
                </a:lnTo>
                <a:lnTo>
                  <a:pt x="5279" y="3094"/>
                </a:lnTo>
                <a:lnTo>
                  <a:pt x="5272" y="3093"/>
                </a:lnTo>
                <a:lnTo>
                  <a:pt x="5265" y="3090"/>
                </a:lnTo>
                <a:lnTo>
                  <a:pt x="5257" y="3088"/>
                </a:lnTo>
                <a:lnTo>
                  <a:pt x="5249" y="3086"/>
                </a:lnTo>
                <a:lnTo>
                  <a:pt x="5236" y="3080"/>
                </a:lnTo>
                <a:lnTo>
                  <a:pt x="5223" y="3073"/>
                </a:lnTo>
                <a:lnTo>
                  <a:pt x="5216" y="3069"/>
                </a:lnTo>
                <a:lnTo>
                  <a:pt x="5210" y="3064"/>
                </a:lnTo>
                <a:lnTo>
                  <a:pt x="5204" y="3059"/>
                </a:lnTo>
                <a:lnTo>
                  <a:pt x="5199" y="3054"/>
                </a:lnTo>
                <a:lnTo>
                  <a:pt x="5193" y="3049"/>
                </a:lnTo>
                <a:lnTo>
                  <a:pt x="5187" y="3043"/>
                </a:lnTo>
                <a:lnTo>
                  <a:pt x="5182" y="3037"/>
                </a:lnTo>
                <a:lnTo>
                  <a:pt x="5177" y="3029"/>
                </a:lnTo>
                <a:lnTo>
                  <a:pt x="5173" y="3023"/>
                </a:lnTo>
                <a:lnTo>
                  <a:pt x="5169" y="3016"/>
                </a:lnTo>
                <a:lnTo>
                  <a:pt x="5165" y="3009"/>
                </a:lnTo>
                <a:lnTo>
                  <a:pt x="5161" y="3001"/>
                </a:lnTo>
                <a:lnTo>
                  <a:pt x="5158" y="2994"/>
                </a:lnTo>
                <a:lnTo>
                  <a:pt x="5155" y="2986"/>
                </a:lnTo>
                <a:lnTo>
                  <a:pt x="5152" y="2978"/>
                </a:lnTo>
                <a:lnTo>
                  <a:pt x="5150" y="2969"/>
                </a:lnTo>
                <a:lnTo>
                  <a:pt x="5148" y="2961"/>
                </a:lnTo>
                <a:lnTo>
                  <a:pt x="5146" y="2952"/>
                </a:lnTo>
                <a:lnTo>
                  <a:pt x="5145" y="2943"/>
                </a:lnTo>
                <a:lnTo>
                  <a:pt x="5144" y="2934"/>
                </a:lnTo>
                <a:lnTo>
                  <a:pt x="5143" y="2925"/>
                </a:lnTo>
                <a:lnTo>
                  <a:pt x="5143" y="2916"/>
                </a:lnTo>
                <a:lnTo>
                  <a:pt x="5144" y="2897"/>
                </a:lnTo>
                <a:lnTo>
                  <a:pt x="5145" y="2887"/>
                </a:lnTo>
                <a:lnTo>
                  <a:pt x="5146" y="2878"/>
                </a:lnTo>
                <a:lnTo>
                  <a:pt x="5148" y="2869"/>
                </a:lnTo>
                <a:lnTo>
                  <a:pt x="5150" y="2860"/>
                </a:lnTo>
                <a:lnTo>
                  <a:pt x="5153" y="2852"/>
                </a:lnTo>
                <a:lnTo>
                  <a:pt x="5156" y="2842"/>
                </a:lnTo>
                <a:lnTo>
                  <a:pt x="5159" y="2834"/>
                </a:lnTo>
                <a:lnTo>
                  <a:pt x="5162" y="2825"/>
                </a:lnTo>
                <a:lnTo>
                  <a:pt x="5166" y="2817"/>
                </a:lnTo>
                <a:lnTo>
                  <a:pt x="5170" y="2810"/>
                </a:lnTo>
                <a:lnTo>
                  <a:pt x="5175" y="2802"/>
                </a:lnTo>
                <a:lnTo>
                  <a:pt x="5179" y="2795"/>
                </a:lnTo>
                <a:lnTo>
                  <a:pt x="5189" y="2780"/>
                </a:lnTo>
                <a:lnTo>
                  <a:pt x="5196" y="2773"/>
                </a:lnTo>
                <a:lnTo>
                  <a:pt x="5202" y="2767"/>
                </a:lnTo>
                <a:lnTo>
                  <a:pt x="5214" y="2756"/>
                </a:lnTo>
                <a:lnTo>
                  <a:pt x="5220" y="2751"/>
                </a:lnTo>
                <a:lnTo>
                  <a:pt x="5227" y="2746"/>
                </a:lnTo>
                <a:lnTo>
                  <a:pt x="5234" y="2741"/>
                </a:lnTo>
                <a:lnTo>
                  <a:pt x="5241" y="2737"/>
                </a:lnTo>
                <a:lnTo>
                  <a:pt x="5248" y="2734"/>
                </a:lnTo>
                <a:lnTo>
                  <a:pt x="5257" y="2730"/>
                </a:lnTo>
                <a:lnTo>
                  <a:pt x="5264" y="2727"/>
                </a:lnTo>
                <a:lnTo>
                  <a:pt x="5272" y="2725"/>
                </a:lnTo>
                <a:lnTo>
                  <a:pt x="5280" y="2723"/>
                </a:lnTo>
                <a:lnTo>
                  <a:pt x="5288" y="2721"/>
                </a:lnTo>
                <a:lnTo>
                  <a:pt x="5296" y="2721"/>
                </a:lnTo>
                <a:lnTo>
                  <a:pt x="5304" y="2720"/>
                </a:lnTo>
                <a:lnTo>
                  <a:pt x="5315" y="2721"/>
                </a:lnTo>
                <a:lnTo>
                  <a:pt x="5320" y="2721"/>
                </a:lnTo>
                <a:lnTo>
                  <a:pt x="5325" y="2722"/>
                </a:lnTo>
                <a:lnTo>
                  <a:pt x="5330" y="2723"/>
                </a:lnTo>
                <a:lnTo>
                  <a:pt x="5334" y="2725"/>
                </a:lnTo>
                <a:lnTo>
                  <a:pt x="5343" y="2728"/>
                </a:lnTo>
                <a:lnTo>
                  <a:pt x="5351" y="2733"/>
                </a:lnTo>
                <a:lnTo>
                  <a:pt x="5358" y="2737"/>
                </a:lnTo>
                <a:lnTo>
                  <a:pt x="5365" y="2743"/>
                </a:lnTo>
                <a:lnTo>
                  <a:pt x="5372" y="2749"/>
                </a:lnTo>
                <a:lnTo>
                  <a:pt x="5374" y="2752"/>
                </a:lnTo>
                <a:lnTo>
                  <a:pt x="5377" y="2755"/>
                </a:lnTo>
                <a:lnTo>
                  <a:pt x="5382" y="2762"/>
                </a:lnTo>
                <a:lnTo>
                  <a:pt x="5386" y="2770"/>
                </a:lnTo>
                <a:lnTo>
                  <a:pt x="5389" y="2778"/>
                </a:lnTo>
                <a:lnTo>
                  <a:pt x="5392" y="2787"/>
                </a:lnTo>
                <a:lnTo>
                  <a:pt x="5394" y="2797"/>
                </a:lnTo>
                <a:lnTo>
                  <a:pt x="5395" y="2807"/>
                </a:lnTo>
                <a:lnTo>
                  <a:pt x="5395" y="2817"/>
                </a:lnTo>
                <a:lnTo>
                  <a:pt x="5394" y="2829"/>
                </a:lnTo>
                <a:lnTo>
                  <a:pt x="5393" y="2835"/>
                </a:lnTo>
                <a:lnTo>
                  <a:pt x="5392" y="2842"/>
                </a:lnTo>
                <a:lnTo>
                  <a:pt x="5388" y="2854"/>
                </a:lnTo>
                <a:lnTo>
                  <a:pt x="5383" y="2866"/>
                </a:lnTo>
                <a:lnTo>
                  <a:pt x="5377" y="2877"/>
                </a:lnTo>
                <a:lnTo>
                  <a:pt x="5369" y="2888"/>
                </a:lnTo>
                <a:lnTo>
                  <a:pt x="5365" y="2893"/>
                </a:lnTo>
                <a:lnTo>
                  <a:pt x="5360" y="2898"/>
                </a:lnTo>
                <a:lnTo>
                  <a:pt x="5351" y="2907"/>
                </a:lnTo>
                <a:lnTo>
                  <a:pt x="5341" y="2916"/>
                </a:lnTo>
                <a:lnTo>
                  <a:pt x="5336" y="2920"/>
                </a:lnTo>
                <a:lnTo>
                  <a:pt x="5331" y="2924"/>
                </a:lnTo>
                <a:lnTo>
                  <a:pt x="5319" y="2931"/>
                </a:lnTo>
                <a:lnTo>
                  <a:pt x="5307" y="2936"/>
                </a:lnTo>
                <a:lnTo>
                  <a:pt x="5294" y="2941"/>
                </a:lnTo>
                <a:lnTo>
                  <a:pt x="5288" y="2943"/>
                </a:lnTo>
                <a:lnTo>
                  <a:pt x="5282" y="2944"/>
                </a:lnTo>
                <a:lnTo>
                  <a:pt x="5276" y="2945"/>
                </a:lnTo>
                <a:lnTo>
                  <a:pt x="5270" y="2946"/>
                </a:lnTo>
                <a:lnTo>
                  <a:pt x="5257" y="2947"/>
                </a:lnTo>
                <a:lnTo>
                  <a:pt x="5252" y="2946"/>
                </a:lnTo>
                <a:lnTo>
                  <a:pt x="5246" y="2944"/>
                </a:lnTo>
                <a:lnTo>
                  <a:pt x="5241" y="2942"/>
                </a:lnTo>
                <a:lnTo>
                  <a:pt x="5239" y="2940"/>
                </a:lnTo>
                <a:lnTo>
                  <a:pt x="5237" y="2938"/>
                </a:lnTo>
                <a:lnTo>
                  <a:pt x="5234" y="2933"/>
                </a:lnTo>
                <a:lnTo>
                  <a:pt x="5232" y="2928"/>
                </a:lnTo>
                <a:lnTo>
                  <a:pt x="5231" y="2925"/>
                </a:lnTo>
                <a:lnTo>
                  <a:pt x="5230" y="2922"/>
                </a:lnTo>
                <a:lnTo>
                  <a:pt x="5230" y="2916"/>
                </a:lnTo>
                <a:lnTo>
                  <a:pt x="5230" y="2913"/>
                </a:lnTo>
                <a:lnTo>
                  <a:pt x="5230" y="2909"/>
                </a:lnTo>
                <a:lnTo>
                  <a:pt x="5231" y="2904"/>
                </a:lnTo>
                <a:lnTo>
                  <a:pt x="5232" y="2902"/>
                </a:lnTo>
                <a:lnTo>
                  <a:pt x="5234" y="2900"/>
                </a:lnTo>
                <a:lnTo>
                  <a:pt x="5235" y="2899"/>
                </a:lnTo>
                <a:lnTo>
                  <a:pt x="5237" y="2897"/>
                </a:lnTo>
                <a:lnTo>
                  <a:pt x="5248" y="2896"/>
                </a:lnTo>
                <a:lnTo>
                  <a:pt x="5259" y="2893"/>
                </a:lnTo>
                <a:lnTo>
                  <a:pt x="5269" y="2890"/>
                </a:lnTo>
                <a:lnTo>
                  <a:pt x="5279" y="2886"/>
                </a:lnTo>
                <a:lnTo>
                  <a:pt x="5288" y="2881"/>
                </a:lnTo>
                <a:lnTo>
                  <a:pt x="5297" y="2876"/>
                </a:lnTo>
                <a:lnTo>
                  <a:pt x="5304" y="2870"/>
                </a:lnTo>
                <a:lnTo>
                  <a:pt x="5308" y="2868"/>
                </a:lnTo>
                <a:lnTo>
                  <a:pt x="5313" y="2865"/>
                </a:lnTo>
                <a:lnTo>
                  <a:pt x="5319" y="2858"/>
                </a:lnTo>
                <a:lnTo>
                  <a:pt x="5325" y="2852"/>
                </a:lnTo>
                <a:lnTo>
                  <a:pt x="5330" y="2844"/>
                </a:lnTo>
                <a:lnTo>
                  <a:pt x="5334" y="2837"/>
                </a:lnTo>
                <a:lnTo>
                  <a:pt x="5337" y="2830"/>
                </a:lnTo>
                <a:lnTo>
                  <a:pt x="5340" y="2823"/>
                </a:lnTo>
                <a:lnTo>
                  <a:pt x="5341" y="2816"/>
                </a:lnTo>
                <a:lnTo>
                  <a:pt x="5342" y="2809"/>
                </a:lnTo>
                <a:lnTo>
                  <a:pt x="5341" y="2801"/>
                </a:lnTo>
                <a:lnTo>
                  <a:pt x="5339" y="2794"/>
                </a:lnTo>
                <a:lnTo>
                  <a:pt x="5337" y="2789"/>
                </a:lnTo>
                <a:lnTo>
                  <a:pt x="5336" y="2786"/>
                </a:lnTo>
                <a:lnTo>
                  <a:pt x="5333" y="2784"/>
                </a:lnTo>
                <a:lnTo>
                  <a:pt x="5331" y="2781"/>
                </a:lnTo>
                <a:lnTo>
                  <a:pt x="5325" y="2777"/>
                </a:lnTo>
                <a:lnTo>
                  <a:pt x="5322" y="2775"/>
                </a:lnTo>
                <a:lnTo>
                  <a:pt x="5318" y="2774"/>
                </a:lnTo>
                <a:lnTo>
                  <a:pt x="5309" y="2772"/>
                </a:lnTo>
                <a:lnTo>
                  <a:pt x="5305" y="2771"/>
                </a:lnTo>
                <a:lnTo>
                  <a:pt x="5300" y="2771"/>
                </a:lnTo>
                <a:lnTo>
                  <a:pt x="5292" y="2772"/>
                </a:lnTo>
                <a:lnTo>
                  <a:pt x="5287" y="2773"/>
                </a:lnTo>
                <a:lnTo>
                  <a:pt x="5283" y="2774"/>
                </a:lnTo>
                <a:lnTo>
                  <a:pt x="5278" y="2776"/>
                </a:lnTo>
                <a:lnTo>
                  <a:pt x="5274" y="2777"/>
                </a:lnTo>
                <a:lnTo>
                  <a:pt x="5270" y="2780"/>
                </a:lnTo>
                <a:lnTo>
                  <a:pt x="5265" y="2782"/>
                </a:lnTo>
                <a:lnTo>
                  <a:pt x="5261" y="2785"/>
                </a:lnTo>
                <a:lnTo>
                  <a:pt x="5257" y="2788"/>
                </a:lnTo>
                <a:lnTo>
                  <a:pt x="5247" y="2796"/>
                </a:lnTo>
                <a:lnTo>
                  <a:pt x="5240" y="2804"/>
                </a:lnTo>
                <a:lnTo>
                  <a:pt x="5232" y="2813"/>
                </a:lnTo>
                <a:lnTo>
                  <a:pt x="5229" y="2818"/>
                </a:lnTo>
                <a:lnTo>
                  <a:pt x="5225" y="2823"/>
                </a:lnTo>
                <a:lnTo>
                  <a:pt x="5219" y="2834"/>
                </a:lnTo>
                <a:lnTo>
                  <a:pt x="5214" y="2845"/>
                </a:lnTo>
                <a:lnTo>
                  <a:pt x="5209" y="2859"/>
                </a:lnTo>
                <a:lnTo>
                  <a:pt x="5205" y="2871"/>
                </a:lnTo>
                <a:lnTo>
                  <a:pt x="5202" y="2885"/>
                </a:lnTo>
                <a:lnTo>
                  <a:pt x="5200" y="2899"/>
                </a:lnTo>
                <a:lnTo>
                  <a:pt x="5200" y="2906"/>
                </a:lnTo>
                <a:lnTo>
                  <a:pt x="5200" y="2914"/>
                </a:lnTo>
                <a:lnTo>
                  <a:pt x="5200" y="2926"/>
                </a:lnTo>
                <a:lnTo>
                  <a:pt x="5202" y="2939"/>
                </a:lnTo>
                <a:lnTo>
                  <a:pt x="5204" y="2950"/>
                </a:lnTo>
                <a:lnTo>
                  <a:pt x="5205" y="2956"/>
                </a:lnTo>
                <a:lnTo>
                  <a:pt x="5207" y="2961"/>
                </a:lnTo>
                <a:lnTo>
                  <a:pt x="5210" y="2973"/>
                </a:lnTo>
                <a:lnTo>
                  <a:pt x="5212" y="2978"/>
                </a:lnTo>
                <a:lnTo>
                  <a:pt x="5215" y="2983"/>
                </a:lnTo>
                <a:lnTo>
                  <a:pt x="5217" y="2987"/>
                </a:lnTo>
                <a:lnTo>
                  <a:pt x="5220" y="2992"/>
                </a:lnTo>
                <a:lnTo>
                  <a:pt x="5223" y="2996"/>
                </a:lnTo>
                <a:lnTo>
                  <a:pt x="5226" y="3000"/>
                </a:lnTo>
                <a:lnTo>
                  <a:pt x="5229" y="3004"/>
                </a:lnTo>
                <a:lnTo>
                  <a:pt x="5233" y="3007"/>
                </a:lnTo>
                <a:lnTo>
                  <a:pt x="5240" y="3014"/>
                </a:lnTo>
                <a:lnTo>
                  <a:pt x="5248" y="3020"/>
                </a:lnTo>
                <a:lnTo>
                  <a:pt x="5257" y="3025"/>
                </a:lnTo>
                <a:lnTo>
                  <a:pt x="5266" y="3028"/>
                </a:lnTo>
                <a:lnTo>
                  <a:pt x="5276" y="3032"/>
                </a:lnTo>
                <a:lnTo>
                  <a:pt x="5286" y="3034"/>
                </a:lnTo>
                <a:lnTo>
                  <a:pt x="5291" y="3034"/>
                </a:lnTo>
                <a:lnTo>
                  <a:pt x="5297" y="3034"/>
                </a:lnTo>
                <a:lnTo>
                  <a:pt x="5307" y="3034"/>
                </a:lnTo>
                <a:lnTo>
                  <a:pt x="5318" y="3032"/>
                </a:lnTo>
                <a:lnTo>
                  <a:pt x="5328" y="3029"/>
                </a:lnTo>
                <a:lnTo>
                  <a:pt x="5338" y="3026"/>
                </a:lnTo>
                <a:lnTo>
                  <a:pt x="5347" y="3021"/>
                </a:lnTo>
                <a:lnTo>
                  <a:pt x="5356" y="3016"/>
                </a:lnTo>
                <a:lnTo>
                  <a:pt x="5365" y="3010"/>
                </a:lnTo>
                <a:lnTo>
                  <a:pt x="5374" y="3004"/>
                </a:lnTo>
                <a:lnTo>
                  <a:pt x="5382" y="2997"/>
                </a:lnTo>
                <a:lnTo>
                  <a:pt x="5390" y="2989"/>
                </a:lnTo>
                <a:lnTo>
                  <a:pt x="5397" y="2980"/>
                </a:lnTo>
                <a:lnTo>
                  <a:pt x="5404" y="2970"/>
                </a:lnTo>
                <a:lnTo>
                  <a:pt x="5417" y="2951"/>
                </a:lnTo>
                <a:lnTo>
                  <a:pt x="5423" y="2941"/>
                </a:lnTo>
                <a:lnTo>
                  <a:pt x="5428" y="2930"/>
                </a:lnTo>
                <a:lnTo>
                  <a:pt x="5434" y="2919"/>
                </a:lnTo>
                <a:lnTo>
                  <a:pt x="5439" y="2906"/>
                </a:lnTo>
                <a:lnTo>
                  <a:pt x="5444" y="2895"/>
                </a:lnTo>
                <a:lnTo>
                  <a:pt x="5448" y="2883"/>
                </a:lnTo>
                <a:lnTo>
                  <a:pt x="5452" y="2871"/>
                </a:lnTo>
                <a:lnTo>
                  <a:pt x="5455" y="2859"/>
                </a:lnTo>
                <a:lnTo>
                  <a:pt x="5458" y="2846"/>
                </a:lnTo>
                <a:lnTo>
                  <a:pt x="5461" y="2834"/>
                </a:lnTo>
                <a:lnTo>
                  <a:pt x="5463" y="2822"/>
                </a:lnTo>
                <a:lnTo>
                  <a:pt x="5465" y="2810"/>
                </a:lnTo>
                <a:lnTo>
                  <a:pt x="5466" y="2799"/>
                </a:lnTo>
                <a:lnTo>
                  <a:pt x="5467" y="2786"/>
                </a:lnTo>
                <a:lnTo>
                  <a:pt x="5468" y="2775"/>
                </a:lnTo>
                <a:lnTo>
                  <a:pt x="5468" y="2764"/>
                </a:lnTo>
                <a:lnTo>
                  <a:pt x="5468" y="2753"/>
                </a:lnTo>
                <a:lnTo>
                  <a:pt x="5468" y="2742"/>
                </a:lnTo>
                <a:lnTo>
                  <a:pt x="5469" y="2740"/>
                </a:lnTo>
                <a:lnTo>
                  <a:pt x="5470" y="2738"/>
                </a:lnTo>
                <a:lnTo>
                  <a:pt x="5473" y="2736"/>
                </a:lnTo>
                <a:lnTo>
                  <a:pt x="5475" y="2734"/>
                </a:lnTo>
                <a:lnTo>
                  <a:pt x="5482" y="2730"/>
                </a:lnTo>
                <a:lnTo>
                  <a:pt x="5486" y="2730"/>
                </a:lnTo>
                <a:lnTo>
                  <a:pt x="5491" y="2729"/>
                </a:lnTo>
                <a:lnTo>
                  <a:pt x="5498" y="2730"/>
                </a:lnTo>
                <a:lnTo>
                  <a:pt x="5501" y="2732"/>
                </a:lnTo>
                <a:lnTo>
                  <a:pt x="5505" y="2732"/>
                </a:lnTo>
                <a:lnTo>
                  <a:pt x="5510" y="2735"/>
                </a:lnTo>
                <a:lnTo>
                  <a:pt x="5513" y="2737"/>
                </a:lnTo>
                <a:lnTo>
                  <a:pt x="5515" y="2740"/>
                </a:lnTo>
                <a:lnTo>
                  <a:pt x="5519" y="2745"/>
                </a:lnTo>
                <a:lnTo>
                  <a:pt x="5521" y="2749"/>
                </a:lnTo>
                <a:lnTo>
                  <a:pt x="5522" y="2753"/>
                </a:lnTo>
                <a:lnTo>
                  <a:pt x="5523" y="2757"/>
                </a:lnTo>
                <a:lnTo>
                  <a:pt x="5524" y="2762"/>
                </a:lnTo>
                <a:lnTo>
                  <a:pt x="5525" y="2767"/>
                </a:lnTo>
                <a:lnTo>
                  <a:pt x="5525" y="2773"/>
                </a:lnTo>
                <a:lnTo>
                  <a:pt x="5524" y="2789"/>
                </a:lnTo>
                <a:lnTo>
                  <a:pt x="5523" y="2805"/>
                </a:lnTo>
                <a:lnTo>
                  <a:pt x="5522" y="2820"/>
                </a:lnTo>
                <a:lnTo>
                  <a:pt x="5520" y="2835"/>
                </a:lnTo>
                <a:lnTo>
                  <a:pt x="5517" y="2850"/>
                </a:lnTo>
                <a:lnTo>
                  <a:pt x="5514" y="2866"/>
                </a:lnTo>
                <a:lnTo>
                  <a:pt x="5511" y="2880"/>
                </a:lnTo>
                <a:lnTo>
                  <a:pt x="5507" y="2895"/>
                </a:lnTo>
                <a:lnTo>
                  <a:pt x="5502" y="2908"/>
                </a:lnTo>
                <a:lnTo>
                  <a:pt x="5498" y="2923"/>
                </a:lnTo>
                <a:lnTo>
                  <a:pt x="5492" y="2936"/>
                </a:lnTo>
                <a:lnTo>
                  <a:pt x="5486" y="2949"/>
                </a:lnTo>
                <a:lnTo>
                  <a:pt x="5480" y="2961"/>
                </a:lnTo>
                <a:lnTo>
                  <a:pt x="5473" y="2975"/>
                </a:lnTo>
                <a:lnTo>
                  <a:pt x="5466" y="2986"/>
                </a:lnTo>
                <a:lnTo>
                  <a:pt x="5459" y="2997"/>
                </a:lnTo>
                <a:lnTo>
                  <a:pt x="5451" y="3008"/>
                </a:lnTo>
                <a:lnTo>
                  <a:pt x="5443" y="3018"/>
                </a:lnTo>
                <a:lnTo>
                  <a:pt x="5435" y="3028"/>
                </a:lnTo>
                <a:lnTo>
                  <a:pt x="5425" y="3038"/>
                </a:lnTo>
                <a:lnTo>
                  <a:pt x="5416" y="3046"/>
                </a:lnTo>
                <a:lnTo>
                  <a:pt x="5407" y="3054"/>
                </a:lnTo>
                <a:lnTo>
                  <a:pt x="5397" y="3061"/>
                </a:lnTo>
                <a:lnTo>
                  <a:pt x="5387" y="3068"/>
                </a:lnTo>
                <a:lnTo>
                  <a:pt x="5377" y="3074"/>
                </a:lnTo>
                <a:lnTo>
                  <a:pt x="5365" y="3079"/>
                </a:lnTo>
                <a:lnTo>
                  <a:pt x="5354" y="3083"/>
                </a:lnTo>
                <a:lnTo>
                  <a:pt x="5343" y="3087"/>
                </a:lnTo>
                <a:lnTo>
                  <a:pt x="5332" y="3090"/>
                </a:lnTo>
                <a:lnTo>
                  <a:pt x="5320" y="3093"/>
                </a:lnTo>
                <a:lnTo>
                  <a:pt x="5307" y="3094"/>
                </a:lnTo>
                <a:lnTo>
                  <a:pt x="5295" y="3095"/>
                </a:lnTo>
                <a:close/>
                <a:moveTo>
                  <a:pt x="5682" y="3088"/>
                </a:moveTo>
                <a:lnTo>
                  <a:pt x="5681" y="3088"/>
                </a:lnTo>
                <a:lnTo>
                  <a:pt x="5678" y="3087"/>
                </a:lnTo>
                <a:lnTo>
                  <a:pt x="5673" y="3084"/>
                </a:lnTo>
                <a:lnTo>
                  <a:pt x="5666" y="3080"/>
                </a:lnTo>
                <a:lnTo>
                  <a:pt x="5658" y="3075"/>
                </a:lnTo>
                <a:lnTo>
                  <a:pt x="5646" y="3064"/>
                </a:lnTo>
                <a:lnTo>
                  <a:pt x="5631" y="3050"/>
                </a:lnTo>
                <a:lnTo>
                  <a:pt x="5614" y="3034"/>
                </a:lnTo>
                <a:lnTo>
                  <a:pt x="5597" y="3016"/>
                </a:lnTo>
                <a:lnTo>
                  <a:pt x="5581" y="2999"/>
                </a:lnTo>
                <a:lnTo>
                  <a:pt x="5567" y="2983"/>
                </a:lnTo>
                <a:lnTo>
                  <a:pt x="5555" y="2967"/>
                </a:lnTo>
                <a:lnTo>
                  <a:pt x="5551" y="2961"/>
                </a:lnTo>
                <a:lnTo>
                  <a:pt x="5547" y="2956"/>
                </a:lnTo>
                <a:lnTo>
                  <a:pt x="5541" y="2946"/>
                </a:lnTo>
                <a:lnTo>
                  <a:pt x="5538" y="2936"/>
                </a:lnTo>
                <a:lnTo>
                  <a:pt x="5535" y="2926"/>
                </a:lnTo>
                <a:lnTo>
                  <a:pt x="5534" y="2916"/>
                </a:lnTo>
                <a:lnTo>
                  <a:pt x="5535" y="2910"/>
                </a:lnTo>
                <a:lnTo>
                  <a:pt x="5536" y="2904"/>
                </a:lnTo>
                <a:lnTo>
                  <a:pt x="5537" y="2898"/>
                </a:lnTo>
                <a:lnTo>
                  <a:pt x="5539" y="2892"/>
                </a:lnTo>
                <a:lnTo>
                  <a:pt x="5542" y="2886"/>
                </a:lnTo>
                <a:lnTo>
                  <a:pt x="5545" y="2880"/>
                </a:lnTo>
                <a:lnTo>
                  <a:pt x="5549" y="2873"/>
                </a:lnTo>
                <a:lnTo>
                  <a:pt x="5554" y="2866"/>
                </a:lnTo>
                <a:lnTo>
                  <a:pt x="5562" y="2855"/>
                </a:lnTo>
                <a:lnTo>
                  <a:pt x="5574" y="2841"/>
                </a:lnTo>
                <a:lnTo>
                  <a:pt x="5603" y="2807"/>
                </a:lnTo>
                <a:lnTo>
                  <a:pt x="5639" y="2767"/>
                </a:lnTo>
                <a:lnTo>
                  <a:pt x="5675" y="2726"/>
                </a:lnTo>
                <a:lnTo>
                  <a:pt x="5676" y="2725"/>
                </a:lnTo>
                <a:lnTo>
                  <a:pt x="5679" y="2725"/>
                </a:lnTo>
                <a:lnTo>
                  <a:pt x="5683" y="2725"/>
                </a:lnTo>
                <a:lnTo>
                  <a:pt x="5687" y="2726"/>
                </a:lnTo>
                <a:lnTo>
                  <a:pt x="5691" y="2728"/>
                </a:lnTo>
                <a:lnTo>
                  <a:pt x="5696" y="2732"/>
                </a:lnTo>
                <a:lnTo>
                  <a:pt x="5700" y="2735"/>
                </a:lnTo>
                <a:lnTo>
                  <a:pt x="5704" y="2739"/>
                </a:lnTo>
                <a:lnTo>
                  <a:pt x="5707" y="2743"/>
                </a:lnTo>
                <a:lnTo>
                  <a:pt x="5710" y="2748"/>
                </a:lnTo>
                <a:lnTo>
                  <a:pt x="5711" y="2752"/>
                </a:lnTo>
                <a:lnTo>
                  <a:pt x="5712" y="2757"/>
                </a:lnTo>
                <a:lnTo>
                  <a:pt x="5711" y="2762"/>
                </a:lnTo>
                <a:lnTo>
                  <a:pt x="5710" y="2768"/>
                </a:lnTo>
                <a:lnTo>
                  <a:pt x="5707" y="2773"/>
                </a:lnTo>
                <a:lnTo>
                  <a:pt x="5703" y="2779"/>
                </a:lnTo>
                <a:lnTo>
                  <a:pt x="5695" y="2790"/>
                </a:lnTo>
                <a:lnTo>
                  <a:pt x="5683" y="2804"/>
                </a:lnTo>
                <a:lnTo>
                  <a:pt x="5653" y="2837"/>
                </a:lnTo>
                <a:lnTo>
                  <a:pt x="5624" y="2871"/>
                </a:lnTo>
                <a:lnTo>
                  <a:pt x="5611" y="2886"/>
                </a:lnTo>
                <a:lnTo>
                  <a:pt x="5601" y="2897"/>
                </a:lnTo>
                <a:lnTo>
                  <a:pt x="5599" y="2901"/>
                </a:lnTo>
                <a:lnTo>
                  <a:pt x="5597" y="2905"/>
                </a:lnTo>
                <a:lnTo>
                  <a:pt x="5596" y="2908"/>
                </a:lnTo>
                <a:lnTo>
                  <a:pt x="5596" y="2913"/>
                </a:lnTo>
                <a:lnTo>
                  <a:pt x="5596" y="2917"/>
                </a:lnTo>
                <a:lnTo>
                  <a:pt x="5597" y="2922"/>
                </a:lnTo>
                <a:lnTo>
                  <a:pt x="5600" y="2926"/>
                </a:lnTo>
                <a:lnTo>
                  <a:pt x="5603" y="2931"/>
                </a:lnTo>
                <a:lnTo>
                  <a:pt x="5611" y="2940"/>
                </a:lnTo>
                <a:lnTo>
                  <a:pt x="5621" y="2952"/>
                </a:lnTo>
                <a:lnTo>
                  <a:pt x="5649" y="2982"/>
                </a:lnTo>
                <a:lnTo>
                  <a:pt x="5682" y="3014"/>
                </a:lnTo>
                <a:lnTo>
                  <a:pt x="5713" y="3045"/>
                </a:lnTo>
                <a:lnTo>
                  <a:pt x="5714" y="3047"/>
                </a:lnTo>
                <a:lnTo>
                  <a:pt x="5716" y="3049"/>
                </a:lnTo>
                <a:lnTo>
                  <a:pt x="5717" y="3051"/>
                </a:lnTo>
                <a:lnTo>
                  <a:pt x="5717" y="3054"/>
                </a:lnTo>
                <a:lnTo>
                  <a:pt x="5716" y="3060"/>
                </a:lnTo>
                <a:lnTo>
                  <a:pt x="5715" y="3062"/>
                </a:lnTo>
                <a:lnTo>
                  <a:pt x="5714" y="3065"/>
                </a:lnTo>
                <a:lnTo>
                  <a:pt x="5710" y="3071"/>
                </a:lnTo>
                <a:lnTo>
                  <a:pt x="5708" y="3074"/>
                </a:lnTo>
                <a:lnTo>
                  <a:pt x="5705" y="3076"/>
                </a:lnTo>
                <a:lnTo>
                  <a:pt x="5700" y="3081"/>
                </a:lnTo>
                <a:lnTo>
                  <a:pt x="5697" y="3083"/>
                </a:lnTo>
                <a:lnTo>
                  <a:pt x="5694" y="3085"/>
                </a:lnTo>
                <a:lnTo>
                  <a:pt x="5688" y="3087"/>
                </a:lnTo>
                <a:lnTo>
                  <a:pt x="5685" y="3088"/>
                </a:lnTo>
                <a:lnTo>
                  <a:pt x="5682" y="3088"/>
                </a:lnTo>
                <a:close/>
                <a:moveTo>
                  <a:pt x="2533" y="639"/>
                </a:moveTo>
                <a:lnTo>
                  <a:pt x="2525" y="639"/>
                </a:lnTo>
                <a:lnTo>
                  <a:pt x="2518" y="639"/>
                </a:lnTo>
                <a:lnTo>
                  <a:pt x="2510" y="637"/>
                </a:lnTo>
                <a:lnTo>
                  <a:pt x="2503" y="636"/>
                </a:lnTo>
                <a:lnTo>
                  <a:pt x="2496" y="634"/>
                </a:lnTo>
                <a:lnTo>
                  <a:pt x="2488" y="632"/>
                </a:lnTo>
                <a:lnTo>
                  <a:pt x="2474" y="625"/>
                </a:lnTo>
                <a:lnTo>
                  <a:pt x="2461" y="618"/>
                </a:lnTo>
                <a:lnTo>
                  <a:pt x="2455" y="613"/>
                </a:lnTo>
                <a:lnTo>
                  <a:pt x="2449" y="609"/>
                </a:lnTo>
                <a:lnTo>
                  <a:pt x="2443" y="604"/>
                </a:lnTo>
                <a:lnTo>
                  <a:pt x="2437" y="599"/>
                </a:lnTo>
                <a:lnTo>
                  <a:pt x="2432" y="593"/>
                </a:lnTo>
                <a:lnTo>
                  <a:pt x="2425" y="588"/>
                </a:lnTo>
                <a:lnTo>
                  <a:pt x="2420" y="582"/>
                </a:lnTo>
                <a:lnTo>
                  <a:pt x="2416" y="575"/>
                </a:lnTo>
                <a:lnTo>
                  <a:pt x="2411" y="568"/>
                </a:lnTo>
                <a:lnTo>
                  <a:pt x="2407" y="561"/>
                </a:lnTo>
                <a:lnTo>
                  <a:pt x="2403" y="554"/>
                </a:lnTo>
                <a:lnTo>
                  <a:pt x="2400" y="546"/>
                </a:lnTo>
                <a:lnTo>
                  <a:pt x="2396" y="539"/>
                </a:lnTo>
                <a:lnTo>
                  <a:pt x="2393" y="531"/>
                </a:lnTo>
                <a:lnTo>
                  <a:pt x="2391" y="523"/>
                </a:lnTo>
                <a:lnTo>
                  <a:pt x="2388" y="515"/>
                </a:lnTo>
                <a:lnTo>
                  <a:pt x="2386" y="505"/>
                </a:lnTo>
                <a:lnTo>
                  <a:pt x="2385" y="497"/>
                </a:lnTo>
                <a:lnTo>
                  <a:pt x="2383" y="488"/>
                </a:lnTo>
                <a:lnTo>
                  <a:pt x="2382" y="479"/>
                </a:lnTo>
                <a:lnTo>
                  <a:pt x="2382" y="470"/>
                </a:lnTo>
                <a:lnTo>
                  <a:pt x="2382" y="461"/>
                </a:lnTo>
                <a:lnTo>
                  <a:pt x="2382" y="441"/>
                </a:lnTo>
                <a:lnTo>
                  <a:pt x="2383" y="432"/>
                </a:lnTo>
                <a:lnTo>
                  <a:pt x="2385" y="423"/>
                </a:lnTo>
                <a:lnTo>
                  <a:pt x="2386" y="414"/>
                </a:lnTo>
                <a:lnTo>
                  <a:pt x="2389" y="405"/>
                </a:lnTo>
                <a:lnTo>
                  <a:pt x="2391" y="396"/>
                </a:lnTo>
                <a:lnTo>
                  <a:pt x="2394" y="387"/>
                </a:lnTo>
                <a:lnTo>
                  <a:pt x="2397" y="378"/>
                </a:lnTo>
                <a:lnTo>
                  <a:pt x="2401" y="370"/>
                </a:lnTo>
                <a:lnTo>
                  <a:pt x="2404" y="362"/>
                </a:lnTo>
                <a:lnTo>
                  <a:pt x="2408" y="354"/>
                </a:lnTo>
                <a:lnTo>
                  <a:pt x="2413" y="347"/>
                </a:lnTo>
                <a:lnTo>
                  <a:pt x="2418" y="339"/>
                </a:lnTo>
                <a:lnTo>
                  <a:pt x="2428" y="325"/>
                </a:lnTo>
                <a:lnTo>
                  <a:pt x="2434" y="318"/>
                </a:lnTo>
                <a:lnTo>
                  <a:pt x="2440" y="312"/>
                </a:lnTo>
                <a:lnTo>
                  <a:pt x="2452" y="301"/>
                </a:lnTo>
                <a:lnTo>
                  <a:pt x="2459" y="295"/>
                </a:lnTo>
                <a:lnTo>
                  <a:pt x="2465" y="291"/>
                </a:lnTo>
                <a:lnTo>
                  <a:pt x="2472" y="286"/>
                </a:lnTo>
                <a:lnTo>
                  <a:pt x="2479" y="282"/>
                </a:lnTo>
                <a:lnTo>
                  <a:pt x="2487" y="278"/>
                </a:lnTo>
                <a:lnTo>
                  <a:pt x="2495" y="275"/>
                </a:lnTo>
                <a:lnTo>
                  <a:pt x="2503" y="273"/>
                </a:lnTo>
                <a:lnTo>
                  <a:pt x="2510" y="269"/>
                </a:lnTo>
                <a:lnTo>
                  <a:pt x="2518" y="268"/>
                </a:lnTo>
                <a:lnTo>
                  <a:pt x="2526" y="266"/>
                </a:lnTo>
                <a:lnTo>
                  <a:pt x="2534" y="265"/>
                </a:lnTo>
                <a:lnTo>
                  <a:pt x="2543" y="265"/>
                </a:lnTo>
                <a:lnTo>
                  <a:pt x="2554" y="266"/>
                </a:lnTo>
                <a:lnTo>
                  <a:pt x="2559" y="266"/>
                </a:lnTo>
                <a:lnTo>
                  <a:pt x="2563" y="267"/>
                </a:lnTo>
                <a:lnTo>
                  <a:pt x="2568" y="268"/>
                </a:lnTo>
                <a:lnTo>
                  <a:pt x="2572" y="269"/>
                </a:lnTo>
                <a:lnTo>
                  <a:pt x="2581" y="273"/>
                </a:lnTo>
                <a:lnTo>
                  <a:pt x="2589" y="277"/>
                </a:lnTo>
                <a:lnTo>
                  <a:pt x="2596" y="282"/>
                </a:lnTo>
                <a:lnTo>
                  <a:pt x="2603" y="287"/>
                </a:lnTo>
                <a:lnTo>
                  <a:pt x="2609" y="293"/>
                </a:lnTo>
                <a:lnTo>
                  <a:pt x="2613" y="297"/>
                </a:lnTo>
                <a:lnTo>
                  <a:pt x="2615" y="300"/>
                </a:lnTo>
                <a:lnTo>
                  <a:pt x="2620" y="307"/>
                </a:lnTo>
                <a:lnTo>
                  <a:pt x="2624" y="315"/>
                </a:lnTo>
                <a:lnTo>
                  <a:pt x="2627" y="323"/>
                </a:lnTo>
                <a:lnTo>
                  <a:pt x="2630" y="333"/>
                </a:lnTo>
                <a:lnTo>
                  <a:pt x="2632" y="342"/>
                </a:lnTo>
                <a:lnTo>
                  <a:pt x="2633" y="352"/>
                </a:lnTo>
                <a:lnTo>
                  <a:pt x="2633" y="362"/>
                </a:lnTo>
                <a:lnTo>
                  <a:pt x="2633" y="374"/>
                </a:lnTo>
                <a:lnTo>
                  <a:pt x="2632" y="380"/>
                </a:lnTo>
                <a:lnTo>
                  <a:pt x="2630" y="386"/>
                </a:lnTo>
                <a:lnTo>
                  <a:pt x="2627" y="399"/>
                </a:lnTo>
                <a:lnTo>
                  <a:pt x="2622" y="411"/>
                </a:lnTo>
                <a:lnTo>
                  <a:pt x="2615" y="422"/>
                </a:lnTo>
                <a:lnTo>
                  <a:pt x="2607" y="433"/>
                </a:lnTo>
                <a:lnTo>
                  <a:pt x="2603" y="438"/>
                </a:lnTo>
                <a:lnTo>
                  <a:pt x="2599" y="442"/>
                </a:lnTo>
                <a:lnTo>
                  <a:pt x="2590" y="453"/>
                </a:lnTo>
                <a:lnTo>
                  <a:pt x="2580" y="461"/>
                </a:lnTo>
                <a:lnTo>
                  <a:pt x="2574" y="465"/>
                </a:lnTo>
                <a:lnTo>
                  <a:pt x="2569" y="469"/>
                </a:lnTo>
                <a:lnTo>
                  <a:pt x="2558" y="475"/>
                </a:lnTo>
                <a:lnTo>
                  <a:pt x="2545" y="481"/>
                </a:lnTo>
                <a:lnTo>
                  <a:pt x="2533" y="486"/>
                </a:lnTo>
                <a:lnTo>
                  <a:pt x="2527" y="487"/>
                </a:lnTo>
                <a:lnTo>
                  <a:pt x="2520" y="489"/>
                </a:lnTo>
                <a:lnTo>
                  <a:pt x="2514" y="490"/>
                </a:lnTo>
                <a:lnTo>
                  <a:pt x="2508" y="491"/>
                </a:lnTo>
                <a:lnTo>
                  <a:pt x="2495" y="492"/>
                </a:lnTo>
                <a:lnTo>
                  <a:pt x="2489" y="491"/>
                </a:lnTo>
                <a:lnTo>
                  <a:pt x="2484" y="489"/>
                </a:lnTo>
                <a:lnTo>
                  <a:pt x="2480" y="486"/>
                </a:lnTo>
                <a:lnTo>
                  <a:pt x="2478" y="485"/>
                </a:lnTo>
                <a:lnTo>
                  <a:pt x="2476" y="483"/>
                </a:lnTo>
                <a:lnTo>
                  <a:pt x="2473" y="478"/>
                </a:lnTo>
                <a:lnTo>
                  <a:pt x="2470" y="473"/>
                </a:lnTo>
                <a:lnTo>
                  <a:pt x="2469" y="470"/>
                </a:lnTo>
                <a:lnTo>
                  <a:pt x="2469" y="467"/>
                </a:lnTo>
                <a:lnTo>
                  <a:pt x="2468" y="460"/>
                </a:lnTo>
                <a:lnTo>
                  <a:pt x="2468" y="458"/>
                </a:lnTo>
                <a:lnTo>
                  <a:pt x="2469" y="455"/>
                </a:lnTo>
                <a:lnTo>
                  <a:pt x="2470" y="449"/>
                </a:lnTo>
                <a:lnTo>
                  <a:pt x="2471" y="447"/>
                </a:lnTo>
                <a:lnTo>
                  <a:pt x="2472" y="445"/>
                </a:lnTo>
                <a:lnTo>
                  <a:pt x="2473" y="443"/>
                </a:lnTo>
                <a:lnTo>
                  <a:pt x="2475" y="442"/>
                </a:lnTo>
                <a:lnTo>
                  <a:pt x="2486" y="440"/>
                </a:lnTo>
                <a:lnTo>
                  <a:pt x="2498" y="438"/>
                </a:lnTo>
                <a:lnTo>
                  <a:pt x="2508" y="434"/>
                </a:lnTo>
                <a:lnTo>
                  <a:pt x="2517" y="430"/>
                </a:lnTo>
                <a:lnTo>
                  <a:pt x="2526" y="426"/>
                </a:lnTo>
                <a:lnTo>
                  <a:pt x="2535" y="421"/>
                </a:lnTo>
                <a:lnTo>
                  <a:pt x="2543" y="415"/>
                </a:lnTo>
                <a:lnTo>
                  <a:pt x="2546" y="412"/>
                </a:lnTo>
                <a:lnTo>
                  <a:pt x="2551" y="409"/>
                </a:lnTo>
                <a:lnTo>
                  <a:pt x="2557" y="403"/>
                </a:lnTo>
                <a:lnTo>
                  <a:pt x="2563" y="397"/>
                </a:lnTo>
                <a:lnTo>
                  <a:pt x="2568" y="389"/>
                </a:lnTo>
                <a:lnTo>
                  <a:pt x="2572" y="382"/>
                </a:lnTo>
                <a:lnTo>
                  <a:pt x="2576" y="375"/>
                </a:lnTo>
                <a:lnTo>
                  <a:pt x="2578" y="368"/>
                </a:lnTo>
                <a:lnTo>
                  <a:pt x="2580" y="361"/>
                </a:lnTo>
                <a:lnTo>
                  <a:pt x="2580" y="354"/>
                </a:lnTo>
                <a:lnTo>
                  <a:pt x="2579" y="346"/>
                </a:lnTo>
                <a:lnTo>
                  <a:pt x="2577" y="338"/>
                </a:lnTo>
                <a:lnTo>
                  <a:pt x="2576" y="335"/>
                </a:lnTo>
                <a:lnTo>
                  <a:pt x="2574" y="332"/>
                </a:lnTo>
                <a:lnTo>
                  <a:pt x="2572" y="328"/>
                </a:lnTo>
                <a:lnTo>
                  <a:pt x="2569" y="326"/>
                </a:lnTo>
                <a:lnTo>
                  <a:pt x="2563" y="322"/>
                </a:lnTo>
                <a:lnTo>
                  <a:pt x="2560" y="320"/>
                </a:lnTo>
                <a:lnTo>
                  <a:pt x="2557" y="318"/>
                </a:lnTo>
                <a:lnTo>
                  <a:pt x="2548" y="317"/>
                </a:lnTo>
                <a:lnTo>
                  <a:pt x="2543" y="316"/>
                </a:lnTo>
                <a:lnTo>
                  <a:pt x="2539" y="316"/>
                </a:lnTo>
                <a:lnTo>
                  <a:pt x="2530" y="317"/>
                </a:lnTo>
                <a:lnTo>
                  <a:pt x="2526" y="318"/>
                </a:lnTo>
                <a:lnTo>
                  <a:pt x="2521" y="319"/>
                </a:lnTo>
                <a:lnTo>
                  <a:pt x="2517" y="320"/>
                </a:lnTo>
                <a:lnTo>
                  <a:pt x="2512" y="322"/>
                </a:lnTo>
                <a:lnTo>
                  <a:pt x="2508" y="324"/>
                </a:lnTo>
                <a:lnTo>
                  <a:pt x="2504" y="327"/>
                </a:lnTo>
                <a:lnTo>
                  <a:pt x="2499" y="330"/>
                </a:lnTo>
                <a:lnTo>
                  <a:pt x="2495" y="334"/>
                </a:lnTo>
                <a:lnTo>
                  <a:pt x="2486" y="341"/>
                </a:lnTo>
                <a:lnTo>
                  <a:pt x="2478" y="349"/>
                </a:lnTo>
                <a:lnTo>
                  <a:pt x="2470" y="358"/>
                </a:lnTo>
                <a:lnTo>
                  <a:pt x="2467" y="363"/>
                </a:lnTo>
                <a:lnTo>
                  <a:pt x="2464" y="368"/>
                </a:lnTo>
                <a:lnTo>
                  <a:pt x="2457" y="379"/>
                </a:lnTo>
                <a:lnTo>
                  <a:pt x="2452" y="390"/>
                </a:lnTo>
                <a:lnTo>
                  <a:pt x="2447" y="403"/>
                </a:lnTo>
                <a:lnTo>
                  <a:pt x="2443" y="416"/>
                </a:lnTo>
                <a:lnTo>
                  <a:pt x="2440" y="430"/>
                </a:lnTo>
                <a:lnTo>
                  <a:pt x="2439" y="443"/>
                </a:lnTo>
                <a:lnTo>
                  <a:pt x="2438" y="450"/>
                </a:lnTo>
                <a:lnTo>
                  <a:pt x="2438" y="459"/>
                </a:lnTo>
                <a:lnTo>
                  <a:pt x="2439" y="471"/>
                </a:lnTo>
                <a:lnTo>
                  <a:pt x="2440" y="483"/>
                </a:lnTo>
                <a:lnTo>
                  <a:pt x="2442" y="495"/>
                </a:lnTo>
                <a:lnTo>
                  <a:pt x="2443" y="501"/>
                </a:lnTo>
                <a:lnTo>
                  <a:pt x="2445" y="506"/>
                </a:lnTo>
                <a:lnTo>
                  <a:pt x="2449" y="518"/>
                </a:lnTo>
                <a:lnTo>
                  <a:pt x="2451" y="523"/>
                </a:lnTo>
                <a:lnTo>
                  <a:pt x="2453" y="527"/>
                </a:lnTo>
                <a:lnTo>
                  <a:pt x="2456" y="532"/>
                </a:lnTo>
                <a:lnTo>
                  <a:pt x="2458" y="536"/>
                </a:lnTo>
                <a:lnTo>
                  <a:pt x="2461" y="541"/>
                </a:lnTo>
                <a:lnTo>
                  <a:pt x="2464" y="545"/>
                </a:lnTo>
                <a:lnTo>
                  <a:pt x="2467" y="548"/>
                </a:lnTo>
                <a:lnTo>
                  <a:pt x="2471" y="552"/>
                </a:lnTo>
                <a:lnTo>
                  <a:pt x="2478" y="559"/>
                </a:lnTo>
                <a:lnTo>
                  <a:pt x="2486" y="564"/>
                </a:lnTo>
                <a:lnTo>
                  <a:pt x="2495" y="569"/>
                </a:lnTo>
                <a:lnTo>
                  <a:pt x="2505" y="574"/>
                </a:lnTo>
                <a:lnTo>
                  <a:pt x="2514" y="577"/>
                </a:lnTo>
                <a:lnTo>
                  <a:pt x="2524" y="579"/>
                </a:lnTo>
                <a:lnTo>
                  <a:pt x="2530" y="579"/>
                </a:lnTo>
                <a:lnTo>
                  <a:pt x="2535" y="579"/>
                </a:lnTo>
                <a:lnTo>
                  <a:pt x="2545" y="579"/>
                </a:lnTo>
                <a:lnTo>
                  <a:pt x="2557" y="577"/>
                </a:lnTo>
                <a:lnTo>
                  <a:pt x="2567" y="575"/>
                </a:lnTo>
                <a:lnTo>
                  <a:pt x="2576" y="570"/>
                </a:lnTo>
                <a:lnTo>
                  <a:pt x="2585" y="566"/>
                </a:lnTo>
                <a:lnTo>
                  <a:pt x="2594" y="561"/>
                </a:lnTo>
                <a:lnTo>
                  <a:pt x="2603" y="555"/>
                </a:lnTo>
                <a:lnTo>
                  <a:pt x="2612" y="549"/>
                </a:lnTo>
                <a:lnTo>
                  <a:pt x="2620" y="541"/>
                </a:lnTo>
                <a:lnTo>
                  <a:pt x="2628" y="534"/>
                </a:lnTo>
                <a:lnTo>
                  <a:pt x="2635" y="525"/>
                </a:lnTo>
                <a:lnTo>
                  <a:pt x="2642" y="516"/>
                </a:lnTo>
                <a:lnTo>
                  <a:pt x="2655" y="496"/>
                </a:lnTo>
                <a:lnTo>
                  <a:pt x="2661" y="485"/>
                </a:lnTo>
                <a:lnTo>
                  <a:pt x="2666" y="475"/>
                </a:lnTo>
                <a:lnTo>
                  <a:pt x="2673" y="464"/>
                </a:lnTo>
                <a:lnTo>
                  <a:pt x="2678" y="452"/>
                </a:lnTo>
                <a:lnTo>
                  <a:pt x="2682" y="440"/>
                </a:lnTo>
                <a:lnTo>
                  <a:pt x="2686" y="428"/>
                </a:lnTo>
                <a:lnTo>
                  <a:pt x="2690" y="416"/>
                </a:lnTo>
                <a:lnTo>
                  <a:pt x="2693" y="404"/>
                </a:lnTo>
                <a:lnTo>
                  <a:pt x="2696" y="392"/>
                </a:lnTo>
                <a:lnTo>
                  <a:pt x="2699" y="379"/>
                </a:lnTo>
                <a:lnTo>
                  <a:pt x="2701" y="367"/>
                </a:lnTo>
                <a:lnTo>
                  <a:pt x="2703" y="355"/>
                </a:lnTo>
                <a:lnTo>
                  <a:pt x="2705" y="343"/>
                </a:lnTo>
                <a:lnTo>
                  <a:pt x="2706" y="332"/>
                </a:lnTo>
                <a:lnTo>
                  <a:pt x="2706" y="320"/>
                </a:lnTo>
                <a:lnTo>
                  <a:pt x="2707" y="308"/>
                </a:lnTo>
                <a:lnTo>
                  <a:pt x="2706" y="298"/>
                </a:lnTo>
                <a:lnTo>
                  <a:pt x="2706" y="287"/>
                </a:lnTo>
                <a:lnTo>
                  <a:pt x="2707" y="285"/>
                </a:lnTo>
                <a:lnTo>
                  <a:pt x="2709" y="283"/>
                </a:lnTo>
                <a:lnTo>
                  <a:pt x="2711" y="281"/>
                </a:lnTo>
                <a:lnTo>
                  <a:pt x="2714" y="279"/>
                </a:lnTo>
                <a:lnTo>
                  <a:pt x="2720" y="276"/>
                </a:lnTo>
                <a:lnTo>
                  <a:pt x="2724" y="275"/>
                </a:lnTo>
                <a:lnTo>
                  <a:pt x="2728" y="275"/>
                </a:lnTo>
                <a:lnTo>
                  <a:pt x="2736" y="276"/>
                </a:lnTo>
                <a:lnTo>
                  <a:pt x="2740" y="276"/>
                </a:lnTo>
                <a:lnTo>
                  <a:pt x="2743" y="277"/>
                </a:lnTo>
                <a:lnTo>
                  <a:pt x="2749" y="280"/>
                </a:lnTo>
                <a:lnTo>
                  <a:pt x="2751" y="282"/>
                </a:lnTo>
                <a:lnTo>
                  <a:pt x="2754" y="284"/>
                </a:lnTo>
                <a:lnTo>
                  <a:pt x="2758" y="290"/>
                </a:lnTo>
                <a:lnTo>
                  <a:pt x="2759" y="294"/>
                </a:lnTo>
                <a:lnTo>
                  <a:pt x="2761" y="297"/>
                </a:lnTo>
                <a:lnTo>
                  <a:pt x="2762" y="302"/>
                </a:lnTo>
                <a:lnTo>
                  <a:pt x="2763" y="307"/>
                </a:lnTo>
                <a:lnTo>
                  <a:pt x="2763" y="312"/>
                </a:lnTo>
                <a:lnTo>
                  <a:pt x="2763" y="318"/>
                </a:lnTo>
                <a:lnTo>
                  <a:pt x="2763" y="334"/>
                </a:lnTo>
                <a:lnTo>
                  <a:pt x="2762" y="350"/>
                </a:lnTo>
                <a:lnTo>
                  <a:pt x="2760" y="365"/>
                </a:lnTo>
                <a:lnTo>
                  <a:pt x="2758" y="380"/>
                </a:lnTo>
                <a:lnTo>
                  <a:pt x="2756" y="396"/>
                </a:lnTo>
                <a:lnTo>
                  <a:pt x="2753" y="411"/>
                </a:lnTo>
                <a:lnTo>
                  <a:pt x="2749" y="425"/>
                </a:lnTo>
                <a:lnTo>
                  <a:pt x="2745" y="439"/>
                </a:lnTo>
                <a:lnTo>
                  <a:pt x="2741" y="454"/>
                </a:lnTo>
                <a:lnTo>
                  <a:pt x="2736" y="468"/>
                </a:lnTo>
                <a:lnTo>
                  <a:pt x="2731" y="481"/>
                </a:lnTo>
                <a:lnTo>
                  <a:pt x="2724" y="494"/>
                </a:lnTo>
                <a:lnTo>
                  <a:pt x="2718" y="506"/>
                </a:lnTo>
                <a:lnTo>
                  <a:pt x="2711" y="519"/>
                </a:lnTo>
                <a:lnTo>
                  <a:pt x="2705" y="531"/>
                </a:lnTo>
                <a:lnTo>
                  <a:pt x="2697" y="542"/>
                </a:lnTo>
                <a:lnTo>
                  <a:pt x="2690" y="553"/>
                </a:lnTo>
                <a:lnTo>
                  <a:pt x="2682" y="563"/>
                </a:lnTo>
                <a:lnTo>
                  <a:pt x="2673" y="573"/>
                </a:lnTo>
                <a:lnTo>
                  <a:pt x="2663" y="582"/>
                </a:lnTo>
                <a:lnTo>
                  <a:pt x="2654" y="591"/>
                </a:lnTo>
                <a:lnTo>
                  <a:pt x="2645" y="599"/>
                </a:lnTo>
                <a:lnTo>
                  <a:pt x="2635" y="606"/>
                </a:lnTo>
                <a:lnTo>
                  <a:pt x="2625" y="612"/>
                </a:lnTo>
                <a:lnTo>
                  <a:pt x="2615" y="618"/>
                </a:lnTo>
                <a:lnTo>
                  <a:pt x="2603" y="624"/>
                </a:lnTo>
                <a:lnTo>
                  <a:pt x="2592" y="628"/>
                </a:lnTo>
                <a:lnTo>
                  <a:pt x="2581" y="633"/>
                </a:lnTo>
                <a:lnTo>
                  <a:pt x="2570" y="636"/>
                </a:lnTo>
                <a:lnTo>
                  <a:pt x="2558" y="638"/>
                </a:lnTo>
                <a:lnTo>
                  <a:pt x="2545" y="639"/>
                </a:lnTo>
                <a:lnTo>
                  <a:pt x="2533" y="639"/>
                </a:lnTo>
                <a:close/>
                <a:moveTo>
                  <a:pt x="2921" y="634"/>
                </a:moveTo>
                <a:lnTo>
                  <a:pt x="2919" y="633"/>
                </a:lnTo>
                <a:lnTo>
                  <a:pt x="2917" y="633"/>
                </a:lnTo>
                <a:lnTo>
                  <a:pt x="2911" y="629"/>
                </a:lnTo>
                <a:lnTo>
                  <a:pt x="2904" y="625"/>
                </a:lnTo>
                <a:lnTo>
                  <a:pt x="2897" y="619"/>
                </a:lnTo>
                <a:lnTo>
                  <a:pt x="2884" y="608"/>
                </a:lnTo>
                <a:lnTo>
                  <a:pt x="2869" y="595"/>
                </a:lnTo>
                <a:lnTo>
                  <a:pt x="2853" y="579"/>
                </a:lnTo>
                <a:lnTo>
                  <a:pt x="2835" y="561"/>
                </a:lnTo>
                <a:lnTo>
                  <a:pt x="2819" y="544"/>
                </a:lnTo>
                <a:lnTo>
                  <a:pt x="2805" y="527"/>
                </a:lnTo>
                <a:lnTo>
                  <a:pt x="2794" y="513"/>
                </a:lnTo>
                <a:lnTo>
                  <a:pt x="2788" y="506"/>
                </a:lnTo>
                <a:lnTo>
                  <a:pt x="2785" y="501"/>
                </a:lnTo>
                <a:lnTo>
                  <a:pt x="2780" y="490"/>
                </a:lnTo>
                <a:lnTo>
                  <a:pt x="2776" y="481"/>
                </a:lnTo>
                <a:lnTo>
                  <a:pt x="2774" y="471"/>
                </a:lnTo>
                <a:lnTo>
                  <a:pt x="2773" y="461"/>
                </a:lnTo>
                <a:lnTo>
                  <a:pt x="2773" y="456"/>
                </a:lnTo>
                <a:lnTo>
                  <a:pt x="2774" y="449"/>
                </a:lnTo>
                <a:lnTo>
                  <a:pt x="2775" y="443"/>
                </a:lnTo>
                <a:lnTo>
                  <a:pt x="2777" y="437"/>
                </a:lnTo>
                <a:lnTo>
                  <a:pt x="2780" y="431"/>
                </a:lnTo>
                <a:lnTo>
                  <a:pt x="2783" y="424"/>
                </a:lnTo>
                <a:lnTo>
                  <a:pt x="2787" y="418"/>
                </a:lnTo>
                <a:lnTo>
                  <a:pt x="2792" y="411"/>
                </a:lnTo>
                <a:lnTo>
                  <a:pt x="2801" y="400"/>
                </a:lnTo>
                <a:lnTo>
                  <a:pt x="2812" y="385"/>
                </a:lnTo>
                <a:lnTo>
                  <a:pt x="2841" y="352"/>
                </a:lnTo>
                <a:lnTo>
                  <a:pt x="2877" y="312"/>
                </a:lnTo>
                <a:lnTo>
                  <a:pt x="2913" y="270"/>
                </a:lnTo>
                <a:lnTo>
                  <a:pt x="2914" y="270"/>
                </a:lnTo>
                <a:lnTo>
                  <a:pt x="2918" y="270"/>
                </a:lnTo>
                <a:lnTo>
                  <a:pt x="2921" y="270"/>
                </a:lnTo>
                <a:lnTo>
                  <a:pt x="2925" y="272"/>
                </a:lnTo>
                <a:lnTo>
                  <a:pt x="2930" y="274"/>
                </a:lnTo>
                <a:lnTo>
                  <a:pt x="2934" y="276"/>
                </a:lnTo>
                <a:lnTo>
                  <a:pt x="2938" y="280"/>
                </a:lnTo>
                <a:lnTo>
                  <a:pt x="2942" y="283"/>
                </a:lnTo>
                <a:lnTo>
                  <a:pt x="2945" y="288"/>
                </a:lnTo>
                <a:lnTo>
                  <a:pt x="2948" y="292"/>
                </a:lnTo>
                <a:lnTo>
                  <a:pt x="2950" y="297"/>
                </a:lnTo>
                <a:lnTo>
                  <a:pt x="2950" y="302"/>
                </a:lnTo>
                <a:lnTo>
                  <a:pt x="2950" y="307"/>
                </a:lnTo>
                <a:lnTo>
                  <a:pt x="2948" y="313"/>
                </a:lnTo>
                <a:lnTo>
                  <a:pt x="2945" y="318"/>
                </a:lnTo>
                <a:lnTo>
                  <a:pt x="2941" y="324"/>
                </a:lnTo>
                <a:lnTo>
                  <a:pt x="2933" y="336"/>
                </a:lnTo>
                <a:lnTo>
                  <a:pt x="2921" y="349"/>
                </a:lnTo>
                <a:lnTo>
                  <a:pt x="2891" y="382"/>
                </a:lnTo>
                <a:lnTo>
                  <a:pt x="2862" y="416"/>
                </a:lnTo>
                <a:lnTo>
                  <a:pt x="2849" y="431"/>
                </a:lnTo>
                <a:lnTo>
                  <a:pt x="2840" y="442"/>
                </a:lnTo>
                <a:lnTo>
                  <a:pt x="2837" y="446"/>
                </a:lnTo>
                <a:lnTo>
                  <a:pt x="2835" y="450"/>
                </a:lnTo>
                <a:lnTo>
                  <a:pt x="2834" y="454"/>
                </a:lnTo>
                <a:lnTo>
                  <a:pt x="2834" y="458"/>
                </a:lnTo>
                <a:lnTo>
                  <a:pt x="2834" y="462"/>
                </a:lnTo>
                <a:lnTo>
                  <a:pt x="2836" y="467"/>
                </a:lnTo>
                <a:lnTo>
                  <a:pt x="2838" y="471"/>
                </a:lnTo>
                <a:lnTo>
                  <a:pt x="2841" y="476"/>
                </a:lnTo>
                <a:lnTo>
                  <a:pt x="2848" y="485"/>
                </a:lnTo>
                <a:lnTo>
                  <a:pt x="2860" y="497"/>
                </a:lnTo>
                <a:lnTo>
                  <a:pt x="2887" y="527"/>
                </a:lnTo>
                <a:lnTo>
                  <a:pt x="2920" y="559"/>
                </a:lnTo>
                <a:lnTo>
                  <a:pt x="2951" y="590"/>
                </a:lnTo>
                <a:lnTo>
                  <a:pt x="2953" y="592"/>
                </a:lnTo>
                <a:lnTo>
                  <a:pt x="2954" y="594"/>
                </a:lnTo>
                <a:lnTo>
                  <a:pt x="2955" y="596"/>
                </a:lnTo>
                <a:lnTo>
                  <a:pt x="2955" y="599"/>
                </a:lnTo>
                <a:lnTo>
                  <a:pt x="2954" y="604"/>
                </a:lnTo>
                <a:lnTo>
                  <a:pt x="2953" y="607"/>
                </a:lnTo>
                <a:lnTo>
                  <a:pt x="2952" y="610"/>
                </a:lnTo>
                <a:lnTo>
                  <a:pt x="2948" y="616"/>
                </a:lnTo>
                <a:lnTo>
                  <a:pt x="2946" y="618"/>
                </a:lnTo>
                <a:lnTo>
                  <a:pt x="2944" y="621"/>
                </a:lnTo>
                <a:lnTo>
                  <a:pt x="2938" y="626"/>
                </a:lnTo>
                <a:lnTo>
                  <a:pt x="2936" y="628"/>
                </a:lnTo>
                <a:lnTo>
                  <a:pt x="2933" y="629"/>
                </a:lnTo>
                <a:lnTo>
                  <a:pt x="2927" y="633"/>
                </a:lnTo>
                <a:lnTo>
                  <a:pt x="2924" y="633"/>
                </a:lnTo>
                <a:lnTo>
                  <a:pt x="2921" y="634"/>
                </a:lnTo>
                <a:close/>
                <a:moveTo>
                  <a:pt x="2533" y="1633"/>
                </a:moveTo>
                <a:lnTo>
                  <a:pt x="2525" y="1632"/>
                </a:lnTo>
                <a:lnTo>
                  <a:pt x="2518" y="1632"/>
                </a:lnTo>
                <a:lnTo>
                  <a:pt x="2510" y="1631"/>
                </a:lnTo>
                <a:lnTo>
                  <a:pt x="2503" y="1629"/>
                </a:lnTo>
                <a:lnTo>
                  <a:pt x="2496" y="1627"/>
                </a:lnTo>
                <a:lnTo>
                  <a:pt x="2488" y="1625"/>
                </a:lnTo>
                <a:lnTo>
                  <a:pt x="2474" y="1619"/>
                </a:lnTo>
                <a:lnTo>
                  <a:pt x="2461" y="1612"/>
                </a:lnTo>
                <a:lnTo>
                  <a:pt x="2455" y="1608"/>
                </a:lnTo>
                <a:lnTo>
                  <a:pt x="2449" y="1603"/>
                </a:lnTo>
                <a:lnTo>
                  <a:pt x="2443" y="1598"/>
                </a:lnTo>
                <a:lnTo>
                  <a:pt x="2437" y="1593"/>
                </a:lnTo>
                <a:lnTo>
                  <a:pt x="2432" y="1587"/>
                </a:lnTo>
                <a:lnTo>
                  <a:pt x="2425" y="1581"/>
                </a:lnTo>
                <a:lnTo>
                  <a:pt x="2420" y="1575"/>
                </a:lnTo>
                <a:lnTo>
                  <a:pt x="2416" y="1568"/>
                </a:lnTo>
                <a:lnTo>
                  <a:pt x="2411" y="1562"/>
                </a:lnTo>
                <a:lnTo>
                  <a:pt x="2407" y="1555"/>
                </a:lnTo>
                <a:lnTo>
                  <a:pt x="2403" y="1548"/>
                </a:lnTo>
                <a:lnTo>
                  <a:pt x="2400" y="1540"/>
                </a:lnTo>
                <a:lnTo>
                  <a:pt x="2396" y="1533"/>
                </a:lnTo>
                <a:lnTo>
                  <a:pt x="2393" y="1524"/>
                </a:lnTo>
                <a:lnTo>
                  <a:pt x="2391" y="1516"/>
                </a:lnTo>
                <a:lnTo>
                  <a:pt x="2388" y="1508"/>
                </a:lnTo>
                <a:lnTo>
                  <a:pt x="2386" y="1500"/>
                </a:lnTo>
                <a:lnTo>
                  <a:pt x="2385" y="1491"/>
                </a:lnTo>
                <a:lnTo>
                  <a:pt x="2383" y="1482"/>
                </a:lnTo>
                <a:lnTo>
                  <a:pt x="2382" y="1473"/>
                </a:lnTo>
                <a:lnTo>
                  <a:pt x="2382" y="1463"/>
                </a:lnTo>
                <a:lnTo>
                  <a:pt x="2382" y="1454"/>
                </a:lnTo>
                <a:lnTo>
                  <a:pt x="2382" y="1436"/>
                </a:lnTo>
                <a:lnTo>
                  <a:pt x="2383" y="1426"/>
                </a:lnTo>
                <a:lnTo>
                  <a:pt x="2385" y="1417"/>
                </a:lnTo>
                <a:lnTo>
                  <a:pt x="2386" y="1407"/>
                </a:lnTo>
                <a:lnTo>
                  <a:pt x="2389" y="1398"/>
                </a:lnTo>
                <a:lnTo>
                  <a:pt x="2391" y="1390"/>
                </a:lnTo>
                <a:lnTo>
                  <a:pt x="2394" y="1381"/>
                </a:lnTo>
                <a:lnTo>
                  <a:pt x="2397" y="1373"/>
                </a:lnTo>
                <a:lnTo>
                  <a:pt x="2401" y="1364"/>
                </a:lnTo>
                <a:lnTo>
                  <a:pt x="2404" y="1356"/>
                </a:lnTo>
                <a:lnTo>
                  <a:pt x="2408" y="1348"/>
                </a:lnTo>
                <a:lnTo>
                  <a:pt x="2413" y="1340"/>
                </a:lnTo>
                <a:lnTo>
                  <a:pt x="2418" y="1333"/>
                </a:lnTo>
                <a:lnTo>
                  <a:pt x="2428" y="1319"/>
                </a:lnTo>
                <a:lnTo>
                  <a:pt x="2434" y="1312"/>
                </a:lnTo>
                <a:lnTo>
                  <a:pt x="2440" y="1306"/>
                </a:lnTo>
                <a:lnTo>
                  <a:pt x="2452" y="1295"/>
                </a:lnTo>
                <a:lnTo>
                  <a:pt x="2459" y="1289"/>
                </a:lnTo>
                <a:lnTo>
                  <a:pt x="2465" y="1284"/>
                </a:lnTo>
                <a:lnTo>
                  <a:pt x="2472" y="1279"/>
                </a:lnTo>
                <a:lnTo>
                  <a:pt x="2479" y="1275"/>
                </a:lnTo>
                <a:lnTo>
                  <a:pt x="2487" y="1272"/>
                </a:lnTo>
                <a:lnTo>
                  <a:pt x="2495" y="1269"/>
                </a:lnTo>
                <a:lnTo>
                  <a:pt x="2503" y="1266"/>
                </a:lnTo>
                <a:lnTo>
                  <a:pt x="2510" y="1264"/>
                </a:lnTo>
                <a:lnTo>
                  <a:pt x="2518" y="1262"/>
                </a:lnTo>
                <a:lnTo>
                  <a:pt x="2526" y="1260"/>
                </a:lnTo>
                <a:lnTo>
                  <a:pt x="2534" y="1260"/>
                </a:lnTo>
                <a:lnTo>
                  <a:pt x="2543" y="1259"/>
                </a:lnTo>
                <a:lnTo>
                  <a:pt x="2554" y="1260"/>
                </a:lnTo>
                <a:lnTo>
                  <a:pt x="2559" y="1260"/>
                </a:lnTo>
                <a:lnTo>
                  <a:pt x="2563" y="1261"/>
                </a:lnTo>
                <a:lnTo>
                  <a:pt x="2568" y="1262"/>
                </a:lnTo>
                <a:lnTo>
                  <a:pt x="2572" y="1263"/>
                </a:lnTo>
                <a:lnTo>
                  <a:pt x="2581" y="1267"/>
                </a:lnTo>
                <a:lnTo>
                  <a:pt x="2589" y="1270"/>
                </a:lnTo>
                <a:lnTo>
                  <a:pt x="2596" y="1275"/>
                </a:lnTo>
                <a:lnTo>
                  <a:pt x="2603" y="1280"/>
                </a:lnTo>
                <a:lnTo>
                  <a:pt x="2609" y="1286"/>
                </a:lnTo>
                <a:lnTo>
                  <a:pt x="2613" y="1290"/>
                </a:lnTo>
                <a:lnTo>
                  <a:pt x="2615" y="1294"/>
                </a:lnTo>
                <a:lnTo>
                  <a:pt x="2620" y="1301"/>
                </a:lnTo>
                <a:lnTo>
                  <a:pt x="2624" y="1309"/>
                </a:lnTo>
                <a:lnTo>
                  <a:pt x="2627" y="1317"/>
                </a:lnTo>
                <a:lnTo>
                  <a:pt x="2630" y="1326"/>
                </a:lnTo>
                <a:lnTo>
                  <a:pt x="2632" y="1335"/>
                </a:lnTo>
                <a:lnTo>
                  <a:pt x="2633" y="1345"/>
                </a:lnTo>
                <a:lnTo>
                  <a:pt x="2633" y="1356"/>
                </a:lnTo>
                <a:lnTo>
                  <a:pt x="2633" y="1368"/>
                </a:lnTo>
                <a:lnTo>
                  <a:pt x="2632" y="1374"/>
                </a:lnTo>
                <a:lnTo>
                  <a:pt x="2630" y="1380"/>
                </a:lnTo>
                <a:lnTo>
                  <a:pt x="2627" y="1392"/>
                </a:lnTo>
                <a:lnTo>
                  <a:pt x="2622" y="1404"/>
                </a:lnTo>
                <a:lnTo>
                  <a:pt x="2615" y="1416"/>
                </a:lnTo>
                <a:lnTo>
                  <a:pt x="2607" y="1427"/>
                </a:lnTo>
                <a:lnTo>
                  <a:pt x="2603" y="1432"/>
                </a:lnTo>
                <a:lnTo>
                  <a:pt x="2599" y="1437"/>
                </a:lnTo>
                <a:lnTo>
                  <a:pt x="2590" y="1446"/>
                </a:lnTo>
                <a:lnTo>
                  <a:pt x="2580" y="1454"/>
                </a:lnTo>
                <a:lnTo>
                  <a:pt x="2574" y="1458"/>
                </a:lnTo>
                <a:lnTo>
                  <a:pt x="2569" y="1462"/>
                </a:lnTo>
                <a:lnTo>
                  <a:pt x="2558" y="1469"/>
                </a:lnTo>
                <a:lnTo>
                  <a:pt x="2545" y="1475"/>
                </a:lnTo>
                <a:lnTo>
                  <a:pt x="2533" y="1480"/>
                </a:lnTo>
                <a:lnTo>
                  <a:pt x="2527" y="1482"/>
                </a:lnTo>
                <a:lnTo>
                  <a:pt x="2520" y="1483"/>
                </a:lnTo>
                <a:lnTo>
                  <a:pt x="2514" y="1484"/>
                </a:lnTo>
                <a:lnTo>
                  <a:pt x="2508" y="1485"/>
                </a:lnTo>
                <a:lnTo>
                  <a:pt x="2495" y="1486"/>
                </a:lnTo>
                <a:lnTo>
                  <a:pt x="2489" y="1485"/>
                </a:lnTo>
                <a:lnTo>
                  <a:pt x="2484" y="1483"/>
                </a:lnTo>
                <a:lnTo>
                  <a:pt x="2480" y="1481"/>
                </a:lnTo>
                <a:lnTo>
                  <a:pt x="2478" y="1479"/>
                </a:lnTo>
                <a:lnTo>
                  <a:pt x="2476" y="1477"/>
                </a:lnTo>
                <a:lnTo>
                  <a:pt x="2473" y="1472"/>
                </a:lnTo>
                <a:lnTo>
                  <a:pt x="2470" y="1466"/>
                </a:lnTo>
                <a:lnTo>
                  <a:pt x="2469" y="1463"/>
                </a:lnTo>
                <a:lnTo>
                  <a:pt x="2469" y="1460"/>
                </a:lnTo>
                <a:lnTo>
                  <a:pt x="2468" y="1454"/>
                </a:lnTo>
                <a:lnTo>
                  <a:pt x="2468" y="1451"/>
                </a:lnTo>
                <a:lnTo>
                  <a:pt x="2469" y="1448"/>
                </a:lnTo>
                <a:lnTo>
                  <a:pt x="2470" y="1443"/>
                </a:lnTo>
                <a:lnTo>
                  <a:pt x="2471" y="1441"/>
                </a:lnTo>
                <a:lnTo>
                  <a:pt x="2472" y="1439"/>
                </a:lnTo>
                <a:lnTo>
                  <a:pt x="2473" y="1438"/>
                </a:lnTo>
                <a:lnTo>
                  <a:pt x="2475" y="1436"/>
                </a:lnTo>
                <a:lnTo>
                  <a:pt x="2486" y="1434"/>
                </a:lnTo>
                <a:lnTo>
                  <a:pt x="2498" y="1432"/>
                </a:lnTo>
                <a:lnTo>
                  <a:pt x="2508" y="1428"/>
                </a:lnTo>
                <a:lnTo>
                  <a:pt x="2517" y="1424"/>
                </a:lnTo>
                <a:lnTo>
                  <a:pt x="2526" y="1420"/>
                </a:lnTo>
                <a:lnTo>
                  <a:pt x="2535" y="1415"/>
                </a:lnTo>
                <a:lnTo>
                  <a:pt x="2543" y="1408"/>
                </a:lnTo>
                <a:lnTo>
                  <a:pt x="2546" y="1406"/>
                </a:lnTo>
                <a:lnTo>
                  <a:pt x="2551" y="1403"/>
                </a:lnTo>
                <a:lnTo>
                  <a:pt x="2557" y="1396"/>
                </a:lnTo>
                <a:lnTo>
                  <a:pt x="2563" y="1390"/>
                </a:lnTo>
                <a:lnTo>
                  <a:pt x="2568" y="1383"/>
                </a:lnTo>
                <a:lnTo>
                  <a:pt x="2572" y="1376"/>
                </a:lnTo>
                <a:lnTo>
                  <a:pt x="2576" y="1369"/>
                </a:lnTo>
                <a:lnTo>
                  <a:pt x="2578" y="1362"/>
                </a:lnTo>
                <a:lnTo>
                  <a:pt x="2580" y="1355"/>
                </a:lnTo>
                <a:lnTo>
                  <a:pt x="2580" y="1347"/>
                </a:lnTo>
                <a:lnTo>
                  <a:pt x="2579" y="1339"/>
                </a:lnTo>
                <a:lnTo>
                  <a:pt x="2577" y="1332"/>
                </a:lnTo>
                <a:lnTo>
                  <a:pt x="2576" y="1328"/>
                </a:lnTo>
                <a:lnTo>
                  <a:pt x="2574" y="1325"/>
                </a:lnTo>
                <a:lnTo>
                  <a:pt x="2572" y="1323"/>
                </a:lnTo>
                <a:lnTo>
                  <a:pt x="2569" y="1320"/>
                </a:lnTo>
                <a:lnTo>
                  <a:pt x="2563" y="1316"/>
                </a:lnTo>
                <a:lnTo>
                  <a:pt x="2560" y="1314"/>
                </a:lnTo>
                <a:lnTo>
                  <a:pt x="2557" y="1313"/>
                </a:lnTo>
                <a:lnTo>
                  <a:pt x="2548" y="1311"/>
                </a:lnTo>
                <a:lnTo>
                  <a:pt x="2543" y="1310"/>
                </a:lnTo>
                <a:lnTo>
                  <a:pt x="2539" y="1310"/>
                </a:lnTo>
                <a:lnTo>
                  <a:pt x="2530" y="1311"/>
                </a:lnTo>
                <a:lnTo>
                  <a:pt x="2526" y="1312"/>
                </a:lnTo>
                <a:lnTo>
                  <a:pt x="2521" y="1313"/>
                </a:lnTo>
                <a:lnTo>
                  <a:pt x="2517" y="1315"/>
                </a:lnTo>
                <a:lnTo>
                  <a:pt x="2512" y="1316"/>
                </a:lnTo>
                <a:lnTo>
                  <a:pt x="2508" y="1319"/>
                </a:lnTo>
                <a:lnTo>
                  <a:pt x="2504" y="1321"/>
                </a:lnTo>
                <a:lnTo>
                  <a:pt x="2499" y="1324"/>
                </a:lnTo>
                <a:lnTo>
                  <a:pt x="2495" y="1327"/>
                </a:lnTo>
                <a:lnTo>
                  <a:pt x="2486" y="1334"/>
                </a:lnTo>
                <a:lnTo>
                  <a:pt x="2478" y="1342"/>
                </a:lnTo>
                <a:lnTo>
                  <a:pt x="2470" y="1352"/>
                </a:lnTo>
                <a:lnTo>
                  <a:pt x="2467" y="1357"/>
                </a:lnTo>
                <a:lnTo>
                  <a:pt x="2464" y="1362"/>
                </a:lnTo>
                <a:lnTo>
                  <a:pt x="2457" y="1373"/>
                </a:lnTo>
                <a:lnTo>
                  <a:pt x="2452" y="1384"/>
                </a:lnTo>
                <a:lnTo>
                  <a:pt x="2447" y="1397"/>
                </a:lnTo>
                <a:lnTo>
                  <a:pt x="2443" y="1409"/>
                </a:lnTo>
                <a:lnTo>
                  <a:pt x="2440" y="1424"/>
                </a:lnTo>
                <a:lnTo>
                  <a:pt x="2439" y="1438"/>
                </a:lnTo>
                <a:lnTo>
                  <a:pt x="2438" y="1445"/>
                </a:lnTo>
                <a:lnTo>
                  <a:pt x="2438" y="1452"/>
                </a:lnTo>
                <a:lnTo>
                  <a:pt x="2439" y="1464"/>
                </a:lnTo>
                <a:lnTo>
                  <a:pt x="2440" y="1478"/>
                </a:lnTo>
                <a:lnTo>
                  <a:pt x="2442" y="1489"/>
                </a:lnTo>
                <a:lnTo>
                  <a:pt x="2443" y="1495"/>
                </a:lnTo>
                <a:lnTo>
                  <a:pt x="2445" y="1500"/>
                </a:lnTo>
                <a:lnTo>
                  <a:pt x="2449" y="1511"/>
                </a:lnTo>
                <a:lnTo>
                  <a:pt x="2451" y="1516"/>
                </a:lnTo>
                <a:lnTo>
                  <a:pt x="2453" y="1521"/>
                </a:lnTo>
                <a:lnTo>
                  <a:pt x="2456" y="1525"/>
                </a:lnTo>
                <a:lnTo>
                  <a:pt x="2458" y="1530"/>
                </a:lnTo>
                <a:lnTo>
                  <a:pt x="2461" y="1535"/>
                </a:lnTo>
                <a:lnTo>
                  <a:pt x="2464" y="1539"/>
                </a:lnTo>
                <a:lnTo>
                  <a:pt x="2467" y="1543"/>
                </a:lnTo>
                <a:lnTo>
                  <a:pt x="2471" y="1546"/>
                </a:lnTo>
                <a:lnTo>
                  <a:pt x="2478" y="1553"/>
                </a:lnTo>
                <a:lnTo>
                  <a:pt x="2486" y="1559"/>
                </a:lnTo>
                <a:lnTo>
                  <a:pt x="2495" y="1563"/>
                </a:lnTo>
                <a:lnTo>
                  <a:pt x="2505" y="1567"/>
                </a:lnTo>
                <a:lnTo>
                  <a:pt x="2514" y="1570"/>
                </a:lnTo>
                <a:lnTo>
                  <a:pt x="2524" y="1572"/>
                </a:lnTo>
                <a:lnTo>
                  <a:pt x="2530" y="1572"/>
                </a:lnTo>
                <a:lnTo>
                  <a:pt x="2535" y="1572"/>
                </a:lnTo>
                <a:lnTo>
                  <a:pt x="2545" y="1572"/>
                </a:lnTo>
                <a:lnTo>
                  <a:pt x="2557" y="1570"/>
                </a:lnTo>
                <a:lnTo>
                  <a:pt x="2567" y="1568"/>
                </a:lnTo>
                <a:lnTo>
                  <a:pt x="2576" y="1564"/>
                </a:lnTo>
                <a:lnTo>
                  <a:pt x="2585" y="1560"/>
                </a:lnTo>
                <a:lnTo>
                  <a:pt x="2594" y="1555"/>
                </a:lnTo>
                <a:lnTo>
                  <a:pt x="2603" y="1549"/>
                </a:lnTo>
                <a:lnTo>
                  <a:pt x="2612" y="1543"/>
                </a:lnTo>
                <a:lnTo>
                  <a:pt x="2620" y="1536"/>
                </a:lnTo>
                <a:lnTo>
                  <a:pt x="2628" y="1527"/>
                </a:lnTo>
                <a:lnTo>
                  <a:pt x="2635" y="1518"/>
                </a:lnTo>
                <a:lnTo>
                  <a:pt x="2642" y="1509"/>
                </a:lnTo>
                <a:lnTo>
                  <a:pt x="2655" y="1490"/>
                </a:lnTo>
                <a:lnTo>
                  <a:pt x="2661" y="1479"/>
                </a:lnTo>
                <a:lnTo>
                  <a:pt x="2666" y="1468"/>
                </a:lnTo>
                <a:lnTo>
                  <a:pt x="2673" y="1457"/>
                </a:lnTo>
                <a:lnTo>
                  <a:pt x="2678" y="1445"/>
                </a:lnTo>
                <a:lnTo>
                  <a:pt x="2682" y="1434"/>
                </a:lnTo>
                <a:lnTo>
                  <a:pt x="2686" y="1422"/>
                </a:lnTo>
                <a:lnTo>
                  <a:pt x="2690" y="1409"/>
                </a:lnTo>
                <a:lnTo>
                  <a:pt x="2693" y="1397"/>
                </a:lnTo>
                <a:lnTo>
                  <a:pt x="2696" y="1385"/>
                </a:lnTo>
                <a:lnTo>
                  <a:pt x="2699" y="1373"/>
                </a:lnTo>
                <a:lnTo>
                  <a:pt x="2701" y="1361"/>
                </a:lnTo>
                <a:lnTo>
                  <a:pt x="2703" y="1348"/>
                </a:lnTo>
                <a:lnTo>
                  <a:pt x="2705" y="1337"/>
                </a:lnTo>
                <a:lnTo>
                  <a:pt x="2706" y="1325"/>
                </a:lnTo>
                <a:lnTo>
                  <a:pt x="2706" y="1314"/>
                </a:lnTo>
                <a:lnTo>
                  <a:pt x="2707" y="1303"/>
                </a:lnTo>
                <a:lnTo>
                  <a:pt x="2706" y="1292"/>
                </a:lnTo>
                <a:lnTo>
                  <a:pt x="2706" y="1280"/>
                </a:lnTo>
                <a:lnTo>
                  <a:pt x="2707" y="1278"/>
                </a:lnTo>
                <a:lnTo>
                  <a:pt x="2709" y="1276"/>
                </a:lnTo>
                <a:lnTo>
                  <a:pt x="2711" y="1274"/>
                </a:lnTo>
                <a:lnTo>
                  <a:pt x="2714" y="1272"/>
                </a:lnTo>
                <a:lnTo>
                  <a:pt x="2720" y="1269"/>
                </a:lnTo>
                <a:lnTo>
                  <a:pt x="2724" y="1269"/>
                </a:lnTo>
                <a:lnTo>
                  <a:pt x="2728" y="1268"/>
                </a:lnTo>
                <a:lnTo>
                  <a:pt x="2736" y="1269"/>
                </a:lnTo>
                <a:lnTo>
                  <a:pt x="2740" y="1269"/>
                </a:lnTo>
                <a:lnTo>
                  <a:pt x="2743" y="1270"/>
                </a:lnTo>
                <a:lnTo>
                  <a:pt x="2749" y="1273"/>
                </a:lnTo>
                <a:lnTo>
                  <a:pt x="2751" y="1275"/>
                </a:lnTo>
                <a:lnTo>
                  <a:pt x="2754" y="1277"/>
                </a:lnTo>
                <a:lnTo>
                  <a:pt x="2758" y="1283"/>
                </a:lnTo>
                <a:lnTo>
                  <a:pt x="2759" y="1287"/>
                </a:lnTo>
                <a:lnTo>
                  <a:pt x="2761" y="1292"/>
                </a:lnTo>
                <a:lnTo>
                  <a:pt x="2762" y="1296"/>
                </a:lnTo>
                <a:lnTo>
                  <a:pt x="2763" y="1301"/>
                </a:lnTo>
                <a:lnTo>
                  <a:pt x="2763" y="1306"/>
                </a:lnTo>
                <a:lnTo>
                  <a:pt x="2763" y="1312"/>
                </a:lnTo>
                <a:lnTo>
                  <a:pt x="2763" y="1328"/>
                </a:lnTo>
                <a:lnTo>
                  <a:pt x="2762" y="1343"/>
                </a:lnTo>
                <a:lnTo>
                  <a:pt x="2760" y="1359"/>
                </a:lnTo>
                <a:lnTo>
                  <a:pt x="2758" y="1374"/>
                </a:lnTo>
                <a:lnTo>
                  <a:pt x="2756" y="1389"/>
                </a:lnTo>
                <a:lnTo>
                  <a:pt x="2753" y="1404"/>
                </a:lnTo>
                <a:lnTo>
                  <a:pt x="2749" y="1419"/>
                </a:lnTo>
                <a:lnTo>
                  <a:pt x="2745" y="1434"/>
                </a:lnTo>
                <a:lnTo>
                  <a:pt x="2741" y="1447"/>
                </a:lnTo>
                <a:lnTo>
                  <a:pt x="2736" y="1461"/>
                </a:lnTo>
                <a:lnTo>
                  <a:pt x="2731" y="1475"/>
                </a:lnTo>
                <a:lnTo>
                  <a:pt x="2724" y="1488"/>
                </a:lnTo>
                <a:lnTo>
                  <a:pt x="2718" y="1500"/>
                </a:lnTo>
                <a:lnTo>
                  <a:pt x="2711" y="1512"/>
                </a:lnTo>
                <a:lnTo>
                  <a:pt x="2705" y="1524"/>
                </a:lnTo>
                <a:lnTo>
                  <a:pt x="2697" y="1536"/>
                </a:lnTo>
                <a:lnTo>
                  <a:pt x="2690" y="1547"/>
                </a:lnTo>
                <a:lnTo>
                  <a:pt x="2682" y="1557"/>
                </a:lnTo>
                <a:lnTo>
                  <a:pt x="2673" y="1567"/>
                </a:lnTo>
                <a:lnTo>
                  <a:pt x="2663" y="1576"/>
                </a:lnTo>
                <a:lnTo>
                  <a:pt x="2654" y="1584"/>
                </a:lnTo>
                <a:lnTo>
                  <a:pt x="2645" y="1593"/>
                </a:lnTo>
                <a:lnTo>
                  <a:pt x="2635" y="1600"/>
                </a:lnTo>
                <a:lnTo>
                  <a:pt x="2625" y="1607"/>
                </a:lnTo>
                <a:lnTo>
                  <a:pt x="2615" y="1613"/>
                </a:lnTo>
                <a:lnTo>
                  <a:pt x="2603" y="1618"/>
                </a:lnTo>
                <a:lnTo>
                  <a:pt x="2592" y="1622"/>
                </a:lnTo>
                <a:lnTo>
                  <a:pt x="2581" y="1626"/>
                </a:lnTo>
                <a:lnTo>
                  <a:pt x="2570" y="1629"/>
                </a:lnTo>
                <a:lnTo>
                  <a:pt x="2558" y="1631"/>
                </a:lnTo>
                <a:lnTo>
                  <a:pt x="2545" y="1632"/>
                </a:lnTo>
                <a:lnTo>
                  <a:pt x="2533" y="1633"/>
                </a:lnTo>
                <a:close/>
                <a:moveTo>
                  <a:pt x="2921" y="1627"/>
                </a:moveTo>
                <a:lnTo>
                  <a:pt x="2919" y="1627"/>
                </a:lnTo>
                <a:lnTo>
                  <a:pt x="2917" y="1626"/>
                </a:lnTo>
                <a:lnTo>
                  <a:pt x="2911" y="1623"/>
                </a:lnTo>
                <a:lnTo>
                  <a:pt x="2904" y="1619"/>
                </a:lnTo>
                <a:lnTo>
                  <a:pt x="2897" y="1613"/>
                </a:lnTo>
                <a:lnTo>
                  <a:pt x="2884" y="1603"/>
                </a:lnTo>
                <a:lnTo>
                  <a:pt x="2869" y="1588"/>
                </a:lnTo>
                <a:lnTo>
                  <a:pt x="2853" y="1572"/>
                </a:lnTo>
                <a:lnTo>
                  <a:pt x="2835" y="1555"/>
                </a:lnTo>
                <a:lnTo>
                  <a:pt x="2819" y="1538"/>
                </a:lnTo>
                <a:lnTo>
                  <a:pt x="2805" y="1521"/>
                </a:lnTo>
                <a:lnTo>
                  <a:pt x="2794" y="1506"/>
                </a:lnTo>
                <a:lnTo>
                  <a:pt x="2788" y="1500"/>
                </a:lnTo>
                <a:lnTo>
                  <a:pt x="2785" y="1495"/>
                </a:lnTo>
                <a:lnTo>
                  <a:pt x="2780" y="1485"/>
                </a:lnTo>
                <a:lnTo>
                  <a:pt x="2776" y="1475"/>
                </a:lnTo>
                <a:lnTo>
                  <a:pt x="2774" y="1464"/>
                </a:lnTo>
                <a:lnTo>
                  <a:pt x="2773" y="1454"/>
                </a:lnTo>
                <a:lnTo>
                  <a:pt x="2773" y="1449"/>
                </a:lnTo>
                <a:lnTo>
                  <a:pt x="2774" y="1443"/>
                </a:lnTo>
                <a:lnTo>
                  <a:pt x="2775" y="1437"/>
                </a:lnTo>
                <a:lnTo>
                  <a:pt x="2777" y="1431"/>
                </a:lnTo>
                <a:lnTo>
                  <a:pt x="2780" y="1425"/>
                </a:lnTo>
                <a:lnTo>
                  <a:pt x="2783" y="1419"/>
                </a:lnTo>
                <a:lnTo>
                  <a:pt x="2787" y="1412"/>
                </a:lnTo>
                <a:lnTo>
                  <a:pt x="2792" y="1404"/>
                </a:lnTo>
                <a:lnTo>
                  <a:pt x="2801" y="1393"/>
                </a:lnTo>
                <a:lnTo>
                  <a:pt x="2812" y="1380"/>
                </a:lnTo>
                <a:lnTo>
                  <a:pt x="2841" y="1345"/>
                </a:lnTo>
                <a:lnTo>
                  <a:pt x="2877" y="1306"/>
                </a:lnTo>
                <a:lnTo>
                  <a:pt x="2913" y="1264"/>
                </a:lnTo>
                <a:lnTo>
                  <a:pt x="2914" y="1264"/>
                </a:lnTo>
                <a:lnTo>
                  <a:pt x="2918" y="1264"/>
                </a:lnTo>
                <a:lnTo>
                  <a:pt x="2921" y="1264"/>
                </a:lnTo>
                <a:lnTo>
                  <a:pt x="2925" y="1265"/>
                </a:lnTo>
                <a:lnTo>
                  <a:pt x="2930" y="1267"/>
                </a:lnTo>
                <a:lnTo>
                  <a:pt x="2934" y="1270"/>
                </a:lnTo>
                <a:lnTo>
                  <a:pt x="2938" y="1273"/>
                </a:lnTo>
                <a:lnTo>
                  <a:pt x="2942" y="1276"/>
                </a:lnTo>
                <a:lnTo>
                  <a:pt x="2945" y="1281"/>
                </a:lnTo>
                <a:lnTo>
                  <a:pt x="2948" y="1286"/>
                </a:lnTo>
                <a:lnTo>
                  <a:pt x="2950" y="1290"/>
                </a:lnTo>
                <a:lnTo>
                  <a:pt x="2950" y="1296"/>
                </a:lnTo>
                <a:lnTo>
                  <a:pt x="2950" y="1301"/>
                </a:lnTo>
                <a:lnTo>
                  <a:pt x="2948" y="1307"/>
                </a:lnTo>
                <a:lnTo>
                  <a:pt x="2945" y="1312"/>
                </a:lnTo>
                <a:lnTo>
                  <a:pt x="2941" y="1318"/>
                </a:lnTo>
                <a:lnTo>
                  <a:pt x="2933" y="1329"/>
                </a:lnTo>
                <a:lnTo>
                  <a:pt x="2921" y="1342"/>
                </a:lnTo>
                <a:lnTo>
                  <a:pt x="2891" y="1376"/>
                </a:lnTo>
                <a:lnTo>
                  <a:pt x="2862" y="1409"/>
                </a:lnTo>
                <a:lnTo>
                  <a:pt x="2849" y="1425"/>
                </a:lnTo>
                <a:lnTo>
                  <a:pt x="2840" y="1436"/>
                </a:lnTo>
                <a:lnTo>
                  <a:pt x="2837" y="1440"/>
                </a:lnTo>
                <a:lnTo>
                  <a:pt x="2835" y="1444"/>
                </a:lnTo>
                <a:lnTo>
                  <a:pt x="2834" y="1447"/>
                </a:lnTo>
                <a:lnTo>
                  <a:pt x="2834" y="1451"/>
                </a:lnTo>
                <a:lnTo>
                  <a:pt x="2834" y="1455"/>
                </a:lnTo>
                <a:lnTo>
                  <a:pt x="2836" y="1460"/>
                </a:lnTo>
                <a:lnTo>
                  <a:pt x="2838" y="1464"/>
                </a:lnTo>
                <a:lnTo>
                  <a:pt x="2841" y="1469"/>
                </a:lnTo>
                <a:lnTo>
                  <a:pt x="2848" y="1479"/>
                </a:lnTo>
                <a:lnTo>
                  <a:pt x="2860" y="1491"/>
                </a:lnTo>
                <a:lnTo>
                  <a:pt x="2887" y="1520"/>
                </a:lnTo>
                <a:lnTo>
                  <a:pt x="2920" y="1553"/>
                </a:lnTo>
                <a:lnTo>
                  <a:pt x="2951" y="1583"/>
                </a:lnTo>
                <a:lnTo>
                  <a:pt x="2953" y="1585"/>
                </a:lnTo>
                <a:lnTo>
                  <a:pt x="2954" y="1587"/>
                </a:lnTo>
                <a:lnTo>
                  <a:pt x="2955" y="1589"/>
                </a:lnTo>
                <a:lnTo>
                  <a:pt x="2955" y="1593"/>
                </a:lnTo>
                <a:lnTo>
                  <a:pt x="2954" y="1599"/>
                </a:lnTo>
                <a:lnTo>
                  <a:pt x="2953" y="1601"/>
                </a:lnTo>
                <a:lnTo>
                  <a:pt x="2952" y="1604"/>
                </a:lnTo>
                <a:lnTo>
                  <a:pt x="2948" y="1610"/>
                </a:lnTo>
                <a:lnTo>
                  <a:pt x="2946" y="1613"/>
                </a:lnTo>
                <a:lnTo>
                  <a:pt x="2944" y="1615"/>
                </a:lnTo>
                <a:lnTo>
                  <a:pt x="2938" y="1620"/>
                </a:lnTo>
                <a:lnTo>
                  <a:pt x="2936" y="1622"/>
                </a:lnTo>
                <a:lnTo>
                  <a:pt x="2933" y="1624"/>
                </a:lnTo>
                <a:lnTo>
                  <a:pt x="2927" y="1626"/>
                </a:lnTo>
                <a:lnTo>
                  <a:pt x="2924" y="1627"/>
                </a:lnTo>
                <a:lnTo>
                  <a:pt x="2921" y="1627"/>
                </a:lnTo>
                <a:close/>
                <a:moveTo>
                  <a:pt x="2533" y="2627"/>
                </a:moveTo>
                <a:lnTo>
                  <a:pt x="2525" y="2627"/>
                </a:lnTo>
                <a:lnTo>
                  <a:pt x="2518" y="2626"/>
                </a:lnTo>
                <a:lnTo>
                  <a:pt x="2510" y="2625"/>
                </a:lnTo>
                <a:lnTo>
                  <a:pt x="2503" y="2623"/>
                </a:lnTo>
                <a:lnTo>
                  <a:pt x="2496" y="2621"/>
                </a:lnTo>
                <a:lnTo>
                  <a:pt x="2488" y="2619"/>
                </a:lnTo>
                <a:lnTo>
                  <a:pt x="2474" y="2613"/>
                </a:lnTo>
                <a:lnTo>
                  <a:pt x="2461" y="2605"/>
                </a:lnTo>
                <a:lnTo>
                  <a:pt x="2455" y="2601"/>
                </a:lnTo>
                <a:lnTo>
                  <a:pt x="2449" y="2596"/>
                </a:lnTo>
                <a:lnTo>
                  <a:pt x="2443" y="2591"/>
                </a:lnTo>
                <a:lnTo>
                  <a:pt x="2437" y="2586"/>
                </a:lnTo>
                <a:lnTo>
                  <a:pt x="2432" y="2581"/>
                </a:lnTo>
                <a:lnTo>
                  <a:pt x="2425" y="2575"/>
                </a:lnTo>
                <a:lnTo>
                  <a:pt x="2420" y="2569"/>
                </a:lnTo>
                <a:lnTo>
                  <a:pt x="2416" y="2563"/>
                </a:lnTo>
                <a:lnTo>
                  <a:pt x="2411" y="2556"/>
                </a:lnTo>
                <a:lnTo>
                  <a:pt x="2407" y="2548"/>
                </a:lnTo>
                <a:lnTo>
                  <a:pt x="2403" y="2541"/>
                </a:lnTo>
                <a:lnTo>
                  <a:pt x="2400" y="2534"/>
                </a:lnTo>
                <a:lnTo>
                  <a:pt x="2396" y="2526"/>
                </a:lnTo>
                <a:lnTo>
                  <a:pt x="2393" y="2518"/>
                </a:lnTo>
                <a:lnTo>
                  <a:pt x="2391" y="2510"/>
                </a:lnTo>
                <a:lnTo>
                  <a:pt x="2388" y="2502"/>
                </a:lnTo>
                <a:lnTo>
                  <a:pt x="2386" y="2494"/>
                </a:lnTo>
                <a:lnTo>
                  <a:pt x="2385" y="2484"/>
                </a:lnTo>
                <a:lnTo>
                  <a:pt x="2383" y="2475"/>
                </a:lnTo>
                <a:lnTo>
                  <a:pt x="2382" y="2467"/>
                </a:lnTo>
                <a:lnTo>
                  <a:pt x="2382" y="2458"/>
                </a:lnTo>
                <a:lnTo>
                  <a:pt x="2382" y="2448"/>
                </a:lnTo>
                <a:lnTo>
                  <a:pt x="2382" y="2429"/>
                </a:lnTo>
                <a:lnTo>
                  <a:pt x="2383" y="2420"/>
                </a:lnTo>
                <a:lnTo>
                  <a:pt x="2385" y="2410"/>
                </a:lnTo>
                <a:lnTo>
                  <a:pt x="2386" y="2401"/>
                </a:lnTo>
                <a:lnTo>
                  <a:pt x="2389" y="2393"/>
                </a:lnTo>
                <a:lnTo>
                  <a:pt x="2391" y="2384"/>
                </a:lnTo>
                <a:lnTo>
                  <a:pt x="2394" y="2375"/>
                </a:lnTo>
                <a:lnTo>
                  <a:pt x="2397" y="2366"/>
                </a:lnTo>
                <a:lnTo>
                  <a:pt x="2401" y="2358"/>
                </a:lnTo>
                <a:lnTo>
                  <a:pt x="2404" y="2350"/>
                </a:lnTo>
                <a:lnTo>
                  <a:pt x="2408" y="2342"/>
                </a:lnTo>
                <a:lnTo>
                  <a:pt x="2413" y="2334"/>
                </a:lnTo>
                <a:lnTo>
                  <a:pt x="2418" y="2327"/>
                </a:lnTo>
                <a:lnTo>
                  <a:pt x="2428" y="2313"/>
                </a:lnTo>
                <a:lnTo>
                  <a:pt x="2434" y="2305"/>
                </a:lnTo>
                <a:lnTo>
                  <a:pt x="2440" y="2299"/>
                </a:lnTo>
                <a:lnTo>
                  <a:pt x="2452" y="2288"/>
                </a:lnTo>
                <a:lnTo>
                  <a:pt x="2459" y="2283"/>
                </a:lnTo>
                <a:lnTo>
                  <a:pt x="2465" y="2278"/>
                </a:lnTo>
                <a:lnTo>
                  <a:pt x="2472" y="2274"/>
                </a:lnTo>
                <a:lnTo>
                  <a:pt x="2479" y="2269"/>
                </a:lnTo>
                <a:lnTo>
                  <a:pt x="2487" y="2266"/>
                </a:lnTo>
                <a:lnTo>
                  <a:pt x="2495" y="2263"/>
                </a:lnTo>
                <a:lnTo>
                  <a:pt x="2503" y="2260"/>
                </a:lnTo>
                <a:lnTo>
                  <a:pt x="2510" y="2258"/>
                </a:lnTo>
                <a:lnTo>
                  <a:pt x="2518" y="2256"/>
                </a:lnTo>
                <a:lnTo>
                  <a:pt x="2526" y="2255"/>
                </a:lnTo>
                <a:lnTo>
                  <a:pt x="2534" y="2254"/>
                </a:lnTo>
                <a:lnTo>
                  <a:pt x="2543" y="2254"/>
                </a:lnTo>
                <a:lnTo>
                  <a:pt x="2554" y="2254"/>
                </a:lnTo>
                <a:lnTo>
                  <a:pt x="2559" y="2255"/>
                </a:lnTo>
                <a:lnTo>
                  <a:pt x="2563" y="2255"/>
                </a:lnTo>
                <a:lnTo>
                  <a:pt x="2568" y="2256"/>
                </a:lnTo>
                <a:lnTo>
                  <a:pt x="2572" y="2258"/>
                </a:lnTo>
                <a:lnTo>
                  <a:pt x="2581" y="2261"/>
                </a:lnTo>
                <a:lnTo>
                  <a:pt x="2589" y="2265"/>
                </a:lnTo>
                <a:lnTo>
                  <a:pt x="2596" y="2269"/>
                </a:lnTo>
                <a:lnTo>
                  <a:pt x="2603" y="2275"/>
                </a:lnTo>
                <a:lnTo>
                  <a:pt x="2609" y="2281"/>
                </a:lnTo>
                <a:lnTo>
                  <a:pt x="2613" y="2284"/>
                </a:lnTo>
                <a:lnTo>
                  <a:pt x="2615" y="2287"/>
                </a:lnTo>
                <a:lnTo>
                  <a:pt x="2620" y="2295"/>
                </a:lnTo>
                <a:lnTo>
                  <a:pt x="2624" y="2302"/>
                </a:lnTo>
                <a:lnTo>
                  <a:pt x="2627" y="2312"/>
                </a:lnTo>
                <a:lnTo>
                  <a:pt x="2630" y="2320"/>
                </a:lnTo>
                <a:lnTo>
                  <a:pt x="2632" y="2329"/>
                </a:lnTo>
                <a:lnTo>
                  <a:pt x="2633" y="2339"/>
                </a:lnTo>
                <a:lnTo>
                  <a:pt x="2633" y="2349"/>
                </a:lnTo>
                <a:lnTo>
                  <a:pt x="2633" y="2361"/>
                </a:lnTo>
                <a:lnTo>
                  <a:pt x="2632" y="2368"/>
                </a:lnTo>
                <a:lnTo>
                  <a:pt x="2630" y="2375"/>
                </a:lnTo>
                <a:lnTo>
                  <a:pt x="2627" y="2387"/>
                </a:lnTo>
                <a:lnTo>
                  <a:pt x="2622" y="2398"/>
                </a:lnTo>
                <a:lnTo>
                  <a:pt x="2615" y="2409"/>
                </a:lnTo>
                <a:lnTo>
                  <a:pt x="2607" y="2420"/>
                </a:lnTo>
                <a:lnTo>
                  <a:pt x="2603" y="2425"/>
                </a:lnTo>
                <a:lnTo>
                  <a:pt x="2599" y="2430"/>
                </a:lnTo>
                <a:lnTo>
                  <a:pt x="2590" y="2440"/>
                </a:lnTo>
                <a:lnTo>
                  <a:pt x="2580" y="2449"/>
                </a:lnTo>
                <a:lnTo>
                  <a:pt x="2574" y="2452"/>
                </a:lnTo>
                <a:lnTo>
                  <a:pt x="2569" y="2456"/>
                </a:lnTo>
                <a:lnTo>
                  <a:pt x="2558" y="2463"/>
                </a:lnTo>
                <a:lnTo>
                  <a:pt x="2545" y="2468"/>
                </a:lnTo>
                <a:lnTo>
                  <a:pt x="2533" y="2473"/>
                </a:lnTo>
                <a:lnTo>
                  <a:pt x="2527" y="2475"/>
                </a:lnTo>
                <a:lnTo>
                  <a:pt x="2520" y="2476"/>
                </a:lnTo>
                <a:lnTo>
                  <a:pt x="2514" y="2478"/>
                </a:lnTo>
                <a:lnTo>
                  <a:pt x="2508" y="2478"/>
                </a:lnTo>
                <a:lnTo>
                  <a:pt x="2495" y="2479"/>
                </a:lnTo>
                <a:lnTo>
                  <a:pt x="2489" y="2478"/>
                </a:lnTo>
                <a:lnTo>
                  <a:pt x="2484" y="2477"/>
                </a:lnTo>
                <a:lnTo>
                  <a:pt x="2480" y="2474"/>
                </a:lnTo>
                <a:lnTo>
                  <a:pt x="2478" y="2472"/>
                </a:lnTo>
                <a:lnTo>
                  <a:pt x="2476" y="2470"/>
                </a:lnTo>
                <a:lnTo>
                  <a:pt x="2473" y="2465"/>
                </a:lnTo>
                <a:lnTo>
                  <a:pt x="2470" y="2460"/>
                </a:lnTo>
                <a:lnTo>
                  <a:pt x="2469" y="2457"/>
                </a:lnTo>
                <a:lnTo>
                  <a:pt x="2469" y="2454"/>
                </a:lnTo>
                <a:lnTo>
                  <a:pt x="2468" y="2448"/>
                </a:lnTo>
                <a:lnTo>
                  <a:pt x="2468" y="2445"/>
                </a:lnTo>
                <a:lnTo>
                  <a:pt x="2469" y="2442"/>
                </a:lnTo>
                <a:lnTo>
                  <a:pt x="2470" y="2437"/>
                </a:lnTo>
                <a:lnTo>
                  <a:pt x="2471" y="2435"/>
                </a:lnTo>
                <a:lnTo>
                  <a:pt x="2472" y="2433"/>
                </a:lnTo>
                <a:lnTo>
                  <a:pt x="2473" y="2432"/>
                </a:lnTo>
                <a:lnTo>
                  <a:pt x="2475" y="2430"/>
                </a:lnTo>
                <a:lnTo>
                  <a:pt x="2486" y="2428"/>
                </a:lnTo>
                <a:lnTo>
                  <a:pt x="2498" y="2425"/>
                </a:lnTo>
                <a:lnTo>
                  <a:pt x="2508" y="2422"/>
                </a:lnTo>
                <a:lnTo>
                  <a:pt x="2517" y="2418"/>
                </a:lnTo>
                <a:lnTo>
                  <a:pt x="2526" y="2413"/>
                </a:lnTo>
                <a:lnTo>
                  <a:pt x="2535" y="2408"/>
                </a:lnTo>
                <a:lnTo>
                  <a:pt x="2543" y="2403"/>
                </a:lnTo>
                <a:lnTo>
                  <a:pt x="2546" y="2400"/>
                </a:lnTo>
                <a:lnTo>
                  <a:pt x="2551" y="2397"/>
                </a:lnTo>
                <a:lnTo>
                  <a:pt x="2557" y="2390"/>
                </a:lnTo>
                <a:lnTo>
                  <a:pt x="2563" y="2384"/>
                </a:lnTo>
                <a:lnTo>
                  <a:pt x="2568" y="2377"/>
                </a:lnTo>
                <a:lnTo>
                  <a:pt x="2572" y="2369"/>
                </a:lnTo>
                <a:lnTo>
                  <a:pt x="2576" y="2362"/>
                </a:lnTo>
                <a:lnTo>
                  <a:pt x="2578" y="2355"/>
                </a:lnTo>
                <a:lnTo>
                  <a:pt x="2580" y="2348"/>
                </a:lnTo>
                <a:lnTo>
                  <a:pt x="2580" y="2341"/>
                </a:lnTo>
                <a:lnTo>
                  <a:pt x="2579" y="2333"/>
                </a:lnTo>
                <a:lnTo>
                  <a:pt x="2577" y="2326"/>
                </a:lnTo>
                <a:lnTo>
                  <a:pt x="2576" y="2323"/>
                </a:lnTo>
                <a:lnTo>
                  <a:pt x="2574" y="2319"/>
                </a:lnTo>
                <a:lnTo>
                  <a:pt x="2572" y="2317"/>
                </a:lnTo>
                <a:lnTo>
                  <a:pt x="2569" y="2314"/>
                </a:lnTo>
                <a:lnTo>
                  <a:pt x="2563" y="2309"/>
                </a:lnTo>
                <a:lnTo>
                  <a:pt x="2560" y="2307"/>
                </a:lnTo>
                <a:lnTo>
                  <a:pt x="2557" y="2306"/>
                </a:lnTo>
                <a:lnTo>
                  <a:pt x="2548" y="2304"/>
                </a:lnTo>
                <a:lnTo>
                  <a:pt x="2543" y="2303"/>
                </a:lnTo>
                <a:lnTo>
                  <a:pt x="2539" y="2303"/>
                </a:lnTo>
                <a:lnTo>
                  <a:pt x="2530" y="2304"/>
                </a:lnTo>
                <a:lnTo>
                  <a:pt x="2526" y="2305"/>
                </a:lnTo>
                <a:lnTo>
                  <a:pt x="2521" y="2306"/>
                </a:lnTo>
                <a:lnTo>
                  <a:pt x="2517" y="2308"/>
                </a:lnTo>
                <a:lnTo>
                  <a:pt x="2512" y="2310"/>
                </a:lnTo>
                <a:lnTo>
                  <a:pt x="2508" y="2313"/>
                </a:lnTo>
                <a:lnTo>
                  <a:pt x="2504" y="2315"/>
                </a:lnTo>
                <a:lnTo>
                  <a:pt x="2499" y="2318"/>
                </a:lnTo>
                <a:lnTo>
                  <a:pt x="2495" y="2321"/>
                </a:lnTo>
                <a:lnTo>
                  <a:pt x="2486" y="2328"/>
                </a:lnTo>
                <a:lnTo>
                  <a:pt x="2478" y="2336"/>
                </a:lnTo>
                <a:lnTo>
                  <a:pt x="2470" y="2345"/>
                </a:lnTo>
                <a:lnTo>
                  <a:pt x="2467" y="2350"/>
                </a:lnTo>
                <a:lnTo>
                  <a:pt x="2464" y="2355"/>
                </a:lnTo>
                <a:lnTo>
                  <a:pt x="2457" y="2366"/>
                </a:lnTo>
                <a:lnTo>
                  <a:pt x="2452" y="2379"/>
                </a:lnTo>
                <a:lnTo>
                  <a:pt x="2447" y="2391"/>
                </a:lnTo>
                <a:lnTo>
                  <a:pt x="2443" y="2404"/>
                </a:lnTo>
                <a:lnTo>
                  <a:pt x="2440" y="2417"/>
                </a:lnTo>
                <a:lnTo>
                  <a:pt x="2439" y="2432"/>
                </a:lnTo>
                <a:lnTo>
                  <a:pt x="2438" y="2439"/>
                </a:lnTo>
                <a:lnTo>
                  <a:pt x="2438" y="2446"/>
                </a:lnTo>
                <a:lnTo>
                  <a:pt x="2439" y="2459"/>
                </a:lnTo>
                <a:lnTo>
                  <a:pt x="2440" y="2471"/>
                </a:lnTo>
                <a:lnTo>
                  <a:pt x="2442" y="2482"/>
                </a:lnTo>
                <a:lnTo>
                  <a:pt x="2443" y="2488"/>
                </a:lnTo>
                <a:lnTo>
                  <a:pt x="2445" y="2494"/>
                </a:lnTo>
                <a:lnTo>
                  <a:pt x="2449" y="2505"/>
                </a:lnTo>
                <a:lnTo>
                  <a:pt x="2451" y="2510"/>
                </a:lnTo>
                <a:lnTo>
                  <a:pt x="2453" y="2515"/>
                </a:lnTo>
                <a:lnTo>
                  <a:pt x="2456" y="2519"/>
                </a:lnTo>
                <a:lnTo>
                  <a:pt x="2458" y="2524"/>
                </a:lnTo>
                <a:lnTo>
                  <a:pt x="2461" y="2528"/>
                </a:lnTo>
                <a:lnTo>
                  <a:pt x="2464" y="2532"/>
                </a:lnTo>
                <a:lnTo>
                  <a:pt x="2467" y="2536"/>
                </a:lnTo>
                <a:lnTo>
                  <a:pt x="2471" y="2540"/>
                </a:lnTo>
                <a:lnTo>
                  <a:pt x="2478" y="2546"/>
                </a:lnTo>
                <a:lnTo>
                  <a:pt x="2486" y="2553"/>
                </a:lnTo>
                <a:lnTo>
                  <a:pt x="2495" y="2558"/>
                </a:lnTo>
                <a:lnTo>
                  <a:pt x="2505" y="2561"/>
                </a:lnTo>
                <a:lnTo>
                  <a:pt x="2514" y="2564"/>
                </a:lnTo>
                <a:lnTo>
                  <a:pt x="2524" y="2566"/>
                </a:lnTo>
                <a:lnTo>
                  <a:pt x="2530" y="2566"/>
                </a:lnTo>
                <a:lnTo>
                  <a:pt x="2535" y="2567"/>
                </a:lnTo>
                <a:lnTo>
                  <a:pt x="2545" y="2566"/>
                </a:lnTo>
                <a:lnTo>
                  <a:pt x="2557" y="2564"/>
                </a:lnTo>
                <a:lnTo>
                  <a:pt x="2567" y="2562"/>
                </a:lnTo>
                <a:lnTo>
                  <a:pt x="2576" y="2559"/>
                </a:lnTo>
                <a:lnTo>
                  <a:pt x="2585" y="2554"/>
                </a:lnTo>
                <a:lnTo>
                  <a:pt x="2594" y="2548"/>
                </a:lnTo>
                <a:lnTo>
                  <a:pt x="2603" y="2543"/>
                </a:lnTo>
                <a:lnTo>
                  <a:pt x="2612" y="2536"/>
                </a:lnTo>
                <a:lnTo>
                  <a:pt x="2620" y="2529"/>
                </a:lnTo>
                <a:lnTo>
                  <a:pt x="2628" y="2521"/>
                </a:lnTo>
                <a:lnTo>
                  <a:pt x="2635" y="2512"/>
                </a:lnTo>
                <a:lnTo>
                  <a:pt x="2642" y="2503"/>
                </a:lnTo>
                <a:lnTo>
                  <a:pt x="2655" y="2483"/>
                </a:lnTo>
                <a:lnTo>
                  <a:pt x="2661" y="2473"/>
                </a:lnTo>
                <a:lnTo>
                  <a:pt x="2666" y="2462"/>
                </a:lnTo>
                <a:lnTo>
                  <a:pt x="2673" y="2451"/>
                </a:lnTo>
                <a:lnTo>
                  <a:pt x="2678" y="2440"/>
                </a:lnTo>
                <a:lnTo>
                  <a:pt x="2682" y="2427"/>
                </a:lnTo>
                <a:lnTo>
                  <a:pt x="2686" y="2415"/>
                </a:lnTo>
                <a:lnTo>
                  <a:pt x="2690" y="2403"/>
                </a:lnTo>
                <a:lnTo>
                  <a:pt x="2693" y="2391"/>
                </a:lnTo>
                <a:lnTo>
                  <a:pt x="2696" y="2379"/>
                </a:lnTo>
                <a:lnTo>
                  <a:pt x="2699" y="2366"/>
                </a:lnTo>
                <a:lnTo>
                  <a:pt x="2701" y="2354"/>
                </a:lnTo>
                <a:lnTo>
                  <a:pt x="2703" y="2343"/>
                </a:lnTo>
                <a:lnTo>
                  <a:pt x="2705" y="2331"/>
                </a:lnTo>
                <a:lnTo>
                  <a:pt x="2706" y="2319"/>
                </a:lnTo>
                <a:lnTo>
                  <a:pt x="2706" y="2307"/>
                </a:lnTo>
                <a:lnTo>
                  <a:pt x="2707" y="2296"/>
                </a:lnTo>
                <a:lnTo>
                  <a:pt x="2706" y="2285"/>
                </a:lnTo>
                <a:lnTo>
                  <a:pt x="2706" y="2275"/>
                </a:lnTo>
                <a:lnTo>
                  <a:pt x="2707" y="2272"/>
                </a:lnTo>
                <a:lnTo>
                  <a:pt x="2709" y="2270"/>
                </a:lnTo>
                <a:lnTo>
                  <a:pt x="2711" y="2268"/>
                </a:lnTo>
                <a:lnTo>
                  <a:pt x="2714" y="2266"/>
                </a:lnTo>
                <a:lnTo>
                  <a:pt x="2720" y="2263"/>
                </a:lnTo>
                <a:lnTo>
                  <a:pt x="2724" y="2263"/>
                </a:lnTo>
                <a:lnTo>
                  <a:pt x="2728" y="2262"/>
                </a:lnTo>
                <a:lnTo>
                  <a:pt x="2736" y="2263"/>
                </a:lnTo>
                <a:lnTo>
                  <a:pt x="2740" y="2264"/>
                </a:lnTo>
                <a:lnTo>
                  <a:pt x="2743" y="2265"/>
                </a:lnTo>
                <a:lnTo>
                  <a:pt x="2749" y="2267"/>
                </a:lnTo>
                <a:lnTo>
                  <a:pt x="2751" y="2269"/>
                </a:lnTo>
                <a:lnTo>
                  <a:pt x="2754" y="2272"/>
                </a:lnTo>
                <a:lnTo>
                  <a:pt x="2758" y="2277"/>
                </a:lnTo>
                <a:lnTo>
                  <a:pt x="2759" y="2281"/>
                </a:lnTo>
                <a:lnTo>
                  <a:pt x="2761" y="2285"/>
                </a:lnTo>
                <a:lnTo>
                  <a:pt x="2762" y="2289"/>
                </a:lnTo>
                <a:lnTo>
                  <a:pt x="2763" y="2294"/>
                </a:lnTo>
                <a:lnTo>
                  <a:pt x="2763" y="2299"/>
                </a:lnTo>
                <a:lnTo>
                  <a:pt x="2763" y="2305"/>
                </a:lnTo>
                <a:lnTo>
                  <a:pt x="2763" y="2322"/>
                </a:lnTo>
                <a:lnTo>
                  <a:pt x="2762" y="2337"/>
                </a:lnTo>
                <a:lnTo>
                  <a:pt x="2760" y="2352"/>
                </a:lnTo>
                <a:lnTo>
                  <a:pt x="2758" y="2368"/>
                </a:lnTo>
                <a:lnTo>
                  <a:pt x="2756" y="2383"/>
                </a:lnTo>
                <a:lnTo>
                  <a:pt x="2753" y="2398"/>
                </a:lnTo>
                <a:lnTo>
                  <a:pt x="2749" y="2413"/>
                </a:lnTo>
                <a:lnTo>
                  <a:pt x="2745" y="2427"/>
                </a:lnTo>
                <a:lnTo>
                  <a:pt x="2741" y="2442"/>
                </a:lnTo>
                <a:lnTo>
                  <a:pt x="2736" y="2455"/>
                </a:lnTo>
                <a:lnTo>
                  <a:pt x="2731" y="2468"/>
                </a:lnTo>
                <a:lnTo>
                  <a:pt x="2724" y="2481"/>
                </a:lnTo>
                <a:lnTo>
                  <a:pt x="2718" y="2495"/>
                </a:lnTo>
                <a:lnTo>
                  <a:pt x="2711" y="2507"/>
                </a:lnTo>
                <a:lnTo>
                  <a:pt x="2705" y="2518"/>
                </a:lnTo>
                <a:lnTo>
                  <a:pt x="2697" y="2529"/>
                </a:lnTo>
                <a:lnTo>
                  <a:pt x="2690" y="2540"/>
                </a:lnTo>
                <a:lnTo>
                  <a:pt x="2682" y="2550"/>
                </a:lnTo>
                <a:lnTo>
                  <a:pt x="2673" y="2561"/>
                </a:lnTo>
                <a:lnTo>
                  <a:pt x="2663" y="2570"/>
                </a:lnTo>
                <a:lnTo>
                  <a:pt x="2654" y="2578"/>
                </a:lnTo>
                <a:lnTo>
                  <a:pt x="2645" y="2586"/>
                </a:lnTo>
                <a:lnTo>
                  <a:pt x="2635" y="2593"/>
                </a:lnTo>
                <a:lnTo>
                  <a:pt x="2625" y="2600"/>
                </a:lnTo>
                <a:lnTo>
                  <a:pt x="2615" y="2606"/>
                </a:lnTo>
                <a:lnTo>
                  <a:pt x="2603" y="2612"/>
                </a:lnTo>
                <a:lnTo>
                  <a:pt x="2592" y="2616"/>
                </a:lnTo>
                <a:lnTo>
                  <a:pt x="2581" y="2620"/>
                </a:lnTo>
                <a:lnTo>
                  <a:pt x="2570" y="2623"/>
                </a:lnTo>
                <a:lnTo>
                  <a:pt x="2558" y="2625"/>
                </a:lnTo>
                <a:lnTo>
                  <a:pt x="2545" y="2626"/>
                </a:lnTo>
                <a:lnTo>
                  <a:pt x="2533" y="2627"/>
                </a:lnTo>
                <a:close/>
                <a:moveTo>
                  <a:pt x="2921" y="2621"/>
                </a:moveTo>
                <a:lnTo>
                  <a:pt x="2919" y="2621"/>
                </a:lnTo>
                <a:lnTo>
                  <a:pt x="2917" y="2620"/>
                </a:lnTo>
                <a:lnTo>
                  <a:pt x="2911" y="2617"/>
                </a:lnTo>
                <a:lnTo>
                  <a:pt x="2904" y="2613"/>
                </a:lnTo>
                <a:lnTo>
                  <a:pt x="2897" y="2607"/>
                </a:lnTo>
                <a:lnTo>
                  <a:pt x="2884" y="2596"/>
                </a:lnTo>
                <a:lnTo>
                  <a:pt x="2869" y="2582"/>
                </a:lnTo>
                <a:lnTo>
                  <a:pt x="2853" y="2566"/>
                </a:lnTo>
                <a:lnTo>
                  <a:pt x="2835" y="2548"/>
                </a:lnTo>
                <a:lnTo>
                  <a:pt x="2819" y="2531"/>
                </a:lnTo>
                <a:lnTo>
                  <a:pt x="2805" y="2515"/>
                </a:lnTo>
                <a:lnTo>
                  <a:pt x="2794" y="2501"/>
                </a:lnTo>
                <a:lnTo>
                  <a:pt x="2788" y="2494"/>
                </a:lnTo>
                <a:lnTo>
                  <a:pt x="2785" y="2488"/>
                </a:lnTo>
                <a:lnTo>
                  <a:pt x="2780" y="2478"/>
                </a:lnTo>
                <a:lnTo>
                  <a:pt x="2776" y="2468"/>
                </a:lnTo>
                <a:lnTo>
                  <a:pt x="2774" y="2458"/>
                </a:lnTo>
                <a:lnTo>
                  <a:pt x="2773" y="2448"/>
                </a:lnTo>
                <a:lnTo>
                  <a:pt x="2773" y="2443"/>
                </a:lnTo>
                <a:lnTo>
                  <a:pt x="2774" y="2437"/>
                </a:lnTo>
                <a:lnTo>
                  <a:pt x="2775" y="2430"/>
                </a:lnTo>
                <a:lnTo>
                  <a:pt x="2777" y="2424"/>
                </a:lnTo>
                <a:lnTo>
                  <a:pt x="2780" y="2418"/>
                </a:lnTo>
                <a:lnTo>
                  <a:pt x="2783" y="2412"/>
                </a:lnTo>
                <a:lnTo>
                  <a:pt x="2787" y="2405"/>
                </a:lnTo>
                <a:lnTo>
                  <a:pt x="2792" y="2398"/>
                </a:lnTo>
                <a:lnTo>
                  <a:pt x="2801" y="2387"/>
                </a:lnTo>
                <a:lnTo>
                  <a:pt x="2812" y="2374"/>
                </a:lnTo>
                <a:lnTo>
                  <a:pt x="2841" y="2339"/>
                </a:lnTo>
                <a:lnTo>
                  <a:pt x="2877" y="2299"/>
                </a:lnTo>
                <a:lnTo>
                  <a:pt x="2913" y="2259"/>
                </a:lnTo>
                <a:lnTo>
                  <a:pt x="2914" y="2258"/>
                </a:lnTo>
                <a:lnTo>
                  <a:pt x="2918" y="2258"/>
                </a:lnTo>
                <a:lnTo>
                  <a:pt x="2921" y="2258"/>
                </a:lnTo>
                <a:lnTo>
                  <a:pt x="2925" y="2260"/>
                </a:lnTo>
                <a:lnTo>
                  <a:pt x="2930" y="2261"/>
                </a:lnTo>
                <a:lnTo>
                  <a:pt x="2934" y="2264"/>
                </a:lnTo>
                <a:lnTo>
                  <a:pt x="2938" y="2267"/>
                </a:lnTo>
                <a:lnTo>
                  <a:pt x="2942" y="2271"/>
                </a:lnTo>
                <a:lnTo>
                  <a:pt x="2945" y="2275"/>
                </a:lnTo>
                <a:lnTo>
                  <a:pt x="2948" y="2280"/>
                </a:lnTo>
                <a:lnTo>
                  <a:pt x="2950" y="2284"/>
                </a:lnTo>
                <a:lnTo>
                  <a:pt x="2950" y="2289"/>
                </a:lnTo>
                <a:lnTo>
                  <a:pt x="2950" y="2295"/>
                </a:lnTo>
                <a:lnTo>
                  <a:pt x="2948" y="2300"/>
                </a:lnTo>
                <a:lnTo>
                  <a:pt x="2945" y="2306"/>
                </a:lnTo>
                <a:lnTo>
                  <a:pt x="2941" y="2313"/>
                </a:lnTo>
                <a:lnTo>
                  <a:pt x="2933" y="2323"/>
                </a:lnTo>
                <a:lnTo>
                  <a:pt x="2921" y="2336"/>
                </a:lnTo>
                <a:lnTo>
                  <a:pt x="2891" y="2369"/>
                </a:lnTo>
                <a:lnTo>
                  <a:pt x="2862" y="2404"/>
                </a:lnTo>
                <a:lnTo>
                  <a:pt x="2849" y="2418"/>
                </a:lnTo>
                <a:lnTo>
                  <a:pt x="2840" y="2430"/>
                </a:lnTo>
                <a:lnTo>
                  <a:pt x="2837" y="2434"/>
                </a:lnTo>
                <a:lnTo>
                  <a:pt x="2835" y="2438"/>
                </a:lnTo>
                <a:lnTo>
                  <a:pt x="2834" y="2442"/>
                </a:lnTo>
                <a:lnTo>
                  <a:pt x="2834" y="2445"/>
                </a:lnTo>
                <a:lnTo>
                  <a:pt x="2834" y="2450"/>
                </a:lnTo>
                <a:lnTo>
                  <a:pt x="2836" y="2454"/>
                </a:lnTo>
                <a:lnTo>
                  <a:pt x="2838" y="2458"/>
                </a:lnTo>
                <a:lnTo>
                  <a:pt x="2841" y="2463"/>
                </a:lnTo>
                <a:lnTo>
                  <a:pt x="2848" y="2472"/>
                </a:lnTo>
                <a:lnTo>
                  <a:pt x="2860" y="2484"/>
                </a:lnTo>
                <a:lnTo>
                  <a:pt x="2887" y="2514"/>
                </a:lnTo>
                <a:lnTo>
                  <a:pt x="2920" y="2546"/>
                </a:lnTo>
                <a:lnTo>
                  <a:pt x="2951" y="2577"/>
                </a:lnTo>
                <a:lnTo>
                  <a:pt x="2953" y="2579"/>
                </a:lnTo>
                <a:lnTo>
                  <a:pt x="2954" y="2581"/>
                </a:lnTo>
                <a:lnTo>
                  <a:pt x="2955" y="2584"/>
                </a:lnTo>
                <a:lnTo>
                  <a:pt x="2955" y="2586"/>
                </a:lnTo>
                <a:lnTo>
                  <a:pt x="2954" y="2592"/>
                </a:lnTo>
                <a:lnTo>
                  <a:pt x="2953" y="2595"/>
                </a:lnTo>
                <a:lnTo>
                  <a:pt x="2952" y="2597"/>
                </a:lnTo>
                <a:lnTo>
                  <a:pt x="2948" y="2603"/>
                </a:lnTo>
                <a:lnTo>
                  <a:pt x="2946" y="2606"/>
                </a:lnTo>
                <a:lnTo>
                  <a:pt x="2944" y="2608"/>
                </a:lnTo>
                <a:lnTo>
                  <a:pt x="2938" y="2614"/>
                </a:lnTo>
                <a:lnTo>
                  <a:pt x="2936" y="2616"/>
                </a:lnTo>
                <a:lnTo>
                  <a:pt x="2933" y="2618"/>
                </a:lnTo>
                <a:lnTo>
                  <a:pt x="2927" y="2620"/>
                </a:lnTo>
                <a:lnTo>
                  <a:pt x="2924" y="2621"/>
                </a:lnTo>
                <a:lnTo>
                  <a:pt x="2921" y="2621"/>
                </a:lnTo>
                <a:close/>
                <a:moveTo>
                  <a:pt x="251" y="639"/>
                </a:moveTo>
                <a:lnTo>
                  <a:pt x="243" y="639"/>
                </a:lnTo>
                <a:lnTo>
                  <a:pt x="235" y="639"/>
                </a:lnTo>
                <a:lnTo>
                  <a:pt x="228" y="637"/>
                </a:lnTo>
                <a:lnTo>
                  <a:pt x="220" y="636"/>
                </a:lnTo>
                <a:lnTo>
                  <a:pt x="213" y="634"/>
                </a:lnTo>
                <a:lnTo>
                  <a:pt x="205" y="632"/>
                </a:lnTo>
                <a:lnTo>
                  <a:pt x="191" y="625"/>
                </a:lnTo>
                <a:lnTo>
                  <a:pt x="178" y="618"/>
                </a:lnTo>
                <a:lnTo>
                  <a:pt x="172" y="613"/>
                </a:lnTo>
                <a:lnTo>
                  <a:pt x="166" y="609"/>
                </a:lnTo>
                <a:lnTo>
                  <a:pt x="160" y="604"/>
                </a:lnTo>
                <a:lnTo>
                  <a:pt x="155" y="599"/>
                </a:lnTo>
                <a:lnTo>
                  <a:pt x="148" y="593"/>
                </a:lnTo>
                <a:lnTo>
                  <a:pt x="143" y="588"/>
                </a:lnTo>
                <a:lnTo>
                  <a:pt x="138" y="582"/>
                </a:lnTo>
                <a:lnTo>
                  <a:pt x="133" y="575"/>
                </a:lnTo>
                <a:lnTo>
                  <a:pt x="129" y="568"/>
                </a:lnTo>
                <a:lnTo>
                  <a:pt x="125" y="561"/>
                </a:lnTo>
                <a:lnTo>
                  <a:pt x="121" y="554"/>
                </a:lnTo>
                <a:lnTo>
                  <a:pt x="117" y="546"/>
                </a:lnTo>
                <a:lnTo>
                  <a:pt x="114" y="539"/>
                </a:lnTo>
                <a:lnTo>
                  <a:pt x="111" y="531"/>
                </a:lnTo>
                <a:lnTo>
                  <a:pt x="108" y="523"/>
                </a:lnTo>
                <a:lnTo>
                  <a:pt x="106" y="515"/>
                </a:lnTo>
                <a:lnTo>
                  <a:pt x="104" y="505"/>
                </a:lnTo>
                <a:lnTo>
                  <a:pt x="102" y="497"/>
                </a:lnTo>
                <a:lnTo>
                  <a:pt x="101" y="488"/>
                </a:lnTo>
                <a:lnTo>
                  <a:pt x="100" y="479"/>
                </a:lnTo>
                <a:lnTo>
                  <a:pt x="99" y="470"/>
                </a:lnTo>
                <a:lnTo>
                  <a:pt x="99" y="461"/>
                </a:lnTo>
                <a:lnTo>
                  <a:pt x="100" y="441"/>
                </a:lnTo>
                <a:lnTo>
                  <a:pt x="101" y="432"/>
                </a:lnTo>
                <a:lnTo>
                  <a:pt x="102" y="423"/>
                </a:lnTo>
                <a:lnTo>
                  <a:pt x="104" y="414"/>
                </a:lnTo>
                <a:lnTo>
                  <a:pt x="106" y="405"/>
                </a:lnTo>
                <a:lnTo>
                  <a:pt x="109" y="396"/>
                </a:lnTo>
                <a:lnTo>
                  <a:pt x="111" y="387"/>
                </a:lnTo>
                <a:lnTo>
                  <a:pt x="115" y="378"/>
                </a:lnTo>
                <a:lnTo>
                  <a:pt x="118" y="370"/>
                </a:lnTo>
                <a:lnTo>
                  <a:pt x="122" y="362"/>
                </a:lnTo>
                <a:lnTo>
                  <a:pt x="126" y="354"/>
                </a:lnTo>
                <a:lnTo>
                  <a:pt x="130" y="347"/>
                </a:lnTo>
                <a:lnTo>
                  <a:pt x="135" y="339"/>
                </a:lnTo>
                <a:lnTo>
                  <a:pt x="145" y="325"/>
                </a:lnTo>
                <a:lnTo>
                  <a:pt x="152" y="318"/>
                </a:lnTo>
                <a:lnTo>
                  <a:pt x="158" y="312"/>
                </a:lnTo>
                <a:lnTo>
                  <a:pt x="170" y="301"/>
                </a:lnTo>
                <a:lnTo>
                  <a:pt x="176" y="295"/>
                </a:lnTo>
                <a:lnTo>
                  <a:pt x="183" y="291"/>
                </a:lnTo>
                <a:lnTo>
                  <a:pt x="190" y="286"/>
                </a:lnTo>
                <a:lnTo>
                  <a:pt x="197" y="282"/>
                </a:lnTo>
                <a:lnTo>
                  <a:pt x="204" y="278"/>
                </a:lnTo>
                <a:lnTo>
                  <a:pt x="212" y="275"/>
                </a:lnTo>
                <a:lnTo>
                  <a:pt x="220" y="273"/>
                </a:lnTo>
                <a:lnTo>
                  <a:pt x="228" y="269"/>
                </a:lnTo>
                <a:lnTo>
                  <a:pt x="236" y="268"/>
                </a:lnTo>
                <a:lnTo>
                  <a:pt x="244" y="266"/>
                </a:lnTo>
                <a:lnTo>
                  <a:pt x="252" y="265"/>
                </a:lnTo>
                <a:lnTo>
                  <a:pt x="260" y="265"/>
                </a:lnTo>
                <a:lnTo>
                  <a:pt x="271" y="266"/>
                </a:lnTo>
                <a:lnTo>
                  <a:pt x="276" y="266"/>
                </a:lnTo>
                <a:lnTo>
                  <a:pt x="281" y="267"/>
                </a:lnTo>
                <a:lnTo>
                  <a:pt x="286" y="268"/>
                </a:lnTo>
                <a:lnTo>
                  <a:pt x="290" y="269"/>
                </a:lnTo>
                <a:lnTo>
                  <a:pt x="298" y="273"/>
                </a:lnTo>
                <a:lnTo>
                  <a:pt x="306" y="277"/>
                </a:lnTo>
                <a:lnTo>
                  <a:pt x="314" y="282"/>
                </a:lnTo>
                <a:lnTo>
                  <a:pt x="320" y="287"/>
                </a:lnTo>
                <a:lnTo>
                  <a:pt x="326" y="293"/>
                </a:lnTo>
                <a:lnTo>
                  <a:pt x="329" y="297"/>
                </a:lnTo>
                <a:lnTo>
                  <a:pt x="333" y="300"/>
                </a:lnTo>
                <a:lnTo>
                  <a:pt x="338" y="307"/>
                </a:lnTo>
                <a:lnTo>
                  <a:pt x="342" y="315"/>
                </a:lnTo>
                <a:lnTo>
                  <a:pt x="345" y="323"/>
                </a:lnTo>
                <a:lnTo>
                  <a:pt x="348" y="333"/>
                </a:lnTo>
                <a:lnTo>
                  <a:pt x="349" y="342"/>
                </a:lnTo>
                <a:lnTo>
                  <a:pt x="351" y="352"/>
                </a:lnTo>
                <a:lnTo>
                  <a:pt x="351" y="362"/>
                </a:lnTo>
                <a:lnTo>
                  <a:pt x="350" y="374"/>
                </a:lnTo>
                <a:lnTo>
                  <a:pt x="349" y="380"/>
                </a:lnTo>
                <a:lnTo>
                  <a:pt x="348" y="386"/>
                </a:lnTo>
                <a:lnTo>
                  <a:pt x="344" y="399"/>
                </a:lnTo>
                <a:lnTo>
                  <a:pt x="339" y="411"/>
                </a:lnTo>
                <a:lnTo>
                  <a:pt x="333" y="422"/>
                </a:lnTo>
                <a:lnTo>
                  <a:pt x="325" y="433"/>
                </a:lnTo>
                <a:lnTo>
                  <a:pt x="321" y="438"/>
                </a:lnTo>
                <a:lnTo>
                  <a:pt x="316" y="442"/>
                </a:lnTo>
                <a:lnTo>
                  <a:pt x="307" y="453"/>
                </a:lnTo>
                <a:lnTo>
                  <a:pt x="297" y="461"/>
                </a:lnTo>
                <a:lnTo>
                  <a:pt x="292" y="465"/>
                </a:lnTo>
                <a:lnTo>
                  <a:pt x="286" y="469"/>
                </a:lnTo>
                <a:lnTo>
                  <a:pt x="275" y="475"/>
                </a:lnTo>
                <a:lnTo>
                  <a:pt x="262" y="481"/>
                </a:lnTo>
                <a:lnTo>
                  <a:pt x="250" y="486"/>
                </a:lnTo>
                <a:lnTo>
                  <a:pt x="244" y="487"/>
                </a:lnTo>
                <a:lnTo>
                  <a:pt x="238" y="489"/>
                </a:lnTo>
                <a:lnTo>
                  <a:pt x="232" y="490"/>
                </a:lnTo>
                <a:lnTo>
                  <a:pt x="225" y="491"/>
                </a:lnTo>
                <a:lnTo>
                  <a:pt x="213" y="492"/>
                </a:lnTo>
                <a:lnTo>
                  <a:pt x="207" y="491"/>
                </a:lnTo>
                <a:lnTo>
                  <a:pt x="202" y="489"/>
                </a:lnTo>
                <a:lnTo>
                  <a:pt x="197" y="486"/>
                </a:lnTo>
                <a:lnTo>
                  <a:pt x="195" y="485"/>
                </a:lnTo>
                <a:lnTo>
                  <a:pt x="193" y="483"/>
                </a:lnTo>
                <a:lnTo>
                  <a:pt x="190" y="478"/>
                </a:lnTo>
                <a:lnTo>
                  <a:pt x="188" y="473"/>
                </a:lnTo>
                <a:lnTo>
                  <a:pt x="187" y="470"/>
                </a:lnTo>
                <a:lnTo>
                  <a:pt x="186" y="467"/>
                </a:lnTo>
                <a:lnTo>
                  <a:pt x="186" y="460"/>
                </a:lnTo>
                <a:lnTo>
                  <a:pt x="186" y="458"/>
                </a:lnTo>
                <a:lnTo>
                  <a:pt x="186" y="455"/>
                </a:lnTo>
                <a:lnTo>
                  <a:pt x="187" y="449"/>
                </a:lnTo>
                <a:lnTo>
                  <a:pt x="188" y="447"/>
                </a:lnTo>
                <a:lnTo>
                  <a:pt x="189" y="445"/>
                </a:lnTo>
                <a:lnTo>
                  <a:pt x="191" y="443"/>
                </a:lnTo>
                <a:lnTo>
                  <a:pt x="193" y="442"/>
                </a:lnTo>
                <a:lnTo>
                  <a:pt x="204" y="440"/>
                </a:lnTo>
                <a:lnTo>
                  <a:pt x="215" y="438"/>
                </a:lnTo>
                <a:lnTo>
                  <a:pt x="225" y="434"/>
                </a:lnTo>
                <a:lnTo>
                  <a:pt x="235" y="430"/>
                </a:lnTo>
                <a:lnTo>
                  <a:pt x="244" y="426"/>
                </a:lnTo>
                <a:lnTo>
                  <a:pt x="252" y="421"/>
                </a:lnTo>
                <a:lnTo>
                  <a:pt x="260" y="415"/>
                </a:lnTo>
                <a:lnTo>
                  <a:pt x="264" y="412"/>
                </a:lnTo>
                <a:lnTo>
                  <a:pt x="267" y="409"/>
                </a:lnTo>
                <a:lnTo>
                  <a:pt x="275" y="403"/>
                </a:lnTo>
                <a:lnTo>
                  <a:pt x="281" y="397"/>
                </a:lnTo>
                <a:lnTo>
                  <a:pt x="286" y="389"/>
                </a:lnTo>
                <a:lnTo>
                  <a:pt x="290" y="382"/>
                </a:lnTo>
                <a:lnTo>
                  <a:pt x="293" y="375"/>
                </a:lnTo>
                <a:lnTo>
                  <a:pt x="296" y="368"/>
                </a:lnTo>
                <a:lnTo>
                  <a:pt x="297" y="361"/>
                </a:lnTo>
                <a:lnTo>
                  <a:pt x="298" y="354"/>
                </a:lnTo>
                <a:lnTo>
                  <a:pt x="297" y="346"/>
                </a:lnTo>
                <a:lnTo>
                  <a:pt x="295" y="338"/>
                </a:lnTo>
                <a:lnTo>
                  <a:pt x="293" y="335"/>
                </a:lnTo>
                <a:lnTo>
                  <a:pt x="291" y="332"/>
                </a:lnTo>
                <a:lnTo>
                  <a:pt x="289" y="328"/>
                </a:lnTo>
                <a:lnTo>
                  <a:pt x="287" y="326"/>
                </a:lnTo>
                <a:lnTo>
                  <a:pt x="281" y="322"/>
                </a:lnTo>
                <a:lnTo>
                  <a:pt x="278" y="320"/>
                </a:lnTo>
                <a:lnTo>
                  <a:pt x="274" y="318"/>
                </a:lnTo>
                <a:lnTo>
                  <a:pt x="265" y="317"/>
                </a:lnTo>
                <a:lnTo>
                  <a:pt x="261" y="316"/>
                </a:lnTo>
                <a:lnTo>
                  <a:pt x="256" y="316"/>
                </a:lnTo>
                <a:lnTo>
                  <a:pt x="248" y="317"/>
                </a:lnTo>
                <a:lnTo>
                  <a:pt x="243" y="318"/>
                </a:lnTo>
                <a:lnTo>
                  <a:pt x="239" y="319"/>
                </a:lnTo>
                <a:lnTo>
                  <a:pt x="234" y="320"/>
                </a:lnTo>
                <a:lnTo>
                  <a:pt x="230" y="322"/>
                </a:lnTo>
                <a:lnTo>
                  <a:pt x="225" y="324"/>
                </a:lnTo>
                <a:lnTo>
                  <a:pt x="221" y="327"/>
                </a:lnTo>
                <a:lnTo>
                  <a:pt x="217" y="330"/>
                </a:lnTo>
                <a:lnTo>
                  <a:pt x="213" y="334"/>
                </a:lnTo>
                <a:lnTo>
                  <a:pt x="203" y="341"/>
                </a:lnTo>
                <a:lnTo>
                  <a:pt x="195" y="349"/>
                </a:lnTo>
                <a:lnTo>
                  <a:pt x="188" y="358"/>
                </a:lnTo>
                <a:lnTo>
                  <a:pt x="184" y="363"/>
                </a:lnTo>
                <a:lnTo>
                  <a:pt x="181" y="368"/>
                </a:lnTo>
                <a:lnTo>
                  <a:pt x="175" y="379"/>
                </a:lnTo>
                <a:lnTo>
                  <a:pt x="169" y="390"/>
                </a:lnTo>
                <a:lnTo>
                  <a:pt x="165" y="403"/>
                </a:lnTo>
                <a:lnTo>
                  <a:pt x="161" y="416"/>
                </a:lnTo>
                <a:lnTo>
                  <a:pt x="158" y="430"/>
                </a:lnTo>
                <a:lnTo>
                  <a:pt x="156" y="443"/>
                </a:lnTo>
                <a:lnTo>
                  <a:pt x="156" y="450"/>
                </a:lnTo>
                <a:lnTo>
                  <a:pt x="156" y="459"/>
                </a:lnTo>
                <a:lnTo>
                  <a:pt x="156" y="471"/>
                </a:lnTo>
                <a:lnTo>
                  <a:pt x="157" y="483"/>
                </a:lnTo>
                <a:lnTo>
                  <a:pt x="160" y="495"/>
                </a:lnTo>
                <a:lnTo>
                  <a:pt x="161" y="501"/>
                </a:lnTo>
                <a:lnTo>
                  <a:pt x="162" y="506"/>
                </a:lnTo>
                <a:lnTo>
                  <a:pt x="166" y="518"/>
                </a:lnTo>
                <a:lnTo>
                  <a:pt x="168" y="523"/>
                </a:lnTo>
                <a:lnTo>
                  <a:pt x="171" y="527"/>
                </a:lnTo>
                <a:lnTo>
                  <a:pt x="173" y="532"/>
                </a:lnTo>
                <a:lnTo>
                  <a:pt x="176" y="536"/>
                </a:lnTo>
                <a:lnTo>
                  <a:pt x="179" y="541"/>
                </a:lnTo>
                <a:lnTo>
                  <a:pt x="182" y="545"/>
                </a:lnTo>
                <a:lnTo>
                  <a:pt x="185" y="548"/>
                </a:lnTo>
                <a:lnTo>
                  <a:pt x="188" y="552"/>
                </a:lnTo>
                <a:lnTo>
                  <a:pt x="196" y="559"/>
                </a:lnTo>
                <a:lnTo>
                  <a:pt x="203" y="564"/>
                </a:lnTo>
                <a:lnTo>
                  <a:pt x="213" y="569"/>
                </a:lnTo>
                <a:lnTo>
                  <a:pt x="222" y="574"/>
                </a:lnTo>
                <a:lnTo>
                  <a:pt x="232" y="577"/>
                </a:lnTo>
                <a:lnTo>
                  <a:pt x="242" y="579"/>
                </a:lnTo>
                <a:lnTo>
                  <a:pt x="247" y="579"/>
                </a:lnTo>
                <a:lnTo>
                  <a:pt x="252" y="579"/>
                </a:lnTo>
                <a:lnTo>
                  <a:pt x="263" y="579"/>
                </a:lnTo>
                <a:lnTo>
                  <a:pt x="274" y="577"/>
                </a:lnTo>
                <a:lnTo>
                  <a:pt x="284" y="575"/>
                </a:lnTo>
                <a:lnTo>
                  <a:pt x="294" y="570"/>
                </a:lnTo>
                <a:lnTo>
                  <a:pt x="303" y="566"/>
                </a:lnTo>
                <a:lnTo>
                  <a:pt x="312" y="561"/>
                </a:lnTo>
                <a:lnTo>
                  <a:pt x="320" y="555"/>
                </a:lnTo>
                <a:lnTo>
                  <a:pt x="329" y="549"/>
                </a:lnTo>
                <a:lnTo>
                  <a:pt x="338" y="541"/>
                </a:lnTo>
                <a:lnTo>
                  <a:pt x="345" y="534"/>
                </a:lnTo>
                <a:lnTo>
                  <a:pt x="353" y="525"/>
                </a:lnTo>
                <a:lnTo>
                  <a:pt x="360" y="516"/>
                </a:lnTo>
                <a:lnTo>
                  <a:pt x="373" y="496"/>
                </a:lnTo>
                <a:lnTo>
                  <a:pt x="378" y="485"/>
                </a:lnTo>
                <a:lnTo>
                  <a:pt x="384" y="475"/>
                </a:lnTo>
                <a:lnTo>
                  <a:pt x="389" y="464"/>
                </a:lnTo>
                <a:lnTo>
                  <a:pt x="395" y="452"/>
                </a:lnTo>
                <a:lnTo>
                  <a:pt x="400" y="440"/>
                </a:lnTo>
                <a:lnTo>
                  <a:pt x="404" y="428"/>
                </a:lnTo>
                <a:lnTo>
                  <a:pt x="407" y="416"/>
                </a:lnTo>
                <a:lnTo>
                  <a:pt x="411" y="404"/>
                </a:lnTo>
                <a:lnTo>
                  <a:pt x="414" y="392"/>
                </a:lnTo>
                <a:lnTo>
                  <a:pt x="416" y="379"/>
                </a:lnTo>
                <a:lnTo>
                  <a:pt x="419" y="367"/>
                </a:lnTo>
                <a:lnTo>
                  <a:pt x="421" y="355"/>
                </a:lnTo>
                <a:lnTo>
                  <a:pt x="422" y="343"/>
                </a:lnTo>
                <a:lnTo>
                  <a:pt x="423" y="332"/>
                </a:lnTo>
                <a:lnTo>
                  <a:pt x="424" y="320"/>
                </a:lnTo>
                <a:lnTo>
                  <a:pt x="424" y="308"/>
                </a:lnTo>
                <a:lnTo>
                  <a:pt x="424" y="298"/>
                </a:lnTo>
                <a:lnTo>
                  <a:pt x="423" y="287"/>
                </a:lnTo>
                <a:lnTo>
                  <a:pt x="425" y="285"/>
                </a:lnTo>
                <a:lnTo>
                  <a:pt x="426" y="283"/>
                </a:lnTo>
                <a:lnTo>
                  <a:pt x="428" y="281"/>
                </a:lnTo>
                <a:lnTo>
                  <a:pt x="431" y="279"/>
                </a:lnTo>
                <a:lnTo>
                  <a:pt x="438" y="276"/>
                </a:lnTo>
                <a:lnTo>
                  <a:pt x="442" y="275"/>
                </a:lnTo>
                <a:lnTo>
                  <a:pt x="446" y="275"/>
                </a:lnTo>
                <a:lnTo>
                  <a:pt x="454" y="276"/>
                </a:lnTo>
                <a:lnTo>
                  <a:pt x="457" y="276"/>
                </a:lnTo>
                <a:lnTo>
                  <a:pt x="461" y="277"/>
                </a:lnTo>
                <a:lnTo>
                  <a:pt x="466" y="280"/>
                </a:lnTo>
                <a:lnTo>
                  <a:pt x="469" y="282"/>
                </a:lnTo>
                <a:lnTo>
                  <a:pt x="471" y="284"/>
                </a:lnTo>
                <a:lnTo>
                  <a:pt x="475" y="290"/>
                </a:lnTo>
                <a:lnTo>
                  <a:pt x="477" y="294"/>
                </a:lnTo>
                <a:lnTo>
                  <a:pt x="478" y="297"/>
                </a:lnTo>
                <a:lnTo>
                  <a:pt x="479" y="302"/>
                </a:lnTo>
                <a:lnTo>
                  <a:pt x="480" y="307"/>
                </a:lnTo>
                <a:lnTo>
                  <a:pt x="481" y="312"/>
                </a:lnTo>
                <a:lnTo>
                  <a:pt x="481" y="318"/>
                </a:lnTo>
                <a:lnTo>
                  <a:pt x="480" y="334"/>
                </a:lnTo>
                <a:lnTo>
                  <a:pt x="479" y="350"/>
                </a:lnTo>
                <a:lnTo>
                  <a:pt x="478" y="365"/>
                </a:lnTo>
                <a:lnTo>
                  <a:pt x="476" y="380"/>
                </a:lnTo>
                <a:lnTo>
                  <a:pt x="473" y="396"/>
                </a:lnTo>
                <a:lnTo>
                  <a:pt x="470" y="411"/>
                </a:lnTo>
                <a:lnTo>
                  <a:pt x="467" y="425"/>
                </a:lnTo>
                <a:lnTo>
                  <a:pt x="463" y="439"/>
                </a:lnTo>
                <a:lnTo>
                  <a:pt x="458" y="454"/>
                </a:lnTo>
                <a:lnTo>
                  <a:pt x="454" y="468"/>
                </a:lnTo>
                <a:lnTo>
                  <a:pt x="447" y="481"/>
                </a:lnTo>
                <a:lnTo>
                  <a:pt x="442" y="494"/>
                </a:lnTo>
                <a:lnTo>
                  <a:pt x="435" y="506"/>
                </a:lnTo>
                <a:lnTo>
                  <a:pt x="429" y="519"/>
                </a:lnTo>
                <a:lnTo>
                  <a:pt x="422" y="531"/>
                </a:lnTo>
                <a:lnTo>
                  <a:pt x="415" y="542"/>
                </a:lnTo>
                <a:lnTo>
                  <a:pt x="407" y="553"/>
                </a:lnTo>
                <a:lnTo>
                  <a:pt x="399" y="563"/>
                </a:lnTo>
                <a:lnTo>
                  <a:pt x="391" y="573"/>
                </a:lnTo>
                <a:lnTo>
                  <a:pt x="381" y="582"/>
                </a:lnTo>
                <a:lnTo>
                  <a:pt x="372" y="591"/>
                </a:lnTo>
                <a:lnTo>
                  <a:pt x="363" y="599"/>
                </a:lnTo>
                <a:lnTo>
                  <a:pt x="353" y="606"/>
                </a:lnTo>
                <a:lnTo>
                  <a:pt x="343" y="612"/>
                </a:lnTo>
                <a:lnTo>
                  <a:pt x="332" y="618"/>
                </a:lnTo>
                <a:lnTo>
                  <a:pt x="321" y="624"/>
                </a:lnTo>
                <a:lnTo>
                  <a:pt x="310" y="628"/>
                </a:lnTo>
                <a:lnTo>
                  <a:pt x="299" y="633"/>
                </a:lnTo>
                <a:lnTo>
                  <a:pt x="287" y="636"/>
                </a:lnTo>
                <a:lnTo>
                  <a:pt x="276" y="638"/>
                </a:lnTo>
                <a:lnTo>
                  <a:pt x="263" y="639"/>
                </a:lnTo>
                <a:lnTo>
                  <a:pt x="251" y="639"/>
                </a:lnTo>
                <a:close/>
                <a:moveTo>
                  <a:pt x="638" y="634"/>
                </a:moveTo>
                <a:lnTo>
                  <a:pt x="636" y="633"/>
                </a:lnTo>
                <a:lnTo>
                  <a:pt x="634" y="633"/>
                </a:lnTo>
                <a:lnTo>
                  <a:pt x="628" y="629"/>
                </a:lnTo>
                <a:lnTo>
                  <a:pt x="622" y="625"/>
                </a:lnTo>
                <a:lnTo>
                  <a:pt x="614" y="619"/>
                </a:lnTo>
                <a:lnTo>
                  <a:pt x="602" y="608"/>
                </a:lnTo>
                <a:lnTo>
                  <a:pt x="587" y="595"/>
                </a:lnTo>
                <a:lnTo>
                  <a:pt x="569" y="579"/>
                </a:lnTo>
                <a:lnTo>
                  <a:pt x="553" y="561"/>
                </a:lnTo>
                <a:lnTo>
                  <a:pt x="537" y="544"/>
                </a:lnTo>
                <a:lnTo>
                  <a:pt x="523" y="527"/>
                </a:lnTo>
                <a:lnTo>
                  <a:pt x="511" y="513"/>
                </a:lnTo>
                <a:lnTo>
                  <a:pt x="506" y="506"/>
                </a:lnTo>
                <a:lnTo>
                  <a:pt x="502" y="501"/>
                </a:lnTo>
                <a:lnTo>
                  <a:pt x="497" y="490"/>
                </a:lnTo>
                <a:lnTo>
                  <a:pt x="493" y="481"/>
                </a:lnTo>
                <a:lnTo>
                  <a:pt x="491" y="471"/>
                </a:lnTo>
                <a:lnTo>
                  <a:pt x="490" y="461"/>
                </a:lnTo>
                <a:lnTo>
                  <a:pt x="491" y="456"/>
                </a:lnTo>
                <a:lnTo>
                  <a:pt x="491" y="449"/>
                </a:lnTo>
                <a:lnTo>
                  <a:pt x="493" y="443"/>
                </a:lnTo>
                <a:lnTo>
                  <a:pt x="495" y="437"/>
                </a:lnTo>
                <a:lnTo>
                  <a:pt x="497" y="431"/>
                </a:lnTo>
                <a:lnTo>
                  <a:pt x="501" y="424"/>
                </a:lnTo>
                <a:lnTo>
                  <a:pt x="504" y="418"/>
                </a:lnTo>
                <a:lnTo>
                  <a:pt x="509" y="411"/>
                </a:lnTo>
                <a:lnTo>
                  <a:pt x="518" y="400"/>
                </a:lnTo>
                <a:lnTo>
                  <a:pt x="529" y="385"/>
                </a:lnTo>
                <a:lnTo>
                  <a:pt x="559" y="352"/>
                </a:lnTo>
                <a:lnTo>
                  <a:pt x="595" y="312"/>
                </a:lnTo>
                <a:lnTo>
                  <a:pt x="631" y="270"/>
                </a:lnTo>
                <a:lnTo>
                  <a:pt x="632" y="270"/>
                </a:lnTo>
                <a:lnTo>
                  <a:pt x="635" y="270"/>
                </a:lnTo>
                <a:lnTo>
                  <a:pt x="639" y="270"/>
                </a:lnTo>
                <a:lnTo>
                  <a:pt x="643" y="272"/>
                </a:lnTo>
                <a:lnTo>
                  <a:pt x="647" y="274"/>
                </a:lnTo>
                <a:lnTo>
                  <a:pt x="651" y="276"/>
                </a:lnTo>
                <a:lnTo>
                  <a:pt x="656" y="280"/>
                </a:lnTo>
                <a:lnTo>
                  <a:pt x="660" y="283"/>
                </a:lnTo>
                <a:lnTo>
                  <a:pt x="663" y="288"/>
                </a:lnTo>
                <a:lnTo>
                  <a:pt x="666" y="292"/>
                </a:lnTo>
                <a:lnTo>
                  <a:pt x="667" y="297"/>
                </a:lnTo>
                <a:lnTo>
                  <a:pt x="668" y="302"/>
                </a:lnTo>
                <a:lnTo>
                  <a:pt x="667" y="307"/>
                </a:lnTo>
                <a:lnTo>
                  <a:pt x="665" y="313"/>
                </a:lnTo>
                <a:lnTo>
                  <a:pt x="663" y="318"/>
                </a:lnTo>
                <a:lnTo>
                  <a:pt x="659" y="324"/>
                </a:lnTo>
                <a:lnTo>
                  <a:pt x="650" y="336"/>
                </a:lnTo>
                <a:lnTo>
                  <a:pt x="639" y="349"/>
                </a:lnTo>
                <a:lnTo>
                  <a:pt x="609" y="382"/>
                </a:lnTo>
                <a:lnTo>
                  <a:pt x="579" y="416"/>
                </a:lnTo>
                <a:lnTo>
                  <a:pt x="566" y="431"/>
                </a:lnTo>
                <a:lnTo>
                  <a:pt x="557" y="442"/>
                </a:lnTo>
                <a:lnTo>
                  <a:pt x="555" y="446"/>
                </a:lnTo>
                <a:lnTo>
                  <a:pt x="553" y="450"/>
                </a:lnTo>
                <a:lnTo>
                  <a:pt x="552" y="454"/>
                </a:lnTo>
                <a:lnTo>
                  <a:pt x="551" y="458"/>
                </a:lnTo>
                <a:lnTo>
                  <a:pt x="552" y="462"/>
                </a:lnTo>
                <a:lnTo>
                  <a:pt x="553" y="467"/>
                </a:lnTo>
                <a:lnTo>
                  <a:pt x="555" y="471"/>
                </a:lnTo>
                <a:lnTo>
                  <a:pt x="558" y="476"/>
                </a:lnTo>
                <a:lnTo>
                  <a:pt x="566" y="485"/>
                </a:lnTo>
                <a:lnTo>
                  <a:pt x="577" y="497"/>
                </a:lnTo>
                <a:lnTo>
                  <a:pt x="604" y="527"/>
                </a:lnTo>
                <a:lnTo>
                  <a:pt x="637" y="559"/>
                </a:lnTo>
                <a:lnTo>
                  <a:pt x="668" y="590"/>
                </a:lnTo>
                <a:lnTo>
                  <a:pt x="670" y="592"/>
                </a:lnTo>
                <a:lnTo>
                  <a:pt x="672" y="594"/>
                </a:lnTo>
                <a:lnTo>
                  <a:pt x="672" y="596"/>
                </a:lnTo>
                <a:lnTo>
                  <a:pt x="673" y="599"/>
                </a:lnTo>
                <a:lnTo>
                  <a:pt x="672" y="604"/>
                </a:lnTo>
                <a:lnTo>
                  <a:pt x="671" y="607"/>
                </a:lnTo>
                <a:lnTo>
                  <a:pt x="670" y="610"/>
                </a:lnTo>
                <a:lnTo>
                  <a:pt x="666" y="616"/>
                </a:lnTo>
                <a:lnTo>
                  <a:pt x="664" y="618"/>
                </a:lnTo>
                <a:lnTo>
                  <a:pt x="661" y="621"/>
                </a:lnTo>
                <a:lnTo>
                  <a:pt x="656" y="626"/>
                </a:lnTo>
                <a:lnTo>
                  <a:pt x="653" y="628"/>
                </a:lnTo>
                <a:lnTo>
                  <a:pt x="650" y="629"/>
                </a:lnTo>
                <a:lnTo>
                  <a:pt x="644" y="633"/>
                </a:lnTo>
                <a:lnTo>
                  <a:pt x="641" y="633"/>
                </a:lnTo>
                <a:lnTo>
                  <a:pt x="638" y="634"/>
                </a:lnTo>
                <a:close/>
                <a:moveTo>
                  <a:pt x="251" y="1633"/>
                </a:moveTo>
                <a:lnTo>
                  <a:pt x="243" y="1632"/>
                </a:lnTo>
                <a:lnTo>
                  <a:pt x="235" y="1632"/>
                </a:lnTo>
                <a:lnTo>
                  <a:pt x="228" y="1631"/>
                </a:lnTo>
                <a:lnTo>
                  <a:pt x="220" y="1629"/>
                </a:lnTo>
                <a:lnTo>
                  <a:pt x="213" y="1627"/>
                </a:lnTo>
                <a:lnTo>
                  <a:pt x="205" y="1625"/>
                </a:lnTo>
                <a:lnTo>
                  <a:pt x="191" y="1619"/>
                </a:lnTo>
                <a:lnTo>
                  <a:pt x="178" y="1612"/>
                </a:lnTo>
                <a:lnTo>
                  <a:pt x="172" y="1608"/>
                </a:lnTo>
                <a:lnTo>
                  <a:pt x="166" y="1603"/>
                </a:lnTo>
                <a:lnTo>
                  <a:pt x="160" y="1598"/>
                </a:lnTo>
                <a:lnTo>
                  <a:pt x="155" y="1593"/>
                </a:lnTo>
                <a:lnTo>
                  <a:pt x="148" y="1587"/>
                </a:lnTo>
                <a:lnTo>
                  <a:pt x="143" y="1581"/>
                </a:lnTo>
                <a:lnTo>
                  <a:pt x="138" y="1575"/>
                </a:lnTo>
                <a:lnTo>
                  <a:pt x="133" y="1568"/>
                </a:lnTo>
                <a:lnTo>
                  <a:pt x="129" y="1562"/>
                </a:lnTo>
                <a:lnTo>
                  <a:pt x="125" y="1555"/>
                </a:lnTo>
                <a:lnTo>
                  <a:pt x="121" y="1548"/>
                </a:lnTo>
                <a:lnTo>
                  <a:pt x="117" y="1540"/>
                </a:lnTo>
                <a:lnTo>
                  <a:pt x="114" y="1533"/>
                </a:lnTo>
                <a:lnTo>
                  <a:pt x="111" y="1524"/>
                </a:lnTo>
                <a:lnTo>
                  <a:pt x="108" y="1516"/>
                </a:lnTo>
                <a:lnTo>
                  <a:pt x="106" y="1508"/>
                </a:lnTo>
                <a:lnTo>
                  <a:pt x="104" y="1500"/>
                </a:lnTo>
                <a:lnTo>
                  <a:pt x="102" y="1491"/>
                </a:lnTo>
                <a:lnTo>
                  <a:pt x="101" y="1482"/>
                </a:lnTo>
                <a:lnTo>
                  <a:pt x="100" y="1473"/>
                </a:lnTo>
                <a:lnTo>
                  <a:pt x="99" y="1463"/>
                </a:lnTo>
                <a:lnTo>
                  <a:pt x="99" y="1454"/>
                </a:lnTo>
                <a:lnTo>
                  <a:pt x="100" y="1436"/>
                </a:lnTo>
                <a:lnTo>
                  <a:pt x="101" y="1426"/>
                </a:lnTo>
                <a:lnTo>
                  <a:pt x="102" y="1417"/>
                </a:lnTo>
                <a:lnTo>
                  <a:pt x="104" y="1407"/>
                </a:lnTo>
                <a:lnTo>
                  <a:pt x="106" y="1398"/>
                </a:lnTo>
                <a:lnTo>
                  <a:pt x="109" y="1390"/>
                </a:lnTo>
                <a:lnTo>
                  <a:pt x="111" y="1381"/>
                </a:lnTo>
                <a:lnTo>
                  <a:pt x="115" y="1373"/>
                </a:lnTo>
                <a:lnTo>
                  <a:pt x="118" y="1364"/>
                </a:lnTo>
                <a:lnTo>
                  <a:pt x="122" y="1356"/>
                </a:lnTo>
                <a:lnTo>
                  <a:pt x="126" y="1348"/>
                </a:lnTo>
                <a:lnTo>
                  <a:pt x="130" y="1340"/>
                </a:lnTo>
                <a:lnTo>
                  <a:pt x="135" y="1333"/>
                </a:lnTo>
                <a:lnTo>
                  <a:pt x="145" y="1319"/>
                </a:lnTo>
                <a:lnTo>
                  <a:pt x="152" y="1312"/>
                </a:lnTo>
                <a:lnTo>
                  <a:pt x="158" y="1306"/>
                </a:lnTo>
                <a:lnTo>
                  <a:pt x="170" y="1295"/>
                </a:lnTo>
                <a:lnTo>
                  <a:pt x="176" y="1289"/>
                </a:lnTo>
                <a:lnTo>
                  <a:pt x="183" y="1284"/>
                </a:lnTo>
                <a:lnTo>
                  <a:pt x="190" y="1279"/>
                </a:lnTo>
                <a:lnTo>
                  <a:pt x="197" y="1275"/>
                </a:lnTo>
                <a:lnTo>
                  <a:pt x="204" y="1272"/>
                </a:lnTo>
                <a:lnTo>
                  <a:pt x="212" y="1269"/>
                </a:lnTo>
                <a:lnTo>
                  <a:pt x="220" y="1266"/>
                </a:lnTo>
                <a:lnTo>
                  <a:pt x="228" y="1264"/>
                </a:lnTo>
                <a:lnTo>
                  <a:pt x="236" y="1262"/>
                </a:lnTo>
                <a:lnTo>
                  <a:pt x="244" y="1260"/>
                </a:lnTo>
                <a:lnTo>
                  <a:pt x="252" y="1260"/>
                </a:lnTo>
                <a:lnTo>
                  <a:pt x="260" y="1259"/>
                </a:lnTo>
                <a:lnTo>
                  <a:pt x="271" y="1260"/>
                </a:lnTo>
                <a:lnTo>
                  <a:pt x="276" y="1260"/>
                </a:lnTo>
                <a:lnTo>
                  <a:pt x="281" y="1261"/>
                </a:lnTo>
                <a:lnTo>
                  <a:pt x="286" y="1262"/>
                </a:lnTo>
                <a:lnTo>
                  <a:pt x="290" y="1263"/>
                </a:lnTo>
                <a:lnTo>
                  <a:pt x="298" y="1267"/>
                </a:lnTo>
                <a:lnTo>
                  <a:pt x="306" y="1270"/>
                </a:lnTo>
                <a:lnTo>
                  <a:pt x="314" y="1275"/>
                </a:lnTo>
                <a:lnTo>
                  <a:pt x="320" y="1280"/>
                </a:lnTo>
                <a:lnTo>
                  <a:pt x="326" y="1286"/>
                </a:lnTo>
                <a:lnTo>
                  <a:pt x="329" y="1290"/>
                </a:lnTo>
                <a:lnTo>
                  <a:pt x="333" y="1294"/>
                </a:lnTo>
                <a:lnTo>
                  <a:pt x="338" y="1301"/>
                </a:lnTo>
                <a:lnTo>
                  <a:pt x="342" y="1309"/>
                </a:lnTo>
                <a:lnTo>
                  <a:pt x="345" y="1317"/>
                </a:lnTo>
                <a:lnTo>
                  <a:pt x="348" y="1326"/>
                </a:lnTo>
                <a:lnTo>
                  <a:pt x="349" y="1335"/>
                </a:lnTo>
                <a:lnTo>
                  <a:pt x="351" y="1345"/>
                </a:lnTo>
                <a:lnTo>
                  <a:pt x="351" y="1356"/>
                </a:lnTo>
                <a:lnTo>
                  <a:pt x="350" y="1368"/>
                </a:lnTo>
                <a:lnTo>
                  <a:pt x="349" y="1374"/>
                </a:lnTo>
                <a:lnTo>
                  <a:pt x="348" y="1380"/>
                </a:lnTo>
                <a:lnTo>
                  <a:pt x="344" y="1392"/>
                </a:lnTo>
                <a:lnTo>
                  <a:pt x="339" y="1404"/>
                </a:lnTo>
                <a:lnTo>
                  <a:pt x="333" y="1416"/>
                </a:lnTo>
                <a:lnTo>
                  <a:pt x="325" y="1427"/>
                </a:lnTo>
                <a:lnTo>
                  <a:pt x="321" y="1432"/>
                </a:lnTo>
                <a:lnTo>
                  <a:pt x="316" y="1437"/>
                </a:lnTo>
                <a:lnTo>
                  <a:pt x="307" y="1446"/>
                </a:lnTo>
                <a:lnTo>
                  <a:pt x="297" y="1454"/>
                </a:lnTo>
                <a:lnTo>
                  <a:pt x="292" y="1458"/>
                </a:lnTo>
                <a:lnTo>
                  <a:pt x="286" y="1462"/>
                </a:lnTo>
                <a:lnTo>
                  <a:pt x="275" y="1469"/>
                </a:lnTo>
                <a:lnTo>
                  <a:pt x="262" y="1475"/>
                </a:lnTo>
                <a:lnTo>
                  <a:pt x="250" y="1480"/>
                </a:lnTo>
                <a:lnTo>
                  <a:pt x="244" y="1482"/>
                </a:lnTo>
                <a:lnTo>
                  <a:pt x="238" y="1483"/>
                </a:lnTo>
                <a:lnTo>
                  <a:pt x="232" y="1484"/>
                </a:lnTo>
                <a:lnTo>
                  <a:pt x="225" y="1485"/>
                </a:lnTo>
                <a:lnTo>
                  <a:pt x="213" y="1486"/>
                </a:lnTo>
                <a:lnTo>
                  <a:pt x="207" y="1485"/>
                </a:lnTo>
                <a:lnTo>
                  <a:pt x="202" y="1483"/>
                </a:lnTo>
                <a:lnTo>
                  <a:pt x="197" y="1481"/>
                </a:lnTo>
                <a:lnTo>
                  <a:pt x="195" y="1479"/>
                </a:lnTo>
                <a:lnTo>
                  <a:pt x="193" y="1477"/>
                </a:lnTo>
                <a:lnTo>
                  <a:pt x="190" y="1472"/>
                </a:lnTo>
                <a:lnTo>
                  <a:pt x="188" y="1466"/>
                </a:lnTo>
                <a:lnTo>
                  <a:pt x="187" y="1463"/>
                </a:lnTo>
                <a:lnTo>
                  <a:pt x="186" y="1460"/>
                </a:lnTo>
                <a:lnTo>
                  <a:pt x="186" y="1454"/>
                </a:lnTo>
                <a:lnTo>
                  <a:pt x="186" y="1451"/>
                </a:lnTo>
                <a:lnTo>
                  <a:pt x="186" y="1448"/>
                </a:lnTo>
                <a:lnTo>
                  <a:pt x="187" y="1443"/>
                </a:lnTo>
                <a:lnTo>
                  <a:pt x="188" y="1441"/>
                </a:lnTo>
                <a:lnTo>
                  <a:pt x="189" y="1439"/>
                </a:lnTo>
                <a:lnTo>
                  <a:pt x="191" y="1438"/>
                </a:lnTo>
                <a:lnTo>
                  <a:pt x="193" y="1436"/>
                </a:lnTo>
                <a:lnTo>
                  <a:pt x="204" y="1434"/>
                </a:lnTo>
                <a:lnTo>
                  <a:pt x="215" y="1432"/>
                </a:lnTo>
                <a:lnTo>
                  <a:pt x="225" y="1428"/>
                </a:lnTo>
                <a:lnTo>
                  <a:pt x="235" y="1424"/>
                </a:lnTo>
                <a:lnTo>
                  <a:pt x="244" y="1420"/>
                </a:lnTo>
                <a:lnTo>
                  <a:pt x="252" y="1415"/>
                </a:lnTo>
                <a:lnTo>
                  <a:pt x="260" y="1408"/>
                </a:lnTo>
                <a:lnTo>
                  <a:pt x="264" y="1406"/>
                </a:lnTo>
                <a:lnTo>
                  <a:pt x="267" y="1403"/>
                </a:lnTo>
                <a:lnTo>
                  <a:pt x="275" y="1396"/>
                </a:lnTo>
                <a:lnTo>
                  <a:pt x="281" y="1390"/>
                </a:lnTo>
                <a:lnTo>
                  <a:pt x="286" y="1383"/>
                </a:lnTo>
                <a:lnTo>
                  <a:pt x="290" y="1376"/>
                </a:lnTo>
                <a:lnTo>
                  <a:pt x="293" y="1369"/>
                </a:lnTo>
                <a:lnTo>
                  <a:pt x="296" y="1362"/>
                </a:lnTo>
                <a:lnTo>
                  <a:pt x="297" y="1355"/>
                </a:lnTo>
                <a:lnTo>
                  <a:pt x="298" y="1347"/>
                </a:lnTo>
                <a:lnTo>
                  <a:pt x="297" y="1339"/>
                </a:lnTo>
                <a:lnTo>
                  <a:pt x="295" y="1332"/>
                </a:lnTo>
                <a:lnTo>
                  <a:pt x="293" y="1328"/>
                </a:lnTo>
                <a:lnTo>
                  <a:pt x="291" y="1325"/>
                </a:lnTo>
                <a:lnTo>
                  <a:pt x="289" y="1323"/>
                </a:lnTo>
                <a:lnTo>
                  <a:pt x="287" y="1320"/>
                </a:lnTo>
                <a:lnTo>
                  <a:pt x="281" y="1316"/>
                </a:lnTo>
                <a:lnTo>
                  <a:pt x="278" y="1314"/>
                </a:lnTo>
                <a:lnTo>
                  <a:pt x="274" y="1313"/>
                </a:lnTo>
                <a:lnTo>
                  <a:pt x="265" y="1311"/>
                </a:lnTo>
                <a:lnTo>
                  <a:pt x="261" y="1310"/>
                </a:lnTo>
                <a:lnTo>
                  <a:pt x="256" y="1310"/>
                </a:lnTo>
                <a:lnTo>
                  <a:pt x="248" y="1311"/>
                </a:lnTo>
                <a:lnTo>
                  <a:pt x="243" y="1312"/>
                </a:lnTo>
                <a:lnTo>
                  <a:pt x="239" y="1313"/>
                </a:lnTo>
                <a:lnTo>
                  <a:pt x="234" y="1315"/>
                </a:lnTo>
                <a:lnTo>
                  <a:pt x="230" y="1316"/>
                </a:lnTo>
                <a:lnTo>
                  <a:pt x="225" y="1319"/>
                </a:lnTo>
                <a:lnTo>
                  <a:pt x="221" y="1321"/>
                </a:lnTo>
                <a:lnTo>
                  <a:pt x="217" y="1324"/>
                </a:lnTo>
                <a:lnTo>
                  <a:pt x="213" y="1327"/>
                </a:lnTo>
                <a:lnTo>
                  <a:pt x="203" y="1334"/>
                </a:lnTo>
                <a:lnTo>
                  <a:pt x="195" y="1342"/>
                </a:lnTo>
                <a:lnTo>
                  <a:pt x="188" y="1352"/>
                </a:lnTo>
                <a:lnTo>
                  <a:pt x="184" y="1357"/>
                </a:lnTo>
                <a:lnTo>
                  <a:pt x="181" y="1362"/>
                </a:lnTo>
                <a:lnTo>
                  <a:pt x="175" y="1373"/>
                </a:lnTo>
                <a:lnTo>
                  <a:pt x="169" y="1384"/>
                </a:lnTo>
                <a:lnTo>
                  <a:pt x="165" y="1397"/>
                </a:lnTo>
                <a:lnTo>
                  <a:pt x="161" y="1409"/>
                </a:lnTo>
                <a:lnTo>
                  <a:pt x="158" y="1424"/>
                </a:lnTo>
                <a:lnTo>
                  <a:pt x="156" y="1438"/>
                </a:lnTo>
                <a:lnTo>
                  <a:pt x="156" y="1445"/>
                </a:lnTo>
                <a:lnTo>
                  <a:pt x="156" y="1452"/>
                </a:lnTo>
                <a:lnTo>
                  <a:pt x="156" y="1464"/>
                </a:lnTo>
                <a:lnTo>
                  <a:pt x="157" y="1478"/>
                </a:lnTo>
                <a:lnTo>
                  <a:pt x="160" y="1489"/>
                </a:lnTo>
                <a:lnTo>
                  <a:pt x="161" y="1495"/>
                </a:lnTo>
                <a:lnTo>
                  <a:pt x="162" y="1500"/>
                </a:lnTo>
                <a:lnTo>
                  <a:pt x="166" y="1511"/>
                </a:lnTo>
                <a:lnTo>
                  <a:pt x="168" y="1516"/>
                </a:lnTo>
                <a:lnTo>
                  <a:pt x="171" y="1521"/>
                </a:lnTo>
                <a:lnTo>
                  <a:pt x="173" y="1525"/>
                </a:lnTo>
                <a:lnTo>
                  <a:pt x="176" y="1530"/>
                </a:lnTo>
                <a:lnTo>
                  <a:pt x="179" y="1535"/>
                </a:lnTo>
                <a:lnTo>
                  <a:pt x="182" y="1539"/>
                </a:lnTo>
                <a:lnTo>
                  <a:pt x="185" y="1543"/>
                </a:lnTo>
                <a:lnTo>
                  <a:pt x="188" y="1546"/>
                </a:lnTo>
                <a:lnTo>
                  <a:pt x="196" y="1553"/>
                </a:lnTo>
                <a:lnTo>
                  <a:pt x="203" y="1559"/>
                </a:lnTo>
                <a:lnTo>
                  <a:pt x="213" y="1563"/>
                </a:lnTo>
                <a:lnTo>
                  <a:pt x="222" y="1567"/>
                </a:lnTo>
                <a:lnTo>
                  <a:pt x="232" y="1570"/>
                </a:lnTo>
                <a:lnTo>
                  <a:pt x="242" y="1572"/>
                </a:lnTo>
                <a:lnTo>
                  <a:pt x="247" y="1572"/>
                </a:lnTo>
                <a:lnTo>
                  <a:pt x="252" y="1572"/>
                </a:lnTo>
                <a:lnTo>
                  <a:pt x="263" y="1572"/>
                </a:lnTo>
                <a:lnTo>
                  <a:pt x="274" y="1570"/>
                </a:lnTo>
                <a:lnTo>
                  <a:pt x="284" y="1568"/>
                </a:lnTo>
                <a:lnTo>
                  <a:pt x="294" y="1564"/>
                </a:lnTo>
                <a:lnTo>
                  <a:pt x="303" y="1560"/>
                </a:lnTo>
                <a:lnTo>
                  <a:pt x="312" y="1555"/>
                </a:lnTo>
                <a:lnTo>
                  <a:pt x="320" y="1549"/>
                </a:lnTo>
                <a:lnTo>
                  <a:pt x="329" y="1543"/>
                </a:lnTo>
                <a:lnTo>
                  <a:pt x="338" y="1536"/>
                </a:lnTo>
                <a:lnTo>
                  <a:pt x="345" y="1527"/>
                </a:lnTo>
                <a:lnTo>
                  <a:pt x="353" y="1518"/>
                </a:lnTo>
                <a:lnTo>
                  <a:pt x="360" y="1509"/>
                </a:lnTo>
                <a:lnTo>
                  <a:pt x="373" y="1490"/>
                </a:lnTo>
                <a:lnTo>
                  <a:pt x="378" y="1479"/>
                </a:lnTo>
                <a:lnTo>
                  <a:pt x="384" y="1468"/>
                </a:lnTo>
                <a:lnTo>
                  <a:pt x="389" y="1457"/>
                </a:lnTo>
                <a:lnTo>
                  <a:pt x="395" y="1445"/>
                </a:lnTo>
                <a:lnTo>
                  <a:pt x="400" y="1434"/>
                </a:lnTo>
                <a:lnTo>
                  <a:pt x="404" y="1422"/>
                </a:lnTo>
                <a:lnTo>
                  <a:pt x="407" y="1409"/>
                </a:lnTo>
                <a:lnTo>
                  <a:pt x="411" y="1397"/>
                </a:lnTo>
                <a:lnTo>
                  <a:pt x="414" y="1385"/>
                </a:lnTo>
                <a:lnTo>
                  <a:pt x="416" y="1373"/>
                </a:lnTo>
                <a:lnTo>
                  <a:pt x="419" y="1361"/>
                </a:lnTo>
                <a:lnTo>
                  <a:pt x="421" y="1348"/>
                </a:lnTo>
                <a:lnTo>
                  <a:pt x="422" y="1337"/>
                </a:lnTo>
                <a:lnTo>
                  <a:pt x="423" y="1325"/>
                </a:lnTo>
                <a:lnTo>
                  <a:pt x="424" y="1314"/>
                </a:lnTo>
                <a:lnTo>
                  <a:pt x="424" y="1303"/>
                </a:lnTo>
                <a:lnTo>
                  <a:pt x="424" y="1292"/>
                </a:lnTo>
                <a:lnTo>
                  <a:pt x="423" y="1280"/>
                </a:lnTo>
                <a:lnTo>
                  <a:pt x="425" y="1278"/>
                </a:lnTo>
                <a:lnTo>
                  <a:pt x="426" y="1276"/>
                </a:lnTo>
                <a:lnTo>
                  <a:pt x="428" y="1274"/>
                </a:lnTo>
                <a:lnTo>
                  <a:pt x="431" y="1272"/>
                </a:lnTo>
                <a:lnTo>
                  <a:pt x="438" y="1269"/>
                </a:lnTo>
                <a:lnTo>
                  <a:pt x="442" y="1269"/>
                </a:lnTo>
                <a:lnTo>
                  <a:pt x="446" y="1268"/>
                </a:lnTo>
                <a:lnTo>
                  <a:pt x="454" y="1269"/>
                </a:lnTo>
                <a:lnTo>
                  <a:pt x="457" y="1269"/>
                </a:lnTo>
                <a:lnTo>
                  <a:pt x="461" y="1270"/>
                </a:lnTo>
                <a:lnTo>
                  <a:pt x="466" y="1273"/>
                </a:lnTo>
                <a:lnTo>
                  <a:pt x="469" y="1275"/>
                </a:lnTo>
                <a:lnTo>
                  <a:pt x="471" y="1277"/>
                </a:lnTo>
                <a:lnTo>
                  <a:pt x="475" y="1283"/>
                </a:lnTo>
                <a:lnTo>
                  <a:pt x="477" y="1287"/>
                </a:lnTo>
                <a:lnTo>
                  <a:pt x="478" y="1292"/>
                </a:lnTo>
                <a:lnTo>
                  <a:pt x="479" y="1296"/>
                </a:lnTo>
                <a:lnTo>
                  <a:pt x="480" y="1301"/>
                </a:lnTo>
                <a:lnTo>
                  <a:pt x="481" y="1306"/>
                </a:lnTo>
                <a:lnTo>
                  <a:pt x="481" y="1312"/>
                </a:lnTo>
                <a:lnTo>
                  <a:pt x="480" y="1328"/>
                </a:lnTo>
                <a:lnTo>
                  <a:pt x="479" y="1343"/>
                </a:lnTo>
                <a:lnTo>
                  <a:pt x="478" y="1359"/>
                </a:lnTo>
                <a:lnTo>
                  <a:pt x="476" y="1374"/>
                </a:lnTo>
                <a:lnTo>
                  <a:pt x="473" y="1389"/>
                </a:lnTo>
                <a:lnTo>
                  <a:pt x="470" y="1404"/>
                </a:lnTo>
                <a:lnTo>
                  <a:pt x="467" y="1419"/>
                </a:lnTo>
                <a:lnTo>
                  <a:pt x="463" y="1434"/>
                </a:lnTo>
                <a:lnTo>
                  <a:pt x="458" y="1447"/>
                </a:lnTo>
                <a:lnTo>
                  <a:pt x="454" y="1461"/>
                </a:lnTo>
                <a:lnTo>
                  <a:pt x="447" y="1475"/>
                </a:lnTo>
                <a:lnTo>
                  <a:pt x="442" y="1488"/>
                </a:lnTo>
                <a:lnTo>
                  <a:pt x="435" y="1500"/>
                </a:lnTo>
                <a:lnTo>
                  <a:pt x="429" y="1512"/>
                </a:lnTo>
                <a:lnTo>
                  <a:pt x="422" y="1524"/>
                </a:lnTo>
                <a:lnTo>
                  <a:pt x="415" y="1536"/>
                </a:lnTo>
                <a:lnTo>
                  <a:pt x="407" y="1547"/>
                </a:lnTo>
                <a:lnTo>
                  <a:pt x="399" y="1557"/>
                </a:lnTo>
                <a:lnTo>
                  <a:pt x="391" y="1567"/>
                </a:lnTo>
                <a:lnTo>
                  <a:pt x="381" y="1576"/>
                </a:lnTo>
                <a:lnTo>
                  <a:pt x="372" y="1584"/>
                </a:lnTo>
                <a:lnTo>
                  <a:pt x="363" y="1593"/>
                </a:lnTo>
                <a:lnTo>
                  <a:pt x="353" y="1600"/>
                </a:lnTo>
                <a:lnTo>
                  <a:pt x="343" y="1607"/>
                </a:lnTo>
                <a:lnTo>
                  <a:pt x="332" y="1613"/>
                </a:lnTo>
                <a:lnTo>
                  <a:pt x="321" y="1618"/>
                </a:lnTo>
                <a:lnTo>
                  <a:pt x="310" y="1622"/>
                </a:lnTo>
                <a:lnTo>
                  <a:pt x="299" y="1626"/>
                </a:lnTo>
                <a:lnTo>
                  <a:pt x="287" y="1629"/>
                </a:lnTo>
                <a:lnTo>
                  <a:pt x="276" y="1631"/>
                </a:lnTo>
                <a:lnTo>
                  <a:pt x="263" y="1632"/>
                </a:lnTo>
                <a:lnTo>
                  <a:pt x="251" y="1633"/>
                </a:lnTo>
                <a:close/>
                <a:moveTo>
                  <a:pt x="638" y="1627"/>
                </a:moveTo>
                <a:lnTo>
                  <a:pt x="636" y="1627"/>
                </a:lnTo>
                <a:lnTo>
                  <a:pt x="634" y="1626"/>
                </a:lnTo>
                <a:lnTo>
                  <a:pt x="628" y="1623"/>
                </a:lnTo>
                <a:lnTo>
                  <a:pt x="622" y="1619"/>
                </a:lnTo>
                <a:lnTo>
                  <a:pt x="614" y="1613"/>
                </a:lnTo>
                <a:lnTo>
                  <a:pt x="602" y="1603"/>
                </a:lnTo>
                <a:lnTo>
                  <a:pt x="587" y="1588"/>
                </a:lnTo>
                <a:lnTo>
                  <a:pt x="569" y="1572"/>
                </a:lnTo>
                <a:lnTo>
                  <a:pt x="553" y="1555"/>
                </a:lnTo>
                <a:lnTo>
                  <a:pt x="537" y="1538"/>
                </a:lnTo>
                <a:lnTo>
                  <a:pt x="523" y="1521"/>
                </a:lnTo>
                <a:lnTo>
                  <a:pt x="511" y="1506"/>
                </a:lnTo>
                <a:lnTo>
                  <a:pt x="506" y="1500"/>
                </a:lnTo>
                <a:lnTo>
                  <a:pt x="502" y="1495"/>
                </a:lnTo>
                <a:lnTo>
                  <a:pt x="497" y="1485"/>
                </a:lnTo>
                <a:lnTo>
                  <a:pt x="493" y="1475"/>
                </a:lnTo>
                <a:lnTo>
                  <a:pt x="491" y="1464"/>
                </a:lnTo>
                <a:lnTo>
                  <a:pt x="490" y="1454"/>
                </a:lnTo>
                <a:lnTo>
                  <a:pt x="491" y="1449"/>
                </a:lnTo>
                <a:lnTo>
                  <a:pt x="491" y="1443"/>
                </a:lnTo>
                <a:lnTo>
                  <a:pt x="493" y="1437"/>
                </a:lnTo>
                <a:lnTo>
                  <a:pt x="495" y="1431"/>
                </a:lnTo>
                <a:lnTo>
                  <a:pt x="497" y="1425"/>
                </a:lnTo>
                <a:lnTo>
                  <a:pt x="501" y="1419"/>
                </a:lnTo>
                <a:lnTo>
                  <a:pt x="504" y="1412"/>
                </a:lnTo>
                <a:lnTo>
                  <a:pt x="509" y="1404"/>
                </a:lnTo>
                <a:lnTo>
                  <a:pt x="518" y="1393"/>
                </a:lnTo>
                <a:lnTo>
                  <a:pt x="529" y="1380"/>
                </a:lnTo>
                <a:lnTo>
                  <a:pt x="559" y="1345"/>
                </a:lnTo>
                <a:lnTo>
                  <a:pt x="595" y="1306"/>
                </a:lnTo>
                <a:lnTo>
                  <a:pt x="631" y="1264"/>
                </a:lnTo>
                <a:lnTo>
                  <a:pt x="632" y="1264"/>
                </a:lnTo>
                <a:lnTo>
                  <a:pt x="635" y="1264"/>
                </a:lnTo>
                <a:lnTo>
                  <a:pt x="639" y="1264"/>
                </a:lnTo>
                <a:lnTo>
                  <a:pt x="643" y="1265"/>
                </a:lnTo>
                <a:lnTo>
                  <a:pt x="647" y="1267"/>
                </a:lnTo>
                <a:lnTo>
                  <a:pt x="651" y="1270"/>
                </a:lnTo>
                <a:lnTo>
                  <a:pt x="656" y="1273"/>
                </a:lnTo>
                <a:lnTo>
                  <a:pt x="660" y="1276"/>
                </a:lnTo>
                <a:lnTo>
                  <a:pt x="663" y="1281"/>
                </a:lnTo>
                <a:lnTo>
                  <a:pt x="666" y="1286"/>
                </a:lnTo>
                <a:lnTo>
                  <a:pt x="667" y="1290"/>
                </a:lnTo>
                <a:lnTo>
                  <a:pt x="668" y="1296"/>
                </a:lnTo>
                <a:lnTo>
                  <a:pt x="667" y="1301"/>
                </a:lnTo>
                <a:lnTo>
                  <a:pt x="665" y="1307"/>
                </a:lnTo>
                <a:lnTo>
                  <a:pt x="663" y="1312"/>
                </a:lnTo>
                <a:lnTo>
                  <a:pt x="659" y="1318"/>
                </a:lnTo>
                <a:lnTo>
                  <a:pt x="650" y="1329"/>
                </a:lnTo>
                <a:lnTo>
                  <a:pt x="639" y="1342"/>
                </a:lnTo>
                <a:lnTo>
                  <a:pt x="609" y="1376"/>
                </a:lnTo>
                <a:lnTo>
                  <a:pt x="579" y="1409"/>
                </a:lnTo>
                <a:lnTo>
                  <a:pt x="566" y="1425"/>
                </a:lnTo>
                <a:lnTo>
                  <a:pt x="557" y="1436"/>
                </a:lnTo>
                <a:lnTo>
                  <a:pt x="555" y="1440"/>
                </a:lnTo>
                <a:lnTo>
                  <a:pt x="553" y="1444"/>
                </a:lnTo>
                <a:lnTo>
                  <a:pt x="552" y="1447"/>
                </a:lnTo>
                <a:lnTo>
                  <a:pt x="551" y="1451"/>
                </a:lnTo>
                <a:lnTo>
                  <a:pt x="552" y="1455"/>
                </a:lnTo>
                <a:lnTo>
                  <a:pt x="553" y="1460"/>
                </a:lnTo>
                <a:lnTo>
                  <a:pt x="555" y="1464"/>
                </a:lnTo>
                <a:lnTo>
                  <a:pt x="558" y="1469"/>
                </a:lnTo>
                <a:lnTo>
                  <a:pt x="566" y="1479"/>
                </a:lnTo>
                <a:lnTo>
                  <a:pt x="577" y="1491"/>
                </a:lnTo>
                <a:lnTo>
                  <a:pt x="604" y="1520"/>
                </a:lnTo>
                <a:lnTo>
                  <a:pt x="637" y="1553"/>
                </a:lnTo>
                <a:lnTo>
                  <a:pt x="668" y="1583"/>
                </a:lnTo>
                <a:lnTo>
                  <a:pt x="670" y="1585"/>
                </a:lnTo>
                <a:lnTo>
                  <a:pt x="672" y="1587"/>
                </a:lnTo>
                <a:lnTo>
                  <a:pt x="672" y="1589"/>
                </a:lnTo>
                <a:lnTo>
                  <a:pt x="673" y="1593"/>
                </a:lnTo>
                <a:lnTo>
                  <a:pt x="672" y="1599"/>
                </a:lnTo>
                <a:lnTo>
                  <a:pt x="671" y="1601"/>
                </a:lnTo>
                <a:lnTo>
                  <a:pt x="670" y="1604"/>
                </a:lnTo>
                <a:lnTo>
                  <a:pt x="666" y="1610"/>
                </a:lnTo>
                <a:lnTo>
                  <a:pt x="664" y="1613"/>
                </a:lnTo>
                <a:lnTo>
                  <a:pt x="661" y="1615"/>
                </a:lnTo>
                <a:lnTo>
                  <a:pt x="656" y="1620"/>
                </a:lnTo>
                <a:lnTo>
                  <a:pt x="653" y="1622"/>
                </a:lnTo>
                <a:lnTo>
                  <a:pt x="650" y="1624"/>
                </a:lnTo>
                <a:lnTo>
                  <a:pt x="644" y="1626"/>
                </a:lnTo>
                <a:lnTo>
                  <a:pt x="641" y="1627"/>
                </a:lnTo>
                <a:lnTo>
                  <a:pt x="638" y="1627"/>
                </a:lnTo>
                <a:close/>
                <a:moveTo>
                  <a:pt x="251" y="2627"/>
                </a:moveTo>
                <a:lnTo>
                  <a:pt x="243" y="2627"/>
                </a:lnTo>
                <a:lnTo>
                  <a:pt x="235" y="2626"/>
                </a:lnTo>
                <a:lnTo>
                  <a:pt x="228" y="2625"/>
                </a:lnTo>
                <a:lnTo>
                  <a:pt x="220" y="2623"/>
                </a:lnTo>
                <a:lnTo>
                  <a:pt x="213" y="2621"/>
                </a:lnTo>
                <a:lnTo>
                  <a:pt x="205" y="2619"/>
                </a:lnTo>
                <a:lnTo>
                  <a:pt x="191" y="2613"/>
                </a:lnTo>
                <a:lnTo>
                  <a:pt x="178" y="2605"/>
                </a:lnTo>
                <a:lnTo>
                  <a:pt x="172" y="2601"/>
                </a:lnTo>
                <a:lnTo>
                  <a:pt x="166" y="2596"/>
                </a:lnTo>
                <a:lnTo>
                  <a:pt x="160" y="2591"/>
                </a:lnTo>
                <a:lnTo>
                  <a:pt x="155" y="2586"/>
                </a:lnTo>
                <a:lnTo>
                  <a:pt x="148" y="2581"/>
                </a:lnTo>
                <a:lnTo>
                  <a:pt x="143" y="2575"/>
                </a:lnTo>
                <a:lnTo>
                  <a:pt x="138" y="2569"/>
                </a:lnTo>
                <a:lnTo>
                  <a:pt x="133" y="2563"/>
                </a:lnTo>
                <a:lnTo>
                  <a:pt x="129" y="2556"/>
                </a:lnTo>
                <a:lnTo>
                  <a:pt x="125" y="2548"/>
                </a:lnTo>
                <a:lnTo>
                  <a:pt x="121" y="2541"/>
                </a:lnTo>
                <a:lnTo>
                  <a:pt x="117" y="2534"/>
                </a:lnTo>
                <a:lnTo>
                  <a:pt x="114" y="2526"/>
                </a:lnTo>
                <a:lnTo>
                  <a:pt x="111" y="2518"/>
                </a:lnTo>
                <a:lnTo>
                  <a:pt x="108" y="2510"/>
                </a:lnTo>
                <a:lnTo>
                  <a:pt x="106" y="2502"/>
                </a:lnTo>
                <a:lnTo>
                  <a:pt x="104" y="2494"/>
                </a:lnTo>
                <a:lnTo>
                  <a:pt x="102" y="2484"/>
                </a:lnTo>
                <a:lnTo>
                  <a:pt x="101" y="2475"/>
                </a:lnTo>
                <a:lnTo>
                  <a:pt x="100" y="2467"/>
                </a:lnTo>
                <a:lnTo>
                  <a:pt x="99" y="2458"/>
                </a:lnTo>
                <a:lnTo>
                  <a:pt x="99" y="2448"/>
                </a:lnTo>
                <a:lnTo>
                  <a:pt x="100" y="2429"/>
                </a:lnTo>
                <a:lnTo>
                  <a:pt x="101" y="2420"/>
                </a:lnTo>
                <a:lnTo>
                  <a:pt x="102" y="2410"/>
                </a:lnTo>
                <a:lnTo>
                  <a:pt x="104" y="2401"/>
                </a:lnTo>
                <a:lnTo>
                  <a:pt x="106" y="2393"/>
                </a:lnTo>
                <a:lnTo>
                  <a:pt x="109" y="2384"/>
                </a:lnTo>
                <a:lnTo>
                  <a:pt x="111" y="2375"/>
                </a:lnTo>
                <a:lnTo>
                  <a:pt x="115" y="2366"/>
                </a:lnTo>
                <a:lnTo>
                  <a:pt x="118" y="2358"/>
                </a:lnTo>
                <a:lnTo>
                  <a:pt x="122" y="2350"/>
                </a:lnTo>
                <a:lnTo>
                  <a:pt x="126" y="2342"/>
                </a:lnTo>
                <a:lnTo>
                  <a:pt x="130" y="2334"/>
                </a:lnTo>
                <a:lnTo>
                  <a:pt x="135" y="2327"/>
                </a:lnTo>
                <a:lnTo>
                  <a:pt x="145" y="2313"/>
                </a:lnTo>
                <a:lnTo>
                  <a:pt x="152" y="2305"/>
                </a:lnTo>
                <a:lnTo>
                  <a:pt x="158" y="2299"/>
                </a:lnTo>
                <a:lnTo>
                  <a:pt x="170" y="2288"/>
                </a:lnTo>
                <a:lnTo>
                  <a:pt x="176" y="2283"/>
                </a:lnTo>
                <a:lnTo>
                  <a:pt x="183" y="2278"/>
                </a:lnTo>
                <a:lnTo>
                  <a:pt x="190" y="2274"/>
                </a:lnTo>
                <a:lnTo>
                  <a:pt x="197" y="2269"/>
                </a:lnTo>
                <a:lnTo>
                  <a:pt x="204" y="2266"/>
                </a:lnTo>
                <a:lnTo>
                  <a:pt x="212" y="2263"/>
                </a:lnTo>
                <a:lnTo>
                  <a:pt x="220" y="2260"/>
                </a:lnTo>
                <a:lnTo>
                  <a:pt x="228" y="2258"/>
                </a:lnTo>
                <a:lnTo>
                  <a:pt x="236" y="2256"/>
                </a:lnTo>
                <a:lnTo>
                  <a:pt x="244" y="2255"/>
                </a:lnTo>
                <a:lnTo>
                  <a:pt x="252" y="2254"/>
                </a:lnTo>
                <a:lnTo>
                  <a:pt x="260" y="2254"/>
                </a:lnTo>
                <a:lnTo>
                  <a:pt x="271" y="2254"/>
                </a:lnTo>
                <a:lnTo>
                  <a:pt x="276" y="2255"/>
                </a:lnTo>
                <a:lnTo>
                  <a:pt x="281" y="2255"/>
                </a:lnTo>
                <a:lnTo>
                  <a:pt x="286" y="2256"/>
                </a:lnTo>
                <a:lnTo>
                  <a:pt x="290" y="2258"/>
                </a:lnTo>
                <a:lnTo>
                  <a:pt x="298" y="2261"/>
                </a:lnTo>
                <a:lnTo>
                  <a:pt x="306" y="2265"/>
                </a:lnTo>
                <a:lnTo>
                  <a:pt x="314" y="2269"/>
                </a:lnTo>
                <a:lnTo>
                  <a:pt x="320" y="2275"/>
                </a:lnTo>
                <a:lnTo>
                  <a:pt x="326" y="2281"/>
                </a:lnTo>
                <a:lnTo>
                  <a:pt x="329" y="2284"/>
                </a:lnTo>
                <a:lnTo>
                  <a:pt x="333" y="2287"/>
                </a:lnTo>
                <a:lnTo>
                  <a:pt x="338" y="2295"/>
                </a:lnTo>
                <a:lnTo>
                  <a:pt x="342" y="2302"/>
                </a:lnTo>
                <a:lnTo>
                  <a:pt x="345" y="2312"/>
                </a:lnTo>
                <a:lnTo>
                  <a:pt x="348" y="2320"/>
                </a:lnTo>
                <a:lnTo>
                  <a:pt x="349" y="2329"/>
                </a:lnTo>
                <a:lnTo>
                  <a:pt x="351" y="2339"/>
                </a:lnTo>
                <a:lnTo>
                  <a:pt x="351" y="2349"/>
                </a:lnTo>
                <a:lnTo>
                  <a:pt x="350" y="2361"/>
                </a:lnTo>
                <a:lnTo>
                  <a:pt x="349" y="2368"/>
                </a:lnTo>
                <a:lnTo>
                  <a:pt x="348" y="2375"/>
                </a:lnTo>
                <a:lnTo>
                  <a:pt x="344" y="2387"/>
                </a:lnTo>
                <a:lnTo>
                  <a:pt x="339" y="2398"/>
                </a:lnTo>
                <a:lnTo>
                  <a:pt x="333" y="2409"/>
                </a:lnTo>
                <a:lnTo>
                  <a:pt x="325" y="2420"/>
                </a:lnTo>
                <a:lnTo>
                  <a:pt x="321" y="2425"/>
                </a:lnTo>
                <a:lnTo>
                  <a:pt x="316" y="2430"/>
                </a:lnTo>
                <a:lnTo>
                  <a:pt x="307" y="2440"/>
                </a:lnTo>
                <a:lnTo>
                  <a:pt x="297" y="2449"/>
                </a:lnTo>
                <a:lnTo>
                  <a:pt x="292" y="2452"/>
                </a:lnTo>
                <a:lnTo>
                  <a:pt x="286" y="2456"/>
                </a:lnTo>
                <a:lnTo>
                  <a:pt x="275" y="2463"/>
                </a:lnTo>
                <a:lnTo>
                  <a:pt x="262" y="2468"/>
                </a:lnTo>
                <a:lnTo>
                  <a:pt x="250" y="2473"/>
                </a:lnTo>
                <a:lnTo>
                  <a:pt x="244" y="2475"/>
                </a:lnTo>
                <a:lnTo>
                  <a:pt x="238" y="2476"/>
                </a:lnTo>
                <a:lnTo>
                  <a:pt x="232" y="2478"/>
                </a:lnTo>
                <a:lnTo>
                  <a:pt x="225" y="2478"/>
                </a:lnTo>
                <a:lnTo>
                  <a:pt x="213" y="2479"/>
                </a:lnTo>
                <a:lnTo>
                  <a:pt x="207" y="2478"/>
                </a:lnTo>
                <a:lnTo>
                  <a:pt x="202" y="2477"/>
                </a:lnTo>
                <a:lnTo>
                  <a:pt x="197" y="2474"/>
                </a:lnTo>
                <a:lnTo>
                  <a:pt x="195" y="2472"/>
                </a:lnTo>
                <a:lnTo>
                  <a:pt x="193" y="2470"/>
                </a:lnTo>
                <a:lnTo>
                  <a:pt x="190" y="2465"/>
                </a:lnTo>
                <a:lnTo>
                  <a:pt x="188" y="2460"/>
                </a:lnTo>
                <a:lnTo>
                  <a:pt x="187" y="2457"/>
                </a:lnTo>
                <a:lnTo>
                  <a:pt x="186" y="2454"/>
                </a:lnTo>
                <a:lnTo>
                  <a:pt x="186" y="2448"/>
                </a:lnTo>
                <a:lnTo>
                  <a:pt x="186" y="2445"/>
                </a:lnTo>
                <a:lnTo>
                  <a:pt x="186" y="2442"/>
                </a:lnTo>
                <a:lnTo>
                  <a:pt x="187" y="2437"/>
                </a:lnTo>
                <a:lnTo>
                  <a:pt x="188" y="2435"/>
                </a:lnTo>
                <a:lnTo>
                  <a:pt x="189" y="2433"/>
                </a:lnTo>
                <a:lnTo>
                  <a:pt x="191" y="2432"/>
                </a:lnTo>
                <a:lnTo>
                  <a:pt x="193" y="2430"/>
                </a:lnTo>
                <a:lnTo>
                  <a:pt x="204" y="2428"/>
                </a:lnTo>
                <a:lnTo>
                  <a:pt x="215" y="2425"/>
                </a:lnTo>
                <a:lnTo>
                  <a:pt x="225" y="2422"/>
                </a:lnTo>
                <a:lnTo>
                  <a:pt x="235" y="2418"/>
                </a:lnTo>
                <a:lnTo>
                  <a:pt x="244" y="2413"/>
                </a:lnTo>
                <a:lnTo>
                  <a:pt x="252" y="2408"/>
                </a:lnTo>
                <a:lnTo>
                  <a:pt x="260" y="2403"/>
                </a:lnTo>
                <a:lnTo>
                  <a:pt x="264" y="2400"/>
                </a:lnTo>
                <a:lnTo>
                  <a:pt x="267" y="2397"/>
                </a:lnTo>
                <a:lnTo>
                  <a:pt x="275" y="2390"/>
                </a:lnTo>
                <a:lnTo>
                  <a:pt x="281" y="2384"/>
                </a:lnTo>
                <a:lnTo>
                  <a:pt x="286" y="2377"/>
                </a:lnTo>
                <a:lnTo>
                  <a:pt x="290" y="2369"/>
                </a:lnTo>
                <a:lnTo>
                  <a:pt x="293" y="2362"/>
                </a:lnTo>
                <a:lnTo>
                  <a:pt x="296" y="2355"/>
                </a:lnTo>
                <a:lnTo>
                  <a:pt x="297" y="2348"/>
                </a:lnTo>
                <a:lnTo>
                  <a:pt x="298" y="2341"/>
                </a:lnTo>
                <a:lnTo>
                  <a:pt x="297" y="2333"/>
                </a:lnTo>
                <a:lnTo>
                  <a:pt x="295" y="2326"/>
                </a:lnTo>
                <a:lnTo>
                  <a:pt x="293" y="2323"/>
                </a:lnTo>
                <a:lnTo>
                  <a:pt x="291" y="2319"/>
                </a:lnTo>
                <a:lnTo>
                  <a:pt x="289" y="2317"/>
                </a:lnTo>
                <a:lnTo>
                  <a:pt x="287" y="2314"/>
                </a:lnTo>
                <a:lnTo>
                  <a:pt x="281" y="2309"/>
                </a:lnTo>
                <a:lnTo>
                  <a:pt x="278" y="2307"/>
                </a:lnTo>
                <a:lnTo>
                  <a:pt x="274" y="2306"/>
                </a:lnTo>
                <a:lnTo>
                  <a:pt x="265" y="2304"/>
                </a:lnTo>
                <a:lnTo>
                  <a:pt x="261" y="2303"/>
                </a:lnTo>
                <a:lnTo>
                  <a:pt x="256" y="2303"/>
                </a:lnTo>
                <a:lnTo>
                  <a:pt x="248" y="2304"/>
                </a:lnTo>
                <a:lnTo>
                  <a:pt x="243" y="2305"/>
                </a:lnTo>
                <a:lnTo>
                  <a:pt x="239" y="2306"/>
                </a:lnTo>
                <a:lnTo>
                  <a:pt x="234" y="2308"/>
                </a:lnTo>
                <a:lnTo>
                  <a:pt x="230" y="2310"/>
                </a:lnTo>
                <a:lnTo>
                  <a:pt x="225" y="2313"/>
                </a:lnTo>
                <a:lnTo>
                  <a:pt x="221" y="2315"/>
                </a:lnTo>
                <a:lnTo>
                  <a:pt x="217" y="2318"/>
                </a:lnTo>
                <a:lnTo>
                  <a:pt x="213" y="2321"/>
                </a:lnTo>
                <a:lnTo>
                  <a:pt x="203" y="2328"/>
                </a:lnTo>
                <a:lnTo>
                  <a:pt x="195" y="2336"/>
                </a:lnTo>
                <a:lnTo>
                  <a:pt x="188" y="2345"/>
                </a:lnTo>
                <a:lnTo>
                  <a:pt x="184" y="2350"/>
                </a:lnTo>
                <a:lnTo>
                  <a:pt x="181" y="2355"/>
                </a:lnTo>
                <a:lnTo>
                  <a:pt x="175" y="2366"/>
                </a:lnTo>
                <a:lnTo>
                  <a:pt x="169" y="2379"/>
                </a:lnTo>
                <a:lnTo>
                  <a:pt x="165" y="2391"/>
                </a:lnTo>
                <a:lnTo>
                  <a:pt x="161" y="2404"/>
                </a:lnTo>
                <a:lnTo>
                  <a:pt x="158" y="2417"/>
                </a:lnTo>
                <a:lnTo>
                  <a:pt x="156" y="2432"/>
                </a:lnTo>
                <a:lnTo>
                  <a:pt x="156" y="2439"/>
                </a:lnTo>
                <a:lnTo>
                  <a:pt x="156" y="2446"/>
                </a:lnTo>
                <a:lnTo>
                  <a:pt x="156" y="2459"/>
                </a:lnTo>
                <a:lnTo>
                  <a:pt x="157" y="2471"/>
                </a:lnTo>
                <a:lnTo>
                  <a:pt x="160" y="2482"/>
                </a:lnTo>
                <a:lnTo>
                  <a:pt x="161" y="2488"/>
                </a:lnTo>
                <a:lnTo>
                  <a:pt x="162" y="2494"/>
                </a:lnTo>
                <a:lnTo>
                  <a:pt x="166" y="2505"/>
                </a:lnTo>
                <a:lnTo>
                  <a:pt x="168" y="2510"/>
                </a:lnTo>
                <a:lnTo>
                  <a:pt x="171" y="2515"/>
                </a:lnTo>
                <a:lnTo>
                  <a:pt x="173" y="2519"/>
                </a:lnTo>
                <a:lnTo>
                  <a:pt x="176" y="2524"/>
                </a:lnTo>
                <a:lnTo>
                  <a:pt x="179" y="2528"/>
                </a:lnTo>
                <a:lnTo>
                  <a:pt x="182" y="2532"/>
                </a:lnTo>
                <a:lnTo>
                  <a:pt x="185" y="2536"/>
                </a:lnTo>
                <a:lnTo>
                  <a:pt x="188" y="2540"/>
                </a:lnTo>
                <a:lnTo>
                  <a:pt x="196" y="2546"/>
                </a:lnTo>
                <a:lnTo>
                  <a:pt x="203" y="2553"/>
                </a:lnTo>
                <a:lnTo>
                  <a:pt x="213" y="2558"/>
                </a:lnTo>
                <a:lnTo>
                  <a:pt x="222" y="2561"/>
                </a:lnTo>
                <a:lnTo>
                  <a:pt x="232" y="2564"/>
                </a:lnTo>
                <a:lnTo>
                  <a:pt x="242" y="2566"/>
                </a:lnTo>
                <a:lnTo>
                  <a:pt x="247" y="2566"/>
                </a:lnTo>
                <a:lnTo>
                  <a:pt x="252" y="2567"/>
                </a:lnTo>
                <a:lnTo>
                  <a:pt x="263" y="2566"/>
                </a:lnTo>
                <a:lnTo>
                  <a:pt x="274" y="2564"/>
                </a:lnTo>
                <a:lnTo>
                  <a:pt x="284" y="2562"/>
                </a:lnTo>
                <a:lnTo>
                  <a:pt x="294" y="2559"/>
                </a:lnTo>
                <a:lnTo>
                  <a:pt x="303" y="2554"/>
                </a:lnTo>
                <a:lnTo>
                  <a:pt x="312" y="2548"/>
                </a:lnTo>
                <a:lnTo>
                  <a:pt x="320" y="2543"/>
                </a:lnTo>
                <a:lnTo>
                  <a:pt x="329" y="2536"/>
                </a:lnTo>
                <a:lnTo>
                  <a:pt x="338" y="2529"/>
                </a:lnTo>
                <a:lnTo>
                  <a:pt x="345" y="2521"/>
                </a:lnTo>
                <a:lnTo>
                  <a:pt x="353" y="2512"/>
                </a:lnTo>
                <a:lnTo>
                  <a:pt x="360" y="2503"/>
                </a:lnTo>
                <a:lnTo>
                  <a:pt x="373" y="2483"/>
                </a:lnTo>
                <a:lnTo>
                  <a:pt x="378" y="2473"/>
                </a:lnTo>
                <a:lnTo>
                  <a:pt x="384" y="2462"/>
                </a:lnTo>
                <a:lnTo>
                  <a:pt x="389" y="2451"/>
                </a:lnTo>
                <a:lnTo>
                  <a:pt x="395" y="2440"/>
                </a:lnTo>
                <a:lnTo>
                  <a:pt x="400" y="2427"/>
                </a:lnTo>
                <a:lnTo>
                  <a:pt x="404" y="2415"/>
                </a:lnTo>
                <a:lnTo>
                  <a:pt x="407" y="2403"/>
                </a:lnTo>
                <a:lnTo>
                  <a:pt x="411" y="2391"/>
                </a:lnTo>
                <a:lnTo>
                  <a:pt x="414" y="2379"/>
                </a:lnTo>
                <a:lnTo>
                  <a:pt x="416" y="2366"/>
                </a:lnTo>
                <a:lnTo>
                  <a:pt x="419" y="2354"/>
                </a:lnTo>
                <a:lnTo>
                  <a:pt x="421" y="2343"/>
                </a:lnTo>
                <a:lnTo>
                  <a:pt x="422" y="2331"/>
                </a:lnTo>
                <a:lnTo>
                  <a:pt x="423" y="2319"/>
                </a:lnTo>
                <a:lnTo>
                  <a:pt x="424" y="2307"/>
                </a:lnTo>
                <a:lnTo>
                  <a:pt x="424" y="2296"/>
                </a:lnTo>
                <a:lnTo>
                  <a:pt x="424" y="2285"/>
                </a:lnTo>
                <a:lnTo>
                  <a:pt x="423" y="2275"/>
                </a:lnTo>
                <a:lnTo>
                  <a:pt x="425" y="2272"/>
                </a:lnTo>
                <a:lnTo>
                  <a:pt x="426" y="2270"/>
                </a:lnTo>
                <a:lnTo>
                  <a:pt x="428" y="2268"/>
                </a:lnTo>
                <a:lnTo>
                  <a:pt x="431" y="2266"/>
                </a:lnTo>
                <a:lnTo>
                  <a:pt x="438" y="2263"/>
                </a:lnTo>
                <a:lnTo>
                  <a:pt x="442" y="2263"/>
                </a:lnTo>
                <a:lnTo>
                  <a:pt x="446" y="2262"/>
                </a:lnTo>
                <a:lnTo>
                  <a:pt x="454" y="2263"/>
                </a:lnTo>
                <a:lnTo>
                  <a:pt x="457" y="2264"/>
                </a:lnTo>
                <a:lnTo>
                  <a:pt x="461" y="2265"/>
                </a:lnTo>
                <a:lnTo>
                  <a:pt x="466" y="2267"/>
                </a:lnTo>
                <a:lnTo>
                  <a:pt x="469" y="2269"/>
                </a:lnTo>
                <a:lnTo>
                  <a:pt x="471" y="2272"/>
                </a:lnTo>
                <a:lnTo>
                  <a:pt x="475" y="2277"/>
                </a:lnTo>
                <a:lnTo>
                  <a:pt x="477" y="2281"/>
                </a:lnTo>
                <a:lnTo>
                  <a:pt x="478" y="2285"/>
                </a:lnTo>
                <a:lnTo>
                  <a:pt x="479" y="2289"/>
                </a:lnTo>
                <a:lnTo>
                  <a:pt x="480" y="2294"/>
                </a:lnTo>
                <a:lnTo>
                  <a:pt x="481" y="2299"/>
                </a:lnTo>
                <a:lnTo>
                  <a:pt x="481" y="2305"/>
                </a:lnTo>
                <a:lnTo>
                  <a:pt x="480" y="2322"/>
                </a:lnTo>
                <a:lnTo>
                  <a:pt x="479" y="2337"/>
                </a:lnTo>
                <a:lnTo>
                  <a:pt x="478" y="2352"/>
                </a:lnTo>
                <a:lnTo>
                  <a:pt x="476" y="2368"/>
                </a:lnTo>
                <a:lnTo>
                  <a:pt x="473" y="2383"/>
                </a:lnTo>
                <a:lnTo>
                  <a:pt x="470" y="2398"/>
                </a:lnTo>
                <a:lnTo>
                  <a:pt x="467" y="2413"/>
                </a:lnTo>
                <a:lnTo>
                  <a:pt x="463" y="2427"/>
                </a:lnTo>
                <a:lnTo>
                  <a:pt x="458" y="2442"/>
                </a:lnTo>
                <a:lnTo>
                  <a:pt x="454" y="2455"/>
                </a:lnTo>
                <a:lnTo>
                  <a:pt x="447" y="2468"/>
                </a:lnTo>
                <a:lnTo>
                  <a:pt x="442" y="2481"/>
                </a:lnTo>
                <a:lnTo>
                  <a:pt x="435" y="2495"/>
                </a:lnTo>
                <a:lnTo>
                  <a:pt x="429" y="2507"/>
                </a:lnTo>
                <a:lnTo>
                  <a:pt x="422" y="2518"/>
                </a:lnTo>
                <a:lnTo>
                  <a:pt x="415" y="2529"/>
                </a:lnTo>
                <a:lnTo>
                  <a:pt x="407" y="2540"/>
                </a:lnTo>
                <a:lnTo>
                  <a:pt x="399" y="2550"/>
                </a:lnTo>
                <a:lnTo>
                  <a:pt x="391" y="2561"/>
                </a:lnTo>
                <a:lnTo>
                  <a:pt x="381" y="2570"/>
                </a:lnTo>
                <a:lnTo>
                  <a:pt x="372" y="2578"/>
                </a:lnTo>
                <a:lnTo>
                  <a:pt x="363" y="2586"/>
                </a:lnTo>
                <a:lnTo>
                  <a:pt x="353" y="2593"/>
                </a:lnTo>
                <a:lnTo>
                  <a:pt x="343" y="2600"/>
                </a:lnTo>
                <a:lnTo>
                  <a:pt x="332" y="2606"/>
                </a:lnTo>
                <a:lnTo>
                  <a:pt x="321" y="2612"/>
                </a:lnTo>
                <a:lnTo>
                  <a:pt x="310" y="2616"/>
                </a:lnTo>
                <a:lnTo>
                  <a:pt x="299" y="2620"/>
                </a:lnTo>
                <a:lnTo>
                  <a:pt x="287" y="2623"/>
                </a:lnTo>
                <a:lnTo>
                  <a:pt x="276" y="2625"/>
                </a:lnTo>
                <a:lnTo>
                  <a:pt x="263" y="2626"/>
                </a:lnTo>
                <a:lnTo>
                  <a:pt x="251" y="2627"/>
                </a:lnTo>
                <a:close/>
                <a:moveTo>
                  <a:pt x="638" y="2621"/>
                </a:moveTo>
                <a:lnTo>
                  <a:pt x="636" y="2621"/>
                </a:lnTo>
                <a:lnTo>
                  <a:pt x="634" y="2620"/>
                </a:lnTo>
                <a:lnTo>
                  <a:pt x="628" y="2617"/>
                </a:lnTo>
                <a:lnTo>
                  <a:pt x="622" y="2613"/>
                </a:lnTo>
                <a:lnTo>
                  <a:pt x="614" y="2607"/>
                </a:lnTo>
                <a:lnTo>
                  <a:pt x="602" y="2596"/>
                </a:lnTo>
                <a:lnTo>
                  <a:pt x="587" y="2582"/>
                </a:lnTo>
                <a:lnTo>
                  <a:pt x="569" y="2566"/>
                </a:lnTo>
                <a:lnTo>
                  <a:pt x="553" y="2548"/>
                </a:lnTo>
                <a:lnTo>
                  <a:pt x="537" y="2531"/>
                </a:lnTo>
                <a:lnTo>
                  <a:pt x="523" y="2515"/>
                </a:lnTo>
                <a:lnTo>
                  <a:pt x="511" y="2501"/>
                </a:lnTo>
                <a:lnTo>
                  <a:pt x="506" y="2494"/>
                </a:lnTo>
                <a:lnTo>
                  <a:pt x="502" y="2488"/>
                </a:lnTo>
                <a:lnTo>
                  <a:pt x="497" y="2478"/>
                </a:lnTo>
                <a:lnTo>
                  <a:pt x="493" y="2468"/>
                </a:lnTo>
                <a:lnTo>
                  <a:pt x="491" y="2458"/>
                </a:lnTo>
                <a:lnTo>
                  <a:pt x="490" y="2448"/>
                </a:lnTo>
                <a:lnTo>
                  <a:pt x="491" y="2443"/>
                </a:lnTo>
                <a:lnTo>
                  <a:pt x="491" y="2437"/>
                </a:lnTo>
                <a:lnTo>
                  <a:pt x="493" y="2430"/>
                </a:lnTo>
                <a:lnTo>
                  <a:pt x="495" y="2424"/>
                </a:lnTo>
                <a:lnTo>
                  <a:pt x="497" y="2418"/>
                </a:lnTo>
                <a:lnTo>
                  <a:pt x="501" y="2412"/>
                </a:lnTo>
                <a:lnTo>
                  <a:pt x="504" y="2405"/>
                </a:lnTo>
                <a:lnTo>
                  <a:pt x="509" y="2398"/>
                </a:lnTo>
                <a:lnTo>
                  <a:pt x="518" y="2387"/>
                </a:lnTo>
                <a:lnTo>
                  <a:pt x="529" y="2374"/>
                </a:lnTo>
                <a:lnTo>
                  <a:pt x="559" y="2339"/>
                </a:lnTo>
                <a:lnTo>
                  <a:pt x="595" y="2299"/>
                </a:lnTo>
                <a:lnTo>
                  <a:pt x="631" y="2259"/>
                </a:lnTo>
                <a:lnTo>
                  <a:pt x="632" y="2258"/>
                </a:lnTo>
                <a:lnTo>
                  <a:pt x="635" y="2258"/>
                </a:lnTo>
                <a:lnTo>
                  <a:pt x="639" y="2258"/>
                </a:lnTo>
                <a:lnTo>
                  <a:pt x="643" y="2260"/>
                </a:lnTo>
                <a:lnTo>
                  <a:pt x="647" y="2261"/>
                </a:lnTo>
                <a:lnTo>
                  <a:pt x="651" y="2264"/>
                </a:lnTo>
                <a:lnTo>
                  <a:pt x="656" y="2267"/>
                </a:lnTo>
                <a:lnTo>
                  <a:pt x="660" y="2271"/>
                </a:lnTo>
                <a:lnTo>
                  <a:pt x="663" y="2275"/>
                </a:lnTo>
                <a:lnTo>
                  <a:pt x="666" y="2280"/>
                </a:lnTo>
                <a:lnTo>
                  <a:pt x="667" y="2284"/>
                </a:lnTo>
                <a:lnTo>
                  <a:pt x="668" y="2289"/>
                </a:lnTo>
                <a:lnTo>
                  <a:pt x="667" y="2295"/>
                </a:lnTo>
                <a:lnTo>
                  <a:pt x="665" y="2300"/>
                </a:lnTo>
                <a:lnTo>
                  <a:pt x="663" y="2306"/>
                </a:lnTo>
                <a:lnTo>
                  <a:pt x="659" y="2313"/>
                </a:lnTo>
                <a:lnTo>
                  <a:pt x="650" y="2323"/>
                </a:lnTo>
                <a:lnTo>
                  <a:pt x="639" y="2336"/>
                </a:lnTo>
                <a:lnTo>
                  <a:pt x="609" y="2369"/>
                </a:lnTo>
                <a:lnTo>
                  <a:pt x="579" y="2404"/>
                </a:lnTo>
                <a:lnTo>
                  <a:pt x="566" y="2418"/>
                </a:lnTo>
                <a:lnTo>
                  <a:pt x="557" y="2430"/>
                </a:lnTo>
                <a:lnTo>
                  <a:pt x="555" y="2434"/>
                </a:lnTo>
                <a:lnTo>
                  <a:pt x="553" y="2438"/>
                </a:lnTo>
                <a:lnTo>
                  <a:pt x="552" y="2442"/>
                </a:lnTo>
                <a:lnTo>
                  <a:pt x="551" y="2445"/>
                </a:lnTo>
                <a:lnTo>
                  <a:pt x="552" y="2450"/>
                </a:lnTo>
                <a:lnTo>
                  <a:pt x="553" y="2454"/>
                </a:lnTo>
                <a:lnTo>
                  <a:pt x="555" y="2458"/>
                </a:lnTo>
                <a:lnTo>
                  <a:pt x="558" y="2463"/>
                </a:lnTo>
                <a:lnTo>
                  <a:pt x="566" y="2472"/>
                </a:lnTo>
                <a:lnTo>
                  <a:pt x="577" y="2484"/>
                </a:lnTo>
                <a:lnTo>
                  <a:pt x="604" y="2514"/>
                </a:lnTo>
                <a:lnTo>
                  <a:pt x="637" y="2546"/>
                </a:lnTo>
                <a:lnTo>
                  <a:pt x="668" y="2577"/>
                </a:lnTo>
                <a:lnTo>
                  <a:pt x="670" y="2579"/>
                </a:lnTo>
                <a:lnTo>
                  <a:pt x="672" y="2581"/>
                </a:lnTo>
                <a:lnTo>
                  <a:pt x="672" y="2584"/>
                </a:lnTo>
                <a:lnTo>
                  <a:pt x="673" y="2586"/>
                </a:lnTo>
                <a:lnTo>
                  <a:pt x="672" y="2592"/>
                </a:lnTo>
                <a:lnTo>
                  <a:pt x="671" y="2595"/>
                </a:lnTo>
                <a:lnTo>
                  <a:pt x="670" y="2597"/>
                </a:lnTo>
                <a:lnTo>
                  <a:pt x="666" y="2603"/>
                </a:lnTo>
                <a:lnTo>
                  <a:pt x="664" y="2606"/>
                </a:lnTo>
                <a:lnTo>
                  <a:pt x="661" y="2608"/>
                </a:lnTo>
                <a:lnTo>
                  <a:pt x="656" y="2614"/>
                </a:lnTo>
                <a:lnTo>
                  <a:pt x="653" y="2616"/>
                </a:lnTo>
                <a:lnTo>
                  <a:pt x="650" y="2618"/>
                </a:lnTo>
                <a:lnTo>
                  <a:pt x="644" y="2620"/>
                </a:lnTo>
                <a:lnTo>
                  <a:pt x="641" y="2621"/>
                </a:lnTo>
                <a:lnTo>
                  <a:pt x="638" y="2621"/>
                </a:lnTo>
                <a:close/>
                <a:moveTo>
                  <a:pt x="4080" y="639"/>
                </a:moveTo>
                <a:lnTo>
                  <a:pt x="4073" y="639"/>
                </a:lnTo>
                <a:lnTo>
                  <a:pt x="4065" y="639"/>
                </a:lnTo>
                <a:lnTo>
                  <a:pt x="4058" y="637"/>
                </a:lnTo>
                <a:lnTo>
                  <a:pt x="4049" y="636"/>
                </a:lnTo>
                <a:lnTo>
                  <a:pt x="4042" y="634"/>
                </a:lnTo>
                <a:lnTo>
                  <a:pt x="4035" y="632"/>
                </a:lnTo>
                <a:lnTo>
                  <a:pt x="4021" y="625"/>
                </a:lnTo>
                <a:lnTo>
                  <a:pt x="4008" y="618"/>
                </a:lnTo>
                <a:lnTo>
                  <a:pt x="4002" y="613"/>
                </a:lnTo>
                <a:lnTo>
                  <a:pt x="3996" y="609"/>
                </a:lnTo>
                <a:lnTo>
                  <a:pt x="3989" y="604"/>
                </a:lnTo>
                <a:lnTo>
                  <a:pt x="3983" y="599"/>
                </a:lnTo>
                <a:lnTo>
                  <a:pt x="3978" y="593"/>
                </a:lnTo>
                <a:lnTo>
                  <a:pt x="3973" y="588"/>
                </a:lnTo>
                <a:lnTo>
                  <a:pt x="3968" y="582"/>
                </a:lnTo>
                <a:lnTo>
                  <a:pt x="3963" y="575"/>
                </a:lnTo>
                <a:lnTo>
                  <a:pt x="3959" y="568"/>
                </a:lnTo>
                <a:lnTo>
                  <a:pt x="3955" y="561"/>
                </a:lnTo>
                <a:lnTo>
                  <a:pt x="3951" y="554"/>
                </a:lnTo>
                <a:lnTo>
                  <a:pt x="3947" y="546"/>
                </a:lnTo>
                <a:lnTo>
                  <a:pt x="3944" y="539"/>
                </a:lnTo>
                <a:lnTo>
                  <a:pt x="3941" y="531"/>
                </a:lnTo>
                <a:lnTo>
                  <a:pt x="3938" y="523"/>
                </a:lnTo>
                <a:lnTo>
                  <a:pt x="3936" y="515"/>
                </a:lnTo>
                <a:lnTo>
                  <a:pt x="3934" y="505"/>
                </a:lnTo>
                <a:lnTo>
                  <a:pt x="3932" y="497"/>
                </a:lnTo>
                <a:lnTo>
                  <a:pt x="3931" y="488"/>
                </a:lnTo>
                <a:lnTo>
                  <a:pt x="3929" y="479"/>
                </a:lnTo>
                <a:lnTo>
                  <a:pt x="3928" y="470"/>
                </a:lnTo>
                <a:lnTo>
                  <a:pt x="3928" y="461"/>
                </a:lnTo>
                <a:lnTo>
                  <a:pt x="3929" y="441"/>
                </a:lnTo>
                <a:lnTo>
                  <a:pt x="3931" y="432"/>
                </a:lnTo>
                <a:lnTo>
                  <a:pt x="3932" y="423"/>
                </a:lnTo>
                <a:lnTo>
                  <a:pt x="3934" y="414"/>
                </a:lnTo>
                <a:lnTo>
                  <a:pt x="3936" y="405"/>
                </a:lnTo>
                <a:lnTo>
                  <a:pt x="3939" y="396"/>
                </a:lnTo>
                <a:lnTo>
                  <a:pt x="3941" y="387"/>
                </a:lnTo>
                <a:lnTo>
                  <a:pt x="3944" y="378"/>
                </a:lnTo>
                <a:lnTo>
                  <a:pt x="3948" y="370"/>
                </a:lnTo>
                <a:lnTo>
                  <a:pt x="3952" y="362"/>
                </a:lnTo>
                <a:lnTo>
                  <a:pt x="3956" y="354"/>
                </a:lnTo>
                <a:lnTo>
                  <a:pt x="3960" y="347"/>
                </a:lnTo>
                <a:lnTo>
                  <a:pt x="3965" y="339"/>
                </a:lnTo>
                <a:lnTo>
                  <a:pt x="3975" y="325"/>
                </a:lnTo>
                <a:lnTo>
                  <a:pt x="3981" y="318"/>
                </a:lnTo>
                <a:lnTo>
                  <a:pt x="3986" y="312"/>
                </a:lnTo>
                <a:lnTo>
                  <a:pt x="4000" y="301"/>
                </a:lnTo>
                <a:lnTo>
                  <a:pt x="4006" y="295"/>
                </a:lnTo>
                <a:lnTo>
                  <a:pt x="4013" y="291"/>
                </a:lnTo>
                <a:lnTo>
                  <a:pt x="4020" y="286"/>
                </a:lnTo>
                <a:lnTo>
                  <a:pt x="4027" y="282"/>
                </a:lnTo>
                <a:lnTo>
                  <a:pt x="4034" y="278"/>
                </a:lnTo>
                <a:lnTo>
                  <a:pt x="4041" y="275"/>
                </a:lnTo>
                <a:lnTo>
                  <a:pt x="4049" y="273"/>
                </a:lnTo>
                <a:lnTo>
                  <a:pt x="4058" y="269"/>
                </a:lnTo>
                <a:lnTo>
                  <a:pt x="4066" y="268"/>
                </a:lnTo>
                <a:lnTo>
                  <a:pt x="4074" y="266"/>
                </a:lnTo>
                <a:lnTo>
                  <a:pt x="4082" y="265"/>
                </a:lnTo>
                <a:lnTo>
                  <a:pt x="4090" y="265"/>
                </a:lnTo>
                <a:lnTo>
                  <a:pt x="4100" y="266"/>
                </a:lnTo>
                <a:lnTo>
                  <a:pt x="4105" y="266"/>
                </a:lnTo>
                <a:lnTo>
                  <a:pt x="4111" y="267"/>
                </a:lnTo>
                <a:lnTo>
                  <a:pt x="4115" y="268"/>
                </a:lnTo>
                <a:lnTo>
                  <a:pt x="4120" y="269"/>
                </a:lnTo>
                <a:lnTo>
                  <a:pt x="4128" y="273"/>
                </a:lnTo>
                <a:lnTo>
                  <a:pt x="4136" y="277"/>
                </a:lnTo>
                <a:lnTo>
                  <a:pt x="4144" y="282"/>
                </a:lnTo>
                <a:lnTo>
                  <a:pt x="4150" y="287"/>
                </a:lnTo>
                <a:lnTo>
                  <a:pt x="4156" y="293"/>
                </a:lnTo>
                <a:lnTo>
                  <a:pt x="4159" y="297"/>
                </a:lnTo>
                <a:lnTo>
                  <a:pt x="4162" y="300"/>
                </a:lnTo>
                <a:lnTo>
                  <a:pt x="4166" y="307"/>
                </a:lnTo>
                <a:lnTo>
                  <a:pt x="4171" y="315"/>
                </a:lnTo>
                <a:lnTo>
                  <a:pt x="4175" y="323"/>
                </a:lnTo>
                <a:lnTo>
                  <a:pt x="4177" y="333"/>
                </a:lnTo>
                <a:lnTo>
                  <a:pt x="4179" y="342"/>
                </a:lnTo>
                <a:lnTo>
                  <a:pt x="4180" y="352"/>
                </a:lnTo>
                <a:lnTo>
                  <a:pt x="4181" y="362"/>
                </a:lnTo>
                <a:lnTo>
                  <a:pt x="4180" y="374"/>
                </a:lnTo>
                <a:lnTo>
                  <a:pt x="4179" y="380"/>
                </a:lnTo>
                <a:lnTo>
                  <a:pt x="4178" y="386"/>
                </a:lnTo>
                <a:lnTo>
                  <a:pt x="4174" y="399"/>
                </a:lnTo>
                <a:lnTo>
                  <a:pt x="4168" y="411"/>
                </a:lnTo>
                <a:lnTo>
                  <a:pt x="4162" y="422"/>
                </a:lnTo>
                <a:lnTo>
                  <a:pt x="4154" y="433"/>
                </a:lnTo>
                <a:lnTo>
                  <a:pt x="4150" y="438"/>
                </a:lnTo>
                <a:lnTo>
                  <a:pt x="4146" y="442"/>
                </a:lnTo>
                <a:lnTo>
                  <a:pt x="4137" y="453"/>
                </a:lnTo>
                <a:lnTo>
                  <a:pt x="4127" y="461"/>
                </a:lnTo>
                <a:lnTo>
                  <a:pt x="4122" y="465"/>
                </a:lnTo>
                <a:lnTo>
                  <a:pt x="4116" y="469"/>
                </a:lnTo>
                <a:lnTo>
                  <a:pt x="4104" y="475"/>
                </a:lnTo>
                <a:lnTo>
                  <a:pt x="4092" y="481"/>
                </a:lnTo>
                <a:lnTo>
                  <a:pt x="4080" y="486"/>
                </a:lnTo>
                <a:lnTo>
                  <a:pt x="4074" y="487"/>
                </a:lnTo>
                <a:lnTo>
                  <a:pt x="4068" y="489"/>
                </a:lnTo>
                <a:lnTo>
                  <a:pt x="4062" y="490"/>
                </a:lnTo>
                <a:lnTo>
                  <a:pt x="4055" y="491"/>
                </a:lnTo>
                <a:lnTo>
                  <a:pt x="4042" y="492"/>
                </a:lnTo>
                <a:lnTo>
                  <a:pt x="4036" y="491"/>
                </a:lnTo>
                <a:lnTo>
                  <a:pt x="4031" y="489"/>
                </a:lnTo>
                <a:lnTo>
                  <a:pt x="4027" y="486"/>
                </a:lnTo>
                <a:lnTo>
                  <a:pt x="4025" y="485"/>
                </a:lnTo>
                <a:lnTo>
                  <a:pt x="4023" y="483"/>
                </a:lnTo>
                <a:lnTo>
                  <a:pt x="4020" y="478"/>
                </a:lnTo>
                <a:lnTo>
                  <a:pt x="4018" y="473"/>
                </a:lnTo>
                <a:lnTo>
                  <a:pt x="4017" y="470"/>
                </a:lnTo>
                <a:lnTo>
                  <a:pt x="4016" y="467"/>
                </a:lnTo>
                <a:lnTo>
                  <a:pt x="4016" y="460"/>
                </a:lnTo>
                <a:lnTo>
                  <a:pt x="4016" y="458"/>
                </a:lnTo>
                <a:lnTo>
                  <a:pt x="4016" y="455"/>
                </a:lnTo>
                <a:lnTo>
                  <a:pt x="4017" y="449"/>
                </a:lnTo>
                <a:lnTo>
                  <a:pt x="4018" y="447"/>
                </a:lnTo>
                <a:lnTo>
                  <a:pt x="4019" y="445"/>
                </a:lnTo>
                <a:lnTo>
                  <a:pt x="4021" y="443"/>
                </a:lnTo>
                <a:lnTo>
                  <a:pt x="4023" y="442"/>
                </a:lnTo>
                <a:lnTo>
                  <a:pt x="4034" y="440"/>
                </a:lnTo>
                <a:lnTo>
                  <a:pt x="4044" y="438"/>
                </a:lnTo>
                <a:lnTo>
                  <a:pt x="4055" y="434"/>
                </a:lnTo>
                <a:lnTo>
                  <a:pt x="4065" y="430"/>
                </a:lnTo>
                <a:lnTo>
                  <a:pt x="4074" y="426"/>
                </a:lnTo>
                <a:lnTo>
                  <a:pt x="4082" y="421"/>
                </a:lnTo>
                <a:lnTo>
                  <a:pt x="4090" y="415"/>
                </a:lnTo>
                <a:lnTo>
                  <a:pt x="4094" y="412"/>
                </a:lnTo>
                <a:lnTo>
                  <a:pt x="4097" y="409"/>
                </a:lnTo>
                <a:lnTo>
                  <a:pt x="4104" y="403"/>
                </a:lnTo>
                <a:lnTo>
                  <a:pt x="4111" y="397"/>
                </a:lnTo>
                <a:lnTo>
                  <a:pt x="4116" y="389"/>
                </a:lnTo>
                <a:lnTo>
                  <a:pt x="4120" y="382"/>
                </a:lnTo>
                <a:lnTo>
                  <a:pt x="4123" y="375"/>
                </a:lnTo>
                <a:lnTo>
                  <a:pt x="4125" y="368"/>
                </a:lnTo>
                <a:lnTo>
                  <a:pt x="4127" y="361"/>
                </a:lnTo>
                <a:lnTo>
                  <a:pt x="4127" y="354"/>
                </a:lnTo>
                <a:lnTo>
                  <a:pt x="4127" y="346"/>
                </a:lnTo>
                <a:lnTo>
                  <a:pt x="4125" y="338"/>
                </a:lnTo>
                <a:lnTo>
                  <a:pt x="4123" y="335"/>
                </a:lnTo>
                <a:lnTo>
                  <a:pt x="4121" y="332"/>
                </a:lnTo>
                <a:lnTo>
                  <a:pt x="4119" y="328"/>
                </a:lnTo>
                <a:lnTo>
                  <a:pt x="4117" y="326"/>
                </a:lnTo>
                <a:lnTo>
                  <a:pt x="4111" y="322"/>
                </a:lnTo>
                <a:lnTo>
                  <a:pt x="4107" y="320"/>
                </a:lnTo>
                <a:lnTo>
                  <a:pt x="4103" y="318"/>
                </a:lnTo>
                <a:lnTo>
                  <a:pt x="4095" y="317"/>
                </a:lnTo>
                <a:lnTo>
                  <a:pt x="4091" y="316"/>
                </a:lnTo>
                <a:lnTo>
                  <a:pt x="4086" y="316"/>
                </a:lnTo>
                <a:lnTo>
                  <a:pt x="4077" y="317"/>
                </a:lnTo>
                <a:lnTo>
                  <a:pt x="4073" y="318"/>
                </a:lnTo>
                <a:lnTo>
                  <a:pt x="4069" y="319"/>
                </a:lnTo>
                <a:lnTo>
                  <a:pt x="4064" y="320"/>
                </a:lnTo>
                <a:lnTo>
                  <a:pt x="4060" y="322"/>
                </a:lnTo>
                <a:lnTo>
                  <a:pt x="4055" y="324"/>
                </a:lnTo>
                <a:lnTo>
                  <a:pt x="4051" y="327"/>
                </a:lnTo>
                <a:lnTo>
                  <a:pt x="4046" y="330"/>
                </a:lnTo>
                <a:lnTo>
                  <a:pt x="4041" y="334"/>
                </a:lnTo>
                <a:lnTo>
                  <a:pt x="4033" y="341"/>
                </a:lnTo>
                <a:lnTo>
                  <a:pt x="4025" y="349"/>
                </a:lnTo>
                <a:lnTo>
                  <a:pt x="4018" y="358"/>
                </a:lnTo>
                <a:lnTo>
                  <a:pt x="4014" y="363"/>
                </a:lnTo>
                <a:lnTo>
                  <a:pt x="4011" y="368"/>
                </a:lnTo>
                <a:lnTo>
                  <a:pt x="4005" y="379"/>
                </a:lnTo>
                <a:lnTo>
                  <a:pt x="3999" y="390"/>
                </a:lnTo>
                <a:lnTo>
                  <a:pt x="3995" y="403"/>
                </a:lnTo>
                <a:lnTo>
                  <a:pt x="3991" y="416"/>
                </a:lnTo>
                <a:lnTo>
                  <a:pt x="3987" y="430"/>
                </a:lnTo>
                <a:lnTo>
                  <a:pt x="3985" y="443"/>
                </a:lnTo>
                <a:lnTo>
                  <a:pt x="3985" y="450"/>
                </a:lnTo>
                <a:lnTo>
                  <a:pt x="3985" y="459"/>
                </a:lnTo>
                <a:lnTo>
                  <a:pt x="3985" y="471"/>
                </a:lnTo>
                <a:lnTo>
                  <a:pt x="3986" y="483"/>
                </a:lnTo>
                <a:lnTo>
                  <a:pt x="3988" y="495"/>
                </a:lnTo>
                <a:lnTo>
                  <a:pt x="3991" y="501"/>
                </a:lnTo>
                <a:lnTo>
                  <a:pt x="3992" y="506"/>
                </a:lnTo>
                <a:lnTo>
                  <a:pt x="3996" y="518"/>
                </a:lnTo>
                <a:lnTo>
                  <a:pt x="3998" y="523"/>
                </a:lnTo>
                <a:lnTo>
                  <a:pt x="4001" y="527"/>
                </a:lnTo>
                <a:lnTo>
                  <a:pt x="4003" y="532"/>
                </a:lnTo>
                <a:lnTo>
                  <a:pt x="4006" y="536"/>
                </a:lnTo>
                <a:lnTo>
                  <a:pt x="4009" y="541"/>
                </a:lnTo>
                <a:lnTo>
                  <a:pt x="4012" y="545"/>
                </a:lnTo>
                <a:lnTo>
                  <a:pt x="4015" y="548"/>
                </a:lnTo>
                <a:lnTo>
                  <a:pt x="4018" y="552"/>
                </a:lnTo>
                <a:lnTo>
                  <a:pt x="4026" y="559"/>
                </a:lnTo>
                <a:lnTo>
                  <a:pt x="4033" y="564"/>
                </a:lnTo>
                <a:lnTo>
                  <a:pt x="4042" y="569"/>
                </a:lnTo>
                <a:lnTo>
                  <a:pt x="4052" y="574"/>
                </a:lnTo>
                <a:lnTo>
                  <a:pt x="4062" y="577"/>
                </a:lnTo>
                <a:lnTo>
                  <a:pt x="4072" y="579"/>
                </a:lnTo>
                <a:lnTo>
                  <a:pt x="4077" y="579"/>
                </a:lnTo>
                <a:lnTo>
                  <a:pt x="4082" y="579"/>
                </a:lnTo>
                <a:lnTo>
                  <a:pt x="4093" y="579"/>
                </a:lnTo>
                <a:lnTo>
                  <a:pt x="4103" y="577"/>
                </a:lnTo>
                <a:lnTo>
                  <a:pt x="4114" y="575"/>
                </a:lnTo>
                <a:lnTo>
                  <a:pt x="4124" y="570"/>
                </a:lnTo>
                <a:lnTo>
                  <a:pt x="4133" y="566"/>
                </a:lnTo>
                <a:lnTo>
                  <a:pt x="4142" y="561"/>
                </a:lnTo>
                <a:lnTo>
                  <a:pt x="4150" y="555"/>
                </a:lnTo>
                <a:lnTo>
                  <a:pt x="4159" y="549"/>
                </a:lnTo>
                <a:lnTo>
                  <a:pt x="4167" y="541"/>
                </a:lnTo>
                <a:lnTo>
                  <a:pt x="4175" y="534"/>
                </a:lnTo>
                <a:lnTo>
                  <a:pt x="4183" y="525"/>
                </a:lnTo>
                <a:lnTo>
                  <a:pt x="4190" y="516"/>
                </a:lnTo>
                <a:lnTo>
                  <a:pt x="4202" y="496"/>
                </a:lnTo>
                <a:lnTo>
                  <a:pt x="4208" y="485"/>
                </a:lnTo>
                <a:lnTo>
                  <a:pt x="4214" y="475"/>
                </a:lnTo>
                <a:lnTo>
                  <a:pt x="4219" y="464"/>
                </a:lnTo>
                <a:lnTo>
                  <a:pt x="4224" y="452"/>
                </a:lnTo>
                <a:lnTo>
                  <a:pt x="4228" y="440"/>
                </a:lnTo>
                <a:lnTo>
                  <a:pt x="4234" y="428"/>
                </a:lnTo>
                <a:lnTo>
                  <a:pt x="4237" y="416"/>
                </a:lnTo>
                <a:lnTo>
                  <a:pt x="4241" y="404"/>
                </a:lnTo>
                <a:lnTo>
                  <a:pt x="4244" y="392"/>
                </a:lnTo>
                <a:lnTo>
                  <a:pt x="4246" y="379"/>
                </a:lnTo>
                <a:lnTo>
                  <a:pt x="4249" y="367"/>
                </a:lnTo>
                <a:lnTo>
                  <a:pt x="4250" y="355"/>
                </a:lnTo>
                <a:lnTo>
                  <a:pt x="4252" y="343"/>
                </a:lnTo>
                <a:lnTo>
                  <a:pt x="4253" y="332"/>
                </a:lnTo>
                <a:lnTo>
                  <a:pt x="4254" y="320"/>
                </a:lnTo>
                <a:lnTo>
                  <a:pt x="4254" y="308"/>
                </a:lnTo>
                <a:lnTo>
                  <a:pt x="4254" y="298"/>
                </a:lnTo>
                <a:lnTo>
                  <a:pt x="4253" y="287"/>
                </a:lnTo>
                <a:lnTo>
                  <a:pt x="4254" y="285"/>
                </a:lnTo>
                <a:lnTo>
                  <a:pt x="4256" y="283"/>
                </a:lnTo>
                <a:lnTo>
                  <a:pt x="4258" y="281"/>
                </a:lnTo>
                <a:lnTo>
                  <a:pt x="4261" y="279"/>
                </a:lnTo>
                <a:lnTo>
                  <a:pt x="4268" y="276"/>
                </a:lnTo>
                <a:lnTo>
                  <a:pt x="4272" y="275"/>
                </a:lnTo>
                <a:lnTo>
                  <a:pt x="4276" y="275"/>
                </a:lnTo>
                <a:lnTo>
                  <a:pt x="4283" y="276"/>
                </a:lnTo>
                <a:lnTo>
                  <a:pt x="4286" y="276"/>
                </a:lnTo>
                <a:lnTo>
                  <a:pt x="4289" y="277"/>
                </a:lnTo>
                <a:lnTo>
                  <a:pt x="4296" y="280"/>
                </a:lnTo>
                <a:lnTo>
                  <a:pt x="4299" y="282"/>
                </a:lnTo>
                <a:lnTo>
                  <a:pt x="4301" y="284"/>
                </a:lnTo>
                <a:lnTo>
                  <a:pt x="4305" y="290"/>
                </a:lnTo>
                <a:lnTo>
                  <a:pt x="4307" y="294"/>
                </a:lnTo>
                <a:lnTo>
                  <a:pt x="4308" y="297"/>
                </a:lnTo>
                <a:lnTo>
                  <a:pt x="4309" y="302"/>
                </a:lnTo>
                <a:lnTo>
                  <a:pt x="4310" y="307"/>
                </a:lnTo>
                <a:lnTo>
                  <a:pt x="4310" y="312"/>
                </a:lnTo>
                <a:lnTo>
                  <a:pt x="4311" y="318"/>
                </a:lnTo>
                <a:lnTo>
                  <a:pt x="4310" y="334"/>
                </a:lnTo>
                <a:lnTo>
                  <a:pt x="4309" y="350"/>
                </a:lnTo>
                <a:lnTo>
                  <a:pt x="4308" y="365"/>
                </a:lnTo>
                <a:lnTo>
                  <a:pt x="4306" y="380"/>
                </a:lnTo>
                <a:lnTo>
                  <a:pt x="4303" y="396"/>
                </a:lnTo>
                <a:lnTo>
                  <a:pt x="4300" y="411"/>
                </a:lnTo>
                <a:lnTo>
                  <a:pt x="4297" y="425"/>
                </a:lnTo>
                <a:lnTo>
                  <a:pt x="4293" y="439"/>
                </a:lnTo>
                <a:lnTo>
                  <a:pt x="4287" y="454"/>
                </a:lnTo>
                <a:lnTo>
                  <a:pt x="4282" y="468"/>
                </a:lnTo>
                <a:lnTo>
                  <a:pt x="4277" y="481"/>
                </a:lnTo>
                <a:lnTo>
                  <a:pt x="4271" y="494"/>
                </a:lnTo>
                <a:lnTo>
                  <a:pt x="4265" y="506"/>
                </a:lnTo>
                <a:lnTo>
                  <a:pt x="4259" y="519"/>
                </a:lnTo>
                <a:lnTo>
                  <a:pt x="4252" y="531"/>
                </a:lnTo>
                <a:lnTo>
                  <a:pt x="4245" y="542"/>
                </a:lnTo>
                <a:lnTo>
                  <a:pt x="4237" y="553"/>
                </a:lnTo>
                <a:lnTo>
                  <a:pt x="4228" y="563"/>
                </a:lnTo>
                <a:lnTo>
                  <a:pt x="4220" y="573"/>
                </a:lnTo>
                <a:lnTo>
                  <a:pt x="4211" y="582"/>
                </a:lnTo>
                <a:lnTo>
                  <a:pt x="4202" y="591"/>
                </a:lnTo>
                <a:lnTo>
                  <a:pt x="4192" y="599"/>
                </a:lnTo>
                <a:lnTo>
                  <a:pt x="4183" y="606"/>
                </a:lnTo>
                <a:lnTo>
                  <a:pt x="4173" y="612"/>
                </a:lnTo>
                <a:lnTo>
                  <a:pt x="4161" y="618"/>
                </a:lnTo>
                <a:lnTo>
                  <a:pt x="4151" y="624"/>
                </a:lnTo>
                <a:lnTo>
                  <a:pt x="4140" y="628"/>
                </a:lnTo>
                <a:lnTo>
                  <a:pt x="4129" y="633"/>
                </a:lnTo>
                <a:lnTo>
                  <a:pt x="4117" y="636"/>
                </a:lnTo>
                <a:lnTo>
                  <a:pt x="4105" y="638"/>
                </a:lnTo>
                <a:lnTo>
                  <a:pt x="4093" y="639"/>
                </a:lnTo>
                <a:lnTo>
                  <a:pt x="4080" y="639"/>
                </a:lnTo>
                <a:close/>
                <a:moveTo>
                  <a:pt x="4467" y="634"/>
                </a:moveTo>
                <a:lnTo>
                  <a:pt x="4465" y="633"/>
                </a:lnTo>
                <a:lnTo>
                  <a:pt x="4463" y="633"/>
                </a:lnTo>
                <a:lnTo>
                  <a:pt x="4458" y="629"/>
                </a:lnTo>
                <a:lnTo>
                  <a:pt x="4451" y="625"/>
                </a:lnTo>
                <a:lnTo>
                  <a:pt x="4444" y="619"/>
                </a:lnTo>
                <a:lnTo>
                  <a:pt x="4431" y="608"/>
                </a:lnTo>
                <a:lnTo>
                  <a:pt x="4416" y="595"/>
                </a:lnTo>
                <a:lnTo>
                  <a:pt x="4399" y="579"/>
                </a:lnTo>
                <a:lnTo>
                  <a:pt x="4383" y="561"/>
                </a:lnTo>
                <a:lnTo>
                  <a:pt x="4367" y="544"/>
                </a:lnTo>
                <a:lnTo>
                  <a:pt x="4352" y="527"/>
                </a:lnTo>
                <a:lnTo>
                  <a:pt x="4340" y="513"/>
                </a:lnTo>
                <a:lnTo>
                  <a:pt x="4336" y="506"/>
                </a:lnTo>
                <a:lnTo>
                  <a:pt x="4332" y="501"/>
                </a:lnTo>
                <a:lnTo>
                  <a:pt x="4327" y="490"/>
                </a:lnTo>
                <a:lnTo>
                  <a:pt x="4323" y="481"/>
                </a:lnTo>
                <a:lnTo>
                  <a:pt x="4321" y="471"/>
                </a:lnTo>
                <a:lnTo>
                  <a:pt x="4320" y="461"/>
                </a:lnTo>
                <a:lnTo>
                  <a:pt x="4320" y="456"/>
                </a:lnTo>
                <a:lnTo>
                  <a:pt x="4321" y="449"/>
                </a:lnTo>
                <a:lnTo>
                  <a:pt x="4323" y="443"/>
                </a:lnTo>
                <a:lnTo>
                  <a:pt x="4325" y="437"/>
                </a:lnTo>
                <a:lnTo>
                  <a:pt x="4327" y="431"/>
                </a:lnTo>
                <a:lnTo>
                  <a:pt x="4330" y="424"/>
                </a:lnTo>
                <a:lnTo>
                  <a:pt x="4334" y="418"/>
                </a:lnTo>
                <a:lnTo>
                  <a:pt x="4339" y="411"/>
                </a:lnTo>
                <a:lnTo>
                  <a:pt x="4347" y="400"/>
                </a:lnTo>
                <a:lnTo>
                  <a:pt x="4359" y="385"/>
                </a:lnTo>
                <a:lnTo>
                  <a:pt x="4389" y="352"/>
                </a:lnTo>
                <a:lnTo>
                  <a:pt x="4425" y="312"/>
                </a:lnTo>
                <a:lnTo>
                  <a:pt x="4460" y="270"/>
                </a:lnTo>
                <a:lnTo>
                  <a:pt x="4461" y="270"/>
                </a:lnTo>
                <a:lnTo>
                  <a:pt x="4464" y="270"/>
                </a:lnTo>
                <a:lnTo>
                  <a:pt x="4468" y="270"/>
                </a:lnTo>
                <a:lnTo>
                  <a:pt x="4473" y="272"/>
                </a:lnTo>
                <a:lnTo>
                  <a:pt x="4477" y="274"/>
                </a:lnTo>
                <a:lnTo>
                  <a:pt x="4481" y="276"/>
                </a:lnTo>
                <a:lnTo>
                  <a:pt x="4486" y="280"/>
                </a:lnTo>
                <a:lnTo>
                  <a:pt x="4489" y="283"/>
                </a:lnTo>
                <a:lnTo>
                  <a:pt x="4493" y="288"/>
                </a:lnTo>
                <a:lnTo>
                  <a:pt x="4496" y="292"/>
                </a:lnTo>
                <a:lnTo>
                  <a:pt x="4497" y="297"/>
                </a:lnTo>
                <a:lnTo>
                  <a:pt x="4498" y="302"/>
                </a:lnTo>
                <a:lnTo>
                  <a:pt x="4497" y="307"/>
                </a:lnTo>
                <a:lnTo>
                  <a:pt x="4495" y="313"/>
                </a:lnTo>
                <a:lnTo>
                  <a:pt x="4492" y="318"/>
                </a:lnTo>
                <a:lnTo>
                  <a:pt x="4489" y="324"/>
                </a:lnTo>
                <a:lnTo>
                  <a:pt x="4480" y="336"/>
                </a:lnTo>
                <a:lnTo>
                  <a:pt x="4468" y="349"/>
                </a:lnTo>
                <a:lnTo>
                  <a:pt x="4439" y="382"/>
                </a:lnTo>
                <a:lnTo>
                  <a:pt x="4408" y="416"/>
                </a:lnTo>
                <a:lnTo>
                  <a:pt x="4396" y="431"/>
                </a:lnTo>
                <a:lnTo>
                  <a:pt x="4387" y="442"/>
                </a:lnTo>
                <a:lnTo>
                  <a:pt x="4384" y="446"/>
                </a:lnTo>
                <a:lnTo>
                  <a:pt x="4383" y="450"/>
                </a:lnTo>
                <a:lnTo>
                  <a:pt x="4382" y="454"/>
                </a:lnTo>
                <a:lnTo>
                  <a:pt x="4381" y="458"/>
                </a:lnTo>
                <a:lnTo>
                  <a:pt x="4382" y="462"/>
                </a:lnTo>
                <a:lnTo>
                  <a:pt x="4383" y="467"/>
                </a:lnTo>
                <a:lnTo>
                  <a:pt x="4385" y="471"/>
                </a:lnTo>
                <a:lnTo>
                  <a:pt x="4388" y="476"/>
                </a:lnTo>
                <a:lnTo>
                  <a:pt x="4396" y="485"/>
                </a:lnTo>
                <a:lnTo>
                  <a:pt x="4406" y="497"/>
                </a:lnTo>
                <a:lnTo>
                  <a:pt x="4434" y="527"/>
                </a:lnTo>
                <a:lnTo>
                  <a:pt x="4466" y="559"/>
                </a:lnTo>
                <a:lnTo>
                  <a:pt x="4498" y="590"/>
                </a:lnTo>
                <a:lnTo>
                  <a:pt x="4500" y="592"/>
                </a:lnTo>
                <a:lnTo>
                  <a:pt x="4501" y="594"/>
                </a:lnTo>
                <a:lnTo>
                  <a:pt x="4502" y="596"/>
                </a:lnTo>
                <a:lnTo>
                  <a:pt x="4503" y="599"/>
                </a:lnTo>
                <a:lnTo>
                  <a:pt x="4502" y="604"/>
                </a:lnTo>
                <a:lnTo>
                  <a:pt x="4501" y="607"/>
                </a:lnTo>
                <a:lnTo>
                  <a:pt x="4499" y="610"/>
                </a:lnTo>
                <a:lnTo>
                  <a:pt x="4496" y="616"/>
                </a:lnTo>
                <a:lnTo>
                  <a:pt x="4494" y="618"/>
                </a:lnTo>
                <a:lnTo>
                  <a:pt x="4491" y="621"/>
                </a:lnTo>
                <a:lnTo>
                  <a:pt x="4486" y="626"/>
                </a:lnTo>
                <a:lnTo>
                  <a:pt x="4483" y="628"/>
                </a:lnTo>
                <a:lnTo>
                  <a:pt x="4480" y="629"/>
                </a:lnTo>
                <a:lnTo>
                  <a:pt x="4474" y="633"/>
                </a:lnTo>
                <a:lnTo>
                  <a:pt x="4471" y="633"/>
                </a:lnTo>
                <a:lnTo>
                  <a:pt x="4467" y="634"/>
                </a:lnTo>
                <a:close/>
                <a:moveTo>
                  <a:pt x="4080" y="1633"/>
                </a:moveTo>
                <a:lnTo>
                  <a:pt x="4073" y="1632"/>
                </a:lnTo>
                <a:lnTo>
                  <a:pt x="4065" y="1632"/>
                </a:lnTo>
                <a:lnTo>
                  <a:pt x="4058" y="1631"/>
                </a:lnTo>
                <a:lnTo>
                  <a:pt x="4049" y="1629"/>
                </a:lnTo>
                <a:lnTo>
                  <a:pt x="4042" y="1627"/>
                </a:lnTo>
                <a:lnTo>
                  <a:pt x="4035" y="1625"/>
                </a:lnTo>
                <a:lnTo>
                  <a:pt x="4021" y="1619"/>
                </a:lnTo>
                <a:lnTo>
                  <a:pt x="4008" y="1612"/>
                </a:lnTo>
                <a:lnTo>
                  <a:pt x="4002" y="1608"/>
                </a:lnTo>
                <a:lnTo>
                  <a:pt x="3996" y="1603"/>
                </a:lnTo>
                <a:lnTo>
                  <a:pt x="3989" y="1598"/>
                </a:lnTo>
                <a:lnTo>
                  <a:pt x="3983" y="1593"/>
                </a:lnTo>
                <a:lnTo>
                  <a:pt x="3978" y="1587"/>
                </a:lnTo>
                <a:lnTo>
                  <a:pt x="3973" y="1581"/>
                </a:lnTo>
                <a:lnTo>
                  <a:pt x="3968" y="1575"/>
                </a:lnTo>
                <a:lnTo>
                  <a:pt x="3963" y="1568"/>
                </a:lnTo>
                <a:lnTo>
                  <a:pt x="3959" y="1562"/>
                </a:lnTo>
                <a:lnTo>
                  <a:pt x="3955" y="1555"/>
                </a:lnTo>
                <a:lnTo>
                  <a:pt x="3951" y="1548"/>
                </a:lnTo>
                <a:lnTo>
                  <a:pt x="3947" y="1540"/>
                </a:lnTo>
                <a:lnTo>
                  <a:pt x="3944" y="1533"/>
                </a:lnTo>
                <a:lnTo>
                  <a:pt x="3941" y="1524"/>
                </a:lnTo>
                <a:lnTo>
                  <a:pt x="3938" y="1516"/>
                </a:lnTo>
                <a:lnTo>
                  <a:pt x="3936" y="1508"/>
                </a:lnTo>
                <a:lnTo>
                  <a:pt x="3934" y="1500"/>
                </a:lnTo>
                <a:lnTo>
                  <a:pt x="3932" y="1491"/>
                </a:lnTo>
                <a:lnTo>
                  <a:pt x="3931" y="1482"/>
                </a:lnTo>
                <a:lnTo>
                  <a:pt x="3929" y="1473"/>
                </a:lnTo>
                <a:lnTo>
                  <a:pt x="3928" y="1463"/>
                </a:lnTo>
                <a:lnTo>
                  <a:pt x="3928" y="1454"/>
                </a:lnTo>
                <a:lnTo>
                  <a:pt x="3929" y="1436"/>
                </a:lnTo>
                <a:lnTo>
                  <a:pt x="3931" y="1426"/>
                </a:lnTo>
                <a:lnTo>
                  <a:pt x="3932" y="1417"/>
                </a:lnTo>
                <a:lnTo>
                  <a:pt x="3934" y="1407"/>
                </a:lnTo>
                <a:lnTo>
                  <a:pt x="3936" y="1398"/>
                </a:lnTo>
                <a:lnTo>
                  <a:pt x="3939" y="1390"/>
                </a:lnTo>
                <a:lnTo>
                  <a:pt x="3941" y="1381"/>
                </a:lnTo>
                <a:lnTo>
                  <a:pt x="3944" y="1373"/>
                </a:lnTo>
                <a:lnTo>
                  <a:pt x="3948" y="1364"/>
                </a:lnTo>
                <a:lnTo>
                  <a:pt x="3952" y="1356"/>
                </a:lnTo>
                <a:lnTo>
                  <a:pt x="3956" y="1348"/>
                </a:lnTo>
                <a:lnTo>
                  <a:pt x="3960" y="1340"/>
                </a:lnTo>
                <a:lnTo>
                  <a:pt x="3965" y="1333"/>
                </a:lnTo>
                <a:lnTo>
                  <a:pt x="3975" y="1319"/>
                </a:lnTo>
                <a:lnTo>
                  <a:pt x="3981" y="1312"/>
                </a:lnTo>
                <a:lnTo>
                  <a:pt x="3986" y="1306"/>
                </a:lnTo>
                <a:lnTo>
                  <a:pt x="4000" y="1295"/>
                </a:lnTo>
                <a:lnTo>
                  <a:pt x="4006" y="1289"/>
                </a:lnTo>
                <a:lnTo>
                  <a:pt x="4013" y="1284"/>
                </a:lnTo>
                <a:lnTo>
                  <a:pt x="4020" y="1279"/>
                </a:lnTo>
                <a:lnTo>
                  <a:pt x="4027" y="1275"/>
                </a:lnTo>
                <a:lnTo>
                  <a:pt x="4034" y="1272"/>
                </a:lnTo>
                <a:lnTo>
                  <a:pt x="4041" y="1269"/>
                </a:lnTo>
                <a:lnTo>
                  <a:pt x="4049" y="1266"/>
                </a:lnTo>
                <a:lnTo>
                  <a:pt x="4058" y="1264"/>
                </a:lnTo>
                <a:lnTo>
                  <a:pt x="4066" y="1262"/>
                </a:lnTo>
                <a:lnTo>
                  <a:pt x="4074" y="1260"/>
                </a:lnTo>
                <a:lnTo>
                  <a:pt x="4082" y="1260"/>
                </a:lnTo>
                <a:lnTo>
                  <a:pt x="4090" y="1259"/>
                </a:lnTo>
                <a:lnTo>
                  <a:pt x="4100" y="1260"/>
                </a:lnTo>
                <a:lnTo>
                  <a:pt x="4105" y="1260"/>
                </a:lnTo>
                <a:lnTo>
                  <a:pt x="4111" y="1261"/>
                </a:lnTo>
                <a:lnTo>
                  <a:pt x="4115" y="1262"/>
                </a:lnTo>
                <a:lnTo>
                  <a:pt x="4120" y="1263"/>
                </a:lnTo>
                <a:lnTo>
                  <a:pt x="4128" y="1267"/>
                </a:lnTo>
                <a:lnTo>
                  <a:pt x="4136" y="1270"/>
                </a:lnTo>
                <a:lnTo>
                  <a:pt x="4144" y="1275"/>
                </a:lnTo>
                <a:lnTo>
                  <a:pt x="4150" y="1280"/>
                </a:lnTo>
                <a:lnTo>
                  <a:pt x="4156" y="1286"/>
                </a:lnTo>
                <a:lnTo>
                  <a:pt x="4159" y="1290"/>
                </a:lnTo>
                <a:lnTo>
                  <a:pt x="4162" y="1294"/>
                </a:lnTo>
                <a:lnTo>
                  <a:pt x="4166" y="1301"/>
                </a:lnTo>
                <a:lnTo>
                  <a:pt x="4171" y="1309"/>
                </a:lnTo>
                <a:lnTo>
                  <a:pt x="4175" y="1317"/>
                </a:lnTo>
                <a:lnTo>
                  <a:pt x="4177" y="1326"/>
                </a:lnTo>
                <a:lnTo>
                  <a:pt x="4179" y="1335"/>
                </a:lnTo>
                <a:lnTo>
                  <a:pt x="4180" y="1345"/>
                </a:lnTo>
                <a:lnTo>
                  <a:pt x="4181" y="1356"/>
                </a:lnTo>
                <a:lnTo>
                  <a:pt x="4180" y="1368"/>
                </a:lnTo>
                <a:lnTo>
                  <a:pt x="4179" y="1374"/>
                </a:lnTo>
                <a:lnTo>
                  <a:pt x="4178" y="1380"/>
                </a:lnTo>
                <a:lnTo>
                  <a:pt x="4174" y="1392"/>
                </a:lnTo>
                <a:lnTo>
                  <a:pt x="4168" y="1404"/>
                </a:lnTo>
                <a:lnTo>
                  <a:pt x="4162" y="1416"/>
                </a:lnTo>
                <a:lnTo>
                  <a:pt x="4154" y="1427"/>
                </a:lnTo>
                <a:lnTo>
                  <a:pt x="4150" y="1432"/>
                </a:lnTo>
                <a:lnTo>
                  <a:pt x="4146" y="1437"/>
                </a:lnTo>
                <a:lnTo>
                  <a:pt x="4137" y="1446"/>
                </a:lnTo>
                <a:lnTo>
                  <a:pt x="4127" y="1454"/>
                </a:lnTo>
                <a:lnTo>
                  <a:pt x="4122" y="1458"/>
                </a:lnTo>
                <a:lnTo>
                  <a:pt x="4116" y="1462"/>
                </a:lnTo>
                <a:lnTo>
                  <a:pt x="4104" y="1469"/>
                </a:lnTo>
                <a:lnTo>
                  <a:pt x="4092" y="1475"/>
                </a:lnTo>
                <a:lnTo>
                  <a:pt x="4080" y="1480"/>
                </a:lnTo>
                <a:lnTo>
                  <a:pt x="4074" y="1482"/>
                </a:lnTo>
                <a:lnTo>
                  <a:pt x="4068" y="1483"/>
                </a:lnTo>
                <a:lnTo>
                  <a:pt x="4062" y="1484"/>
                </a:lnTo>
                <a:lnTo>
                  <a:pt x="4055" y="1485"/>
                </a:lnTo>
                <a:lnTo>
                  <a:pt x="4042" y="1486"/>
                </a:lnTo>
                <a:lnTo>
                  <a:pt x="4036" y="1485"/>
                </a:lnTo>
                <a:lnTo>
                  <a:pt x="4031" y="1483"/>
                </a:lnTo>
                <a:lnTo>
                  <a:pt x="4027" y="1481"/>
                </a:lnTo>
                <a:lnTo>
                  <a:pt x="4025" y="1479"/>
                </a:lnTo>
                <a:lnTo>
                  <a:pt x="4023" y="1477"/>
                </a:lnTo>
                <a:lnTo>
                  <a:pt x="4020" y="1472"/>
                </a:lnTo>
                <a:lnTo>
                  <a:pt x="4018" y="1466"/>
                </a:lnTo>
                <a:lnTo>
                  <a:pt x="4017" y="1463"/>
                </a:lnTo>
                <a:lnTo>
                  <a:pt x="4016" y="1460"/>
                </a:lnTo>
                <a:lnTo>
                  <a:pt x="4016" y="1454"/>
                </a:lnTo>
                <a:lnTo>
                  <a:pt x="4016" y="1451"/>
                </a:lnTo>
                <a:lnTo>
                  <a:pt x="4016" y="1448"/>
                </a:lnTo>
                <a:lnTo>
                  <a:pt x="4017" y="1443"/>
                </a:lnTo>
                <a:lnTo>
                  <a:pt x="4018" y="1441"/>
                </a:lnTo>
                <a:lnTo>
                  <a:pt x="4019" y="1439"/>
                </a:lnTo>
                <a:lnTo>
                  <a:pt x="4021" y="1438"/>
                </a:lnTo>
                <a:lnTo>
                  <a:pt x="4023" y="1436"/>
                </a:lnTo>
                <a:lnTo>
                  <a:pt x="4034" y="1434"/>
                </a:lnTo>
                <a:lnTo>
                  <a:pt x="4044" y="1432"/>
                </a:lnTo>
                <a:lnTo>
                  <a:pt x="4055" y="1428"/>
                </a:lnTo>
                <a:lnTo>
                  <a:pt x="4065" y="1424"/>
                </a:lnTo>
                <a:lnTo>
                  <a:pt x="4074" y="1420"/>
                </a:lnTo>
                <a:lnTo>
                  <a:pt x="4082" y="1415"/>
                </a:lnTo>
                <a:lnTo>
                  <a:pt x="4090" y="1408"/>
                </a:lnTo>
                <a:lnTo>
                  <a:pt x="4094" y="1406"/>
                </a:lnTo>
                <a:lnTo>
                  <a:pt x="4097" y="1403"/>
                </a:lnTo>
                <a:lnTo>
                  <a:pt x="4104" y="1396"/>
                </a:lnTo>
                <a:lnTo>
                  <a:pt x="4111" y="1390"/>
                </a:lnTo>
                <a:lnTo>
                  <a:pt x="4116" y="1383"/>
                </a:lnTo>
                <a:lnTo>
                  <a:pt x="4120" y="1376"/>
                </a:lnTo>
                <a:lnTo>
                  <a:pt x="4123" y="1369"/>
                </a:lnTo>
                <a:lnTo>
                  <a:pt x="4125" y="1362"/>
                </a:lnTo>
                <a:lnTo>
                  <a:pt x="4127" y="1355"/>
                </a:lnTo>
                <a:lnTo>
                  <a:pt x="4127" y="1347"/>
                </a:lnTo>
                <a:lnTo>
                  <a:pt x="4127" y="1339"/>
                </a:lnTo>
                <a:lnTo>
                  <a:pt x="4125" y="1332"/>
                </a:lnTo>
                <a:lnTo>
                  <a:pt x="4123" y="1328"/>
                </a:lnTo>
                <a:lnTo>
                  <a:pt x="4121" y="1325"/>
                </a:lnTo>
                <a:lnTo>
                  <a:pt x="4119" y="1323"/>
                </a:lnTo>
                <a:lnTo>
                  <a:pt x="4117" y="1320"/>
                </a:lnTo>
                <a:lnTo>
                  <a:pt x="4111" y="1316"/>
                </a:lnTo>
                <a:lnTo>
                  <a:pt x="4107" y="1314"/>
                </a:lnTo>
                <a:lnTo>
                  <a:pt x="4103" y="1313"/>
                </a:lnTo>
                <a:lnTo>
                  <a:pt x="4095" y="1311"/>
                </a:lnTo>
                <a:lnTo>
                  <a:pt x="4091" y="1310"/>
                </a:lnTo>
                <a:lnTo>
                  <a:pt x="4086" y="1310"/>
                </a:lnTo>
                <a:lnTo>
                  <a:pt x="4077" y="1311"/>
                </a:lnTo>
                <a:lnTo>
                  <a:pt x="4073" y="1312"/>
                </a:lnTo>
                <a:lnTo>
                  <a:pt x="4069" y="1313"/>
                </a:lnTo>
                <a:lnTo>
                  <a:pt x="4064" y="1315"/>
                </a:lnTo>
                <a:lnTo>
                  <a:pt x="4060" y="1316"/>
                </a:lnTo>
                <a:lnTo>
                  <a:pt x="4055" y="1319"/>
                </a:lnTo>
                <a:lnTo>
                  <a:pt x="4051" y="1321"/>
                </a:lnTo>
                <a:lnTo>
                  <a:pt x="4046" y="1324"/>
                </a:lnTo>
                <a:lnTo>
                  <a:pt x="4041" y="1327"/>
                </a:lnTo>
                <a:lnTo>
                  <a:pt x="4033" y="1334"/>
                </a:lnTo>
                <a:lnTo>
                  <a:pt x="4025" y="1342"/>
                </a:lnTo>
                <a:lnTo>
                  <a:pt x="4018" y="1352"/>
                </a:lnTo>
                <a:lnTo>
                  <a:pt x="4014" y="1357"/>
                </a:lnTo>
                <a:lnTo>
                  <a:pt x="4011" y="1362"/>
                </a:lnTo>
                <a:lnTo>
                  <a:pt x="4005" y="1373"/>
                </a:lnTo>
                <a:lnTo>
                  <a:pt x="3999" y="1384"/>
                </a:lnTo>
                <a:lnTo>
                  <a:pt x="3995" y="1397"/>
                </a:lnTo>
                <a:lnTo>
                  <a:pt x="3991" y="1409"/>
                </a:lnTo>
                <a:lnTo>
                  <a:pt x="3987" y="1424"/>
                </a:lnTo>
                <a:lnTo>
                  <a:pt x="3985" y="1438"/>
                </a:lnTo>
                <a:lnTo>
                  <a:pt x="3985" y="1445"/>
                </a:lnTo>
                <a:lnTo>
                  <a:pt x="3985" y="1452"/>
                </a:lnTo>
                <a:lnTo>
                  <a:pt x="3985" y="1464"/>
                </a:lnTo>
                <a:lnTo>
                  <a:pt x="3986" y="1478"/>
                </a:lnTo>
                <a:lnTo>
                  <a:pt x="3988" y="1489"/>
                </a:lnTo>
                <a:lnTo>
                  <a:pt x="3991" y="1495"/>
                </a:lnTo>
                <a:lnTo>
                  <a:pt x="3992" y="1500"/>
                </a:lnTo>
                <a:lnTo>
                  <a:pt x="3996" y="1511"/>
                </a:lnTo>
                <a:lnTo>
                  <a:pt x="3998" y="1516"/>
                </a:lnTo>
                <a:lnTo>
                  <a:pt x="4001" y="1521"/>
                </a:lnTo>
                <a:lnTo>
                  <a:pt x="4003" y="1525"/>
                </a:lnTo>
                <a:lnTo>
                  <a:pt x="4006" y="1530"/>
                </a:lnTo>
                <a:lnTo>
                  <a:pt x="4009" y="1535"/>
                </a:lnTo>
                <a:lnTo>
                  <a:pt x="4012" y="1539"/>
                </a:lnTo>
                <a:lnTo>
                  <a:pt x="4015" y="1543"/>
                </a:lnTo>
                <a:lnTo>
                  <a:pt x="4018" y="1546"/>
                </a:lnTo>
                <a:lnTo>
                  <a:pt x="4026" y="1553"/>
                </a:lnTo>
                <a:lnTo>
                  <a:pt x="4033" y="1559"/>
                </a:lnTo>
                <a:lnTo>
                  <a:pt x="4042" y="1563"/>
                </a:lnTo>
                <a:lnTo>
                  <a:pt x="4052" y="1567"/>
                </a:lnTo>
                <a:lnTo>
                  <a:pt x="4062" y="1570"/>
                </a:lnTo>
                <a:lnTo>
                  <a:pt x="4072" y="1572"/>
                </a:lnTo>
                <a:lnTo>
                  <a:pt x="4077" y="1572"/>
                </a:lnTo>
                <a:lnTo>
                  <a:pt x="4082" y="1572"/>
                </a:lnTo>
                <a:lnTo>
                  <a:pt x="4093" y="1572"/>
                </a:lnTo>
                <a:lnTo>
                  <a:pt x="4103" y="1570"/>
                </a:lnTo>
                <a:lnTo>
                  <a:pt x="4114" y="1568"/>
                </a:lnTo>
                <a:lnTo>
                  <a:pt x="4124" y="1564"/>
                </a:lnTo>
                <a:lnTo>
                  <a:pt x="4133" y="1560"/>
                </a:lnTo>
                <a:lnTo>
                  <a:pt x="4142" y="1555"/>
                </a:lnTo>
                <a:lnTo>
                  <a:pt x="4150" y="1549"/>
                </a:lnTo>
                <a:lnTo>
                  <a:pt x="4159" y="1543"/>
                </a:lnTo>
                <a:lnTo>
                  <a:pt x="4167" y="1536"/>
                </a:lnTo>
                <a:lnTo>
                  <a:pt x="4175" y="1527"/>
                </a:lnTo>
                <a:lnTo>
                  <a:pt x="4183" y="1518"/>
                </a:lnTo>
                <a:lnTo>
                  <a:pt x="4190" y="1509"/>
                </a:lnTo>
                <a:lnTo>
                  <a:pt x="4202" y="1490"/>
                </a:lnTo>
                <a:lnTo>
                  <a:pt x="4208" y="1479"/>
                </a:lnTo>
                <a:lnTo>
                  <a:pt x="4214" y="1468"/>
                </a:lnTo>
                <a:lnTo>
                  <a:pt x="4219" y="1457"/>
                </a:lnTo>
                <a:lnTo>
                  <a:pt x="4224" y="1445"/>
                </a:lnTo>
                <a:lnTo>
                  <a:pt x="4228" y="1434"/>
                </a:lnTo>
                <a:lnTo>
                  <a:pt x="4234" y="1422"/>
                </a:lnTo>
                <a:lnTo>
                  <a:pt x="4237" y="1409"/>
                </a:lnTo>
                <a:lnTo>
                  <a:pt x="4241" y="1397"/>
                </a:lnTo>
                <a:lnTo>
                  <a:pt x="4244" y="1385"/>
                </a:lnTo>
                <a:lnTo>
                  <a:pt x="4246" y="1373"/>
                </a:lnTo>
                <a:lnTo>
                  <a:pt x="4249" y="1361"/>
                </a:lnTo>
                <a:lnTo>
                  <a:pt x="4250" y="1348"/>
                </a:lnTo>
                <a:lnTo>
                  <a:pt x="4252" y="1337"/>
                </a:lnTo>
                <a:lnTo>
                  <a:pt x="4253" y="1325"/>
                </a:lnTo>
                <a:lnTo>
                  <a:pt x="4254" y="1314"/>
                </a:lnTo>
                <a:lnTo>
                  <a:pt x="4254" y="1303"/>
                </a:lnTo>
                <a:lnTo>
                  <a:pt x="4254" y="1292"/>
                </a:lnTo>
                <a:lnTo>
                  <a:pt x="4253" y="1280"/>
                </a:lnTo>
                <a:lnTo>
                  <a:pt x="4254" y="1278"/>
                </a:lnTo>
                <a:lnTo>
                  <a:pt x="4256" y="1276"/>
                </a:lnTo>
                <a:lnTo>
                  <a:pt x="4258" y="1274"/>
                </a:lnTo>
                <a:lnTo>
                  <a:pt x="4261" y="1272"/>
                </a:lnTo>
                <a:lnTo>
                  <a:pt x="4268" y="1269"/>
                </a:lnTo>
                <a:lnTo>
                  <a:pt x="4272" y="1269"/>
                </a:lnTo>
                <a:lnTo>
                  <a:pt x="4276" y="1268"/>
                </a:lnTo>
                <a:lnTo>
                  <a:pt x="4283" y="1269"/>
                </a:lnTo>
                <a:lnTo>
                  <a:pt x="4286" y="1269"/>
                </a:lnTo>
                <a:lnTo>
                  <a:pt x="4289" y="1270"/>
                </a:lnTo>
                <a:lnTo>
                  <a:pt x="4296" y="1273"/>
                </a:lnTo>
                <a:lnTo>
                  <a:pt x="4299" y="1275"/>
                </a:lnTo>
                <a:lnTo>
                  <a:pt x="4301" y="1277"/>
                </a:lnTo>
                <a:lnTo>
                  <a:pt x="4305" y="1283"/>
                </a:lnTo>
                <a:lnTo>
                  <a:pt x="4307" y="1287"/>
                </a:lnTo>
                <a:lnTo>
                  <a:pt x="4308" y="1292"/>
                </a:lnTo>
                <a:lnTo>
                  <a:pt x="4309" y="1296"/>
                </a:lnTo>
                <a:lnTo>
                  <a:pt x="4310" y="1301"/>
                </a:lnTo>
                <a:lnTo>
                  <a:pt x="4310" y="1306"/>
                </a:lnTo>
                <a:lnTo>
                  <a:pt x="4311" y="1312"/>
                </a:lnTo>
                <a:lnTo>
                  <a:pt x="4310" y="1328"/>
                </a:lnTo>
                <a:lnTo>
                  <a:pt x="4309" y="1343"/>
                </a:lnTo>
                <a:lnTo>
                  <a:pt x="4308" y="1359"/>
                </a:lnTo>
                <a:lnTo>
                  <a:pt x="4306" y="1374"/>
                </a:lnTo>
                <a:lnTo>
                  <a:pt x="4303" y="1389"/>
                </a:lnTo>
                <a:lnTo>
                  <a:pt x="4300" y="1404"/>
                </a:lnTo>
                <a:lnTo>
                  <a:pt x="4297" y="1419"/>
                </a:lnTo>
                <a:lnTo>
                  <a:pt x="4293" y="1434"/>
                </a:lnTo>
                <a:lnTo>
                  <a:pt x="4287" y="1447"/>
                </a:lnTo>
                <a:lnTo>
                  <a:pt x="4282" y="1461"/>
                </a:lnTo>
                <a:lnTo>
                  <a:pt x="4277" y="1475"/>
                </a:lnTo>
                <a:lnTo>
                  <a:pt x="4271" y="1488"/>
                </a:lnTo>
                <a:lnTo>
                  <a:pt x="4265" y="1500"/>
                </a:lnTo>
                <a:lnTo>
                  <a:pt x="4259" y="1512"/>
                </a:lnTo>
                <a:lnTo>
                  <a:pt x="4252" y="1524"/>
                </a:lnTo>
                <a:lnTo>
                  <a:pt x="4245" y="1536"/>
                </a:lnTo>
                <a:lnTo>
                  <a:pt x="4237" y="1547"/>
                </a:lnTo>
                <a:lnTo>
                  <a:pt x="4228" y="1557"/>
                </a:lnTo>
                <a:lnTo>
                  <a:pt x="4220" y="1567"/>
                </a:lnTo>
                <a:lnTo>
                  <a:pt x="4211" y="1576"/>
                </a:lnTo>
                <a:lnTo>
                  <a:pt x="4202" y="1584"/>
                </a:lnTo>
                <a:lnTo>
                  <a:pt x="4192" y="1593"/>
                </a:lnTo>
                <a:lnTo>
                  <a:pt x="4183" y="1600"/>
                </a:lnTo>
                <a:lnTo>
                  <a:pt x="4173" y="1607"/>
                </a:lnTo>
                <a:lnTo>
                  <a:pt x="4161" y="1613"/>
                </a:lnTo>
                <a:lnTo>
                  <a:pt x="4151" y="1618"/>
                </a:lnTo>
                <a:lnTo>
                  <a:pt x="4140" y="1622"/>
                </a:lnTo>
                <a:lnTo>
                  <a:pt x="4129" y="1626"/>
                </a:lnTo>
                <a:lnTo>
                  <a:pt x="4117" y="1629"/>
                </a:lnTo>
                <a:lnTo>
                  <a:pt x="4105" y="1631"/>
                </a:lnTo>
                <a:lnTo>
                  <a:pt x="4093" y="1632"/>
                </a:lnTo>
                <a:lnTo>
                  <a:pt x="4080" y="1633"/>
                </a:lnTo>
                <a:close/>
                <a:moveTo>
                  <a:pt x="4467" y="1627"/>
                </a:moveTo>
                <a:lnTo>
                  <a:pt x="4465" y="1627"/>
                </a:lnTo>
                <a:lnTo>
                  <a:pt x="4463" y="1626"/>
                </a:lnTo>
                <a:lnTo>
                  <a:pt x="4458" y="1623"/>
                </a:lnTo>
                <a:lnTo>
                  <a:pt x="4451" y="1619"/>
                </a:lnTo>
                <a:lnTo>
                  <a:pt x="4444" y="1613"/>
                </a:lnTo>
                <a:lnTo>
                  <a:pt x="4431" y="1603"/>
                </a:lnTo>
                <a:lnTo>
                  <a:pt x="4416" y="1588"/>
                </a:lnTo>
                <a:lnTo>
                  <a:pt x="4399" y="1572"/>
                </a:lnTo>
                <a:lnTo>
                  <a:pt x="4383" y="1555"/>
                </a:lnTo>
                <a:lnTo>
                  <a:pt x="4367" y="1538"/>
                </a:lnTo>
                <a:lnTo>
                  <a:pt x="4352" y="1521"/>
                </a:lnTo>
                <a:lnTo>
                  <a:pt x="4340" y="1506"/>
                </a:lnTo>
                <a:lnTo>
                  <a:pt x="4336" y="1500"/>
                </a:lnTo>
                <a:lnTo>
                  <a:pt x="4332" y="1495"/>
                </a:lnTo>
                <a:lnTo>
                  <a:pt x="4327" y="1485"/>
                </a:lnTo>
                <a:lnTo>
                  <a:pt x="4323" y="1475"/>
                </a:lnTo>
                <a:lnTo>
                  <a:pt x="4321" y="1464"/>
                </a:lnTo>
                <a:lnTo>
                  <a:pt x="4320" y="1454"/>
                </a:lnTo>
                <a:lnTo>
                  <a:pt x="4320" y="1449"/>
                </a:lnTo>
                <a:lnTo>
                  <a:pt x="4321" y="1443"/>
                </a:lnTo>
                <a:lnTo>
                  <a:pt x="4323" y="1437"/>
                </a:lnTo>
                <a:lnTo>
                  <a:pt x="4325" y="1431"/>
                </a:lnTo>
                <a:lnTo>
                  <a:pt x="4327" y="1425"/>
                </a:lnTo>
                <a:lnTo>
                  <a:pt x="4330" y="1419"/>
                </a:lnTo>
                <a:lnTo>
                  <a:pt x="4334" y="1412"/>
                </a:lnTo>
                <a:lnTo>
                  <a:pt x="4339" y="1404"/>
                </a:lnTo>
                <a:lnTo>
                  <a:pt x="4347" y="1393"/>
                </a:lnTo>
                <a:lnTo>
                  <a:pt x="4359" y="1380"/>
                </a:lnTo>
                <a:lnTo>
                  <a:pt x="4389" y="1345"/>
                </a:lnTo>
                <a:lnTo>
                  <a:pt x="4425" y="1306"/>
                </a:lnTo>
                <a:lnTo>
                  <a:pt x="4460" y="1264"/>
                </a:lnTo>
                <a:lnTo>
                  <a:pt x="4461" y="1264"/>
                </a:lnTo>
                <a:lnTo>
                  <a:pt x="4464" y="1264"/>
                </a:lnTo>
                <a:lnTo>
                  <a:pt x="4468" y="1264"/>
                </a:lnTo>
                <a:lnTo>
                  <a:pt x="4473" y="1265"/>
                </a:lnTo>
                <a:lnTo>
                  <a:pt x="4477" y="1267"/>
                </a:lnTo>
                <a:lnTo>
                  <a:pt x="4481" y="1270"/>
                </a:lnTo>
                <a:lnTo>
                  <a:pt x="4486" y="1273"/>
                </a:lnTo>
                <a:lnTo>
                  <a:pt x="4489" y="1276"/>
                </a:lnTo>
                <a:lnTo>
                  <a:pt x="4493" y="1281"/>
                </a:lnTo>
                <a:lnTo>
                  <a:pt x="4496" y="1286"/>
                </a:lnTo>
                <a:lnTo>
                  <a:pt x="4497" y="1290"/>
                </a:lnTo>
                <a:lnTo>
                  <a:pt x="4498" y="1296"/>
                </a:lnTo>
                <a:lnTo>
                  <a:pt x="4497" y="1301"/>
                </a:lnTo>
                <a:lnTo>
                  <a:pt x="4495" y="1307"/>
                </a:lnTo>
                <a:lnTo>
                  <a:pt x="4492" y="1312"/>
                </a:lnTo>
                <a:lnTo>
                  <a:pt x="4489" y="1318"/>
                </a:lnTo>
                <a:lnTo>
                  <a:pt x="4480" y="1329"/>
                </a:lnTo>
                <a:lnTo>
                  <a:pt x="4468" y="1342"/>
                </a:lnTo>
                <a:lnTo>
                  <a:pt x="4439" y="1376"/>
                </a:lnTo>
                <a:lnTo>
                  <a:pt x="4408" y="1409"/>
                </a:lnTo>
                <a:lnTo>
                  <a:pt x="4396" y="1425"/>
                </a:lnTo>
                <a:lnTo>
                  <a:pt x="4387" y="1436"/>
                </a:lnTo>
                <a:lnTo>
                  <a:pt x="4384" y="1440"/>
                </a:lnTo>
                <a:lnTo>
                  <a:pt x="4383" y="1444"/>
                </a:lnTo>
                <a:lnTo>
                  <a:pt x="4382" y="1447"/>
                </a:lnTo>
                <a:lnTo>
                  <a:pt x="4381" y="1451"/>
                </a:lnTo>
                <a:lnTo>
                  <a:pt x="4382" y="1455"/>
                </a:lnTo>
                <a:lnTo>
                  <a:pt x="4383" y="1460"/>
                </a:lnTo>
                <a:lnTo>
                  <a:pt x="4385" y="1464"/>
                </a:lnTo>
                <a:lnTo>
                  <a:pt x="4388" y="1469"/>
                </a:lnTo>
                <a:lnTo>
                  <a:pt x="4396" y="1479"/>
                </a:lnTo>
                <a:lnTo>
                  <a:pt x="4406" y="1491"/>
                </a:lnTo>
                <a:lnTo>
                  <a:pt x="4434" y="1520"/>
                </a:lnTo>
                <a:lnTo>
                  <a:pt x="4466" y="1553"/>
                </a:lnTo>
                <a:lnTo>
                  <a:pt x="4498" y="1583"/>
                </a:lnTo>
                <a:lnTo>
                  <a:pt x="4500" y="1585"/>
                </a:lnTo>
                <a:lnTo>
                  <a:pt x="4501" y="1587"/>
                </a:lnTo>
                <a:lnTo>
                  <a:pt x="4502" y="1589"/>
                </a:lnTo>
                <a:lnTo>
                  <a:pt x="4503" y="1593"/>
                </a:lnTo>
                <a:lnTo>
                  <a:pt x="4502" y="1599"/>
                </a:lnTo>
                <a:lnTo>
                  <a:pt x="4501" y="1601"/>
                </a:lnTo>
                <a:lnTo>
                  <a:pt x="4499" y="1604"/>
                </a:lnTo>
                <a:lnTo>
                  <a:pt x="4496" y="1610"/>
                </a:lnTo>
                <a:lnTo>
                  <a:pt x="4494" y="1613"/>
                </a:lnTo>
                <a:lnTo>
                  <a:pt x="4491" y="1615"/>
                </a:lnTo>
                <a:lnTo>
                  <a:pt x="4486" y="1620"/>
                </a:lnTo>
                <a:lnTo>
                  <a:pt x="4483" y="1622"/>
                </a:lnTo>
                <a:lnTo>
                  <a:pt x="4480" y="1624"/>
                </a:lnTo>
                <a:lnTo>
                  <a:pt x="4474" y="1626"/>
                </a:lnTo>
                <a:lnTo>
                  <a:pt x="4471" y="1627"/>
                </a:lnTo>
                <a:lnTo>
                  <a:pt x="4467" y="1627"/>
                </a:lnTo>
                <a:close/>
                <a:moveTo>
                  <a:pt x="4080" y="2627"/>
                </a:moveTo>
                <a:lnTo>
                  <a:pt x="4073" y="2627"/>
                </a:lnTo>
                <a:lnTo>
                  <a:pt x="4065" y="2626"/>
                </a:lnTo>
                <a:lnTo>
                  <a:pt x="4058" y="2625"/>
                </a:lnTo>
                <a:lnTo>
                  <a:pt x="4049" y="2623"/>
                </a:lnTo>
                <a:lnTo>
                  <a:pt x="4042" y="2621"/>
                </a:lnTo>
                <a:lnTo>
                  <a:pt x="4035" y="2619"/>
                </a:lnTo>
                <a:lnTo>
                  <a:pt x="4021" y="2613"/>
                </a:lnTo>
                <a:lnTo>
                  <a:pt x="4008" y="2605"/>
                </a:lnTo>
                <a:lnTo>
                  <a:pt x="4002" y="2601"/>
                </a:lnTo>
                <a:lnTo>
                  <a:pt x="3996" y="2596"/>
                </a:lnTo>
                <a:lnTo>
                  <a:pt x="3989" y="2591"/>
                </a:lnTo>
                <a:lnTo>
                  <a:pt x="3983" y="2586"/>
                </a:lnTo>
                <a:lnTo>
                  <a:pt x="3978" y="2581"/>
                </a:lnTo>
                <a:lnTo>
                  <a:pt x="3973" y="2575"/>
                </a:lnTo>
                <a:lnTo>
                  <a:pt x="3968" y="2569"/>
                </a:lnTo>
                <a:lnTo>
                  <a:pt x="3963" y="2563"/>
                </a:lnTo>
                <a:lnTo>
                  <a:pt x="3959" y="2556"/>
                </a:lnTo>
                <a:lnTo>
                  <a:pt x="3955" y="2548"/>
                </a:lnTo>
                <a:lnTo>
                  <a:pt x="3951" y="2541"/>
                </a:lnTo>
                <a:lnTo>
                  <a:pt x="3947" y="2534"/>
                </a:lnTo>
                <a:lnTo>
                  <a:pt x="3944" y="2526"/>
                </a:lnTo>
                <a:lnTo>
                  <a:pt x="3941" y="2518"/>
                </a:lnTo>
                <a:lnTo>
                  <a:pt x="3938" y="2510"/>
                </a:lnTo>
                <a:lnTo>
                  <a:pt x="3936" y="2502"/>
                </a:lnTo>
                <a:lnTo>
                  <a:pt x="3934" y="2494"/>
                </a:lnTo>
                <a:lnTo>
                  <a:pt x="3932" y="2484"/>
                </a:lnTo>
                <a:lnTo>
                  <a:pt x="3931" y="2475"/>
                </a:lnTo>
                <a:lnTo>
                  <a:pt x="3929" y="2467"/>
                </a:lnTo>
                <a:lnTo>
                  <a:pt x="3928" y="2458"/>
                </a:lnTo>
                <a:lnTo>
                  <a:pt x="3928" y="2448"/>
                </a:lnTo>
                <a:lnTo>
                  <a:pt x="3929" y="2429"/>
                </a:lnTo>
                <a:lnTo>
                  <a:pt x="3931" y="2420"/>
                </a:lnTo>
                <a:lnTo>
                  <a:pt x="3932" y="2410"/>
                </a:lnTo>
                <a:lnTo>
                  <a:pt x="3934" y="2401"/>
                </a:lnTo>
                <a:lnTo>
                  <a:pt x="3936" y="2393"/>
                </a:lnTo>
                <a:lnTo>
                  <a:pt x="3939" y="2384"/>
                </a:lnTo>
                <a:lnTo>
                  <a:pt x="3941" y="2375"/>
                </a:lnTo>
                <a:lnTo>
                  <a:pt x="3944" y="2366"/>
                </a:lnTo>
                <a:lnTo>
                  <a:pt x="3948" y="2358"/>
                </a:lnTo>
                <a:lnTo>
                  <a:pt x="3952" y="2350"/>
                </a:lnTo>
                <a:lnTo>
                  <a:pt x="3956" y="2342"/>
                </a:lnTo>
                <a:lnTo>
                  <a:pt x="3960" y="2334"/>
                </a:lnTo>
                <a:lnTo>
                  <a:pt x="3965" y="2327"/>
                </a:lnTo>
                <a:lnTo>
                  <a:pt x="3975" y="2313"/>
                </a:lnTo>
                <a:lnTo>
                  <a:pt x="3981" y="2305"/>
                </a:lnTo>
                <a:lnTo>
                  <a:pt x="3986" y="2299"/>
                </a:lnTo>
                <a:lnTo>
                  <a:pt x="4000" y="2288"/>
                </a:lnTo>
                <a:lnTo>
                  <a:pt x="4006" y="2283"/>
                </a:lnTo>
                <a:lnTo>
                  <a:pt x="4013" y="2278"/>
                </a:lnTo>
                <a:lnTo>
                  <a:pt x="4020" y="2274"/>
                </a:lnTo>
                <a:lnTo>
                  <a:pt x="4027" y="2269"/>
                </a:lnTo>
                <a:lnTo>
                  <a:pt x="4034" y="2266"/>
                </a:lnTo>
                <a:lnTo>
                  <a:pt x="4041" y="2263"/>
                </a:lnTo>
                <a:lnTo>
                  <a:pt x="4049" y="2260"/>
                </a:lnTo>
                <a:lnTo>
                  <a:pt x="4058" y="2258"/>
                </a:lnTo>
                <a:lnTo>
                  <a:pt x="4066" y="2256"/>
                </a:lnTo>
                <a:lnTo>
                  <a:pt x="4074" y="2255"/>
                </a:lnTo>
                <a:lnTo>
                  <a:pt x="4082" y="2254"/>
                </a:lnTo>
                <a:lnTo>
                  <a:pt x="4090" y="2254"/>
                </a:lnTo>
                <a:lnTo>
                  <a:pt x="4100" y="2254"/>
                </a:lnTo>
                <a:lnTo>
                  <a:pt x="4105" y="2255"/>
                </a:lnTo>
                <a:lnTo>
                  <a:pt x="4111" y="2255"/>
                </a:lnTo>
                <a:lnTo>
                  <a:pt x="4115" y="2256"/>
                </a:lnTo>
                <a:lnTo>
                  <a:pt x="4120" y="2258"/>
                </a:lnTo>
                <a:lnTo>
                  <a:pt x="4128" y="2261"/>
                </a:lnTo>
                <a:lnTo>
                  <a:pt x="4136" y="2265"/>
                </a:lnTo>
                <a:lnTo>
                  <a:pt x="4144" y="2269"/>
                </a:lnTo>
                <a:lnTo>
                  <a:pt x="4150" y="2275"/>
                </a:lnTo>
                <a:lnTo>
                  <a:pt x="4156" y="2281"/>
                </a:lnTo>
                <a:lnTo>
                  <a:pt x="4159" y="2284"/>
                </a:lnTo>
                <a:lnTo>
                  <a:pt x="4162" y="2287"/>
                </a:lnTo>
                <a:lnTo>
                  <a:pt x="4166" y="2295"/>
                </a:lnTo>
                <a:lnTo>
                  <a:pt x="4171" y="2302"/>
                </a:lnTo>
                <a:lnTo>
                  <a:pt x="4175" y="2312"/>
                </a:lnTo>
                <a:lnTo>
                  <a:pt x="4177" y="2320"/>
                </a:lnTo>
                <a:lnTo>
                  <a:pt x="4179" y="2329"/>
                </a:lnTo>
                <a:lnTo>
                  <a:pt x="4180" y="2339"/>
                </a:lnTo>
                <a:lnTo>
                  <a:pt x="4181" y="2349"/>
                </a:lnTo>
                <a:lnTo>
                  <a:pt x="4180" y="2361"/>
                </a:lnTo>
                <a:lnTo>
                  <a:pt x="4179" y="2368"/>
                </a:lnTo>
                <a:lnTo>
                  <a:pt x="4178" y="2375"/>
                </a:lnTo>
                <a:lnTo>
                  <a:pt x="4174" y="2387"/>
                </a:lnTo>
                <a:lnTo>
                  <a:pt x="4168" y="2398"/>
                </a:lnTo>
                <a:lnTo>
                  <a:pt x="4162" y="2409"/>
                </a:lnTo>
                <a:lnTo>
                  <a:pt x="4154" y="2420"/>
                </a:lnTo>
                <a:lnTo>
                  <a:pt x="4150" y="2425"/>
                </a:lnTo>
                <a:lnTo>
                  <a:pt x="4146" y="2430"/>
                </a:lnTo>
                <a:lnTo>
                  <a:pt x="4137" y="2440"/>
                </a:lnTo>
                <a:lnTo>
                  <a:pt x="4127" y="2449"/>
                </a:lnTo>
                <a:lnTo>
                  <a:pt x="4122" y="2452"/>
                </a:lnTo>
                <a:lnTo>
                  <a:pt x="4116" y="2456"/>
                </a:lnTo>
                <a:lnTo>
                  <a:pt x="4104" y="2463"/>
                </a:lnTo>
                <a:lnTo>
                  <a:pt x="4092" y="2468"/>
                </a:lnTo>
                <a:lnTo>
                  <a:pt x="4080" y="2473"/>
                </a:lnTo>
                <a:lnTo>
                  <a:pt x="4074" y="2475"/>
                </a:lnTo>
                <a:lnTo>
                  <a:pt x="4068" y="2476"/>
                </a:lnTo>
                <a:lnTo>
                  <a:pt x="4062" y="2478"/>
                </a:lnTo>
                <a:lnTo>
                  <a:pt x="4055" y="2478"/>
                </a:lnTo>
                <a:lnTo>
                  <a:pt x="4042" y="2479"/>
                </a:lnTo>
                <a:lnTo>
                  <a:pt x="4036" y="2478"/>
                </a:lnTo>
                <a:lnTo>
                  <a:pt x="4031" y="2477"/>
                </a:lnTo>
                <a:lnTo>
                  <a:pt x="4027" y="2474"/>
                </a:lnTo>
                <a:lnTo>
                  <a:pt x="4025" y="2472"/>
                </a:lnTo>
                <a:lnTo>
                  <a:pt x="4023" y="2470"/>
                </a:lnTo>
                <a:lnTo>
                  <a:pt x="4020" y="2465"/>
                </a:lnTo>
                <a:lnTo>
                  <a:pt x="4018" y="2460"/>
                </a:lnTo>
                <a:lnTo>
                  <a:pt x="4017" y="2457"/>
                </a:lnTo>
                <a:lnTo>
                  <a:pt x="4016" y="2454"/>
                </a:lnTo>
                <a:lnTo>
                  <a:pt x="4016" y="2448"/>
                </a:lnTo>
                <a:lnTo>
                  <a:pt x="4016" y="2445"/>
                </a:lnTo>
                <a:lnTo>
                  <a:pt x="4016" y="2442"/>
                </a:lnTo>
                <a:lnTo>
                  <a:pt x="4017" y="2437"/>
                </a:lnTo>
                <a:lnTo>
                  <a:pt x="4018" y="2435"/>
                </a:lnTo>
                <a:lnTo>
                  <a:pt x="4019" y="2433"/>
                </a:lnTo>
                <a:lnTo>
                  <a:pt x="4021" y="2432"/>
                </a:lnTo>
                <a:lnTo>
                  <a:pt x="4023" y="2430"/>
                </a:lnTo>
                <a:lnTo>
                  <a:pt x="4034" y="2428"/>
                </a:lnTo>
                <a:lnTo>
                  <a:pt x="4044" y="2425"/>
                </a:lnTo>
                <a:lnTo>
                  <a:pt x="4055" y="2422"/>
                </a:lnTo>
                <a:lnTo>
                  <a:pt x="4065" y="2418"/>
                </a:lnTo>
                <a:lnTo>
                  <a:pt x="4074" y="2413"/>
                </a:lnTo>
                <a:lnTo>
                  <a:pt x="4082" y="2408"/>
                </a:lnTo>
                <a:lnTo>
                  <a:pt x="4090" y="2403"/>
                </a:lnTo>
                <a:lnTo>
                  <a:pt x="4094" y="2400"/>
                </a:lnTo>
                <a:lnTo>
                  <a:pt x="4097" y="2397"/>
                </a:lnTo>
                <a:lnTo>
                  <a:pt x="4104" y="2390"/>
                </a:lnTo>
                <a:lnTo>
                  <a:pt x="4111" y="2384"/>
                </a:lnTo>
                <a:lnTo>
                  <a:pt x="4116" y="2377"/>
                </a:lnTo>
                <a:lnTo>
                  <a:pt x="4120" y="2369"/>
                </a:lnTo>
                <a:lnTo>
                  <a:pt x="4123" y="2362"/>
                </a:lnTo>
                <a:lnTo>
                  <a:pt x="4125" y="2355"/>
                </a:lnTo>
                <a:lnTo>
                  <a:pt x="4127" y="2348"/>
                </a:lnTo>
                <a:lnTo>
                  <a:pt x="4127" y="2341"/>
                </a:lnTo>
                <a:lnTo>
                  <a:pt x="4127" y="2333"/>
                </a:lnTo>
                <a:lnTo>
                  <a:pt x="4125" y="2326"/>
                </a:lnTo>
                <a:lnTo>
                  <a:pt x="4123" y="2323"/>
                </a:lnTo>
                <a:lnTo>
                  <a:pt x="4121" y="2319"/>
                </a:lnTo>
                <a:lnTo>
                  <a:pt x="4119" y="2317"/>
                </a:lnTo>
                <a:lnTo>
                  <a:pt x="4117" y="2314"/>
                </a:lnTo>
                <a:lnTo>
                  <a:pt x="4111" y="2309"/>
                </a:lnTo>
                <a:lnTo>
                  <a:pt x="4107" y="2307"/>
                </a:lnTo>
                <a:lnTo>
                  <a:pt x="4103" y="2306"/>
                </a:lnTo>
                <a:lnTo>
                  <a:pt x="4095" y="2304"/>
                </a:lnTo>
                <a:lnTo>
                  <a:pt x="4091" y="2303"/>
                </a:lnTo>
                <a:lnTo>
                  <a:pt x="4086" y="2303"/>
                </a:lnTo>
                <a:lnTo>
                  <a:pt x="4077" y="2304"/>
                </a:lnTo>
                <a:lnTo>
                  <a:pt x="4073" y="2305"/>
                </a:lnTo>
                <a:lnTo>
                  <a:pt x="4069" y="2306"/>
                </a:lnTo>
                <a:lnTo>
                  <a:pt x="4064" y="2308"/>
                </a:lnTo>
                <a:lnTo>
                  <a:pt x="4060" y="2310"/>
                </a:lnTo>
                <a:lnTo>
                  <a:pt x="4055" y="2313"/>
                </a:lnTo>
                <a:lnTo>
                  <a:pt x="4051" y="2315"/>
                </a:lnTo>
                <a:lnTo>
                  <a:pt x="4046" y="2318"/>
                </a:lnTo>
                <a:lnTo>
                  <a:pt x="4041" y="2321"/>
                </a:lnTo>
                <a:lnTo>
                  <a:pt x="4033" y="2328"/>
                </a:lnTo>
                <a:lnTo>
                  <a:pt x="4025" y="2336"/>
                </a:lnTo>
                <a:lnTo>
                  <a:pt x="4018" y="2345"/>
                </a:lnTo>
                <a:lnTo>
                  <a:pt x="4014" y="2350"/>
                </a:lnTo>
                <a:lnTo>
                  <a:pt x="4011" y="2355"/>
                </a:lnTo>
                <a:lnTo>
                  <a:pt x="4005" y="2366"/>
                </a:lnTo>
                <a:lnTo>
                  <a:pt x="3999" y="2379"/>
                </a:lnTo>
                <a:lnTo>
                  <a:pt x="3995" y="2391"/>
                </a:lnTo>
                <a:lnTo>
                  <a:pt x="3991" y="2404"/>
                </a:lnTo>
                <a:lnTo>
                  <a:pt x="3987" y="2417"/>
                </a:lnTo>
                <a:lnTo>
                  <a:pt x="3985" y="2432"/>
                </a:lnTo>
                <a:lnTo>
                  <a:pt x="3985" y="2439"/>
                </a:lnTo>
                <a:lnTo>
                  <a:pt x="3985" y="2446"/>
                </a:lnTo>
                <a:lnTo>
                  <a:pt x="3985" y="2459"/>
                </a:lnTo>
                <a:lnTo>
                  <a:pt x="3986" y="2471"/>
                </a:lnTo>
                <a:lnTo>
                  <a:pt x="3988" y="2482"/>
                </a:lnTo>
                <a:lnTo>
                  <a:pt x="3991" y="2488"/>
                </a:lnTo>
                <a:lnTo>
                  <a:pt x="3992" y="2494"/>
                </a:lnTo>
                <a:lnTo>
                  <a:pt x="3996" y="2505"/>
                </a:lnTo>
                <a:lnTo>
                  <a:pt x="3998" y="2510"/>
                </a:lnTo>
                <a:lnTo>
                  <a:pt x="4001" y="2515"/>
                </a:lnTo>
                <a:lnTo>
                  <a:pt x="4003" y="2519"/>
                </a:lnTo>
                <a:lnTo>
                  <a:pt x="4006" y="2524"/>
                </a:lnTo>
                <a:lnTo>
                  <a:pt x="4009" y="2528"/>
                </a:lnTo>
                <a:lnTo>
                  <a:pt x="4012" y="2532"/>
                </a:lnTo>
                <a:lnTo>
                  <a:pt x="4015" y="2536"/>
                </a:lnTo>
                <a:lnTo>
                  <a:pt x="4018" y="2540"/>
                </a:lnTo>
                <a:lnTo>
                  <a:pt x="4026" y="2546"/>
                </a:lnTo>
                <a:lnTo>
                  <a:pt x="4033" y="2553"/>
                </a:lnTo>
                <a:lnTo>
                  <a:pt x="4042" y="2558"/>
                </a:lnTo>
                <a:lnTo>
                  <a:pt x="4052" y="2561"/>
                </a:lnTo>
                <a:lnTo>
                  <a:pt x="4062" y="2564"/>
                </a:lnTo>
                <a:lnTo>
                  <a:pt x="4072" y="2566"/>
                </a:lnTo>
                <a:lnTo>
                  <a:pt x="4077" y="2566"/>
                </a:lnTo>
                <a:lnTo>
                  <a:pt x="4082" y="2567"/>
                </a:lnTo>
                <a:lnTo>
                  <a:pt x="4093" y="2566"/>
                </a:lnTo>
                <a:lnTo>
                  <a:pt x="4103" y="2564"/>
                </a:lnTo>
                <a:lnTo>
                  <a:pt x="4114" y="2562"/>
                </a:lnTo>
                <a:lnTo>
                  <a:pt x="4124" y="2559"/>
                </a:lnTo>
                <a:lnTo>
                  <a:pt x="4133" y="2554"/>
                </a:lnTo>
                <a:lnTo>
                  <a:pt x="4142" y="2548"/>
                </a:lnTo>
                <a:lnTo>
                  <a:pt x="4150" y="2543"/>
                </a:lnTo>
                <a:lnTo>
                  <a:pt x="4159" y="2536"/>
                </a:lnTo>
                <a:lnTo>
                  <a:pt x="4167" y="2529"/>
                </a:lnTo>
                <a:lnTo>
                  <a:pt x="4175" y="2521"/>
                </a:lnTo>
                <a:lnTo>
                  <a:pt x="4183" y="2512"/>
                </a:lnTo>
                <a:lnTo>
                  <a:pt x="4190" y="2503"/>
                </a:lnTo>
                <a:lnTo>
                  <a:pt x="4202" y="2483"/>
                </a:lnTo>
                <a:lnTo>
                  <a:pt x="4208" y="2473"/>
                </a:lnTo>
                <a:lnTo>
                  <a:pt x="4214" y="2462"/>
                </a:lnTo>
                <a:lnTo>
                  <a:pt x="4219" y="2451"/>
                </a:lnTo>
                <a:lnTo>
                  <a:pt x="4224" y="2440"/>
                </a:lnTo>
                <a:lnTo>
                  <a:pt x="4228" y="2427"/>
                </a:lnTo>
                <a:lnTo>
                  <a:pt x="4234" y="2415"/>
                </a:lnTo>
                <a:lnTo>
                  <a:pt x="4237" y="2403"/>
                </a:lnTo>
                <a:lnTo>
                  <a:pt x="4241" y="2391"/>
                </a:lnTo>
                <a:lnTo>
                  <a:pt x="4244" y="2379"/>
                </a:lnTo>
                <a:lnTo>
                  <a:pt x="4246" y="2366"/>
                </a:lnTo>
                <a:lnTo>
                  <a:pt x="4249" y="2354"/>
                </a:lnTo>
                <a:lnTo>
                  <a:pt x="4250" y="2343"/>
                </a:lnTo>
                <a:lnTo>
                  <a:pt x="4252" y="2331"/>
                </a:lnTo>
                <a:lnTo>
                  <a:pt x="4253" y="2319"/>
                </a:lnTo>
                <a:lnTo>
                  <a:pt x="4254" y="2307"/>
                </a:lnTo>
                <a:lnTo>
                  <a:pt x="4254" y="2296"/>
                </a:lnTo>
                <a:lnTo>
                  <a:pt x="4254" y="2285"/>
                </a:lnTo>
                <a:lnTo>
                  <a:pt x="4253" y="2275"/>
                </a:lnTo>
                <a:lnTo>
                  <a:pt x="4254" y="2272"/>
                </a:lnTo>
                <a:lnTo>
                  <a:pt x="4256" y="2270"/>
                </a:lnTo>
                <a:lnTo>
                  <a:pt x="4258" y="2268"/>
                </a:lnTo>
                <a:lnTo>
                  <a:pt x="4261" y="2266"/>
                </a:lnTo>
                <a:lnTo>
                  <a:pt x="4268" y="2263"/>
                </a:lnTo>
                <a:lnTo>
                  <a:pt x="4272" y="2263"/>
                </a:lnTo>
                <a:lnTo>
                  <a:pt x="4276" y="2262"/>
                </a:lnTo>
                <a:lnTo>
                  <a:pt x="4283" y="2263"/>
                </a:lnTo>
                <a:lnTo>
                  <a:pt x="4286" y="2264"/>
                </a:lnTo>
                <a:lnTo>
                  <a:pt x="4289" y="2265"/>
                </a:lnTo>
                <a:lnTo>
                  <a:pt x="4296" y="2267"/>
                </a:lnTo>
                <a:lnTo>
                  <a:pt x="4299" y="2269"/>
                </a:lnTo>
                <a:lnTo>
                  <a:pt x="4301" y="2272"/>
                </a:lnTo>
                <a:lnTo>
                  <a:pt x="4305" y="2277"/>
                </a:lnTo>
                <a:lnTo>
                  <a:pt x="4307" y="2281"/>
                </a:lnTo>
                <a:lnTo>
                  <a:pt x="4308" y="2285"/>
                </a:lnTo>
                <a:lnTo>
                  <a:pt x="4309" y="2289"/>
                </a:lnTo>
                <a:lnTo>
                  <a:pt x="4310" y="2294"/>
                </a:lnTo>
                <a:lnTo>
                  <a:pt x="4310" y="2299"/>
                </a:lnTo>
                <a:lnTo>
                  <a:pt x="4311" y="2305"/>
                </a:lnTo>
                <a:lnTo>
                  <a:pt x="4310" y="2322"/>
                </a:lnTo>
                <a:lnTo>
                  <a:pt x="4309" y="2337"/>
                </a:lnTo>
                <a:lnTo>
                  <a:pt x="4308" y="2352"/>
                </a:lnTo>
                <a:lnTo>
                  <a:pt x="4306" y="2368"/>
                </a:lnTo>
                <a:lnTo>
                  <a:pt x="4303" y="2383"/>
                </a:lnTo>
                <a:lnTo>
                  <a:pt x="4300" y="2398"/>
                </a:lnTo>
                <a:lnTo>
                  <a:pt x="4297" y="2413"/>
                </a:lnTo>
                <a:lnTo>
                  <a:pt x="4293" y="2427"/>
                </a:lnTo>
                <a:lnTo>
                  <a:pt x="4287" y="2442"/>
                </a:lnTo>
                <a:lnTo>
                  <a:pt x="4282" y="2455"/>
                </a:lnTo>
                <a:lnTo>
                  <a:pt x="4277" y="2468"/>
                </a:lnTo>
                <a:lnTo>
                  <a:pt x="4271" y="2481"/>
                </a:lnTo>
                <a:lnTo>
                  <a:pt x="4265" y="2495"/>
                </a:lnTo>
                <a:lnTo>
                  <a:pt x="4259" y="2507"/>
                </a:lnTo>
                <a:lnTo>
                  <a:pt x="4252" y="2518"/>
                </a:lnTo>
                <a:lnTo>
                  <a:pt x="4245" y="2529"/>
                </a:lnTo>
                <a:lnTo>
                  <a:pt x="4237" y="2540"/>
                </a:lnTo>
                <a:lnTo>
                  <a:pt x="4228" y="2550"/>
                </a:lnTo>
                <a:lnTo>
                  <a:pt x="4220" y="2561"/>
                </a:lnTo>
                <a:lnTo>
                  <a:pt x="4211" y="2570"/>
                </a:lnTo>
                <a:lnTo>
                  <a:pt x="4202" y="2578"/>
                </a:lnTo>
                <a:lnTo>
                  <a:pt x="4192" y="2586"/>
                </a:lnTo>
                <a:lnTo>
                  <a:pt x="4183" y="2593"/>
                </a:lnTo>
                <a:lnTo>
                  <a:pt x="4173" y="2600"/>
                </a:lnTo>
                <a:lnTo>
                  <a:pt x="4161" y="2606"/>
                </a:lnTo>
                <a:lnTo>
                  <a:pt x="4151" y="2612"/>
                </a:lnTo>
                <a:lnTo>
                  <a:pt x="4140" y="2616"/>
                </a:lnTo>
                <a:lnTo>
                  <a:pt x="4129" y="2620"/>
                </a:lnTo>
                <a:lnTo>
                  <a:pt x="4117" y="2623"/>
                </a:lnTo>
                <a:lnTo>
                  <a:pt x="4105" y="2625"/>
                </a:lnTo>
                <a:lnTo>
                  <a:pt x="4093" y="2626"/>
                </a:lnTo>
                <a:lnTo>
                  <a:pt x="4080" y="2627"/>
                </a:lnTo>
                <a:close/>
                <a:moveTo>
                  <a:pt x="4467" y="2621"/>
                </a:moveTo>
                <a:lnTo>
                  <a:pt x="4465" y="2621"/>
                </a:lnTo>
                <a:lnTo>
                  <a:pt x="4463" y="2620"/>
                </a:lnTo>
                <a:lnTo>
                  <a:pt x="4458" y="2617"/>
                </a:lnTo>
                <a:lnTo>
                  <a:pt x="4451" y="2613"/>
                </a:lnTo>
                <a:lnTo>
                  <a:pt x="4444" y="2607"/>
                </a:lnTo>
                <a:lnTo>
                  <a:pt x="4431" y="2596"/>
                </a:lnTo>
                <a:lnTo>
                  <a:pt x="4416" y="2582"/>
                </a:lnTo>
                <a:lnTo>
                  <a:pt x="4399" y="2566"/>
                </a:lnTo>
                <a:lnTo>
                  <a:pt x="4383" y="2548"/>
                </a:lnTo>
                <a:lnTo>
                  <a:pt x="4367" y="2531"/>
                </a:lnTo>
                <a:lnTo>
                  <a:pt x="4352" y="2515"/>
                </a:lnTo>
                <a:lnTo>
                  <a:pt x="4340" y="2501"/>
                </a:lnTo>
                <a:lnTo>
                  <a:pt x="4336" y="2494"/>
                </a:lnTo>
                <a:lnTo>
                  <a:pt x="4332" y="2488"/>
                </a:lnTo>
                <a:lnTo>
                  <a:pt x="4327" y="2478"/>
                </a:lnTo>
                <a:lnTo>
                  <a:pt x="4323" y="2468"/>
                </a:lnTo>
                <a:lnTo>
                  <a:pt x="4321" y="2458"/>
                </a:lnTo>
                <a:lnTo>
                  <a:pt x="4320" y="2448"/>
                </a:lnTo>
                <a:lnTo>
                  <a:pt x="4320" y="2443"/>
                </a:lnTo>
                <a:lnTo>
                  <a:pt x="4321" y="2437"/>
                </a:lnTo>
                <a:lnTo>
                  <a:pt x="4323" y="2430"/>
                </a:lnTo>
                <a:lnTo>
                  <a:pt x="4325" y="2424"/>
                </a:lnTo>
                <a:lnTo>
                  <a:pt x="4327" y="2418"/>
                </a:lnTo>
                <a:lnTo>
                  <a:pt x="4330" y="2412"/>
                </a:lnTo>
                <a:lnTo>
                  <a:pt x="4334" y="2405"/>
                </a:lnTo>
                <a:lnTo>
                  <a:pt x="4339" y="2398"/>
                </a:lnTo>
                <a:lnTo>
                  <a:pt x="4347" y="2387"/>
                </a:lnTo>
                <a:lnTo>
                  <a:pt x="4359" y="2374"/>
                </a:lnTo>
                <a:lnTo>
                  <a:pt x="4389" y="2339"/>
                </a:lnTo>
                <a:lnTo>
                  <a:pt x="4425" y="2299"/>
                </a:lnTo>
                <a:lnTo>
                  <a:pt x="4460" y="2259"/>
                </a:lnTo>
                <a:lnTo>
                  <a:pt x="4461" y="2258"/>
                </a:lnTo>
                <a:lnTo>
                  <a:pt x="4464" y="2258"/>
                </a:lnTo>
                <a:lnTo>
                  <a:pt x="4468" y="2258"/>
                </a:lnTo>
                <a:lnTo>
                  <a:pt x="4473" y="2260"/>
                </a:lnTo>
                <a:lnTo>
                  <a:pt x="4477" y="2261"/>
                </a:lnTo>
                <a:lnTo>
                  <a:pt x="4481" y="2264"/>
                </a:lnTo>
                <a:lnTo>
                  <a:pt x="4486" y="2267"/>
                </a:lnTo>
                <a:lnTo>
                  <a:pt x="4489" y="2271"/>
                </a:lnTo>
                <a:lnTo>
                  <a:pt x="4493" y="2275"/>
                </a:lnTo>
                <a:lnTo>
                  <a:pt x="4496" y="2280"/>
                </a:lnTo>
                <a:lnTo>
                  <a:pt x="4497" y="2284"/>
                </a:lnTo>
                <a:lnTo>
                  <a:pt x="4498" y="2289"/>
                </a:lnTo>
                <a:lnTo>
                  <a:pt x="4497" y="2295"/>
                </a:lnTo>
                <a:lnTo>
                  <a:pt x="4495" y="2300"/>
                </a:lnTo>
                <a:lnTo>
                  <a:pt x="4492" y="2306"/>
                </a:lnTo>
                <a:lnTo>
                  <a:pt x="4489" y="2313"/>
                </a:lnTo>
                <a:lnTo>
                  <a:pt x="4480" y="2323"/>
                </a:lnTo>
                <a:lnTo>
                  <a:pt x="4468" y="2336"/>
                </a:lnTo>
                <a:lnTo>
                  <a:pt x="4439" y="2369"/>
                </a:lnTo>
                <a:lnTo>
                  <a:pt x="4408" y="2404"/>
                </a:lnTo>
                <a:lnTo>
                  <a:pt x="4396" y="2418"/>
                </a:lnTo>
                <a:lnTo>
                  <a:pt x="4387" y="2430"/>
                </a:lnTo>
                <a:lnTo>
                  <a:pt x="4384" y="2434"/>
                </a:lnTo>
                <a:lnTo>
                  <a:pt x="4383" y="2438"/>
                </a:lnTo>
                <a:lnTo>
                  <a:pt x="4382" y="2442"/>
                </a:lnTo>
                <a:lnTo>
                  <a:pt x="4381" y="2445"/>
                </a:lnTo>
                <a:lnTo>
                  <a:pt x="4382" y="2450"/>
                </a:lnTo>
                <a:lnTo>
                  <a:pt x="4383" y="2454"/>
                </a:lnTo>
                <a:lnTo>
                  <a:pt x="4385" y="2458"/>
                </a:lnTo>
                <a:lnTo>
                  <a:pt x="4388" y="2463"/>
                </a:lnTo>
                <a:lnTo>
                  <a:pt x="4396" y="2472"/>
                </a:lnTo>
                <a:lnTo>
                  <a:pt x="4406" y="2484"/>
                </a:lnTo>
                <a:lnTo>
                  <a:pt x="4434" y="2514"/>
                </a:lnTo>
                <a:lnTo>
                  <a:pt x="4466" y="2546"/>
                </a:lnTo>
                <a:lnTo>
                  <a:pt x="4498" y="2577"/>
                </a:lnTo>
                <a:lnTo>
                  <a:pt x="4500" y="2579"/>
                </a:lnTo>
                <a:lnTo>
                  <a:pt x="4501" y="2581"/>
                </a:lnTo>
                <a:lnTo>
                  <a:pt x="4502" y="2584"/>
                </a:lnTo>
                <a:lnTo>
                  <a:pt x="4503" y="2586"/>
                </a:lnTo>
                <a:lnTo>
                  <a:pt x="4502" y="2592"/>
                </a:lnTo>
                <a:lnTo>
                  <a:pt x="4501" y="2595"/>
                </a:lnTo>
                <a:lnTo>
                  <a:pt x="4499" y="2597"/>
                </a:lnTo>
                <a:lnTo>
                  <a:pt x="4496" y="2603"/>
                </a:lnTo>
                <a:lnTo>
                  <a:pt x="4494" y="2606"/>
                </a:lnTo>
                <a:lnTo>
                  <a:pt x="4491" y="2608"/>
                </a:lnTo>
                <a:lnTo>
                  <a:pt x="4486" y="2614"/>
                </a:lnTo>
                <a:lnTo>
                  <a:pt x="4483" y="2616"/>
                </a:lnTo>
                <a:lnTo>
                  <a:pt x="4480" y="2618"/>
                </a:lnTo>
                <a:lnTo>
                  <a:pt x="4474" y="2620"/>
                </a:lnTo>
                <a:lnTo>
                  <a:pt x="4471" y="2621"/>
                </a:lnTo>
                <a:lnTo>
                  <a:pt x="4467" y="2621"/>
                </a:lnTo>
                <a:close/>
                <a:moveTo>
                  <a:pt x="3303" y="639"/>
                </a:moveTo>
                <a:lnTo>
                  <a:pt x="3296" y="639"/>
                </a:lnTo>
                <a:lnTo>
                  <a:pt x="3288" y="639"/>
                </a:lnTo>
                <a:lnTo>
                  <a:pt x="3280" y="637"/>
                </a:lnTo>
                <a:lnTo>
                  <a:pt x="3273" y="636"/>
                </a:lnTo>
                <a:lnTo>
                  <a:pt x="3265" y="634"/>
                </a:lnTo>
                <a:lnTo>
                  <a:pt x="3258" y="632"/>
                </a:lnTo>
                <a:lnTo>
                  <a:pt x="3244" y="625"/>
                </a:lnTo>
                <a:lnTo>
                  <a:pt x="3231" y="618"/>
                </a:lnTo>
                <a:lnTo>
                  <a:pt x="3225" y="613"/>
                </a:lnTo>
                <a:lnTo>
                  <a:pt x="3219" y="609"/>
                </a:lnTo>
                <a:lnTo>
                  <a:pt x="3213" y="604"/>
                </a:lnTo>
                <a:lnTo>
                  <a:pt x="3206" y="599"/>
                </a:lnTo>
                <a:lnTo>
                  <a:pt x="3201" y="593"/>
                </a:lnTo>
                <a:lnTo>
                  <a:pt x="3196" y="588"/>
                </a:lnTo>
                <a:lnTo>
                  <a:pt x="3191" y="582"/>
                </a:lnTo>
                <a:lnTo>
                  <a:pt x="3186" y="575"/>
                </a:lnTo>
                <a:lnTo>
                  <a:pt x="3181" y="568"/>
                </a:lnTo>
                <a:lnTo>
                  <a:pt x="3177" y="561"/>
                </a:lnTo>
                <a:lnTo>
                  <a:pt x="3173" y="554"/>
                </a:lnTo>
                <a:lnTo>
                  <a:pt x="3170" y="546"/>
                </a:lnTo>
                <a:lnTo>
                  <a:pt x="3166" y="539"/>
                </a:lnTo>
                <a:lnTo>
                  <a:pt x="3163" y="531"/>
                </a:lnTo>
                <a:lnTo>
                  <a:pt x="3161" y="523"/>
                </a:lnTo>
                <a:lnTo>
                  <a:pt x="3158" y="515"/>
                </a:lnTo>
                <a:lnTo>
                  <a:pt x="3156" y="505"/>
                </a:lnTo>
                <a:lnTo>
                  <a:pt x="3155" y="497"/>
                </a:lnTo>
                <a:lnTo>
                  <a:pt x="3153" y="488"/>
                </a:lnTo>
                <a:lnTo>
                  <a:pt x="3153" y="479"/>
                </a:lnTo>
                <a:lnTo>
                  <a:pt x="3152" y="470"/>
                </a:lnTo>
                <a:lnTo>
                  <a:pt x="3152" y="461"/>
                </a:lnTo>
                <a:lnTo>
                  <a:pt x="3153" y="441"/>
                </a:lnTo>
                <a:lnTo>
                  <a:pt x="3154" y="432"/>
                </a:lnTo>
                <a:lnTo>
                  <a:pt x="3155" y="423"/>
                </a:lnTo>
                <a:lnTo>
                  <a:pt x="3157" y="414"/>
                </a:lnTo>
                <a:lnTo>
                  <a:pt x="3159" y="405"/>
                </a:lnTo>
                <a:lnTo>
                  <a:pt x="3161" y="396"/>
                </a:lnTo>
                <a:lnTo>
                  <a:pt x="3164" y="387"/>
                </a:lnTo>
                <a:lnTo>
                  <a:pt x="3167" y="378"/>
                </a:lnTo>
                <a:lnTo>
                  <a:pt x="3171" y="370"/>
                </a:lnTo>
                <a:lnTo>
                  <a:pt x="3175" y="362"/>
                </a:lnTo>
                <a:lnTo>
                  <a:pt x="3179" y="354"/>
                </a:lnTo>
                <a:lnTo>
                  <a:pt x="3183" y="347"/>
                </a:lnTo>
                <a:lnTo>
                  <a:pt x="3188" y="339"/>
                </a:lnTo>
                <a:lnTo>
                  <a:pt x="3198" y="325"/>
                </a:lnTo>
                <a:lnTo>
                  <a:pt x="3203" y="318"/>
                </a:lnTo>
                <a:lnTo>
                  <a:pt x="3209" y="312"/>
                </a:lnTo>
                <a:lnTo>
                  <a:pt x="3222" y="301"/>
                </a:lnTo>
                <a:lnTo>
                  <a:pt x="3229" y="295"/>
                </a:lnTo>
                <a:lnTo>
                  <a:pt x="3236" y="291"/>
                </a:lnTo>
                <a:lnTo>
                  <a:pt x="3242" y="286"/>
                </a:lnTo>
                <a:lnTo>
                  <a:pt x="3249" y="282"/>
                </a:lnTo>
                <a:lnTo>
                  <a:pt x="3257" y="278"/>
                </a:lnTo>
                <a:lnTo>
                  <a:pt x="3264" y="275"/>
                </a:lnTo>
                <a:lnTo>
                  <a:pt x="3273" y="273"/>
                </a:lnTo>
                <a:lnTo>
                  <a:pt x="3280" y="269"/>
                </a:lnTo>
                <a:lnTo>
                  <a:pt x="3288" y="268"/>
                </a:lnTo>
                <a:lnTo>
                  <a:pt x="3296" y="266"/>
                </a:lnTo>
                <a:lnTo>
                  <a:pt x="3305" y="265"/>
                </a:lnTo>
                <a:lnTo>
                  <a:pt x="3313" y="265"/>
                </a:lnTo>
                <a:lnTo>
                  <a:pt x="3323" y="266"/>
                </a:lnTo>
                <a:lnTo>
                  <a:pt x="3328" y="266"/>
                </a:lnTo>
                <a:lnTo>
                  <a:pt x="3334" y="267"/>
                </a:lnTo>
                <a:lnTo>
                  <a:pt x="3338" y="268"/>
                </a:lnTo>
                <a:lnTo>
                  <a:pt x="3343" y="269"/>
                </a:lnTo>
                <a:lnTo>
                  <a:pt x="3351" y="273"/>
                </a:lnTo>
                <a:lnTo>
                  <a:pt x="3359" y="277"/>
                </a:lnTo>
                <a:lnTo>
                  <a:pt x="3366" y="282"/>
                </a:lnTo>
                <a:lnTo>
                  <a:pt x="3373" y="287"/>
                </a:lnTo>
                <a:lnTo>
                  <a:pt x="3379" y="293"/>
                </a:lnTo>
                <a:lnTo>
                  <a:pt x="3382" y="297"/>
                </a:lnTo>
                <a:lnTo>
                  <a:pt x="3384" y="300"/>
                </a:lnTo>
                <a:lnTo>
                  <a:pt x="3389" y="307"/>
                </a:lnTo>
                <a:lnTo>
                  <a:pt x="3394" y="315"/>
                </a:lnTo>
                <a:lnTo>
                  <a:pt x="3398" y="323"/>
                </a:lnTo>
                <a:lnTo>
                  <a:pt x="3400" y="333"/>
                </a:lnTo>
                <a:lnTo>
                  <a:pt x="3402" y="342"/>
                </a:lnTo>
                <a:lnTo>
                  <a:pt x="3403" y="352"/>
                </a:lnTo>
                <a:lnTo>
                  <a:pt x="3404" y="362"/>
                </a:lnTo>
                <a:lnTo>
                  <a:pt x="3403" y="374"/>
                </a:lnTo>
                <a:lnTo>
                  <a:pt x="3402" y="380"/>
                </a:lnTo>
                <a:lnTo>
                  <a:pt x="3401" y="386"/>
                </a:lnTo>
                <a:lnTo>
                  <a:pt x="3397" y="399"/>
                </a:lnTo>
                <a:lnTo>
                  <a:pt x="3392" y="411"/>
                </a:lnTo>
                <a:lnTo>
                  <a:pt x="3385" y="422"/>
                </a:lnTo>
                <a:lnTo>
                  <a:pt x="3377" y="433"/>
                </a:lnTo>
                <a:lnTo>
                  <a:pt x="3373" y="438"/>
                </a:lnTo>
                <a:lnTo>
                  <a:pt x="3369" y="442"/>
                </a:lnTo>
                <a:lnTo>
                  <a:pt x="3360" y="453"/>
                </a:lnTo>
                <a:lnTo>
                  <a:pt x="3350" y="461"/>
                </a:lnTo>
                <a:lnTo>
                  <a:pt x="3344" y="465"/>
                </a:lnTo>
                <a:lnTo>
                  <a:pt x="3339" y="469"/>
                </a:lnTo>
                <a:lnTo>
                  <a:pt x="3327" y="475"/>
                </a:lnTo>
                <a:lnTo>
                  <a:pt x="3315" y="481"/>
                </a:lnTo>
                <a:lnTo>
                  <a:pt x="3303" y="486"/>
                </a:lnTo>
                <a:lnTo>
                  <a:pt x="3297" y="487"/>
                </a:lnTo>
                <a:lnTo>
                  <a:pt x="3291" y="489"/>
                </a:lnTo>
                <a:lnTo>
                  <a:pt x="3284" y="490"/>
                </a:lnTo>
                <a:lnTo>
                  <a:pt x="3278" y="491"/>
                </a:lnTo>
                <a:lnTo>
                  <a:pt x="3265" y="492"/>
                </a:lnTo>
                <a:lnTo>
                  <a:pt x="3259" y="491"/>
                </a:lnTo>
                <a:lnTo>
                  <a:pt x="3254" y="489"/>
                </a:lnTo>
                <a:lnTo>
                  <a:pt x="3250" y="486"/>
                </a:lnTo>
                <a:lnTo>
                  <a:pt x="3248" y="485"/>
                </a:lnTo>
                <a:lnTo>
                  <a:pt x="3246" y="483"/>
                </a:lnTo>
                <a:lnTo>
                  <a:pt x="3243" y="478"/>
                </a:lnTo>
                <a:lnTo>
                  <a:pt x="3240" y="473"/>
                </a:lnTo>
                <a:lnTo>
                  <a:pt x="3239" y="470"/>
                </a:lnTo>
                <a:lnTo>
                  <a:pt x="3239" y="467"/>
                </a:lnTo>
                <a:lnTo>
                  <a:pt x="3238" y="460"/>
                </a:lnTo>
                <a:lnTo>
                  <a:pt x="3238" y="458"/>
                </a:lnTo>
                <a:lnTo>
                  <a:pt x="3239" y="455"/>
                </a:lnTo>
                <a:lnTo>
                  <a:pt x="3240" y="449"/>
                </a:lnTo>
                <a:lnTo>
                  <a:pt x="3241" y="447"/>
                </a:lnTo>
                <a:lnTo>
                  <a:pt x="3242" y="445"/>
                </a:lnTo>
                <a:lnTo>
                  <a:pt x="3244" y="443"/>
                </a:lnTo>
                <a:lnTo>
                  <a:pt x="3245" y="442"/>
                </a:lnTo>
                <a:lnTo>
                  <a:pt x="3256" y="440"/>
                </a:lnTo>
                <a:lnTo>
                  <a:pt x="3267" y="438"/>
                </a:lnTo>
                <a:lnTo>
                  <a:pt x="3278" y="434"/>
                </a:lnTo>
                <a:lnTo>
                  <a:pt x="3288" y="430"/>
                </a:lnTo>
                <a:lnTo>
                  <a:pt x="3297" y="426"/>
                </a:lnTo>
                <a:lnTo>
                  <a:pt x="3305" y="421"/>
                </a:lnTo>
                <a:lnTo>
                  <a:pt x="3313" y="415"/>
                </a:lnTo>
                <a:lnTo>
                  <a:pt x="3317" y="412"/>
                </a:lnTo>
                <a:lnTo>
                  <a:pt x="3320" y="409"/>
                </a:lnTo>
                <a:lnTo>
                  <a:pt x="3327" y="403"/>
                </a:lnTo>
                <a:lnTo>
                  <a:pt x="3333" y="397"/>
                </a:lnTo>
                <a:lnTo>
                  <a:pt x="3338" y="389"/>
                </a:lnTo>
                <a:lnTo>
                  <a:pt x="3343" y="382"/>
                </a:lnTo>
                <a:lnTo>
                  <a:pt x="3346" y="375"/>
                </a:lnTo>
                <a:lnTo>
                  <a:pt x="3348" y="368"/>
                </a:lnTo>
                <a:lnTo>
                  <a:pt x="3350" y="361"/>
                </a:lnTo>
                <a:lnTo>
                  <a:pt x="3350" y="354"/>
                </a:lnTo>
                <a:lnTo>
                  <a:pt x="3350" y="346"/>
                </a:lnTo>
                <a:lnTo>
                  <a:pt x="3347" y="338"/>
                </a:lnTo>
                <a:lnTo>
                  <a:pt x="3346" y="335"/>
                </a:lnTo>
                <a:lnTo>
                  <a:pt x="3344" y="332"/>
                </a:lnTo>
                <a:lnTo>
                  <a:pt x="3342" y="328"/>
                </a:lnTo>
                <a:lnTo>
                  <a:pt x="3339" y="326"/>
                </a:lnTo>
                <a:lnTo>
                  <a:pt x="3334" y="322"/>
                </a:lnTo>
                <a:lnTo>
                  <a:pt x="3329" y="320"/>
                </a:lnTo>
                <a:lnTo>
                  <a:pt x="3326" y="318"/>
                </a:lnTo>
                <a:lnTo>
                  <a:pt x="3318" y="317"/>
                </a:lnTo>
                <a:lnTo>
                  <a:pt x="3314" y="316"/>
                </a:lnTo>
                <a:lnTo>
                  <a:pt x="3309" y="316"/>
                </a:lnTo>
                <a:lnTo>
                  <a:pt x="3300" y="317"/>
                </a:lnTo>
                <a:lnTo>
                  <a:pt x="3296" y="318"/>
                </a:lnTo>
                <a:lnTo>
                  <a:pt x="3291" y="319"/>
                </a:lnTo>
                <a:lnTo>
                  <a:pt x="3287" y="320"/>
                </a:lnTo>
                <a:lnTo>
                  <a:pt x="3282" y="322"/>
                </a:lnTo>
                <a:lnTo>
                  <a:pt x="3278" y="324"/>
                </a:lnTo>
                <a:lnTo>
                  <a:pt x="3274" y="327"/>
                </a:lnTo>
                <a:lnTo>
                  <a:pt x="3268" y="330"/>
                </a:lnTo>
                <a:lnTo>
                  <a:pt x="3264" y="334"/>
                </a:lnTo>
                <a:lnTo>
                  <a:pt x="3256" y="341"/>
                </a:lnTo>
                <a:lnTo>
                  <a:pt x="3248" y="349"/>
                </a:lnTo>
                <a:lnTo>
                  <a:pt x="3241" y="358"/>
                </a:lnTo>
                <a:lnTo>
                  <a:pt x="3237" y="363"/>
                </a:lnTo>
                <a:lnTo>
                  <a:pt x="3234" y="368"/>
                </a:lnTo>
                <a:lnTo>
                  <a:pt x="3228" y="379"/>
                </a:lnTo>
                <a:lnTo>
                  <a:pt x="3222" y="390"/>
                </a:lnTo>
                <a:lnTo>
                  <a:pt x="3217" y="403"/>
                </a:lnTo>
                <a:lnTo>
                  <a:pt x="3214" y="416"/>
                </a:lnTo>
                <a:lnTo>
                  <a:pt x="3211" y="430"/>
                </a:lnTo>
                <a:lnTo>
                  <a:pt x="3208" y="443"/>
                </a:lnTo>
                <a:lnTo>
                  <a:pt x="3207" y="450"/>
                </a:lnTo>
                <a:lnTo>
                  <a:pt x="3207" y="459"/>
                </a:lnTo>
                <a:lnTo>
                  <a:pt x="3208" y="471"/>
                </a:lnTo>
                <a:lnTo>
                  <a:pt x="3209" y="483"/>
                </a:lnTo>
                <a:lnTo>
                  <a:pt x="3212" y="495"/>
                </a:lnTo>
                <a:lnTo>
                  <a:pt x="3214" y="501"/>
                </a:lnTo>
                <a:lnTo>
                  <a:pt x="3215" y="506"/>
                </a:lnTo>
                <a:lnTo>
                  <a:pt x="3219" y="518"/>
                </a:lnTo>
                <a:lnTo>
                  <a:pt x="3221" y="523"/>
                </a:lnTo>
                <a:lnTo>
                  <a:pt x="3223" y="527"/>
                </a:lnTo>
                <a:lnTo>
                  <a:pt x="3226" y="532"/>
                </a:lnTo>
                <a:lnTo>
                  <a:pt x="3229" y="536"/>
                </a:lnTo>
                <a:lnTo>
                  <a:pt x="3231" y="541"/>
                </a:lnTo>
                <a:lnTo>
                  <a:pt x="3234" y="545"/>
                </a:lnTo>
                <a:lnTo>
                  <a:pt x="3238" y="548"/>
                </a:lnTo>
                <a:lnTo>
                  <a:pt x="3241" y="552"/>
                </a:lnTo>
                <a:lnTo>
                  <a:pt x="3248" y="559"/>
                </a:lnTo>
                <a:lnTo>
                  <a:pt x="3256" y="564"/>
                </a:lnTo>
                <a:lnTo>
                  <a:pt x="3265" y="569"/>
                </a:lnTo>
                <a:lnTo>
                  <a:pt x="3275" y="574"/>
                </a:lnTo>
                <a:lnTo>
                  <a:pt x="3284" y="577"/>
                </a:lnTo>
                <a:lnTo>
                  <a:pt x="3294" y="579"/>
                </a:lnTo>
                <a:lnTo>
                  <a:pt x="3300" y="579"/>
                </a:lnTo>
                <a:lnTo>
                  <a:pt x="3305" y="579"/>
                </a:lnTo>
                <a:lnTo>
                  <a:pt x="3316" y="579"/>
                </a:lnTo>
                <a:lnTo>
                  <a:pt x="3326" y="577"/>
                </a:lnTo>
                <a:lnTo>
                  <a:pt x="3337" y="575"/>
                </a:lnTo>
                <a:lnTo>
                  <a:pt x="3346" y="570"/>
                </a:lnTo>
                <a:lnTo>
                  <a:pt x="3356" y="566"/>
                </a:lnTo>
                <a:lnTo>
                  <a:pt x="3365" y="561"/>
                </a:lnTo>
                <a:lnTo>
                  <a:pt x="3373" y="555"/>
                </a:lnTo>
                <a:lnTo>
                  <a:pt x="3381" y="549"/>
                </a:lnTo>
                <a:lnTo>
                  <a:pt x="3389" y="541"/>
                </a:lnTo>
                <a:lnTo>
                  <a:pt x="3398" y="534"/>
                </a:lnTo>
                <a:lnTo>
                  <a:pt x="3405" y="525"/>
                </a:lnTo>
                <a:lnTo>
                  <a:pt x="3412" y="516"/>
                </a:lnTo>
                <a:lnTo>
                  <a:pt x="3425" y="496"/>
                </a:lnTo>
                <a:lnTo>
                  <a:pt x="3431" y="485"/>
                </a:lnTo>
                <a:lnTo>
                  <a:pt x="3437" y="475"/>
                </a:lnTo>
                <a:lnTo>
                  <a:pt x="3442" y="464"/>
                </a:lnTo>
                <a:lnTo>
                  <a:pt x="3447" y="452"/>
                </a:lnTo>
                <a:lnTo>
                  <a:pt x="3452" y="440"/>
                </a:lnTo>
                <a:lnTo>
                  <a:pt x="3456" y="428"/>
                </a:lnTo>
                <a:lnTo>
                  <a:pt x="3460" y="416"/>
                </a:lnTo>
                <a:lnTo>
                  <a:pt x="3463" y="404"/>
                </a:lnTo>
                <a:lnTo>
                  <a:pt x="3466" y="392"/>
                </a:lnTo>
                <a:lnTo>
                  <a:pt x="3469" y="379"/>
                </a:lnTo>
                <a:lnTo>
                  <a:pt x="3471" y="367"/>
                </a:lnTo>
                <a:lnTo>
                  <a:pt x="3473" y="355"/>
                </a:lnTo>
                <a:lnTo>
                  <a:pt x="3475" y="343"/>
                </a:lnTo>
                <a:lnTo>
                  <a:pt x="3476" y="332"/>
                </a:lnTo>
                <a:lnTo>
                  <a:pt x="3476" y="320"/>
                </a:lnTo>
                <a:lnTo>
                  <a:pt x="3477" y="308"/>
                </a:lnTo>
                <a:lnTo>
                  <a:pt x="3477" y="298"/>
                </a:lnTo>
                <a:lnTo>
                  <a:pt x="3476" y="287"/>
                </a:lnTo>
                <a:lnTo>
                  <a:pt x="3477" y="285"/>
                </a:lnTo>
                <a:lnTo>
                  <a:pt x="3479" y="283"/>
                </a:lnTo>
                <a:lnTo>
                  <a:pt x="3481" y="281"/>
                </a:lnTo>
                <a:lnTo>
                  <a:pt x="3484" y="279"/>
                </a:lnTo>
                <a:lnTo>
                  <a:pt x="3490" y="276"/>
                </a:lnTo>
                <a:lnTo>
                  <a:pt x="3494" y="275"/>
                </a:lnTo>
                <a:lnTo>
                  <a:pt x="3499" y="275"/>
                </a:lnTo>
                <a:lnTo>
                  <a:pt x="3506" y="276"/>
                </a:lnTo>
                <a:lnTo>
                  <a:pt x="3509" y="276"/>
                </a:lnTo>
                <a:lnTo>
                  <a:pt x="3513" y="277"/>
                </a:lnTo>
                <a:lnTo>
                  <a:pt x="3519" y="280"/>
                </a:lnTo>
                <a:lnTo>
                  <a:pt x="3522" y="282"/>
                </a:lnTo>
                <a:lnTo>
                  <a:pt x="3524" y="284"/>
                </a:lnTo>
                <a:lnTo>
                  <a:pt x="3528" y="290"/>
                </a:lnTo>
                <a:lnTo>
                  <a:pt x="3530" y="294"/>
                </a:lnTo>
                <a:lnTo>
                  <a:pt x="3531" y="297"/>
                </a:lnTo>
                <a:lnTo>
                  <a:pt x="3532" y="302"/>
                </a:lnTo>
                <a:lnTo>
                  <a:pt x="3533" y="307"/>
                </a:lnTo>
                <a:lnTo>
                  <a:pt x="3533" y="312"/>
                </a:lnTo>
                <a:lnTo>
                  <a:pt x="3533" y="318"/>
                </a:lnTo>
                <a:lnTo>
                  <a:pt x="3533" y="334"/>
                </a:lnTo>
                <a:lnTo>
                  <a:pt x="3532" y="350"/>
                </a:lnTo>
                <a:lnTo>
                  <a:pt x="3530" y="365"/>
                </a:lnTo>
                <a:lnTo>
                  <a:pt x="3528" y="380"/>
                </a:lnTo>
                <a:lnTo>
                  <a:pt x="3526" y="396"/>
                </a:lnTo>
                <a:lnTo>
                  <a:pt x="3523" y="411"/>
                </a:lnTo>
                <a:lnTo>
                  <a:pt x="3519" y="425"/>
                </a:lnTo>
                <a:lnTo>
                  <a:pt x="3515" y="439"/>
                </a:lnTo>
                <a:lnTo>
                  <a:pt x="3511" y="454"/>
                </a:lnTo>
                <a:lnTo>
                  <a:pt x="3505" y="468"/>
                </a:lnTo>
                <a:lnTo>
                  <a:pt x="3500" y="481"/>
                </a:lnTo>
                <a:lnTo>
                  <a:pt x="3494" y="494"/>
                </a:lnTo>
                <a:lnTo>
                  <a:pt x="3488" y="506"/>
                </a:lnTo>
                <a:lnTo>
                  <a:pt x="3482" y="519"/>
                </a:lnTo>
                <a:lnTo>
                  <a:pt x="3475" y="531"/>
                </a:lnTo>
                <a:lnTo>
                  <a:pt x="3467" y="542"/>
                </a:lnTo>
                <a:lnTo>
                  <a:pt x="3460" y="553"/>
                </a:lnTo>
                <a:lnTo>
                  <a:pt x="3452" y="563"/>
                </a:lnTo>
                <a:lnTo>
                  <a:pt x="3442" y="573"/>
                </a:lnTo>
                <a:lnTo>
                  <a:pt x="3434" y="582"/>
                </a:lnTo>
                <a:lnTo>
                  <a:pt x="3425" y="591"/>
                </a:lnTo>
                <a:lnTo>
                  <a:pt x="3415" y="599"/>
                </a:lnTo>
                <a:lnTo>
                  <a:pt x="3405" y="606"/>
                </a:lnTo>
                <a:lnTo>
                  <a:pt x="3395" y="612"/>
                </a:lnTo>
                <a:lnTo>
                  <a:pt x="3384" y="618"/>
                </a:lnTo>
                <a:lnTo>
                  <a:pt x="3374" y="624"/>
                </a:lnTo>
                <a:lnTo>
                  <a:pt x="3363" y="628"/>
                </a:lnTo>
                <a:lnTo>
                  <a:pt x="3351" y="633"/>
                </a:lnTo>
                <a:lnTo>
                  <a:pt x="3340" y="636"/>
                </a:lnTo>
                <a:lnTo>
                  <a:pt x="3327" y="638"/>
                </a:lnTo>
                <a:lnTo>
                  <a:pt x="3315" y="639"/>
                </a:lnTo>
                <a:lnTo>
                  <a:pt x="3303" y="639"/>
                </a:lnTo>
                <a:close/>
                <a:moveTo>
                  <a:pt x="3691" y="634"/>
                </a:moveTo>
                <a:lnTo>
                  <a:pt x="3688" y="633"/>
                </a:lnTo>
                <a:lnTo>
                  <a:pt x="3686" y="633"/>
                </a:lnTo>
                <a:lnTo>
                  <a:pt x="3681" y="629"/>
                </a:lnTo>
                <a:lnTo>
                  <a:pt x="3674" y="625"/>
                </a:lnTo>
                <a:lnTo>
                  <a:pt x="3667" y="619"/>
                </a:lnTo>
                <a:lnTo>
                  <a:pt x="3654" y="608"/>
                </a:lnTo>
                <a:lnTo>
                  <a:pt x="3639" y="595"/>
                </a:lnTo>
                <a:lnTo>
                  <a:pt x="3622" y="579"/>
                </a:lnTo>
                <a:lnTo>
                  <a:pt x="3605" y="561"/>
                </a:lnTo>
                <a:lnTo>
                  <a:pt x="3589" y="544"/>
                </a:lnTo>
                <a:lnTo>
                  <a:pt x="3575" y="527"/>
                </a:lnTo>
                <a:lnTo>
                  <a:pt x="3563" y="513"/>
                </a:lnTo>
                <a:lnTo>
                  <a:pt x="3558" y="506"/>
                </a:lnTo>
                <a:lnTo>
                  <a:pt x="3555" y="501"/>
                </a:lnTo>
                <a:lnTo>
                  <a:pt x="3550" y="490"/>
                </a:lnTo>
                <a:lnTo>
                  <a:pt x="3546" y="481"/>
                </a:lnTo>
                <a:lnTo>
                  <a:pt x="3544" y="471"/>
                </a:lnTo>
                <a:lnTo>
                  <a:pt x="3543" y="461"/>
                </a:lnTo>
                <a:lnTo>
                  <a:pt x="3543" y="456"/>
                </a:lnTo>
                <a:lnTo>
                  <a:pt x="3544" y="449"/>
                </a:lnTo>
                <a:lnTo>
                  <a:pt x="3545" y="443"/>
                </a:lnTo>
                <a:lnTo>
                  <a:pt x="3547" y="437"/>
                </a:lnTo>
                <a:lnTo>
                  <a:pt x="3550" y="431"/>
                </a:lnTo>
                <a:lnTo>
                  <a:pt x="3553" y="424"/>
                </a:lnTo>
                <a:lnTo>
                  <a:pt x="3557" y="418"/>
                </a:lnTo>
                <a:lnTo>
                  <a:pt x="3561" y="411"/>
                </a:lnTo>
                <a:lnTo>
                  <a:pt x="3571" y="400"/>
                </a:lnTo>
                <a:lnTo>
                  <a:pt x="3582" y="385"/>
                </a:lnTo>
                <a:lnTo>
                  <a:pt x="3612" y="352"/>
                </a:lnTo>
                <a:lnTo>
                  <a:pt x="3647" y="312"/>
                </a:lnTo>
                <a:lnTo>
                  <a:pt x="3682" y="270"/>
                </a:lnTo>
                <a:lnTo>
                  <a:pt x="3683" y="270"/>
                </a:lnTo>
                <a:lnTo>
                  <a:pt x="3687" y="270"/>
                </a:lnTo>
                <a:lnTo>
                  <a:pt x="3691" y="270"/>
                </a:lnTo>
                <a:lnTo>
                  <a:pt x="3695" y="272"/>
                </a:lnTo>
                <a:lnTo>
                  <a:pt x="3700" y="274"/>
                </a:lnTo>
                <a:lnTo>
                  <a:pt x="3704" y="276"/>
                </a:lnTo>
                <a:lnTo>
                  <a:pt x="3708" y="280"/>
                </a:lnTo>
                <a:lnTo>
                  <a:pt x="3712" y="283"/>
                </a:lnTo>
                <a:lnTo>
                  <a:pt x="3716" y="288"/>
                </a:lnTo>
                <a:lnTo>
                  <a:pt x="3718" y="292"/>
                </a:lnTo>
                <a:lnTo>
                  <a:pt x="3720" y="297"/>
                </a:lnTo>
                <a:lnTo>
                  <a:pt x="3720" y="302"/>
                </a:lnTo>
                <a:lnTo>
                  <a:pt x="3720" y="307"/>
                </a:lnTo>
                <a:lnTo>
                  <a:pt x="3718" y="313"/>
                </a:lnTo>
                <a:lnTo>
                  <a:pt x="3715" y="318"/>
                </a:lnTo>
                <a:lnTo>
                  <a:pt x="3711" y="324"/>
                </a:lnTo>
                <a:lnTo>
                  <a:pt x="3703" y="336"/>
                </a:lnTo>
                <a:lnTo>
                  <a:pt x="3692" y="349"/>
                </a:lnTo>
                <a:lnTo>
                  <a:pt x="3662" y="382"/>
                </a:lnTo>
                <a:lnTo>
                  <a:pt x="3632" y="416"/>
                </a:lnTo>
                <a:lnTo>
                  <a:pt x="3619" y="431"/>
                </a:lnTo>
                <a:lnTo>
                  <a:pt x="3610" y="442"/>
                </a:lnTo>
                <a:lnTo>
                  <a:pt x="3607" y="446"/>
                </a:lnTo>
                <a:lnTo>
                  <a:pt x="3605" y="450"/>
                </a:lnTo>
                <a:lnTo>
                  <a:pt x="3604" y="454"/>
                </a:lnTo>
                <a:lnTo>
                  <a:pt x="3604" y="458"/>
                </a:lnTo>
                <a:lnTo>
                  <a:pt x="3604" y="462"/>
                </a:lnTo>
                <a:lnTo>
                  <a:pt x="3606" y="467"/>
                </a:lnTo>
                <a:lnTo>
                  <a:pt x="3608" y="471"/>
                </a:lnTo>
                <a:lnTo>
                  <a:pt x="3611" y="476"/>
                </a:lnTo>
                <a:lnTo>
                  <a:pt x="3618" y="485"/>
                </a:lnTo>
                <a:lnTo>
                  <a:pt x="3629" y="497"/>
                </a:lnTo>
                <a:lnTo>
                  <a:pt x="3657" y="527"/>
                </a:lnTo>
                <a:lnTo>
                  <a:pt x="3689" y="559"/>
                </a:lnTo>
                <a:lnTo>
                  <a:pt x="3721" y="590"/>
                </a:lnTo>
                <a:lnTo>
                  <a:pt x="3723" y="592"/>
                </a:lnTo>
                <a:lnTo>
                  <a:pt x="3724" y="594"/>
                </a:lnTo>
                <a:lnTo>
                  <a:pt x="3725" y="596"/>
                </a:lnTo>
                <a:lnTo>
                  <a:pt x="3725" y="599"/>
                </a:lnTo>
                <a:lnTo>
                  <a:pt x="3725" y="604"/>
                </a:lnTo>
                <a:lnTo>
                  <a:pt x="3724" y="607"/>
                </a:lnTo>
                <a:lnTo>
                  <a:pt x="3722" y="610"/>
                </a:lnTo>
                <a:lnTo>
                  <a:pt x="3719" y="616"/>
                </a:lnTo>
                <a:lnTo>
                  <a:pt x="3716" y="618"/>
                </a:lnTo>
                <a:lnTo>
                  <a:pt x="3714" y="621"/>
                </a:lnTo>
                <a:lnTo>
                  <a:pt x="3709" y="626"/>
                </a:lnTo>
                <a:lnTo>
                  <a:pt x="3706" y="628"/>
                </a:lnTo>
                <a:lnTo>
                  <a:pt x="3703" y="629"/>
                </a:lnTo>
                <a:lnTo>
                  <a:pt x="3697" y="633"/>
                </a:lnTo>
                <a:lnTo>
                  <a:pt x="3694" y="633"/>
                </a:lnTo>
                <a:lnTo>
                  <a:pt x="3691" y="634"/>
                </a:lnTo>
                <a:close/>
                <a:moveTo>
                  <a:pt x="3303" y="1633"/>
                </a:moveTo>
                <a:lnTo>
                  <a:pt x="3296" y="1632"/>
                </a:lnTo>
                <a:lnTo>
                  <a:pt x="3288" y="1632"/>
                </a:lnTo>
                <a:lnTo>
                  <a:pt x="3280" y="1631"/>
                </a:lnTo>
                <a:lnTo>
                  <a:pt x="3273" y="1629"/>
                </a:lnTo>
                <a:lnTo>
                  <a:pt x="3265" y="1627"/>
                </a:lnTo>
                <a:lnTo>
                  <a:pt x="3258" y="1625"/>
                </a:lnTo>
                <a:lnTo>
                  <a:pt x="3244" y="1619"/>
                </a:lnTo>
                <a:lnTo>
                  <a:pt x="3231" y="1612"/>
                </a:lnTo>
                <a:lnTo>
                  <a:pt x="3225" y="1608"/>
                </a:lnTo>
                <a:lnTo>
                  <a:pt x="3219" y="1603"/>
                </a:lnTo>
                <a:lnTo>
                  <a:pt x="3213" y="1598"/>
                </a:lnTo>
                <a:lnTo>
                  <a:pt x="3206" y="1593"/>
                </a:lnTo>
                <a:lnTo>
                  <a:pt x="3201" y="1587"/>
                </a:lnTo>
                <a:lnTo>
                  <a:pt x="3196" y="1581"/>
                </a:lnTo>
                <a:lnTo>
                  <a:pt x="3191" y="1575"/>
                </a:lnTo>
                <a:lnTo>
                  <a:pt x="3186" y="1568"/>
                </a:lnTo>
                <a:lnTo>
                  <a:pt x="3181" y="1562"/>
                </a:lnTo>
                <a:lnTo>
                  <a:pt x="3177" y="1555"/>
                </a:lnTo>
                <a:lnTo>
                  <a:pt x="3173" y="1548"/>
                </a:lnTo>
                <a:lnTo>
                  <a:pt x="3170" y="1540"/>
                </a:lnTo>
                <a:lnTo>
                  <a:pt x="3166" y="1533"/>
                </a:lnTo>
                <a:lnTo>
                  <a:pt x="3163" y="1524"/>
                </a:lnTo>
                <a:lnTo>
                  <a:pt x="3161" y="1516"/>
                </a:lnTo>
                <a:lnTo>
                  <a:pt x="3158" y="1508"/>
                </a:lnTo>
                <a:lnTo>
                  <a:pt x="3156" y="1500"/>
                </a:lnTo>
                <a:lnTo>
                  <a:pt x="3155" y="1491"/>
                </a:lnTo>
                <a:lnTo>
                  <a:pt x="3153" y="1482"/>
                </a:lnTo>
                <a:lnTo>
                  <a:pt x="3153" y="1473"/>
                </a:lnTo>
                <a:lnTo>
                  <a:pt x="3152" y="1463"/>
                </a:lnTo>
                <a:lnTo>
                  <a:pt x="3152" y="1454"/>
                </a:lnTo>
                <a:lnTo>
                  <a:pt x="3153" y="1436"/>
                </a:lnTo>
                <a:lnTo>
                  <a:pt x="3154" y="1426"/>
                </a:lnTo>
                <a:lnTo>
                  <a:pt x="3155" y="1417"/>
                </a:lnTo>
                <a:lnTo>
                  <a:pt x="3157" y="1407"/>
                </a:lnTo>
                <a:lnTo>
                  <a:pt x="3159" y="1398"/>
                </a:lnTo>
                <a:lnTo>
                  <a:pt x="3161" y="1390"/>
                </a:lnTo>
                <a:lnTo>
                  <a:pt x="3164" y="1381"/>
                </a:lnTo>
                <a:lnTo>
                  <a:pt x="3167" y="1373"/>
                </a:lnTo>
                <a:lnTo>
                  <a:pt x="3171" y="1364"/>
                </a:lnTo>
                <a:lnTo>
                  <a:pt x="3175" y="1356"/>
                </a:lnTo>
                <a:lnTo>
                  <a:pt x="3179" y="1348"/>
                </a:lnTo>
                <a:lnTo>
                  <a:pt x="3183" y="1340"/>
                </a:lnTo>
                <a:lnTo>
                  <a:pt x="3188" y="1333"/>
                </a:lnTo>
                <a:lnTo>
                  <a:pt x="3198" y="1319"/>
                </a:lnTo>
                <a:lnTo>
                  <a:pt x="3203" y="1312"/>
                </a:lnTo>
                <a:lnTo>
                  <a:pt x="3209" y="1306"/>
                </a:lnTo>
                <a:lnTo>
                  <a:pt x="3222" y="1295"/>
                </a:lnTo>
                <a:lnTo>
                  <a:pt x="3229" y="1289"/>
                </a:lnTo>
                <a:lnTo>
                  <a:pt x="3236" y="1284"/>
                </a:lnTo>
                <a:lnTo>
                  <a:pt x="3242" y="1279"/>
                </a:lnTo>
                <a:lnTo>
                  <a:pt x="3249" y="1275"/>
                </a:lnTo>
                <a:lnTo>
                  <a:pt x="3257" y="1272"/>
                </a:lnTo>
                <a:lnTo>
                  <a:pt x="3264" y="1269"/>
                </a:lnTo>
                <a:lnTo>
                  <a:pt x="3273" y="1266"/>
                </a:lnTo>
                <a:lnTo>
                  <a:pt x="3280" y="1264"/>
                </a:lnTo>
                <a:lnTo>
                  <a:pt x="3288" y="1262"/>
                </a:lnTo>
                <a:lnTo>
                  <a:pt x="3296" y="1260"/>
                </a:lnTo>
                <a:lnTo>
                  <a:pt x="3305" y="1260"/>
                </a:lnTo>
                <a:lnTo>
                  <a:pt x="3313" y="1259"/>
                </a:lnTo>
                <a:lnTo>
                  <a:pt x="3323" y="1260"/>
                </a:lnTo>
                <a:lnTo>
                  <a:pt x="3328" y="1260"/>
                </a:lnTo>
                <a:lnTo>
                  <a:pt x="3334" y="1261"/>
                </a:lnTo>
                <a:lnTo>
                  <a:pt x="3338" y="1262"/>
                </a:lnTo>
                <a:lnTo>
                  <a:pt x="3343" y="1263"/>
                </a:lnTo>
                <a:lnTo>
                  <a:pt x="3351" y="1267"/>
                </a:lnTo>
                <a:lnTo>
                  <a:pt x="3359" y="1270"/>
                </a:lnTo>
                <a:lnTo>
                  <a:pt x="3366" y="1275"/>
                </a:lnTo>
                <a:lnTo>
                  <a:pt x="3373" y="1280"/>
                </a:lnTo>
                <a:lnTo>
                  <a:pt x="3379" y="1286"/>
                </a:lnTo>
                <a:lnTo>
                  <a:pt x="3382" y="1290"/>
                </a:lnTo>
                <a:lnTo>
                  <a:pt x="3384" y="1294"/>
                </a:lnTo>
                <a:lnTo>
                  <a:pt x="3389" y="1301"/>
                </a:lnTo>
                <a:lnTo>
                  <a:pt x="3394" y="1309"/>
                </a:lnTo>
                <a:lnTo>
                  <a:pt x="3398" y="1317"/>
                </a:lnTo>
                <a:lnTo>
                  <a:pt x="3400" y="1326"/>
                </a:lnTo>
                <a:lnTo>
                  <a:pt x="3402" y="1335"/>
                </a:lnTo>
                <a:lnTo>
                  <a:pt x="3403" y="1345"/>
                </a:lnTo>
                <a:lnTo>
                  <a:pt x="3404" y="1356"/>
                </a:lnTo>
                <a:lnTo>
                  <a:pt x="3403" y="1368"/>
                </a:lnTo>
                <a:lnTo>
                  <a:pt x="3402" y="1374"/>
                </a:lnTo>
                <a:lnTo>
                  <a:pt x="3401" y="1380"/>
                </a:lnTo>
                <a:lnTo>
                  <a:pt x="3397" y="1392"/>
                </a:lnTo>
                <a:lnTo>
                  <a:pt x="3392" y="1404"/>
                </a:lnTo>
                <a:lnTo>
                  <a:pt x="3385" y="1416"/>
                </a:lnTo>
                <a:lnTo>
                  <a:pt x="3377" y="1427"/>
                </a:lnTo>
                <a:lnTo>
                  <a:pt x="3373" y="1432"/>
                </a:lnTo>
                <a:lnTo>
                  <a:pt x="3369" y="1437"/>
                </a:lnTo>
                <a:lnTo>
                  <a:pt x="3360" y="1446"/>
                </a:lnTo>
                <a:lnTo>
                  <a:pt x="3350" y="1454"/>
                </a:lnTo>
                <a:lnTo>
                  <a:pt x="3344" y="1458"/>
                </a:lnTo>
                <a:lnTo>
                  <a:pt x="3339" y="1462"/>
                </a:lnTo>
                <a:lnTo>
                  <a:pt x="3327" y="1469"/>
                </a:lnTo>
                <a:lnTo>
                  <a:pt x="3315" y="1475"/>
                </a:lnTo>
                <a:lnTo>
                  <a:pt x="3303" y="1480"/>
                </a:lnTo>
                <a:lnTo>
                  <a:pt x="3297" y="1482"/>
                </a:lnTo>
                <a:lnTo>
                  <a:pt x="3291" y="1483"/>
                </a:lnTo>
                <a:lnTo>
                  <a:pt x="3284" y="1484"/>
                </a:lnTo>
                <a:lnTo>
                  <a:pt x="3278" y="1485"/>
                </a:lnTo>
                <a:lnTo>
                  <a:pt x="3265" y="1486"/>
                </a:lnTo>
                <a:lnTo>
                  <a:pt x="3259" y="1485"/>
                </a:lnTo>
                <a:lnTo>
                  <a:pt x="3254" y="1483"/>
                </a:lnTo>
                <a:lnTo>
                  <a:pt x="3250" y="1481"/>
                </a:lnTo>
                <a:lnTo>
                  <a:pt x="3248" y="1479"/>
                </a:lnTo>
                <a:lnTo>
                  <a:pt x="3246" y="1477"/>
                </a:lnTo>
                <a:lnTo>
                  <a:pt x="3243" y="1472"/>
                </a:lnTo>
                <a:lnTo>
                  <a:pt x="3240" y="1466"/>
                </a:lnTo>
                <a:lnTo>
                  <a:pt x="3239" y="1463"/>
                </a:lnTo>
                <a:lnTo>
                  <a:pt x="3239" y="1460"/>
                </a:lnTo>
                <a:lnTo>
                  <a:pt x="3238" y="1454"/>
                </a:lnTo>
                <a:lnTo>
                  <a:pt x="3238" y="1451"/>
                </a:lnTo>
                <a:lnTo>
                  <a:pt x="3239" y="1448"/>
                </a:lnTo>
                <a:lnTo>
                  <a:pt x="3240" y="1443"/>
                </a:lnTo>
                <a:lnTo>
                  <a:pt x="3241" y="1441"/>
                </a:lnTo>
                <a:lnTo>
                  <a:pt x="3242" y="1439"/>
                </a:lnTo>
                <a:lnTo>
                  <a:pt x="3244" y="1438"/>
                </a:lnTo>
                <a:lnTo>
                  <a:pt x="3245" y="1436"/>
                </a:lnTo>
                <a:lnTo>
                  <a:pt x="3256" y="1434"/>
                </a:lnTo>
                <a:lnTo>
                  <a:pt x="3267" y="1432"/>
                </a:lnTo>
                <a:lnTo>
                  <a:pt x="3278" y="1428"/>
                </a:lnTo>
                <a:lnTo>
                  <a:pt x="3288" y="1424"/>
                </a:lnTo>
                <a:lnTo>
                  <a:pt x="3297" y="1420"/>
                </a:lnTo>
                <a:lnTo>
                  <a:pt x="3305" y="1415"/>
                </a:lnTo>
                <a:lnTo>
                  <a:pt x="3313" y="1408"/>
                </a:lnTo>
                <a:lnTo>
                  <a:pt x="3317" y="1406"/>
                </a:lnTo>
                <a:lnTo>
                  <a:pt x="3320" y="1403"/>
                </a:lnTo>
                <a:lnTo>
                  <a:pt x="3327" y="1396"/>
                </a:lnTo>
                <a:lnTo>
                  <a:pt x="3333" y="1390"/>
                </a:lnTo>
                <a:lnTo>
                  <a:pt x="3338" y="1383"/>
                </a:lnTo>
                <a:lnTo>
                  <a:pt x="3343" y="1376"/>
                </a:lnTo>
                <a:lnTo>
                  <a:pt x="3346" y="1369"/>
                </a:lnTo>
                <a:lnTo>
                  <a:pt x="3348" y="1362"/>
                </a:lnTo>
                <a:lnTo>
                  <a:pt x="3350" y="1355"/>
                </a:lnTo>
                <a:lnTo>
                  <a:pt x="3350" y="1347"/>
                </a:lnTo>
                <a:lnTo>
                  <a:pt x="3350" y="1339"/>
                </a:lnTo>
                <a:lnTo>
                  <a:pt x="3347" y="1332"/>
                </a:lnTo>
                <a:lnTo>
                  <a:pt x="3346" y="1328"/>
                </a:lnTo>
                <a:lnTo>
                  <a:pt x="3344" y="1325"/>
                </a:lnTo>
                <a:lnTo>
                  <a:pt x="3342" y="1323"/>
                </a:lnTo>
                <a:lnTo>
                  <a:pt x="3339" y="1320"/>
                </a:lnTo>
                <a:lnTo>
                  <a:pt x="3334" y="1316"/>
                </a:lnTo>
                <a:lnTo>
                  <a:pt x="3329" y="1314"/>
                </a:lnTo>
                <a:lnTo>
                  <a:pt x="3326" y="1313"/>
                </a:lnTo>
                <a:lnTo>
                  <a:pt x="3318" y="1311"/>
                </a:lnTo>
                <a:lnTo>
                  <a:pt x="3314" y="1310"/>
                </a:lnTo>
                <a:lnTo>
                  <a:pt x="3309" y="1310"/>
                </a:lnTo>
                <a:lnTo>
                  <a:pt x="3300" y="1311"/>
                </a:lnTo>
                <a:lnTo>
                  <a:pt x="3296" y="1312"/>
                </a:lnTo>
                <a:lnTo>
                  <a:pt x="3291" y="1313"/>
                </a:lnTo>
                <a:lnTo>
                  <a:pt x="3287" y="1315"/>
                </a:lnTo>
                <a:lnTo>
                  <a:pt x="3282" y="1316"/>
                </a:lnTo>
                <a:lnTo>
                  <a:pt x="3278" y="1319"/>
                </a:lnTo>
                <a:lnTo>
                  <a:pt x="3274" y="1321"/>
                </a:lnTo>
                <a:lnTo>
                  <a:pt x="3268" y="1324"/>
                </a:lnTo>
                <a:lnTo>
                  <a:pt x="3264" y="1327"/>
                </a:lnTo>
                <a:lnTo>
                  <a:pt x="3256" y="1334"/>
                </a:lnTo>
                <a:lnTo>
                  <a:pt x="3248" y="1342"/>
                </a:lnTo>
                <a:lnTo>
                  <a:pt x="3241" y="1352"/>
                </a:lnTo>
                <a:lnTo>
                  <a:pt x="3237" y="1357"/>
                </a:lnTo>
                <a:lnTo>
                  <a:pt x="3234" y="1362"/>
                </a:lnTo>
                <a:lnTo>
                  <a:pt x="3228" y="1373"/>
                </a:lnTo>
                <a:lnTo>
                  <a:pt x="3222" y="1384"/>
                </a:lnTo>
                <a:lnTo>
                  <a:pt x="3217" y="1397"/>
                </a:lnTo>
                <a:lnTo>
                  <a:pt x="3214" y="1409"/>
                </a:lnTo>
                <a:lnTo>
                  <a:pt x="3211" y="1424"/>
                </a:lnTo>
                <a:lnTo>
                  <a:pt x="3208" y="1438"/>
                </a:lnTo>
                <a:lnTo>
                  <a:pt x="3207" y="1445"/>
                </a:lnTo>
                <a:lnTo>
                  <a:pt x="3207" y="1452"/>
                </a:lnTo>
                <a:lnTo>
                  <a:pt x="3208" y="1464"/>
                </a:lnTo>
                <a:lnTo>
                  <a:pt x="3209" y="1478"/>
                </a:lnTo>
                <a:lnTo>
                  <a:pt x="3212" y="1489"/>
                </a:lnTo>
                <a:lnTo>
                  <a:pt x="3214" y="1495"/>
                </a:lnTo>
                <a:lnTo>
                  <a:pt x="3215" y="1500"/>
                </a:lnTo>
                <a:lnTo>
                  <a:pt x="3219" y="1511"/>
                </a:lnTo>
                <a:lnTo>
                  <a:pt x="3221" y="1516"/>
                </a:lnTo>
                <a:lnTo>
                  <a:pt x="3223" y="1521"/>
                </a:lnTo>
                <a:lnTo>
                  <a:pt x="3226" y="1525"/>
                </a:lnTo>
                <a:lnTo>
                  <a:pt x="3229" y="1530"/>
                </a:lnTo>
                <a:lnTo>
                  <a:pt x="3231" y="1535"/>
                </a:lnTo>
                <a:lnTo>
                  <a:pt x="3234" y="1539"/>
                </a:lnTo>
                <a:lnTo>
                  <a:pt x="3238" y="1543"/>
                </a:lnTo>
                <a:lnTo>
                  <a:pt x="3241" y="1546"/>
                </a:lnTo>
                <a:lnTo>
                  <a:pt x="3248" y="1553"/>
                </a:lnTo>
                <a:lnTo>
                  <a:pt x="3256" y="1559"/>
                </a:lnTo>
                <a:lnTo>
                  <a:pt x="3265" y="1563"/>
                </a:lnTo>
                <a:lnTo>
                  <a:pt x="3275" y="1567"/>
                </a:lnTo>
                <a:lnTo>
                  <a:pt x="3284" y="1570"/>
                </a:lnTo>
                <a:lnTo>
                  <a:pt x="3294" y="1572"/>
                </a:lnTo>
                <a:lnTo>
                  <a:pt x="3300" y="1572"/>
                </a:lnTo>
                <a:lnTo>
                  <a:pt x="3305" y="1572"/>
                </a:lnTo>
                <a:lnTo>
                  <a:pt x="3316" y="1572"/>
                </a:lnTo>
                <a:lnTo>
                  <a:pt x="3326" y="1570"/>
                </a:lnTo>
                <a:lnTo>
                  <a:pt x="3337" y="1568"/>
                </a:lnTo>
                <a:lnTo>
                  <a:pt x="3346" y="1564"/>
                </a:lnTo>
                <a:lnTo>
                  <a:pt x="3356" y="1560"/>
                </a:lnTo>
                <a:lnTo>
                  <a:pt x="3365" y="1555"/>
                </a:lnTo>
                <a:lnTo>
                  <a:pt x="3373" y="1549"/>
                </a:lnTo>
                <a:lnTo>
                  <a:pt x="3381" y="1543"/>
                </a:lnTo>
                <a:lnTo>
                  <a:pt x="3389" y="1536"/>
                </a:lnTo>
                <a:lnTo>
                  <a:pt x="3398" y="1527"/>
                </a:lnTo>
                <a:lnTo>
                  <a:pt x="3405" y="1518"/>
                </a:lnTo>
                <a:lnTo>
                  <a:pt x="3412" y="1509"/>
                </a:lnTo>
                <a:lnTo>
                  <a:pt x="3425" y="1490"/>
                </a:lnTo>
                <a:lnTo>
                  <a:pt x="3431" y="1479"/>
                </a:lnTo>
                <a:lnTo>
                  <a:pt x="3437" y="1468"/>
                </a:lnTo>
                <a:lnTo>
                  <a:pt x="3442" y="1457"/>
                </a:lnTo>
                <a:lnTo>
                  <a:pt x="3447" y="1445"/>
                </a:lnTo>
                <a:lnTo>
                  <a:pt x="3452" y="1434"/>
                </a:lnTo>
                <a:lnTo>
                  <a:pt x="3456" y="1422"/>
                </a:lnTo>
                <a:lnTo>
                  <a:pt x="3460" y="1409"/>
                </a:lnTo>
                <a:lnTo>
                  <a:pt x="3463" y="1397"/>
                </a:lnTo>
                <a:lnTo>
                  <a:pt x="3466" y="1385"/>
                </a:lnTo>
                <a:lnTo>
                  <a:pt x="3469" y="1373"/>
                </a:lnTo>
                <a:lnTo>
                  <a:pt x="3471" y="1361"/>
                </a:lnTo>
                <a:lnTo>
                  <a:pt x="3473" y="1348"/>
                </a:lnTo>
                <a:lnTo>
                  <a:pt x="3475" y="1337"/>
                </a:lnTo>
                <a:lnTo>
                  <a:pt x="3476" y="1325"/>
                </a:lnTo>
                <a:lnTo>
                  <a:pt x="3476" y="1314"/>
                </a:lnTo>
                <a:lnTo>
                  <a:pt x="3477" y="1303"/>
                </a:lnTo>
                <a:lnTo>
                  <a:pt x="3477" y="1292"/>
                </a:lnTo>
                <a:lnTo>
                  <a:pt x="3476" y="1280"/>
                </a:lnTo>
                <a:lnTo>
                  <a:pt x="3477" y="1278"/>
                </a:lnTo>
                <a:lnTo>
                  <a:pt x="3479" y="1276"/>
                </a:lnTo>
                <a:lnTo>
                  <a:pt x="3481" y="1274"/>
                </a:lnTo>
                <a:lnTo>
                  <a:pt x="3484" y="1272"/>
                </a:lnTo>
                <a:lnTo>
                  <a:pt x="3490" y="1269"/>
                </a:lnTo>
                <a:lnTo>
                  <a:pt x="3494" y="1269"/>
                </a:lnTo>
                <a:lnTo>
                  <a:pt x="3499" y="1268"/>
                </a:lnTo>
                <a:lnTo>
                  <a:pt x="3506" y="1269"/>
                </a:lnTo>
                <a:lnTo>
                  <a:pt x="3509" y="1269"/>
                </a:lnTo>
                <a:lnTo>
                  <a:pt x="3513" y="1270"/>
                </a:lnTo>
                <a:lnTo>
                  <a:pt x="3519" y="1273"/>
                </a:lnTo>
                <a:lnTo>
                  <a:pt x="3522" y="1275"/>
                </a:lnTo>
                <a:lnTo>
                  <a:pt x="3524" y="1277"/>
                </a:lnTo>
                <a:lnTo>
                  <a:pt x="3528" y="1283"/>
                </a:lnTo>
                <a:lnTo>
                  <a:pt x="3530" y="1287"/>
                </a:lnTo>
                <a:lnTo>
                  <a:pt x="3531" y="1292"/>
                </a:lnTo>
                <a:lnTo>
                  <a:pt x="3532" y="1296"/>
                </a:lnTo>
                <a:lnTo>
                  <a:pt x="3533" y="1301"/>
                </a:lnTo>
                <a:lnTo>
                  <a:pt x="3533" y="1306"/>
                </a:lnTo>
                <a:lnTo>
                  <a:pt x="3533" y="1312"/>
                </a:lnTo>
                <a:lnTo>
                  <a:pt x="3533" y="1328"/>
                </a:lnTo>
                <a:lnTo>
                  <a:pt x="3532" y="1343"/>
                </a:lnTo>
                <a:lnTo>
                  <a:pt x="3530" y="1359"/>
                </a:lnTo>
                <a:lnTo>
                  <a:pt x="3528" y="1374"/>
                </a:lnTo>
                <a:lnTo>
                  <a:pt x="3526" y="1389"/>
                </a:lnTo>
                <a:lnTo>
                  <a:pt x="3523" y="1404"/>
                </a:lnTo>
                <a:lnTo>
                  <a:pt x="3519" y="1419"/>
                </a:lnTo>
                <a:lnTo>
                  <a:pt x="3515" y="1434"/>
                </a:lnTo>
                <a:lnTo>
                  <a:pt x="3511" y="1447"/>
                </a:lnTo>
                <a:lnTo>
                  <a:pt x="3505" y="1461"/>
                </a:lnTo>
                <a:lnTo>
                  <a:pt x="3500" y="1475"/>
                </a:lnTo>
                <a:lnTo>
                  <a:pt x="3494" y="1488"/>
                </a:lnTo>
                <a:lnTo>
                  <a:pt x="3488" y="1500"/>
                </a:lnTo>
                <a:lnTo>
                  <a:pt x="3482" y="1512"/>
                </a:lnTo>
                <a:lnTo>
                  <a:pt x="3475" y="1524"/>
                </a:lnTo>
                <a:lnTo>
                  <a:pt x="3467" y="1536"/>
                </a:lnTo>
                <a:lnTo>
                  <a:pt x="3460" y="1547"/>
                </a:lnTo>
                <a:lnTo>
                  <a:pt x="3452" y="1557"/>
                </a:lnTo>
                <a:lnTo>
                  <a:pt x="3442" y="1567"/>
                </a:lnTo>
                <a:lnTo>
                  <a:pt x="3434" y="1576"/>
                </a:lnTo>
                <a:lnTo>
                  <a:pt x="3425" y="1584"/>
                </a:lnTo>
                <a:lnTo>
                  <a:pt x="3415" y="1593"/>
                </a:lnTo>
                <a:lnTo>
                  <a:pt x="3405" y="1600"/>
                </a:lnTo>
                <a:lnTo>
                  <a:pt x="3395" y="1607"/>
                </a:lnTo>
                <a:lnTo>
                  <a:pt x="3384" y="1613"/>
                </a:lnTo>
                <a:lnTo>
                  <a:pt x="3374" y="1618"/>
                </a:lnTo>
                <a:lnTo>
                  <a:pt x="3363" y="1622"/>
                </a:lnTo>
                <a:lnTo>
                  <a:pt x="3351" y="1626"/>
                </a:lnTo>
                <a:lnTo>
                  <a:pt x="3340" y="1629"/>
                </a:lnTo>
                <a:lnTo>
                  <a:pt x="3327" y="1631"/>
                </a:lnTo>
                <a:lnTo>
                  <a:pt x="3315" y="1632"/>
                </a:lnTo>
                <a:lnTo>
                  <a:pt x="3303" y="1633"/>
                </a:lnTo>
                <a:close/>
                <a:moveTo>
                  <a:pt x="3691" y="1627"/>
                </a:moveTo>
                <a:lnTo>
                  <a:pt x="3688" y="1627"/>
                </a:lnTo>
                <a:lnTo>
                  <a:pt x="3686" y="1626"/>
                </a:lnTo>
                <a:lnTo>
                  <a:pt x="3681" y="1623"/>
                </a:lnTo>
                <a:lnTo>
                  <a:pt x="3674" y="1619"/>
                </a:lnTo>
                <a:lnTo>
                  <a:pt x="3667" y="1613"/>
                </a:lnTo>
                <a:lnTo>
                  <a:pt x="3654" y="1603"/>
                </a:lnTo>
                <a:lnTo>
                  <a:pt x="3639" y="1588"/>
                </a:lnTo>
                <a:lnTo>
                  <a:pt x="3622" y="1572"/>
                </a:lnTo>
                <a:lnTo>
                  <a:pt x="3605" y="1555"/>
                </a:lnTo>
                <a:lnTo>
                  <a:pt x="3589" y="1538"/>
                </a:lnTo>
                <a:lnTo>
                  <a:pt x="3575" y="1521"/>
                </a:lnTo>
                <a:lnTo>
                  <a:pt x="3563" y="1506"/>
                </a:lnTo>
                <a:lnTo>
                  <a:pt x="3558" y="1500"/>
                </a:lnTo>
                <a:lnTo>
                  <a:pt x="3555" y="1495"/>
                </a:lnTo>
                <a:lnTo>
                  <a:pt x="3550" y="1485"/>
                </a:lnTo>
                <a:lnTo>
                  <a:pt x="3546" y="1475"/>
                </a:lnTo>
                <a:lnTo>
                  <a:pt x="3544" y="1464"/>
                </a:lnTo>
                <a:lnTo>
                  <a:pt x="3543" y="1454"/>
                </a:lnTo>
                <a:lnTo>
                  <a:pt x="3543" y="1449"/>
                </a:lnTo>
                <a:lnTo>
                  <a:pt x="3544" y="1443"/>
                </a:lnTo>
                <a:lnTo>
                  <a:pt x="3545" y="1437"/>
                </a:lnTo>
                <a:lnTo>
                  <a:pt x="3547" y="1431"/>
                </a:lnTo>
                <a:lnTo>
                  <a:pt x="3550" y="1425"/>
                </a:lnTo>
                <a:lnTo>
                  <a:pt x="3553" y="1419"/>
                </a:lnTo>
                <a:lnTo>
                  <a:pt x="3557" y="1412"/>
                </a:lnTo>
                <a:lnTo>
                  <a:pt x="3561" y="1404"/>
                </a:lnTo>
                <a:lnTo>
                  <a:pt x="3571" y="1393"/>
                </a:lnTo>
                <a:lnTo>
                  <a:pt x="3582" y="1380"/>
                </a:lnTo>
                <a:lnTo>
                  <a:pt x="3612" y="1345"/>
                </a:lnTo>
                <a:lnTo>
                  <a:pt x="3647" y="1306"/>
                </a:lnTo>
                <a:lnTo>
                  <a:pt x="3682" y="1264"/>
                </a:lnTo>
                <a:lnTo>
                  <a:pt x="3683" y="1264"/>
                </a:lnTo>
                <a:lnTo>
                  <a:pt x="3687" y="1264"/>
                </a:lnTo>
                <a:lnTo>
                  <a:pt x="3691" y="1264"/>
                </a:lnTo>
                <a:lnTo>
                  <a:pt x="3695" y="1265"/>
                </a:lnTo>
                <a:lnTo>
                  <a:pt x="3700" y="1267"/>
                </a:lnTo>
                <a:lnTo>
                  <a:pt x="3704" y="1270"/>
                </a:lnTo>
                <a:lnTo>
                  <a:pt x="3708" y="1273"/>
                </a:lnTo>
                <a:lnTo>
                  <a:pt x="3712" y="1276"/>
                </a:lnTo>
                <a:lnTo>
                  <a:pt x="3716" y="1281"/>
                </a:lnTo>
                <a:lnTo>
                  <a:pt x="3718" y="1286"/>
                </a:lnTo>
                <a:lnTo>
                  <a:pt x="3720" y="1290"/>
                </a:lnTo>
                <a:lnTo>
                  <a:pt x="3720" y="1296"/>
                </a:lnTo>
                <a:lnTo>
                  <a:pt x="3720" y="1301"/>
                </a:lnTo>
                <a:lnTo>
                  <a:pt x="3718" y="1307"/>
                </a:lnTo>
                <a:lnTo>
                  <a:pt x="3715" y="1312"/>
                </a:lnTo>
                <a:lnTo>
                  <a:pt x="3711" y="1318"/>
                </a:lnTo>
                <a:lnTo>
                  <a:pt x="3703" y="1329"/>
                </a:lnTo>
                <a:lnTo>
                  <a:pt x="3692" y="1342"/>
                </a:lnTo>
                <a:lnTo>
                  <a:pt x="3662" y="1376"/>
                </a:lnTo>
                <a:lnTo>
                  <a:pt x="3632" y="1409"/>
                </a:lnTo>
                <a:lnTo>
                  <a:pt x="3619" y="1425"/>
                </a:lnTo>
                <a:lnTo>
                  <a:pt x="3610" y="1436"/>
                </a:lnTo>
                <a:lnTo>
                  <a:pt x="3607" y="1440"/>
                </a:lnTo>
                <a:lnTo>
                  <a:pt x="3605" y="1444"/>
                </a:lnTo>
                <a:lnTo>
                  <a:pt x="3604" y="1447"/>
                </a:lnTo>
                <a:lnTo>
                  <a:pt x="3604" y="1451"/>
                </a:lnTo>
                <a:lnTo>
                  <a:pt x="3604" y="1455"/>
                </a:lnTo>
                <a:lnTo>
                  <a:pt x="3606" y="1460"/>
                </a:lnTo>
                <a:lnTo>
                  <a:pt x="3608" y="1464"/>
                </a:lnTo>
                <a:lnTo>
                  <a:pt x="3611" y="1469"/>
                </a:lnTo>
                <a:lnTo>
                  <a:pt x="3618" y="1479"/>
                </a:lnTo>
                <a:lnTo>
                  <a:pt x="3629" y="1491"/>
                </a:lnTo>
                <a:lnTo>
                  <a:pt x="3657" y="1520"/>
                </a:lnTo>
                <a:lnTo>
                  <a:pt x="3689" y="1553"/>
                </a:lnTo>
                <a:lnTo>
                  <a:pt x="3721" y="1583"/>
                </a:lnTo>
                <a:lnTo>
                  <a:pt x="3723" y="1585"/>
                </a:lnTo>
                <a:lnTo>
                  <a:pt x="3724" y="1587"/>
                </a:lnTo>
                <a:lnTo>
                  <a:pt x="3725" y="1589"/>
                </a:lnTo>
                <a:lnTo>
                  <a:pt x="3725" y="1593"/>
                </a:lnTo>
                <a:lnTo>
                  <a:pt x="3725" y="1599"/>
                </a:lnTo>
                <a:lnTo>
                  <a:pt x="3724" y="1601"/>
                </a:lnTo>
                <a:lnTo>
                  <a:pt x="3722" y="1604"/>
                </a:lnTo>
                <a:lnTo>
                  <a:pt x="3719" y="1610"/>
                </a:lnTo>
                <a:lnTo>
                  <a:pt x="3716" y="1613"/>
                </a:lnTo>
                <a:lnTo>
                  <a:pt x="3714" y="1615"/>
                </a:lnTo>
                <a:lnTo>
                  <a:pt x="3709" y="1620"/>
                </a:lnTo>
                <a:lnTo>
                  <a:pt x="3706" y="1622"/>
                </a:lnTo>
                <a:lnTo>
                  <a:pt x="3703" y="1624"/>
                </a:lnTo>
                <a:lnTo>
                  <a:pt x="3697" y="1626"/>
                </a:lnTo>
                <a:lnTo>
                  <a:pt x="3694" y="1627"/>
                </a:lnTo>
                <a:lnTo>
                  <a:pt x="3691" y="1627"/>
                </a:lnTo>
                <a:close/>
                <a:moveTo>
                  <a:pt x="3303" y="2627"/>
                </a:moveTo>
                <a:lnTo>
                  <a:pt x="3296" y="2627"/>
                </a:lnTo>
                <a:lnTo>
                  <a:pt x="3288" y="2626"/>
                </a:lnTo>
                <a:lnTo>
                  <a:pt x="3280" y="2625"/>
                </a:lnTo>
                <a:lnTo>
                  <a:pt x="3273" y="2623"/>
                </a:lnTo>
                <a:lnTo>
                  <a:pt x="3265" y="2621"/>
                </a:lnTo>
                <a:lnTo>
                  <a:pt x="3258" y="2619"/>
                </a:lnTo>
                <a:lnTo>
                  <a:pt x="3244" y="2613"/>
                </a:lnTo>
                <a:lnTo>
                  <a:pt x="3231" y="2605"/>
                </a:lnTo>
                <a:lnTo>
                  <a:pt x="3225" y="2601"/>
                </a:lnTo>
                <a:lnTo>
                  <a:pt x="3219" y="2596"/>
                </a:lnTo>
                <a:lnTo>
                  <a:pt x="3213" y="2591"/>
                </a:lnTo>
                <a:lnTo>
                  <a:pt x="3206" y="2586"/>
                </a:lnTo>
                <a:lnTo>
                  <a:pt x="3201" y="2581"/>
                </a:lnTo>
                <a:lnTo>
                  <a:pt x="3196" y="2575"/>
                </a:lnTo>
                <a:lnTo>
                  <a:pt x="3191" y="2569"/>
                </a:lnTo>
                <a:lnTo>
                  <a:pt x="3186" y="2563"/>
                </a:lnTo>
                <a:lnTo>
                  <a:pt x="3181" y="2556"/>
                </a:lnTo>
                <a:lnTo>
                  <a:pt x="3177" y="2548"/>
                </a:lnTo>
                <a:lnTo>
                  <a:pt x="3173" y="2541"/>
                </a:lnTo>
                <a:lnTo>
                  <a:pt x="3170" y="2534"/>
                </a:lnTo>
                <a:lnTo>
                  <a:pt x="3166" y="2526"/>
                </a:lnTo>
                <a:lnTo>
                  <a:pt x="3163" y="2518"/>
                </a:lnTo>
                <a:lnTo>
                  <a:pt x="3161" y="2510"/>
                </a:lnTo>
                <a:lnTo>
                  <a:pt x="3158" y="2502"/>
                </a:lnTo>
                <a:lnTo>
                  <a:pt x="3156" y="2494"/>
                </a:lnTo>
                <a:lnTo>
                  <a:pt x="3155" y="2484"/>
                </a:lnTo>
                <a:lnTo>
                  <a:pt x="3153" y="2475"/>
                </a:lnTo>
                <a:lnTo>
                  <a:pt x="3153" y="2467"/>
                </a:lnTo>
                <a:lnTo>
                  <a:pt x="3152" y="2458"/>
                </a:lnTo>
                <a:lnTo>
                  <a:pt x="3152" y="2448"/>
                </a:lnTo>
                <a:lnTo>
                  <a:pt x="3153" y="2429"/>
                </a:lnTo>
                <a:lnTo>
                  <a:pt x="3154" y="2420"/>
                </a:lnTo>
                <a:lnTo>
                  <a:pt x="3155" y="2410"/>
                </a:lnTo>
                <a:lnTo>
                  <a:pt x="3157" y="2401"/>
                </a:lnTo>
                <a:lnTo>
                  <a:pt x="3159" y="2393"/>
                </a:lnTo>
                <a:lnTo>
                  <a:pt x="3161" y="2384"/>
                </a:lnTo>
                <a:lnTo>
                  <a:pt x="3164" y="2375"/>
                </a:lnTo>
                <a:lnTo>
                  <a:pt x="3167" y="2366"/>
                </a:lnTo>
                <a:lnTo>
                  <a:pt x="3171" y="2358"/>
                </a:lnTo>
                <a:lnTo>
                  <a:pt x="3175" y="2350"/>
                </a:lnTo>
                <a:lnTo>
                  <a:pt x="3179" y="2342"/>
                </a:lnTo>
                <a:lnTo>
                  <a:pt x="3183" y="2334"/>
                </a:lnTo>
                <a:lnTo>
                  <a:pt x="3188" y="2327"/>
                </a:lnTo>
                <a:lnTo>
                  <a:pt x="3198" y="2313"/>
                </a:lnTo>
                <a:lnTo>
                  <a:pt x="3203" y="2305"/>
                </a:lnTo>
                <a:lnTo>
                  <a:pt x="3209" y="2299"/>
                </a:lnTo>
                <a:lnTo>
                  <a:pt x="3222" y="2288"/>
                </a:lnTo>
                <a:lnTo>
                  <a:pt x="3229" y="2283"/>
                </a:lnTo>
                <a:lnTo>
                  <a:pt x="3236" y="2278"/>
                </a:lnTo>
                <a:lnTo>
                  <a:pt x="3242" y="2274"/>
                </a:lnTo>
                <a:lnTo>
                  <a:pt x="3249" y="2269"/>
                </a:lnTo>
                <a:lnTo>
                  <a:pt x="3257" y="2266"/>
                </a:lnTo>
                <a:lnTo>
                  <a:pt x="3264" y="2263"/>
                </a:lnTo>
                <a:lnTo>
                  <a:pt x="3273" y="2260"/>
                </a:lnTo>
                <a:lnTo>
                  <a:pt x="3280" y="2258"/>
                </a:lnTo>
                <a:lnTo>
                  <a:pt x="3288" y="2256"/>
                </a:lnTo>
                <a:lnTo>
                  <a:pt x="3296" y="2255"/>
                </a:lnTo>
                <a:lnTo>
                  <a:pt x="3305" y="2254"/>
                </a:lnTo>
                <a:lnTo>
                  <a:pt x="3313" y="2254"/>
                </a:lnTo>
                <a:lnTo>
                  <a:pt x="3323" y="2254"/>
                </a:lnTo>
                <a:lnTo>
                  <a:pt x="3328" y="2255"/>
                </a:lnTo>
                <a:lnTo>
                  <a:pt x="3334" y="2255"/>
                </a:lnTo>
                <a:lnTo>
                  <a:pt x="3338" y="2256"/>
                </a:lnTo>
                <a:lnTo>
                  <a:pt x="3343" y="2258"/>
                </a:lnTo>
                <a:lnTo>
                  <a:pt x="3351" y="2261"/>
                </a:lnTo>
                <a:lnTo>
                  <a:pt x="3359" y="2265"/>
                </a:lnTo>
                <a:lnTo>
                  <a:pt x="3366" y="2269"/>
                </a:lnTo>
                <a:lnTo>
                  <a:pt x="3373" y="2275"/>
                </a:lnTo>
                <a:lnTo>
                  <a:pt x="3379" y="2281"/>
                </a:lnTo>
                <a:lnTo>
                  <a:pt x="3382" y="2284"/>
                </a:lnTo>
                <a:lnTo>
                  <a:pt x="3384" y="2287"/>
                </a:lnTo>
                <a:lnTo>
                  <a:pt x="3389" y="2295"/>
                </a:lnTo>
                <a:lnTo>
                  <a:pt x="3394" y="2302"/>
                </a:lnTo>
                <a:lnTo>
                  <a:pt x="3398" y="2312"/>
                </a:lnTo>
                <a:lnTo>
                  <a:pt x="3400" y="2320"/>
                </a:lnTo>
                <a:lnTo>
                  <a:pt x="3402" y="2329"/>
                </a:lnTo>
                <a:lnTo>
                  <a:pt x="3403" y="2339"/>
                </a:lnTo>
                <a:lnTo>
                  <a:pt x="3404" y="2349"/>
                </a:lnTo>
                <a:lnTo>
                  <a:pt x="3403" y="2361"/>
                </a:lnTo>
                <a:lnTo>
                  <a:pt x="3402" y="2368"/>
                </a:lnTo>
                <a:lnTo>
                  <a:pt x="3401" y="2375"/>
                </a:lnTo>
                <a:lnTo>
                  <a:pt x="3397" y="2387"/>
                </a:lnTo>
                <a:lnTo>
                  <a:pt x="3392" y="2398"/>
                </a:lnTo>
                <a:lnTo>
                  <a:pt x="3385" y="2409"/>
                </a:lnTo>
                <a:lnTo>
                  <a:pt x="3377" y="2420"/>
                </a:lnTo>
                <a:lnTo>
                  <a:pt x="3373" y="2425"/>
                </a:lnTo>
                <a:lnTo>
                  <a:pt x="3369" y="2430"/>
                </a:lnTo>
                <a:lnTo>
                  <a:pt x="3360" y="2440"/>
                </a:lnTo>
                <a:lnTo>
                  <a:pt x="3350" y="2449"/>
                </a:lnTo>
                <a:lnTo>
                  <a:pt x="3344" y="2452"/>
                </a:lnTo>
                <a:lnTo>
                  <a:pt x="3339" y="2456"/>
                </a:lnTo>
                <a:lnTo>
                  <a:pt x="3327" y="2463"/>
                </a:lnTo>
                <a:lnTo>
                  <a:pt x="3315" y="2468"/>
                </a:lnTo>
                <a:lnTo>
                  <a:pt x="3303" y="2473"/>
                </a:lnTo>
                <a:lnTo>
                  <a:pt x="3297" y="2475"/>
                </a:lnTo>
                <a:lnTo>
                  <a:pt x="3291" y="2476"/>
                </a:lnTo>
                <a:lnTo>
                  <a:pt x="3284" y="2478"/>
                </a:lnTo>
                <a:lnTo>
                  <a:pt x="3278" y="2478"/>
                </a:lnTo>
                <a:lnTo>
                  <a:pt x="3265" y="2479"/>
                </a:lnTo>
                <a:lnTo>
                  <a:pt x="3259" y="2478"/>
                </a:lnTo>
                <a:lnTo>
                  <a:pt x="3254" y="2477"/>
                </a:lnTo>
                <a:lnTo>
                  <a:pt x="3250" y="2474"/>
                </a:lnTo>
                <a:lnTo>
                  <a:pt x="3248" y="2472"/>
                </a:lnTo>
                <a:lnTo>
                  <a:pt x="3246" y="2470"/>
                </a:lnTo>
                <a:lnTo>
                  <a:pt x="3243" y="2465"/>
                </a:lnTo>
                <a:lnTo>
                  <a:pt x="3240" y="2460"/>
                </a:lnTo>
                <a:lnTo>
                  <a:pt x="3239" y="2457"/>
                </a:lnTo>
                <a:lnTo>
                  <a:pt x="3239" y="2454"/>
                </a:lnTo>
                <a:lnTo>
                  <a:pt x="3238" y="2448"/>
                </a:lnTo>
                <a:lnTo>
                  <a:pt x="3238" y="2445"/>
                </a:lnTo>
                <a:lnTo>
                  <a:pt x="3239" y="2442"/>
                </a:lnTo>
                <a:lnTo>
                  <a:pt x="3240" y="2437"/>
                </a:lnTo>
                <a:lnTo>
                  <a:pt x="3241" y="2435"/>
                </a:lnTo>
                <a:lnTo>
                  <a:pt x="3242" y="2433"/>
                </a:lnTo>
                <a:lnTo>
                  <a:pt x="3244" y="2432"/>
                </a:lnTo>
                <a:lnTo>
                  <a:pt x="3245" y="2430"/>
                </a:lnTo>
                <a:lnTo>
                  <a:pt x="3256" y="2428"/>
                </a:lnTo>
                <a:lnTo>
                  <a:pt x="3267" y="2425"/>
                </a:lnTo>
                <a:lnTo>
                  <a:pt x="3278" y="2422"/>
                </a:lnTo>
                <a:lnTo>
                  <a:pt x="3288" y="2418"/>
                </a:lnTo>
                <a:lnTo>
                  <a:pt x="3297" y="2413"/>
                </a:lnTo>
                <a:lnTo>
                  <a:pt x="3305" y="2408"/>
                </a:lnTo>
                <a:lnTo>
                  <a:pt x="3313" y="2403"/>
                </a:lnTo>
                <a:lnTo>
                  <a:pt x="3317" y="2400"/>
                </a:lnTo>
                <a:lnTo>
                  <a:pt x="3320" y="2397"/>
                </a:lnTo>
                <a:lnTo>
                  <a:pt x="3327" y="2390"/>
                </a:lnTo>
                <a:lnTo>
                  <a:pt x="3333" y="2384"/>
                </a:lnTo>
                <a:lnTo>
                  <a:pt x="3338" y="2377"/>
                </a:lnTo>
                <a:lnTo>
                  <a:pt x="3343" y="2369"/>
                </a:lnTo>
                <a:lnTo>
                  <a:pt x="3346" y="2362"/>
                </a:lnTo>
                <a:lnTo>
                  <a:pt x="3348" y="2355"/>
                </a:lnTo>
                <a:lnTo>
                  <a:pt x="3350" y="2348"/>
                </a:lnTo>
                <a:lnTo>
                  <a:pt x="3350" y="2341"/>
                </a:lnTo>
                <a:lnTo>
                  <a:pt x="3350" y="2333"/>
                </a:lnTo>
                <a:lnTo>
                  <a:pt x="3347" y="2326"/>
                </a:lnTo>
                <a:lnTo>
                  <a:pt x="3346" y="2323"/>
                </a:lnTo>
                <a:lnTo>
                  <a:pt x="3344" y="2319"/>
                </a:lnTo>
                <a:lnTo>
                  <a:pt x="3342" y="2317"/>
                </a:lnTo>
                <a:lnTo>
                  <a:pt x="3339" y="2314"/>
                </a:lnTo>
                <a:lnTo>
                  <a:pt x="3334" y="2309"/>
                </a:lnTo>
                <a:lnTo>
                  <a:pt x="3329" y="2307"/>
                </a:lnTo>
                <a:lnTo>
                  <a:pt x="3326" y="2306"/>
                </a:lnTo>
                <a:lnTo>
                  <a:pt x="3318" y="2304"/>
                </a:lnTo>
                <a:lnTo>
                  <a:pt x="3314" y="2303"/>
                </a:lnTo>
                <a:lnTo>
                  <a:pt x="3309" y="2303"/>
                </a:lnTo>
                <a:lnTo>
                  <a:pt x="3300" y="2304"/>
                </a:lnTo>
                <a:lnTo>
                  <a:pt x="3296" y="2305"/>
                </a:lnTo>
                <a:lnTo>
                  <a:pt x="3291" y="2306"/>
                </a:lnTo>
                <a:lnTo>
                  <a:pt x="3287" y="2308"/>
                </a:lnTo>
                <a:lnTo>
                  <a:pt x="3282" y="2310"/>
                </a:lnTo>
                <a:lnTo>
                  <a:pt x="3278" y="2313"/>
                </a:lnTo>
                <a:lnTo>
                  <a:pt x="3274" y="2315"/>
                </a:lnTo>
                <a:lnTo>
                  <a:pt x="3268" y="2318"/>
                </a:lnTo>
                <a:lnTo>
                  <a:pt x="3264" y="2321"/>
                </a:lnTo>
                <a:lnTo>
                  <a:pt x="3256" y="2328"/>
                </a:lnTo>
                <a:lnTo>
                  <a:pt x="3248" y="2336"/>
                </a:lnTo>
                <a:lnTo>
                  <a:pt x="3241" y="2345"/>
                </a:lnTo>
                <a:lnTo>
                  <a:pt x="3237" y="2350"/>
                </a:lnTo>
                <a:lnTo>
                  <a:pt x="3234" y="2355"/>
                </a:lnTo>
                <a:lnTo>
                  <a:pt x="3228" y="2366"/>
                </a:lnTo>
                <a:lnTo>
                  <a:pt x="3222" y="2379"/>
                </a:lnTo>
                <a:lnTo>
                  <a:pt x="3217" y="2391"/>
                </a:lnTo>
                <a:lnTo>
                  <a:pt x="3214" y="2404"/>
                </a:lnTo>
                <a:lnTo>
                  <a:pt x="3211" y="2417"/>
                </a:lnTo>
                <a:lnTo>
                  <a:pt x="3208" y="2432"/>
                </a:lnTo>
                <a:lnTo>
                  <a:pt x="3207" y="2439"/>
                </a:lnTo>
                <a:lnTo>
                  <a:pt x="3207" y="2446"/>
                </a:lnTo>
                <a:lnTo>
                  <a:pt x="3208" y="2459"/>
                </a:lnTo>
                <a:lnTo>
                  <a:pt x="3209" y="2471"/>
                </a:lnTo>
                <a:lnTo>
                  <a:pt x="3212" y="2482"/>
                </a:lnTo>
                <a:lnTo>
                  <a:pt x="3214" y="2488"/>
                </a:lnTo>
                <a:lnTo>
                  <a:pt x="3215" y="2494"/>
                </a:lnTo>
                <a:lnTo>
                  <a:pt x="3219" y="2505"/>
                </a:lnTo>
                <a:lnTo>
                  <a:pt x="3221" y="2510"/>
                </a:lnTo>
                <a:lnTo>
                  <a:pt x="3223" y="2515"/>
                </a:lnTo>
                <a:lnTo>
                  <a:pt x="3226" y="2519"/>
                </a:lnTo>
                <a:lnTo>
                  <a:pt x="3229" y="2524"/>
                </a:lnTo>
                <a:lnTo>
                  <a:pt x="3231" y="2528"/>
                </a:lnTo>
                <a:lnTo>
                  <a:pt x="3234" y="2532"/>
                </a:lnTo>
                <a:lnTo>
                  <a:pt x="3238" y="2536"/>
                </a:lnTo>
                <a:lnTo>
                  <a:pt x="3241" y="2540"/>
                </a:lnTo>
                <a:lnTo>
                  <a:pt x="3248" y="2546"/>
                </a:lnTo>
                <a:lnTo>
                  <a:pt x="3256" y="2553"/>
                </a:lnTo>
                <a:lnTo>
                  <a:pt x="3265" y="2558"/>
                </a:lnTo>
                <a:lnTo>
                  <a:pt x="3275" y="2561"/>
                </a:lnTo>
                <a:lnTo>
                  <a:pt x="3284" y="2564"/>
                </a:lnTo>
                <a:lnTo>
                  <a:pt x="3294" y="2566"/>
                </a:lnTo>
                <a:lnTo>
                  <a:pt x="3300" y="2566"/>
                </a:lnTo>
                <a:lnTo>
                  <a:pt x="3305" y="2567"/>
                </a:lnTo>
                <a:lnTo>
                  <a:pt x="3316" y="2566"/>
                </a:lnTo>
                <a:lnTo>
                  <a:pt x="3326" y="2564"/>
                </a:lnTo>
                <a:lnTo>
                  <a:pt x="3337" y="2562"/>
                </a:lnTo>
                <a:lnTo>
                  <a:pt x="3346" y="2559"/>
                </a:lnTo>
                <a:lnTo>
                  <a:pt x="3356" y="2554"/>
                </a:lnTo>
                <a:lnTo>
                  <a:pt x="3365" y="2548"/>
                </a:lnTo>
                <a:lnTo>
                  <a:pt x="3373" y="2543"/>
                </a:lnTo>
                <a:lnTo>
                  <a:pt x="3381" y="2536"/>
                </a:lnTo>
                <a:lnTo>
                  <a:pt x="3389" y="2529"/>
                </a:lnTo>
                <a:lnTo>
                  <a:pt x="3398" y="2521"/>
                </a:lnTo>
                <a:lnTo>
                  <a:pt x="3405" y="2512"/>
                </a:lnTo>
                <a:lnTo>
                  <a:pt x="3412" y="2503"/>
                </a:lnTo>
                <a:lnTo>
                  <a:pt x="3425" y="2483"/>
                </a:lnTo>
                <a:lnTo>
                  <a:pt x="3431" y="2473"/>
                </a:lnTo>
                <a:lnTo>
                  <a:pt x="3437" y="2462"/>
                </a:lnTo>
                <a:lnTo>
                  <a:pt x="3442" y="2451"/>
                </a:lnTo>
                <a:lnTo>
                  <a:pt x="3447" y="2440"/>
                </a:lnTo>
                <a:lnTo>
                  <a:pt x="3452" y="2427"/>
                </a:lnTo>
                <a:lnTo>
                  <a:pt x="3456" y="2415"/>
                </a:lnTo>
                <a:lnTo>
                  <a:pt x="3460" y="2403"/>
                </a:lnTo>
                <a:lnTo>
                  <a:pt x="3463" y="2391"/>
                </a:lnTo>
                <a:lnTo>
                  <a:pt x="3466" y="2379"/>
                </a:lnTo>
                <a:lnTo>
                  <a:pt x="3469" y="2366"/>
                </a:lnTo>
                <a:lnTo>
                  <a:pt x="3471" y="2354"/>
                </a:lnTo>
                <a:lnTo>
                  <a:pt x="3473" y="2343"/>
                </a:lnTo>
                <a:lnTo>
                  <a:pt x="3475" y="2331"/>
                </a:lnTo>
                <a:lnTo>
                  <a:pt x="3476" y="2319"/>
                </a:lnTo>
                <a:lnTo>
                  <a:pt x="3476" y="2307"/>
                </a:lnTo>
                <a:lnTo>
                  <a:pt x="3477" y="2296"/>
                </a:lnTo>
                <a:lnTo>
                  <a:pt x="3477" y="2285"/>
                </a:lnTo>
                <a:lnTo>
                  <a:pt x="3476" y="2275"/>
                </a:lnTo>
                <a:lnTo>
                  <a:pt x="3477" y="2272"/>
                </a:lnTo>
                <a:lnTo>
                  <a:pt x="3479" y="2270"/>
                </a:lnTo>
                <a:lnTo>
                  <a:pt x="3481" y="2268"/>
                </a:lnTo>
                <a:lnTo>
                  <a:pt x="3484" y="2266"/>
                </a:lnTo>
                <a:lnTo>
                  <a:pt x="3490" y="2263"/>
                </a:lnTo>
                <a:lnTo>
                  <a:pt x="3494" y="2263"/>
                </a:lnTo>
                <a:lnTo>
                  <a:pt x="3499" y="2262"/>
                </a:lnTo>
                <a:lnTo>
                  <a:pt x="3506" y="2263"/>
                </a:lnTo>
                <a:lnTo>
                  <a:pt x="3509" y="2264"/>
                </a:lnTo>
                <a:lnTo>
                  <a:pt x="3513" y="2265"/>
                </a:lnTo>
                <a:lnTo>
                  <a:pt x="3519" y="2267"/>
                </a:lnTo>
                <a:lnTo>
                  <a:pt x="3522" y="2269"/>
                </a:lnTo>
                <a:lnTo>
                  <a:pt x="3524" y="2272"/>
                </a:lnTo>
                <a:lnTo>
                  <a:pt x="3528" y="2277"/>
                </a:lnTo>
                <a:lnTo>
                  <a:pt x="3530" y="2281"/>
                </a:lnTo>
                <a:lnTo>
                  <a:pt x="3531" y="2285"/>
                </a:lnTo>
                <a:lnTo>
                  <a:pt x="3532" y="2289"/>
                </a:lnTo>
                <a:lnTo>
                  <a:pt x="3533" y="2294"/>
                </a:lnTo>
                <a:lnTo>
                  <a:pt x="3533" y="2299"/>
                </a:lnTo>
                <a:lnTo>
                  <a:pt x="3533" y="2305"/>
                </a:lnTo>
                <a:lnTo>
                  <a:pt x="3533" y="2322"/>
                </a:lnTo>
                <a:lnTo>
                  <a:pt x="3532" y="2337"/>
                </a:lnTo>
                <a:lnTo>
                  <a:pt x="3530" y="2352"/>
                </a:lnTo>
                <a:lnTo>
                  <a:pt x="3528" y="2368"/>
                </a:lnTo>
                <a:lnTo>
                  <a:pt x="3526" y="2383"/>
                </a:lnTo>
                <a:lnTo>
                  <a:pt x="3523" y="2398"/>
                </a:lnTo>
                <a:lnTo>
                  <a:pt x="3519" y="2413"/>
                </a:lnTo>
                <a:lnTo>
                  <a:pt x="3515" y="2427"/>
                </a:lnTo>
                <a:lnTo>
                  <a:pt x="3511" y="2442"/>
                </a:lnTo>
                <a:lnTo>
                  <a:pt x="3505" y="2455"/>
                </a:lnTo>
                <a:lnTo>
                  <a:pt x="3500" y="2468"/>
                </a:lnTo>
                <a:lnTo>
                  <a:pt x="3494" y="2481"/>
                </a:lnTo>
                <a:lnTo>
                  <a:pt x="3488" y="2495"/>
                </a:lnTo>
                <a:lnTo>
                  <a:pt x="3482" y="2507"/>
                </a:lnTo>
                <a:lnTo>
                  <a:pt x="3475" y="2518"/>
                </a:lnTo>
                <a:lnTo>
                  <a:pt x="3467" y="2529"/>
                </a:lnTo>
                <a:lnTo>
                  <a:pt x="3460" y="2540"/>
                </a:lnTo>
                <a:lnTo>
                  <a:pt x="3452" y="2550"/>
                </a:lnTo>
                <a:lnTo>
                  <a:pt x="3442" y="2561"/>
                </a:lnTo>
                <a:lnTo>
                  <a:pt x="3434" y="2570"/>
                </a:lnTo>
                <a:lnTo>
                  <a:pt x="3425" y="2578"/>
                </a:lnTo>
                <a:lnTo>
                  <a:pt x="3415" y="2586"/>
                </a:lnTo>
                <a:lnTo>
                  <a:pt x="3405" y="2593"/>
                </a:lnTo>
                <a:lnTo>
                  <a:pt x="3395" y="2600"/>
                </a:lnTo>
                <a:lnTo>
                  <a:pt x="3384" y="2606"/>
                </a:lnTo>
                <a:lnTo>
                  <a:pt x="3374" y="2612"/>
                </a:lnTo>
                <a:lnTo>
                  <a:pt x="3363" y="2616"/>
                </a:lnTo>
                <a:lnTo>
                  <a:pt x="3351" y="2620"/>
                </a:lnTo>
                <a:lnTo>
                  <a:pt x="3340" y="2623"/>
                </a:lnTo>
                <a:lnTo>
                  <a:pt x="3327" y="2625"/>
                </a:lnTo>
                <a:lnTo>
                  <a:pt x="3315" y="2626"/>
                </a:lnTo>
                <a:lnTo>
                  <a:pt x="3303" y="2627"/>
                </a:lnTo>
                <a:close/>
                <a:moveTo>
                  <a:pt x="3691" y="2621"/>
                </a:moveTo>
                <a:lnTo>
                  <a:pt x="3688" y="2621"/>
                </a:lnTo>
                <a:lnTo>
                  <a:pt x="3686" y="2620"/>
                </a:lnTo>
                <a:lnTo>
                  <a:pt x="3681" y="2617"/>
                </a:lnTo>
                <a:lnTo>
                  <a:pt x="3674" y="2613"/>
                </a:lnTo>
                <a:lnTo>
                  <a:pt x="3667" y="2607"/>
                </a:lnTo>
                <a:lnTo>
                  <a:pt x="3654" y="2596"/>
                </a:lnTo>
                <a:lnTo>
                  <a:pt x="3639" y="2582"/>
                </a:lnTo>
                <a:lnTo>
                  <a:pt x="3622" y="2566"/>
                </a:lnTo>
                <a:lnTo>
                  <a:pt x="3605" y="2548"/>
                </a:lnTo>
                <a:lnTo>
                  <a:pt x="3589" y="2531"/>
                </a:lnTo>
                <a:lnTo>
                  <a:pt x="3575" y="2515"/>
                </a:lnTo>
                <a:lnTo>
                  <a:pt x="3563" y="2501"/>
                </a:lnTo>
                <a:lnTo>
                  <a:pt x="3558" y="2494"/>
                </a:lnTo>
                <a:lnTo>
                  <a:pt x="3555" y="2488"/>
                </a:lnTo>
                <a:lnTo>
                  <a:pt x="3550" y="2478"/>
                </a:lnTo>
                <a:lnTo>
                  <a:pt x="3546" y="2468"/>
                </a:lnTo>
                <a:lnTo>
                  <a:pt x="3544" y="2458"/>
                </a:lnTo>
                <a:lnTo>
                  <a:pt x="3543" y="2448"/>
                </a:lnTo>
                <a:lnTo>
                  <a:pt x="3543" y="2443"/>
                </a:lnTo>
                <a:lnTo>
                  <a:pt x="3544" y="2437"/>
                </a:lnTo>
                <a:lnTo>
                  <a:pt x="3545" y="2430"/>
                </a:lnTo>
                <a:lnTo>
                  <a:pt x="3547" y="2424"/>
                </a:lnTo>
                <a:lnTo>
                  <a:pt x="3550" y="2418"/>
                </a:lnTo>
                <a:lnTo>
                  <a:pt x="3553" y="2412"/>
                </a:lnTo>
                <a:lnTo>
                  <a:pt x="3557" y="2405"/>
                </a:lnTo>
                <a:lnTo>
                  <a:pt x="3561" y="2398"/>
                </a:lnTo>
                <a:lnTo>
                  <a:pt x="3571" y="2387"/>
                </a:lnTo>
                <a:lnTo>
                  <a:pt x="3582" y="2374"/>
                </a:lnTo>
                <a:lnTo>
                  <a:pt x="3612" y="2339"/>
                </a:lnTo>
                <a:lnTo>
                  <a:pt x="3647" y="2299"/>
                </a:lnTo>
                <a:lnTo>
                  <a:pt x="3682" y="2259"/>
                </a:lnTo>
                <a:lnTo>
                  <a:pt x="3683" y="2258"/>
                </a:lnTo>
                <a:lnTo>
                  <a:pt x="3687" y="2258"/>
                </a:lnTo>
                <a:lnTo>
                  <a:pt x="3691" y="2258"/>
                </a:lnTo>
                <a:lnTo>
                  <a:pt x="3695" y="2260"/>
                </a:lnTo>
                <a:lnTo>
                  <a:pt x="3700" y="2261"/>
                </a:lnTo>
                <a:lnTo>
                  <a:pt x="3704" y="2264"/>
                </a:lnTo>
                <a:lnTo>
                  <a:pt x="3708" y="2267"/>
                </a:lnTo>
                <a:lnTo>
                  <a:pt x="3712" y="2271"/>
                </a:lnTo>
                <a:lnTo>
                  <a:pt x="3716" y="2275"/>
                </a:lnTo>
                <a:lnTo>
                  <a:pt x="3718" y="2280"/>
                </a:lnTo>
                <a:lnTo>
                  <a:pt x="3720" y="2284"/>
                </a:lnTo>
                <a:lnTo>
                  <a:pt x="3720" y="2289"/>
                </a:lnTo>
                <a:lnTo>
                  <a:pt x="3720" y="2295"/>
                </a:lnTo>
                <a:lnTo>
                  <a:pt x="3718" y="2300"/>
                </a:lnTo>
                <a:lnTo>
                  <a:pt x="3715" y="2306"/>
                </a:lnTo>
                <a:lnTo>
                  <a:pt x="3711" y="2313"/>
                </a:lnTo>
                <a:lnTo>
                  <a:pt x="3703" y="2323"/>
                </a:lnTo>
                <a:lnTo>
                  <a:pt x="3692" y="2336"/>
                </a:lnTo>
                <a:lnTo>
                  <a:pt x="3662" y="2369"/>
                </a:lnTo>
                <a:lnTo>
                  <a:pt x="3632" y="2404"/>
                </a:lnTo>
                <a:lnTo>
                  <a:pt x="3619" y="2418"/>
                </a:lnTo>
                <a:lnTo>
                  <a:pt x="3610" y="2430"/>
                </a:lnTo>
                <a:lnTo>
                  <a:pt x="3607" y="2434"/>
                </a:lnTo>
                <a:lnTo>
                  <a:pt x="3605" y="2438"/>
                </a:lnTo>
                <a:lnTo>
                  <a:pt x="3604" y="2442"/>
                </a:lnTo>
                <a:lnTo>
                  <a:pt x="3604" y="2445"/>
                </a:lnTo>
                <a:lnTo>
                  <a:pt x="3604" y="2450"/>
                </a:lnTo>
                <a:lnTo>
                  <a:pt x="3606" y="2454"/>
                </a:lnTo>
                <a:lnTo>
                  <a:pt x="3608" y="2458"/>
                </a:lnTo>
                <a:lnTo>
                  <a:pt x="3611" y="2463"/>
                </a:lnTo>
                <a:lnTo>
                  <a:pt x="3618" y="2472"/>
                </a:lnTo>
                <a:lnTo>
                  <a:pt x="3629" y="2484"/>
                </a:lnTo>
                <a:lnTo>
                  <a:pt x="3657" y="2514"/>
                </a:lnTo>
                <a:lnTo>
                  <a:pt x="3689" y="2546"/>
                </a:lnTo>
                <a:lnTo>
                  <a:pt x="3721" y="2577"/>
                </a:lnTo>
                <a:lnTo>
                  <a:pt x="3723" y="2579"/>
                </a:lnTo>
                <a:lnTo>
                  <a:pt x="3724" y="2581"/>
                </a:lnTo>
                <a:lnTo>
                  <a:pt x="3725" y="2584"/>
                </a:lnTo>
                <a:lnTo>
                  <a:pt x="3725" y="2586"/>
                </a:lnTo>
                <a:lnTo>
                  <a:pt x="3725" y="2592"/>
                </a:lnTo>
                <a:lnTo>
                  <a:pt x="3724" y="2595"/>
                </a:lnTo>
                <a:lnTo>
                  <a:pt x="3722" y="2597"/>
                </a:lnTo>
                <a:lnTo>
                  <a:pt x="3719" y="2603"/>
                </a:lnTo>
                <a:lnTo>
                  <a:pt x="3716" y="2606"/>
                </a:lnTo>
                <a:lnTo>
                  <a:pt x="3714" y="2608"/>
                </a:lnTo>
                <a:lnTo>
                  <a:pt x="3709" y="2614"/>
                </a:lnTo>
                <a:lnTo>
                  <a:pt x="3706" y="2616"/>
                </a:lnTo>
                <a:lnTo>
                  <a:pt x="3703" y="2618"/>
                </a:lnTo>
                <a:lnTo>
                  <a:pt x="3697" y="2620"/>
                </a:lnTo>
                <a:lnTo>
                  <a:pt x="3694" y="2621"/>
                </a:lnTo>
                <a:lnTo>
                  <a:pt x="3691" y="2621"/>
                </a:lnTo>
                <a:close/>
                <a:moveTo>
                  <a:pt x="1021" y="639"/>
                </a:moveTo>
                <a:lnTo>
                  <a:pt x="1013" y="639"/>
                </a:lnTo>
                <a:lnTo>
                  <a:pt x="1006" y="639"/>
                </a:lnTo>
                <a:lnTo>
                  <a:pt x="998" y="637"/>
                </a:lnTo>
                <a:lnTo>
                  <a:pt x="991" y="636"/>
                </a:lnTo>
                <a:lnTo>
                  <a:pt x="982" y="634"/>
                </a:lnTo>
                <a:lnTo>
                  <a:pt x="975" y="632"/>
                </a:lnTo>
                <a:lnTo>
                  <a:pt x="962" y="625"/>
                </a:lnTo>
                <a:lnTo>
                  <a:pt x="949" y="618"/>
                </a:lnTo>
                <a:lnTo>
                  <a:pt x="942" y="613"/>
                </a:lnTo>
                <a:lnTo>
                  <a:pt x="936" y="609"/>
                </a:lnTo>
                <a:lnTo>
                  <a:pt x="929" y="604"/>
                </a:lnTo>
                <a:lnTo>
                  <a:pt x="924" y="599"/>
                </a:lnTo>
                <a:lnTo>
                  <a:pt x="918" y="593"/>
                </a:lnTo>
                <a:lnTo>
                  <a:pt x="913" y="588"/>
                </a:lnTo>
                <a:lnTo>
                  <a:pt x="908" y="582"/>
                </a:lnTo>
                <a:lnTo>
                  <a:pt x="903" y="575"/>
                </a:lnTo>
                <a:lnTo>
                  <a:pt x="899" y="568"/>
                </a:lnTo>
                <a:lnTo>
                  <a:pt x="895" y="561"/>
                </a:lnTo>
                <a:lnTo>
                  <a:pt x="891" y="554"/>
                </a:lnTo>
                <a:lnTo>
                  <a:pt x="887" y="546"/>
                </a:lnTo>
                <a:lnTo>
                  <a:pt x="884" y="539"/>
                </a:lnTo>
                <a:lnTo>
                  <a:pt x="881" y="531"/>
                </a:lnTo>
                <a:lnTo>
                  <a:pt x="878" y="523"/>
                </a:lnTo>
                <a:lnTo>
                  <a:pt x="876" y="515"/>
                </a:lnTo>
                <a:lnTo>
                  <a:pt x="874" y="505"/>
                </a:lnTo>
                <a:lnTo>
                  <a:pt x="872" y="497"/>
                </a:lnTo>
                <a:lnTo>
                  <a:pt x="871" y="488"/>
                </a:lnTo>
                <a:lnTo>
                  <a:pt x="869" y="479"/>
                </a:lnTo>
                <a:lnTo>
                  <a:pt x="868" y="470"/>
                </a:lnTo>
                <a:lnTo>
                  <a:pt x="868" y="461"/>
                </a:lnTo>
                <a:lnTo>
                  <a:pt x="869" y="441"/>
                </a:lnTo>
                <a:lnTo>
                  <a:pt x="871" y="432"/>
                </a:lnTo>
                <a:lnTo>
                  <a:pt x="872" y="423"/>
                </a:lnTo>
                <a:lnTo>
                  <a:pt x="874" y="414"/>
                </a:lnTo>
                <a:lnTo>
                  <a:pt x="876" y="405"/>
                </a:lnTo>
                <a:lnTo>
                  <a:pt x="879" y="396"/>
                </a:lnTo>
                <a:lnTo>
                  <a:pt x="882" y="387"/>
                </a:lnTo>
                <a:lnTo>
                  <a:pt x="885" y="378"/>
                </a:lnTo>
                <a:lnTo>
                  <a:pt x="888" y="370"/>
                </a:lnTo>
                <a:lnTo>
                  <a:pt x="892" y="362"/>
                </a:lnTo>
                <a:lnTo>
                  <a:pt x="896" y="354"/>
                </a:lnTo>
                <a:lnTo>
                  <a:pt x="901" y="347"/>
                </a:lnTo>
                <a:lnTo>
                  <a:pt x="905" y="339"/>
                </a:lnTo>
                <a:lnTo>
                  <a:pt x="916" y="325"/>
                </a:lnTo>
                <a:lnTo>
                  <a:pt x="921" y="318"/>
                </a:lnTo>
                <a:lnTo>
                  <a:pt x="927" y="312"/>
                </a:lnTo>
                <a:lnTo>
                  <a:pt x="940" y="301"/>
                </a:lnTo>
                <a:lnTo>
                  <a:pt x="946" y="295"/>
                </a:lnTo>
                <a:lnTo>
                  <a:pt x="953" y="291"/>
                </a:lnTo>
                <a:lnTo>
                  <a:pt x="960" y="286"/>
                </a:lnTo>
                <a:lnTo>
                  <a:pt x="967" y="282"/>
                </a:lnTo>
                <a:lnTo>
                  <a:pt x="974" y="278"/>
                </a:lnTo>
                <a:lnTo>
                  <a:pt x="982" y="275"/>
                </a:lnTo>
                <a:lnTo>
                  <a:pt x="989" y="273"/>
                </a:lnTo>
                <a:lnTo>
                  <a:pt x="998" y="269"/>
                </a:lnTo>
                <a:lnTo>
                  <a:pt x="1006" y="268"/>
                </a:lnTo>
                <a:lnTo>
                  <a:pt x="1014" y="266"/>
                </a:lnTo>
                <a:lnTo>
                  <a:pt x="1022" y="265"/>
                </a:lnTo>
                <a:lnTo>
                  <a:pt x="1030" y="265"/>
                </a:lnTo>
                <a:lnTo>
                  <a:pt x="1041" y="266"/>
                </a:lnTo>
                <a:lnTo>
                  <a:pt x="1045" y="266"/>
                </a:lnTo>
                <a:lnTo>
                  <a:pt x="1051" y="267"/>
                </a:lnTo>
                <a:lnTo>
                  <a:pt x="1056" y="268"/>
                </a:lnTo>
                <a:lnTo>
                  <a:pt x="1060" y="269"/>
                </a:lnTo>
                <a:lnTo>
                  <a:pt x="1069" y="273"/>
                </a:lnTo>
                <a:lnTo>
                  <a:pt x="1077" y="277"/>
                </a:lnTo>
                <a:lnTo>
                  <a:pt x="1084" y="282"/>
                </a:lnTo>
                <a:lnTo>
                  <a:pt x="1091" y="287"/>
                </a:lnTo>
                <a:lnTo>
                  <a:pt x="1097" y="293"/>
                </a:lnTo>
                <a:lnTo>
                  <a:pt x="1099" y="297"/>
                </a:lnTo>
                <a:lnTo>
                  <a:pt x="1102" y="300"/>
                </a:lnTo>
                <a:lnTo>
                  <a:pt x="1107" y="307"/>
                </a:lnTo>
                <a:lnTo>
                  <a:pt x="1112" y="315"/>
                </a:lnTo>
                <a:lnTo>
                  <a:pt x="1115" y="323"/>
                </a:lnTo>
                <a:lnTo>
                  <a:pt x="1118" y="333"/>
                </a:lnTo>
                <a:lnTo>
                  <a:pt x="1120" y="342"/>
                </a:lnTo>
                <a:lnTo>
                  <a:pt x="1121" y="352"/>
                </a:lnTo>
                <a:lnTo>
                  <a:pt x="1121" y="362"/>
                </a:lnTo>
                <a:lnTo>
                  <a:pt x="1120" y="374"/>
                </a:lnTo>
                <a:lnTo>
                  <a:pt x="1119" y="380"/>
                </a:lnTo>
                <a:lnTo>
                  <a:pt x="1118" y="386"/>
                </a:lnTo>
                <a:lnTo>
                  <a:pt x="1114" y="399"/>
                </a:lnTo>
                <a:lnTo>
                  <a:pt x="1108" y="411"/>
                </a:lnTo>
                <a:lnTo>
                  <a:pt x="1102" y="422"/>
                </a:lnTo>
                <a:lnTo>
                  <a:pt x="1095" y="433"/>
                </a:lnTo>
                <a:lnTo>
                  <a:pt x="1091" y="438"/>
                </a:lnTo>
                <a:lnTo>
                  <a:pt x="1086" y="442"/>
                </a:lnTo>
                <a:lnTo>
                  <a:pt x="1077" y="453"/>
                </a:lnTo>
                <a:lnTo>
                  <a:pt x="1067" y="461"/>
                </a:lnTo>
                <a:lnTo>
                  <a:pt x="1062" y="465"/>
                </a:lnTo>
                <a:lnTo>
                  <a:pt x="1057" y="469"/>
                </a:lnTo>
                <a:lnTo>
                  <a:pt x="1044" y="475"/>
                </a:lnTo>
                <a:lnTo>
                  <a:pt x="1033" y="481"/>
                </a:lnTo>
                <a:lnTo>
                  <a:pt x="1021" y="486"/>
                </a:lnTo>
                <a:lnTo>
                  <a:pt x="1014" y="487"/>
                </a:lnTo>
                <a:lnTo>
                  <a:pt x="1008" y="489"/>
                </a:lnTo>
                <a:lnTo>
                  <a:pt x="1002" y="490"/>
                </a:lnTo>
                <a:lnTo>
                  <a:pt x="996" y="491"/>
                </a:lnTo>
                <a:lnTo>
                  <a:pt x="982" y="492"/>
                </a:lnTo>
                <a:lnTo>
                  <a:pt x="977" y="491"/>
                </a:lnTo>
                <a:lnTo>
                  <a:pt x="972" y="489"/>
                </a:lnTo>
                <a:lnTo>
                  <a:pt x="967" y="486"/>
                </a:lnTo>
                <a:lnTo>
                  <a:pt x="965" y="485"/>
                </a:lnTo>
                <a:lnTo>
                  <a:pt x="963" y="483"/>
                </a:lnTo>
                <a:lnTo>
                  <a:pt x="960" y="478"/>
                </a:lnTo>
                <a:lnTo>
                  <a:pt x="958" y="473"/>
                </a:lnTo>
                <a:lnTo>
                  <a:pt x="957" y="470"/>
                </a:lnTo>
                <a:lnTo>
                  <a:pt x="956" y="467"/>
                </a:lnTo>
                <a:lnTo>
                  <a:pt x="956" y="460"/>
                </a:lnTo>
                <a:lnTo>
                  <a:pt x="956" y="458"/>
                </a:lnTo>
                <a:lnTo>
                  <a:pt x="956" y="455"/>
                </a:lnTo>
                <a:lnTo>
                  <a:pt x="957" y="449"/>
                </a:lnTo>
                <a:lnTo>
                  <a:pt x="958" y="447"/>
                </a:lnTo>
                <a:lnTo>
                  <a:pt x="960" y="445"/>
                </a:lnTo>
                <a:lnTo>
                  <a:pt x="961" y="443"/>
                </a:lnTo>
                <a:lnTo>
                  <a:pt x="963" y="442"/>
                </a:lnTo>
                <a:lnTo>
                  <a:pt x="974" y="440"/>
                </a:lnTo>
                <a:lnTo>
                  <a:pt x="984" y="438"/>
                </a:lnTo>
                <a:lnTo>
                  <a:pt x="995" y="434"/>
                </a:lnTo>
                <a:lnTo>
                  <a:pt x="1005" y="430"/>
                </a:lnTo>
                <a:lnTo>
                  <a:pt x="1014" y="426"/>
                </a:lnTo>
                <a:lnTo>
                  <a:pt x="1023" y="421"/>
                </a:lnTo>
                <a:lnTo>
                  <a:pt x="1030" y="415"/>
                </a:lnTo>
                <a:lnTo>
                  <a:pt x="1034" y="412"/>
                </a:lnTo>
                <a:lnTo>
                  <a:pt x="1038" y="409"/>
                </a:lnTo>
                <a:lnTo>
                  <a:pt x="1044" y="403"/>
                </a:lnTo>
                <a:lnTo>
                  <a:pt x="1051" y="397"/>
                </a:lnTo>
                <a:lnTo>
                  <a:pt x="1056" y="389"/>
                </a:lnTo>
                <a:lnTo>
                  <a:pt x="1060" y="382"/>
                </a:lnTo>
                <a:lnTo>
                  <a:pt x="1063" y="375"/>
                </a:lnTo>
                <a:lnTo>
                  <a:pt x="1066" y="368"/>
                </a:lnTo>
                <a:lnTo>
                  <a:pt x="1067" y="361"/>
                </a:lnTo>
                <a:lnTo>
                  <a:pt x="1068" y="354"/>
                </a:lnTo>
                <a:lnTo>
                  <a:pt x="1067" y="346"/>
                </a:lnTo>
                <a:lnTo>
                  <a:pt x="1065" y="338"/>
                </a:lnTo>
                <a:lnTo>
                  <a:pt x="1063" y="335"/>
                </a:lnTo>
                <a:lnTo>
                  <a:pt x="1062" y="332"/>
                </a:lnTo>
                <a:lnTo>
                  <a:pt x="1059" y="328"/>
                </a:lnTo>
                <a:lnTo>
                  <a:pt x="1057" y="326"/>
                </a:lnTo>
                <a:lnTo>
                  <a:pt x="1051" y="322"/>
                </a:lnTo>
                <a:lnTo>
                  <a:pt x="1047" y="320"/>
                </a:lnTo>
                <a:lnTo>
                  <a:pt x="1043" y="318"/>
                </a:lnTo>
                <a:lnTo>
                  <a:pt x="1035" y="317"/>
                </a:lnTo>
                <a:lnTo>
                  <a:pt x="1031" y="316"/>
                </a:lnTo>
                <a:lnTo>
                  <a:pt x="1027" y="316"/>
                </a:lnTo>
                <a:lnTo>
                  <a:pt x="1018" y="317"/>
                </a:lnTo>
                <a:lnTo>
                  <a:pt x="1013" y="318"/>
                </a:lnTo>
                <a:lnTo>
                  <a:pt x="1009" y="319"/>
                </a:lnTo>
                <a:lnTo>
                  <a:pt x="1004" y="320"/>
                </a:lnTo>
                <a:lnTo>
                  <a:pt x="1000" y="322"/>
                </a:lnTo>
                <a:lnTo>
                  <a:pt x="996" y="324"/>
                </a:lnTo>
                <a:lnTo>
                  <a:pt x="991" y="327"/>
                </a:lnTo>
                <a:lnTo>
                  <a:pt x="986" y="330"/>
                </a:lnTo>
                <a:lnTo>
                  <a:pt x="982" y="334"/>
                </a:lnTo>
                <a:lnTo>
                  <a:pt x="973" y="341"/>
                </a:lnTo>
                <a:lnTo>
                  <a:pt x="966" y="349"/>
                </a:lnTo>
                <a:lnTo>
                  <a:pt x="958" y="358"/>
                </a:lnTo>
                <a:lnTo>
                  <a:pt x="955" y="363"/>
                </a:lnTo>
                <a:lnTo>
                  <a:pt x="951" y="368"/>
                </a:lnTo>
                <a:lnTo>
                  <a:pt x="945" y="379"/>
                </a:lnTo>
                <a:lnTo>
                  <a:pt x="940" y="390"/>
                </a:lnTo>
                <a:lnTo>
                  <a:pt x="935" y="403"/>
                </a:lnTo>
                <a:lnTo>
                  <a:pt x="931" y="416"/>
                </a:lnTo>
                <a:lnTo>
                  <a:pt x="927" y="430"/>
                </a:lnTo>
                <a:lnTo>
                  <a:pt x="925" y="443"/>
                </a:lnTo>
                <a:lnTo>
                  <a:pt x="925" y="450"/>
                </a:lnTo>
                <a:lnTo>
                  <a:pt x="925" y="459"/>
                </a:lnTo>
                <a:lnTo>
                  <a:pt x="925" y="471"/>
                </a:lnTo>
                <a:lnTo>
                  <a:pt x="927" y="483"/>
                </a:lnTo>
                <a:lnTo>
                  <a:pt x="929" y="495"/>
                </a:lnTo>
                <a:lnTo>
                  <a:pt x="931" y="501"/>
                </a:lnTo>
                <a:lnTo>
                  <a:pt x="933" y="506"/>
                </a:lnTo>
                <a:lnTo>
                  <a:pt x="936" y="518"/>
                </a:lnTo>
                <a:lnTo>
                  <a:pt x="939" y="523"/>
                </a:lnTo>
                <a:lnTo>
                  <a:pt x="941" y="527"/>
                </a:lnTo>
                <a:lnTo>
                  <a:pt x="943" y="532"/>
                </a:lnTo>
                <a:lnTo>
                  <a:pt x="946" y="536"/>
                </a:lnTo>
                <a:lnTo>
                  <a:pt x="949" y="541"/>
                </a:lnTo>
                <a:lnTo>
                  <a:pt x="952" y="545"/>
                </a:lnTo>
                <a:lnTo>
                  <a:pt x="955" y="548"/>
                </a:lnTo>
                <a:lnTo>
                  <a:pt x="959" y="552"/>
                </a:lnTo>
                <a:lnTo>
                  <a:pt x="966" y="559"/>
                </a:lnTo>
                <a:lnTo>
                  <a:pt x="974" y="564"/>
                </a:lnTo>
                <a:lnTo>
                  <a:pt x="982" y="569"/>
                </a:lnTo>
                <a:lnTo>
                  <a:pt x="992" y="574"/>
                </a:lnTo>
                <a:lnTo>
                  <a:pt x="1002" y="577"/>
                </a:lnTo>
                <a:lnTo>
                  <a:pt x="1012" y="579"/>
                </a:lnTo>
                <a:lnTo>
                  <a:pt x="1017" y="579"/>
                </a:lnTo>
                <a:lnTo>
                  <a:pt x="1023" y="579"/>
                </a:lnTo>
                <a:lnTo>
                  <a:pt x="1033" y="579"/>
                </a:lnTo>
                <a:lnTo>
                  <a:pt x="1043" y="577"/>
                </a:lnTo>
                <a:lnTo>
                  <a:pt x="1054" y="575"/>
                </a:lnTo>
                <a:lnTo>
                  <a:pt x="1064" y="570"/>
                </a:lnTo>
                <a:lnTo>
                  <a:pt x="1073" y="566"/>
                </a:lnTo>
                <a:lnTo>
                  <a:pt x="1082" y="561"/>
                </a:lnTo>
                <a:lnTo>
                  <a:pt x="1091" y="555"/>
                </a:lnTo>
                <a:lnTo>
                  <a:pt x="1099" y="549"/>
                </a:lnTo>
                <a:lnTo>
                  <a:pt x="1107" y="541"/>
                </a:lnTo>
                <a:lnTo>
                  <a:pt x="1116" y="534"/>
                </a:lnTo>
                <a:lnTo>
                  <a:pt x="1123" y="525"/>
                </a:lnTo>
                <a:lnTo>
                  <a:pt x="1130" y="516"/>
                </a:lnTo>
                <a:lnTo>
                  <a:pt x="1143" y="496"/>
                </a:lnTo>
                <a:lnTo>
                  <a:pt x="1149" y="485"/>
                </a:lnTo>
                <a:lnTo>
                  <a:pt x="1154" y="475"/>
                </a:lnTo>
                <a:lnTo>
                  <a:pt x="1159" y="464"/>
                </a:lnTo>
                <a:lnTo>
                  <a:pt x="1164" y="452"/>
                </a:lnTo>
                <a:lnTo>
                  <a:pt x="1169" y="440"/>
                </a:lnTo>
                <a:lnTo>
                  <a:pt x="1174" y="428"/>
                </a:lnTo>
                <a:lnTo>
                  <a:pt x="1178" y="416"/>
                </a:lnTo>
                <a:lnTo>
                  <a:pt x="1181" y="404"/>
                </a:lnTo>
                <a:lnTo>
                  <a:pt x="1184" y="392"/>
                </a:lnTo>
                <a:lnTo>
                  <a:pt x="1187" y="379"/>
                </a:lnTo>
                <a:lnTo>
                  <a:pt x="1189" y="367"/>
                </a:lnTo>
                <a:lnTo>
                  <a:pt x="1191" y="355"/>
                </a:lnTo>
                <a:lnTo>
                  <a:pt x="1192" y="343"/>
                </a:lnTo>
                <a:lnTo>
                  <a:pt x="1193" y="332"/>
                </a:lnTo>
                <a:lnTo>
                  <a:pt x="1194" y="320"/>
                </a:lnTo>
                <a:lnTo>
                  <a:pt x="1194" y="308"/>
                </a:lnTo>
                <a:lnTo>
                  <a:pt x="1194" y="298"/>
                </a:lnTo>
                <a:lnTo>
                  <a:pt x="1194" y="287"/>
                </a:lnTo>
                <a:lnTo>
                  <a:pt x="1195" y="285"/>
                </a:lnTo>
                <a:lnTo>
                  <a:pt x="1196" y="283"/>
                </a:lnTo>
                <a:lnTo>
                  <a:pt x="1199" y="281"/>
                </a:lnTo>
                <a:lnTo>
                  <a:pt x="1201" y="279"/>
                </a:lnTo>
                <a:lnTo>
                  <a:pt x="1208" y="276"/>
                </a:lnTo>
                <a:lnTo>
                  <a:pt x="1212" y="275"/>
                </a:lnTo>
                <a:lnTo>
                  <a:pt x="1216" y="275"/>
                </a:lnTo>
                <a:lnTo>
                  <a:pt x="1223" y="276"/>
                </a:lnTo>
                <a:lnTo>
                  <a:pt x="1227" y="276"/>
                </a:lnTo>
                <a:lnTo>
                  <a:pt x="1231" y="277"/>
                </a:lnTo>
                <a:lnTo>
                  <a:pt x="1236" y="280"/>
                </a:lnTo>
                <a:lnTo>
                  <a:pt x="1239" y="282"/>
                </a:lnTo>
                <a:lnTo>
                  <a:pt x="1241" y="284"/>
                </a:lnTo>
                <a:lnTo>
                  <a:pt x="1245" y="290"/>
                </a:lnTo>
                <a:lnTo>
                  <a:pt x="1247" y="294"/>
                </a:lnTo>
                <a:lnTo>
                  <a:pt x="1248" y="297"/>
                </a:lnTo>
                <a:lnTo>
                  <a:pt x="1249" y="302"/>
                </a:lnTo>
                <a:lnTo>
                  <a:pt x="1250" y="307"/>
                </a:lnTo>
                <a:lnTo>
                  <a:pt x="1251" y="312"/>
                </a:lnTo>
                <a:lnTo>
                  <a:pt x="1251" y="318"/>
                </a:lnTo>
                <a:lnTo>
                  <a:pt x="1250" y="334"/>
                </a:lnTo>
                <a:lnTo>
                  <a:pt x="1249" y="350"/>
                </a:lnTo>
                <a:lnTo>
                  <a:pt x="1248" y="365"/>
                </a:lnTo>
                <a:lnTo>
                  <a:pt x="1246" y="380"/>
                </a:lnTo>
                <a:lnTo>
                  <a:pt x="1243" y="396"/>
                </a:lnTo>
                <a:lnTo>
                  <a:pt x="1240" y="411"/>
                </a:lnTo>
                <a:lnTo>
                  <a:pt x="1237" y="425"/>
                </a:lnTo>
                <a:lnTo>
                  <a:pt x="1233" y="439"/>
                </a:lnTo>
                <a:lnTo>
                  <a:pt x="1228" y="454"/>
                </a:lnTo>
                <a:lnTo>
                  <a:pt x="1223" y="468"/>
                </a:lnTo>
                <a:lnTo>
                  <a:pt x="1217" y="481"/>
                </a:lnTo>
                <a:lnTo>
                  <a:pt x="1212" y="494"/>
                </a:lnTo>
                <a:lnTo>
                  <a:pt x="1206" y="506"/>
                </a:lnTo>
                <a:lnTo>
                  <a:pt x="1199" y="519"/>
                </a:lnTo>
                <a:lnTo>
                  <a:pt x="1192" y="531"/>
                </a:lnTo>
                <a:lnTo>
                  <a:pt x="1185" y="542"/>
                </a:lnTo>
                <a:lnTo>
                  <a:pt x="1177" y="553"/>
                </a:lnTo>
                <a:lnTo>
                  <a:pt x="1168" y="563"/>
                </a:lnTo>
                <a:lnTo>
                  <a:pt x="1160" y="573"/>
                </a:lnTo>
                <a:lnTo>
                  <a:pt x="1151" y="582"/>
                </a:lnTo>
                <a:lnTo>
                  <a:pt x="1142" y="591"/>
                </a:lnTo>
                <a:lnTo>
                  <a:pt x="1133" y="599"/>
                </a:lnTo>
                <a:lnTo>
                  <a:pt x="1123" y="606"/>
                </a:lnTo>
                <a:lnTo>
                  <a:pt x="1113" y="612"/>
                </a:lnTo>
                <a:lnTo>
                  <a:pt x="1102" y="618"/>
                </a:lnTo>
                <a:lnTo>
                  <a:pt x="1091" y="624"/>
                </a:lnTo>
                <a:lnTo>
                  <a:pt x="1080" y="628"/>
                </a:lnTo>
                <a:lnTo>
                  <a:pt x="1069" y="633"/>
                </a:lnTo>
                <a:lnTo>
                  <a:pt x="1058" y="636"/>
                </a:lnTo>
                <a:lnTo>
                  <a:pt x="1045" y="638"/>
                </a:lnTo>
                <a:lnTo>
                  <a:pt x="1033" y="639"/>
                </a:lnTo>
                <a:lnTo>
                  <a:pt x="1021" y="639"/>
                </a:lnTo>
                <a:close/>
                <a:moveTo>
                  <a:pt x="1408" y="634"/>
                </a:moveTo>
                <a:lnTo>
                  <a:pt x="1406" y="633"/>
                </a:lnTo>
                <a:lnTo>
                  <a:pt x="1403" y="633"/>
                </a:lnTo>
                <a:lnTo>
                  <a:pt x="1398" y="629"/>
                </a:lnTo>
                <a:lnTo>
                  <a:pt x="1392" y="625"/>
                </a:lnTo>
                <a:lnTo>
                  <a:pt x="1385" y="619"/>
                </a:lnTo>
                <a:lnTo>
                  <a:pt x="1372" y="608"/>
                </a:lnTo>
                <a:lnTo>
                  <a:pt x="1357" y="595"/>
                </a:lnTo>
                <a:lnTo>
                  <a:pt x="1339" y="579"/>
                </a:lnTo>
                <a:lnTo>
                  <a:pt x="1323" y="561"/>
                </a:lnTo>
                <a:lnTo>
                  <a:pt x="1307" y="544"/>
                </a:lnTo>
                <a:lnTo>
                  <a:pt x="1293" y="527"/>
                </a:lnTo>
                <a:lnTo>
                  <a:pt x="1280" y="513"/>
                </a:lnTo>
                <a:lnTo>
                  <a:pt x="1276" y="506"/>
                </a:lnTo>
                <a:lnTo>
                  <a:pt x="1273" y="501"/>
                </a:lnTo>
                <a:lnTo>
                  <a:pt x="1268" y="490"/>
                </a:lnTo>
                <a:lnTo>
                  <a:pt x="1264" y="481"/>
                </a:lnTo>
                <a:lnTo>
                  <a:pt x="1261" y="471"/>
                </a:lnTo>
                <a:lnTo>
                  <a:pt x="1260" y="461"/>
                </a:lnTo>
                <a:lnTo>
                  <a:pt x="1261" y="456"/>
                </a:lnTo>
                <a:lnTo>
                  <a:pt x="1262" y="449"/>
                </a:lnTo>
                <a:lnTo>
                  <a:pt x="1263" y="443"/>
                </a:lnTo>
                <a:lnTo>
                  <a:pt x="1265" y="437"/>
                </a:lnTo>
                <a:lnTo>
                  <a:pt x="1268" y="431"/>
                </a:lnTo>
                <a:lnTo>
                  <a:pt x="1271" y="424"/>
                </a:lnTo>
                <a:lnTo>
                  <a:pt x="1275" y="418"/>
                </a:lnTo>
                <a:lnTo>
                  <a:pt x="1279" y="411"/>
                </a:lnTo>
                <a:lnTo>
                  <a:pt x="1287" y="400"/>
                </a:lnTo>
                <a:lnTo>
                  <a:pt x="1300" y="385"/>
                </a:lnTo>
                <a:lnTo>
                  <a:pt x="1329" y="352"/>
                </a:lnTo>
                <a:lnTo>
                  <a:pt x="1365" y="312"/>
                </a:lnTo>
                <a:lnTo>
                  <a:pt x="1400" y="270"/>
                </a:lnTo>
                <a:lnTo>
                  <a:pt x="1401" y="270"/>
                </a:lnTo>
                <a:lnTo>
                  <a:pt x="1404" y="270"/>
                </a:lnTo>
                <a:lnTo>
                  <a:pt x="1408" y="270"/>
                </a:lnTo>
                <a:lnTo>
                  <a:pt x="1413" y="272"/>
                </a:lnTo>
                <a:lnTo>
                  <a:pt x="1417" y="274"/>
                </a:lnTo>
                <a:lnTo>
                  <a:pt x="1422" y="276"/>
                </a:lnTo>
                <a:lnTo>
                  <a:pt x="1426" y="280"/>
                </a:lnTo>
                <a:lnTo>
                  <a:pt x="1430" y="283"/>
                </a:lnTo>
                <a:lnTo>
                  <a:pt x="1433" y="288"/>
                </a:lnTo>
                <a:lnTo>
                  <a:pt x="1436" y="292"/>
                </a:lnTo>
                <a:lnTo>
                  <a:pt x="1437" y="297"/>
                </a:lnTo>
                <a:lnTo>
                  <a:pt x="1438" y="302"/>
                </a:lnTo>
                <a:lnTo>
                  <a:pt x="1437" y="307"/>
                </a:lnTo>
                <a:lnTo>
                  <a:pt x="1436" y="313"/>
                </a:lnTo>
                <a:lnTo>
                  <a:pt x="1433" y="318"/>
                </a:lnTo>
                <a:lnTo>
                  <a:pt x="1429" y="324"/>
                </a:lnTo>
                <a:lnTo>
                  <a:pt x="1421" y="336"/>
                </a:lnTo>
                <a:lnTo>
                  <a:pt x="1408" y="349"/>
                </a:lnTo>
                <a:lnTo>
                  <a:pt x="1379" y="382"/>
                </a:lnTo>
                <a:lnTo>
                  <a:pt x="1349" y="416"/>
                </a:lnTo>
                <a:lnTo>
                  <a:pt x="1336" y="431"/>
                </a:lnTo>
                <a:lnTo>
                  <a:pt x="1327" y="442"/>
                </a:lnTo>
                <a:lnTo>
                  <a:pt x="1325" y="446"/>
                </a:lnTo>
                <a:lnTo>
                  <a:pt x="1323" y="450"/>
                </a:lnTo>
                <a:lnTo>
                  <a:pt x="1322" y="454"/>
                </a:lnTo>
                <a:lnTo>
                  <a:pt x="1322" y="458"/>
                </a:lnTo>
                <a:lnTo>
                  <a:pt x="1322" y="462"/>
                </a:lnTo>
                <a:lnTo>
                  <a:pt x="1323" y="467"/>
                </a:lnTo>
                <a:lnTo>
                  <a:pt x="1326" y="471"/>
                </a:lnTo>
                <a:lnTo>
                  <a:pt x="1329" y="476"/>
                </a:lnTo>
                <a:lnTo>
                  <a:pt x="1336" y="485"/>
                </a:lnTo>
                <a:lnTo>
                  <a:pt x="1346" y="497"/>
                </a:lnTo>
                <a:lnTo>
                  <a:pt x="1375" y="527"/>
                </a:lnTo>
                <a:lnTo>
                  <a:pt x="1407" y="559"/>
                </a:lnTo>
                <a:lnTo>
                  <a:pt x="1439" y="590"/>
                </a:lnTo>
                <a:lnTo>
                  <a:pt x="1440" y="592"/>
                </a:lnTo>
                <a:lnTo>
                  <a:pt x="1442" y="594"/>
                </a:lnTo>
                <a:lnTo>
                  <a:pt x="1443" y="596"/>
                </a:lnTo>
                <a:lnTo>
                  <a:pt x="1443" y="599"/>
                </a:lnTo>
                <a:lnTo>
                  <a:pt x="1442" y="604"/>
                </a:lnTo>
                <a:lnTo>
                  <a:pt x="1441" y="607"/>
                </a:lnTo>
                <a:lnTo>
                  <a:pt x="1440" y="610"/>
                </a:lnTo>
                <a:lnTo>
                  <a:pt x="1436" y="616"/>
                </a:lnTo>
                <a:lnTo>
                  <a:pt x="1434" y="618"/>
                </a:lnTo>
                <a:lnTo>
                  <a:pt x="1432" y="621"/>
                </a:lnTo>
                <a:lnTo>
                  <a:pt x="1426" y="626"/>
                </a:lnTo>
                <a:lnTo>
                  <a:pt x="1423" y="628"/>
                </a:lnTo>
                <a:lnTo>
                  <a:pt x="1420" y="629"/>
                </a:lnTo>
                <a:lnTo>
                  <a:pt x="1414" y="633"/>
                </a:lnTo>
                <a:lnTo>
                  <a:pt x="1411" y="633"/>
                </a:lnTo>
                <a:lnTo>
                  <a:pt x="1408" y="634"/>
                </a:lnTo>
                <a:close/>
                <a:moveTo>
                  <a:pt x="1021" y="1633"/>
                </a:moveTo>
                <a:lnTo>
                  <a:pt x="1013" y="1632"/>
                </a:lnTo>
                <a:lnTo>
                  <a:pt x="1006" y="1632"/>
                </a:lnTo>
                <a:lnTo>
                  <a:pt x="998" y="1631"/>
                </a:lnTo>
                <a:lnTo>
                  <a:pt x="991" y="1629"/>
                </a:lnTo>
                <a:lnTo>
                  <a:pt x="982" y="1627"/>
                </a:lnTo>
                <a:lnTo>
                  <a:pt x="975" y="1625"/>
                </a:lnTo>
                <a:lnTo>
                  <a:pt x="962" y="1619"/>
                </a:lnTo>
                <a:lnTo>
                  <a:pt x="949" y="1612"/>
                </a:lnTo>
                <a:lnTo>
                  <a:pt x="942" y="1608"/>
                </a:lnTo>
                <a:lnTo>
                  <a:pt x="936" y="1603"/>
                </a:lnTo>
                <a:lnTo>
                  <a:pt x="929" y="1598"/>
                </a:lnTo>
                <a:lnTo>
                  <a:pt x="924" y="1593"/>
                </a:lnTo>
                <a:lnTo>
                  <a:pt x="918" y="1587"/>
                </a:lnTo>
                <a:lnTo>
                  <a:pt x="913" y="1581"/>
                </a:lnTo>
                <a:lnTo>
                  <a:pt x="908" y="1575"/>
                </a:lnTo>
                <a:lnTo>
                  <a:pt x="903" y="1568"/>
                </a:lnTo>
                <a:lnTo>
                  <a:pt x="899" y="1562"/>
                </a:lnTo>
                <a:lnTo>
                  <a:pt x="895" y="1555"/>
                </a:lnTo>
                <a:lnTo>
                  <a:pt x="891" y="1548"/>
                </a:lnTo>
                <a:lnTo>
                  <a:pt x="887" y="1540"/>
                </a:lnTo>
                <a:lnTo>
                  <a:pt x="884" y="1533"/>
                </a:lnTo>
                <a:lnTo>
                  <a:pt x="881" y="1524"/>
                </a:lnTo>
                <a:lnTo>
                  <a:pt x="878" y="1516"/>
                </a:lnTo>
                <a:lnTo>
                  <a:pt x="876" y="1508"/>
                </a:lnTo>
                <a:lnTo>
                  <a:pt x="874" y="1500"/>
                </a:lnTo>
                <a:lnTo>
                  <a:pt x="872" y="1491"/>
                </a:lnTo>
                <a:lnTo>
                  <a:pt x="871" y="1482"/>
                </a:lnTo>
                <a:lnTo>
                  <a:pt x="869" y="1473"/>
                </a:lnTo>
                <a:lnTo>
                  <a:pt x="868" y="1463"/>
                </a:lnTo>
                <a:lnTo>
                  <a:pt x="868" y="1454"/>
                </a:lnTo>
                <a:lnTo>
                  <a:pt x="869" y="1436"/>
                </a:lnTo>
                <a:lnTo>
                  <a:pt x="871" y="1426"/>
                </a:lnTo>
                <a:lnTo>
                  <a:pt x="872" y="1417"/>
                </a:lnTo>
                <a:lnTo>
                  <a:pt x="874" y="1407"/>
                </a:lnTo>
                <a:lnTo>
                  <a:pt x="876" y="1398"/>
                </a:lnTo>
                <a:lnTo>
                  <a:pt x="879" y="1390"/>
                </a:lnTo>
                <a:lnTo>
                  <a:pt x="882" y="1381"/>
                </a:lnTo>
                <a:lnTo>
                  <a:pt x="885" y="1373"/>
                </a:lnTo>
                <a:lnTo>
                  <a:pt x="888" y="1364"/>
                </a:lnTo>
                <a:lnTo>
                  <a:pt x="892" y="1356"/>
                </a:lnTo>
                <a:lnTo>
                  <a:pt x="896" y="1348"/>
                </a:lnTo>
                <a:lnTo>
                  <a:pt x="901" y="1340"/>
                </a:lnTo>
                <a:lnTo>
                  <a:pt x="905" y="1333"/>
                </a:lnTo>
                <a:lnTo>
                  <a:pt x="916" y="1319"/>
                </a:lnTo>
                <a:lnTo>
                  <a:pt x="921" y="1312"/>
                </a:lnTo>
                <a:lnTo>
                  <a:pt x="927" y="1306"/>
                </a:lnTo>
                <a:lnTo>
                  <a:pt x="940" y="1295"/>
                </a:lnTo>
                <a:lnTo>
                  <a:pt x="946" y="1289"/>
                </a:lnTo>
                <a:lnTo>
                  <a:pt x="953" y="1284"/>
                </a:lnTo>
                <a:lnTo>
                  <a:pt x="960" y="1279"/>
                </a:lnTo>
                <a:lnTo>
                  <a:pt x="967" y="1275"/>
                </a:lnTo>
                <a:lnTo>
                  <a:pt x="974" y="1272"/>
                </a:lnTo>
                <a:lnTo>
                  <a:pt x="982" y="1269"/>
                </a:lnTo>
                <a:lnTo>
                  <a:pt x="989" y="1266"/>
                </a:lnTo>
                <a:lnTo>
                  <a:pt x="998" y="1264"/>
                </a:lnTo>
                <a:lnTo>
                  <a:pt x="1006" y="1262"/>
                </a:lnTo>
                <a:lnTo>
                  <a:pt x="1014" y="1260"/>
                </a:lnTo>
                <a:lnTo>
                  <a:pt x="1022" y="1260"/>
                </a:lnTo>
                <a:lnTo>
                  <a:pt x="1030" y="1259"/>
                </a:lnTo>
                <a:lnTo>
                  <a:pt x="1041" y="1260"/>
                </a:lnTo>
                <a:lnTo>
                  <a:pt x="1045" y="1260"/>
                </a:lnTo>
                <a:lnTo>
                  <a:pt x="1051" y="1261"/>
                </a:lnTo>
                <a:lnTo>
                  <a:pt x="1056" y="1262"/>
                </a:lnTo>
                <a:lnTo>
                  <a:pt x="1060" y="1263"/>
                </a:lnTo>
                <a:lnTo>
                  <a:pt x="1069" y="1267"/>
                </a:lnTo>
                <a:lnTo>
                  <a:pt x="1077" y="1270"/>
                </a:lnTo>
                <a:lnTo>
                  <a:pt x="1084" y="1275"/>
                </a:lnTo>
                <a:lnTo>
                  <a:pt x="1091" y="1280"/>
                </a:lnTo>
                <a:lnTo>
                  <a:pt x="1097" y="1286"/>
                </a:lnTo>
                <a:lnTo>
                  <a:pt x="1099" y="1290"/>
                </a:lnTo>
                <a:lnTo>
                  <a:pt x="1102" y="1294"/>
                </a:lnTo>
                <a:lnTo>
                  <a:pt x="1107" y="1301"/>
                </a:lnTo>
                <a:lnTo>
                  <a:pt x="1112" y="1309"/>
                </a:lnTo>
                <a:lnTo>
                  <a:pt x="1115" y="1317"/>
                </a:lnTo>
                <a:lnTo>
                  <a:pt x="1118" y="1326"/>
                </a:lnTo>
                <a:lnTo>
                  <a:pt x="1120" y="1335"/>
                </a:lnTo>
                <a:lnTo>
                  <a:pt x="1121" y="1345"/>
                </a:lnTo>
                <a:lnTo>
                  <a:pt x="1121" y="1356"/>
                </a:lnTo>
                <a:lnTo>
                  <a:pt x="1120" y="1368"/>
                </a:lnTo>
                <a:lnTo>
                  <a:pt x="1119" y="1374"/>
                </a:lnTo>
                <a:lnTo>
                  <a:pt x="1118" y="1380"/>
                </a:lnTo>
                <a:lnTo>
                  <a:pt x="1114" y="1392"/>
                </a:lnTo>
                <a:lnTo>
                  <a:pt x="1108" y="1404"/>
                </a:lnTo>
                <a:lnTo>
                  <a:pt x="1102" y="1416"/>
                </a:lnTo>
                <a:lnTo>
                  <a:pt x="1095" y="1427"/>
                </a:lnTo>
                <a:lnTo>
                  <a:pt x="1091" y="1432"/>
                </a:lnTo>
                <a:lnTo>
                  <a:pt x="1086" y="1437"/>
                </a:lnTo>
                <a:lnTo>
                  <a:pt x="1077" y="1446"/>
                </a:lnTo>
                <a:lnTo>
                  <a:pt x="1067" y="1454"/>
                </a:lnTo>
                <a:lnTo>
                  <a:pt x="1062" y="1458"/>
                </a:lnTo>
                <a:lnTo>
                  <a:pt x="1057" y="1462"/>
                </a:lnTo>
                <a:lnTo>
                  <a:pt x="1044" y="1469"/>
                </a:lnTo>
                <a:lnTo>
                  <a:pt x="1033" y="1475"/>
                </a:lnTo>
                <a:lnTo>
                  <a:pt x="1021" y="1480"/>
                </a:lnTo>
                <a:lnTo>
                  <a:pt x="1014" y="1482"/>
                </a:lnTo>
                <a:lnTo>
                  <a:pt x="1008" y="1483"/>
                </a:lnTo>
                <a:lnTo>
                  <a:pt x="1002" y="1484"/>
                </a:lnTo>
                <a:lnTo>
                  <a:pt x="996" y="1485"/>
                </a:lnTo>
                <a:lnTo>
                  <a:pt x="982" y="1486"/>
                </a:lnTo>
                <a:lnTo>
                  <a:pt x="977" y="1485"/>
                </a:lnTo>
                <a:lnTo>
                  <a:pt x="972" y="1483"/>
                </a:lnTo>
                <a:lnTo>
                  <a:pt x="967" y="1481"/>
                </a:lnTo>
                <a:lnTo>
                  <a:pt x="965" y="1479"/>
                </a:lnTo>
                <a:lnTo>
                  <a:pt x="963" y="1477"/>
                </a:lnTo>
                <a:lnTo>
                  <a:pt x="960" y="1472"/>
                </a:lnTo>
                <a:lnTo>
                  <a:pt x="958" y="1466"/>
                </a:lnTo>
                <a:lnTo>
                  <a:pt x="957" y="1463"/>
                </a:lnTo>
                <a:lnTo>
                  <a:pt x="956" y="1460"/>
                </a:lnTo>
                <a:lnTo>
                  <a:pt x="956" y="1454"/>
                </a:lnTo>
                <a:lnTo>
                  <a:pt x="956" y="1451"/>
                </a:lnTo>
                <a:lnTo>
                  <a:pt x="956" y="1448"/>
                </a:lnTo>
                <a:lnTo>
                  <a:pt x="957" y="1443"/>
                </a:lnTo>
                <a:lnTo>
                  <a:pt x="958" y="1441"/>
                </a:lnTo>
                <a:lnTo>
                  <a:pt x="960" y="1439"/>
                </a:lnTo>
                <a:lnTo>
                  <a:pt x="961" y="1438"/>
                </a:lnTo>
                <a:lnTo>
                  <a:pt x="963" y="1436"/>
                </a:lnTo>
                <a:lnTo>
                  <a:pt x="974" y="1434"/>
                </a:lnTo>
                <a:lnTo>
                  <a:pt x="984" y="1432"/>
                </a:lnTo>
                <a:lnTo>
                  <a:pt x="995" y="1428"/>
                </a:lnTo>
                <a:lnTo>
                  <a:pt x="1005" y="1424"/>
                </a:lnTo>
                <a:lnTo>
                  <a:pt x="1014" y="1420"/>
                </a:lnTo>
                <a:lnTo>
                  <a:pt x="1023" y="1415"/>
                </a:lnTo>
                <a:lnTo>
                  <a:pt x="1030" y="1408"/>
                </a:lnTo>
                <a:lnTo>
                  <a:pt x="1034" y="1406"/>
                </a:lnTo>
                <a:lnTo>
                  <a:pt x="1038" y="1403"/>
                </a:lnTo>
                <a:lnTo>
                  <a:pt x="1044" y="1396"/>
                </a:lnTo>
                <a:lnTo>
                  <a:pt x="1051" y="1390"/>
                </a:lnTo>
                <a:lnTo>
                  <a:pt x="1056" y="1383"/>
                </a:lnTo>
                <a:lnTo>
                  <a:pt x="1060" y="1376"/>
                </a:lnTo>
                <a:lnTo>
                  <a:pt x="1063" y="1369"/>
                </a:lnTo>
                <a:lnTo>
                  <a:pt x="1066" y="1362"/>
                </a:lnTo>
                <a:lnTo>
                  <a:pt x="1067" y="1355"/>
                </a:lnTo>
                <a:lnTo>
                  <a:pt x="1068" y="1347"/>
                </a:lnTo>
                <a:lnTo>
                  <a:pt x="1067" y="1339"/>
                </a:lnTo>
                <a:lnTo>
                  <a:pt x="1065" y="1332"/>
                </a:lnTo>
                <a:lnTo>
                  <a:pt x="1063" y="1328"/>
                </a:lnTo>
                <a:lnTo>
                  <a:pt x="1062" y="1325"/>
                </a:lnTo>
                <a:lnTo>
                  <a:pt x="1059" y="1323"/>
                </a:lnTo>
                <a:lnTo>
                  <a:pt x="1057" y="1320"/>
                </a:lnTo>
                <a:lnTo>
                  <a:pt x="1051" y="1316"/>
                </a:lnTo>
                <a:lnTo>
                  <a:pt x="1047" y="1314"/>
                </a:lnTo>
                <a:lnTo>
                  <a:pt x="1043" y="1313"/>
                </a:lnTo>
                <a:lnTo>
                  <a:pt x="1035" y="1311"/>
                </a:lnTo>
                <a:lnTo>
                  <a:pt x="1031" y="1310"/>
                </a:lnTo>
                <a:lnTo>
                  <a:pt x="1027" y="1310"/>
                </a:lnTo>
                <a:lnTo>
                  <a:pt x="1018" y="1311"/>
                </a:lnTo>
                <a:lnTo>
                  <a:pt x="1013" y="1312"/>
                </a:lnTo>
                <a:lnTo>
                  <a:pt x="1009" y="1313"/>
                </a:lnTo>
                <a:lnTo>
                  <a:pt x="1004" y="1315"/>
                </a:lnTo>
                <a:lnTo>
                  <a:pt x="1000" y="1316"/>
                </a:lnTo>
                <a:lnTo>
                  <a:pt x="996" y="1319"/>
                </a:lnTo>
                <a:lnTo>
                  <a:pt x="991" y="1321"/>
                </a:lnTo>
                <a:lnTo>
                  <a:pt x="986" y="1324"/>
                </a:lnTo>
                <a:lnTo>
                  <a:pt x="982" y="1327"/>
                </a:lnTo>
                <a:lnTo>
                  <a:pt x="973" y="1334"/>
                </a:lnTo>
                <a:lnTo>
                  <a:pt x="966" y="1342"/>
                </a:lnTo>
                <a:lnTo>
                  <a:pt x="958" y="1352"/>
                </a:lnTo>
                <a:lnTo>
                  <a:pt x="955" y="1357"/>
                </a:lnTo>
                <a:lnTo>
                  <a:pt x="951" y="1362"/>
                </a:lnTo>
                <a:lnTo>
                  <a:pt x="945" y="1373"/>
                </a:lnTo>
                <a:lnTo>
                  <a:pt x="940" y="1384"/>
                </a:lnTo>
                <a:lnTo>
                  <a:pt x="935" y="1397"/>
                </a:lnTo>
                <a:lnTo>
                  <a:pt x="931" y="1409"/>
                </a:lnTo>
                <a:lnTo>
                  <a:pt x="927" y="1424"/>
                </a:lnTo>
                <a:lnTo>
                  <a:pt x="925" y="1438"/>
                </a:lnTo>
                <a:lnTo>
                  <a:pt x="925" y="1445"/>
                </a:lnTo>
                <a:lnTo>
                  <a:pt x="925" y="1452"/>
                </a:lnTo>
                <a:lnTo>
                  <a:pt x="925" y="1464"/>
                </a:lnTo>
                <a:lnTo>
                  <a:pt x="927" y="1478"/>
                </a:lnTo>
                <a:lnTo>
                  <a:pt x="929" y="1489"/>
                </a:lnTo>
                <a:lnTo>
                  <a:pt x="931" y="1495"/>
                </a:lnTo>
                <a:lnTo>
                  <a:pt x="933" y="1500"/>
                </a:lnTo>
                <a:lnTo>
                  <a:pt x="936" y="1511"/>
                </a:lnTo>
                <a:lnTo>
                  <a:pt x="939" y="1516"/>
                </a:lnTo>
                <a:lnTo>
                  <a:pt x="941" y="1521"/>
                </a:lnTo>
                <a:lnTo>
                  <a:pt x="943" y="1525"/>
                </a:lnTo>
                <a:lnTo>
                  <a:pt x="946" y="1530"/>
                </a:lnTo>
                <a:lnTo>
                  <a:pt x="949" y="1535"/>
                </a:lnTo>
                <a:lnTo>
                  <a:pt x="952" y="1539"/>
                </a:lnTo>
                <a:lnTo>
                  <a:pt x="955" y="1543"/>
                </a:lnTo>
                <a:lnTo>
                  <a:pt x="959" y="1546"/>
                </a:lnTo>
                <a:lnTo>
                  <a:pt x="966" y="1553"/>
                </a:lnTo>
                <a:lnTo>
                  <a:pt x="974" y="1559"/>
                </a:lnTo>
                <a:lnTo>
                  <a:pt x="982" y="1563"/>
                </a:lnTo>
                <a:lnTo>
                  <a:pt x="992" y="1567"/>
                </a:lnTo>
                <a:lnTo>
                  <a:pt x="1002" y="1570"/>
                </a:lnTo>
                <a:lnTo>
                  <a:pt x="1012" y="1572"/>
                </a:lnTo>
                <a:lnTo>
                  <a:pt x="1017" y="1572"/>
                </a:lnTo>
                <a:lnTo>
                  <a:pt x="1023" y="1572"/>
                </a:lnTo>
                <a:lnTo>
                  <a:pt x="1033" y="1572"/>
                </a:lnTo>
                <a:lnTo>
                  <a:pt x="1043" y="1570"/>
                </a:lnTo>
                <a:lnTo>
                  <a:pt x="1054" y="1568"/>
                </a:lnTo>
                <a:lnTo>
                  <a:pt x="1064" y="1564"/>
                </a:lnTo>
                <a:lnTo>
                  <a:pt x="1073" y="1560"/>
                </a:lnTo>
                <a:lnTo>
                  <a:pt x="1082" y="1555"/>
                </a:lnTo>
                <a:lnTo>
                  <a:pt x="1091" y="1549"/>
                </a:lnTo>
                <a:lnTo>
                  <a:pt x="1099" y="1543"/>
                </a:lnTo>
                <a:lnTo>
                  <a:pt x="1107" y="1536"/>
                </a:lnTo>
                <a:lnTo>
                  <a:pt x="1116" y="1527"/>
                </a:lnTo>
                <a:lnTo>
                  <a:pt x="1123" y="1518"/>
                </a:lnTo>
                <a:lnTo>
                  <a:pt x="1130" y="1509"/>
                </a:lnTo>
                <a:lnTo>
                  <a:pt x="1143" y="1490"/>
                </a:lnTo>
                <a:lnTo>
                  <a:pt x="1149" y="1479"/>
                </a:lnTo>
                <a:lnTo>
                  <a:pt x="1154" y="1468"/>
                </a:lnTo>
                <a:lnTo>
                  <a:pt x="1159" y="1457"/>
                </a:lnTo>
                <a:lnTo>
                  <a:pt x="1164" y="1445"/>
                </a:lnTo>
                <a:lnTo>
                  <a:pt x="1169" y="1434"/>
                </a:lnTo>
                <a:lnTo>
                  <a:pt x="1174" y="1422"/>
                </a:lnTo>
                <a:lnTo>
                  <a:pt x="1178" y="1409"/>
                </a:lnTo>
                <a:lnTo>
                  <a:pt x="1181" y="1397"/>
                </a:lnTo>
                <a:lnTo>
                  <a:pt x="1184" y="1385"/>
                </a:lnTo>
                <a:lnTo>
                  <a:pt x="1187" y="1373"/>
                </a:lnTo>
                <a:lnTo>
                  <a:pt x="1189" y="1361"/>
                </a:lnTo>
                <a:lnTo>
                  <a:pt x="1191" y="1348"/>
                </a:lnTo>
                <a:lnTo>
                  <a:pt x="1192" y="1337"/>
                </a:lnTo>
                <a:lnTo>
                  <a:pt x="1193" y="1325"/>
                </a:lnTo>
                <a:lnTo>
                  <a:pt x="1194" y="1314"/>
                </a:lnTo>
                <a:lnTo>
                  <a:pt x="1194" y="1303"/>
                </a:lnTo>
                <a:lnTo>
                  <a:pt x="1194" y="1292"/>
                </a:lnTo>
                <a:lnTo>
                  <a:pt x="1194" y="1280"/>
                </a:lnTo>
                <a:lnTo>
                  <a:pt x="1195" y="1278"/>
                </a:lnTo>
                <a:lnTo>
                  <a:pt x="1196" y="1276"/>
                </a:lnTo>
                <a:lnTo>
                  <a:pt x="1199" y="1274"/>
                </a:lnTo>
                <a:lnTo>
                  <a:pt x="1201" y="1272"/>
                </a:lnTo>
                <a:lnTo>
                  <a:pt x="1208" y="1269"/>
                </a:lnTo>
                <a:lnTo>
                  <a:pt x="1212" y="1269"/>
                </a:lnTo>
                <a:lnTo>
                  <a:pt x="1216" y="1268"/>
                </a:lnTo>
                <a:lnTo>
                  <a:pt x="1223" y="1269"/>
                </a:lnTo>
                <a:lnTo>
                  <a:pt x="1227" y="1269"/>
                </a:lnTo>
                <a:lnTo>
                  <a:pt x="1231" y="1270"/>
                </a:lnTo>
                <a:lnTo>
                  <a:pt x="1236" y="1273"/>
                </a:lnTo>
                <a:lnTo>
                  <a:pt x="1239" y="1275"/>
                </a:lnTo>
                <a:lnTo>
                  <a:pt x="1241" y="1277"/>
                </a:lnTo>
                <a:lnTo>
                  <a:pt x="1245" y="1283"/>
                </a:lnTo>
                <a:lnTo>
                  <a:pt x="1247" y="1287"/>
                </a:lnTo>
                <a:lnTo>
                  <a:pt x="1248" y="1292"/>
                </a:lnTo>
                <a:lnTo>
                  <a:pt x="1249" y="1296"/>
                </a:lnTo>
                <a:lnTo>
                  <a:pt x="1250" y="1301"/>
                </a:lnTo>
                <a:lnTo>
                  <a:pt x="1251" y="1306"/>
                </a:lnTo>
                <a:lnTo>
                  <a:pt x="1251" y="1312"/>
                </a:lnTo>
                <a:lnTo>
                  <a:pt x="1250" y="1328"/>
                </a:lnTo>
                <a:lnTo>
                  <a:pt x="1249" y="1343"/>
                </a:lnTo>
                <a:lnTo>
                  <a:pt x="1248" y="1359"/>
                </a:lnTo>
                <a:lnTo>
                  <a:pt x="1246" y="1374"/>
                </a:lnTo>
                <a:lnTo>
                  <a:pt x="1243" y="1389"/>
                </a:lnTo>
                <a:lnTo>
                  <a:pt x="1240" y="1404"/>
                </a:lnTo>
                <a:lnTo>
                  <a:pt x="1237" y="1419"/>
                </a:lnTo>
                <a:lnTo>
                  <a:pt x="1233" y="1434"/>
                </a:lnTo>
                <a:lnTo>
                  <a:pt x="1228" y="1447"/>
                </a:lnTo>
                <a:lnTo>
                  <a:pt x="1223" y="1461"/>
                </a:lnTo>
                <a:lnTo>
                  <a:pt x="1217" y="1475"/>
                </a:lnTo>
                <a:lnTo>
                  <a:pt x="1212" y="1488"/>
                </a:lnTo>
                <a:lnTo>
                  <a:pt x="1206" y="1500"/>
                </a:lnTo>
                <a:lnTo>
                  <a:pt x="1199" y="1512"/>
                </a:lnTo>
                <a:lnTo>
                  <a:pt x="1192" y="1524"/>
                </a:lnTo>
                <a:lnTo>
                  <a:pt x="1185" y="1536"/>
                </a:lnTo>
                <a:lnTo>
                  <a:pt x="1177" y="1547"/>
                </a:lnTo>
                <a:lnTo>
                  <a:pt x="1168" y="1557"/>
                </a:lnTo>
                <a:lnTo>
                  <a:pt x="1160" y="1567"/>
                </a:lnTo>
                <a:lnTo>
                  <a:pt x="1151" y="1576"/>
                </a:lnTo>
                <a:lnTo>
                  <a:pt x="1142" y="1584"/>
                </a:lnTo>
                <a:lnTo>
                  <a:pt x="1133" y="1593"/>
                </a:lnTo>
                <a:lnTo>
                  <a:pt x="1123" y="1600"/>
                </a:lnTo>
                <a:lnTo>
                  <a:pt x="1113" y="1607"/>
                </a:lnTo>
                <a:lnTo>
                  <a:pt x="1102" y="1613"/>
                </a:lnTo>
                <a:lnTo>
                  <a:pt x="1091" y="1618"/>
                </a:lnTo>
                <a:lnTo>
                  <a:pt x="1080" y="1622"/>
                </a:lnTo>
                <a:lnTo>
                  <a:pt x="1069" y="1626"/>
                </a:lnTo>
                <a:lnTo>
                  <a:pt x="1058" y="1629"/>
                </a:lnTo>
                <a:lnTo>
                  <a:pt x="1045" y="1631"/>
                </a:lnTo>
                <a:lnTo>
                  <a:pt x="1033" y="1632"/>
                </a:lnTo>
                <a:lnTo>
                  <a:pt x="1021" y="1633"/>
                </a:lnTo>
                <a:close/>
                <a:moveTo>
                  <a:pt x="1408" y="1627"/>
                </a:moveTo>
                <a:lnTo>
                  <a:pt x="1406" y="1627"/>
                </a:lnTo>
                <a:lnTo>
                  <a:pt x="1403" y="1626"/>
                </a:lnTo>
                <a:lnTo>
                  <a:pt x="1398" y="1623"/>
                </a:lnTo>
                <a:lnTo>
                  <a:pt x="1392" y="1619"/>
                </a:lnTo>
                <a:lnTo>
                  <a:pt x="1385" y="1613"/>
                </a:lnTo>
                <a:lnTo>
                  <a:pt x="1372" y="1603"/>
                </a:lnTo>
                <a:lnTo>
                  <a:pt x="1357" y="1588"/>
                </a:lnTo>
                <a:lnTo>
                  <a:pt x="1339" y="1572"/>
                </a:lnTo>
                <a:lnTo>
                  <a:pt x="1323" y="1555"/>
                </a:lnTo>
                <a:lnTo>
                  <a:pt x="1307" y="1538"/>
                </a:lnTo>
                <a:lnTo>
                  <a:pt x="1293" y="1521"/>
                </a:lnTo>
                <a:lnTo>
                  <a:pt x="1280" y="1506"/>
                </a:lnTo>
                <a:lnTo>
                  <a:pt x="1276" y="1500"/>
                </a:lnTo>
                <a:lnTo>
                  <a:pt x="1273" y="1495"/>
                </a:lnTo>
                <a:lnTo>
                  <a:pt x="1268" y="1485"/>
                </a:lnTo>
                <a:lnTo>
                  <a:pt x="1264" y="1475"/>
                </a:lnTo>
                <a:lnTo>
                  <a:pt x="1261" y="1464"/>
                </a:lnTo>
                <a:lnTo>
                  <a:pt x="1260" y="1454"/>
                </a:lnTo>
                <a:lnTo>
                  <a:pt x="1261" y="1449"/>
                </a:lnTo>
                <a:lnTo>
                  <a:pt x="1262" y="1443"/>
                </a:lnTo>
                <a:lnTo>
                  <a:pt x="1263" y="1437"/>
                </a:lnTo>
                <a:lnTo>
                  <a:pt x="1265" y="1431"/>
                </a:lnTo>
                <a:lnTo>
                  <a:pt x="1268" y="1425"/>
                </a:lnTo>
                <a:lnTo>
                  <a:pt x="1271" y="1419"/>
                </a:lnTo>
                <a:lnTo>
                  <a:pt x="1275" y="1412"/>
                </a:lnTo>
                <a:lnTo>
                  <a:pt x="1279" y="1404"/>
                </a:lnTo>
                <a:lnTo>
                  <a:pt x="1287" y="1393"/>
                </a:lnTo>
                <a:lnTo>
                  <a:pt x="1300" y="1380"/>
                </a:lnTo>
                <a:lnTo>
                  <a:pt x="1329" y="1345"/>
                </a:lnTo>
                <a:lnTo>
                  <a:pt x="1365" y="1306"/>
                </a:lnTo>
                <a:lnTo>
                  <a:pt x="1400" y="1264"/>
                </a:lnTo>
                <a:lnTo>
                  <a:pt x="1401" y="1264"/>
                </a:lnTo>
                <a:lnTo>
                  <a:pt x="1404" y="1264"/>
                </a:lnTo>
                <a:lnTo>
                  <a:pt x="1408" y="1264"/>
                </a:lnTo>
                <a:lnTo>
                  <a:pt x="1413" y="1265"/>
                </a:lnTo>
                <a:lnTo>
                  <a:pt x="1417" y="1267"/>
                </a:lnTo>
                <a:lnTo>
                  <a:pt x="1422" y="1270"/>
                </a:lnTo>
                <a:lnTo>
                  <a:pt x="1426" y="1273"/>
                </a:lnTo>
                <a:lnTo>
                  <a:pt x="1430" y="1276"/>
                </a:lnTo>
                <a:lnTo>
                  <a:pt x="1433" y="1281"/>
                </a:lnTo>
                <a:lnTo>
                  <a:pt x="1436" y="1286"/>
                </a:lnTo>
                <a:lnTo>
                  <a:pt x="1437" y="1290"/>
                </a:lnTo>
                <a:lnTo>
                  <a:pt x="1438" y="1296"/>
                </a:lnTo>
                <a:lnTo>
                  <a:pt x="1437" y="1301"/>
                </a:lnTo>
                <a:lnTo>
                  <a:pt x="1436" y="1307"/>
                </a:lnTo>
                <a:lnTo>
                  <a:pt x="1433" y="1312"/>
                </a:lnTo>
                <a:lnTo>
                  <a:pt x="1429" y="1318"/>
                </a:lnTo>
                <a:lnTo>
                  <a:pt x="1421" y="1329"/>
                </a:lnTo>
                <a:lnTo>
                  <a:pt x="1408" y="1342"/>
                </a:lnTo>
                <a:lnTo>
                  <a:pt x="1379" y="1376"/>
                </a:lnTo>
                <a:lnTo>
                  <a:pt x="1349" y="1409"/>
                </a:lnTo>
                <a:lnTo>
                  <a:pt x="1336" y="1425"/>
                </a:lnTo>
                <a:lnTo>
                  <a:pt x="1327" y="1436"/>
                </a:lnTo>
                <a:lnTo>
                  <a:pt x="1325" y="1440"/>
                </a:lnTo>
                <a:lnTo>
                  <a:pt x="1323" y="1444"/>
                </a:lnTo>
                <a:lnTo>
                  <a:pt x="1322" y="1447"/>
                </a:lnTo>
                <a:lnTo>
                  <a:pt x="1322" y="1451"/>
                </a:lnTo>
                <a:lnTo>
                  <a:pt x="1322" y="1455"/>
                </a:lnTo>
                <a:lnTo>
                  <a:pt x="1323" y="1460"/>
                </a:lnTo>
                <a:lnTo>
                  <a:pt x="1326" y="1464"/>
                </a:lnTo>
                <a:lnTo>
                  <a:pt x="1329" y="1469"/>
                </a:lnTo>
                <a:lnTo>
                  <a:pt x="1336" y="1479"/>
                </a:lnTo>
                <a:lnTo>
                  <a:pt x="1346" y="1491"/>
                </a:lnTo>
                <a:lnTo>
                  <a:pt x="1375" y="1520"/>
                </a:lnTo>
                <a:lnTo>
                  <a:pt x="1407" y="1553"/>
                </a:lnTo>
                <a:lnTo>
                  <a:pt x="1439" y="1583"/>
                </a:lnTo>
                <a:lnTo>
                  <a:pt x="1440" y="1585"/>
                </a:lnTo>
                <a:lnTo>
                  <a:pt x="1442" y="1587"/>
                </a:lnTo>
                <a:lnTo>
                  <a:pt x="1443" y="1589"/>
                </a:lnTo>
                <a:lnTo>
                  <a:pt x="1443" y="1593"/>
                </a:lnTo>
                <a:lnTo>
                  <a:pt x="1442" y="1599"/>
                </a:lnTo>
                <a:lnTo>
                  <a:pt x="1441" y="1601"/>
                </a:lnTo>
                <a:lnTo>
                  <a:pt x="1440" y="1604"/>
                </a:lnTo>
                <a:lnTo>
                  <a:pt x="1436" y="1610"/>
                </a:lnTo>
                <a:lnTo>
                  <a:pt x="1434" y="1613"/>
                </a:lnTo>
                <a:lnTo>
                  <a:pt x="1432" y="1615"/>
                </a:lnTo>
                <a:lnTo>
                  <a:pt x="1426" y="1620"/>
                </a:lnTo>
                <a:lnTo>
                  <a:pt x="1423" y="1622"/>
                </a:lnTo>
                <a:lnTo>
                  <a:pt x="1420" y="1624"/>
                </a:lnTo>
                <a:lnTo>
                  <a:pt x="1414" y="1626"/>
                </a:lnTo>
                <a:lnTo>
                  <a:pt x="1411" y="1627"/>
                </a:lnTo>
                <a:lnTo>
                  <a:pt x="1408" y="1627"/>
                </a:lnTo>
                <a:close/>
                <a:moveTo>
                  <a:pt x="1021" y="2627"/>
                </a:moveTo>
                <a:lnTo>
                  <a:pt x="1013" y="2627"/>
                </a:lnTo>
                <a:lnTo>
                  <a:pt x="1006" y="2626"/>
                </a:lnTo>
                <a:lnTo>
                  <a:pt x="998" y="2625"/>
                </a:lnTo>
                <a:lnTo>
                  <a:pt x="991" y="2623"/>
                </a:lnTo>
                <a:lnTo>
                  <a:pt x="982" y="2621"/>
                </a:lnTo>
                <a:lnTo>
                  <a:pt x="975" y="2619"/>
                </a:lnTo>
                <a:lnTo>
                  <a:pt x="962" y="2613"/>
                </a:lnTo>
                <a:lnTo>
                  <a:pt x="949" y="2605"/>
                </a:lnTo>
                <a:lnTo>
                  <a:pt x="942" y="2601"/>
                </a:lnTo>
                <a:lnTo>
                  <a:pt x="936" y="2596"/>
                </a:lnTo>
                <a:lnTo>
                  <a:pt x="929" y="2591"/>
                </a:lnTo>
                <a:lnTo>
                  <a:pt x="924" y="2586"/>
                </a:lnTo>
                <a:lnTo>
                  <a:pt x="918" y="2581"/>
                </a:lnTo>
                <a:lnTo>
                  <a:pt x="913" y="2575"/>
                </a:lnTo>
                <a:lnTo>
                  <a:pt x="908" y="2569"/>
                </a:lnTo>
                <a:lnTo>
                  <a:pt x="903" y="2563"/>
                </a:lnTo>
                <a:lnTo>
                  <a:pt x="899" y="2556"/>
                </a:lnTo>
                <a:lnTo>
                  <a:pt x="895" y="2548"/>
                </a:lnTo>
                <a:lnTo>
                  <a:pt x="891" y="2541"/>
                </a:lnTo>
                <a:lnTo>
                  <a:pt x="887" y="2534"/>
                </a:lnTo>
                <a:lnTo>
                  <a:pt x="884" y="2526"/>
                </a:lnTo>
                <a:lnTo>
                  <a:pt x="881" y="2518"/>
                </a:lnTo>
                <a:lnTo>
                  <a:pt x="878" y="2510"/>
                </a:lnTo>
                <a:lnTo>
                  <a:pt x="876" y="2502"/>
                </a:lnTo>
                <a:lnTo>
                  <a:pt x="874" y="2494"/>
                </a:lnTo>
                <a:lnTo>
                  <a:pt x="872" y="2484"/>
                </a:lnTo>
                <a:lnTo>
                  <a:pt x="871" y="2475"/>
                </a:lnTo>
                <a:lnTo>
                  <a:pt x="869" y="2467"/>
                </a:lnTo>
                <a:lnTo>
                  <a:pt x="868" y="2458"/>
                </a:lnTo>
                <a:lnTo>
                  <a:pt x="868" y="2448"/>
                </a:lnTo>
                <a:lnTo>
                  <a:pt x="869" y="2429"/>
                </a:lnTo>
                <a:lnTo>
                  <a:pt x="871" y="2420"/>
                </a:lnTo>
                <a:lnTo>
                  <a:pt x="872" y="2410"/>
                </a:lnTo>
                <a:lnTo>
                  <a:pt x="874" y="2401"/>
                </a:lnTo>
                <a:lnTo>
                  <a:pt x="876" y="2393"/>
                </a:lnTo>
                <a:lnTo>
                  <a:pt x="879" y="2384"/>
                </a:lnTo>
                <a:lnTo>
                  <a:pt x="882" y="2375"/>
                </a:lnTo>
                <a:lnTo>
                  <a:pt x="885" y="2366"/>
                </a:lnTo>
                <a:lnTo>
                  <a:pt x="888" y="2358"/>
                </a:lnTo>
                <a:lnTo>
                  <a:pt x="892" y="2350"/>
                </a:lnTo>
                <a:lnTo>
                  <a:pt x="896" y="2342"/>
                </a:lnTo>
                <a:lnTo>
                  <a:pt x="901" y="2334"/>
                </a:lnTo>
                <a:lnTo>
                  <a:pt x="905" y="2327"/>
                </a:lnTo>
                <a:lnTo>
                  <a:pt x="916" y="2313"/>
                </a:lnTo>
                <a:lnTo>
                  <a:pt x="921" y="2305"/>
                </a:lnTo>
                <a:lnTo>
                  <a:pt x="927" y="2299"/>
                </a:lnTo>
                <a:lnTo>
                  <a:pt x="940" y="2288"/>
                </a:lnTo>
                <a:lnTo>
                  <a:pt x="946" y="2283"/>
                </a:lnTo>
                <a:lnTo>
                  <a:pt x="953" y="2278"/>
                </a:lnTo>
                <a:lnTo>
                  <a:pt x="960" y="2274"/>
                </a:lnTo>
                <a:lnTo>
                  <a:pt x="967" y="2269"/>
                </a:lnTo>
                <a:lnTo>
                  <a:pt x="974" y="2266"/>
                </a:lnTo>
                <a:lnTo>
                  <a:pt x="982" y="2263"/>
                </a:lnTo>
                <a:lnTo>
                  <a:pt x="989" y="2260"/>
                </a:lnTo>
                <a:lnTo>
                  <a:pt x="998" y="2258"/>
                </a:lnTo>
                <a:lnTo>
                  <a:pt x="1006" y="2256"/>
                </a:lnTo>
                <a:lnTo>
                  <a:pt x="1014" y="2255"/>
                </a:lnTo>
                <a:lnTo>
                  <a:pt x="1022" y="2254"/>
                </a:lnTo>
                <a:lnTo>
                  <a:pt x="1030" y="2254"/>
                </a:lnTo>
                <a:lnTo>
                  <a:pt x="1041" y="2254"/>
                </a:lnTo>
                <a:lnTo>
                  <a:pt x="1045" y="2255"/>
                </a:lnTo>
                <a:lnTo>
                  <a:pt x="1051" y="2255"/>
                </a:lnTo>
                <a:lnTo>
                  <a:pt x="1056" y="2256"/>
                </a:lnTo>
                <a:lnTo>
                  <a:pt x="1060" y="2258"/>
                </a:lnTo>
                <a:lnTo>
                  <a:pt x="1069" y="2261"/>
                </a:lnTo>
                <a:lnTo>
                  <a:pt x="1077" y="2265"/>
                </a:lnTo>
                <a:lnTo>
                  <a:pt x="1084" y="2269"/>
                </a:lnTo>
                <a:lnTo>
                  <a:pt x="1091" y="2275"/>
                </a:lnTo>
                <a:lnTo>
                  <a:pt x="1097" y="2281"/>
                </a:lnTo>
                <a:lnTo>
                  <a:pt x="1099" y="2284"/>
                </a:lnTo>
                <a:lnTo>
                  <a:pt x="1102" y="2287"/>
                </a:lnTo>
                <a:lnTo>
                  <a:pt x="1107" y="2295"/>
                </a:lnTo>
                <a:lnTo>
                  <a:pt x="1112" y="2302"/>
                </a:lnTo>
                <a:lnTo>
                  <a:pt x="1115" y="2312"/>
                </a:lnTo>
                <a:lnTo>
                  <a:pt x="1118" y="2320"/>
                </a:lnTo>
                <a:lnTo>
                  <a:pt x="1120" y="2329"/>
                </a:lnTo>
                <a:lnTo>
                  <a:pt x="1121" y="2339"/>
                </a:lnTo>
                <a:lnTo>
                  <a:pt x="1121" y="2349"/>
                </a:lnTo>
                <a:lnTo>
                  <a:pt x="1120" y="2361"/>
                </a:lnTo>
                <a:lnTo>
                  <a:pt x="1119" y="2368"/>
                </a:lnTo>
                <a:lnTo>
                  <a:pt x="1118" y="2375"/>
                </a:lnTo>
                <a:lnTo>
                  <a:pt x="1114" y="2387"/>
                </a:lnTo>
                <a:lnTo>
                  <a:pt x="1108" y="2398"/>
                </a:lnTo>
                <a:lnTo>
                  <a:pt x="1102" y="2409"/>
                </a:lnTo>
                <a:lnTo>
                  <a:pt x="1095" y="2420"/>
                </a:lnTo>
                <a:lnTo>
                  <a:pt x="1091" y="2425"/>
                </a:lnTo>
                <a:lnTo>
                  <a:pt x="1086" y="2430"/>
                </a:lnTo>
                <a:lnTo>
                  <a:pt x="1077" y="2440"/>
                </a:lnTo>
                <a:lnTo>
                  <a:pt x="1067" y="2449"/>
                </a:lnTo>
                <a:lnTo>
                  <a:pt x="1062" y="2452"/>
                </a:lnTo>
                <a:lnTo>
                  <a:pt x="1057" y="2456"/>
                </a:lnTo>
                <a:lnTo>
                  <a:pt x="1044" y="2463"/>
                </a:lnTo>
                <a:lnTo>
                  <a:pt x="1033" y="2468"/>
                </a:lnTo>
                <a:lnTo>
                  <a:pt x="1021" y="2473"/>
                </a:lnTo>
                <a:lnTo>
                  <a:pt x="1014" y="2475"/>
                </a:lnTo>
                <a:lnTo>
                  <a:pt x="1008" y="2476"/>
                </a:lnTo>
                <a:lnTo>
                  <a:pt x="1002" y="2478"/>
                </a:lnTo>
                <a:lnTo>
                  <a:pt x="996" y="2478"/>
                </a:lnTo>
                <a:lnTo>
                  <a:pt x="982" y="2479"/>
                </a:lnTo>
                <a:lnTo>
                  <a:pt x="977" y="2478"/>
                </a:lnTo>
                <a:lnTo>
                  <a:pt x="972" y="2477"/>
                </a:lnTo>
                <a:lnTo>
                  <a:pt x="967" y="2474"/>
                </a:lnTo>
                <a:lnTo>
                  <a:pt x="965" y="2472"/>
                </a:lnTo>
                <a:lnTo>
                  <a:pt x="963" y="2470"/>
                </a:lnTo>
                <a:lnTo>
                  <a:pt x="960" y="2465"/>
                </a:lnTo>
                <a:lnTo>
                  <a:pt x="958" y="2460"/>
                </a:lnTo>
                <a:lnTo>
                  <a:pt x="957" y="2457"/>
                </a:lnTo>
                <a:lnTo>
                  <a:pt x="956" y="2454"/>
                </a:lnTo>
                <a:lnTo>
                  <a:pt x="956" y="2448"/>
                </a:lnTo>
                <a:lnTo>
                  <a:pt x="956" y="2445"/>
                </a:lnTo>
                <a:lnTo>
                  <a:pt x="956" y="2442"/>
                </a:lnTo>
                <a:lnTo>
                  <a:pt x="957" y="2437"/>
                </a:lnTo>
                <a:lnTo>
                  <a:pt x="958" y="2435"/>
                </a:lnTo>
                <a:lnTo>
                  <a:pt x="960" y="2433"/>
                </a:lnTo>
                <a:lnTo>
                  <a:pt x="961" y="2432"/>
                </a:lnTo>
                <a:lnTo>
                  <a:pt x="963" y="2430"/>
                </a:lnTo>
                <a:lnTo>
                  <a:pt x="974" y="2428"/>
                </a:lnTo>
                <a:lnTo>
                  <a:pt x="984" y="2425"/>
                </a:lnTo>
                <a:lnTo>
                  <a:pt x="995" y="2422"/>
                </a:lnTo>
                <a:lnTo>
                  <a:pt x="1005" y="2418"/>
                </a:lnTo>
                <a:lnTo>
                  <a:pt x="1014" y="2413"/>
                </a:lnTo>
                <a:lnTo>
                  <a:pt x="1023" y="2408"/>
                </a:lnTo>
                <a:lnTo>
                  <a:pt x="1030" y="2403"/>
                </a:lnTo>
                <a:lnTo>
                  <a:pt x="1034" y="2400"/>
                </a:lnTo>
                <a:lnTo>
                  <a:pt x="1038" y="2397"/>
                </a:lnTo>
                <a:lnTo>
                  <a:pt x="1044" y="2390"/>
                </a:lnTo>
                <a:lnTo>
                  <a:pt x="1051" y="2384"/>
                </a:lnTo>
                <a:lnTo>
                  <a:pt x="1056" y="2377"/>
                </a:lnTo>
                <a:lnTo>
                  <a:pt x="1060" y="2369"/>
                </a:lnTo>
                <a:lnTo>
                  <a:pt x="1063" y="2362"/>
                </a:lnTo>
                <a:lnTo>
                  <a:pt x="1066" y="2355"/>
                </a:lnTo>
                <a:lnTo>
                  <a:pt x="1067" y="2348"/>
                </a:lnTo>
                <a:lnTo>
                  <a:pt x="1068" y="2341"/>
                </a:lnTo>
                <a:lnTo>
                  <a:pt x="1067" y="2333"/>
                </a:lnTo>
                <a:lnTo>
                  <a:pt x="1065" y="2326"/>
                </a:lnTo>
                <a:lnTo>
                  <a:pt x="1063" y="2323"/>
                </a:lnTo>
                <a:lnTo>
                  <a:pt x="1062" y="2319"/>
                </a:lnTo>
                <a:lnTo>
                  <a:pt x="1059" y="2317"/>
                </a:lnTo>
                <a:lnTo>
                  <a:pt x="1057" y="2314"/>
                </a:lnTo>
                <a:lnTo>
                  <a:pt x="1051" y="2309"/>
                </a:lnTo>
                <a:lnTo>
                  <a:pt x="1047" y="2307"/>
                </a:lnTo>
                <a:lnTo>
                  <a:pt x="1043" y="2306"/>
                </a:lnTo>
                <a:lnTo>
                  <a:pt x="1035" y="2304"/>
                </a:lnTo>
                <a:lnTo>
                  <a:pt x="1031" y="2303"/>
                </a:lnTo>
                <a:lnTo>
                  <a:pt x="1027" y="2303"/>
                </a:lnTo>
                <a:lnTo>
                  <a:pt x="1018" y="2304"/>
                </a:lnTo>
                <a:lnTo>
                  <a:pt x="1013" y="2305"/>
                </a:lnTo>
                <a:lnTo>
                  <a:pt x="1009" y="2306"/>
                </a:lnTo>
                <a:lnTo>
                  <a:pt x="1004" y="2308"/>
                </a:lnTo>
                <a:lnTo>
                  <a:pt x="1000" y="2310"/>
                </a:lnTo>
                <a:lnTo>
                  <a:pt x="996" y="2313"/>
                </a:lnTo>
                <a:lnTo>
                  <a:pt x="991" y="2315"/>
                </a:lnTo>
                <a:lnTo>
                  <a:pt x="986" y="2318"/>
                </a:lnTo>
                <a:lnTo>
                  <a:pt x="982" y="2321"/>
                </a:lnTo>
                <a:lnTo>
                  <a:pt x="973" y="2328"/>
                </a:lnTo>
                <a:lnTo>
                  <a:pt x="966" y="2336"/>
                </a:lnTo>
                <a:lnTo>
                  <a:pt x="958" y="2345"/>
                </a:lnTo>
                <a:lnTo>
                  <a:pt x="955" y="2350"/>
                </a:lnTo>
                <a:lnTo>
                  <a:pt x="951" y="2355"/>
                </a:lnTo>
                <a:lnTo>
                  <a:pt x="945" y="2366"/>
                </a:lnTo>
                <a:lnTo>
                  <a:pt x="940" y="2379"/>
                </a:lnTo>
                <a:lnTo>
                  <a:pt x="935" y="2391"/>
                </a:lnTo>
                <a:lnTo>
                  <a:pt x="931" y="2404"/>
                </a:lnTo>
                <a:lnTo>
                  <a:pt x="927" y="2417"/>
                </a:lnTo>
                <a:lnTo>
                  <a:pt x="925" y="2432"/>
                </a:lnTo>
                <a:lnTo>
                  <a:pt x="925" y="2439"/>
                </a:lnTo>
                <a:lnTo>
                  <a:pt x="925" y="2446"/>
                </a:lnTo>
                <a:lnTo>
                  <a:pt x="925" y="2459"/>
                </a:lnTo>
                <a:lnTo>
                  <a:pt x="927" y="2471"/>
                </a:lnTo>
                <a:lnTo>
                  <a:pt x="929" y="2482"/>
                </a:lnTo>
                <a:lnTo>
                  <a:pt x="931" y="2488"/>
                </a:lnTo>
                <a:lnTo>
                  <a:pt x="933" y="2494"/>
                </a:lnTo>
                <a:lnTo>
                  <a:pt x="936" y="2505"/>
                </a:lnTo>
                <a:lnTo>
                  <a:pt x="939" y="2510"/>
                </a:lnTo>
                <a:lnTo>
                  <a:pt x="941" y="2515"/>
                </a:lnTo>
                <a:lnTo>
                  <a:pt x="943" y="2519"/>
                </a:lnTo>
                <a:lnTo>
                  <a:pt x="946" y="2524"/>
                </a:lnTo>
                <a:lnTo>
                  <a:pt x="949" y="2528"/>
                </a:lnTo>
                <a:lnTo>
                  <a:pt x="952" y="2532"/>
                </a:lnTo>
                <a:lnTo>
                  <a:pt x="955" y="2536"/>
                </a:lnTo>
                <a:lnTo>
                  <a:pt x="959" y="2540"/>
                </a:lnTo>
                <a:lnTo>
                  <a:pt x="966" y="2546"/>
                </a:lnTo>
                <a:lnTo>
                  <a:pt x="974" y="2553"/>
                </a:lnTo>
                <a:lnTo>
                  <a:pt x="982" y="2558"/>
                </a:lnTo>
                <a:lnTo>
                  <a:pt x="992" y="2561"/>
                </a:lnTo>
                <a:lnTo>
                  <a:pt x="1002" y="2564"/>
                </a:lnTo>
                <a:lnTo>
                  <a:pt x="1012" y="2566"/>
                </a:lnTo>
                <a:lnTo>
                  <a:pt x="1017" y="2566"/>
                </a:lnTo>
                <a:lnTo>
                  <a:pt x="1023" y="2567"/>
                </a:lnTo>
                <a:lnTo>
                  <a:pt x="1033" y="2566"/>
                </a:lnTo>
                <a:lnTo>
                  <a:pt x="1043" y="2564"/>
                </a:lnTo>
                <a:lnTo>
                  <a:pt x="1054" y="2562"/>
                </a:lnTo>
                <a:lnTo>
                  <a:pt x="1064" y="2559"/>
                </a:lnTo>
                <a:lnTo>
                  <a:pt x="1073" y="2554"/>
                </a:lnTo>
                <a:lnTo>
                  <a:pt x="1082" y="2548"/>
                </a:lnTo>
                <a:lnTo>
                  <a:pt x="1091" y="2543"/>
                </a:lnTo>
                <a:lnTo>
                  <a:pt x="1099" y="2536"/>
                </a:lnTo>
                <a:lnTo>
                  <a:pt x="1107" y="2529"/>
                </a:lnTo>
                <a:lnTo>
                  <a:pt x="1116" y="2521"/>
                </a:lnTo>
                <a:lnTo>
                  <a:pt x="1123" y="2512"/>
                </a:lnTo>
                <a:lnTo>
                  <a:pt x="1130" y="2503"/>
                </a:lnTo>
                <a:lnTo>
                  <a:pt x="1143" y="2483"/>
                </a:lnTo>
                <a:lnTo>
                  <a:pt x="1149" y="2473"/>
                </a:lnTo>
                <a:lnTo>
                  <a:pt x="1154" y="2462"/>
                </a:lnTo>
                <a:lnTo>
                  <a:pt x="1159" y="2451"/>
                </a:lnTo>
                <a:lnTo>
                  <a:pt x="1164" y="2440"/>
                </a:lnTo>
                <a:lnTo>
                  <a:pt x="1169" y="2427"/>
                </a:lnTo>
                <a:lnTo>
                  <a:pt x="1174" y="2415"/>
                </a:lnTo>
                <a:lnTo>
                  <a:pt x="1178" y="2403"/>
                </a:lnTo>
                <a:lnTo>
                  <a:pt x="1181" y="2391"/>
                </a:lnTo>
                <a:lnTo>
                  <a:pt x="1184" y="2379"/>
                </a:lnTo>
                <a:lnTo>
                  <a:pt x="1187" y="2366"/>
                </a:lnTo>
                <a:lnTo>
                  <a:pt x="1189" y="2354"/>
                </a:lnTo>
                <a:lnTo>
                  <a:pt x="1191" y="2343"/>
                </a:lnTo>
                <a:lnTo>
                  <a:pt x="1192" y="2331"/>
                </a:lnTo>
                <a:lnTo>
                  <a:pt x="1193" y="2319"/>
                </a:lnTo>
                <a:lnTo>
                  <a:pt x="1194" y="2307"/>
                </a:lnTo>
                <a:lnTo>
                  <a:pt x="1194" y="2296"/>
                </a:lnTo>
                <a:lnTo>
                  <a:pt x="1194" y="2285"/>
                </a:lnTo>
                <a:lnTo>
                  <a:pt x="1194" y="2275"/>
                </a:lnTo>
                <a:lnTo>
                  <a:pt x="1195" y="2272"/>
                </a:lnTo>
                <a:lnTo>
                  <a:pt x="1196" y="2270"/>
                </a:lnTo>
                <a:lnTo>
                  <a:pt x="1199" y="2268"/>
                </a:lnTo>
                <a:lnTo>
                  <a:pt x="1201" y="2266"/>
                </a:lnTo>
                <a:lnTo>
                  <a:pt x="1208" y="2263"/>
                </a:lnTo>
                <a:lnTo>
                  <a:pt x="1212" y="2263"/>
                </a:lnTo>
                <a:lnTo>
                  <a:pt x="1216" y="2262"/>
                </a:lnTo>
                <a:lnTo>
                  <a:pt x="1223" y="2263"/>
                </a:lnTo>
                <a:lnTo>
                  <a:pt x="1227" y="2264"/>
                </a:lnTo>
                <a:lnTo>
                  <a:pt x="1231" y="2265"/>
                </a:lnTo>
                <a:lnTo>
                  <a:pt x="1236" y="2267"/>
                </a:lnTo>
                <a:lnTo>
                  <a:pt x="1239" y="2269"/>
                </a:lnTo>
                <a:lnTo>
                  <a:pt x="1241" y="2272"/>
                </a:lnTo>
                <a:lnTo>
                  <a:pt x="1245" y="2277"/>
                </a:lnTo>
                <a:lnTo>
                  <a:pt x="1247" y="2281"/>
                </a:lnTo>
                <a:lnTo>
                  <a:pt x="1248" y="2285"/>
                </a:lnTo>
                <a:lnTo>
                  <a:pt x="1249" y="2289"/>
                </a:lnTo>
                <a:lnTo>
                  <a:pt x="1250" y="2294"/>
                </a:lnTo>
                <a:lnTo>
                  <a:pt x="1251" y="2299"/>
                </a:lnTo>
                <a:lnTo>
                  <a:pt x="1251" y="2305"/>
                </a:lnTo>
                <a:lnTo>
                  <a:pt x="1250" y="2322"/>
                </a:lnTo>
                <a:lnTo>
                  <a:pt x="1249" y="2337"/>
                </a:lnTo>
                <a:lnTo>
                  <a:pt x="1248" y="2352"/>
                </a:lnTo>
                <a:lnTo>
                  <a:pt x="1246" y="2368"/>
                </a:lnTo>
                <a:lnTo>
                  <a:pt x="1243" y="2383"/>
                </a:lnTo>
                <a:lnTo>
                  <a:pt x="1240" y="2398"/>
                </a:lnTo>
                <a:lnTo>
                  <a:pt x="1237" y="2413"/>
                </a:lnTo>
                <a:lnTo>
                  <a:pt x="1233" y="2427"/>
                </a:lnTo>
                <a:lnTo>
                  <a:pt x="1228" y="2442"/>
                </a:lnTo>
                <a:lnTo>
                  <a:pt x="1223" y="2455"/>
                </a:lnTo>
                <a:lnTo>
                  <a:pt x="1217" y="2468"/>
                </a:lnTo>
                <a:lnTo>
                  <a:pt x="1212" y="2481"/>
                </a:lnTo>
                <a:lnTo>
                  <a:pt x="1206" y="2495"/>
                </a:lnTo>
                <a:lnTo>
                  <a:pt x="1199" y="2507"/>
                </a:lnTo>
                <a:lnTo>
                  <a:pt x="1192" y="2518"/>
                </a:lnTo>
                <a:lnTo>
                  <a:pt x="1185" y="2529"/>
                </a:lnTo>
                <a:lnTo>
                  <a:pt x="1177" y="2540"/>
                </a:lnTo>
                <a:lnTo>
                  <a:pt x="1168" y="2550"/>
                </a:lnTo>
                <a:lnTo>
                  <a:pt x="1160" y="2561"/>
                </a:lnTo>
                <a:lnTo>
                  <a:pt x="1151" y="2570"/>
                </a:lnTo>
                <a:lnTo>
                  <a:pt x="1142" y="2578"/>
                </a:lnTo>
                <a:lnTo>
                  <a:pt x="1133" y="2586"/>
                </a:lnTo>
                <a:lnTo>
                  <a:pt x="1123" y="2593"/>
                </a:lnTo>
                <a:lnTo>
                  <a:pt x="1113" y="2600"/>
                </a:lnTo>
                <a:lnTo>
                  <a:pt x="1102" y="2606"/>
                </a:lnTo>
                <a:lnTo>
                  <a:pt x="1091" y="2612"/>
                </a:lnTo>
                <a:lnTo>
                  <a:pt x="1080" y="2616"/>
                </a:lnTo>
                <a:lnTo>
                  <a:pt x="1069" y="2620"/>
                </a:lnTo>
                <a:lnTo>
                  <a:pt x="1058" y="2623"/>
                </a:lnTo>
                <a:lnTo>
                  <a:pt x="1045" y="2625"/>
                </a:lnTo>
                <a:lnTo>
                  <a:pt x="1033" y="2626"/>
                </a:lnTo>
                <a:lnTo>
                  <a:pt x="1021" y="2627"/>
                </a:lnTo>
                <a:close/>
                <a:moveTo>
                  <a:pt x="1408" y="2621"/>
                </a:moveTo>
                <a:lnTo>
                  <a:pt x="1406" y="2621"/>
                </a:lnTo>
                <a:lnTo>
                  <a:pt x="1403" y="2620"/>
                </a:lnTo>
                <a:lnTo>
                  <a:pt x="1398" y="2617"/>
                </a:lnTo>
                <a:lnTo>
                  <a:pt x="1392" y="2613"/>
                </a:lnTo>
                <a:lnTo>
                  <a:pt x="1385" y="2607"/>
                </a:lnTo>
                <a:lnTo>
                  <a:pt x="1372" y="2596"/>
                </a:lnTo>
                <a:lnTo>
                  <a:pt x="1357" y="2582"/>
                </a:lnTo>
                <a:lnTo>
                  <a:pt x="1339" y="2566"/>
                </a:lnTo>
                <a:lnTo>
                  <a:pt x="1323" y="2548"/>
                </a:lnTo>
                <a:lnTo>
                  <a:pt x="1307" y="2531"/>
                </a:lnTo>
                <a:lnTo>
                  <a:pt x="1293" y="2515"/>
                </a:lnTo>
                <a:lnTo>
                  <a:pt x="1280" y="2501"/>
                </a:lnTo>
                <a:lnTo>
                  <a:pt x="1276" y="2494"/>
                </a:lnTo>
                <a:lnTo>
                  <a:pt x="1273" y="2488"/>
                </a:lnTo>
                <a:lnTo>
                  <a:pt x="1268" y="2478"/>
                </a:lnTo>
                <a:lnTo>
                  <a:pt x="1264" y="2468"/>
                </a:lnTo>
                <a:lnTo>
                  <a:pt x="1261" y="2458"/>
                </a:lnTo>
                <a:lnTo>
                  <a:pt x="1260" y="2448"/>
                </a:lnTo>
                <a:lnTo>
                  <a:pt x="1261" y="2443"/>
                </a:lnTo>
                <a:lnTo>
                  <a:pt x="1262" y="2437"/>
                </a:lnTo>
                <a:lnTo>
                  <a:pt x="1263" y="2430"/>
                </a:lnTo>
                <a:lnTo>
                  <a:pt x="1265" y="2424"/>
                </a:lnTo>
                <a:lnTo>
                  <a:pt x="1268" y="2418"/>
                </a:lnTo>
                <a:lnTo>
                  <a:pt x="1271" y="2412"/>
                </a:lnTo>
                <a:lnTo>
                  <a:pt x="1275" y="2405"/>
                </a:lnTo>
                <a:lnTo>
                  <a:pt x="1279" y="2398"/>
                </a:lnTo>
                <a:lnTo>
                  <a:pt x="1287" y="2387"/>
                </a:lnTo>
                <a:lnTo>
                  <a:pt x="1300" y="2374"/>
                </a:lnTo>
                <a:lnTo>
                  <a:pt x="1329" y="2339"/>
                </a:lnTo>
                <a:lnTo>
                  <a:pt x="1365" y="2299"/>
                </a:lnTo>
                <a:lnTo>
                  <a:pt x="1400" y="2259"/>
                </a:lnTo>
                <a:lnTo>
                  <a:pt x="1401" y="2258"/>
                </a:lnTo>
                <a:lnTo>
                  <a:pt x="1404" y="2258"/>
                </a:lnTo>
                <a:lnTo>
                  <a:pt x="1408" y="2258"/>
                </a:lnTo>
                <a:lnTo>
                  <a:pt x="1413" y="2260"/>
                </a:lnTo>
                <a:lnTo>
                  <a:pt x="1417" y="2261"/>
                </a:lnTo>
                <a:lnTo>
                  <a:pt x="1422" y="2264"/>
                </a:lnTo>
                <a:lnTo>
                  <a:pt x="1426" y="2267"/>
                </a:lnTo>
                <a:lnTo>
                  <a:pt x="1430" y="2271"/>
                </a:lnTo>
                <a:lnTo>
                  <a:pt x="1433" y="2275"/>
                </a:lnTo>
                <a:lnTo>
                  <a:pt x="1436" y="2280"/>
                </a:lnTo>
                <a:lnTo>
                  <a:pt x="1437" y="2284"/>
                </a:lnTo>
                <a:lnTo>
                  <a:pt x="1438" y="2289"/>
                </a:lnTo>
                <a:lnTo>
                  <a:pt x="1437" y="2295"/>
                </a:lnTo>
                <a:lnTo>
                  <a:pt x="1436" y="2300"/>
                </a:lnTo>
                <a:lnTo>
                  <a:pt x="1433" y="2306"/>
                </a:lnTo>
                <a:lnTo>
                  <a:pt x="1429" y="2313"/>
                </a:lnTo>
                <a:lnTo>
                  <a:pt x="1421" y="2323"/>
                </a:lnTo>
                <a:lnTo>
                  <a:pt x="1408" y="2336"/>
                </a:lnTo>
                <a:lnTo>
                  <a:pt x="1379" y="2369"/>
                </a:lnTo>
                <a:lnTo>
                  <a:pt x="1349" y="2404"/>
                </a:lnTo>
                <a:lnTo>
                  <a:pt x="1336" y="2418"/>
                </a:lnTo>
                <a:lnTo>
                  <a:pt x="1327" y="2430"/>
                </a:lnTo>
                <a:lnTo>
                  <a:pt x="1325" y="2434"/>
                </a:lnTo>
                <a:lnTo>
                  <a:pt x="1323" y="2438"/>
                </a:lnTo>
                <a:lnTo>
                  <a:pt x="1322" y="2442"/>
                </a:lnTo>
                <a:lnTo>
                  <a:pt x="1322" y="2445"/>
                </a:lnTo>
                <a:lnTo>
                  <a:pt x="1322" y="2450"/>
                </a:lnTo>
                <a:lnTo>
                  <a:pt x="1323" y="2454"/>
                </a:lnTo>
                <a:lnTo>
                  <a:pt x="1326" y="2458"/>
                </a:lnTo>
                <a:lnTo>
                  <a:pt x="1329" y="2463"/>
                </a:lnTo>
                <a:lnTo>
                  <a:pt x="1336" y="2472"/>
                </a:lnTo>
                <a:lnTo>
                  <a:pt x="1346" y="2484"/>
                </a:lnTo>
                <a:lnTo>
                  <a:pt x="1375" y="2514"/>
                </a:lnTo>
                <a:lnTo>
                  <a:pt x="1407" y="2546"/>
                </a:lnTo>
                <a:lnTo>
                  <a:pt x="1439" y="2577"/>
                </a:lnTo>
                <a:lnTo>
                  <a:pt x="1440" y="2579"/>
                </a:lnTo>
                <a:lnTo>
                  <a:pt x="1442" y="2581"/>
                </a:lnTo>
                <a:lnTo>
                  <a:pt x="1443" y="2584"/>
                </a:lnTo>
                <a:lnTo>
                  <a:pt x="1443" y="2586"/>
                </a:lnTo>
                <a:lnTo>
                  <a:pt x="1442" y="2592"/>
                </a:lnTo>
                <a:lnTo>
                  <a:pt x="1441" y="2595"/>
                </a:lnTo>
                <a:lnTo>
                  <a:pt x="1440" y="2597"/>
                </a:lnTo>
                <a:lnTo>
                  <a:pt x="1436" y="2603"/>
                </a:lnTo>
                <a:lnTo>
                  <a:pt x="1434" y="2606"/>
                </a:lnTo>
                <a:lnTo>
                  <a:pt x="1432" y="2608"/>
                </a:lnTo>
                <a:lnTo>
                  <a:pt x="1426" y="2614"/>
                </a:lnTo>
                <a:lnTo>
                  <a:pt x="1423" y="2616"/>
                </a:lnTo>
                <a:lnTo>
                  <a:pt x="1420" y="2618"/>
                </a:lnTo>
                <a:lnTo>
                  <a:pt x="1414" y="2620"/>
                </a:lnTo>
                <a:lnTo>
                  <a:pt x="1411" y="2621"/>
                </a:lnTo>
                <a:lnTo>
                  <a:pt x="1408" y="2621"/>
                </a:lnTo>
                <a:close/>
                <a:moveTo>
                  <a:pt x="4851" y="639"/>
                </a:moveTo>
                <a:lnTo>
                  <a:pt x="4843" y="639"/>
                </a:lnTo>
                <a:lnTo>
                  <a:pt x="4835" y="639"/>
                </a:lnTo>
                <a:lnTo>
                  <a:pt x="4827" y="637"/>
                </a:lnTo>
                <a:lnTo>
                  <a:pt x="4820" y="636"/>
                </a:lnTo>
                <a:lnTo>
                  <a:pt x="4812" y="634"/>
                </a:lnTo>
                <a:lnTo>
                  <a:pt x="4805" y="632"/>
                </a:lnTo>
                <a:lnTo>
                  <a:pt x="4792" y="625"/>
                </a:lnTo>
                <a:lnTo>
                  <a:pt x="4778" y="618"/>
                </a:lnTo>
                <a:lnTo>
                  <a:pt x="4772" y="613"/>
                </a:lnTo>
                <a:lnTo>
                  <a:pt x="4765" y="609"/>
                </a:lnTo>
                <a:lnTo>
                  <a:pt x="4759" y="604"/>
                </a:lnTo>
                <a:lnTo>
                  <a:pt x="4754" y="599"/>
                </a:lnTo>
                <a:lnTo>
                  <a:pt x="4748" y="593"/>
                </a:lnTo>
                <a:lnTo>
                  <a:pt x="4743" y="588"/>
                </a:lnTo>
                <a:lnTo>
                  <a:pt x="4738" y="582"/>
                </a:lnTo>
                <a:lnTo>
                  <a:pt x="4733" y="575"/>
                </a:lnTo>
                <a:lnTo>
                  <a:pt x="4729" y="568"/>
                </a:lnTo>
                <a:lnTo>
                  <a:pt x="4725" y="561"/>
                </a:lnTo>
                <a:lnTo>
                  <a:pt x="4721" y="554"/>
                </a:lnTo>
                <a:lnTo>
                  <a:pt x="4717" y="546"/>
                </a:lnTo>
                <a:lnTo>
                  <a:pt x="4714" y="539"/>
                </a:lnTo>
                <a:lnTo>
                  <a:pt x="4711" y="531"/>
                </a:lnTo>
                <a:lnTo>
                  <a:pt x="4707" y="523"/>
                </a:lnTo>
                <a:lnTo>
                  <a:pt x="4705" y="515"/>
                </a:lnTo>
                <a:lnTo>
                  <a:pt x="4703" y="505"/>
                </a:lnTo>
                <a:lnTo>
                  <a:pt x="4701" y="497"/>
                </a:lnTo>
                <a:lnTo>
                  <a:pt x="4700" y="488"/>
                </a:lnTo>
                <a:lnTo>
                  <a:pt x="4699" y="479"/>
                </a:lnTo>
                <a:lnTo>
                  <a:pt x="4698" y="470"/>
                </a:lnTo>
                <a:lnTo>
                  <a:pt x="4698" y="461"/>
                </a:lnTo>
                <a:lnTo>
                  <a:pt x="4699" y="441"/>
                </a:lnTo>
                <a:lnTo>
                  <a:pt x="4700" y="432"/>
                </a:lnTo>
                <a:lnTo>
                  <a:pt x="4701" y="423"/>
                </a:lnTo>
                <a:lnTo>
                  <a:pt x="4703" y="414"/>
                </a:lnTo>
                <a:lnTo>
                  <a:pt x="4705" y="405"/>
                </a:lnTo>
                <a:lnTo>
                  <a:pt x="4708" y="396"/>
                </a:lnTo>
                <a:lnTo>
                  <a:pt x="4712" y="387"/>
                </a:lnTo>
                <a:lnTo>
                  <a:pt x="4715" y="378"/>
                </a:lnTo>
                <a:lnTo>
                  <a:pt x="4718" y="370"/>
                </a:lnTo>
                <a:lnTo>
                  <a:pt x="4722" y="362"/>
                </a:lnTo>
                <a:lnTo>
                  <a:pt x="4726" y="354"/>
                </a:lnTo>
                <a:lnTo>
                  <a:pt x="4730" y="347"/>
                </a:lnTo>
                <a:lnTo>
                  <a:pt x="4735" y="339"/>
                </a:lnTo>
                <a:lnTo>
                  <a:pt x="4745" y="325"/>
                </a:lnTo>
                <a:lnTo>
                  <a:pt x="4751" y="318"/>
                </a:lnTo>
                <a:lnTo>
                  <a:pt x="4757" y="312"/>
                </a:lnTo>
                <a:lnTo>
                  <a:pt x="4769" y="301"/>
                </a:lnTo>
                <a:lnTo>
                  <a:pt x="4776" y="295"/>
                </a:lnTo>
                <a:lnTo>
                  <a:pt x="4783" y="291"/>
                </a:lnTo>
                <a:lnTo>
                  <a:pt x="4790" y="286"/>
                </a:lnTo>
                <a:lnTo>
                  <a:pt x="4797" y="282"/>
                </a:lnTo>
                <a:lnTo>
                  <a:pt x="4804" y="278"/>
                </a:lnTo>
                <a:lnTo>
                  <a:pt x="4812" y="275"/>
                </a:lnTo>
                <a:lnTo>
                  <a:pt x="4819" y="273"/>
                </a:lnTo>
                <a:lnTo>
                  <a:pt x="4827" y="269"/>
                </a:lnTo>
                <a:lnTo>
                  <a:pt x="4836" y="268"/>
                </a:lnTo>
                <a:lnTo>
                  <a:pt x="4844" y="266"/>
                </a:lnTo>
                <a:lnTo>
                  <a:pt x="4852" y="265"/>
                </a:lnTo>
                <a:lnTo>
                  <a:pt x="4860" y="265"/>
                </a:lnTo>
                <a:lnTo>
                  <a:pt x="4870" y="266"/>
                </a:lnTo>
                <a:lnTo>
                  <a:pt x="4875" y="266"/>
                </a:lnTo>
                <a:lnTo>
                  <a:pt x="4880" y="267"/>
                </a:lnTo>
                <a:lnTo>
                  <a:pt x="4885" y="268"/>
                </a:lnTo>
                <a:lnTo>
                  <a:pt x="4889" y="269"/>
                </a:lnTo>
                <a:lnTo>
                  <a:pt x="4899" y="273"/>
                </a:lnTo>
                <a:lnTo>
                  <a:pt x="4906" y="277"/>
                </a:lnTo>
                <a:lnTo>
                  <a:pt x="4914" y="282"/>
                </a:lnTo>
                <a:lnTo>
                  <a:pt x="4920" y="287"/>
                </a:lnTo>
                <a:lnTo>
                  <a:pt x="4926" y="293"/>
                </a:lnTo>
                <a:lnTo>
                  <a:pt x="4929" y="297"/>
                </a:lnTo>
                <a:lnTo>
                  <a:pt x="4932" y="300"/>
                </a:lnTo>
                <a:lnTo>
                  <a:pt x="4937" y="307"/>
                </a:lnTo>
                <a:lnTo>
                  <a:pt x="4941" y="315"/>
                </a:lnTo>
                <a:lnTo>
                  <a:pt x="4944" y="323"/>
                </a:lnTo>
                <a:lnTo>
                  <a:pt x="4947" y="333"/>
                </a:lnTo>
                <a:lnTo>
                  <a:pt x="4949" y="342"/>
                </a:lnTo>
                <a:lnTo>
                  <a:pt x="4951" y="352"/>
                </a:lnTo>
                <a:lnTo>
                  <a:pt x="4951" y="362"/>
                </a:lnTo>
                <a:lnTo>
                  <a:pt x="4949" y="374"/>
                </a:lnTo>
                <a:lnTo>
                  <a:pt x="4948" y="380"/>
                </a:lnTo>
                <a:lnTo>
                  <a:pt x="4947" y="386"/>
                </a:lnTo>
                <a:lnTo>
                  <a:pt x="4943" y="399"/>
                </a:lnTo>
                <a:lnTo>
                  <a:pt x="4938" y="411"/>
                </a:lnTo>
                <a:lnTo>
                  <a:pt x="4932" y="422"/>
                </a:lnTo>
                <a:lnTo>
                  <a:pt x="4925" y="433"/>
                </a:lnTo>
                <a:lnTo>
                  <a:pt x="4921" y="438"/>
                </a:lnTo>
                <a:lnTo>
                  <a:pt x="4916" y="442"/>
                </a:lnTo>
                <a:lnTo>
                  <a:pt x="4907" y="453"/>
                </a:lnTo>
                <a:lnTo>
                  <a:pt x="4897" y="461"/>
                </a:lnTo>
                <a:lnTo>
                  <a:pt x="4892" y="465"/>
                </a:lnTo>
                <a:lnTo>
                  <a:pt x="4885" y="469"/>
                </a:lnTo>
                <a:lnTo>
                  <a:pt x="4874" y="475"/>
                </a:lnTo>
                <a:lnTo>
                  <a:pt x="4863" y="481"/>
                </a:lnTo>
                <a:lnTo>
                  <a:pt x="4850" y="486"/>
                </a:lnTo>
                <a:lnTo>
                  <a:pt x="4844" y="487"/>
                </a:lnTo>
                <a:lnTo>
                  <a:pt x="4838" y="489"/>
                </a:lnTo>
                <a:lnTo>
                  <a:pt x="4832" y="490"/>
                </a:lnTo>
                <a:lnTo>
                  <a:pt x="4825" y="491"/>
                </a:lnTo>
                <a:lnTo>
                  <a:pt x="4812" y="492"/>
                </a:lnTo>
                <a:lnTo>
                  <a:pt x="4807" y="491"/>
                </a:lnTo>
                <a:lnTo>
                  <a:pt x="4802" y="489"/>
                </a:lnTo>
                <a:lnTo>
                  <a:pt x="4797" y="486"/>
                </a:lnTo>
                <a:lnTo>
                  <a:pt x="4795" y="485"/>
                </a:lnTo>
                <a:lnTo>
                  <a:pt x="4793" y="483"/>
                </a:lnTo>
                <a:lnTo>
                  <a:pt x="4790" y="478"/>
                </a:lnTo>
                <a:lnTo>
                  <a:pt x="4788" y="473"/>
                </a:lnTo>
                <a:lnTo>
                  <a:pt x="4787" y="470"/>
                </a:lnTo>
                <a:lnTo>
                  <a:pt x="4786" y="467"/>
                </a:lnTo>
                <a:lnTo>
                  <a:pt x="4786" y="460"/>
                </a:lnTo>
                <a:lnTo>
                  <a:pt x="4786" y="458"/>
                </a:lnTo>
                <a:lnTo>
                  <a:pt x="4786" y="455"/>
                </a:lnTo>
                <a:lnTo>
                  <a:pt x="4787" y="449"/>
                </a:lnTo>
                <a:lnTo>
                  <a:pt x="4788" y="447"/>
                </a:lnTo>
                <a:lnTo>
                  <a:pt x="4790" y="445"/>
                </a:lnTo>
                <a:lnTo>
                  <a:pt x="4791" y="443"/>
                </a:lnTo>
                <a:lnTo>
                  <a:pt x="4793" y="442"/>
                </a:lnTo>
                <a:lnTo>
                  <a:pt x="4804" y="440"/>
                </a:lnTo>
                <a:lnTo>
                  <a:pt x="4814" y="438"/>
                </a:lnTo>
                <a:lnTo>
                  <a:pt x="4824" y="434"/>
                </a:lnTo>
                <a:lnTo>
                  <a:pt x="4835" y="430"/>
                </a:lnTo>
                <a:lnTo>
                  <a:pt x="4844" y="426"/>
                </a:lnTo>
                <a:lnTo>
                  <a:pt x="4852" y="421"/>
                </a:lnTo>
                <a:lnTo>
                  <a:pt x="4860" y="415"/>
                </a:lnTo>
                <a:lnTo>
                  <a:pt x="4864" y="412"/>
                </a:lnTo>
                <a:lnTo>
                  <a:pt x="4868" y="409"/>
                </a:lnTo>
                <a:lnTo>
                  <a:pt x="4874" y="403"/>
                </a:lnTo>
                <a:lnTo>
                  <a:pt x="4880" y="397"/>
                </a:lnTo>
                <a:lnTo>
                  <a:pt x="4885" y="389"/>
                </a:lnTo>
                <a:lnTo>
                  <a:pt x="4889" y="382"/>
                </a:lnTo>
                <a:lnTo>
                  <a:pt x="4893" y="375"/>
                </a:lnTo>
                <a:lnTo>
                  <a:pt x="4896" y="368"/>
                </a:lnTo>
                <a:lnTo>
                  <a:pt x="4897" y="361"/>
                </a:lnTo>
                <a:lnTo>
                  <a:pt x="4898" y="354"/>
                </a:lnTo>
                <a:lnTo>
                  <a:pt x="4897" y="346"/>
                </a:lnTo>
                <a:lnTo>
                  <a:pt x="4895" y="338"/>
                </a:lnTo>
                <a:lnTo>
                  <a:pt x="4893" y="335"/>
                </a:lnTo>
                <a:lnTo>
                  <a:pt x="4891" y="332"/>
                </a:lnTo>
                <a:lnTo>
                  <a:pt x="4888" y="328"/>
                </a:lnTo>
                <a:lnTo>
                  <a:pt x="4886" y="326"/>
                </a:lnTo>
                <a:lnTo>
                  <a:pt x="4880" y="322"/>
                </a:lnTo>
                <a:lnTo>
                  <a:pt x="4877" y="320"/>
                </a:lnTo>
                <a:lnTo>
                  <a:pt x="4873" y="318"/>
                </a:lnTo>
                <a:lnTo>
                  <a:pt x="4865" y="317"/>
                </a:lnTo>
                <a:lnTo>
                  <a:pt x="4861" y="316"/>
                </a:lnTo>
                <a:lnTo>
                  <a:pt x="4856" y="316"/>
                </a:lnTo>
                <a:lnTo>
                  <a:pt x="4848" y="317"/>
                </a:lnTo>
                <a:lnTo>
                  <a:pt x="4843" y="318"/>
                </a:lnTo>
                <a:lnTo>
                  <a:pt x="4839" y="319"/>
                </a:lnTo>
                <a:lnTo>
                  <a:pt x="4834" y="320"/>
                </a:lnTo>
                <a:lnTo>
                  <a:pt x="4829" y="322"/>
                </a:lnTo>
                <a:lnTo>
                  <a:pt x="4825" y="324"/>
                </a:lnTo>
                <a:lnTo>
                  <a:pt x="4820" y="327"/>
                </a:lnTo>
                <a:lnTo>
                  <a:pt x="4816" y="330"/>
                </a:lnTo>
                <a:lnTo>
                  <a:pt x="4812" y="334"/>
                </a:lnTo>
                <a:lnTo>
                  <a:pt x="4803" y="341"/>
                </a:lnTo>
                <a:lnTo>
                  <a:pt x="4796" y="349"/>
                </a:lnTo>
                <a:lnTo>
                  <a:pt x="4788" y="358"/>
                </a:lnTo>
                <a:lnTo>
                  <a:pt x="4785" y="363"/>
                </a:lnTo>
                <a:lnTo>
                  <a:pt x="4781" y="368"/>
                </a:lnTo>
                <a:lnTo>
                  <a:pt x="4775" y="379"/>
                </a:lnTo>
                <a:lnTo>
                  <a:pt x="4768" y="390"/>
                </a:lnTo>
                <a:lnTo>
                  <a:pt x="4764" y="403"/>
                </a:lnTo>
                <a:lnTo>
                  <a:pt x="4760" y="416"/>
                </a:lnTo>
                <a:lnTo>
                  <a:pt x="4757" y="430"/>
                </a:lnTo>
                <a:lnTo>
                  <a:pt x="4755" y="443"/>
                </a:lnTo>
                <a:lnTo>
                  <a:pt x="4755" y="450"/>
                </a:lnTo>
                <a:lnTo>
                  <a:pt x="4755" y="459"/>
                </a:lnTo>
                <a:lnTo>
                  <a:pt x="4755" y="471"/>
                </a:lnTo>
                <a:lnTo>
                  <a:pt x="4756" y="483"/>
                </a:lnTo>
                <a:lnTo>
                  <a:pt x="4759" y="495"/>
                </a:lnTo>
                <a:lnTo>
                  <a:pt x="4760" y="501"/>
                </a:lnTo>
                <a:lnTo>
                  <a:pt x="4762" y="506"/>
                </a:lnTo>
                <a:lnTo>
                  <a:pt x="4765" y="518"/>
                </a:lnTo>
                <a:lnTo>
                  <a:pt x="4767" y="523"/>
                </a:lnTo>
                <a:lnTo>
                  <a:pt x="4771" y="527"/>
                </a:lnTo>
                <a:lnTo>
                  <a:pt x="4773" y="532"/>
                </a:lnTo>
                <a:lnTo>
                  <a:pt x="4776" y="536"/>
                </a:lnTo>
                <a:lnTo>
                  <a:pt x="4779" y="541"/>
                </a:lnTo>
                <a:lnTo>
                  <a:pt x="4782" y="545"/>
                </a:lnTo>
                <a:lnTo>
                  <a:pt x="4785" y="548"/>
                </a:lnTo>
                <a:lnTo>
                  <a:pt x="4788" y="552"/>
                </a:lnTo>
                <a:lnTo>
                  <a:pt x="4796" y="559"/>
                </a:lnTo>
                <a:lnTo>
                  <a:pt x="4804" y="564"/>
                </a:lnTo>
                <a:lnTo>
                  <a:pt x="4812" y="569"/>
                </a:lnTo>
                <a:lnTo>
                  <a:pt x="4821" y="574"/>
                </a:lnTo>
                <a:lnTo>
                  <a:pt x="4832" y="577"/>
                </a:lnTo>
                <a:lnTo>
                  <a:pt x="4842" y="579"/>
                </a:lnTo>
                <a:lnTo>
                  <a:pt x="4847" y="579"/>
                </a:lnTo>
                <a:lnTo>
                  <a:pt x="4853" y="579"/>
                </a:lnTo>
                <a:lnTo>
                  <a:pt x="4863" y="579"/>
                </a:lnTo>
                <a:lnTo>
                  <a:pt x="4873" y="577"/>
                </a:lnTo>
                <a:lnTo>
                  <a:pt x="4883" y="575"/>
                </a:lnTo>
                <a:lnTo>
                  <a:pt x="4894" y="570"/>
                </a:lnTo>
                <a:lnTo>
                  <a:pt x="4903" y="566"/>
                </a:lnTo>
                <a:lnTo>
                  <a:pt x="4912" y="561"/>
                </a:lnTo>
                <a:lnTo>
                  <a:pt x="4921" y="555"/>
                </a:lnTo>
                <a:lnTo>
                  <a:pt x="4929" y="549"/>
                </a:lnTo>
                <a:lnTo>
                  <a:pt x="4937" y="541"/>
                </a:lnTo>
                <a:lnTo>
                  <a:pt x="4944" y="534"/>
                </a:lnTo>
                <a:lnTo>
                  <a:pt x="4953" y="525"/>
                </a:lnTo>
                <a:lnTo>
                  <a:pt x="4960" y="516"/>
                </a:lnTo>
                <a:lnTo>
                  <a:pt x="4973" y="496"/>
                </a:lnTo>
                <a:lnTo>
                  <a:pt x="4979" y="485"/>
                </a:lnTo>
                <a:lnTo>
                  <a:pt x="4984" y="475"/>
                </a:lnTo>
                <a:lnTo>
                  <a:pt x="4989" y="464"/>
                </a:lnTo>
                <a:lnTo>
                  <a:pt x="4994" y="452"/>
                </a:lnTo>
                <a:lnTo>
                  <a:pt x="4999" y="440"/>
                </a:lnTo>
                <a:lnTo>
                  <a:pt x="5003" y="428"/>
                </a:lnTo>
                <a:lnTo>
                  <a:pt x="5007" y="416"/>
                </a:lnTo>
                <a:lnTo>
                  <a:pt x="5011" y="404"/>
                </a:lnTo>
                <a:lnTo>
                  <a:pt x="5014" y="392"/>
                </a:lnTo>
                <a:lnTo>
                  <a:pt x="5017" y="379"/>
                </a:lnTo>
                <a:lnTo>
                  <a:pt x="5019" y="367"/>
                </a:lnTo>
                <a:lnTo>
                  <a:pt x="5021" y="355"/>
                </a:lnTo>
                <a:lnTo>
                  <a:pt x="5022" y="343"/>
                </a:lnTo>
                <a:lnTo>
                  <a:pt x="5023" y="332"/>
                </a:lnTo>
                <a:lnTo>
                  <a:pt x="5024" y="320"/>
                </a:lnTo>
                <a:lnTo>
                  <a:pt x="5024" y="308"/>
                </a:lnTo>
                <a:lnTo>
                  <a:pt x="5024" y="298"/>
                </a:lnTo>
                <a:lnTo>
                  <a:pt x="5024" y="287"/>
                </a:lnTo>
                <a:lnTo>
                  <a:pt x="5025" y="285"/>
                </a:lnTo>
                <a:lnTo>
                  <a:pt x="5026" y="283"/>
                </a:lnTo>
                <a:lnTo>
                  <a:pt x="5028" y="281"/>
                </a:lnTo>
                <a:lnTo>
                  <a:pt x="5031" y="279"/>
                </a:lnTo>
                <a:lnTo>
                  <a:pt x="5038" y="276"/>
                </a:lnTo>
                <a:lnTo>
                  <a:pt x="5042" y="275"/>
                </a:lnTo>
                <a:lnTo>
                  <a:pt x="5046" y="275"/>
                </a:lnTo>
                <a:lnTo>
                  <a:pt x="5053" y="276"/>
                </a:lnTo>
                <a:lnTo>
                  <a:pt x="5056" y="276"/>
                </a:lnTo>
                <a:lnTo>
                  <a:pt x="5060" y="277"/>
                </a:lnTo>
                <a:lnTo>
                  <a:pt x="5065" y="280"/>
                </a:lnTo>
                <a:lnTo>
                  <a:pt x="5068" y="282"/>
                </a:lnTo>
                <a:lnTo>
                  <a:pt x="5071" y="284"/>
                </a:lnTo>
                <a:lnTo>
                  <a:pt x="5075" y="290"/>
                </a:lnTo>
                <a:lnTo>
                  <a:pt x="5077" y="294"/>
                </a:lnTo>
                <a:lnTo>
                  <a:pt x="5078" y="297"/>
                </a:lnTo>
                <a:lnTo>
                  <a:pt x="5079" y="302"/>
                </a:lnTo>
                <a:lnTo>
                  <a:pt x="5080" y="307"/>
                </a:lnTo>
                <a:lnTo>
                  <a:pt x="5081" y="312"/>
                </a:lnTo>
                <a:lnTo>
                  <a:pt x="5081" y="318"/>
                </a:lnTo>
                <a:lnTo>
                  <a:pt x="5080" y="334"/>
                </a:lnTo>
                <a:lnTo>
                  <a:pt x="5079" y="350"/>
                </a:lnTo>
                <a:lnTo>
                  <a:pt x="5078" y="365"/>
                </a:lnTo>
                <a:lnTo>
                  <a:pt x="5076" y="380"/>
                </a:lnTo>
                <a:lnTo>
                  <a:pt x="5073" y="396"/>
                </a:lnTo>
                <a:lnTo>
                  <a:pt x="5069" y="411"/>
                </a:lnTo>
                <a:lnTo>
                  <a:pt x="5066" y="425"/>
                </a:lnTo>
                <a:lnTo>
                  <a:pt x="5062" y="439"/>
                </a:lnTo>
                <a:lnTo>
                  <a:pt x="5057" y="454"/>
                </a:lnTo>
                <a:lnTo>
                  <a:pt x="5053" y="468"/>
                </a:lnTo>
                <a:lnTo>
                  <a:pt x="5047" y="481"/>
                </a:lnTo>
                <a:lnTo>
                  <a:pt x="5042" y="494"/>
                </a:lnTo>
                <a:lnTo>
                  <a:pt x="5036" y="506"/>
                </a:lnTo>
                <a:lnTo>
                  <a:pt x="5029" y="519"/>
                </a:lnTo>
                <a:lnTo>
                  <a:pt x="5022" y="531"/>
                </a:lnTo>
                <a:lnTo>
                  <a:pt x="5015" y="542"/>
                </a:lnTo>
                <a:lnTo>
                  <a:pt x="5006" y="553"/>
                </a:lnTo>
                <a:lnTo>
                  <a:pt x="4998" y="563"/>
                </a:lnTo>
                <a:lnTo>
                  <a:pt x="4990" y="573"/>
                </a:lnTo>
                <a:lnTo>
                  <a:pt x="4981" y="582"/>
                </a:lnTo>
                <a:lnTo>
                  <a:pt x="4972" y="591"/>
                </a:lnTo>
                <a:lnTo>
                  <a:pt x="4963" y="599"/>
                </a:lnTo>
                <a:lnTo>
                  <a:pt x="4953" y="606"/>
                </a:lnTo>
                <a:lnTo>
                  <a:pt x="4942" y="612"/>
                </a:lnTo>
                <a:lnTo>
                  <a:pt x="4932" y="618"/>
                </a:lnTo>
                <a:lnTo>
                  <a:pt x="4921" y="624"/>
                </a:lnTo>
                <a:lnTo>
                  <a:pt x="4910" y="628"/>
                </a:lnTo>
                <a:lnTo>
                  <a:pt x="4899" y="633"/>
                </a:lnTo>
                <a:lnTo>
                  <a:pt x="4886" y="636"/>
                </a:lnTo>
                <a:lnTo>
                  <a:pt x="4875" y="638"/>
                </a:lnTo>
                <a:lnTo>
                  <a:pt x="4863" y="639"/>
                </a:lnTo>
                <a:lnTo>
                  <a:pt x="4851" y="639"/>
                </a:lnTo>
                <a:close/>
                <a:moveTo>
                  <a:pt x="5237" y="634"/>
                </a:moveTo>
                <a:lnTo>
                  <a:pt x="5236" y="633"/>
                </a:lnTo>
                <a:lnTo>
                  <a:pt x="5233" y="633"/>
                </a:lnTo>
                <a:lnTo>
                  <a:pt x="5228" y="629"/>
                </a:lnTo>
                <a:lnTo>
                  <a:pt x="5222" y="625"/>
                </a:lnTo>
                <a:lnTo>
                  <a:pt x="5214" y="619"/>
                </a:lnTo>
                <a:lnTo>
                  <a:pt x="5202" y="608"/>
                </a:lnTo>
                <a:lnTo>
                  <a:pt x="5186" y="595"/>
                </a:lnTo>
                <a:lnTo>
                  <a:pt x="5169" y="579"/>
                </a:lnTo>
                <a:lnTo>
                  <a:pt x="5153" y="561"/>
                </a:lnTo>
                <a:lnTo>
                  <a:pt x="5137" y="544"/>
                </a:lnTo>
                <a:lnTo>
                  <a:pt x="5122" y="527"/>
                </a:lnTo>
                <a:lnTo>
                  <a:pt x="5110" y="513"/>
                </a:lnTo>
                <a:lnTo>
                  <a:pt x="5106" y="506"/>
                </a:lnTo>
                <a:lnTo>
                  <a:pt x="5103" y="501"/>
                </a:lnTo>
                <a:lnTo>
                  <a:pt x="5097" y="490"/>
                </a:lnTo>
                <a:lnTo>
                  <a:pt x="5094" y="481"/>
                </a:lnTo>
                <a:lnTo>
                  <a:pt x="5091" y="471"/>
                </a:lnTo>
                <a:lnTo>
                  <a:pt x="5090" y="461"/>
                </a:lnTo>
                <a:lnTo>
                  <a:pt x="5091" y="456"/>
                </a:lnTo>
                <a:lnTo>
                  <a:pt x="5091" y="449"/>
                </a:lnTo>
                <a:lnTo>
                  <a:pt x="5093" y="443"/>
                </a:lnTo>
                <a:lnTo>
                  <a:pt x="5095" y="437"/>
                </a:lnTo>
                <a:lnTo>
                  <a:pt x="5097" y="431"/>
                </a:lnTo>
                <a:lnTo>
                  <a:pt x="5101" y="424"/>
                </a:lnTo>
                <a:lnTo>
                  <a:pt x="5104" y="418"/>
                </a:lnTo>
                <a:lnTo>
                  <a:pt x="5109" y="411"/>
                </a:lnTo>
                <a:lnTo>
                  <a:pt x="5117" y="400"/>
                </a:lnTo>
                <a:lnTo>
                  <a:pt x="5128" y="385"/>
                </a:lnTo>
                <a:lnTo>
                  <a:pt x="5159" y="352"/>
                </a:lnTo>
                <a:lnTo>
                  <a:pt x="5195" y="312"/>
                </a:lnTo>
                <a:lnTo>
                  <a:pt x="5230" y="270"/>
                </a:lnTo>
                <a:lnTo>
                  <a:pt x="5231" y="270"/>
                </a:lnTo>
                <a:lnTo>
                  <a:pt x="5234" y="270"/>
                </a:lnTo>
                <a:lnTo>
                  <a:pt x="5238" y="270"/>
                </a:lnTo>
                <a:lnTo>
                  <a:pt x="5242" y="272"/>
                </a:lnTo>
                <a:lnTo>
                  <a:pt x="5246" y="274"/>
                </a:lnTo>
                <a:lnTo>
                  <a:pt x="5252" y="276"/>
                </a:lnTo>
                <a:lnTo>
                  <a:pt x="5256" y="280"/>
                </a:lnTo>
                <a:lnTo>
                  <a:pt x="5260" y="283"/>
                </a:lnTo>
                <a:lnTo>
                  <a:pt x="5263" y="288"/>
                </a:lnTo>
                <a:lnTo>
                  <a:pt x="5266" y="292"/>
                </a:lnTo>
                <a:lnTo>
                  <a:pt x="5267" y="297"/>
                </a:lnTo>
                <a:lnTo>
                  <a:pt x="5268" y="302"/>
                </a:lnTo>
                <a:lnTo>
                  <a:pt x="5267" y="307"/>
                </a:lnTo>
                <a:lnTo>
                  <a:pt x="5265" y="313"/>
                </a:lnTo>
                <a:lnTo>
                  <a:pt x="5263" y="318"/>
                </a:lnTo>
                <a:lnTo>
                  <a:pt x="5259" y="324"/>
                </a:lnTo>
                <a:lnTo>
                  <a:pt x="5251" y="336"/>
                </a:lnTo>
                <a:lnTo>
                  <a:pt x="5238" y="349"/>
                </a:lnTo>
                <a:lnTo>
                  <a:pt x="5209" y="382"/>
                </a:lnTo>
                <a:lnTo>
                  <a:pt x="5179" y="416"/>
                </a:lnTo>
                <a:lnTo>
                  <a:pt x="5166" y="431"/>
                </a:lnTo>
                <a:lnTo>
                  <a:pt x="5157" y="442"/>
                </a:lnTo>
                <a:lnTo>
                  <a:pt x="5155" y="446"/>
                </a:lnTo>
                <a:lnTo>
                  <a:pt x="5153" y="450"/>
                </a:lnTo>
                <a:lnTo>
                  <a:pt x="5152" y="454"/>
                </a:lnTo>
                <a:lnTo>
                  <a:pt x="5151" y="458"/>
                </a:lnTo>
                <a:lnTo>
                  <a:pt x="5152" y="462"/>
                </a:lnTo>
                <a:lnTo>
                  <a:pt x="5153" y="467"/>
                </a:lnTo>
                <a:lnTo>
                  <a:pt x="5155" y="471"/>
                </a:lnTo>
                <a:lnTo>
                  <a:pt x="5158" y="476"/>
                </a:lnTo>
                <a:lnTo>
                  <a:pt x="5166" y="485"/>
                </a:lnTo>
                <a:lnTo>
                  <a:pt x="5176" y="497"/>
                </a:lnTo>
                <a:lnTo>
                  <a:pt x="5205" y="527"/>
                </a:lnTo>
                <a:lnTo>
                  <a:pt x="5236" y="559"/>
                </a:lnTo>
                <a:lnTo>
                  <a:pt x="5268" y="590"/>
                </a:lnTo>
                <a:lnTo>
                  <a:pt x="5270" y="592"/>
                </a:lnTo>
                <a:lnTo>
                  <a:pt x="5272" y="594"/>
                </a:lnTo>
                <a:lnTo>
                  <a:pt x="5273" y="596"/>
                </a:lnTo>
                <a:lnTo>
                  <a:pt x="5273" y="599"/>
                </a:lnTo>
                <a:lnTo>
                  <a:pt x="5272" y="604"/>
                </a:lnTo>
                <a:lnTo>
                  <a:pt x="5271" y="607"/>
                </a:lnTo>
                <a:lnTo>
                  <a:pt x="5270" y="610"/>
                </a:lnTo>
                <a:lnTo>
                  <a:pt x="5266" y="616"/>
                </a:lnTo>
                <a:lnTo>
                  <a:pt x="5264" y="618"/>
                </a:lnTo>
                <a:lnTo>
                  <a:pt x="5261" y="621"/>
                </a:lnTo>
                <a:lnTo>
                  <a:pt x="5256" y="626"/>
                </a:lnTo>
                <a:lnTo>
                  <a:pt x="5253" y="628"/>
                </a:lnTo>
                <a:lnTo>
                  <a:pt x="5249" y="629"/>
                </a:lnTo>
                <a:lnTo>
                  <a:pt x="5243" y="633"/>
                </a:lnTo>
                <a:lnTo>
                  <a:pt x="5240" y="633"/>
                </a:lnTo>
                <a:lnTo>
                  <a:pt x="5237" y="634"/>
                </a:lnTo>
                <a:close/>
                <a:moveTo>
                  <a:pt x="4851" y="1633"/>
                </a:moveTo>
                <a:lnTo>
                  <a:pt x="4843" y="1632"/>
                </a:lnTo>
                <a:lnTo>
                  <a:pt x="4835" y="1632"/>
                </a:lnTo>
                <a:lnTo>
                  <a:pt x="4827" y="1631"/>
                </a:lnTo>
                <a:lnTo>
                  <a:pt x="4820" y="1629"/>
                </a:lnTo>
                <a:lnTo>
                  <a:pt x="4812" y="1627"/>
                </a:lnTo>
                <a:lnTo>
                  <a:pt x="4805" y="1625"/>
                </a:lnTo>
                <a:lnTo>
                  <a:pt x="4792" y="1619"/>
                </a:lnTo>
                <a:lnTo>
                  <a:pt x="4778" y="1612"/>
                </a:lnTo>
                <a:lnTo>
                  <a:pt x="4772" y="1608"/>
                </a:lnTo>
                <a:lnTo>
                  <a:pt x="4765" y="1603"/>
                </a:lnTo>
                <a:lnTo>
                  <a:pt x="4759" y="1598"/>
                </a:lnTo>
                <a:lnTo>
                  <a:pt x="4754" y="1593"/>
                </a:lnTo>
                <a:lnTo>
                  <a:pt x="4748" y="1587"/>
                </a:lnTo>
                <a:lnTo>
                  <a:pt x="4743" y="1581"/>
                </a:lnTo>
                <a:lnTo>
                  <a:pt x="4738" y="1575"/>
                </a:lnTo>
                <a:lnTo>
                  <a:pt x="4733" y="1568"/>
                </a:lnTo>
                <a:lnTo>
                  <a:pt x="4729" y="1562"/>
                </a:lnTo>
                <a:lnTo>
                  <a:pt x="4725" y="1555"/>
                </a:lnTo>
                <a:lnTo>
                  <a:pt x="4721" y="1548"/>
                </a:lnTo>
                <a:lnTo>
                  <a:pt x="4717" y="1540"/>
                </a:lnTo>
                <a:lnTo>
                  <a:pt x="4714" y="1533"/>
                </a:lnTo>
                <a:lnTo>
                  <a:pt x="4711" y="1524"/>
                </a:lnTo>
                <a:lnTo>
                  <a:pt x="4707" y="1516"/>
                </a:lnTo>
                <a:lnTo>
                  <a:pt x="4705" y="1508"/>
                </a:lnTo>
                <a:lnTo>
                  <a:pt x="4703" y="1500"/>
                </a:lnTo>
                <a:lnTo>
                  <a:pt x="4701" y="1491"/>
                </a:lnTo>
                <a:lnTo>
                  <a:pt x="4700" y="1482"/>
                </a:lnTo>
                <a:lnTo>
                  <a:pt x="4699" y="1473"/>
                </a:lnTo>
                <a:lnTo>
                  <a:pt x="4698" y="1463"/>
                </a:lnTo>
                <a:lnTo>
                  <a:pt x="4698" y="1454"/>
                </a:lnTo>
                <a:lnTo>
                  <a:pt x="4699" y="1436"/>
                </a:lnTo>
                <a:lnTo>
                  <a:pt x="4700" y="1426"/>
                </a:lnTo>
                <a:lnTo>
                  <a:pt x="4701" y="1417"/>
                </a:lnTo>
                <a:lnTo>
                  <a:pt x="4703" y="1407"/>
                </a:lnTo>
                <a:lnTo>
                  <a:pt x="4705" y="1398"/>
                </a:lnTo>
                <a:lnTo>
                  <a:pt x="4708" y="1390"/>
                </a:lnTo>
                <a:lnTo>
                  <a:pt x="4712" y="1381"/>
                </a:lnTo>
                <a:lnTo>
                  <a:pt x="4715" y="1373"/>
                </a:lnTo>
                <a:lnTo>
                  <a:pt x="4718" y="1364"/>
                </a:lnTo>
                <a:lnTo>
                  <a:pt x="4722" y="1356"/>
                </a:lnTo>
                <a:lnTo>
                  <a:pt x="4726" y="1348"/>
                </a:lnTo>
                <a:lnTo>
                  <a:pt x="4730" y="1340"/>
                </a:lnTo>
                <a:lnTo>
                  <a:pt x="4735" y="1333"/>
                </a:lnTo>
                <a:lnTo>
                  <a:pt x="4745" y="1319"/>
                </a:lnTo>
                <a:lnTo>
                  <a:pt x="4751" y="1312"/>
                </a:lnTo>
                <a:lnTo>
                  <a:pt x="4757" y="1306"/>
                </a:lnTo>
                <a:lnTo>
                  <a:pt x="4769" y="1295"/>
                </a:lnTo>
                <a:lnTo>
                  <a:pt x="4776" y="1289"/>
                </a:lnTo>
                <a:lnTo>
                  <a:pt x="4783" y="1284"/>
                </a:lnTo>
                <a:lnTo>
                  <a:pt x="4790" y="1279"/>
                </a:lnTo>
                <a:lnTo>
                  <a:pt x="4797" y="1275"/>
                </a:lnTo>
                <a:lnTo>
                  <a:pt x="4804" y="1272"/>
                </a:lnTo>
                <a:lnTo>
                  <a:pt x="4812" y="1269"/>
                </a:lnTo>
                <a:lnTo>
                  <a:pt x="4819" y="1266"/>
                </a:lnTo>
                <a:lnTo>
                  <a:pt x="4827" y="1264"/>
                </a:lnTo>
                <a:lnTo>
                  <a:pt x="4836" y="1262"/>
                </a:lnTo>
                <a:lnTo>
                  <a:pt x="4844" y="1260"/>
                </a:lnTo>
                <a:lnTo>
                  <a:pt x="4852" y="1260"/>
                </a:lnTo>
                <a:lnTo>
                  <a:pt x="4860" y="1259"/>
                </a:lnTo>
                <a:lnTo>
                  <a:pt x="4870" y="1260"/>
                </a:lnTo>
                <a:lnTo>
                  <a:pt x="4875" y="1260"/>
                </a:lnTo>
                <a:lnTo>
                  <a:pt x="4880" y="1261"/>
                </a:lnTo>
                <a:lnTo>
                  <a:pt x="4885" y="1262"/>
                </a:lnTo>
                <a:lnTo>
                  <a:pt x="4889" y="1263"/>
                </a:lnTo>
                <a:lnTo>
                  <a:pt x="4899" y="1267"/>
                </a:lnTo>
                <a:lnTo>
                  <a:pt x="4906" y="1270"/>
                </a:lnTo>
                <a:lnTo>
                  <a:pt x="4914" y="1275"/>
                </a:lnTo>
                <a:lnTo>
                  <a:pt x="4920" y="1280"/>
                </a:lnTo>
                <a:lnTo>
                  <a:pt x="4926" y="1286"/>
                </a:lnTo>
                <a:lnTo>
                  <a:pt x="4929" y="1290"/>
                </a:lnTo>
                <a:lnTo>
                  <a:pt x="4932" y="1294"/>
                </a:lnTo>
                <a:lnTo>
                  <a:pt x="4937" y="1301"/>
                </a:lnTo>
                <a:lnTo>
                  <a:pt x="4941" y="1309"/>
                </a:lnTo>
                <a:lnTo>
                  <a:pt x="4944" y="1317"/>
                </a:lnTo>
                <a:lnTo>
                  <a:pt x="4947" y="1326"/>
                </a:lnTo>
                <a:lnTo>
                  <a:pt x="4949" y="1335"/>
                </a:lnTo>
                <a:lnTo>
                  <a:pt x="4951" y="1345"/>
                </a:lnTo>
                <a:lnTo>
                  <a:pt x="4951" y="1356"/>
                </a:lnTo>
                <a:lnTo>
                  <a:pt x="4949" y="1368"/>
                </a:lnTo>
                <a:lnTo>
                  <a:pt x="4948" y="1374"/>
                </a:lnTo>
                <a:lnTo>
                  <a:pt x="4947" y="1380"/>
                </a:lnTo>
                <a:lnTo>
                  <a:pt x="4943" y="1392"/>
                </a:lnTo>
                <a:lnTo>
                  <a:pt x="4938" y="1404"/>
                </a:lnTo>
                <a:lnTo>
                  <a:pt x="4932" y="1416"/>
                </a:lnTo>
                <a:lnTo>
                  <a:pt x="4925" y="1427"/>
                </a:lnTo>
                <a:lnTo>
                  <a:pt x="4921" y="1432"/>
                </a:lnTo>
                <a:lnTo>
                  <a:pt x="4916" y="1437"/>
                </a:lnTo>
                <a:lnTo>
                  <a:pt x="4907" y="1446"/>
                </a:lnTo>
                <a:lnTo>
                  <a:pt x="4897" y="1454"/>
                </a:lnTo>
                <a:lnTo>
                  <a:pt x="4892" y="1458"/>
                </a:lnTo>
                <a:lnTo>
                  <a:pt x="4885" y="1462"/>
                </a:lnTo>
                <a:lnTo>
                  <a:pt x="4874" y="1469"/>
                </a:lnTo>
                <a:lnTo>
                  <a:pt x="4863" y="1475"/>
                </a:lnTo>
                <a:lnTo>
                  <a:pt x="4850" y="1480"/>
                </a:lnTo>
                <a:lnTo>
                  <a:pt x="4844" y="1482"/>
                </a:lnTo>
                <a:lnTo>
                  <a:pt x="4838" y="1483"/>
                </a:lnTo>
                <a:lnTo>
                  <a:pt x="4832" y="1484"/>
                </a:lnTo>
                <a:lnTo>
                  <a:pt x="4825" y="1485"/>
                </a:lnTo>
                <a:lnTo>
                  <a:pt x="4812" y="1486"/>
                </a:lnTo>
                <a:lnTo>
                  <a:pt x="4807" y="1485"/>
                </a:lnTo>
                <a:lnTo>
                  <a:pt x="4802" y="1483"/>
                </a:lnTo>
                <a:lnTo>
                  <a:pt x="4797" y="1481"/>
                </a:lnTo>
                <a:lnTo>
                  <a:pt x="4795" y="1479"/>
                </a:lnTo>
                <a:lnTo>
                  <a:pt x="4793" y="1477"/>
                </a:lnTo>
                <a:lnTo>
                  <a:pt x="4790" y="1472"/>
                </a:lnTo>
                <a:lnTo>
                  <a:pt x="4788" y="1466"/>
                </a:lnTo>
                <a:lnTo>
                  <a:pt x="4787" y="1463"/>
                </a:lnTo>
                <a:lnTo>
                  <a:pt x="4786" y="1460"/>
                </a:lnTo>
                <a:lnTo>
                  <a:pt x="4786" y="1454"/>
                </a:lnTo>
                <a:lnTo>
                  <a:pt x="4786" y="1451"/>
                </a:lnTo>
                <a:lnTo>
                  <a:pt x="4786" y="1448"/>
                </a:lnTo>
                <a:lnTo>
                  <a:pt x="4787" y="1443"/>
                </a:lnTo>
                <a:lnTo>
                  <a:pt x="4788" y="1441"/>
                </a:lnTo>
                <a:lnTo>
                  <a:pt x="4790" y="1439"/>
                </a:lnTo>
                <a:lnTo>
                  <a:pt x="4791" y="1438"/>
                </a:lnTo>
                <a:lnTo>
                  <a:pt x="4793" y="1436"/>
                </a:lnTo>
                <a:lnTo>
                  <a:pt x="4804" y="1434"/>
                </a:lnTo>
                <a:lnTo>
                  <a:pt x="4814" y="1432"/>
                </a:lnTo>
                <a:lnTo>
                  <a:pt x="4824" y="1428"/>
                </a:lnTo>
                <a:lnTo>
                  <a:pt x="4835" y="1424"/>
                </a:lnTo>
                <a:lnTo>
                  <a:pt x="4844" y="1420"/>
                </a:lnTo>
                <a:lnTo>
                  <a:pt x="4852" y="1415"/>
                </a:lnTo>
                <a:lnTo>
                  <a:pt x="4860" y="1408"/>
                </a:lnTo>
                <a:lnTo>
                  <a:pt x="4864" y="1406"/>
                </a:lnTo>
                <a:lnTo>
                  <a:pt x="4868" y="1403"/>
                </a:lnTo>
                <a:lnTo>
                  <a:pt x="4874" y="1396"/>
                </a:lnTo>
                <a:lnTo>
                  <a:pt x="4880" y="1390"/>
                </a:lnTo>
                <a:lnTo>
                  <a:pt x="4885" y="1383"/>
                </a:lnTo>
                <a:lnTo>
                  <a:pt x="4889" y="1376"/>
                </a:lnTo>
                <a:lnTo>
                  <a:pt x="4893" y="1369"/>
                </a:lnTo>
                <a:lnTo>
                  <a:pt x="4896" y="1362"/>
                </a:lnTo>
                <a:lnTo>
                  <a:pt x="4897" y="1355"/>
                </a:lnTo>
                <a:lnTo>
                  <a:pt x="4898" y="1347"/>
                </a:lnTo>
                <a:lnTo>
                  <a:pt x="4897" y="1339"/>
                </a:lnTo>
                <a:lnTo>
                  <a:pt x="4895" y="1332"/>
                </a:lnTo>
                <a:lnTo>
                  <a:pt x="4893" y="1328"/>
                </a:lnTo>
                <a:lnTo>
                  <a:pt x="4891" y="1325"/>
                </a:lnTo>
                <a:lnTo>
                  <a:pt x="4888" y="1323"/>
                </a:lnTo>
                <a:lnTo>
                  <a:pt x="4886" y="1320"/>
                </a:lnTo>
                <a:lnTo>
                  <a:pt x="4880" y="1316"/>
                </a:lnTo>
                <a:lnTo>
                  <a:pt x="4877" y="1314"/>
                </a:lnTo>
                <a:lnTo>
                  <a:pt x="4873" y="1313"/>
                </a:lnTo>
                <a:lnTo>
                  <a:pt x="4865" y="1311"/>
                </a:lnTo>
                <a:lnTo>
                  <a:pt x="4861" y="1310"/>
                </a:lnTo>
                <a:lnTo>
                  <a:pt x="4856" y="1310"/>
                </a:lnTo>
                <a:lnTo>
                  <a:pt x="4848" y="1311"/>
                </a:lnTo>
                <a:lnTo>
                  <a:pt x="4843" y="1312"/>
                </a:lnTo>
                <a:lnTo>
                  <a:pt x="4839" y="1313"/>
                </a:lnTo>
                <a:lnTo>
                  <a:pt x="4834" y="1315"/>
                </a:lnTo>
                <a:lnTo>
                  <a:pt x="4829" y="1316"/>
                </a:lnTo>
                <a:lnTo>
                  <a:pt x="4825" y="1319"/>
                </a:lnTo>
                <a:lnTo>
                  <a:pt x="4820" y="1321"/>
                </a:lnTo>
                <a:lnTo>
                  <a:pt x="4816" y="1324"/>
                </a:lnTo>
                <a:lnTo>
                  <a:pt x="4812" y="1327"/>
                </a:lnTo>
                <a:lnTo>
                  <a:pt x="4803" y="1334"/>
                </a:lnTo>
                <a:lnTo>
                  <a:pt x="4796" y="1342"/>
                </a:lnTo>
                <a:lnTo>
                  <a:pt x="4788" y="1352"/>
                </a:lnTo>
                <a:lnTo>
                  <a:pt x="4785" y="1357"/>
                </a:lnTo>
                <a:lnTo>
                  <a:pt x="4781" y="1362"/>
                </a:lnTo>
                <a:lnTo>
                  <a:pt x="4775" y="1373"/>
                </a:lnTo>
                <a:lnTo>
                  <a:pt x="4768" y="1384"/>
                </a:lnTo>
                <a:lnTo>
                  <a:pt x="4764" y="1397"/>
                </a:lnTo>
                <a:lnTo>
                  <a:pt x="4760" y="1409"/>
                </a:lnTo>
                <a:lnTo>
                  <a:pt x="4757" y="1424"/>
                </a:lnTo>
                <a:lnTo>
                  <a:pt x="4755" y="1438"/>
                </a:lnTo>
                <a:lnTo>
                  <a:pt x="4755" y="1445"/>
                </a:lnTo>
                <a:lnTo>
                  <a:pt x="4755" y="1452"/>
                </a:lnTo>
                <a:lnTo>
                  <a:pt x="4755" y="1464"/>
                </a:lnTo>
                <a:lnTo>
                  <a:pt x="4756" y="1478"/>
                </a:lnTo>
                <a:lnTo>
                  <a:pt x="4759" y="1489"/>
                </a:lnTo>
                <a:lnTo>
                  <a:pt x="4760" y="1495"/>
                </a:lnTo>
                <a:lnTo>
                  <a:pt x="4762" y="1500"/>
                </a:lnTo>
                <a:lnTo>
                  <a:pt x="4765" y="1511"/>
                </a:lnTo>
                <a:lnTo>
                  <a:pt x="4767" y="1516"/>
                </a:lnTo>
                <a:lnTo>
                  <a:pt x="4771" y="1521"/>
                </a:lnTo>
                <a:lnTo>
                  <a:pt x="4773" y="1525"/>
                </a:lnTo>
                <a:lnTo>
                  <a:pt x="4776" y="1530"/>
                </a:lnTo>
                <a:lnTo>
                  <a:pt x="4779" y="1535"/>
                </a:lnTo>
                <a:lnTo>
                  <a:pt x="4782" y="1539"/>
                </a:lnTo>
                <a:lnTo>
                  <a:pt x="4785" y="1543"/>
                </a:lnTo>
                <a:lnTo>
                  <a:pt x="4788" y="1546"/>
                </a:lnTo>
                <a:lnTo>
                  <a:pt x="4796" y="1553"/>
                </a:lnTo>
                <a:lnTo>
                  <a:pt x="4804" y="1559"/>
                </a:lnTo>
                <a:lnTo>
                  <a:pt x="4812" y="1563"/>
                </a:lnTo>
                <a:lnTo>
                  <a:pt x="4821" y="1567"/>
                </a:lnTo>
                <a:lnTo>
                  <a:pt x="4832" y="1570"/>
                </a:lnTo>
                <a:lnTo>
                  <a:pt x="4842" y="1572"/>
                </a:lnTo>
                <a:lnTo>
                  <a:pt x="4847" y="1572"/>
                </a:lnTo>
                <a:lnTo>
                  <a:pt x="4853" y="1572"/>
                </a:lnTo>
                <a:lnTo>
                  <a:pt x="4863" y="1572"/>
                </a:lnTo>
                <a:lnTo>
                  <a:pt x="4873" y="1570"/>
                </a:lnTo>
                <a:lnTo>
                  <a:pt x="4883" y="1568"/>
                </a:lnTo>
                <a:lnTo>
                  <a:pt x="4894" y="1564"/>
                </a:lnTo>
                <a:lnTo>
                  <a:pt x="4903" y="1560"/>
                </a:lnTo>
                <a:lnTo>
                  <a:pt x="4912" y="1555"/>
                </a:lnTo>
                <a:lnTo>
                  <a:pt x="4921" y="1549"/>
                </a:lnTo>
                <a:lnTo>
                  <a:pt x="4929" y="1543"/>
                </a:lnTo>
                <a:lnTo>
                  <a:pt x="4937" y="1536"/>
                </a:lnTo>
                <a:lnTo>
                  <a:pt x="4944" y="1527"/>
                </a:lnTo>
                <a:lnTo>
                  <a:pt x="4953" y="1518"/>
                </a:lnTo>
                <a:lnTo>
                  <a:pt x="4960" y="1509"/>
                </a:lnTo>
                <a:lnTo>
                  <a:pt x="4973" y="1490"/>
                </a:lnTo>
                <a:lnTo>
                  <a:pt x="4979" y="1479"/>
                </a:lnTo>
                <a:lnTo>
                  <a:pt x="4984" y="1468"/>
                </a:lnTo>
                <a:lnTo>
                  <a:pt x="4989" y="1457"/>
                </a:lnTo>
                <a:lnTo>
                  <a:pt x="4994" y="1445"/>
                </a:lnTo>
                <a:lnTo>
                  <a:pt x="4999" y="1434"/>
                </a:lnTo>
                <a:lnTo>
                  <a:pt x="5003" y="1422"/>
                </a:lnTo>
                <a:lnTo>
                  <a:pt x="5007" y="1409"/>
                </a:lnTo>
                <a:lnTo>
                  <a:pt x="5011" y="1397"/>
                </a:lnTo>
                <a:lnTo>
                  <a:pt x="5014" y="1385"/>
                </a:lnTo>
                <a:lnTo>
                  <a:pt x="5017" y="1373"/>
                </a:lnTo>
                <a:lnTo>
                  <a:pt x="5019" y="1361"/>
                </a:lnTo>
                <a:lnTo>
                  <a:pt x="5021" y="1348"/>
                </a:lnTo>
                <a:lnTo>
                  <a:pt x="5022" y="1337"/>
                </a:lnTo>
                <a:lnTo>
                  <a:pt x="5023" y="1325"/>
                </a:lnTo>
                <a:lnTo>
                  <a:pt x="5024" y="1314"/>
                </a:lnTo>
                <a:lnTo>
                  <a:pt x="5024" y="1303"/>
                </a:lnTo>
                <a:lnTo>
                  <a:pt x="5024" y="1292"/>
                </a:lnTo>
                <a:lnTo>
                  <a:pt x="5024" y="1280"/>
                </a:lnTo>
                <a:lnTo>
                  <a:pt x="5025" y="1278"/>
                </a:lnTo>
                <a:lnTo>
                  <a:pt x="5026" y="1276"/>
                </a:lnTo>
                <a:lnTo>
                  <a:pt x="5028" y="1274"/>
                </a:lnTo>
                <a:lnTo>
                  <a:pt x="5031" y="1272"/>
                </a:lnTo>
                <a:lnTo>
                  <a:pt x="5038" y="1269"/>
                </a:lnTo>
                <a:lnTo>
                  <a:pt x="5042" y="1269"/>
                </a:lnTo>
                <a:lnTo>
                  <a:pt x="5046" y="1268"/>
                </a:lnTo>
                <a:lnTo>
                  <a:pt x="5053" y="1269"/>
                </a:lnTo>
                <a:lnTo>
                  <a:pt x="5056" y="1269"/>
                </a:lnTo>
                <a:lnTo>
                  <a:pt x="5060" y="1270"/>
                </a:lnTo>
                <a:lnTo>
                  <a:pt x="5065" y="1273"/>
                </a:lnTo>
                <a:lnTo>
                  <a:pt x="5068" y="1275"/>
                </a:lnTo>
                <a:lnTo>
                  <a:pt x="5071" y="1277"/>
                </a:lnTo>
                <a:lnTo>
                  <a:pt x="5075" y="1283"/>
                </a:lnTo>
                <a:lnTo>
                  <a:pt x="5077" y="1287"/>
                </a:lnTo>
                <a:lnTo>
                  <a:pt x="5078" y="1292"/>
                </a:lnTo>
                <a:lnTo>
                  <a:pt x="5079" y="1296"/>
                </a:lnTo>
                <a:lnTo>
                  <a:pt x="5080" y="1301"/>
                </a:lnTo>
                <a:lnTo>
                  <a:pt x="5081" y="1306"/>
                </a:lnTo>
                <a:lnTo>
                  <a:pt x="5081" y="1312"/>
                </a:lnTo>
                <a:lnTo>
                  <a:pt x="5080" y="1328"/>
                </a:lnTo>
                <a:lnTo>
                  <a:pt x="5079" y="1343"/>
                </a:lnTo>
                <a:lnTo>
                  <a:pt x="5078" y="1359"/>
                </a:lnTo>
                <a:lnTo>
                  <a:pt x="5076" y="1374"/>
                </a:lnTo>
                <a:lnTo>
                  <a:pt x="5073" y="1389"/>
                </a:lnTo>
                <a:lnTo>
                  <a:pt x="5069" y="1404"/>
                </a:lnTo>
                <a:lnTo>
                  <a:pt x="5066" y="1419"/>
                </a:lnTo>
                <a:lnTo>
                  <a:pt x="5062" y="1434"/>
                </a:lnTo>
                <a:lnTo>
                  <a:pt x="5057" y="1447"/>
                </a:lnTo>
                <a:lnTo>
                  <a:pt x="5053" y="1461"/>
                </a:lnTo>
                <a:lnTo>
                  <a:pt x="5047" y="1475"/>
                </a:lnTo>
                <a:lnTo>
                  <a:pt x="5042" y="1488"/>
                </a:lnTo>
                <a:lnTo>
                  <a:pt x="5036" y="1500"/>
                </a:lnTo>
                <a:lnTo>
                  <a:pt x="5029" y="1512"/>
                </a:lnTo>
                <a:lnTo>
                  <a:pt x="5022" y="1524"/>
                </a:lnTo>
                <a:lnTo>
                  <a:pt x="5015" y="1536"/>
                </a:lnTo>
                <a:lnTo>
                  <a:pt x="5006" y="1547"/>
                </a:lnTo>
                <a:lnTo>
                  <a:pt x="4998" y="1557"/>
                </a:lnTo>
                <a:lnTo>
                  <a:pt x="4990" y="1567"/>
                </a:lnTo>
                <a:lnTo>
                  <a:pt x="4981" y="1576"/>
                </a:lnTo>
                <a:lnTo>
                  <a:pt x="4972" y="1584"/>
                </a:lnTo>
                <a:lnTo>
                  <a:pt x="4963" y="1593"/>
                </a:lnTo>
                <a:lnTo>
                  <a:pt x="4953" y="1600"/>
                </a:lnTo>
                <a:lnTo>
                  <a:pt x="4942" y="1607"/>
                </a:lnTo>
                <a:lnTo>
                  <a:pt x="4932" y="1613"/>
                </a:lnTo>
                <a:lnTo>
                  <a:pt x="4921" y="1618"/>
                </a:lnTo>
                <a:lnTo>
                  <a:pt x="4910" y="1622"/>
                </a:lnTo>
                <a:lnTo>
                  <a:pt x="4899" y="1626"/>
                </a:lnTo>
                <a:lnTo>
                  <a:pt x="4886" y="1629"/>
                </a:lnTo>
                <a:lnTo>
                  <a:pt x="4875" y="1631"/>
                </a:lnTo>
                <a:lnTo>
                  <a:pt x="4863" y="1632"/>
                </a:lnTo>
                <a:lnTo>
                  <a:pt x="4851" y="1633"/>
                </a:lnTo>
                <a:close/>
                <a:moveTo>
                  <a:pt x="5237" y="1627"/>
                </a:moveTo>
                <a:lnTo>
                  <a:pt x="5236" y="1627"/>
                </a:lnTo>
                <a:lnTo>
                  <a:pt x="5233" y="1626"/>
                </a:lnTo>
                <a:lnTo>
                  <a:pt x="5228" y="1623"/>
                </a:lnTo>
                <a:lnTo>
                  <a:pt x="5222" y="1619"/>
                </a:lnTo>
                <a:lnTo>
                  <a:pt x="5214" y="1613"/>
                </a:lnTo>
                <a:lnTo>
                  <a:pt x="5202" y="1603"/>
                </a:lnTo>
                <a:lnTo>
                  <a:pt x="5186" y="1588"/>
                </a:lnTo>
                <a:lnTo>
                  <a:pt x="5169" y="1572"/>
                </a:lnTo>
                <a:lnTo>
                  <a:pt x="5153" y="1555"/>
                </a:lnTo>
                <a:lnTo>
                  <a:pt x="5137" y="1538"/>
                </a:lnTo>
                <a:lnTo>
                  <a:pt x="5122" y="1521"/>
                </a:lnTo>
                <a:lnTo>
                  <a:pt x="5110" y="1506"/>
                </a:lnTo>
                <a:lnTo>
                  <a:pt x="5106" y="1500"/>
                </a:lnTo>
                <a:lnTo>
                  <a:pt x="5103" y="1495"/>
                </a:lnTo>
                <a:lnTo>
                  <a:pt x="5097" y="1485"/>
                </a:lnTo>
                <a:lnTo>
                  <a:pt x="5094" y="1475"/>
                </a:lnTo>
                <a:lnTo>
                  <a:pt x="5091" y="1464"/>
                </a:lnTo>
                <a:lnTo>
                  <a:pt x="5090" y="1454"/>
                </a:lnTo>
                <a:lnTo>
                  <a:pt x="5091" y="1449"/>
                </a:lnTo>
                <a:lnTo>
                  <a:pt x="5091" y="1443"/>
                </a:lnTo>
                <a:lnTo>
                  <a:pt x="5093" y="1437"/>
                </a:lnTo>
                <a:lnTo>
                  <a:pt x="5095" y="1431"/>
                </a:lnTo>
                <a:lnTo>
                  <a:pt x="5097" y="1425"/>
                </a:lnTo>
                <a:lnTo>
                  <a:pt x="5101" y="1419"/>
                </a:lnTo>
                <a:lnTo>
                  <a:pt x="5104" y="1412"/>
                </a:lnTo>
                <a:lnTo>
                  <a:pt x="5109" y="1404"/>
                </a:lnTo>
                <a:lnTo>
                  <a:pt x="5117" y="1393"/>
                </a:lnTo>
                <a:lnTo>
                  <a:pt x="5128" y="1380"/>
                </a:lnTo>
                <a:lnTo>
                  <a:pt x="5159" y="1345"/>
                </a:lnTo>
                <a:lnTo>
                  <a:pt x="5195" y="1306"/>
                </a:lnTo>
                <a:lnTo>
                  <a:pt x="5230" y="1264"/>
                </a:lnTo>
                <a:lnTo>
                  <a:pt x="5231" y="1264"/>
                </a:lnTo>
                <a:lnTo>
                  <a:pt x="5234" y="1264"/>
                </a:lnTo>
                <a:lnTo>
                  <a:pt x="5238" y="1264"/>
                </a:lnTo>
                <a:lnTo>
                  <a:pt x="5242" y="1265"/>
                </a:lnTo>
                <a:lnTo>
                  <a:pt x="5246" y="1267"/>
                </a:lnTo>
                <a:lnTo>
                  <a:pt x="5252" y="1270"/>
                </a:lnTo>
                <a:lnTo>
                  <a:pt x="5256" y="1273"/>
                </a:lnTo>
                <a:lnTo>
                  <a:pt x="5260" y="1276"/>
                </a:lnTo>
                <a:lnTo>
                  <a:pt x="5263" y="1281"/>
                </a:lnTo>
                <a:lnTo>
                  <a:pt x="5266" y="1286"/>
                </a:lnTo>
                <a:lnTo>
                  <a:pt x="5267" y="1290"/>
                </a:lnTo>
                <a:lnTo>
                  <a:pt x="5268" y="1296"/>
                </a:lnTo>
                <a:lnTo>
                  <a:pt x="5267" y="1301"/>
                </a:lnTo>
                <a:lnTo>
                  <a:pt x="5265" y="1307"/>
                </a:lnTo>
                <a:lnTo>
                  <a:pt x="5263" y="1312"/>
                </a:lnTo>
                <a:lnTo>
                  <a:pt x="5259" y="1318"/>
                </a:lnTo>
                <a:lnTo>
                  <a:pt x="5251" y="1329"/>
                </a:lnTo>
                <a:lnTo>
                  <a:pt x="5238" y="1342"/>
                </a:lnTo>
                <a:lnTo>
                  <a:pt x="5209" y="1376"/>
                </a:lnTo>
                <a:lnTo>
                  <a:pt x="5179" y="1409"/>
                </a:lnTo>
                <a:lnTo>
                  <a:pt x="5166" y="1425"/>
                </a:lnTo>
                <a:lnTo>
                  <a:pt x="5157" y="1436"/>
                </a:lnTo>
                <a:lnTo>
                  <a:pt x="5155" y="1440"/>
                </a:lnTo>
                <a:lnTo>
                  <a:pt x="5153" y="1444"/>
                </a:lnTo>
                <a:lnTo>
                  <a:pt x="5152" y="1447"/>
                </a:lnTo>
                <a:lnTo>
                  <a:pt x="5151" y="1451"/>
                </a:lnTo>
                <a:lnTo>
                  <a:pt x="5152" y="1455"/>
                </a:lnTo>
                <a:lnTo>
                  <a:pt x="5153" y="1460"/>
                </a:lnTo>
                <a:lnTo>
                  <a:pt x="5155" y="1464"/>
                </a:lnTo>
                <a:lnTo>
                  <a:pt x="5158" y="1469"/>
                </a:lnTo>
                <a:lnTo>
                  <a:pt x="5166" y="1479"/>
                </a:lnTo>
                <a:lnTo>
                  <a:pt x="5176" y="1491"/>
                </a:lnTo>
                <a:lnTo>
                  <a:pt x="5205" y="1520"/>
                </a:lnTo>
                <a:lnTo>
                  <a:pt x="5236" y="1553"/>
                </a:lnTo>
                <a:lnTo>
                  <a:pt x="5268" y="1583"/>
                </a:lnTo>
                <a:lnTo>
                  <a:pt x="5270" y="1585"/>
                </a:lnTo>
                <a:lnTo>
                  <a:pt x="5272" y="1587"/>
                </a:lnTo>
                <a:lnTo>
                  <a:pt x="5273" y="1589"/>
                </a:lnTo>
                <a:lnTo>
                  <a:pt x="5273" y="1593"/>
                </a:lnTo>
                <a:lnTo>
                  <a:pt x="5272" y="1599"/>
                </a:lnTo>
                <a:lnTo>
                  <a:pt x="5271" y="1601"/>
                </a:lnTo>
                <a:lnTo>
                  <a:pt x="5270" y="1604"/>
                </a:lnTo>
                <a:lnTo>
                  <a:pt x="5266" y="1610"/>
                </a:lnTo>
                <a:lnTo>
                  <a:pt x="5264" y="1613"/>
                </a:lnTo>
                <a:lnTo>
                  <a:pt x="5261" y="1615"/>
                </a:lnTo>
                <a:lnTo>
                  <a:pt x="5256" y="1620"/>
                </a:lnTo>
                <a:lnTo>
                  <a:pt x="5253" y="1622"/>
                </a:lnTo>
                <a:lnTo>
                  <a:pt x="5249" y="1624"/>
                </a:lnTo>
                <a:lnTo>
                  <a:pt x="5243" y="1626"/>
                </a:lnTo>
                <a:lnTo>
                  <a:pt x="5240" y="1627"/>
                </a:lnTo>
                <a:lnTo>
                  <a:pt x="5237" y="1627"/>
                </a:lnTo>
                <a:close/>
                <a:moveTo>
                  <a:pt x="4851" y="2627"/>
                </a:moveTo>
                <a:lnTo>
                  <a:pt x="4843" y="2627"/>
                </a:lnTo>
                <a:lnTo>
                  <a:pt x="4835" y="2626"/>
                </a:lnTo>
                <a:lnTo>
                  <a:pt x="4827" y="2625"/>
                </a:lnTo>
                <a:lnTo>
                  <a:pt x="4820" y="2623"/>
                </a:lnTo>
                <a:lnTo>
                  <a:pt x="4812" y="2621"/>
                </a:lnTo>
                <a:lnTo>
                  <a:pt x="4805" y="2619"/>
                </a:lnTo>
                <a:lnTo>
                  <a:pt x="4792" y="2613"/>
                </a:lnTo>
                <a:lnTo>
                  <a:pt x="4778" y="2605"/>
                </a:lnTo>
                <a:lnTo>
                  <a:pt x="4772" y="2601"/>
                </a:lnTo>
                <a:lnTo>
                  <a:pt x="4765" y="2596"/>
                </a:lnTo>
                <a:lnTo>
                  <a:pt x="4759" y="2591"/>
                </a:lnTo>
                <a:lnTo>
                  <a:pt x="4754" y="2586"/>
                </a:lnTo>
                <a:lnTo>
                  <a:pt x="4748" y="2581"/>
                </a:lnTo>
                <a:lnTo>
                  <a:pt x="4743" y="2575"/>
                </a:lnTo>
                <a:lnTo>
                  <a:pt x="4738" y="2569"/>
                </a:lnTo>
                <a:lnTo>
                  <a:pt x="4733" y="2563"/>
                </a:lnTo>
                <a:lnTo>
                  <a:pt x="4729" y="2556"/>
                </a:lnTo>
                <a:lnTo>
                  <a:pt x="4725" y="2548"/>
                </a:lnTo>
                <a:lnTo>
                  <a:pt x="4721" y="2541"/>
                </a:lnTo>
                <a:lnTo>
                  <a:pt x="4717" y="2534"/>
                </a:lnTo>
                <a:lnTo>
                  <a:pt x="4714" y="2526"/>
                </a:lnTo>
                <a:lnTo>
                  <a:pt x="4711" y="2518"/>
                </a:lnTo>
                <a:lnTo>
                  <a:pt x="4707" y="2510"/>
                </a:lnTo>
                <a:lnTo>
                  <a:pt x="4705" y="2502"/>
                </a:lnTo>
                <a:lnTo>
                  <a:pt x="4703" y="2494"/>
                </a:lnTo>
                <a:lnTo>
                  <a:pt x="4701" y="2484"/>
                </a:lnTo>
                <a:lnTo>
                  <a:pt x="4700" y="2475"/>
                </a:lnTo>
                <a:lnTo>
                  <a:pt x="4699" y="2467"/>
                </a:lnTo>
                <a:lnTo>
                  <a:pt x="4698" y="2458"/>
                </a:lnTo>
                <a:lnTo>
                  <a:pt x="4698" y="2448"/>
                </a:lnTo>
                <a:lnTo>
                  <a:pt x="4699" y="2429"/>
                </a:lnTo>
                <a:lnTo>
                  <a:pt x="4700" y="2420"/>
                </a:lnTo>
                <a:lnTo>
                  <a:pt x="4701" y="2410"/>
                </a:lnTo>
                <a:lnTo>
                  <a:pt x="4703" y="2401"/>
                </a:lnTo>
                <a:lnTo>
                  <a:pt x="4705" y="2393"/>
                </a:lnTo>
                <a:lnTo>
                  <a:pt x="4708" y="2384"/>
                </a:lnTo>
                <a:lnTo>
                  <a:pt x="4712" y="2375"/>
                </a:lnTo>
                <a:lnTo>
                  <a:pt x="4715" y="2366"/>
                </a:lnTo>
                <a:lnTo>
                  <a:pt x="4718" y="2358"/>
                </a:lnTo>
                <a:lnTo>
                  <a:pt x="4722" y="2350"/>
                </a:lnTo>
                <a:lnTo>
                  <a:pt x="4726" y="2342"/>
                </a:lnTo>
                <a:lnTo>
                  <a:pt x="4730" y="2334"/>
                </a:lnTo>
                <a:lnTo>
                  <a:pt x="4735" y="2327"/>
                </a:lnTo>
                <a:lnTo>
                  <a:pt x="4745" y="2313"/>
                </a:lnTo>
                <a:lnTo>
                  <a:pt x="4751" y="2305"/>
                </a:lnTo>
                <a:lnTo>
                  <a:pt x="4757" y="2299"/>
                </a:lnTo>
                <a:lnTo>
                  <a:pt x="4769" y="2288"/>
                </a:lnTo>
                <a:lnTo>
                  <a:pt x="4776" y="2283"/>
                </a:lnTo>
                <a:lnTo>
                  <a:pt x="4783" y="2278"/>
                </a:lnTo>
                <a:lnTo>
                  <a:pt x="4790" y="2274"/>
                </a:lnTo>
                <a:lnTo>
                  <a:pt x="4797" y="2269"/>
                </a:lnTo>
                <a:lnTo>
                  <a:pt x="4804" y="2266"/>
                </a:lnTo>
                <a:lnTo>
                  <a:pt x="4812" y="2263"/>
                </a:lnTo>
                <a:lnTo>
                  <a:pt x="4819" y="2260"/>
                </a:lnTo>
                <a:lnTo>
                  <a:pt x="4827" y="2258"/>
                </a:lnTo>
                <a:lnTo>
                  <a:pt x="4836" y="2256"/>
                </a:lnTo>
                <a:lnTo>
                  <a:pt x="4844" y="2255"/>
                </a:lnTo>
                <a:lnTo>
                  <a:pt x="4852" y="2254"/>
                </a:lnTo>
                <a:lnTo>
                  <a:pt x="4860" y="2254"/>
                </a:lnTo>
                <a:lnTo>
                  <a:pt x="4870" y="2254"/>
                </a:lnTo>
                <a:lnTo>
                  <a:pt x="4875" y="2255"/>
                </a:lnTo>
                <a:lnTo>
                  <a:pt x="4880" y="2255"/>
                </a:lnTo>
                <a:lnTo>
                  <a:pt x="4885" y="2256"/>
                </a:lnTo>
                <a:lnTo>
                  <a:pt x="4889" y="2258"/>
                </a:lnTo>
                <a:lnTo>
                  <a:pt x="4899" y="2261"/>
                </a:lnTo>
                <a:lnTo>
                  <a:pt x="4906" y="2265"/>
                </a:lnTo>
                <a:lnTo>
                  <a:pt x="4914" y="2269"/>
                </a:lnTo>
                <a:lnTo>
                  <a:pt x="4920" y="2275"/>
                </a:lnTo>
                <a:lnTo>
                  <a:pt x="4926" y="2281"/>
                </a:lnTo>
                <a:lnTo>
                  <a:pt x="4929" y="2284"/>
                </a:lnTo>
                <a:lnTo>
                  <a:pt x="4932" y="2287"/>
                </a:lnTo>
                <a:lnTo>
                  <a:pt x="4937" y="2295"/>
                </a:lnTo>
                <a:lnTo>
                  <a:pt x="4941" y="2302"/>
                </a:lnTo>
                <a:lnTo>
                  <a:pt x="4944" y="2312"/>
                </a:lnTo>
                <a:lnTo>
                  <a:pt x="4947" y="2320"/>
                </a:lnTo>
                <a:lnTo>
                  <a:pt x="4949" y="2329"/>
                </a:lnTo>
                <a:lnTo>
                  <a:pt x="4951" y="2339"/>
                </a:lnTo>
                <a:lnTo>
                  <a:pt x="4951" y="2349"/>
                </a:lnTo>
                <a:lnTo>
                  <a:pt x="4949" y="2361"/>
                </a:lnTo>
                <a:lnTo>
                  <a:pt x="4948" y="2368"/>
                </a:lnTo>
                <a:lnTo>
                  <a:pt x="4947" y="2375"/>
                </a:lnTo>
                <a:lnTo>
                  <a:pt x="4943" y="2387"/>
                </a:lnTo>
                <a:lnTo>
                  <a:pt x="4938" y="2398"/>
                </a:lnTo>
                <a:lnTo>
                  <a:pt x="4932" y="2409"/>
                </a:lnTo>
                <a:lnTo>
                  <a:pt x="4925" y="2420"/>
                </a:lnTo>
                <a:lnTo>
                  <a:pt x="4921" y="2425"/>
                </a:lnTo>
                <a:lnTo>
                  <a:pt x="4916" y="2430"/>
                </a:lnTo>
                <a:lnTo>
                  <a:pt x="4907" y="2440"/>
                </a:lnTo>
                <a:lnTo>
                  <a:pt x="4897" y="2449"/>
                </a:lnTo>
                <a:lnTo>
                  <a:pt x="4892" y="2452"/>
                </a:lnTo>
                <a:lnTo>
                  <a:pt x="4885" y="2456"/>
                </a:lnTo>
                <a:lnTo>
                  <a:pt x="4874" y="2463"/>
                </a:lnTo>
                <a:lnTo>
                  <a:pt x="4863" y="2468"/>
                </a:lnTo>
                <a:lnTo>
                  <a:pt x="4850" y="2473"/>
                </a:lnTo>
                <a:lnTo>
                  <a:pt x="4844" y="2475"/>
                </a:lnTo>
                <a:lnTo>
                  <a:pt x="4838" y="2476"/>
                </a:lnTo>
                <a:lnTo>
                  <a:pt x="4832" y="2478"/>
                </a:lnTo>
                <a:lnTo>
                  <a:pt x="4825" y="2478"/>
                </a:lnTo>
                <a:lnTo>
                  <a:pt x="4812" y="2479"/>
                </a:lnTo>
                <a:lnTo>
                  <a:pt x="4807" y="2478"/>
                </a:lnTo>
                <a:lnTo>
                  <a:pt x="4802" y="2477"/>
                </a:lnTo>
                <a:lnTo>
                  <a:pt x="4797" y="2474"/>
                </a:lnTo>
                <a:lnTo>
                  <a:pt x="4795" y="2472"/>
                </a:lnTo>
                <a:lnTo>
                  <a:pt x="4793" y="2470"/>
                </a:lnTo>
                <a:lnTo>
                  <a:pt x="4790" y="2465"/>
                </a:lnTo>
                <a:lnTo>
                  <a:pt x="4788" y="2460"/>
                </a:lnTo>
                <a:lnTo>
                  <a:pt x="4787" y="2457"/>
                </a:lnTo>
                <a:lnTo>
                  <a:pt x="4786" y="2454"/>
                </a:lnTo>
                <a:lnTo>
                  <a:pt x="4786" y="2448"/>
                </a:lnTo>
                <a:lnTo>
                  <a:pt x="4786" y="2445"/>
                </a:lnTo>
                <a:lnTo>
                  <a:pt x="4786" y="2442"/>
                </a:lnTo>
                <a:lnTo>
                  <a:pt x="4787" y="2437"/>
                </a:lnTo>
                <a:lnTo>
                  <a:pt x="4788" y="2435"/>
                </a:lnTo>
                <a:lnTo>
                  <a:pt x="4790" y="2433"/>
                </a:lnTo>
                <a:lnTo>
                  <a:pt x="4791" y="2432"/>
                </a:lnTo>
                <a:lnTo>
                  <a:pt x="4793" y="2430"/>
                </a:lnTo>
                <a:lnTo>
                  <a:pt x="4804" y="2428"/>
                </a:lnTo>
                <a:lnTo>
                  <a:pt x="4814" y="2425"/>
                </a:lnTo>
                <a:lnTo>
                  <a:pt x="4824" y="2422"/>
                </a:lnTo>
                <a:lnTo>
                  <a:pt x="4835" y="2418"/>
                </a:lnTo>
                <a:lnTo>
                  <a:pt x="4844" y="2413"/>
                </a:lnTo>
                <a:lnTo>
                  <a:pt x="4852" y="2408"/>
                </a:lnTo>
                <a:lnTo>
                  <a:pt x="4860" y="2403"/>
                </a:lnTo>
                <a:lnTo>
                  <a:pt x="4864" y="2400"/>
                </a:lnTo>
                <a:lnTo>
                  <a:pt x="4868" y="2397"/>
                </a:lnTo>
                <a:lnTo>
                  <a:pt x="4874" y="2390"/>
                </a:lnTo>
                <a:lnTo>
                  <a:pt x="4880" y="2384"/>
                </a:lnTo>
                <a:lnTo>
                  <a:pt x="4885" y="2377"/>
                </a:lnTo>
                <a:lnTo>
                  <a:pt x="4889" y="2369"/>
                </a:lnTo>
                <a:lnTo>
                  <a:pt x="4893" y="2362"/>
                </a:lnTo>
                <a:lnTo>
                  <a:pt x="4896" y="2355"/>
                </a:lnTo>
                <a:lnTo>
                  <a:pt x="4897" y="2348"/>
                </a:lnTo>
                <a:lnTo>
                  <a:pt x="4898" y="2341"/>
                </a:lnTo>
                <a:lnTo>
                  <a:pt x="4897" y="2333"/>
                </a:lnTo>
                <a:lnTo>
                  <a:pt x="4895" y="2326"/>
                </a:lnTo>
                <a:lnTo>
                  <a:pt x="4893" y="2323"/>
                </a:lnTo>
                <a:lnTo>
                  <a:pt x="4891" y="2319"/>
                </a:lnTo>
                <a:lnTo>
                  <a:pt x="4888" y="2317"/>
                </a:lnTo>
                <a:lnTo>
                  <a:pt x="4886" y="2314"/>
                </a:lnTo>
                <a:lnTo>
                  <a:pt x="4880" y="2309"/>
                </a:lnTo>
                <a:lnTo>
                  <a:pt x="4877" y="2307"/>
                </a:lnTo>
                <a:lnTo>
                  <a:pt x="4873" y="2306"/>
                </a:lnTo>
                <a:lnTo>
                  <a:pt x="4865" y="2304"/>
                </a:lnTo>
                <a:lnTo>
                  <a:pt x="4861" y="2303"/>
                </a:lnTo>
                <a:lnTo>
                  <a:pt x="4856" y="2303"/>
                </a:lnTo>
                <a:lnTo>
                  <a:pt x="4848" y="2304"/>
                </a:lnTo>
                <a:lnTo>
                  <a:pt x="4843" y="2305"/>
                </a:lnTo>
                <a:lnTo>
                  <a:pt x="4839" y="2306"/>
                </a:lnTo>
                <a:lnTo>
                  <a:pt x="4834" y="2308"/>
                </a:lnTo>
                <a:lnTo>
                  <a:pt x="4829" y="2310"/>
                </a:lnTo>
                <a:lnTo>
                  <a:pt x="4825" y="2313"/>
                </a:lnTo>
                <a:lnTo>
                  <a:pt x="4820" y="2315"/>
                </a:lnTo>
                <a:lnTo>
                  <a:pt x="4816" y="2318"/>
                </a:lnTo>
                <a:lnTo>
                  <a:pt x="4812" y="2321"/>
                </a:lnTo>
                <a:lnTo>
                  <a:pt x="4803" y="2328"/>
                </a:lnTo>
                <a:lnTo>
                  <a:pt x="4796" y="2336"/>
                </a:lnTo>
                <a:lnTo>
                  <a:pt x="4788" y="2345"/>
                </a:lnTo>
                <a:lnTo>
                  <a:pt x="4785" y="2350"/>
                </a:lnTo>
                <a:lnTo>
                  <a:pt x="4781" y="2355"/>
                </a:lnTo>
                <a:lnTo>
                  <a:pt x="4775" y="2366"/>
                </a:lnTo>
                <a:lnTo>
                  <a:pt x="4768" y="2379"/>
                </a:lnTo>
                <a:lnTo>
                  <a:pt x="4764" y="2391"/>
                </a:lnTo>
                <a:lnTo>
                  <a:pt x="4760" y="2404"/>
                </a:lnTo>
                <a:lnTo>
                  <a:pt x="4757" y="2417"/>
                </a:lnTo>
                <a:lnTo>
                  <a:pt x="4755" y="2432"/>
                </a:lnTo>
                <a:lnTo>
                  <a:pt x="4755" y="2439"/>
                </a:lnTo>
                <a:lnTo>
                  <a:pt x="4755" y="2446"/>
                </a:lnTo>
                <a:lnTo>
                  <a:pt x="4755" y="2459"/>
                </a:lnTo>
                <a:lnTo>
                  <a:pt x="4756" y="2471"/>
                </a:lnTo>
                <a:lnTo>
                  <a:pt x="4759" y="2482"/>
                </a:lnTo>
                <a:lnTo>
                  <a:pt x="4760" y="2488"/>
                </a:lnTo>
                <a:lnTo>
                  <a:pt x="4762" y="2494"/>
                </a:lnTo>
                <a:lnTo>
                  <a:pt x="4765" y="2505"/>
                </a:lnTo>
                <a:lnTo>
                  <a:pt x="4767" y="2510"/>
                </a:lnTo>
                <a:lnTo>
                  <a:pt x="4771" y="2515"/>
                </a:lnTo>
                <a:lnTo>
                  <a:pt x="4773" y="2519"/>
                </a:lnTo>
                <a:lnTo>
                  <a:pt x="4776" y="2524"/>
                </a:lnTo>
                <a:lnTo>
                  <a:pt x="4779" y="2528"/>
                </a:lnTo>
                <a:lnTo>
                  <a:pt x="4782" y="2532"/>
                </a:lnTo>
                <a:lnTo>
                  <a:pt x="4785" y="2536"/>
                </a:lnTo>
                <a:lnTo>
                  <a:pt x="4788" y="2540"/>
                </a:lnTo>
                <a:lnTo>
                  <a:pt x="4796" y="2546"/>
                </a:lnTo>
                <a:lnTo>
                  <a:pt x="4804" y="2553"/>
                </a:lnTo>
                <a:lnTo>
                  <a:pt x="4812" y="2558"/>
                </a:lnTo>
                <a:lnTo>
                  <a:pt x="4821" y="2561"/>
                </a:lnTo>
                <a:lnTo>
                  <a:pt x="4832" y="2564"/>
                </a:lnTo>
                <a:lnTo>
                  <a:pt x="4842" y="2566"/>
                </a:lnTo>
                <a:lnTo>
                  <a:pt x="4847" y="2566"/>
                </a:lnTo>
                <a:lnTo>
                  <a:pt x="4853" y="2567"/>
                </a:lnTo>
                <a:lnTo>
                  <a:pt x="4863" y="2566"/>
                </a:lnTo>
                <a:lnTo>
                  <a:pt x="4873" y="2564"/>
                </a:lnTo>
                <a:lnTo>
                  <a:pt x="4883" y="2562"/>
                </a:lnTo>
                <a:lnTo>
                  <a:pt x="4894" y="2559"/>
                </a:lnTo>
                <a:lnTo>
                  <a:pt x="4903" y="2554"/>
                </a:lnTo>
                <a:lnTo>
                  <a:pt x="4912" y="2548"/>
                </a:lnTo>
                <a:lnTo>
                  <a:pt x="4921" y="2543"/>
                </a:lnTo>
                <a:lnTo>
                  <a:pt x="4929" y="2536"/>
                </a:lnTo>
                <a:lnTo>
                  <a:pt x="4937" y="2529"/>
                </a:lnTo>
                <a:lnTo>
                  <a:pt x="4944" y="2521"/>
                </a:lnTo>
                <a:lnTo>
                  <a:pt x="4953" y="2512"/>
                </a:lnTo>
                <a:lnTo>
                  <a:pt x="4960" y="2503"/>
                </a:lnTo>
                <a:lnTo>
                  <a:pt x="4973" y="2483"/>
                </a:lnTo>
                <a:lnTo>
                  <a:pt x="4979" y="2473"/>
                </a:lnTo>
                <a:lnTo>
                  <a:pt x="4984" y="2462"/>
                </a:lnTo>
                <a:lnTo>
                  <a:pt x="4989" y="2451"/>
                </a:lnTo>
                <a:lnTo>
                  <a:pt x="4994" y="2440"/>
                </a:lnTo>
                <a:lnTo>
                  <a:pt x="4999" y="2427"/>
                </a:lnTo>
                <a:lnTo>
                  <a:pt x="5003" y="2415"/>
                </a:lnTo>
                <a:lnTo>
                  <a:pt x="5007" y="2403"/>
                </a:lnTo>
                <a:lnTo>
                  <a:pt x="5011" y="2391"/>
                </a:lnTo>
                <a:lnTo>
                  <a:pt x="5014" y="2379"/>
                </a:lnTo>
                <a:lnTo>
                  <a:pt x="5017" y="2366"/>
                </a:lnTo>
                <a:lnTo>
                  <a:pt x="5019" y="2354"/>
                </a:lnTo>
                <a:lnTo>
                  <a:pt x="5021" y="2343"/>
                </a:lnTo>
                <a:lnTo>
                  <a:pt x="5022" y="2331"/>
                </a:lnTo>
                <a:lnTo>
                  <a:pt x="5023" y="2319"/>
                </a:lnTo>
                <a:lnTo>
                  <a:pt x="5024" y="2307"/>
                </a:lnTo>
                <a:lnTo>
                  <a:pt x="5024" y="2296"/>
                </a:lnTo>
                <a:lnTo>
                  <a:pt x="5024" y="2285"/>
                </a:lnTo>
                <a:lnTo>
                  <a:pt x="5024" y="2275"/>
                </a:lnTo>
                <a:lnTo>
                  <a:pt x="5025" y="2272"/>
                </a:lnTo>
                <a:lnTo>
                  <a:pt x="5026" y="2270"/>
                </a:lnTo>
                <a:lnTo>
                  <a:pt x="5028" y="2268"/>
                </a:lnTo>
                <a:lnTo>
                  <a:pt x="5031" y="2266"/>
                </a:lnTo>
                <a:lnTo>
                  <a:pt x="5038" y="2263"/>
                </a:lnTo>
                <a:lnTo>
                  <a:pt x="5042" y="2263"/>
                </a:lnTo>
                <a:lnTo>
                  <a:pt x="5046" y="2262"/>
                </a:lnTo>
                <a:lnTo>
                  <a:pt x="5053" y="2263"/>
                </a:lnTo>
                <a:lnTo>
                  <a:pt x="5056" y="2264"/>
                </a:lnTo>
                <a:lnTo>
                  <a:pt x="5060" y="2265"/>
                </a:lnTo>
                <a:lnTo>
                  <a:pt x="5065" y="2267"/>
                </a:lnTo>
                <a:lnTo>
                  <a:pt x="5068" y="2269"/>
                </a:lnTo>
                <a:lnTo>
                  <a:pt x="5071" y="2272"/>
                </a:lnTo>
                <a:lnTo>
                  <a:pt x="5075" y="2277"/>
                </a:lnTo>
                <a:lnTo>
                  <a:pt x="5077" y="2281"/>
                </a:lnTo>
                <a:lnTo>
                  <a:pt x="5078" y="2285"/>
                </a:lnTo>
                <a:lnTo>
                  <a:pt x="5079" y="2289"/>
                </a:lnTo>
                <a:lnTo>
                  <a:pt x="5080" y="2294"/>
                </a:lnTo>
                <a:lnTo>
                  <a:pt x="5081" y="2299"/>
                </a:lnTo>
                <a:lnTo>
                  <a:pt x="5081" y="2305"/>
                </a:lnTo>
                <a:lnTo>
                  <a:pt x="5080" y="2322"/>
                </a:lnTo>
                <a:lnTo>
                  <a:pt x="5079" y="2337"/>
                </a:lnTo>
                <a:lnTo>
                  <a:pt x="5078" y="2352"/>
                </a:lnTo>
                <a:lnTo>
                  <a:pt x="5076" y="2368"/>
                </a:lnTo>
                <a:lnTo>
                  <a:pt x="5073" y="2383"/>
                </a:lnTo>
                <a:lnTo>
                  <a:pt x="5069" y="2398"/>
                </a:lnTo>
                <a:lnTo>
                  <a:pt x="5066" y="2413"/>
                </a:lnTo>
                <a:lnTo>
                  <a:pt x="5062" y="2427"/>
                </a:lnTo>
                <a:lnTo>
                  <a:pt x="5057" y="2442"/>
                </a:lnTo>
                <a:lnTo>
                  <a:pt x="5053" y="2455"/>
                </a:lnTo>
                <a:lnTo>
                  <a:pt x="5047" y="2468"/>
                </a:lnTo>
                <a:lnTo>
                  <a:pt x="5042" y="2481"/>
                </a:lnTo>
                <a:lnTo>
                  <a:pt x="5036" y="2495"/>
                </a:lnTo>
                <a:lnTo>
                  <a:pt x="5029" y="2507"/>
                </a:lnTo>
                <a:lnTo>
                  <a:pt x="5022" y="2518"/>
                </a:lnTo>
                <a:lnTo>
                  <a:pt x="5015" y="2529"/>
                </a:lnTo>
                <a:lnTo>
                  <a:pt x="5006" y="2540"/>
                </a:lnTo>
                <a:lnTo>
                  <a:pt x="4998" y="2550"/>
                </a:lnTo>
                <a:lnTo>
                  <a:pt x="4990" y="2561"/>
                </a:lnTo>
                <a:lnTo>
                  <a:pt x="4981" y="2570"/>
                </a:lnTo>
                <a:lnTo>
                  <a:pt x="4972" y="2578"/>
                </a:lnTo>
                <a:lnTo>
                  <a:pt x="4963" y="2586"/>
                </a:lnTo>
                <a:lnTo>
                  <a:pt x="4953" y="2593"/>
                </a:lnTo>
                <a:lnTo>
                  <a:pt x="4942" y="2600"/>
                </a:lnTo>
                <a:lnTo>
                  <a:pt x="4932" y="2606"/>
                </a:lnTo>
                <a:lnTo>
                  <a:pt x="4921" y="2612"/>
                </a:lnTo>
                <a:lnTo>
                  <a:pt x="4910" y="2616"/>
                </a:lnTo>
                <a:lnTo>
                  <a:pt x="4899" y="2620"/>
                </a:lnTo>
                <a:lnTo>
                  <a:pt x="4886" y="2623"/>
                </a:lnTo>
                <a:lnTo>
                  <a:pt x="4875" y="2625"/>
                </a:lnTo>
                <a:lnTo>
                  <a:pt x="4863" y="2626"/>
                </a:lnTo>
                <a:lnTo>
                  <a:pt x="4851" y="2627"/>
                </a:lnTo>
                <a:close/>
                <a:moveTo>
                  <a:pt x="5237" y="2621"/>
                </a:moveTo>
                <a:lnTo>
                  <a:pt x="5236" y="2621"/>
                </a:lnTo>
                <a:lnTo>
                  <a:pt x="5233" y="2620"/>
                </a:lnTo>
                <a:lnTo>
                  <a:pt x="5228" y="2617"/>
                </a:lnTo>
                <a:lnTo>
                  <a:pt x="5222" y="2613"/>
                </a:lnTo>
                <a:lnTo>
                  <a:pt x="5214" y="2607"/>
                </a:lnTo>
                <a:lnTo>
                  <a:pt x="5202" y="2596"/>
                </a:lnTo>
                <a:lnTo>
                  <a:pt x="5186" y="2582"/>
                </a:lnTo>
                <a:lnTo>
                  <a:pt x="5169" y="2566"/>
                </a:lnTo>
                <a:lnTo>
                  <a:pt x="5153" y="2548"/>
                </a:lnTo>
                <a:lnTo>
                  <a:pt x="5137" y="2531"/>
                </a:lnTo>
                <a:lnTo>
                  <a:pt x="5122" y="2515"/>
                </a:lnTo>
                <a:lnTo>
                  <a:pt x="5110" y="2501"/>
                </a:lnTo>
                <a:lnTo>
                  <a:pt x="5106" y="2494"/>
                </a:lnTo>
                <a:lnTo>
                  <a:pt x="5103" y="2488"/>
                </a:lnTo>
                <a:lnTo>
                  <a:pt x="5097" y="2478"/>
                </a:lnTo>
                <a:lnTo>
                  <a:pt x="5094" y="2468"/>
                </a:lnTo>
                <a:lnTo>
                  <a:pt x="5091" y="2458"/>
                </a:lnTo>
                <a:lnTo>
                  <a:pt x="5090" y="2448"/>
                </a:lnTo>
                <a:lnTo>
                  <a:pt x="5091" y="2443"/>
                </a:lnTo>
                <a:lnTo>
                  <a:pt x="5091" y="2437"/>
                </a:lnTo>
                <a:lnTo>
                  <a:pt x="5093" y="2430"/>
                </a:lnTo>
                <a:lnTo>
                  <a:pt x="5095" y="2424"/>
                </a:lnTo>
                <a:lnTo>
                  <a:pt x="5097" y="2418"/>
                </a:lnTo>
                <a:lnTo>
                  <a:pt x="5101" y="2412"/>
                </a:lnTo>
                <a:lnTo>
                  <a:pt x="5104" y="2405"/>
                </a:lnTo>
                <a:lnTo>
                  <a:pt x="5109" y="2398"/>
                </a:lnTo>
                <a:lnTo>
                  <a:pt x="5117" y="2387"/>
                </a:lnTo>
                <a:lnTo>
                  <a:pt x="5128" y="2374"/>
                </a:lnTo>
                <a:lnTo>
                  <a:pt x="5159" y="2339"/>
                </a:lnTo>
                <a:lnTo>
                  <a:pt x="5195" y="2299"/>
                </a:lnTo>
                <a:lnTo>
                  <a:pt x="5230" y="2259"/>
                </a:lnTo>
                <a:lnTo>
                  <a:pt x="5231" y="2258"/>
                </a:lnTo>
                <a:lnTo>
                  <a:pt x="5234" y="2258"/>
                </a:lnTo>
                <a:lnTo>
                  <a:pt x="5238" y="2258"/>
                </a:lnTo>
                <a:lnTo>
                  <a:pt x="5242" y="2260"/>
                </a:lnTo>
                <a:lnTo>
                  <a:pt x="5246" y="2261"/>
                </a:lnTo>
                <a:lnTo>
                  <a:pt x="5252" y="2264"/>
                </a:lnTo>
                <a:lnTo>
                  <a:pt x="5256" y="2267"/>
                </a:lnTo>
                <a:lnTo>
                  <a:pt x="5260" y="2271"/>
                </a:lnTo>
                <a:lnTo>
                  <a:pt x="5263" y="2275"/>
                </a:lnTo>
                <a:lnTo>
                  <a:pt x="5266" y="2280"/>
                </a:lnTo>
                <a:lnTo>
                  <a:pt x="5267" y="2284"/>
                </a:lnTo>
                <a:lnTo>
                  <a:pt x="5268" y="2289"/>
                </a:lnTo>
                <a:lnTo>
                  <a:pt x="5267" y="2295"/>
                </a:lnTo>
                <a:lnTo>
                  <a:pt x="5265" y="2300"/>
                </a:lnTo>
                <a:lnTo>
                  <a:pt x="5263" y="2306"/>
                </a:lnTo>
                <a:lnTo>
                  <a:pt x="5259" y="2313"/>
                </a:lnTo>
                <a:lnTo>
                  <a:pt x="5251" y="2323"/>
                </a:lnTo>
                <a:lnTo>
                  <a:pt x="5238" y="2336"/>
                </a:lnTo>
                <a:lnTo>
                  <a:pt x="5209" y="2369"/>
                </a:lnTo>
                <a:lnTo>
                  <a:pt x="5179" y="2404"/>
                </a:lnTo>
                <a:lnTo>
                  <a:pt x="5166" y="2418"/>
                </a:lnTo>
                <a:lnTo>
                  <a:pt x="5157" y="2430"/>
                </a:lnTo>
                <a:lnTo>
                  <a:pt x="5155" y="2434"/>
                </a:lnTo>
                <a:lnTo>
                  <a:pt x="5153" y="2438"/>
                </a:lnTo>
                <a:lnTo>
                  <a:pt x="5152" y="2442"/>
                </a:lnTo>
                <a:lnTo>
                  <a:pt x="5151" y="2445"/>
                </a:lnTo>
                <a:lnTo>
                  <a:pt x="5152" y="2450"/>
                </a:lnTo>
                <a:lnTo>
                  <a:pt x="5153" y="2454"/>
                </a:lnTo>
                <a:lnTo>
                  <a:pt x="5155" y="2458"/>
                </a:lnTo>
                <a:lnTo>
                  <a:pt x="5158" y="2463"/>
                </a:lnTo>
                <a:lnTo>
                  <a:pt x="5166" y="2472"/>
                </a:lnTo>
                <a:lnTo>
                  <a:pt x="5176" y="2484"/>
                </a:lnTo>
                <a:lnTo>
                  <a:pt x="5205" y="2514"/>
                </a:lnTo>
                <a:lnTo>
                  <a:pt x="5236" y="2546"/>
                </a:lnTo>
                <a:lnTo>
                  <a:pt x="5268" y="2577"/>
                </a:lnTo>
                <a:lnTo>
                  <a:pt x="5270" y="2579"/>
                </a:lnTo>
                <a:lnTo>
                  <a:pt x="5272" y="2581"/>
                </a:lnTo>
                <a:lnTo>
                  <a:pt x="5273" y="2584"/>
                </a:lnTo>
                <a:lnTo>
                  <a:pt x="5273" y="2586"/>
                </a:lnTo>
                <a:lnTo>
                  <a:pt x="5272" y="2592"/>
                </a:lnTo>
                <a:lnTo>
                  <a:pt x="5271" y="2595"/>
                </a:lnTo>
                <a:lnTo>
                  <a:pt x="5270" y="2597"/>
                </a:lnTo>
                <a:lnTo>
                  <a:pt x="5266" y="2603"/>
                </a:lnTo>
                <a:lnTo>
                  <a:pt x="5264" y="2606"/>
                </a:lnTo>
                <a:lnTo>
                  <a:pt x="5261" y="2608"/>
                </a:lnTo>
                <a:lnTo>
                  <a:pt x="5256" y="2614"/>
                </a:lnTo>
                <a:lnTo>
                  <a:pt x="5253" y="2616"/>
                </a:lnTo>
                <a:lnTo>
                  <a:pt x="5249" y="2618"/>
                </a:lnTo>
                <a:lnTo>
                  <a:pt x="5243" y="2620"/>
                </a:lnTo>
                <a:lnTo>
                  <a:pt x="5240" y="2621"/>
                </a:lnTo>
                <a:lnTo>
                  <a:pt x="5237" y="2621"/>
                </a:lnTo>
                <a:close/>
                <a:moveTo>
                  <a:pt x="1768" y="639"/>
                </a:moveTo>
                <a:lnTo>
                  <a:pt x="1761" y="639"/>
                </a:lnTo>
                <a:lnTo>
                  <a:pt x="1753" y="639"/>
                </a:lnTo>
                <a:lnTo>
                  <a:pt x="1746" y="637"/>
                </a:lnTo>
                <a:lnTo>
                  <a:pt x="1738" y="636"/>
                </a:lnTo>
                <a:lnTo>
                  <a:pt x="1731" y="634"/>
                </a:lnTo>
                <a:lnTo>
                  <a:pt x="1724" y="632"/>
                </a:lnTo>
                <a:lnTo>
                  <a:pt x="1709" y="625"/>
                </a:lnTo>
                <a:lnTo>
                  <a:pt x="1696" y="618"/>
                </a:lnTo>
                <a:lnTo>
                  <a:pt x="1690" y="613"/>
                </a:lnTo>
                <a:lnTo>
                  <a:pt x="1684" y="609"/>
                </a:lnTo>
                <a:lnTo>
                  <a:pt x="1678" y="604"/>
                </a:lnTo>
                <a:lnTo>
                  <a:pt x="1672" y="599"/>
                </a:lnTo>
                <a:lnTo>
                  <a:pt x="1667" y="593"/>
                </a:lnTo>
                <a:lnTo>
                  <a:pt x="1662" y="588"/>
                </a:lnTo>
                <a:lnTo>
                  <a:pt x="1657" y="582"/>
                </a:lnTo>
                <a:lnTo>
                  <a:pt x="1652" y="575"/>
                </a:lnTo>
                <a:lnTo>
                  <a:pt x="1647" y="568"/>
                </a:lnTo>
                <a:lnTo>
                  <a:pt x="1642" y="561"/>
                </a:lnTo>
                <a:lnTo>
                  <a:pt x="1639" y="554"/>
                </a:lnTo>
                <a:lnTo>
                  <a:pt x="1635" y="546"/>
                </a:lnTo>
                <a:lnTo>
                  <a:pt x="1632" y="539"/>
                </a:lnTo>
                <a:lnTo>
                  <a:pt x="1629" y="531"/>
                </a:lnTo>
                <a:lnTo>
                  <a:pt x="1626" y="523"/>
                </a:lnTo>
                <a:lnTo>
                  <a:pt x="1624" y="515"/>
                </a:lnTo>
                <a:lnTo>
                  <a:pt x="1622" y="505"/>
                </a:lnTo>
                <a:lnTo>
                  <a:pt x="1620" y="497"/>
                </a:lnTo>
                <a:lnTo>
                  <a:pt x="1619" y="488"/>
                </a:lnTo>
                <a:lnTo>
                  <a:pt x="1618" y="479"/>
                </a:lnTo>
                <a:lnTo>
                  <a:pt x="1617" y="470"/>
                </a:lnTo>
                <a:lnTo>
                  <a:pt x="1617" y="461"/>
                </a:lnTo>
                <a:lnTo>
                  <a:pt x="1618" y="441"/>
                </a:lnTo>
                <a:lnTo>
                  <a:pt x="1619" y="432"/>
                </a:lnTo>
                <a:lnTo>
                  <a:pt x="1620" y="423"/>
                </a:lnTo>
                <a:lnTo>
                  <a:pt x="1622" y="414"/>
                </a:lnTo>
                <a:lnTo>
                  <a:pt x="1624" y="405"/>
                </a:lnTo>
                <a:lnTo>
                  <a:pt x="1626" y="396"/>
                </a:lnTo>
                <a:lnTo>
                  <a:pt x="1629" y="387"/>
                </a:lnTo>
                <a:lnTo>
                  <a:pt x="1632" y="378"/>
                </a:lnTo>
                <a:lnTo>
                  <a:pt x="1636" y="370"/>
                </a:lnTo>
                <a:lnTo>
                  <a:pt x="1640" y="362"/>
                </a:lnTo>
                <a:lnTo>
                  <a:pt x="1644" y="354"/>
                </a:lnTo>
                <a:lnTo>
                  <a:pt x="1648" y="347"/>
                </a:lnTo>
                <a:lnTo>
                  <a:pt x="1654" y="339"/>
                </a:lnTo>
                <a:lnTo>
                  <a:pt x="1664" y="325"/>
                </a:lnTo>
                <a:lnTo>
                  <a:pt x="1670" y="318"/>
                </a:lnTo>
                <a:lnTo>
                  <a:pt x="1675" y="312"/>
                </a:lnTo>
                <a:lnTo>
                  <a:pt x="1688" y="301"/>
                </a:lnTo>
                <a:lnTo>
                  <a:pt x="1694" y="295"/>
                </a:lnTo>
                <a:lnTo>
                  <a:pt x="1701" y="291"/>
                </a:lnTo>
                <a:lnTo>
                  <a:pt x="1708" y="286"/>
                </a:lnTo>
                <a:lnTo>
                  <a:pt x="1716" y="282"/>
                </a:lnTo>
                <a:lnTo>
                  <a:pt x="1723" y="278"/>
                </a:lnTo>
                <a:lnTo>
                  <a:pt x="1730" y="275"/>
                </a:lnTo>
                <a:lnTo>
                  <a:pt x="1738" y="273"/>
                </a:lnTo>
                <a:lnTo>
                  <a:pt x="1746" y="269"/>
                </a:lnTo>
                <a:lnTo>
                  <a:pt x="1754" y="268"/>
                </a:lnTo>
                <a:lnTo>
                  <a:pt x="1762" y="266"/>
                </a:lnTo>
                <a:lnTo>
                  <a:pt x="1771" y="265"/>
                </a:lnTo>
                <a:lnTo>
                  <a:pt x="1779" y="265"/>
                </a:lnTo>
                <a:lnTo>
                  <a:pt x="1789" y="266"/>
                </a:lnTo>
                <a:lnTo>
                  <a:pt x="1794" y="266"/>
                </a:lnTo>
                <a:lnTo>
                  <a:pt x="1799" y="267"/>
                </a:lnTo>
                <a:lnTo>
                  <a:pt x="1803" y="268"/>
                </a:lnTo>
                <a:lnTo>
                  <a:pt x="1808" y="269"/>
                </a:lnTo>
                <a:lnTo>
                  <a:pt x="1816" y="273"/>
                </a:lnTo>
                <a:lnTo>
                  <a:pt x="1824" y="277"/>
                </a:lnTo>
                <a:lnTo>
                  <a:pt x="1832" y="282"/>
                </a:lnTo>
                <a:lnTo>
                  <a:pt x="1839" y="287"/>
                </a:lnTo>
                <a:lnTo>
                  <a:pt x="1845" y="293"/>
                </a:lnTo>
                <a:lnTo>
                  <a:pt x="1848" y="297"/>
                </a:lnTo>
                <a:lnTo>
                  <a:pt x="1851" y="300"/>
                </a:lnTo>
                <a:lnTo>
                  <a:pt x="1855" y="307"/>
                </a:lnTo>
                <a:lnTo>
                  <a:pt x="1859" y="315"/>
                </a:lnTo>
                <a:lnTo>
                  <a:pt x="1863" y="323"/>
                </a:lnTo>
                <a:lnTo>
                  <a:pt x="1865" y="333"/>
                </a:lnTo>
                <a:lnTo>
                  <a:pt x="1867" y="342"/>
                </a:lnTo>
                <a:lnTo>
                  <a:pt x="1868" y="352"/>
                </a:lnTo>
                <a:lnTo>
                  <a:pt x="1869" y="362"/>
                </a:lnTo>
                <a:lnTo>
                  <a:pt x="1868" y="374"/>
                </a:lnTo>
                <a:lnTo>
                  <a:pt x="1867" y="380"/>
                </a:lnTo>
                <a:lnTo>
                  <a:pt x="1866" y="386"/>
                </a:lnTo>
                <a:lnTo>
                  <a:pt x="1862" y="399"/>
                </a:lnTo>
                <a:lnTo>
                  <a:pt x="1857" y="411"/>
                </a:lnTo>
                <a:lnTo>
                  <a:pt x="1851" y="422"/>
                </a:lnTo>
                <a:lnTo>
                  <a:pt x="1843" y="433"/>
                </a:lnTo>
                <a:lnTo>
                  <a:pt x="1839" y="438"/>
                </a:lnTo>
                <a:lnTo>
                  <a:pt x="1835" y="442"/>
                </a:lnTo>
                <a:lnTo>
                  <a:pt x="1825" y="453"/>
                </a:lnTo>
                <a:lnTo>
                  <a:pt x="1815" y="461"/>
                </a:lnTo>
                <a:lnTo>
                  <a:pt x="1810" y="465"/>
                </a:lnTo>
                <a:lnTo>
                  <a:pt x="1804" y="469"/>
                </a:lnTo>
                <a:lnTo>
                  <a:pt x="1793" y="475"/>
                </a:lnTo>
                <a:lnTo>
                  <a:pt x="1781" y="481"/>
                </a:lnTo>
                <a:lnTo>
                  <a:pt x="1768" y="486"/>
                </a:lnTo>
                <a:lnTo>
                  <a:pt x="1762" y="487"/>
                </a:lnTo>
                <a:lnTo>
                  <a:pt x="1756" y="489"/>
                </a:lnTo>
                <a:lnTo>
                  <a:pt x="1750" y="490"/>
                </a:lnTo>
                <a:lnTo>
                  <a:pt x="1743" y="491"/>
                </a:lnTo>
                <a:lnTo>
                  <a:pt x="1731" y="492"/>
                </a:lnTo>
                <a:lnTo>
                  <a:pt x="1725" y="491"/>
                </a:lnTo>
                <a:lnTo>
                  <a:pt x="1720" y="489"/>
                </a:lnTo>
                <a:lnTo>
                  <a:pt x="1716" y="486"/>
                </a:lnTo>
                <a:lnTo>
                  <a:pt x="1714" y="485"/>
                </a:lnTo>
                <a:lnTo>
                  <a:pt x="1712" y="483"/>
                </a:lnTo>
                <a:lnTo>
                  <a:pt x="1708" y="478"/>
                </a:lnTo>
                <a:lnTo>
                  <a:pt x="1706" y="473"/>
                </a:lnTo>
                <a:lnTo>
                  <a:pt x="1705" y="470"/>
                </a:lnTo>
                <a:lnTo>
                  <a:pt x="1704" y="467"/>
                </a:lnTo>
                <a:lnTo>
                  <a:pt x="1704" y="460"/>
                </a:lnTo>
                <a:lnTo>
                  <a:pt x="1704" y="458"/>
                </a:lnTo>
                <a:lnTo>
                  <a:pt x="1704" y="455"/>
                </a:lnTo>
                <a:lnTo>
                  <a:pt x="1705" y="449"/>
                </a:lnTo>
                <a:lnTo>
                  <a:pt x="1706" y="447"/>
                </a:lnTo>
                <a:lnTo>
                  <a:pt x="1707" y="445"/>
                </a:lnTo>
                <a:lnTo>
                  <a:pt x="1709" y="443"/>
                </a:lnTo>
                <a:lnTo>
                  <a:pt x="1712" y="442"/>
                </a:lnTo>
                <a:lnTo>
                  <a:pt x="1722" y="440"/>
                </a:lnTo>
                <a:lnTo>
                  <a:pt x="1733" y="438"/>
                </a:lnTo>
                <a:lnTo>
                  <a:pt x="1743" y="434"/>
                </a:lnTo>
                <a:lnTo>
                  <a:pt x="1753" y="430"/>
                </a:lnTo>
                <a:lnTo>
                  <a:pt x="1762" y="426"/>
                </a:lnTo>
                <a:lnTo>
                  <a:pt x="1771" y="421"/>
                </a:lnTo>
                <a:lnTo>
                  <a:pt x="1779" y="415"/>
                </a:lnTo>
                <a:lnTo>
                  <a:pt x="1783" y="412"/>
                </a:lnTo>
                <a:lnTo>
                  <a:pt x="1786" y="409"/>
                </a:lnTo>
                <a:lnTo>
                  <a:pt x="1793" y="403"/>
                </a:lnTo>
                <a:lnTo>
                  <a:pt x="1799" y="397"/>
                </a:lnTo>
                <a:lnTo>
                  <a:pt x="1803" y="389"/>
                </a:lnTo>
                <a:lnTo>
                  <a:pt x="1808" y="382"/>
                </a:lnTo>
                <a:lnTo>
                  <a:pt x="1811" y="375"/>
                </a:lnTo>
                <a:lnTo>
                  <a:pt x="1813" y="368"/>
                </a:lnTo>
                <a:lnTo>
                  <a:pt x="1815" y="361"/>
                </a:lnTo>
                <a:lnTo>
                  <a:pt x="1815" y="354"/>
                </a:lnTo>
                <a:lnTo>
                  <a:pt x="1815" y="346"/>
                </a:lnTo>
                <a:lnTo>
                  <a:pt x="1813" y="338"/>
                </a:lnTo>
                <a:lnTo>
                  <a:pt x="1811" y="335"/>
                </a:lnTo>
                <a:lnTo>
                  <a:pt x="1809" y="332"/>
                </a:lnTo>
                <a:lnTo>
                  <a:pt x="1807" y="328"/>
                </a:lnTo>
                <a:lnTo>
                  <a:pt x="1805" y="326"/>
                </a:lnTo>
                <a:lnTo>
                  <a:pt x="1799" y="322"/>
                </a:lnTo>
                <a:lnTo>
                  <a:pt x="1796" y="320"/>
                </a:lnTo>
                <a:lnTo>
                  <a:pt x="1792" y="318"/>
                </a:lnTo>
                <a:lnTo>
                  <a:pt x="1784" y="317"/>
                </a:lnTo>
                <a:lnTo>
                  <a:pt x="1780" y="316"/>
                </a:lnTo>
                <a:lnTo>
                  <a:pt x="1775" y="316"/>
                </a:lnTo>
                <a:lnTo>
                  <a:pt x="1765" y="317"/>
                </a:lnTo>
                <a:lnTo>
                  <a:pt x="1761" y="318"/>
                </a:lnTo>
                <a:lnTo>
                  <a:pt x="1756" y="319"/>
                </a:lnTo>
                <a:lnTo>
                  <a:pt x="1752" y="320"/>
                </a:lnTo>
                <a:lnTo>
                  <a:pt x="1748" y="322"/>
                </a:lnTo>
                <a:lnTo>
                  <a:pt x="1743" y="324"/>
                </a:lnTo>
                <a:lnTo>
                  <a:pt x="1739" y="327"/>
                </a:lnTo>
                <a:lnTo>
                  <a:pt x="1735" y="330"/>
                </a:lnTo>
                <a:lnTo>
                  <a:pt x="1730" y="334"/>
                </a:lnTo>
                <a:lnTo>
                  <a:pt x="1722" y="341"/>
                </a:lnTo>
                <a:lnTo>
                  <a:pt x="1714" y="349"/>
                </a:lnTo>
                <a:lnTo>
                  <a:pt x="1706" y="358"/>
                </a:lnTo>
                <a:lnTo>
                  <a:pt x="1702" y="363"/>
                </a:lnTo>
                <a:lnTo>
                  <a:pt x="1699" y="368"/>
                </a:lnTo>
                <a:lnTo>
                  <a:pt x="1693" y="379"/>
                </a:lnTo>
                <a:lnTo>
                  <a:pt x="1687" y="390"/>
                </a:lnTo>
                <a:lnTo>
                  <a:pt x="1682" y="403"/>
                </a:lnTo>
                <a:lnTo>
                  <a:pt x="1679" y="416"/>
                </a:lnTo>
                <a:lnTo>
                  <a:pt x="1676" y="430"/>
                </a:lnTo>
                <a:lnTo>
                  <a:pt x="1674" y="443"/>
                </a:lnTo>
                <a:lnTo>
                  <a:pt x="1674" y="450"/>
                </a:lnTo>
                <a:lnTo>
                  <a:pt x="1673" y="459"/>
                </a:lnTo>
                <a:lnTo>
                  <a:pt x="1674" y="471"/>
                </a:lnTo>
                <a:lnTo>
                  <a:pt x="1675" y="483"/>
                </a:lnTo>
                <a:lnTo>
                  <a:pt x="1677" y="495"/>
                </a:lnTo>
                <a:lnTo>
                  <a:pt x="1679" y="501"/>
                </a:lnTo>
                <a:lnTo>
                  <a:pt x="1680" y="506"/>
                </a:lnTo>
                <a:lnTo>
                  <a:pt x="1684" y="518"/>
                </a:lnTo>
                <a:lnTo>
                  <a:pt x="1686" y="523"/>
                </a:lnTo>
                <a:lnTo>
                  <a:pt x="1688" y="527"/>
                </a:lnTo>
                <a:lnTo>
                  <a:pt x="1691" y="532"/>
                </a:lnTo>
                <a:lnTo>
                  <a:pt x="1694" y="536"/>
                </a:lnTo>
                <a:lnTo>
                  <a:pt x="1697" y="541"/>
                </a:lnTo>
                <a:lnTo>
                  <a:pt x="1700" y="545"/>
                </a:lnTo>
                <a:lnTo>
                  <a:pt x="1703" y="548"/>
                </a:lnTo>
                <a:lnTo>
                  <a:pt x="1706" y="552"/>
                </a:lnTo>
                <a:lnTo>
                  <a:pt x="1714" y="559"/>
                </a:lnTo>
                <a:lnTo>
                  <a:pt x="1722" y="564"/>
                </a:lnTo>
                <a:lnTo>
                  <a:pt x="1731" y="569"/>
                </a:lnTo>
                <a:lnTo>
                  <a:pt x="1740" y="574"/>
                </a:lnTo>
                <a:lnTo>
                  <a:pt x="1749" y="577"/>
                </a:lnTo>
                <a:lnTo>
                  <a:pt x="1760" y="579"/>
                </a:lnTo>
                <a:lnTo>
                  <a:pt x="1765" y="579"/>
                </a:lnTo>
                <a:lnTo>
                  <a:pt x="1771" y="579"/>
                </a:lnTo>
                <a:lnTo>
                  <a:pt x="1782" y="579"/>
                </a:lnTo>
                <a:lnTo>
                  <a:pt x="1792" y="577"/>
                </a:lnTo>
                <a:lnTo>
                  <a:pt x="1802" y="575"/>
                </a:lnTo>
                <a:lnTo>
                  <a:pt x="1811" y="570"/>
                </a:lnTo>
                <a:lnTo>
                  <a:pt x="1821" y="566"/>
                </a:lnTo>
                <a:lnTo>
                  <a:pt x="1831" y="561"/>
                </a:lnTo>
                <a:lnTo>
                  <a:pt x="1839" y="555"/>
                </a:lnTo>
                <a:lnTo>
                  <a:pt x="1848" y="549"/>
                </a:lnTo>
                <a:lnTo>
                  <a:pt x="1856" y="541"/>
                </a:lnTo>
                <a:lnTo>
                  <a:pt x="1863" y="534"/>
                </a:lnTo>
                <a:lnTo>
                  <a:pt x="1871" y="525"/>
                </a:lnTo>
                <a:lnTo>
                  <a:pt x="1877" y="516"/>
                </a:lnTo>
                <a:lnTo>
                  <a:pt x="1891" y="496"/>
                </a:lnTo>
                <a:lnTo>
                  <a:pt x="1897" y="485"/>
                </a:lnTo>
                <a:lnTo>
                  <a:pt x="1903" y="475"/>
                </a:lnTo>
                <a:lnTo>
                  <a:pt x="1908" y="464"/>
                </a:lnTo>
                <a:lnTo>
                  <a:pt x="1913" y="452"/>
                </a:lnTo>
                <a:lnTo>
                  <a:pt x="1917" y="440"/>
                </a:lnTo>
                <a:lnTo>
                  <a:pt x="1922" y="428"/>
                </a:lnTo>
                <a:lnTo>
                  <a:pt x="1925" y="416"/>
                </a:lnTo>
                <a:lnTo>
                  <a:pt x="1929" y="404"/>
                </a:lnTo>
                <a:lnTo>
                  <a:pt x="1932" y="392"/>
                </a:lnTo>
                <a:lnTo>
                  <a:pt x="1934" y="379"/>
                </a:lnTo>
                <a:lnTo>
                  <a:pt x="1937" y="367"/>
                </a:lnTo>
                <a:lnTo>
                  <a:pt x="1938" y="355"/>
                </a:lnTo>
                <a:lnTo>
                  <a:pt x="1940" y="343"/>
                </a:lnTo>
                <a:lnTo>
                  <a:pt x="1941" y="332"/>
                </a:lnTo>
                <a:lnTo>
                  <a:pt x="1942" y="320"/>
                </a:lnTo>
                <a:lnTo>
                  <a:pt x="1942" y="308"/>
                </a:lnTo>
                <a:lnTo>
                  <a:pt x="1942" y="298"/>
                </a:lnTo>
                <a:lnTo>
                  <a:pt x="1941" y="287"/>
                </a:lnTo>
                <a:lnTo>
                  <a:pt x="1942" y="285"/>
                </a:lnTo>
                <a:lnTo>
                  <a:pt x="1944" y="283"/>
                </a:lnTo>
                <a:lnTo>
                  <a:pt x="1946" y="281"/>
                </a:lnTo>
                <a:lnTo>
                  <a:pt x="1949" y="279"/>
                </a:lnTo>
                <a:lnTo>
                  <a:pt x="1957" y="276"/>
                </a:lnTo>
                <a:lnTo>
                  <a:pt x="1960" y="275"/>
                </a:lnTo>
                <a:lnTo>
                  <a:pt x="1965" y="275"/>
                </a:lnTo>
                <a:lnTo>
                  <a:pt x="1972" y="276"/>
                </a:lnTo>
                <a:lnTo>
                  <a:pt x="1975" y="276"/>
                </a:lnTo>
                <a:lnTo>
                  <a:pt x="1978" y="277"/>
                </a:lnTo>
                <a:lnTo>
                  <a:pt x="1984" y="280"/>
                </a:lnTo>
                <a:lnTo>
                  <a:pt x="1987" y="282"/>
                </a:lnTo>
                <a:lnTo>
                  <a:pt x="1989" y="284"/>
                </a:lnTo>
                <a:lnTo>
                  <a:pt x="1993" y="290"/>
                </a:lnTo>
                <a:lnTo>
                  <a:pt x="1995" y="294"/>
                </a:lnTo>
                <a:lnTo>
                  <a:pt x="1996" y="297"/>
                </a:lnTo>
                <a:lnTo>
                  <a:pt x="1997" y="302"/>
                </a:lnTo>
                <a:lnTo>
                  <a:pt x="1998" y="307"/>
                </a:lnTo>
                <a:lnTo>
                  <a:pt x="1998" y="312"/>
                </a:lnTo>
                <a:lnTo>
                  <a:pt x="1999" y="318"/>
                </a:lnTo>
                <a:lnTo>
                  <a:pt x="1998" y="334"/>
                </a:lnTo>
                <a:lnTo>
                  <a:pt x="1997" y="350"/>
                </a:lnTo>
                <a:lnTo>
                  <a:pt x="1995" y="365"/>
                </a:lnTo>
                <a:lnTo>
                  <a:pt x="1993" y="380"/>
                </a:lnTo>
                <a:lnTo>
                  <a:pt x="1991" y="396"/>
                </a:lnTo>
                <a:lnTo>
                  <a:pt x="1988" y="411"/>
                </a:lnTo>
                <a:lnTo>
                  <a:pt x="1984" y="425"/>
                </a:lnTo>
                <a:lnTo>
                  <a:pt x="1981" y="439"/>
                </a:lnTo>
                <a:lnTo>
                  <a:pt x="1976" y="454"/>
                </a:lnTo>
                <a:lnTo>
                  <a:pt x="1971" y="468"/>
                </a:lnTo>
                <a:lnTo>
                  <a:pt x="1966" y="481"/>
                </a:lnTo>
                <a:lnTo>
                  <a:pt x="1960" y="494"/>
                </a:lnTo>
                <a:lnTo>
                  <a:pt x="1954" y="506"/>
                </a:lnTo>
                <a:lnTo>
                  <a:pt x="1947" y="519"/>
                </a:lnTo>
                <a:lnTo>
                  <a:pt x="1940" y="531"/>
                </a:lnTo>
                <a:lnTo>
                  <a:pt x="1933" y="542"/>
                </a:lnTo>
                <a:lnTo>
                  <a:pt x="1925" y="553"/>
                </a:lnTo>
                <a:lnTo>
                  <a:pt x="1917" y="563"/>
                </a:lnTo>
                <a:lnTo>
                  <a:pt x="1909" y="573"/>
                </a:lnTo>
                <a:lnTo>
                  <a:pt x="1900" y="582"/>
                </a:lnTo>
                <a:lnTo>
                  <a:pt x="1891" y="591"/>
                </a:lnTo>
                <a:lnTo>
                  <a:pt x="1880" y="599"/>
                </a:lnTo>
                <a:lnTo>
                  <a:pt x="1871" y="606"/>
                </a:lnTo>
                <a:lnTo>
                  <a:pt x="1861" y="612"/>
                </a:lnTo>
                <a:lnTo>
                  <a:pt x="1850" y="618"/>
                </a:lnTo>
                <a:lnTo>
                  <a:pt x="1840" y="624"/>
                </a:lnTo>
                <a:lnTo>
                  <a:pt x="1828" y="628"/>
                </a:lnTo>
                <a:lnTo>
                  <a:pt x="1817" y="633"/>
                </a:lnTo>
                <a:lnTo>
                  <a:pt x="1805" y="636"/>
                </a:lnTo>
                <a:lnTo>
                  <a:pt x="1793" y="638"/>
                </a:lnTo>
                <a:lnTo>
                  <a:pt x="1782" y="639"/>
                </a:lnTo>
                <a:lnTo>
                  <a:pt x="1768" y="639"/>
                </a:lnTo>
                <a:close/>
                <a:moveTo>
                  <a:pt x="2156" y="634"/>
                </a:moveTo>
                <a:lnTo>
                  <a:pt x="2154" y="633"/>
                </a:lnTo>
                <a:lnTo>
                  <a:pt x="2152" y="633"/>
                </a:lnTo>
                <a:lnTo>
                  <a:pt x="2147" y="629"/>
                </a:lnTo>
                <a:lnTo>
                  <a:pt x="2140" y="625"/>
                </a:lnTo>
                <a:lnTo>
                  <a:pt x="2133" y="619"/>
                </a:lnTo>
                <a:lnTo>
                  <a:pt x="2119" y="608"/>
                </a:lnTo>
                <a:lnTo>
                  <a:pt x="2104" y="595"/>
                </a:lnTo>
                <a:lnTo>
                  <a:pt x="2088" y="579"/>
                </a:lnTo>
                <a:lnTo>
                  <a:pt x="2071" y="561"/>
                </a:lnTo>
                <a:lnTo>
                  <a:pt x="2055" y="544"/>
                </a:lnTo>
                <a:lnTo>
                  <a:pt x="2040" y="527"/>
                </a:lnTo>
                <a:lnTo>
                  <a:pt x="2029" y="513"/>
                </a:lnTo>
                <a:lnTo>
                  <a:pt x="2025" y="506"/>
                </a:lnTo>
                <a:lnTo>
                  <a:pt x="2021" y="501"/>
                </a:lnTo>
                <a:lnTo>
                  <a:pt x="2016" y="490"/>
                </a:lnTo>
                <a:lnTo>
                  <a:pt x="2012" y="481"/>
                </a:lnTo>
                <a:lnTo>
                  <a:pt x="2009" y="471"/>
                </a:lnTo>
                <a:lnTo>
                  <a:pt x="2008" y="461"/>
                </a:lnTo>
                <a:lnTo>
                  <a:pt x="2008" y="456"/>
                </a:lnTo>
                <a:lnTo>
                  <a:pt x="2009" y="449"/>
                </a:lnTo>
                <a:lnTo>
                  <a:pt x="2012" y="443"/>
                </a:lnTo>
                <a:lnTo>
                  <a:pt x="2014" y="437"/>
                </a:lnTo>
                <a:lnTo>
                  <a:pt x="2016" y="431"/>
                </a:lnTo>
                <a:lnTo>
                  <a:pt x="2019" y="424"/>
                </a:lnTo>
                <a:lnTo>
                  <a:pt x="2023" y="418"/>
                </a:lnTo>
                <a:lnTo>
                  <a:pt x="2028" y="411"/>
                </a:lnTo>
                <a:lnTo>
                  <a:pt x="2036" y="400"/>
                </a:lnTo>
                <a:lnTo>
                  <a:pt x="2047" y="385"/>
                </a:lnTo>
                <a:lnTo>
                  <a:pt x="2078" y="352"/>
                </a:lnTo>
                <a:lnTo>
                  <a:pt x="2112" y="312"/>
                </a:lnTo>
                <a:lnTo>
                  <a:pt x="2148" y="270"/>
                </a:lnTo>
                <a:lnTo>
                  <a:pt x="2150" y="270"/>
                </a:lnTo>
                <a:lnTo>
                  <a:pt x="2153" y="270"/>
                </a:lnTo>
                <a:lnTo>
                  <a:pt x="2157" y="270"/>
                </a:lnTo>
                <a:lnTo>
                  <a:pt x="2161" y="272"/>
                </a:lnTo>
                <a:lnTo>
                  <a:pt x="2165" y="274"/>
                </a:lnTo>
                <a:lnTo>
                  <a:pt x="2169" y="276"/>
                </a:lnTo>
                <a:lnTo>
                  <a:pt x="2173" y="280"/>
                </a:lnTo>
                <a:lnTo>
                  <a:pt x="2177" y="283"/>
                </a:lnTo>
                <a:lnTo>
                  <a:pt x="2181" y="288"/>
                </a:lnTo>
                <a:lnTo>
                  <a:pt x="2184" y="292"/>
                </a:lnTo>
                <a:lnTo>
                  <a:pt x="2185" y="297"/>
                </a:lnTo>
                <a:lnTo>
                  <a:pt x="2186" y="302"/>
                </a:lnTo>
                <a:lnTo>
                  <a:pt x="2185" y="307"/>
                </a:lnTo>
                <a:lnTo>
                  <a:pt x="2183" y="313"/>
                </a:lnTo>
                <a:lnTo>
                  <a:pt x="2180" y="318"/>
                </a:lnTo>
                <a:lnTo>
                  <a:pt x="2177" y="324"/>
                </a:lnTo>
                <a:lnTo>
                  <a:pt x="2168" y="336"/>
                </a:lnTo>
                <a:lnTo>
                  <a:pt x="2157" y="349"/>
                </a:lnTo>
                <a:lnTo>
                  <a:pt x="2127" y="382"/>
                </a:lnTo>
                <a:lnTo>
                  <a:pt x="2097" y="416"/>
                </a:lnTo>
                <a:lnTo>
                  <a:pt x="2085" y="431"/>
                </a:lnTo>
                <a:lnTo>
                  <a:pt x="2076" y="442"/>
                </a:lnTo>
                <a:lnTo>
                  <a:pt x="2073" y="446"/>
                </a:lnTo>
                <a:lnTo>
                  <a:pt x="2072" y="450"/>
                </a:lnTo>
                <a:lnTo>
                  <a:pt x="2071" y="454"/>
                </a:lnTo>
                <a:lnTo>
                  <a:pt x="2069" y="458"/>
                </a:lnTo>
                <a:lnTo>
                  <a:pt x="2071" y="462"/>
                </a:lnTo>
                <a:lnTo>
                  <a:pt x="2072" y="467"/>
                </a:lnTo>
                <a:lnTo>
                  <a:pt x="2074" y="471"/>
                </a:lnTo>
                <a:lnTo>
                  <a:pt x="2077" y="476"/>
                </a:lnTo>
                <a:lnTo>
                  <a:pt x="2084" y="485"/>
                </a:lnTo>
                <a:lnTo>
                  <a:pt x="2095" y="497"/>
                </a:lnTo>
                <a:lnTo>
                  <a:pt x="2122" y="527"/>
                </a:lnTo>
                <a:lnTo>
                  <a:pt x="2155" y="559"/>
                </a:lnTo>
                <a:lnTo>
                  <a:pt x="2186" y="590"/>
                </a:lnTo>
                <a:lnTo>
                  <a:pt x="2188" y="592"/>
                </a:lnTo>
                <a:lnTo>
                  <a:pt x="2189" y="594"/>
                </a:lnTo>
                <a:lnTo>
                  <a:pt x="2191" y="596"/>
                </a:lnTo>
                <a:lnTo>
                  <a:pt x="2192" y="599"/>
                </a:lnTo>
                <a:lnTo>
                  <a:pt x="2191" y="604"/>
                </a:lnTo>
                <a:lnTo>
                  <a:pt x="2189" y="607"/>
                </a:lnTo>
                <a:lnTo>
                  <a:pt x="2187" y="610"/>
                </a:lnTo>
                <a:lnTo>
                  <a:pt x="2184" y="616"/>
                </a:lnTo>
                <a:lnTo>
                  <a:pt x="2182" y="618"/>
                </a:lnTo>
                <a:lnTo>
                  <a:pt x="2179" y="621"/>
                </a:lnTo>
                <a:lnTo>
                  <a:pt x="2174" y="626"/>
                </a:lnTo>
                <a:lnTo>
                  <a:pt x="2171" y="628"/>
                </a:lnTo>
                <a:lnTo>
                  <a:pt x="2168" y="629"/>
                </a:lnTo>
                <a:lnTo>
                  <a:pt x="2162" y="633"/>
                </a:lnTo>
                <a:lnTo>
                  <a:pt x="2159" y="633"/>
                </a:lnTo>
                <a:lnTo>
                  <a:pt x="2156" y="634"/>
                </a:lnTo>
                <a:close/>
                <a:moveTo>
                  <a:pt x="1768" y="1633"/>
                </a:moveTo>
                <a:lnTo>
                  <a:pt x="1761" y="1632"/>
                </a:lnTo>
                <a:lnTo>
                  <a:pt x="1753" y="1632"/>
                </a:lnTo>
                <a:lnTo>
                  <a:pt x="1746" y="1631"/>
                </a:lnTo>
                <a:lnTo>
                  <a:pt x="1738" y="1629"/>
                </a:lnTo>
                <a:lnTo>
                  <a:pt x="1731" y="1627"/>
                </a:lnTo>
                <a:lnTo>
                  <a:pt x="1724" y="1625"/>
                </a:lnTo>
                <a:lnTo>
                  <a:pt x="1709" y="1619"/>
                </a:lnTo>
                <a:lnTo>
                  <a:pt x="1696" y="1612"/>
                </a:lnTo>
                <a:lnTo>
                  <a:pt x="1690" y="1608"/>
                </a:lnTo>
                <a:lnTo>
                  <a:pt x="1684" y="1603"/>
                </a:lnTo>
                <a:lnTo>
                  <a:pt x="1678" y="1598"/>
                </a:lnTo>
                <a:lnTo>
                  <a:pt x="1672" y="1593"/>
                </a:lnTo>
                <a:lnTo>
                  <a:pt x="1667" y="1587"/>
                </a:lnTo>
                <a:lnTo>
                  <a:pt x="1662" y="1581"/>
                </a:lnTo>
                <a:lnTo>
                  <a:pt x="1657" y="1575"/>
                </a:lnTo>
                <a:lnTo>
                  <a:pt x="1652" y="1568"/>
                </a:lnTo>
                <a:lnTo>
                  <a:pt x="1647" y="1562"/>
                </a:lnTo>
                <a:lnTo>
                  <a:pt x="1642" y="1555"/>
                </a:lnTo>
                <a:lnTo>
                  <a:pt x="1639" y="1548"/>
                </a:lnTo>
                <a:lnTo>
                  <a:pt x="1635" y="1540"/>
                </a:lnTo>
                <a:lnTo>
                  <a:pt x="1632" y="1533"/>
                </a:lnTo>
                <a:lnTo>
                  <a:pt x="1629" y="1524"/>
                </a:lnTo>
                <a:lnTo>
                  <a:pt x="1626" y="1516"/>
                </a:lnTo>
                <a:lnTo>
                  <a:pt x="1624" y="1508"/>
                </a:lnTo>
                <a:lnTo>
                  <a:pt x="1622" y="1500"/>
                </a:lnTo>
                <a:lnTo>
                  <a:pt x="1620" y="1491"/>
                </a:lnTo>
                <a:lnTo>
                  <a:pt x="1619" y="1482"/>
                </a:lnTo>
                <a:lnTo>
                  <a:pt x="1618" y="1473"/>
                </a:lnTo>
                <a:lnTo>
                  <a:pt x="1617" y="1463"/>
                </a:lnTo>
                <a:lnTo>
                  <a:pt x="1617" y="1454"/>
                </a:lnTo>
                <a:lnTo>
                  <a:pt x="1618" y="1436"/>
                </a:lnTo>
                <a:lnTo>
                  <a:pt x="1619" y="1426"/>
                </a:lnTo>
                <a:lnTo>
                  <a:pt x="1620" y="1417"/>
                </a:lnTo>
                <a:lnTo>
                  <a:pt x="1622" y="1407"/>
                </a:lnTo>
                <a:lnTo>
                  <a:pt x="1624" y="1398"/>
                </a:lnTo>
                <a:lnTo>
                  <a:pt x="1626" y="1390"/>
                </a:lnTo>
                <a:lnTo>
                  <a:pt x="1629" y="1381"/>
                </a:lnTo>
                <a:lnTo>
                  <a:pt x="1632" y="1373"/>
                </a:lnTo>
                <a:lnTo>
                  <a:pt x="1636" y="1364"/>
                </a:lnTo>
                <a:lnTo>
                  <a:pt x="1640" y="1356"/>
                </a:lnTo>
                <a:lnTo>
                  <a:pt x="1644" y="1348"/>
                </a:lnTo>
                <a:lnTo>
                  <a:pt x="1648" y="1340"/>
                </a:lnTo>
                <a:lnTo>
                  <a:pt x="1654" y="1333"/>
                </a:lnTo>
                <a:lnTo>
                  <a:pt x="1664" y="1319"/>
                </a:lnTo>
                <a:lnTo>
                  <a:pt x="1670" y="1312"/>
                </a:lnTo>
                <a:lnTo>
                  <a:pt x="1675" y="1306"/>
                </a:lnTo>
                <a:lnTo>
                  <a:pt x="1688" y="1295"/>
                </a:lnTo>
                <a:lnTo>
                  <a:pt x="1694" y="1289"/>
                </a:lnTo>
                <a:lnTo>
                  <a:pt x="1701" y="1284"/>
                </a:lnTo>
                <a:lnTo>
                  <a:pt x="1708" y="1279"/>
                </a:lnTo>
                <a:lnTo>
                  <a:pt x="1716" y="1275"/>
                </a:lnTo>
                <a:lnTo>
                  <a:pt x="1723" y="1272"/>
                </a:lnTo>
                <a:lnTo>
                  <a:pt x="1730" y="1269"/>
                </a:lnTo>
                <a:lnTo>
                  <a:pt x="1738" y="1266"/>
                </a:lnTo>
                <a:lnTo>
                  <a:pt x="1746" y="1264"/>
                </a:lnTo>
                <a:lnTo>
                  <a:pt x="1754" y="1262"/>
                </a:lnTo>
                <a:lnTo>
                  <a:pt x="1762" y="1260"/>
                </a:lnTo>
                <a:lnTo>
                  <a:pt x="1771" y="1260"/>
                </a:lnTo>
                <a:lnTo>
                  <a:pt x="1779" y="1259"/>
                </a:lnTo>
                <a:lnTo>
                  <a:pt x="1789" y="1260"/>
                </a:lnTo>
                <a:lnTo>
                  <a:pt x="1794" y="1260"/>
                </a:lnTo>
                <a:lnTo>
                  <a:pt x="1799" y="1261"/>
                </a:lnTo>
                <a:lnTo>
                  <a:pt x="1803" y="1262"/>
                </a:lnTo>
                <a:lnTo>
                  <a:pt x="1808" y="1263"/>
                </a:lnTo>
                <a:lnTo>
                  <a:pt x="1816" y="1267"/>
                </a:lnTo>
                <a:lnTo>
                  <a:pt x="1824" y="1270"/>
                </a:lnTo>
                <a:lnTo>
                  <a:pt x="1832" y="1275"/>
                </a:lnTo>
                <a:lnTo>
                  <a:pt x="1839" y="1280"/>
                </a:lnTo>
                <a:lnTo>
                  <a:pt x="1845" y="1286"/>
                </a:lnTo>
                <a:lnTo>
                  <a:pt x="1848" y="1290"/>
                </a:lnTo>
                <a:lnTo>
                  <a:pt x="1851" y="1294"/>
                </a:lnTo>
                <a:lnTo>
                  <a:pt x="1855" y="1301"/>
                </a:lnTo>
                <a:lnTo>
                  <a:pt x="1859" y="1309"/>
                </a:lnTo>
                <a:lnTo>
                  <a:pt x="1863" y="1317"/>
                </a:lnTo>
                <a:lnTo>
                  <a:pt x="1865" y="1326"/>
                </a:lnTo>
                <a:lnTo>
                  <a:pt x="1867" y="1335"/>
                </a:lnTo>
                <a:lnTo>
                  <a:pt x="1868" y="1345"/>
                </a:lnTo>
                <a:lnTo>
                  <a:pt x="1869" y="1356"/>
                </a:lnTo>
                <a:lnTo>
                  <a:pt x="1868" y="1368"/>
                </a:lnTo>
                <a:lnTo>
                  <a:pt x="1867" y="1374"/>
                </a:lnTo>
                <a:lnTo>
                  <a:pt x="1866" y="1380"/>
                </a:lnTo>
                <a:lnTo>
                  <a:pt x="1862" y="1392"/>
                </a:lnTo>
                <a:lnTo>
                  <a:pt x="1857" y="1404"/>
                </a:lnTo>
                <a:lnTo>
                  <a:pt x="1851" y="1416"/>
                </a:lnTo>
                <a:lnTo>
                  <a:pt x="1843" y="1427"/>
                </a:lnTo>
                <a:lnTo>
                  <a:pt x="1839" y="1432"/>
                </a:lnTo>
                <a:lnTo>
                  <a:pt x="1835" y="1437"/>
                </a:lnTo>
                <a:lnTo>
                  <a:pt x="1825" y="1446"/>
                </a:lnTo>
                <a:lnTo>
                  <a:pt x="1815" y="1454"/>
                </a:lnTo>
                <a:lnTo>
                  <a:pt x="1810" y="1458"/>
                </a:lnTo>
                <a:lnTo>
                  <a:pt x="1804" y="1462"/>
                </a:lnTo>
                <a:lnTo>
                  <a:pt x="1793" y="1469"/>
                </a:lnTo>
                <a:lnTo>
                  <a:pt x="1781" y="1475"/>
                </a:lnTo>
                <a:lnTo>
                  <a:pt x="1768" y="1480"/>
                </a:lnTo>
                <a:lnTo>
                  <a:pt x="1762" y="1482"/>
                </a:lnTo>
                <a:lnTo>
                  <a:pt x="1756" y="1483"/>
                </a:lnTo>
                <a:lnTo>
                  <a:pt x="1750" y="1484"/>
                </a:lnTo>
                <a:lnTo>
                  <a:pt x="1743" y="1485"/>
                </a:lnTo>
                <a:lnTo>
                  <a:pt x="1731" y="1486"/>
                </a:lnTo>
                <a:lnTo>
                  <a:pt x="1725" y="1485"/>
                </a:lnTo>
                <a:lnTo>
                  <a:pt x="1720" y="1483"/>
                </a:lnTo>
                <a:lnTo>
                  <a:pt x="1716" y="1481"/>
                </a:lnTo>
                <a:lnTo>
                  <a:pt x="1714" y="1479"/>
                </a:lnTo>
                <a:lnTo>
                  <a:pt x="1712" y="1477"/>
                </a:lnTo>
                <a:lnTo>
                  <a:pt x="1708" y="1472"/>
                </a:lnTo>
                <a:lnTo>
                  <a:pt x="1706" y="1466"/>
                </a:lnTo>
                <a:lnTo>
                  <a:pt x="1705" y="1463"/>
                </a:lnTo>
                <a:lnTo>
                  <a:pt x="1704" y="1460"/>
                </a:lnTo>
                <a:lnTo>
                  <a:pt x="1704" y="1454"/>
                </a:lnTo>
                <a:lnTo>
                  <a:pt x="1704" y="1451"/>
                </a:lnTo>
                <a:lnTo>
                  <a:pt x="1704" y="1448"/>
                </a:lnTo>
                <a:lnTo>
                  <a:pt x="1705" y="1443"/>
                </a:lnTo>
                <a:lnTo>
                  <a:pt x="1706" y="1441"/>
                </a:lnTo>
                <a:lnTo>
                  <a:pt x="1707" y="1439"/>
                </a:lnTo>
                <a:lnTo>
                  <a:pt x="1709" y="1438"/>
                </a:lnTo>
                <a:lnTo>
                  <a:pt x="1712" y="1436"/>
                </a:lnTo>
                <a:lnTo>
                  <a:pt x="1722" y="1434"/>
                </a:lnTo>
                <a:lnTo>
                  <a:pt x="1733" y="1432"/>
                </a:lnTo>
                <a:lnTo>
                  <a:pt x="1743" y="1428"/>
                </a:lnTo>
                <a:lnTo>
                  <a:pt x="1753" y="1424"/>
                </a:lnTo>
                <a:lnTo>
                  <a:pt x="1762" y="1420"/>
                </a:lnTo>
                <a:lnTo>
                  <a:pt x="1771" y="1415"/>
                </a:lnTo>
                <a:lnTo>
                  <a:pt x="1779" y="1408"/>
                </a:lnTo>
                <a:lnTo>
                  <a:pt x="1783" y="1406"/>
                </a:lnTo>
                <a:lnTo>
                  <a:pt x="1786" y="1403"/>
                </a:lnTo>
                <a:lnTo>
                  <a:pt x="1793" y="1396"/>
                </a:lnTo>
                <a:lnTo>
                  <a:pt x="1799" y="1390"/>
                </a:lnTo>
                <a:lnTo>
                  <a:pt x="1803" y="1383"/>
                </a:lnTo>
                <a:lnTo>
                  <a:pt x="1808" y="1376"/>
                </a:lnTo>
                <a:lnTo>
                  <a:pt x="1811" y="1369"/>
                </a:lnTo>
                <a:lnTo>
                  <a:pt x="1813" y="1362"/>
                </a:lnTo>
                <a:lnTo>
                  <a:pt x="1815" y="1355"/>
                </a:lnTo>
                <a:lnTo>
                  <a:pt x="1815" y="1347"/>
                </a:lnTo>
                <a:lnTo>
                  <a:pt x="1815" y="1339"/>
                </a:lnTo>
                <a:lnTo>
                  <a:pt x="1813" y="1332"/>
                </a:lnTo>
                <a:lnTo>
                  <a:pt x="1811" y="1328"/>
                </a:lnTo>
                <a:lnTo>
                  <a:pt x="1809" y="1325"/>
                </a:lnTo>
                <a:lnTo>
                  <a:pt x="1807" y="1323"/>
                </a:lnTo>
                <a:lnTo>
                  <a:pt x="1805" y="1320"/>
                </a:lnTo>
                <a:lnTo>
                  <a:pt x="1799" y="1316"/>
                </a:lnTo>
                <a:lnTo>
                  <a:pt x="1796" y="1314"/>
                </a:lnTo>
                <a:lnTo>
                  <a:pt x="1792" y="1313"/>
                </a:lnTo>
                <a:lnTo>
                  <a:pt x="1784" y="1311"/>
                </a:lnTo>
                <a:lnTo>
                  <a:pt x="1780" y="1310"/>
                </a:lnTo>
                <a:lnTo>
                  <a:pt x="1775" y="1310"/>
                </a:lnTo>
                <a:lnTo>
                  <a:pt x="1765" y="1311"/>
                </a:lnTo>
                <a:lnTo>
                  <a:pt x="1761" y="1312"/>
                </a:lnTo>
                <a:lnTo>
                  <a:pt x="1756" y="1313"/>
                </a:lnTo>
                <a:lnTo>
                  <a:pt x="1752" y="1315"/>
                </a:lnTo>
                <a:lnTo>
                  <a:pt x="1748" y="1316"/>
                </a:lnTo>
                <a:lnTo>
                  <a:pt x="1743" y="1319"/>
                </a:lnTo>
                <a:lnTo>
                  <a:pt x="1739" y="1321"/>
                </a:lnTo>
                <a:lnTo>
                  <a:pt x="1735" y="1324"/>
                </a:lnTo>
                <a:lnTo>
                  <a:pt x="1730" y="1327"/>
                </a:lnTo>
                <a:lnTo>
                  <a:pt x="1722" y="1334"/>
                </a:lnTo>
                <a:lnTo>
                  <a:pt x="1714" y="1342"/>
                </a:lnTo>
                <a:lnTo>
                  <a:pt x="1706" y="1352"/>
                </a:lnTo>
                <a:lnTo>
                  <a:pt x="1702" y="1357"/>
                </a:lnTo>
                <a:lnTo>
                  <a:pt x="1699" y="1362"/>
                </a:lnTo>
                <a:lnTo>
                  <a:pt x="1693" y="1373"/>
                </a:lnTo>
                <a:lnTo>
                  <a:pt x="1687" y="1384"/>
                </a:lnTo>
                <a:lnTo>
                  <a:pt x="1682" y="1397"/>
                </a:lnTo>
                <a:lnTo>
                  <a:pt x="1679" y="1409"/>
                </a:lnTo>
                <a:lnTo>
                  <a:pt x="1676" y="1424"/>
                </a:lnTo>
                <a:lnTo>
                  <a:pt x="1674" y="1438"/>
                </a:lnTo>
                <a:lnTo>
                  <a:pt x="1674" y="1445"/>
                </a:lnTo>
                <a:lnTo>
                  <a:pt x="1673" y="1452"/>
                </a:lnTo>
                <a:lnTo>
                  <a:pt x="1674" y="1464"/>
                </a:lnTo>
                <a:lnTo>
                  <a:pt x="1675" y="1478"/>
                </a:lnTo>
                <a:lnTo>
                  <a:pt x="1677" y="1489"/>
                </a:lnTo>
                <a:lnTo>
                  <a:pt x="1679" y="1495"/>
                </a:lnTo>
                <a:lnTo>
                  <a:pt x="1680" y="1500"/>
                </a:lnTo>
                <a:lnTo>
                  <a:pt x="1684" y="1511"/>
                </a:lnTo>
                <a:lnTo>
                  <a:pt x="1686" y="1516"/>
                </a:lnTo>
                <a:lnTo>
                  <a:pt x="1688" y="1521"/>
                </a:lnTo>
                <a:lnTo>
                  <a:pt x="1691" y="1525"/>
                </a:lnTo>
                <a:lnTo>
                  <a:pt x="1694" y="1530"/>
                </a:lnTo>
                <a:lnTo>
                  <a:pt x="1697" y="1535"/>
                </a:lnTo>
                <a:lnTo>
                  <a:pt x="1700" y="1539"/>
                </a:lnTo>
                <a:lnTo>
                  <a:pt x="1703" y="1543"/>
                </a:lnTo>
                <a:lnTo>
                  <a:pt x="1706" y="1546"/>
                </a:lnTo>
                <a:lnTo>
                  <a:pt x="1714" y="1553"/>
                </a:lnTo>
                <a:lnTo>
                  <a:pt x="1722" y="1559"/>
                </a:lnTo>
                <a:lnTo>
                  <a:pt x="1731" y="1563"/>
                </a:lnTo>
                <a:lnTo>
                  <a:pt x="1740" y="1567"/>
                </a:lnTo>
                <a:lnTo>
                  <a:pt x="1749" y="1570"/>
                </a:lnTo>
                <a:lnTo>
                  <a:pt x="1760" y="1572"/>
                </a:lnTo>
                <a:lnTo>
                  <a:pt x="1765" y="1572"/>
                </a:lnTo>
                <a:lnTo>
                  <a:pt x="1771" y="1572"/>
                </a:lnTo>
                <a:lnTo>
                  <a:pt x="1782" y="1572"/>
                </a:lnTo>
                <a:lnTo>
                  <a:pt x="1792" y="1570"/>
                </a:lnTo>
                <a:lnTo>
                  <a:pt x="1802" y="1568"/>
                </a:lnTo>
                <a:lnTo>
                  <a:pt x="1811" y="1564"/>
                </a:lnTo>
                <a:lnTo>
                  <a:pt x="1821" y="1560"/>
                </a:lnTo>
                <a:lnTo>
                  <a:pt x="1831" y="1555"/>
                </a:lnTo>
                <a:lnTo>
                  <a:pt x="1839" y="1549"/>
                </a:lnTo>
                <a:lnTo>
                  <a:pt x="1848" y="1543"/>
                </a:lnTo>
                <a:lnTo>
                  <a:pt x="1856" y="1536"/>
                </a:lnTo>
                <a:lnTo>
                  <a:pt x="1863" y="1527"/>
                </a:lnTo>
                <a:lnTo>
                  <a:pt x="1871" y="1518"/>
                </a:lnTo>
                <a:lnTo>
                  <a:pt x="1877" y="1509"/>
                </a:lnTo>
                <a:lnTo>
                  <a:pt x="1891" y="1490"/>
                </a:lnTo>
                <a:lnTo>
                  <a:pt x="1897" y="1479"/>
                </a:lnTo>
                <a:lnTo>
                  <a:pt x="1903" y="1468"/>
                </a:lnTo>
                <a:lnTo>
                  <a:pt x="1908" y="1457"/>
                </a:lnTo>
                <a:lnTo>
                  <a:pt x="1913" y="1445"/>
                </a:lnTo>
                <a:lnTo>
                  <a:pt x="1917" y="1434"/>
                </a:lnTo>
                <a:lnTo>
                  <a:pt x="1922" y="1422"/>
                </a:lnTo>
                <a:lnTo>
                  <a:pt x="1925" y="1409"/>
                </a:lnTo>
                <a:lnTo>
                  <a:pt x="1929" y="1397"/>
                </a:lnTo>
                <a:lnTo>
                  <a:pt x="1932" y="1385"/>
                </a:lnTo>
                <a:lnTo>
                  <a:pt x="1934" y="1373"/>
                </a:lnTo>
                <a:lnTo>
                  <a:pt x="1937" y="1361"/>
                </a:lnTo>
                <a:lnTo>
                  <a:pt x="1938" y="1348"/>
                </a:lnTo>
                <a:lnTo>
                  <a:pt x="1940" y="1337"/>
                </a:lnTo>
                <a:lnTo>
                  <a:pt x="1941" y="1325"/>
                </a:lnTo>
                <a:lnTo>
                  <a:pt x="1942" y="1314"/>
                </a:lnTo>
                <a:lnTo>
                  <a:pt x="1942" y="1303"/>
                </a:lnTo>
                <a:lnTo>
                  <a:pt x="1942" y="1292"/>
                </a:lnTo>
                <a:lnTo>
                  <a:pt x="1941" y="1280"/>
                </a:lnTo>
                <a:lnTo>
                  <a:pt x="1942" y="1278"/>
                </a:lnTo>
                <a:lnTo>
                  <a:pt x="1944" y="1276"/>
                </a:lnTo>
                <a:lnTo>
                  <a:pt x="1946" y="1274"/>
                </a:lnTo>
                <a:lnTo>
                  <a:pt x="1949" y="1272"/>
                </a:lnTo>
                <a:lnTo>
                  <a:pt x="1957" y="1269"/>
                </a:lnTo>
                <a:lnTo>
                  <a:pt x="1960" y="1269"/>
                </a:lnTo>
                <a:lnTo>
                  <a:pt x="1965" y="1268"/>
                </a:lnTo>
                <a:lnTo>
                  <a:pt x="1972" y="1269"/>
                </a:lnTo>
                <a:lnTo>
                  <a:pt x="1975" y="1269"/>
                </a:lnTo>
                <a:lnTo>
                  <a:pt x="1978" y="1270"/>
                </a:lnTo>
                <a:lnTo>
                  <a:pt x="1984" y="1273"/>
                </a:lnTo>
                <a:lnTo>
                  <a:pt x="1987" y="1275"/>
                </a:lnTo>
                <a:lnTo>
                  <a:pt x="1989" y="1277"/>
                </a:lnTo>
                <a:lnTo>
                  <a:pt x="1993" y="1283"/>
                </a:lnTo>
                <a:lnTo>
                  <a:pt x="1995" y="1287"/>
                </a:lnTo>
                <a:lnTo>
                  <a:pt x="1996" y="1292"/>
                </a:lnTo>
                <a:lnTo>
                  <a:pt x="1997" y="1296"/>
                </a:lnTo>
                <a:lnTo>
                  <a:pt x="1998" y="1301"/>
                </a:lnTo>
                <a:lnTo>
                  <a:pt x="1998" y="1306"/>
                </a:lnTo>
                <a:lnTo>
                  <a:pt x="1999" y="1312"/>
                </a:lnTo>
                <a:lnTo>
                  <a:pt x="1998" y="1328"/>
                </a:lnTo>
                <a:lnTo>
                  <a:pt x="1997" y="1343"/>
                </a:lnTo>
                <a:lnTo>
                  <a:pt x="1995" y="1359"/>
                </a:lnTo>
                <a:lnTo>
                  <a:pt x="1993" y="1374"/>
                </a:lnTo>
                <a:lnTo>
                  <a:pt x="1991" y="1389"/>
                </a:lnTo>
                <a:lnTo>
                  <a:pt x="1988" y="1404"/>
                </a:lnTo>
                <a:lnTo>
                  <a:pt x="1984" y="1419"/>
                </a:lnTo>
                <a:lnTo>
                  <a:pt x="1981" y="1434"/>
                </a:lnTo>
                <a:lnTo>
                  <a:pt x="1976" y="1447"/>
                </a:lnTo>
                <a:lnTo>
                  <a:pt x="1971" y="1461"/>
                </a:lnTo>
                <a:lnTo>
                  <a:pt x="1966" y="1475"/>
                </a:lnTo>
                <a:lnTo>
                  <a:pt x="1960" y="1488"/>
                </a:lnTo>
                <a:lnTo>
                  <a:pt x="1954" y="1500"/>
                </a:lnTo>
                <a:lnTo>
                  <a:pt x="1947" y="1512"/>
                </a:lnTo>
                <a:lnTo>
                  <a:pt x="1940" y="1524"/>
                </a:lnTo>
                <a:lnTo>
                  <a:pt x="1933" y="1536"/>
                </a:lnTo>
                <a:lnTo>
                  <a:pt x="1925" y="1547"/>
                </a:lnTo>
                <a:lnTo>
                  <a:pt x="1917" y="1557"/>
                </a:lnTo>
                <a:lnTo>
                  <a:pt x="1909" y="1567"/>
                </a:lnTo>
                <a:lnTo>
                  <a:pt x="1900" y="1576"/>
                </a:lnTo>
                <a:lnTo>
                  <a:pt x="1891" y="1584"/>
                </a:lnTo>
                <a:lnTo>
                  <a:pt x="1880" y="1593"/>
                </a:lnTo>
                <a:lnTo>
                  <a:pt x="1871" y="1600"/>
                </a:lnTo>
                <a:lnTo>
                  <a:pt x="1861" y="1607"/>
                </a:lnTo>
                <a:lnTo>
                  <a:pt x="1850" y="1613"/>
                </a:lnTo>
                <a:lnTo>
                  <a:pt x="1840" y="1618"/>
                </a:lnTo>
                <a:lnTo>
                  <a:pt x="1828" y="1622"/>
                </a:lnTo>
                <a:lnTo>
                  <a:pt x="1817" y="1626"/>
                </a:lnTo>
                <a:lnTo>
                  <a:pt x="1805" y="1629"/>
                </a:lnTo>
                <a:lnTo>
                  <a:pt x="1793" y="1631"/>
                </a:lnTo>
                <a:lnTo>
                  <a:pt x="1782" y="1632"/>
                </a:lnTo>
                <a:lnTo>
                  <a:pt x="1768" y="1633"/>
                </a:lnTo>
                <a:close/>
                <a:moveTo>
                  <a:pt x="2156" y="1627"/>
                </a:moveTo>
                <a:lnTo>
                  <a:pt x="2154" y="1627"/>
                </a:lnTo>
                <a:lnTo>
                  <a:pt x="2152" y="1626"/>
                </a:lnTo>
                <a:lnTo>
                  <a:pt x="2147" y="1623"/>
                </a:lnTo>
                <a:lnTo>
                  <a:pt x="2140" y="1619"/>
                </a:lnTo>
                <a:lnTo>
                  <a:pt x="2133" y="1613"/>
                </a:lnTo>
                <a:lnTo>
                  <a:pt x="2119" y="1603"/>
                </a:lnTo>
                <a:lnTo>
                  <a:pt x="2104" y="1588"/>
                </a:lnTo>
                <a:lnTo>
                  <a:pt x="2088" y="1572"/>
                </a:lnTo>
                <a:lnTo>
                  <a:pt x="2071" y="1555"/>
                </a:lnTo>
                <a:lnTo>
                  <a:pt x="2055" y="1538"/>
                </a:lnTo>
                <a:lnTo>
                  <a:pt x="2040" y="1521"/>
                </a:lnTo>
                <a:lnTo>
                  <a:pt x="2029" y="1506"/>
                </a:lnTo>
                <a:lnTo>
                  <a:pt x="2025" y="1500"/>
                </a:lnTo>
                <a:lnTo>
                  <a:pt x="2021" y="1495"/>
                </a:lnTo>
                <a:lnTo>
                  <a:pt x="2016" y="1485"/>
                </a:lnTo>
                <a:lnTo>
                  <a:pt x="2012" y="1475"/>
                </a:lnTo>
                <a:lnTo>
                  <a:pt x="2009" y="1464"/>
                </a:lnTo>
                <a:lnTo>
                  <a:pt x="2008" y="1454"/>
                </a:lnTo>
                <a:lnTo>
                  <a:pt x="2008" y="1449"/>
                </a:lnTo>
                <a:lnTo>
                  <a:pt x="2009" y="1443"/>
                </a:lnTo>
                <a:lnTo>
                  <a:pt x="2012" y="1437"/>
                </a:lnTo>
                <a:lnTo>
                  <a:pt x="2014" y="1431"/>
                </a:lnTo>
                <a:lnTo>
                  <a:pt x="2016" y="1425"/>
                </a:lnTo>
                <a:lnTo>
                  <a:pt x="2019" y="1419"/>
                </a:lnTo>
                <a:lnTo>
                  <a:pt x="2023" y="1412"/>
                </a:lnTo>
                <a:lnTo>
                  <a:pt x="2028" y="1404"/>
                </a:lnTo>
                <a:lnTo>
                  <a:pt x="2036" y="1393"/>
                </a:lnTo>
                <a:lnTo>
                  <a:pt x="2047" y="1380"/>
                </a:lnTo>
                <a:lnTo>
                  <a:pt x="2078" y="1345"/>
                </a:lnTo>
                <a:lnTo>
                  <a:pt x="2112" y="1306"/>
                </a:lnTo>
                <a:lnTo>
                  <a:pt x="2148" y="1264"/>
                </a:lnTo>
                <a:lnTo>
                  <a:pt x="2150" y="1264"/>
                </a:lnTo>
                <a:lnTo>
                  <a:pt x="2153" y="1264"/>
                </a:lnTo>
                <a:lnTo>
                  <a:pt x="2157" y="1264"/>
                </a:lnTo>
                <a:lnTo>
                  <a:pt x="2161" y="1265"/>
                </a:lnTo>
                <a:lnTo>
                  <a:pt x="2165" y="1267"/>
                </a:lnTo>
                <a:lnTo>
                  <a:pt x="2169" y="1270"/>
                </a:lnTo>
                <a:lnTo>
                  <a:pt x="2173" y="1273"/>
                </a:lnTo>
                <a:lnTo>
                  <a:pt x="2177" y="1276"/>
                </a:lnTo>
                <a:lnTo>
                  <a:pt x="2181" y="1281"/>
                </a:lnTo>
                <a:lnTo>
                  <a:pt x="2184" y="1286"/>
                </a:lnTo>
                <a:lnTo>
                  <a:pt x="2185" y="1290"/>
                </a:lnTo>
                <a:lnTo>
                  <a:pt x="2186" y="1296"/>
                </a:lnTo>
                <a:lnTo>
                  <a:pt x="2185" y="1301"/>
                </a:lnTo>
                <a:lnTo>
                  <a:pt x="2183" y="1307"/>
                </a:lnTo>
                <a:lnTo>
                  <a:pt x="2180" y="1312"/>
                </a:lnTo>
                <a:lnTo>
                  <a:pt x="2177" y="1318"/>
                </a:lnTo>
                <a:lnTo>
                  <a:pt x="2168" y="1329"/>
                </a:lnTo>
                <a:lnTo>
                  <a:pt x="2157" y="1342"/>
                </a:lnTo>
                <a:lnTo>
                  <a:pt x="2127" y="1376"/>
                </a:lnTo>
                <a:lnTo>
                  <a:pt x="2097" y="1409"/>
                </a:lnTo>
                <a:lnTo>
                  <a:pt x="2085" y="1425"/>
                </a:lnTo>
                <a:lnTo>
                  <a:pt x="2076" y="1436"/>
                </a:lnTo>
                <a:lnTo>
                  <a:pt x="2073" y="1440"/>
                </a:lnTo>
                <a:lnTo>
                  <a:pt x="2072" y="1444"/>
                </a:lnTo>
                <a:lnTo>
                  <a:pt x="2071" y="1447"/>
                </a:lnTo>
                <a:lnTo>
                  <a:pt x="2069" y="1451"/>
                </a:lnTo>
                <a:lnTo>
                  <a:pt x="2071" y="1455"/>
                </a:lnTo>
                <a:lnTo>
                  <a:pt x="2072" y="1460"/>
                </a:lnTo>
                <a:lnTo>
                  <a:pt x="2074" y="1464"/>
                </a:lnTo>
                <a:lnTo>
                  <a:pt x="2077" y="1469"/>
                </a:lnTo>
                <a:lnTo>
                  <a:pt x="2084" y="1479"/>
                </a:lnTo>
                <a:lnTo>
                  <a:pt x="2095" y="1491"/>
                </a:lnTo>
                <a:lnTo>
                  <a:pt x="2122" y="1520"/>
                </a:lnTo>
                <a:lnTo>
                  <a:pt x="2155" y="1553"/>
                </a:lnTo>
                <a:lnTo>
                  <a:pt x="2186" y="1583"/>
                </a:lnTo>
                <a:lnTo>
                  <a:pt x="2188" y="1585"/>
                </a:lnTo>
                <a:lnTo>
                  <a:pt x="2189" y="1587"/>
                </a:lnTo>
                <a:lnTo>
                  <a:pt x="2191" y="1589"/>
                </a:lnTo>
                <a:lnTo>
                  <a:pt x="2192" y="1593"/>
                </a:lnTo>
                <a:lnTo>
                  <a:pt x="2191" y="1599"/>
                </a:lnTo>
                <a:lnTo>
                  <a:pt x="2189" y="1601"/>
                </a:lnTo>
                <a:lnTo>
                  <a:pt x="2187" y="1604"/>
                </a:lnTo>
                <a:lnTo>
                  <a:pt x="2184" y="1610"/>
                </a:lnTo>
                <a:lnTo>
                  <a:pt x="2182" y="1613"/>
                </a:lnTo>
                <a:lnTo>
                  <a:pt x="2179" y="1615"/>
                </a:lnTo>
                <a:lnTo>
                  <a:pt x="2174" y="1620"/>
                </a:lnTo>
                <a:lnTo>
                  <a:pt x="2171" y="1622"/>
                </a:lnTo>
                <a:lnTo>
                  <a:pt x="2168" y="1624"/>
                </a:lnTo>
                <a:lnTo>
                  <a:pt x="2162" y="1626"/>
                </a:lnTo>
                <a:lnTo>
                  <a:pt x="2159" y="1627"/>
                </a:lnTo>
                <a:lnTo>
                  <a:pt x="2156" y="1627"/>
                </a:lnTo>
                <a:close/>
                <a:moveTo>
                  <a:pt x="1768" y="2627"/>
                </a:moveTo>
                <a:lnTo>
                  <a:pt x="1761" y="2627"/>
                </a:lnTo>
                <a:lnTo>
                  <a:pt x="1753" y="2626"/>
                </a:lnTo>
                <a:lnTo>
                  <a:pt x="1746" y="2625"/>
                </a:lnTo>
                <a:lnTo>
                  <a:pt x="1738" y="2623"/>
                </a:lnTo>
                <a:lnTo>
                  <a:pt x="1731" y="2621"/>
                </a:lnTo>
                <a:lnTo>
                  <a:pt x="1724" y="2619"/>
                </a:lnTo>
                <a:lnTo>
                  <a:pt x="1709" y="2613"/>
                </a:lnTo>
                <a:lnTo>
                  <a:pt x="1696" y="2605"/>
                </a:lnTo>
                <a:lnTo>
                  <a:pt x="1690" y="2601"/>
                </a:lnTo>
                <a:lnTo>
                  <a:pt x="1684" y="2596"/>
                </a:lnTo>
                <a:lnTo>
                  <a:pt x="1678" y="2591"/>
                </a:lnTo>
                <a:lnTo>
                  <a:pt x="1672" y="2586"/>
                </a:lnTo>
                <a:lnTo>
                  <a:pt x="1667" y="2581"/>
                </a:lnTo>
                <a:lnTo>
                  <a:pt x="1662" y="2575"/>
                </a:lnTo>
                <a:lnTo>
                  <a:pt x="1657" y="2569"/>
                </a:lnTo>
                <a:lnTo>
                  <a:pt x="1652" y="2563"/>
                </a:lnTo>
                <a:lnTo>
                  <a:pt x="1647" y="2556"/>
                </a:lnTo>
                <a:lnTo>
                  <a:pt x="1642" y="2548"/>
                </a:lnTo>
                <a:lnTo>
                  <a:pt x="1639" y="2541"/>
                </a:lnTo>
                <a:lnTo>
                  <a:pt x="1635" y="2534"/>
                </a:lnTo>
                <a:lnTo>
                  <a:pt x="1632" y="2526"/>
                </a:lnTo>
                <a:lnTo>
                  <a:pt x="1629" y="2518"/>
                </a:lnTo>
                <a:lnTo>
                  <a:pt x="1626" y="2510"/>
                </a:lnTo>
                <a:lnTo>
                  <a:pt x="1624" y="2502"/>
                </a:lnTo>
                <a:lnTo>
                  <a:pt x="1622" y="2494"/>
                </a:lnTo>
                <a:lnTo>
                  <a:pt x="1620" y="2484"/>
                </a:lnTo>
                <a:lnTo>
                  <a:pt x="1619" y="2475"/>
                </a:lnTo>
                <a:lnTo>
                  <a:pt x="1618" y="2467"/>
                </a:lnTo>
                <a:lnTo>
                  <a:pt x="1617" y="2458"/>
                </a:lnTo>
                <a:lnTo>
                  <a:pt x="1617" y="2448"/>
                </a:lnTo>
                <a:lnTo>
                  <a:pt x="1618" y="2429"/>
                </a:lnTo>
                <a:lnTo>
                  <a:pt x="1619" y="2420"/>
                </a:lnTo>
                <a:lnTo>
                  <a:pt x="1620" y="2410"/>
                </a:lnTo>
                <a:lnTo>
                  <a:pt x="1622" y="2401"/>
                </a:lnTo>
                <a:lnTo>
                  <a:pt x="1624" y="2393"/>
                </a:lnTo>
                <a:lnTo>
                  <a:pt x="1626" y="2384"/>
                </a:lnTo>
                <a:lnTo>
                  <a:pt x="1629" y="2375"/>
                </a:lnTo>
                <a:lnTo>
                  <a:pt x="1632" y="2366"/>
                </a:lnTo>
                <a:lnTo>
                  <a:pt x="1636" y="2358"/>
                </a:lnTo>
                <a:lnTo>
                  <a:pt x="1640" y="2350"/>
                </a:lnTo>
                <a:lnTo>
                  <a:pt x="1644" y="2342"/>
                </a:lnTo>
                <a:lnTo>
                  <a:pt x="1648" y="2334"/>
                </a:lnTo>
                <a:lnTo>
                  <a:pt x="1654" y="2327"/>
                </a:lnTo>
                <a:lnTo>
                  <a:pt x="1664" y="2313"/>
                </a:lnTo>
                <a:lnTo>
                  <a:pt x="1670" y="2305"/>
                </a:lnTo>
                <a:lnTo>
                  <a:pt x="1675" y="2299"/>
                </a:lnTo>
                <a:lnTo>
                  <a:pt x="1688" y="2288"/>
                </a:lnTo>
                <a:lnTo>
                  <a:pt x="1694" y="2283"/>
                </a:lnTo>
                <a:lnTo>
                  <a:pt x="1701" y="2278"/>
                </a:lnTo>
                <a:lnTo>
                  <a:pt x="1708" y="2274"/>
                </a:lnTo>
                <a:lnTo>
                  <a:pt x="1716" y="2269"/>
                </a:lnTo>
                <a:lnTo>
                  <a:pt x="1723" y="2266"/>
                </a:lnTo>
                <a:lnTo>
                  <a:pt x="1730" y="2263"/>
                </a:lnTo>
                <a:lnTo>
                  <a:pt x="1738" y="2260"/>
                </a:lnTo>
                <a:lnTo>
                  <a:pt x="1746" y="2258"/>
                </a:lnTo>
                <a:lnTo>
                  <a:pt x="1754" y="2256"/>
                </a:lnTo>
                <a:lnTo>
                  <a:pt x="1762" y="2255"/>
                </a:lnTo>
                <a:lnTo>
                  <a:pt x="1771" y="2254"/>
                </a:lnTo>
                <a:lnTo>
                  <a:pt x="1779" y="2254"/>
                </a:lnTo>
                <a:lnTo>
                  <a:pt x="1789" y="2254"/>
                </a:lnTo>
                <a:lnTo>
                  <a:pt x="1794" y="2255"/>
                </a:lnTo>
                <a:lnTo>
                  <a:pt x="1799" y="2255"/>
                </a:lnTo>
                <a:lnTo>
                  <a:pt x="1803" y="2256"/>
                </a:lnTo>
                <a:lnTo>
                  <a:pt x="1808" y="2258"/>
                </a:lnTo>
                <a:lnTo>
                  <a:pt x="1816" y="2261"/>
                </a:lnTo>
                <a:lnTo>
                  <a:pt x="1824" y="2265"/>
                </a:lnTo>
                <a:lnTo>
                  <a:pt x="1832" y="2269"/>
                </a:lnTo>
                <a:lnTo>
                  <a:pt x="1839" y="2275"/>
                </a:lnTo>
                <a:lnTo>
                  <a:pt x="1845" y="2281"/>
                </a:lnTo>
                <a:lnTo>
                  <a:pt x="1848" y="2284"/>
                </a:lnTo>
                <a:lnTo>
                  <a:pt x="1851" y="2287"/>
                </a:lnTo>
                <a:lnTo>
                  <a:pt x="1855" y="2295"/>
                </a:lnTo>
                <a:lnTo>
                  <a:pt x="1859" y="2302"/>
                </a:lnTo>
                <a:lnTo>
                  <a:pt x="1863" y="2312"/>
                </a:lnTo>
                <a:lnTo>
                  <a:pt x="1865" y="2320"/>
                </a:lnTo>
                <a:lnTo>
                  <a:pt x="1867" y="2329"/>
                </a:lnTo>
                <a:lnTo>
                  <a:pt x="1868" y="2339"/>
                </a:lnTo>
                <a:lnTo>
                  <a:pt x="1869" y="2349"/>
                </a:lnTo>
                <a:lnTo>
                  <a:pt x="1868" y="2361"/>
                </a:lnTo>
                <a:lnTo>
                  <a:pt x="1867" y="2368"/>
                </a:lnTo>
                <a:lnTo>
                  <a:pt x="1866" y="2375"/>
                </a:lnTo>
                <a:lnTo>
                  <a:pt x="1862" y="2387"/>
                </a:lnTo>
                <a:lnTo>
                  <a:pt x="1857" y="2398"/>
                </a:lnTo>
                <a:lnTo>
                  <a:pt x="1851" y="2409"/>
                </a:lnTo>
                <a:lnTo>
                  <a:pt x="1843" y="2420"/>
                </a:lnTo>
                <a:lnTo>
                  <a:pt x="1839" y="2425"/>
                </a:lnTo>
                <a:lnTo>
                  <a:pt x="1835" y="2430"/>
                </a:lnTo>
                <a:lnTo>
                  <a:pt x="1825" y="2440"/>
                </a:lnTo>
                <a:lnTo>
                  <a:pt x="1815" y="2449"/>
                </a:lnTo>
                <a:lnTo>
                  <a:pt x="1810" y="2452"/>
                </a:lnTo>
                <a:lnTo>
                  <a:pt x="1804" y="2456"/>
                </a:lnTo>
                <a:lnTo>
                  <a:pt x="1793" y="2463"/>
                </a:lnTo>
                <a:lnTo>
                  <a:pt x="1781" y="2468"/>
                </a:lnTo>
                <a:lnTo>
                  <a:pt x="1768" y="2473"/>
                </a:lnTo>
                <a:lnTo>
                  <a:pt x="1762" y="2475"/>
                </a:lnTo>
                <a:lnTo>
                  <a:pt x="1756" y="2476"/>
                </a:lnTo>
                <a:lnTo>
                  <a:pt x="1750" y="2478"/>
                </a:lnTo>
                <a:lnTo>
                  <a:pt x="1743" y="2478"/>
                </a:lnTo>
                <a:lnTo>
                  <a:pt x="1731" y="2479"/>
                </a:lnTo>
                <a:lnTo>
                  <a:pt x="1725" y="2478"/>
                </a:lnTo>
                <a:lnTo>
                  <a:pt x="1720" y="2477"/>
                </a:lnTo>
                <a:lnTo>
                  <a:pt x="1716" y="2474"/>
                </a:lnTo>
                <a:lnTo>
                  <a:pt x="1714" y="2472"/>
                </a:lnTo>
                <a:lnTo>
                  <a:pt x="1712" y="2470"/>
                </a:lnTo>
                <a:lnTo>
                  <a:pt x="1708" y="2465"/>
                </a:lnTo>
                <a:lnTo>
                  <a:pt x="1706" y="2460"/>
                </a:lnTo>
                <a:lnTo>
                  <a:pt x="1705" y="2457"/>
                </a:lnTo>
                <a:lnTo>
                  <a:pt x="1704" y="2454"/>
                </a:lnTo>
                <a:lnTo>
                  <a:pt x="1704" y="2448"/>
                </a:lnTo>
                <a:lnTo>
                  <a:pt x="1704" y="2445"/>
                </a:lnTo>
                <a:lnTo>
                  <a:pt x="1704" y="2442"/>
                </a:lnTo>
                <a:lnTo>
                  <a:pt x="1705" y="2437"/>
                </a:lnTo>
                <a:lnTo>
                  <a:pt x="1706" y="2435"/>
                </a:lnTo>
                <a:lnTo>
                  <a:pt x="1707" y="2433"/>
                </a:lnTo>
                <a:lnTo>
                  <a:pt x="1709" y="2432"/>
                </a:lnTo>
                <a:lnTo>
                  <a:pt x="1712" y="2430"/>
                </a:lnTo>
                <a:lnTo>
                  <a:pt x="1722" y="2428"/>
                </a:lnTo>
                <a:lnTo>
                  <a:pt x="1733" y="2425"/>
                </a:lnTo>
                <a:lnTo>
                  <a:pt x="1743" y="2422"/>
                </a:lnTo>
                <a:lnTo>
                  <a:pt x="1753" y="2418"/>
                </a:lnTo>
                <a:lnTo>
                  <a:pt x="1762" y="2413"/>
                </a:lnTo>
                <a:lnTo>
                  <a:pt x="1771" y="2408"/>
                </a:lnTo>
                <a:lnTo>
                  <a:pt x="1779" y="2403"/>
                </a:lnTo>
                <a:lnTo>
                  <a:pt x="1783" y="2400"/>
                </a:lnTo>
                <a:lnTo>
                  <a:pt x="1786" y="2397"/>
                </a:lnTo>
                <a:lnTo>
                  <a:pt x="1793" y="2390"/>
                </a:lnTo>
                <a:lnTo>
                  <a:pt x="1799" y="2384"/>
                </a:lnTo>
                <a:lnTo>
                  <a:pt x="1803" y="2377"/>
                </a:lnTo>
                <a:lnTo>
                  <a:pt x="1808" y="2369"/>
                </a:lnTo>
                <a:lnTo>
                  <a:pt x="1811" y="2362"/>
                </a:lnTo>
                <a:lnTo>
                  <a:pt x="1813" y="2355"/>
                </a:lnTo>
                <a:lnTo>
                  <a:pt x="1815" y="2348"/>
                </a:lnTo>
                <a:lnTo>
                  <a:pt x="1815" y="2341"/>
                </a:lnTo>
                <a:lnTo>
                  <a:pt x="1815" y="2333"/>
                </a:lnTo>
                <a:lnTo>
                  <a:pt x="1813" y="2326"/>
                </a:lnTo>
                <a:lnTo>
                  <a:pt x="1811" y="2323"/>
                </a:lnTo>
                <a:lnTo>
                  <a:pt x="1809" y="2319"/>
                </a:lnTo>
                <a:lnTo>
                  <a:pt x="1807" y="2317"/>
                </a:lnTo>
                <a:lnTo>
                  <a:pt x="1805" y="2314"/>
                </a:lnTo>
                <a:lnTo>
                  <a:pt x="1799" y="2309"/>
                </a:lnTo>
                <a:lnTo>
                  <a:pt x="1796" y="2307"/>
                </a:lnTo>
                <a:lnTo>
                  <a:pt x="1792" y="2306"/>
                </a:lnTo>
                <a:lnTo>
                  <a:pt x="1784" y="2304"/>
                </a:lnTo>
                <a:lnTo>
                  <a:pt x="1780" y="2303"/>
                </a:lnTo>
                <a:lnTo>
                  <a:pt x="1775" y="2303"/>
                </a:lnTo>
                <a:lnTo>
                  <a:pt x="1765" y="2304"/>
                </a:lnTo>
                <a:lnTo>
                  <a:pt x="1761" y="2305"/>
                </a:lnTo>
                <a:lnTo>
                  <a:pt x="1756" y="2306"/>
                </a:lnTo>
                <a:lnTo>
                  <a:pt x="1752" y="2308"/>
                </a:lnTo>
                <a:lnTo>
                  <a:pt x="1748" y="2310"/>
                </a:lnTo>
                <a:lnTo>
                  <a:pt x="1743" y="2313"/>
                </a:lnTo>
                <a:lnTo>
                  <a:pt x="1739" y="2315"/>
                </a:lnTo>
                <a:lnTo>
                  <a:pt x="1735" y="2318"/>
                </a:lnTo>
                <a:lnTo>
                  <a:pt x="1730" y="2321"/>
                </a:lnTo>
                <a:lnTo>
                  <a:pt x="1722" y="2328"/>
                </a:lnTo>
                <a:lnTo>
                  <a:pt x="1714" y="2336"/>
                </a:lnTo>
                <a:lnTo>
                  <a:pt x="1706" y="2345"/>
                </a:lnTo>
                <a:lnTo>
                  <a:pt x="1702" y="2350"/>
                </a:lnTo>
                <a:lnTo>
                  <a:pt x="1699" y="2355"/>
                </a:lnTo>
                <a:lnTo>
                  <a:pt x="1693" y="2366"/>
                </a:lnTo>
                <a:lnTo>
                  <a:pt x="1687" y="2379"/>
                </a:lnTo>
                <a:lnTo>
                  <a:pt x="1682" y="2391"/>
                </a:lnTo>
                <a:lnTo>
                  <a:pt x="1679" y="2404"/>
                </a:lnTo>
                <a:lnTo>
                  <a:pt x="1676" y="2417"/>
                </a:lnTo>
                <a:lnTo>
                  <a:pt x="1674" y="2432"/>
                </a:lnTo>
                <a:lnTo>
                  <a:pt x="1674" y="2439"/>
                </a:lnTo>
                <a:lnTo>
                  <a:pt x="1673" y="2446"/>
                </a:lnTo>
                <a:lnTo>
                  <a:pt x="1674" y="2459"/>
                </a:lnTo>
                <a:lnTo>
                  <a:pt x="1675" y="2471"/>
                </a:lnTo>
                <a:lnTo>
                  <a:pt x="1677" y="2482"/>
                </a:lnTo>
                <a:lnTo>
                  <a:pt x="1679" y="2488"/>
                </a:lnTo>
                <a:lnTo>
                  <a:pt x="1680" y="2494"/>
                </a:lnTo>
                <a:lnTo>
                  <a:pt x="1684" y="2505"/>
                </a:lnTo>
                <a:lnTo>
                  <a:pt x="1686" y="2510"/>
                </a:lnTo>
                <a:lnTo>
                  <a:pt x="1688" y="2515"/>
                </a:lnTo>
                <a:lnTo>
                  <a:pt x="1691" y="2519"/>
                </a:lnTo>
                <a:lnTo>
                  <a:pt x="1694" y="2524"/>
                </a:lnTo>
                <a:lnTo>
                  <a:pt x="1697" y="2528"/>
                </a:lnTo>
                <a:lnTo>
                  <a:pt x="1700" y="2532"/>
                </a:lnTo>
                <a:lnTo>
                  <a:pt x="1703" y="2536"/>
                </a:lnTo>
                <a:lnTo>
                  <a:pt x="1706" y="2540"/>
                </a:lnTo>
                <a:lnTo>
                  <a:pt x="1714" y="2546"/>
                </a:lnTo>
                <a:lnTo>
                  <a:pt x="1722" y="2553"/>
                </a:lnTo>
                <a:lnTo>
                  <a:pt x="1731" y="2558"/>
                </a:lnTo>
                <a:lnTo>
                  <a:pt x="1740" y="2561"/>
                </a:lnTo>
                <a:lnTo>
                  <a:pt x="1749" y="2564"/>
                </a:lnTo>
                <a:lnTo>
                  <a:pt x="1760" y="2566"/>
                </a:lnTo>
                <a:lnTo>
                  <a:pt x="1765" y="2566"/>
                </a:lnTo>
                <a:lnTo>
                  <a:pt x="1771" y="2567"/>
                </a:lnTo>
                <a:lnTo>
                  <a:pt x="1782" y="2566"/>
                </a:lnTo>
                <a:lnTo>
                  <a:pt x="1792" y="2564"/>
                </a:lnTo>
                <a:lnTo>
                  <a:pt x="1802" y="2562"/>
                </a:lnTo>
                <a:lnTo>
                  <a:pt x="1811" y="2559"/>
                </a:lnTo>
                <a:lnTo>
                  <a:pt x="1821" y="2554"/>
                </a:lnTo>
                <a:lnTo>
                  <a:pt x="1831" y="2548"/>
                </a:lnTo>
                <a:lnTo>
                  <a:pt x="1839" y="2543"/>
                </a:lnTo>
                <a:lnTo>
                  <a:pt x="1848" y="2536"/>
                </a:lnTo>
                <a:lnTo>
                  <a:pt x="1856" y="2529"/>
                </a:lnTo>
                <a:lnTo>
                  <a:pt x="1863" y="2521"/>
                </a:lnTo>
                <a:lnTo>
                  <a:pt x="1871" y="2512"/>
                </a:lnTo>
                <a:lnTo>
                  <a:pt x="1877" y="2503"/>
                </a:lnTo>
                <a:lnTo>
                  <a:pt x="1891" y="2483"/>
                </a:lnTo>
                <a:lnTo>
                  <a:pt x="1897" y="2473"/>
                </a:lnTo>
                <a:lnTo>
                  <a:pt x="1903" y="2462"/>
                </a:lnTo>
                <a:lnTo>
                  <a:pt x="1908" y="2451"/>
                </a:lnTo>
                <a:lnTo>
                  <a:pt x="1913" y="2440"/>
                </a:lnTo>
                <a:lnTo>
                  <a:pt x="1917" y="2427"/>
                </a:lnTo>
                <a:lnTo>
                  <a:pt x="1922" y="2415"/>
                </a:lnTo>
                <a:lnTo>
                  <a:pt x="1925" y="2403"/>
                </a:lnTo>
                <a:lnTo>
                  <a:pt x="1929" y="2391"/>
                </a:lnTo>
                <a:lnTo>
                  <a:pt x="1932" y="2379"/>
                </a:lnTo>
                <a:lnTo>
                  <a:pt x="1934" y="2366"/>
                </a:lnTo>
                <a:lnTo>
                  <a:pt x="1937" y="2354"/>
                </a:lnTo>
                <a:lnTo>
                  <a:pt x="1938" y="2343"/>
                </a:lnTo>
                <a:lnTo>
                  <a:pt x="1940" y="2331"/>
                </a:lnTo>
                <a:lnTo>
                  <a:pt x="1941" y="2319"/>
                </a:lnTo>
                <a:lnTo>
                  <a:pt x="1942" y="2307"/>
                </a:lnTo>
                <a:lnTo>
                  <a:pt x="1942" y="2296"/>
                </a:lnTo>
                <a:lnTo>
                  <a:pt x="1942" y="2285"/>
                </a:lnTo>
                <a:lnTo>
                  <a:pt x="1941" y="2275"/>
                </a:lnTo>
                <a:lnTo>
                  <a:pt x="1942" y="2272"/>
                </a:lnTo>
                <a:lnTo>
                  <a:pt x="1944" y="2270"/>
                </a:lnTo>
                <a:lnTo>
                  <a:pt x="1946" y="2268"/>
                </a:lnTo>
                <a:lnTo>
                  <a:pt x="1949" y="2266"/>
                </a:lnTo>
                <a:lnTo>
                  <a:pt x="1957" y="2263"/>
                </a:lnTo>
                <a:lnTo>
                  <a:pt x="1960" y="2263"/>
                </a:lnTo>
                <a:lnTo>
                  <a:pt x="1965" y="2262"/>
                </a:lnTo>
                <a:lnTo>
                  <a:pt x="1972" y="2263"/>
                </a:lnTo>
                <a:lnTo>
                  <a:pt x="1975" y="2264"/>
                </a:lnTo>
                <a:lnTo>
                  <a:pt x="1978" y="2265"/>
                </a:lnTo>
                <a:lnTo>
                  <a:pt x="1984" y="2267"/>
                </a:lnTo>
                <a:lnTo>
                  <a:pt x="1987" y="2269"/>
                </a:lnTo>
                <a:lnTo>
                  <a:pt x="1989" y="2272"/>
                </a:lnTo>
                <a:lnTo>
                  <a:pt x="1993" y="2277"/>
                </a:lnTo>
                <a:lnTo>
                  <a:pt x="1995" y="2281"/>
                </a:lnTo>
                <a:lnTo>
                  <a:pt x="1996" y="2285"/>
                </a:lnTo>
                <a:lnTo>
                  <a:pt x="1997" y="2289"/>
                </a:lnTo>
                <a:lnTo>
                  <a:pt x="1998" y="2294"/>
                </a:lnTo>
                <a:lnTo>
                  <a:pt x="1998" y="2299"/>
                </a:lnTo>
                <a:lnTo>
                  <a:pt x="1999" y="2305"/>
                </a:lnTo>
                <a:lnTo>
                  <a:pt x="1998" y="2322"/>
                </a:lnTo>
                <a:lnTo>
                  <a:pt x="1997" y="2337"/>
                </a:lnTo>
                <a:lnTo>
                  <a:pt x="1995" y="2352"/>
                </a:lnTo>
                <a:lnTo>
                  <a:pt x="1993" y="2368"/>
                </a:lnTo>
                <a:lnTo>
                  <a:pt x="1991" y="2383"/>
                </a:lnTo>
                <a:lnTo>
                  <a:pt x="1988" y="2398"/>
                </a:lnTo>
                <a:lnTo>
                  <a:pt x="1984" y="2413"/>
                </a:lnTo>
                <a:lnTo>
                  <a:pt x="1981" y="2427"/>
                </a:lnTo>
                <a:lnTo>
                  <a:pt x="1976" y="2442"/>
                </a:lnTo>
                <a:lnTo>
                  <a:pt x="1971" y="2455"/>
                </a:lnTo>
                <a:lnTo>
                  <a:pt x="1966" y="2468"/>
                </a:lnTo>
                <a:lnTo>
                  <a:pt x="1960" y="2481"/>
                </a:lnTo>
                <a:lnTo>
                  <a:pt x="1954" y="2495"/>
                </a:lnTo>
                <a:lnTo>
                  <a:pt x="1947" y="2507"/>
                </a:lnTo>
                <a:lnTo>
                  <a:pt x="1940" y="2518"/>
                </a:lnTo>
                <a:lnTo>
                  <a:pt x="1933" y="2529"/>
                </a:lnTo>
                <a:lnTo>
                  <a:pt x="1925" y="2540"/>
                </a:lnTo>
                <a:lnTo>
                  <a:pt x="1917" y="2550"/>
                </a:lnTo>
                <a:lnTo>
                  <a:pt x="1909" y="2561"/>
                </a:lnTo>
                <a:lnTo>
                  <a:pt x="1900" y="2570"/>
                </a:lnTo>
                <a:lnTo>
                  <a:pt x="1891" y="2578"/>
                </a:lnTo>
                <a:lnTo>
                  <a:pt x="1880" y="2586"/>
                </a:lnTo>
                <a:lnTo>
                  <a:pt x="1871" y="2593"/>
                </a:lnTo>
                <a:lnTo>
                  <a:pt x="1861" y="2600"/>
                </a:lnTo>
                <a:lnTo>
                  <a:pt x="1850" y="2606"/>
                </a:lnTo>
                <a:lnTo>
                  <a:pt x="1840" y="2612"/>
                </a:lnTo>
                <a:lnTo>
                  <a:pt x="1828" y="2616"/>
                </a:lnTo>
                <a:lnTo>
                  <a:pt x="1817" y="2620"/>
                </a:lnTo>
                <a:lnTo>
                  <a:pt x="1805" y="2623"/>
                </a:lnTo>
                <a:lnTo>
                  <a:pt x="1793" y="2625"/>
                </a:lnTo>
                <a:lnTo>
                  <a:pt x="1782" y="2626"/>
                </a:lnTo>
                <a:lnTo>
                  <a:pt x="1768" y="2627"/>
                </a:lnTo>
                <a:close/>
                <a:moveTo>
                  <a:pt x="2156" y="2621"/>
                </a:moveTo>
                <a:lnTo>
                  <a:pt x="2154" y="2621"/>
                </a:lnTo>
                <a:lnTo>
                  <a:pt x="2152" y="2620"/>
                </a:lnTo>
                <a:lnTo>
                  <a:pt x="2147" y="2617"/>
                </a:lnTo>
                <a:lnTo>
                  <a:pt x="2140" y="2613"/>
                </a:lnTo>
                <a:lnTo>
                  <a:pt x="2133" y="2607"/>
                </a:lnTo>
                <a:lnTo>
                  <a:pt x="2119" y="2596"/>
                </a:lnTo>
                <a:lnTo>
                  <a:pt x="2104" y="2582"/>
                </a:lnTo>
                <a:lnTo>
                  <a:pt x="2088" y="2566"/>
                </a:lnTo>
                <a:lnTo>
                  <a:pt x="2071" y="2548"/>
                </a:lnTo>
                <a:lnTo>
                  <a:pt x="2055" y="2531"/>
                </a:lnTo>
                <a:lnTo>
                  <a:pt x="2040" y="2515"/>
                </a:lnTo>
                <a:lnTo>
                  <a:pt x="2029" y="2501"/>
                </a:lnTo>
                <a:lnTo>
                  <a:pt x="2025" y="2494"/>
                </a:lnTo>
                <a:lnTo>
                  <a:pt x="2021" y="2488"/>
                </a:lnTo>
                <a:lnTo>
                  <a:pt x="2016" y="2478"/>
                </a:lnTo>
                <a:lnTo>
                  <a:pt x="2012" y="2468"/>
                </a:lnTo>
                <a:lnTo>
                  <a:pt x="2009" y="2458"/>
                </a:lnTo>
                <a:lnTo>
                  <a:pt x="2008" y="2448"/>
                </a:lnTo>
                <a:lnTo>
                  <a:pt x="2008" y="2443"/>
                </a:lnTo>
                <a:lnTo>
                  <a:pt x="2009" y="2437"/>
                </a:lnTo>
                <a:lnTo>
                  <a:pt x="2012" y="2430"/>
                </a:lnTo>
                <a:lnTo>
                  <a:pt x="2014" y="2424"/>
                </a:lnTo>
                <a:lnTo>
                  <a:pt x="2016" y="2418"/>
                </a:lnTo>
                <a:lnTo>
                  <a:pt x="2019" y="2412"/>
                </a:lnTo>
                <a:lnTo>
                  <a:pt x="2023" y="2405"/>
                </a:lnTo>
                <a:lnTo>
                  <a:pt x="2028" y="2398"/>
                </a:lnTo>
                <a:lnTo>
                  <a:pt x="2036" y="2387"/>
                </a:lnTo>
                <a:lnTo>
                  <a:pt x="2047" y="2374"/>
                </a:lnTo>
                <a:lnTo>
                  <a:pt x="2078" y="2339"/>
                </a:lnTo>
                <a:lnTo>
                  <a:pt x="2112" y="2299"/>
                </a:lnTo>
                <a:lnTo>
                  <a:pt x="2148" y="2259"/>
                </a:lnTo>
                <a:lnTo>
                  <a:pt x="2150" y="2258"/>
                </a:lnTo>
                <a:lnTo>
                  <a:pt x="2153" y="2258"/>
                </a:lnTo>
                <a:lnTo>
                  <a:pt x="2157" y="2258"/>
                </a:lnTo>
                <a:lnTo>
                  <a:pt x="2161" y="2260"/>
                </a:lnTo>
                <a:lnTo>
                  <a:pt x="2165" y="2261"/>
                </a:lnTo>
                <a:lnTo>
                  <a:pt x="2169" y="2264"/>
                </a:lnTo>
                <a:lnTo>
                  <a:pt x="2173" y="2267"/>
                </a:lnTo>
                <a:lnTo>
                  <a:pt x="2177" y="2271"/>
                </a:lnTo>
                <a:lnTo>
                  <a:pt x="2181" y="2275"/>
                </a:lnTo>
                <a:lnTo>
                  <a:pt x="2184" y="2280"/>
                </a:lnTo>
                <a:lnTo>
                  <a:pt x="2185" y="2284"/>
                </a:lnTo>
                <a:lnTo>
                  <a:pt x="2186" y="2289"/>
                </a:lnTo>
                <a:lnTo>
                  <a:pt x="2185" y="2295"/>
                </a:lnTo>
                <a:lnTo>
                  <a:pt x="2183" y="2300"/>
                </a:lnTo>
                <a:lnTo>
                  <a:pt x="2180" y="2306"/>
                </a:lnTo>
                <a:lnTo>
                  <a:pt x="2177" y="2313"/>
                </a:lnTo>
                <a:lnTo>
                  <a:pt x="2168" y="2323"/>
                </a:lnTo>
                <a:lnTo>
                  <a:pt x="2157" y="2336"/>
                </a:lnTo>
                <a:lnTo>
                  <a:pt x="2127" y="2369"/>
                </a:lnTo>
                <a:lnTo>
                  <a:pt x="2097" y="2404"/>
                </a:lnTo>
                <a:lnTo>
                  <a:pt x="2085" y="2418"/>
                </a:lnTo>
                <a:lnTo>
                  <a:pt x="2076" y="2430"/>
                </a:lnTo>
                <a:lnTo>
                  <a:pt x="2073" y="2434"/>
                </a:lnTo>
                <a:lnTo>
                  <a:pt x="2072" y="2438"/>
                </a:lnTo>
                <a:lnTo>
                  <a:pt x="2071" y="2442"/>
                </a:lnTo>
                <a:lnTo>
                  <a:pt x="2069" y="2445"/>
                </a:lnTo>
                <a:lnTo>
                  <a:pt x="2071" y="2450"/>
                </a:lnTo>
                <a:lnTo>
                  <a:pt x="2072" y="2454"/>
                </a:lnTo>
                <a:lnTo>
                  <a:pt x="2074" y="2458"/>
                </a:lnTo>
                <a:lnTo>
                  <a:pt x="2077" y="2463"/>
                </a:lnTo>
                <a:lnTo>
                  <a:pt x="2084" y="2472"/>
                </a:lnTo>
                <a:lnTo>
                  <a:pt x="2095" y="2484"/>
                </a:lnTo>
                <a:lnTo>
                  <a:pt x="2122" y="2514"/>
                </a:lnTo>
                <a:lnTo>
                  <a:pt x="2155" y="2546"/>
                </a:lnTo>
                <a:lnTo>
                  <a:pt x="2186" y="2577"/>
                </a:lnTo>
                <a:lnTo>
                  <a:pt x="2188" y="2579"/>
                </a:lnTo>
                <a:lnTo>
                  <a:pt x="2189" y="2581"/>
                </a:lnTo>
                <a:lnTo>
                  <a:pt x="2191" y="2584"/>
                </a:lnTo>
                <a:lnTo>
                  <a:pt x="2192" y="2586"/>
                </a:lnTo>
                <a:lnTo>
                  <a:pt x="2191" y="2592"/>
                </a:lnTo>
                <a:lnTo>
                  <a:pt x="2189" y="2595"/>
                </a:lnTo>
                <a:lnTo>
                  <a:pt x="2187" y="2597"/>
                </a:lnTo>
                <a:lnTo>
                  <a:pt x="2184" y="2603"/>
                </a:lnTo>
                <a:lnTo>
                  <a:pt x="2182" y="2606"/>
                </a:lnTo>
                <a:lnTo>
                  <a:pt x="2179" y="2608"/>
                </a:lnTo>
                <a:lnTo>
                  <a:pt x="2174" y="2614"/>
                </a:lnTo>
                <a:lnTo>
                  <a:pt x="2171" y="2616"/>
                </a:lnTo>
                <a:lnTo>
                  <a:pt x="2168" y="2618"/>
                </a:lnTo>
                <a:lnTo>
                  <a:pt x="2162" y="2620"/>
                </a:lnTo>
                <a:lnTo>
                  <a:pt x="2159" y="2621"/>
                </a:lnTo>
                <a:lnTo>
                  <a:pt x="2156" y="2621"/>
                </a:lnTo>
                <a:close/>
                <a:moveTo>
                  <a:pt x="5598" y="639"/>
                </a:moveTo>
                <a:lnTo>
                  <a:pt x="5591" y="639"/>
                </a:lnTo>
                <a:lnTo>
                  <a:pt x="5583" y="639"/>
                </a:lnTo>
                <a:lnTo>
                  <a:pt x="5576" y="637"/>
                </a:lnTo>
                <a:lnTo>
                  <a:pt x="5568" y="636"/>
                </a:lnTo>
                <a:lnTo>
                  <a:pt x="5561" y="634"/>
                </a:lnTo>
                <a:lnTo>
                  <a:pt x="5554" y="632"/>
                </a:lnTo>
                <a:lnTo>
                  <a:pt x="5539" y="625"/>
                </a:lnTo>
                <a:lnTo>
                  <a:pt x="5526" y="618"/>
                </a:lnTo>
                <a:lnTo>
                  <a:pt x="5520" y="613"/>
                </a:lnTo>
                <a:lnTo>
                  <a:pt x="5514" y="609"/>
                </a:lnTo>
                <a:lnTo>
                  <a:pt x="5508" y="604"/>
                </a:lnTo>
                <a:lnTo>
                  <a:pt x="5502" y="599"/>
                </a:lnTo>
                <a:lnTo>
                  <a:pt x="5497" y="593"/>
                </a:lnTo>
                <a:lnTo>
                  <a:pt x="5492" y="588"/>
                </a:lnTo>
                <a:lnTo>
                  <a:pt x="5486" y="582"/>
                </a:lnTo>
                <a:lnTo>
                  <a:pt x="5481" y="575"/>
                </a:lnTo>
                <a:lnTo>
                  <a:pt x="5477" y="568"/>
                </a:lnTo>
                <a:lnTo>
                  <a:pt x="5472" y="561"/>
                </a:lnTo>
                <a:lnTo>
                  <a:pt x="5468" y="554"/>
                </a:lnTo>
                <a:lnTo>
                  <a:pt x="5465" y="546"/>
                </a:lnTo>
                <a:lnTo>
                  <a:pt x="5462" y="539"/>
                </a:lnTo>
                <a:lnTo>
                  <a:pt x="5459" y="531"/>
                </a:lnTo>
                <a:lnTo>
                  <a:pt x="5456" y="523"/>
                </a:lnTo>
                <a:lnTo>
                  <a:pt x="5454" y="515"/>
                </a:lnTo>
                <a:lnTo>
                  <a:pt x="5452" y="505"/>
                </a:lnTo>
                <a:lnTo>
                  <a:pt x="5450" y="497"/>
                </a:lnTo>
                <a:lnTo>
                  <a:pt x="5449" y="488"/>
                </a:lnTo>
                <a:lnTo>
                  <a:pt x="5448" y="479"/>
                </a:lnTo>
                <a:lnTo>
                  <a:pt x="5447" y="470"/>
                </a:lnTo>
                <a:lnTo>
                  <a:pt x="5447" y="461"/>
                </a:lnTo>
                <a:lnTo>
                  <a:pt x="5448" y="441"/>
                </a:lnTo>
                <a:lnTo>
                  <a:pt x="5449" y="432"/>
                </a:lnTo>
                <a:lnTo>
                  <a:pt x="5450" y="423"/>
                </a:lnTo>
                <a:lnTo>
                  <a:pt x="5452" y="414"/>
                </a:lnTo>
                <a:lnTo>
                  <a:pt x="5454" y="405"/>
                </a:lnTo>
                <a:lnTo>
                  <a:pt x="5456" y="396"/>
                </a:lnTo>
                <a:lnTo>
                  <a:pt x="5459" y="387"/>
                </a:lnTo>
                <a:lnTo>
                  <a:pt x="5462" y="378"/>
                </a:lnTo>
                <a:lnTo>
                  <a:pt x="5466" y="370"/>
                </a:lnTo>
                <a:lnTo>
                  <a:pt x="5470" y="362"/>
                </a:lnTo>
                <a:lnTo>
                  <a:pt x="5474" y="354"/>
                </a:lnTo>
                <a:lnTo>
                  <a:pt x="5478" y="347"/>
                </a:lnTo>
                <a:lnTo>
                  <a:pt x="5483" y="339"/>
                </a:lnTo>
                <a:lnTo>
                  <a:pt x="5494" y="325"/>
                </a:lnTo>
                <a:lnTo>
                  <a:pt x="5500" y="318"/>
                </a:lnTo>
                <a:lnTo>
                  <a:pt x="5505" y="312"/>
                </a:lnTo>
                <a:lnTo>
                  <a:pt x="5518" y="301"/>
                </a:lnTo>
                <a:lnTo>
                  <a:pt x="5524" y="295"/>
                </a:lnTo>
                <a:lnTo>
                  <a:pt x="5531" y="291"/>
                </a:lnTo>
                <a:lnTo>
                  <a:pt x="5537" y="286"/>
                </a:lnTo>
                <a:lnTo>
                  <a:pt x="5545" y="282"/>
                </a:lnTo>
                <a:lnTo>
                  <a:pt x="5553" y="278"/>
                </a:lnTo>
                <a:lnTo>
                  <a:pt x="5560" y="275"/>
                </a:lnTo>
                <a:lnTo>
                  <a:pt x="5568" y="273"/>
                </a:lnTo>
                <a:lnTo>
                  <a:pt x="5576" y="269"/>
                </a:lnTo>
                <a:lnTo>
                  <a:pt x="5583" y="268"/>
                </a:lnTo>
                <a:lnTo>
                  <a:pt x="5591" y="266"/>
                </a:lnTo>
                <a:lnTo>
                  <a:pt x="5600" y="265"/>
                </a:lnTo>
                <a:lnTo>
                  <a:pt x="5608" y="265"/>
                </a:lnTo>
                <a:lnTo>
                  <a:pt x="5619" y="266"/>
                </a:lnTo>
                <a:lnTo>
                  <a:pt x="5624" y="266"/>
                </a:lnTo>
                <a:lnTo>
                  <a:pt x="5629" y="267"/>
                </a:lnTo>
                <a:lnTo>
                  <a:pt x="5633" y="268"/>
                </a:lnTo>
                <a:lnTo>
                  <a:pt x="5638" y="269"/>
                </a:lnTo>
                <a:lnTo>
                  <a:pt x="5646" y="273"/>
                </a:lnTo>
                <a:lnTo>
                  <a:pt x="5654" y="277"/>
                </a:lnTo>
                <a:lnTo>
                  <a:pt x="5661" y="282"/>
                </a:lnTo>
                <a:lnTo>
                  <a:pt x="5668" y="287"/>
                </a:lnTo>
                <a:lnTo>
                  <a:pt x="5675" y="293"/>
                </a:lnTo>
                <a:lnTo>
                  <a:pt x="5678" y="297"/>
                </a:lnTo>
                <a:lnTo>
                  <a:pt x="5680" y="300"/>
                </a:lnTo>
                <a:lnTo>
                  <a:pt x="5685" y="307"/>
                </a:lnTo>
                <a:lnTo>
                  <a:pt x="5689" y="315"/>
                </a:lnTo>
                <a:lnTo>
                  <a:pt x="5693" y="323"/>
                </a:lnTo>
                <a:lnTo>
                  <a:pt x="5695" y="333"/>
                </a:lnTo>
                <a:lnTo>
                  <a:pt x="5697" y="342"/>
                </a:lnTo>
                <a:lnTo>
                  <a:pt x="5698" y="352"/>
                </a:lnTo>
                <a:lnTo>
                  <a:pt x="5699" y="362"/>
                </a:lnTo>
                <a:lnTo>
                  <a:pt x="5698" y="374"/>
                </a:lnTo>
                <a:lnTo>
                  <a:pt x="5697" y="380"/>
                </a:lnTo>
                <a:lnTo>
                  <a:pt x="5696" y="386"/>
                </a:lnTo>
                <a:lnTo>
                  <a:pt x="5692" y="399"/>
                </a:lnTo>
                <a:lnTo>
                  <a:pt x="5687" y="411"/>
                </a:lnTo>
                <a:lnTo>
                  <a:pt x="5681" y="422"/>
                </a:lnTo>
                <a:lnTo>
                  <a:pt x="5673" y="433"/>
                </a:lnTo>
                <a:lnTo>
                  <a:pt x="5668" y="438"/>
                </a:lnTo>
                <a:lnTo>
                  <a:pt x="5664" y="442"/>
                </a:lnTo>
                <a:lnTo>
                  <a:pt x="5655" y="453"/>
                </a:lnTo>
                <a:lnTo>
                  <a:pt x="5645" y="461"/>
                </a:lnTo>
                <a:lnTo>
                  <a:pt x="5640" y="465"/>
                </a:lnTo>
                <a:lnTo>
                  <a:pt x="5634" y="469"/>
                </a:lnTo>
                <a:lnTo>
                  <a:pt x="5623" y="475"/>
                </a:lnTo>
                <a:lnTo>
                  <a:pt x="5611" y="481"/>
                </a:lnTo>
                <a:lnTo>
                  <a:pt x="5598" y="486"/>
                </a:lnTo>
                <a:lnTo>
                  <a:pt x="5592" y="487"/>
                </a:lnTo>
                <a:lnTo>
                  <a:pt x="5586" y="489"/>
                </a:lnTo>
                <a:lnTo>
                  <a:pt x="5579" y="490"/>
                </a:lnTo>
                <a:lnTo>
                  <a:pt x="5573" y="491"/>
                </a:lnTo>
                <a:lnTo>
                  <a:pt x="5561" y="492"/>
                </a:lnTo>
                <a:lnTo>
                  <a:pt x="5555" y="491"/>
                </a:lnTo>
                <a:lnTo>
                  <a:pt x="5549" y="489"/>
                </a:lnTo>
                <a:lnTo>
                  <a:pt x="5545" y="486"/>
                </a:lnTo>
                <a:lnTo>
                  <a:pt x="5543" y="485"/>
                </a:lnTo>
                <a:lnTo>
                  <a:pt x="5541" y="483"/>
                </a:lnTo>
                <a:lnTo>
                  <a:pt x="5538" y="478"/>
                </a:lnTo>
                <a:lnTo>
                  <a:pt x="5535" y="473"/>
                </a:lnTo>
                <a:lnTo>
                  <a:pt x="5535" y="470"/>
                </a:lnTo>
                <a:lnTo>
                  <a:pt x="5534" y="467"/>
                </a:lnTo>
                <a:lnTo>
                  <a:pt x="5533" y="460"/>
                </a:lnTo>
                <a:lnTo>
                  <a:pt x="5533" y="458"/>
                </a:lnTo>
                <a:lnTo>
                  <a:pt x="5534" y="455"/>
                </a:lnTo>
                <a:lnTo>
                  <a:pt x="5535" y="449"/>
                </a:lnTo>
                <a:lnTo>
                  <a:pt x="5536" y="447"/>
                </a:lnTo>
                <a:lnTo>
                  <a:pt x="5537" y="445"/>
                </a:lnTo>
                <a:lnTo>
                  <a:pt x="5539" y="443"/>
                </a:lnTo>
                <a:lnTo>
                  <a:pt x="5540" y="442"/>
                </a:lnTo>
                <a:lnTo>
                  <a:pt x="5552" y="440"/>
                </a:lnTo>
                <a:lnTo>
                  <a:pt x="5563" y="438"/>
                </a:lnTo>
                <a:lnTo>
                  <a:pt x="5573" y="434"/>
                </a:lnTo>
                <a:lnTo>
                  <a:pt x="5583" y="430"/>
                </a:lnTo>
                <a:lnTo>
                  <a:pt x="5592" y="426"/>
                </a:lnTo>
                <a:lnTo>
                  <a:pt x="5600" y="421"/>
                </a:lnTo>
                <a:lnTo>
                  <a:pt x="5608" y="415"/>
                </a:lnTo>
                <a:lnTo>
                  <a:pt x="5613" y="412"/>
                </a:lnTo>
                <a:lnTo>
                  <a:pt x="5616" y="409"/>
                </a:lnTo>
                <a:lnTo>
                  <a:pt x="5623" y="403"/>
                </a:lnTo>
                <a:lnTo>
                  <a:pt x="5628" y="397"/>
                </a:lnTo>
                <a:lnTo>
                  <a:pt x="5633" y="389"/>
                </a:lnTo>
                <a:lnTo>
                  <a:pt x="5638" y="382"/>
                </a:lnTo>
                <a:lnTo>
                  <a:pt x="5641" y="375"/>
                </a:lnTo>
                <a:lnTo>
                  <a:pt x="5643" y="368"/>
                </a:lnTo>
                <a:lnTo>
                  <a:pt x="5645" y="361"/>
                </a:lnTo>
                <a:lnTo>
                  <a:pt x="5645" y="354"/>
                </a:lnTo>
                <a:lnTo>
                  <a:pt x="5645" y="346"/>
                </a:lnTo>
                <a:lnTo>
                  <a:pt x="5642" y="338"/>
                </a:lnTo>
                <a:lnTo>
                  <a:pt x="5641" y="335"/>
                </a:lnTo>
                <a:lnTo>
                  <a:pt x="5639" y="332"/>
                </a:lnTo>
                <a:lnTo>
                  <a:pt x="5637" y="328"/>
                </a:lnTo>
                <a:lnTo>
                  <a:pt x="5634" y="326"/>
                </a:lnTo>
                <a:lnTo>
                  <a:pt x="5629" y="322"/>
                </a:lnTo>
                <a:lnTo>
                  <a:pt x="5625" y="320"/>
                </a:lnTo>
                <a:lnTo>
                  <a:pt x="5622" y="318"/>
                </a:lnTo>
                <a:lnTo>
                  <a:pt x="5614" y="317"/>
                </a:lnTo>
                <a:lnTo>
                  <a:pt x="5609" y="316"/>
                </a:lnTo>
                <a:lnTo>
                  <a:pt x="5604" y="316"/>
                </a:lnTo>
                <a:lnTo>
                  <a:pt x="5595" y="317"/>
                </a:lnTo>
                <a:lnTo>
                  <a:pt x="5591" y="318"/>
                </a:lnTo>
                <a:lnTo>
                  <a:pt x="5586" y="319"/>
                </a:lnTo>
                <a:lnTo>
                  <a:pt x="5582" y="320"/>
                </a:lnTo>
                <a:lnTo>
                  <a:pt x="5578" y="322"/>
                </a:lnTo>
                <a:lnTo>
                  <a:pt x="5573" y="324"/>
                </a:lnTo>
                <a:lnTo>
                  <a:pt x="5569" y="327"/>
                </a:lnTo>
                <a:lnTo>
                  <a:pt x="5564" y="330"/>
                </a:lnTo>
                <a:lnTo>
                  <a:pt x="5560" y="334"/>
                </a:lnTo>
                <a:lnTo>
                  <a:pt x="5552" y="341"/>
                </a:lnTo>
                <a:lnTo>
                  <a:pt x="5543" y="349"/>
                </a:lnTo>
                <a:lnTo>
                  <a:pt x="5536" y="358"/>
                </a:lnTo>
                <a:lnTo>
                  <a:pt x="5532" y="363"/>
                </a:lnTo>
                <a:lnTo>
                  <a:pt x="5529" y="368"/>
                </a:lnTo>
                <a:lnTo>
                  <a:pt x="5523" y="379"/>
                </a:lnTo>
                <a:lnTo>
                  <a:pt x="5517" y="390"/>
                </a:lnTo>
                <a:lnTo>
                  <a:pt x="5512" y="403"/>
                </a:lnTo>
                <a:lnTo>
                  <a:pt x="5509" y="416"/>
                </a:lnTo>
                <a:lnTo>
                  <a:pt x="5506" y="430"/>
                </a:lnTo>
                <a:lnTo>
                  <a:pt x="5504" y="443"/>
                </a:lnTo>
                <a:lnTo>
                  <a:pt x="5504" y="450"/>
                </a:lnTo>
                <a:lnTo>
                  <a:pt x="5503" y="459"/>
                </a:lnTo>
                <a:lnTo>
                  <a:pt x="5504" y="471"/>
                </a:lnTo>
                <a:lnTo>
                  <a:pt x="5505" y="483"/>
                </a:lnTo>
                <a:lnTo>
                  <a:pt x="5507" y="495"/>
                </a:lnTo>
                <a:lnTo>
                  <a:pt x="5509" y="501"/>
                </a:lnTo>
                <a:lnTo>
                  <a:pt x="5510" y="506"/>
                </a:lnTo>
                <a:lnTo>
                  <a:pt x="5514" y="518"/>
                </a:lnTo>
                <a:lnTo>
                  <a:pt x="5516" y="523"/>
                </a:lnTo>
                <a:lnTo>
                  <a:pt x="5518" y="527"/>
                </a:lnTo>
                <a:lnTo>
                  <a:pt x="5521" y="532"/>
                </a:lnTo>
                <a:lnTo>
                  <a:pt x="5524" y="536"/>
                </a:lnTo>
                <a:lnTo>
                  <a:pt x="5526" y="541"/>
                </a:lnTo>
                <a:lnTo>
                  <a:pt x="5529" y="545"/>
                </a:lnTo>
                <a:lnTo>
                  <a:pt x="5533" y="548"/>
                </a:lnTo>
                <a:lnTo>
                  <a:pt x="5536" y="552"/>
                </a:lnTo>
                <a:lnTo>
                  <a:pt x="5543" y="559"/>
                </a:lnTo>
                <a:lnTo>
                  <a:pt x="5552" y="564"/>
                </a:lnTo>
                <a:lnTo>
                  <a:pt x="5561" y="569"/>
                </a:lnTo>
                <a:lnTo>
                  <a:pt x="5570" y="574"/>
                </a:lnTo>
                <a:lnTo>
                  <a:pt x="5579" y="577"/>
                </a:lnTo>
                <a:lnTo>
                  <a:pt x="5590" y="579"/>
                </a:lnTo>
                <a:lnTo>
                  <a:pt x="5595" y="579"/>
                </a:lnTo>
                <a:lnTo>
                  <a:pt x="5600" y="579"/>
                </a:lnTo>
                <a:lnTo>
                  <a:pt x="5612" y="579"/>
                </a:lnTo>
                <a:lnTo>
                  <a:pt x="5622" y="577"/>
                </a:lnTo>
                <a:lnTo>
                  <a:pt x="5632" y="575"/>
                </a:lnTo>
                <a:lnTo>
                  <a:pt x="5641" y="570"/>
                </a:lnTo>
                <a:lnTo>
                  <a:pt x="5651" y="566"/>
                </a:lnTo>
                <a:lnTo>
                  <a:pt x="5660" y="561"/>
                </a:lnTo>
                <a:lnTo>
                  <a:pt x="5668" y="555"/>
                </a:lnTo>
                <a:lnTo>
                  <a:pt x="5678" y="549"/>
                </a:lnTo>
                <a:lnTo>
                  <a:pt x="5685" y="541"/>
                </a:lnTo>
                <a:lnTo>
                  <a:pt x="5693" y="534"/>
                </a:lnTo>
                <a:lnTo>
                  <a:pt x="5700" y="525"/>
                </a:lnTo>
                <a:lnTo>
                  <a:pt x="5707" y="516"/>
                </a:lnTo>
                <a:lnTo>
                  <a:pt x="5720" y="496"/>
                </a:lnTo>
                <a:lnTo>
                  <a:pt x="5726" y="485"/>
                </a:lnTo>
                <a:lnTo>
                  <a:pt x="5733" y="475"/>
                </a:lnTo>
                <a:lnTo>
                  <a:pt x="5738" y="464"/>
                </a:lnTo>
                <a:lnTo>
                  <a:pt x="5743" y="452"/>
                </a:lnTo>
                <a:lnTo>
                  <a:pt x="5747" y="440"/>
                </a:lnTo>
                <a:lnTo>
                  <a:pt x="5751" y="428"/>
                </a:lnTo>
                <a:lnTo>
                  <a:pt x="5755" y="416"/>
                </a:lnTo>
                <a:lnTo>
                  <a:pt x="5759" y="404"/>
                </a:lnTo>
                <a:lnTo>
                  <a:pt x="5762" y="392"/>
                </a:lnTo>
                <a:lnTo>
                  <a:pt x="5764" y="379"/>
                </a:lnTo>
                <a:lnTo>
                  <a:pt x="5766" y="367"/>
                </a:lnTo>
                <a:lnTo>
                  <a:pt x="5768" y="355"/>
                </a:lnTo>
                <a:lnTo>
                  <a:pt x="5770" y="343"/>
                </a:lnTo>
                <a:lnTo>
                  <a:pt x="5771" y="332"/>
                </a:lnTo>
                <a:lnTo>
                  <a:pt x="5772" y="320"/>
                </a:lnTo>
                <a:lnTo>
                  <a:pt x="5772" y="308"/>
                </a:lnTo>
                <a:lnTo>
                  <a:pt x="5772" y="298"/>
                </a:lnTo>
                <a:lnTo>
                  <a:pt x="5771" y="287"/>
                </a:lnTo>
                <a:lnTo>
                  <a:pt x="5772" y="285"/>
                </a:lnTo>
                <a:lnTo>
                  <a:pt x="5774" y="283"/>
                </a:lnTo>
                <a:lnTo>
                  <a:pt x="5776" y="281"/>
                </a:lnTo>
                <a:lnTo>
                  <a:pt x="5779" y="279"/>
                </a:lnTo>
                <a:lnTo>
                  <a:pt x="5786" y="276"/>
                </a:lnTo>
                <a:lnTo>
                  <a:pt x="5789" y="275"/>
                </a:lnTo>
                <a:lnTo>
                  <a:pt x="5795" y="275"/>
                </a:lnTo>
                <a:lnTo>
                  <a:pt x="5802" y="276"/>
                </a:lnTo>
                <a:lnTo>
                  <a:pt x="5805" y="276"/>
                </a:lnTo>
                <a:lnTo>
                  <a:pt x="5808" y="277"/>
                </a:lnTo>
                <a:lnTo>
                  <a:pt x="5814" y="280"/>
                </a:lnTo>
                <a:lnTo>
                  <a:pt x="5817" y="282"/>
                </a:lnTo>
                <a:lnTo>
                  <a:pt x="5819" y="284"/>
                </a:lnTo>
                <a:lnTo>
                  <a:pt x="5823" y="290"/>
                </a:lnTo>
                <a:lnTo>
                  <a:pt x="5825" y="294"/>
                </a:lnTo>
                <a:lnTo>
                  <a:pt x="5826" y="297"/>
                </a:lnTo>
                <a:lnTo>
                  <a:pt x="5827" y="302"/>
                </a:lnTo>
                <a:lnTo>
                  <a:pt x="5828" y="307"/>
                </a:lnTo>
                <a:lnTo>
                  <a:pt x="5828" y="312"/>
                </a:lnTo>
                <a:lnTo>
                  <a:pt x="5828" y="318"/>
                </a:lnTo>
                <a:lnTo>
                  <a:pt x="5828" y="334"/>
                </a:lnTo>
                <a:lnTo>
                  <a:pt x="5827" y="350"/>
                </a:lnTo>
                <a:lnTo>
                  <a:pt x="5825" y="365"/>
                </a:lnTo>
                <a:lnTo>
                  <a:pt x="5823" y="380"/>
                </a:lnTo>
                <a:lnTo>
                  <a:pt x="5821" y="396"/>
                </a:lnTo>
                <a:lnTo>
                  <a:pt x="5818" y="411"/>
                </a:lnTo>
                <a:lnTo>
                  <a:pt x="5814" y="425"/>
                </a:lnTo>
                <a:lnTo>
                  <a:pt x="5810" y="439"/>
                </a:lnTo>
                <a:lnTo>
                  <a:pt x="5806" y="454"/>
                </a:lnTo>
                <a:lnTo>
                  <a:pt x="5801" y="468"/>
                </a:lnTo>
                <a:lnTo>
                  <a:pt x="5796" y="481"/>
                </a:lnTo>
                <a:lnTo>
                  <a:pt x="5789" y="494"/>
                </a:lnTo>
                <a:lnTo>
                  <a:pt x="5783" y="506"/>
                </a:lnTo>
                <a:lnTo>
                  <a:pt x="5777" y="519"/>
                </a:lnTo>
                <a:lnTo>
                  <a:pt x="5770" y="531"/>
                </a:lnTo>
                <a:lnTo>
                  <a:pt x="5763" y="542"/>
                </a:lnTo>
                <a:lnTo>
                  <a:pt x="5755" y="553"/>
                </a:lnTo>
                <a:lnTo>
                  <a:pt x="5747" y="563"/>
                </a:lnTo>
                <a:lnTo>
                  <a:pt x="5738" y="573"/>
                </a:lnTo>
                <a:lnTo>
                  <a:pt x="5729" y="582"/>
                </a:lnTo>
                <a:lnTo>
                  <a:pt x="5720" y="591"/>
                </a:lnTo>
                <a:lnTo>
                  <a:pt x="5710" y="599"/>
                </a:lnTo>
                <a:lnTo>
                  <a:pt x="5701" y="606"/>
                </a:lnTo>
                <a:lnTo>
                  <a:pt x="5691" y="612"/>
                </a:lnTo>
                <a:lnTo>
                  <a:pt x="5680" y="618"/>
                </a:lnTo>
                <a:lnTo>
                  <a:pt x="5669" y="624"/>
                </a:lnTo>
                <a:lnTo>
                  <a:pt x="5658" y="628"/>
                </a:lnTo>
                <a:lnTo>
                  <a:pt x="5646" y="633"/>
                </a:lnTo>
                <a:lnTo>
                  <a:pt x="5635" y="636"/>
                </a:lnTo>
                <a:lnTo>
                  <a:pt x="5623" y="638"/>
                </a:lnTo>
                <a:lnTo>
                  <a:pt x="5611" y="639"/>
                </a:lnTo>
                <a:lnTo>
                  <a:pt x="5598" y="639"/>
                </a:lnTo>
                <a:close/>
                <a:moveTo>
                  <a:pt x="5986" y="634"/>
                </a:moveTo>
                <a:lnTo>
                  <a:pt x="5984" y="633"/>
                </a:lnTo>
                <a:lnTo>
                  <a:pt x="5982" y="633"/>
                </a:lnTo>
                <a:lnTo>
                  <a:pt x="5977" y="629"/>
                </a:lnTo>
                <a:lnTo>
                  <a:pt x="5969" y="625"/>
                </a:lnTo>
                <a:lnTo>
                  <a:pt x="5962" y="619"/>
                </a:lnTo>
                <a:lnTo>
                  <a:pt x="5949" y="608"/>
                </a:lnTo>
                <a:lnTo>
                  <a:pt x="5934" y="595"/>
                </a:lnTo>
                <a:lnTo>
                  <a:pt x="5918" y="579"/>
                </a:lnTo>
                <a:lnTo>
                  <a:pt x="5900" y="561"/>
                </a:lnTo>
                <a:lnTo>
                  <a:pt x="5884" y="544"/>
                </a:lnTo>
                <a:lnTo>
                  <a:pt x="5870" y="527"/>
                </a:lnTo>
                <a:lnTo>
                  <a:pt x="5859" y="513"/>
                </a:lnTo>
                <a:lnTo>
                  <a:pt x="5854" y="506"/>
                </a:lnTo>
                <a:lnTo>
                  <a:pt x="5851" y="501"/>
                </a:lnTo>
                <a:lnTo>
                  <a:pt x="5845" y="490"/>
                </a:lnTo>
                <a:lnTo>
                  <a:pt x="5841" y="481"/>
                </a:lnTo>
                <a:lnTo>
                  <a:pt x="5839" y="471"/>
                </a:lnTo>
                <a:lnTo>
                  <a:pt x="5838" y="461"/>
                </a:lnTo>
                <a:lnTo>
                  <a:pt x="5838" y="456"/>
                </a:lnTo>
                <a:lnTo>
                  <a:pt x="5839" y="449"/>
                </a:lnTo>
                <a:lnTo>
                  <a:pt x="5841" y="443"/>
                </a:lnTo>
                <a:lnTo>
                  <a:pt x="5842" y="437"/>
                </a:lnTo>
                <a:lnTo>
                  <a:pt x="5845" y="431"/>
                </a:lnTo>
                <a:lnTo>
                  <a:pt x="5848" y="424"/>
                </a:lnTo>
                <a:lnTo>
                  <a:pt x="5853" y="418"/>
                </a:lnTo>
                <a:lnTo>
                  <a:pt x="5858" y="411"/>
                </a:lnTo>
                <a:lnTo>
                  <a:pt x="5866" y="400"/>
                </a:lnTo>
                <a:lnTo>
                  <a:pt x="5877" y="385"/>
                </a:lnTo>
                <a:lnTo>
                  <a:pt x="5907" y="352"/>
                </a:lnTo>
                <a:lnTo>
                  <a:pt x="5942" y="312"/>
                </a:lnTo>
                <a:lnTo>
                  <a:pt x="5978" y="270"/>
                </a:lnTo>
                <a:lnTo>
                  <a:pt x="5979" y="270"/>
                </a:lnTo>
                <a:lnTo>
                  <a:pt x="5983" y="270"/>
                </a:lnTo>
                <a:lnTo>
                  <a:pt x="5986" y="270"/>
                </a:lnTo>
                <a:lnTo>
                  <a:pt x="5991" y="272"/>
                </a:lnTo>
                <a:lnTo>
                  <a:pt x="5995" y="274"/>
                </a:lnTo>
                <a:lnTo>
                  <a:pt x="5999" y="276"/>
                </a:lnTo>
                <a:lnTo>
                  <a:pt x="6003" y="280"/>
                </a:lnTo>
                <a:lnTo>
                  <a:pt x="6007" y="283"/>
                </a:lnTo>
                <a:lnTo>
                  <a:pt x="6011" y="288"/>
                </a:lnTo>
                <a:lnTo>
                  <a:pt x="6014" y="292"/>
                </a:lnTo>
                <a:lnTo>
                  <a:pt x="6015" y="297"/>
                </a:lnTo>
                <a:lnTo>
                  <a:pt x="6015" y="302"/>
                </a:lnTo>
                <a:lnTo>
                  <a:pt x="6015" y="307"/>
                </a:lnTo>
                <a:lnTo>
                  <a:pt x="6013" y="313"/>
                </a:lnTo>
                <a:lnTo>
                  <a:pt x="6010" y="318"/>
                </a:lnTo>
                <a:lnTo>
                  <a:pt x="6006" y="324"/>
                </a:lnTo>
                <a:lnTo>
                  <a:pt x="5998" y="336"/>
                </a:lnTo>
                <a:lnTo>
                  <a:pt x="5987" y="349"/>
                </a:lnTo>
                <a:lnTo>
                  <a:pt x="5957" y="382"/>
                </a:lnTo>
                <a:lnTo>
                  <a:pt x="5927" y="416"/>
                </a:lnTo>
                <a:lnTo>
                  <a:pt x="5915" y="431"/>
                </a:lnTo>
                <a:lnTo>
                  <a:pt x="5905" y="442"/>
                </a:lnTo>
                <a:lnTo>
                  <a:pt x="5902" y="446"/>
                </a:lnTo>
                <a:lnTo>
                  <a:pt x="5901" y="450"/>
                </a:lnTo>
                <a:lnTo>
                  <a:pt x="5899" y="454"/>
                </a:lnTo>
                <a:lnTo>
                  <a:pt x="5899" y="458"/>
                </a:lnTo>
                <a:lnTo>
                  <a:pt x="5900" y="462"/>
                </a:lnTo>
                <a:lnTo>
                  <a:pt x="5901" y="467"/>
                </a:lnTo>
                <a:lnTo>
                  <a:pt x="5903" y="471"/>
                </a:lnTo>
                <a:lnTo>
                  <a:pt x="5906" y="476"/>
                </a:lnTo>
                <a:lnTo>
                  <a:pt x="5914" y="485"/>
                </a:lnTo>
                <a:lnTo>
                  <a:pt x="5925" y="497"/>
                </a:lnTo>
                <a:lnTo>
                  <a:pt x="5952" y="527"/>
                </a:lnTo>
                <a:lnTo>
                  <a:pt x="5985" y="559"/>
                </a:lnTo>
                <a:lnTo>
                  <a:pt x="6016" y="590"/>
                </a:lnTo>
                <a:lnTo>
                  <a:pt x="6018" y="592"/>
                </a:lnTo>
                <a:lnTo>
                  <a:pt x="6019" y="594"/>
                </a:lnTo>
                <a:lnTo>
                  <a:pt x="6020" y="596"/>
                </a:lnTo>
                <a:lnTo>
                  <a:pt x="6021" y="599"/>
                </a:lnTo>
                <a:lnTo>
                  <a:pt x="6020" y="604"/>
                </a:lnTo>
                <a:lnTo>
                  <a:pt x="6019" y="607"/>
                </a:lnTo>
                <a:lnTo>
                  <a:pt x="6017" y="610"/>
                </a:lnTo>
                <a:lnTo>
                  <a:pt x="6014" y="616"/>
                </a:lnTo>
                <a:lnTo>
                  <a:pt x="6011" y="618"/>
                </a:lnTo>
                <a:lnTo>
                  <a:pt x="6009" y="621"/>
                </a:lnTo>
                <a:lnTo>
                  <a:pt x="6004" y="626"/>
                </a:lnTo>
                <a:lnTo>
                  <a:pt x="6001" y="628"/>
                </a:lnTo>
                <a:lnTo>
                  <a:pt x="5998" y="629"/>
                </a:lnTo>
                <a:lnTo>
                  <a:pt x="5992" y="633"/>
                </a:lnTo>
                <a:lnTo>
                  <a:pt x="5989" y="633"/>
                </a:lnTo>
                <a:lnTo>
                  <a:pt x="5986" y="634"/>
                </a:lnTo>
                <a:close/>
                <a:moveTo>
                  <a:pt x="5598" y="1633"/>
                </a:moveTo>
                <a:lnTo>
                  <a:pt x="5591" y="1632"/>
                </a:lnTo>
                <a:lnTo>
                  <a:pt x="5583" y="1632"/>
                </a:lnTo>
                <a:lnTo>
                  <a:pt x="5576" y="1631"/>
                </a:lnTo>
                <a:lnTo>
                  <a:pt x="5568" y="1629"/>
                </a:lnTo>
                <a:lnTo>
                  <a:pt x="5561" y="1627"/>
                </a:lnTo>
                <a:lnTo>
                  <a:pt x="5554" y="1625"/>
                </a:lnTo>
                <a:lnTo>
                  <a:pt x="5539" y="1619"/>
                </a:lnTo>
                <a:lnTo>
                  <a:pt x="5526" y="1612"/>
                </a:lnTo>
                <a:lnTo>
                  <a:pt x="5520" y="1608"/>
                </a:lnTo>
                <a:lnTo>
                  <a:pt x="5514" y="1603"/>
                </a:lnTo>
                <a:lnTo>
                  <a:pt x="5508" y="1598"/>
                </a:lnTo>
                <a:lnTo>
                  <a:pt x="5502" y="1593"/>
                </a:lnTo>
                <a:lnTo>
                  <a:pt x="5497" y="1587"/>
                </a:lnTo>
                <a:lnTo>
                  <a:pt x="5492" y="1581"/>
                </a:lnTo>
                <a:lnTo>
                  <a:pt x="5486" y="1575"/>
                </a:lnTo>
                <a:lnTo>
                  <a:pt x="5481" y="1568"/>
                </a:lnTo>
                <a:lnTo>
                  <a:pt x="5477" y="1562"/>
                </a:lnTo>
                <a:lnTo>
                  <a:pt x="5472" y="1555"/>
                </a:lnTo>
                <a:lnTo>
                  <a:pt x="5468" y="1548"/>
                </a:lnTo>
                <a:lnTo>
                  <a:pt x="5465" y="1540"/>
                </a:lnTo>
                <a:lnTo>
                  <a:pt x="5462" y="1533"/>
                </a:lnTo>
                <a:lnTo>
                  <a:pt x="5459" y="1524"/>
                </a:lnTo>
                <a:lnTo>
                  <a:pt x="5456" y="1516"/>
                </a:lnTo>
                <a:lnTo>
                  <a:pt x="5454" y="1508"/>
                </a:lnTo>
                <a:lnTo>
                  <a:pt x="5452" y="1500"/>
                </a:lnTo>
                <a:lnTo>
                  <a:pt x="5450" y="1491"/>
                </a:lnTo>
                <a:lnTo>
                  <a:pt x="5449" y="1482"/>
                </a:lnTo>
                <a:lnTo>
                  <a:pt x="5448" y="1473"/>
                </a:lnTo>
                <a:lnTo>
                  <a:pt x="5447" y="1463"/>
                </a:lnTo>
                <a:lnTo>
                  <a:pt x="5447" y="1454"/>
                </a:lnTo>
                <a:lnTo>
                  <a:pt x="5448" y="1436"/>
                </a:lnTo>
                <a:lnTo>
                  <a:pt x="5449" y="1426"/>
                </a:lnTo>
                <a:lnTo>
                  <a:pt x="5450" y="1417"/>
                </a:lnTo>
                <a:lnTo>
                  <a:pt x="5452" y="1407"/>
                </a:lnTo>
                <a:lnTo>
                  <a:pt x="5454" y="1398"/>
                </a:lnTo>
                <a:lnTo>
                  <a:pt x="5456" y="1390"/>
                </a:lnTo>
                <a:lnTo>
                  <a:pt x="5459" y="1381"/>
                </a:lnTo>
                <a:lnTo>
                  <a:pt x="5462" y="1373"/>
                </a:lnTo>
                <a:lnTo>
                  <a:pt x="5466" y="1364"/>
                </a:lnTo>
                <a:lnTo>
                  <a:pt x="5470" y="1356"/>
                </a:lnTo>
                <a:lnTo>
                  <a:pt x="5474" y="1348"/>
                </a:lnTo>
                <a:lnTo>
                  <a:pt x="5478" y="1340"/>
                </a:lnTo>
                <a:lnTo>
                  <a:pt x="5483" y="1333"/>
                </a:lnTo>
                <a:lnTo>
                  <a:pt x="5494" y="1319"/>
                </a:lnTo>
                <a:lnTo>
                  <a:pt x="5500" y="1312"/>
                </a:lnTo>
                <a:lnTo>
                  <a:pt x="5505" y="1306"/>
                </a:lnTo>
                <a:lnTo>
                  <a:pt x="5518" y="1295"/>
                </a:lnTo>
                <a:lnTo>
                  <a:pt x="5524" y="1289"/>
                </a:lnTo>
                <a:lnTo>
                  <a:pt x="5531" y="1284"/>
                </a:lnTo>
                <a:lnTo>
                  <a:pt x="5537" y="1279"/>
                </a:lnTo>
                <a:lnTo>
                  <a:pt x="5545" y="1275"/>
                </a:lnTo>
                <a:lnTo>
                  <a:pt x="5553" y="1272"/>
                </a:lnTo>
                <a:lnTo>
                  <a:pt x="5560" y="1269"/>
                </a:lnTo>
                <a:lnTo>
                  <a:pt x="5568" y="1266"/>
                </a:lnTo>
                <a:lnTo>
                  <a:pt x="5576" y="1264"/>
                </a:lnTo>
                <a:lnTo>
                  <a:pt x="5583" y="1262"/>
                </a:lnTo>
                <a:lnTo>
                  <a:pt x="5591" y="1260"/>
                </a:lnTo>
                <a:lnTo>
                  <a:pt x="5600" y="1260"/>
                </a:lnTo>
                <a:lnTo>
                  <a:pt x="5608" y="1259"/>
                </a:lnTo>
                <a:lnTo>
                  <a:pt x="5619" y="1260"/>
                </a:lnTo>
                <a:lnTo>
                  <a:pt x="5624" y="1260"/>
                </a:lnTo>
                <a:lnTo>
                  <a:pt x="5629" y="1261"/>
                </a:lnTo>
                <a:lnTo>
                  <a:pt x="5633" y="1262"/>
                </a:lnTo>
                <a:lnTo>
                  <a:pt x="5638" y="1263"/>
                </a:lnTo>
                <a:lnTo>
                  <a:pt x="5646" y="1267"/>
                </a:lnTo>
                <a:lnTo>
                  <a:pt x="5654" y="1270"/>
                </a:lnTo>
                <a:lnTo>
                  <a:pt x="5661" y="1275"/>
                </a:lnTo>
                <a:lnTo>
                  <a:pt x="5668" y="1280"/>
                </a:lnTo>
                <a:lnTo>
                  <a:pt x="5675" y="1286"/>
                </a:lnTo>
                <a:lnTo>
                  <a:pt x="5678" y="1290"/>
                </a:lnTo>
                <a:lnTo>
                  <a:pt x="5680" y="1294"/>
                </a:lnTo>
                <a:lnTo>
                  <a:pt x="5685" y="1301"/>
                </a:lnTo>
                <a:lnTo>
                  <a:pt x="5689" y="1309"/>
                </a:lnTo>
                <a:lnTo>
                  <a:pt x="5693" y="1317"/>
                </a:lnTo>
                <a:lnTo>
                  <a:pt x="5695" y="1326"/>
                </a:lnTo>
                <a:lnTo>
                  <a:pt x="5697" y="1335"/>
                </a:lnTo>
                <a:lnTo>
                  <a:pt x="5698" y="1345"/>
                </a:lnTo>
                <a:lnTo>
                  <a:pt x="5699" y="1356"/>
                </a:lnTo>
                <a:lnTo>
                  <a:pt x="5698" y="1368"/>
                </a:lnTo>
                <a:lnTo>
                  <a:pt x="5697" y="1374"/>
                </a:lnTo>
                <a:lnTo>
                  <a:pt x="5696" y="1380"/>
                </a:lnTo>
                <a:lnTo>
                  <a:pt x="5692" y="1392"/>
                </a:lnTo>
                <a:lnTo>
                  <a:pt x="5687" y="1404"/>
                </a:lnTo>
                <a:lnTo>
                  <a:pt x="5681" y="1416"/>
                </a:lnTo>
                <a:lnTo>
                  <a:pt x="5673" y="1427"/>
                </a:lnTo>
                <a:lnTo>
                  <a:pt x="5668" y="1432"/>
                </a:lnTo>
                <a:lnTo>
                  <a:pt x="5664" y="1437"/>
                </a:lnTo>
                <a:lnTo>
                  <a:pt x="5655" y="1446"/>
                </a:lnTo>
                <a:lnTo>
                  <a:pt x="5645" y="1454"/>
                </a:lnTo>
                <a:lnTo>
                  <a:pt x="5640" y="1458"/>
                </a:lnTo>
                <a:lnTo>
                  <a:pt x="5634" y="1462"/>
                </a:lnTo>
                <a:lnTo>
                  <a:pt x="5623" y="1469"/>
                </a:lnTo>
                <a:lnTo>
                  <a:pt x="5611" y="1475"/>
                </a:lnTo>
                <a:lnTo>
                  <a:pt x="5598" y="1480"/>
                </a:lnTo>
                <a:lnTo>
                  <a:pt x="5592" y="1482"/>
                </a:lnTo>
                <a:lnTo>
                  <a:pt x="5586" y="1483"/>
                </a:lnTo>
                <a:lnTo>
                  <a:pt x="5579" y="1484"/>
                </a:lnTo>
                <a:lnTo>
                  <a:pt x="5573" y="1485"/>
                </a:lnTo>
                <a:lnTo>
                  <a:pt x="5561" y="1486"/>
                </a:lnTo>
                <a:lnTo>
                  <a:pt x="5555" y="1485"/>
                </a:lnTo>
                <a:lnTo>
                  <a:pt x="5549" y="1483"/>
                </a:lnTo>
                <a:lnTo>
                  <a:pt x="5545" y="1481"/>
                </a:lnTo>
                <a:lnTo>
                  <a:pt x="5543" y="1479"/>
                </a:lnTo>
                <a:lnTo>
                  <a:pt x="5541" y="1477"/>
                </a:lnTo>
                <a:lnTo>
                  <a:pt x="5538" y="1472"/>
                </a:lnTo>
                <a:lnTo>
                  <a:pt x="5535" y="1466"/>
                </a:lnTo>
                <a:lnTo>
                  <a:pt x="5535" y="1463"/>
                </a:lnTo>
                <a:lnTo>
                  <a:pt x="5534" y="1460"/>
                </a:lnTo>
                <a:lnTo>
                  <a:pt x="5533" y="1454"/>
                </a:lnTo>
                <a:lnTo>
                  <a:pt x="5533" y="1451"/>
                </a:lnTo>
                <a:lnTo>
                  <a:pt x="5534" y="1448"/>
                </a:lnTo>
                <a:lnTo>
                  <a:pt x="5535" y="1443"/>
                </a:lnTo>
                <a:lnTo>
                  <a:pt x="5536" y="1441"/>
                </a:lnTo>
                <a:lnTo>
                  <a:pt x="5537" y="1439"/>
                </a:lnTo>
                <a:lnTo>
                  <a:pt x="5539" y="1438"/>
                </a:lnTo>
                <a:lnTo>
                  <a:pt x="5540" y="1436"/>
                </a:lnTo>
                <a:lnTo>
                  <a:pt x="5552" y="1434"/>
                </a:lnTo>
                <a:lnTo>
                  <a:pt x="5563" y="1432"/>
                </a:lnTo>
                <a:lnTo>
                  <a:pt x="5573" y="1428"/>
                </a:lnTo>
                <a:lnTo>
                  <a:pt x="5583" y="1424"/>
                </a:lnTo>
                <a:lnTo>
                  <a:pt x="5592" y="1420"/>
                </a:lnTo>
                <a:lnTo>
                  <a:pt x="5600" y="1415"/>
                </a:lnTo>
                <a:lnTo>
                  <a:pt x="5608" y="1408"/>
                </a:lnTo>
                <a:lnTo>
                  <a:pt x="5613" y="1406"/>
                </a:lnTo>
                <a:lnTo>
                  <a:pt x="5616" y="1403"/>
                </a:lnTo>
                <a:lnTo>
                  <a:pt x="5623" y="1396"/>
                </a:lnTo>
                <a:lnTo>
                  <a:pt x="5628" y="1390"/>
                </a:lnTo>
                <a:lnTo>
                  <a:pt x="5633" y="1383"/>
                </a:lnTo>
                <a:lnTo>
                  <a:pt x="5638" y="1376"/>
                </a:lnTo>
                <a:lnTo>
                  <a:pt x="5641" y="1369"/>
                </a:lnTo>
                <a:lnTo>
                  <a:pt x="5643" y="1362"/>
                </a:lnTo>
                <a:lnTo>
                  <a:pt x="5645" y="1355"/>
                </a:lnTo>
                <a:lnTo>
                  <a:pt x="5645" y="1347"/>
                </a:lnTo>
                <a:lnTo>
                  <a:pt x="5645" y="1339"/>
                </a:lnTo>
                <a:lnTo>
                  <a:pt x="5642" y="1332"/>
                </a:lnTo>
                <a:lnTo>
                  <a:pt x="5641" y="1328"/>
                </a:lnTo>
                <a:lnTo>
                  <a:pt x="5639" y="1325"/>
                </a:lnTo>
                <a:lnTo>
                  <a:pt x="5637" y="1323"/>
                </a:lnTo>
                <a:lnTo>
                  <a:pt x="5634" y="1320"/>
                </a:lnTo>
                <a:lnTo>
                  <a:pt x="5629" y="1316"/>
                </a:lnTo>
                <a:lnTo>
                  <a:pt x="5625" y="1314"/>
                </a:lnTo>
                <a:lnTo>
                  <a:pt x="5622" y="1313"/>
                </a:lnTo>
                <a:lnTo>
                  <a:pt x="5614" y="1311"/>
                </a:lnTo>
                <a:lnTo>
                  <a:pt x="5609" y="1310"/>
                </a:lnTo>
                <a:lnTo>
                  <a:pt x="5604" y="1310"/>
                </a:lnTo>
                <a:lnTo>
                  <a:pt x="5595" y="1311"/>
                </a:lnTo>
                <a:lnTo>
                  <a:pt x="5591" y="1312"/>
                </a:lnTo>
                <a:lnTo>
                  <a:pt x="5586" y="1313"/>
                </a:lnTo>
                <a:lnTo>
                  <a:pt x="5582" y="1315"/>
                </a:lnTo>
                <a:lnTo>
                  <a:pt x="5578" y="1316"/>
                </a:lnTo>
                <a:lnTo>
                  <a:pt x="5573" y="1319"/>
                </a:lnTo>
                <a:lnTo>
                  <a:pt x="5569" y="1321"/>
                </a:lnTo>
                <a:lnTo>
                  <a:pt x="5564" y="1324"/>
                </a:lnTo>
                <a:lnTo>
                  <a:pt x="5560" y="1327"/>
                </a:lnTo>
                <a:lnTo>
                  <a:pt x="5552" y="1334"/>
                </a:lnTo>
                <a:lnTo>
                  <a:pt x="5543" y="1342"/>
                </a:lnTo>
                <a:lnTo>
                  <a:pt x="5536" y="1352"/>
                </a:lnTo>
                <a:lnTo>
                  <a:pt x="5532" y="1357"/>
                </a:lnTo>
                <a:lnTo>
                  <a:pt x="5529" y="1362"/>
                </a:lnTo>
                <a:lnTo>
                  <a:pt x="5523" y="1373"/>
                </a:lnTo>
                <a:lnTo>
                  <a:pt x="5517" y="1384"/>
                </a:lnTo>
                <a:lnTo>
                  <a:pt x="5512" y="1397"/>
                </a:lnTo>
                <a:lnTo>
                  <a:pt x="5509" y="1409"/>
                </a:lnTo>
                <a:lnTo>
                  <a:pt x="5506" y="1424"/>
                </a:lnTo>
                <a:lnTo>
                  <a:pt x="5504" y="1438"/>
                </a:lnTo>
                <a:lnTo>
                  <a:pt x="5504" y="1445"/>
                </a:lnTo>
                <a:lnTo>
                  <a:pt x="5503" y="1452"/>
                </a:lnTo>
                <a:lnTo>
                  <a:pt x="5504" y="1464"/>
                </a:lnTo>
                <a:lnTo>
                  <a:pt x="5505" y="1478"/>
                </a:lnTo>
                <a:lnTo>
                  <a:pt x="5507" y="1489"/>
                </a:lnTo>
                <a:lnTo>
                  <a:pt x="5509" y="1495"/>
                </a:lnTo>
                <a:lnTo>
                  <a:pt x="5510" y="1500"/>
                </a:lnTo>
                <a:lnTo>
                  <a:pt x="5514" y="1511"/>
                </a:lnTo>
                <a:lnTo>
                  <a:pt x="5516" y="1516"/>
                </a:lnTo>
                <a:lnTo>
                  <a:pt x="5518" y="1521"/>
                </a:lnTo>
                <a:lnTo>
                  <a:pt x="5521" y="1525"/>
                </a:lnTo>
                <a:lnTo>
                  <a:pt x="5524" y="1530"/>
                </a:lnTo>
                <a:lnTo>
                  <a:pt x="5526" y="1535"/>
                </a:lnTo>
                <a:lnTo>
                  <a:pt x="5529" y="1539"/>
                </a:lnTo>
                <a:lnTo>
                  <a:pt x="5533" y="1543"/>
                </a:lnTo>
                <a:lnTo>
                  <a:pt x="5536" y="1546"/>
                </a:lnTo>
                <a:lnTo>
                  <a:pt x="5543" y="1553"/>
                </a:lnTo>
                <a:lnTo>
                  <a:pt x="5552" y="1559"/>
                </a:lnTo>
                <a:lnTo>
                  <a:pt x="5561" y="1563"/>
                </a:lnTo>
                <a:lnTo>
                  <a:pt x="5570" y="1567"/>
                </a:lnTo>
                <a:lnTo>
                  <a:pt x="5579" y="1570"/>
                </a:lnTo>
                <a:lnTo>
                  <a:pt x="5590" y="1572"/>
                </a:lnTo>
                <a:lnTo>
                  <a:pt x="5595" y="1572"/>
                </a:lnTo>
                <a:lnTo>
                  <a:pt x="5600" y="1572"/>
                </a:lnTo>
                <a:lnTo>
                  <a:pt x="5612" y="1572"/>
                </a:lnTo>
                <a:lnTo>
                  <a:pt x="5622" y="1570"/>
                </a:lnTo>
                <a:lnTo>
                  <a:pt x="5632" y="1568"/>
                </a:lnTo>
                <a:lnTo>
                  <a:pt x="5641" y="1564"/>
                </a:lnTo>
                <a:lnTo>
                  <a:pt x="5651" y="1560"/>
                </a:lnTo>
                <a:lnTo>
                  <a:pt x="5660" y="1555"/>
                </a:lnTo>
                <a:lnTo>
                  <a:pt x="5668" y="1549"/>
                </a:lnTo>
                <a:lnTo>
                  <a:pt x="5678" y="1543"/>
                </a:lnTo>
                <a:lnTo>
                  <a:pt x="5685" y="1536"/>
                </a:lnTo>
                <a:lnTo>
                  <a:pt x="5693" y="1527"/>
                </a:lnTo>
                <a:lnTo>
                  <a:pt x="5700" y="1518"/>
                </a:lnTo>
                <a:lnTo>
                  <a:pt x="5707" y="1509"/>
                </a:lnTo>
                <a:lnTo>
                  <a:pt x="5720" y="1490"/>
                </a:lnTo>
                <a:lnTo>
                  <a:pt x="5726" y="1479"/>
                </a:lnTo>
                <a:lnTo>
                  <a:pt x="5733" y="1468"/>
                </a:lnTo>
                <a:lnTo>
                  <a:pt x="5738" y="1457"/>
                </a:lnTo>
                <a:lnTo>
                  <a:pt x="5743" y="1445"/>
                </a:lnTo>
                <a:lnTo>
                  <a:pt x="5747" y="1434"/>
                </a:lnTo>
                <a:lnTo>
                  <a:pt x="5751" y="1422"/>
                </a:lnTo>
                <a:lnTo>
                  <a:pt x="5755" y="1409"/>
                </a:lnTo>
                <a:lnTo>
                  <a:pt x="5759" y="1397"/>
                </a:lnTo>
                <a:lnTo>
                  <a:pt x="5762" y="1385"/>
                </a:lnTo>
                <a:lnTo>
                  <a:pt x="5764" y="1373"/>
                </a:lnTo>
                <a:lnTo>
                  <a:pt x="5766" y="1361"/>
                </a:lnTo>
                <a:lnTo>
                  <a:pt x="5768" y="1348"/>
                </a:lnTo>
                <a:lnTo>
                  <a:pt x="5770" y="1337"/>
                </a:lnTo>
                <a:lnTo>
                  <a:pt x="5771" y="1325"/>
                </a:lnTo>
                <a:lnTo>
                  <a:pt x="5772" y="1314"/>
                </a:lnTo>
                <a:lnTo>
                  <a:pt x="5772" y="1303"/>
                </a:lnTo>
                <a:lnTo>
                  <a:pt x="5772" y="1292"/>
                </a:lnTo>
                <a:lnTo>
                  <a:pt x="5771" y="1280"/>
                </a:lnTo>
                <a:lnTo>
                  <a:pt x="5772" y="1278"/>
                </a:lnTo>
                <a:lnTo>
                  <a:pt x="5774" y="1276"/>
                </a:lnTo>
                <a:lnTo>
                  <a:pt x="5776" y="1274"/>
                </a:lnTo>
                <a:lnTo>
                  <a:pt x="5779" y="1272"/>
                </a:lnTo>
                <a:lnTo>
                  <a:pt x="5786" y="1269"/>
                </a:lnTo>
                <a:lnTo>
                  <a:pt x="5789" y="1269"/>
                </a:lnTo>
                <a:lnTo>
                  <a:pt x="5795" y="1268"/>
                </a:lnTo>
                <a:lnTo>
                  <a:pt x="5802" y="1269"/>
                </a:lnTo>
                <a:lnTo>
                  <a:pt x="5805" y="1269"/>
                </a:lnTo>
                <a:lnTo>
                  <a:pt x="5808" y="1270"/>
                </a:lnTo>
                <a:lnTo>
                  <a:pt x="5814" y="1273"/>
                </a:lnTo>
                <a:lnTo>
                  <a:pt x="5817" y="1275"/>
                </a:lnTo>
                <a:lnTo>
                  <a:pt x="5819" y="1277"/>
                </a:lnTo>
                <a:lnTo>
                  <a:pt x="5823" y="1283"/>
                </a:lnTo>
                <a:lnTo>
                  <a:pt x="5825" y="1287"/>
                </a:lnTo>
                <a:lnTo>
                  <a:pt x="5826" y="1292"/>
                </a:lnTo>
                <a:lnTo>
                  <a:pt x="5827" y="1296"/>
                </a:lnTo>
                <a:lnTo>
                  <a:pt x="5828" y="1301"/>
                </a:lnTo>
                <a:lnTo>
                  <a:pt x="5828" y="1306"/>
                </a:lnTo>
                <a:lnTo>
                  <a:pt x="5828" y="1312"/>
                </a:lnTo>
                <a:lnTo>
                  <a:pt x="5828" y="1328"/>
                </a:lnTo>
                <a:lnTo>
                  <a:pt x="5827" y="1343"/>
                </a:lnTo>
                <a:lnTo>
                  <a:pt x="5825" y="1359"/>
                </a:lnTo>
                <a:lnTo>
                  <a:pt x="5823" y="1374"/>
                </a:lnTo>
                <a:lnTo>
                  <a:pt x="5821" y="1389"/>
                </a:lnTo>
                <a:lnTo>
                  <a:pt x="5818" y="1404"/>
                </a:lnTo>
                <a:lnTo>
                  <a:pt x="5814" y="1419"/>
                </a:lnTo>
                <a:lnTo>
                  <a:pt x="5810" y="1434"/>
                </a:lnTo>
                <a:lnTo>
                  <a:pt x="5806" y="1447"/>
                </a:lnTo>
                <a:lnTo>
                  <a:pt x="5801" y="1461"/>
                </a:lnTo>
                <a:lnTo>
                  <a:pt x="5796" y="1475"/>
                </a:lnTo>
                <a:lnTo>
                  <a:pt x="5789" y="1488"/>
                </a:lnTo>
                <a:lnTo>
                  <a:pt x="5783" y="1500"/>
                </a:lnTo>
                <a:lnTo>
                  <a:pt x="5777" y="1512"/>
                </a:lnTo>
                <a:lnTo>
                  <a:pt x="5770" y="1524"/>
                </a:lnTo>
                <a:lnTo>
                  <a:pt x="5763" y="1536"/>
                </a:lnTo>
                <a:lnTo>
                  <a:pt x="5755" y="1547"/>
                </a:lnTo>
                <a:lnTo>
                  <a:pt x="5747" y="1557"/>
                </a:lnTo>
                <a:lnTo>
                  <a:pt x="5738" y="1567"/>
                </a:lnTo>
                <a:lnTo>
                  <a:pt x="5729" y="1576"/>
                </a:lnTo>
                <a:lnTo>
                  <a:pt x="5720" y="1584"/>
                </a:lnTo>
                <a:lnTo>
                  <a:pt x="5710" y="1593"/>
                </a:lnTo>
                <a:lnTo>
                  <a:pt x="5701" y="1600"/>
                </a:lnTo>
                <a:lnTo>
                  <a:pt x="5691" y="1607"/>
                </a:lnTo>
                <a:lnTo>
                  <a:pt x="5680" y="1613"/>
                </a:lnTo>
                <a:lnTo>
                  <a:pt x="5669" y="1618"/>
                </a:lnTo>
                <a:lnTo>
                  <a:pt x="5658" y="1622"/>
                </a:lnTo>
                <a:lnTo>
                  <a:pt x="5646" y="1626"/>
                </a:lnTo>
                <a:lnTo>
                  <a:pt x="5635" y="1629"/>
                </a:lnTo>
                <a:lnTo>
                  <a:pt x="5623" y="1631"/>
                </a:lnTo>
                <a:lnTo>
                  <a:pt x="5611" y="1632"/>
                </a:lnTo>
                <a:lnTo>
                  <a:pt x="5598" y="1633"/>
                </a:lnTo>
                <a:close/>
                <a:moveTo>
                  <a:pt x="5986" y="1627"/>
                </a:moveTo>
                <a:lnTo>
                  <a:pt x="5984" y="1627"/>
                </a:lnTo>
                <a:lnTo>
                  <a:pt x="5982" y="1626"/>
                </a:lnTo>
                <a:lnTo>
                  <a:pt x="5977" y="1623"/>
                </a:lnTo>
                <a:lnTo>
                  <a:pt x="5969" y="1619"/>
                </a:lnTo>
                <a:lnTo>
                  <a:pt x="5962" y="1613"/>
                </a:lnTo>
                <a:lnTo>
                  <a:pt x="5949" y="1603"/>
                </a:lnTo>
                <a:lnTo>
                  <a:pt x="5934" y="1588"/>
                </a:lnTo>
                <a:lnTo>
                  <a:pt x="5918" y="1572"/>
                </a:lnTo>
                <a:lnTo>
                  <a:pt x="5900" y="1555"/>
                </a:lnTo>
                <a:lnTo>
                  <a:pt x="5884" y="1538"/>
                </a:lnTo>
                <a:lnTo>
                  <a:pt x="5870" y="1521"/>
                </a:lnTo>
                <a:lnTo>
                  <a:pt x="5859" y="1506"/>
                </a:lnTo>
                <a:lnTo>
                  <a:pt x="5854" y="1500"/>
                </a:lnTo>
                <a:lnTo>
                  <a:pt x="5851" y="1495"/>
                </a:lnTo>
                <a:lnTo>
                  <a:pt x="5845" y="1485"/>
                </a:lnTo>
                <a:lnTo>
                  <a:pt x="5841" y="1475"/>
                </a:lnTo>
                <a:lnTo>
                  <a:pt x="5839" y="1464"/>
                </a:lnTo>
                <a:lnTo>
                  <a:pt x="5838" y="1454"/>
                </a:lnTo>
                <a:lnTo>
                  <a:pt x="5838" y="1449"/>
                </a:lnTo>
                <a:lnTo>
                  <a:pt x="5839" y="1443"/>
                </a:lnTo>
                <a:lnTo>
                  <a:pt x="5841" y="1437"/>
                </a:lnTo>
                <a:lnTo>
                  <a:pt x="5842" y="1431"/>
                </a:lnTo>
                <a:lnTo>
                  <a:pt x="5845" y="1425"/>
                </a:lnTo>
                <a:lnTo>
                  <a:pt x="5848" y="1419"/>
                </a:lnTo>
                <a:lnTo>
                  <a:pt x="5853" y="1412"/>
                </a:lnTo>
                <a:lnTo>
                  <a:pt x="5858" y="1404"/>
                </a:lnTo>
                <a:lnTo>
                  <a:pt x="5866" y="1393"/>
                </a:lnTo>
                <a:lnTo>
                  <a:pt x="5877" y="1380"/>
                </a:lnTo>
                <a:lnTo>
                  <a:pt x="5907" y="1345"/>
                </a:lnTo>
                <a:lnTo>
                  <a:pt x="5942" y="1306"/>
                </a:lnTo>
                <a:lnTo>
                  <a:pt x="5978" y="1264"/>
                </a:lnTo>
                <a:lnTo>
                  <a:pt x="5979" y="1264"/>
                </a:lnTo>
                <a:lnTo>
                  <a:pt x="5983" y="1264"/>
                </a:lnTo>
                <a:lnTo>
                  <a:pt x="5986" y="1264"/>
                </a:lnTo>
                <a:lnTo>
                  <a:pt x="5991" y="1265"/>
                </a:lnTo>
                <a:lnTo>
                  <a:pt x="5995" y="1267"/>
                </a:lnTo>
                <a:lnTo>
                  <a:pt x="5999" y="1270"/>
                </a:lnTo>
                <a:lnTo>
                  <a:pt x="6003" y="1273"/>
                </a:lnTo>
                <a:lnTo>
                  <a:pt x="6007" y="1276"/>
                </a:lnTo>
                <a:lnTo>
                  <a:pt x="6011" y="1281"/>
                </a:lnTo>
                <a:lnTo>
                  <a:pt x="6014" y="1286"/>
                </a:lnTo>
                <a:lnTo>
                  <a:pt x="6015" y="1290"/>
                </a:lnTo>
                <a:lnTo>
                  <a:pt x="6015" y="1296"/>
                </a:lnTo>
                <a:lnTo>
                  <a:pt x="6015" y="1301"/>
                </a:lnTo>
                <a:lnTo>
                  <a:pt x="6013" y="1307"/>
                </a:lnTo>
                <a:lnTo>
                  <a:pt x="6010" y="1312"/>
                </a:lnTo>
                <a:lnTo>
                  <a:pt x="6006" y="1318"/>
                </a:lnTo>
                <a:lnTo>
                  <a:pt x="5998" y="1329"/>
                </a:lnTo>
                <a:lnTo>
                  <a:pt x="5987" y="1342"/>
                </a:lnTo>
                <a:lnTo>
                  <a:pt x="5957" y="1376"/>
                </a:lnTo>
                <a:lnTo>
                  <a:pt x="5927" y="1409"/>
                </a:lnTo>
                <a:lnTo>
                  <a:pt x="5915" y="1425"/>
                </a:lnTo>
                <a:lnTo>
                  <a:pt x="5905" y="1436"/>
                </a:lnTo>
                <a:lnTo>
                  <a:pt x="5902" y="1440"/>
                </a:lnTo>
                <a:lnTo>
                  <a:pt x="5901" y="1444"/>
                </a:lnTo>
                <a:lnTo>
                  <a:pt x="5899" y="1447"/>
                </a:lnTo>
                <a:lnTo>
                  <a:pt x="5899" y="1451"/>
                </a:lnTo>
                <a:lnTo>
                  <a:pt x="5900" y="1455"/>
                </a:lnTo>
                <a:lnTo>
                  <a:pt x="5901" y="1460"/>
                </a:lnTo>
                <a:lnTo>
                  <a:pt x="5903" y="1464"/>
                </a:lnTo>
                <a:lnTo>
                  <a:pt x="5906" y="1469"/>
                </a:lnTo>
                <a:lnTo>
                  <a:pt x="5914" y="1479"/>
                </a:lnTo>
                <a:lnTo>
                  <a:pt x="5925" y="1491"/>
                </a:lnTo>
                <a:lnTo>
                  <a:pt x="5952" y="1520"/>
                </a:lnTo>
                <a:lnTo>
                  <a:pt x="5985" y="1553"/>
                </a:lnTo>
                <a:lnTo>
                  <a:pt x="6016" y="1583"/>
                </a:lnTo>
                <a:lnTo>
                  <a:pt x="6018" y="1585"/>
                </a:lnTo>
                <a:lnTo>
                  <a:pt x="6019" y="1587"/>
                </a:lnTo>
                <a:lnTo>
                  <a:pt x="6020" y="1589"/>
                </a:lnTo>
                <a:lnTo>
                  <a:pt x="6021" y="1593"/>
                </a:lnTo>
                <a:lnTo>
                  <a:pt x="6020" y="1599"/>
                </a:lnTo>
                <a:lnTo>
                  <a:pt x="6019" y="1601"/>
                </a:lnTo>
                <a:lnTo>
                  <a:pt x="6017" y="1604"/>
                </a:lnTo>
                <a:lnTo>
                  <a:pt x="6014" y="1610"/>
                </a:lnTo>
                <a:lnTo>
                  <a:pt x="6011" y="1613"/>
                </a:lnTo>
                <a:lnTo>
                  <a:pt x="6009" y="1615"/>
                </a:lnTo>
                <a:lnTo>
                  <a:pt x="6004" y="1620"/>
                </a:lnTo>
                <a:lnTo>
                  <a:pt x="6001" y="1622"/>
                </a:lnTo>
                <a:lnTo>
                  <a:pt x="5998" y="1624"/>
                </a:lnTo>
                <a:lnTo>
                  <a:pt x="5992" y="1626"/>
                </a:lnTo>
                <a:lnTo>
                  <a:pt x="5989" y="1627"/>
                </a:lnTo>
                <a:lnTo>
                  <a:pt x="5986" y="1627"/>
                </a:lnTo>
                <a:close/>
                <a:moveTo>
                  <a:pt x="5598" y="2627"/>
                </a:moveTo>
                <a:lnTo>
                  <a:pt x="5591" y="2627"/>
                </a:lnTo>
                <a:lnTo>
                  <a:pt x="5583" y="2626"/>
                </a:lnTo>
                <a:lnTo>
                  <a:pt x="5576" y="2625"/>
                </a:lnTo>
                <a:lnTo>
                  <a:pt x="5568" y="2623"/>
                </a:lnTo>
                <a:lnTo>
                  <a:pt x="5561" y="2621"/>
                </a:lnTo>
                <a:lnTo>
                  <a:pt x="5554" y="2619"/>
                </a:lnTo>
                <a:lnTo>
                  <a:pt x="5539" y="2613"/>
                </a:lnTo>
                <a:lnTo>
                  <a:pt x="5526" y="2605"/>
                </a:lnTo>
                <a:lnTo>
                  <a:pt x="5520" y="2601"/>
                </a:lnTo>
                <a:lnTo>
                  <a:pt x="5514" y="2596"/>
                </a:lnTo>
                <a:lnTo>
                  <a:pt x="5508" y="2591"/>
                </a:lnTo>
                <a:lnTo>
                  <a:pt x="5502" y="2586"/>
                </a:lnTo>
                <a:lnTo>
                  <a:pt x="5497" y="2581"/>
                </a:lnTo>
                <a:lnTo>
                  <a:pt x="5492" y="2575"/>
                </a:lnTo>
                <a:lnTo>
                  <a:pt x="5486" y="2569"/>
                </a:lnTo>
                <a:lnTo>
                  <a:pt x="5481" y="2563"/>
                </a:lnTo>
                <a:lnTo>
                  <a:pt x="5477" y="2556"/>
                </a:lnTo>
                <a:lnTo>
                  <a:pt x="5472" y="2548"/>
                </a:lnTo>
                <a:lnTo>
                  <a:pt x="5468" y="2541"/>
                </a:lnTo>
                <a:lnTo>
                  <a:pt x="5465" y="2534"/>
                </a:lnTo>
                <a:lnTo>
                  <a:pt x="5462" y="2526"/>
                </a:lnTo>
                <a:lnTo>
                  <a:pt x="5459" y="2518"/>
                </a:lnTo>
                <a:lnTo>
                  <a:pt x="5456" y="2510"/>
                </a:lnTo>
                <a:lnTo>
                  <a:pt x="5454" y="2502"/>
                </a:lnTo>
                <a:lnTo>
                  <a:pt x="5452" y="2494"/>
                </a:lnTo>
                <a:lnTo>
                  <a:pt x="5450" y="2484"/>
                </a:lnTo>
                <a:lnTo>
                  <a:pt x="5449" y="2475"/>
                </a:lnTo>
                <a:lnTo>
                  <a:pt x="5448" y="2467"/>
                </a:lnTo>
                <a:lnTo>
                  <a:pt x="5447" y="2458"/>
                </a:lnTo>
                <a:lnTo>
                  <a:pt x="5447" y="2448"/>
                </a:lnTo>
                <a:lnTo>
                  <a:pt x="5448" y="2429"/>
                </a:lnTo>
                <a:lnTo>
                  <a:pt x="5449" y="2420"/>
                </a:lnTo>
                <a:lnTo>
                  <a:pt x="5450" y="2410"/>
                </a:lnTo>
                <a:lnTo>
                  <a:pt x="5452" y="2401"/>
                </a:lnTo>
                <a:lnTo>
                  <a:pt x="5454" y="2393"/>
                </a:lnTo>
                <a:lnTo>
                  <a:pt x="5456" y="2384"/>
                </a:lnTo>
                <a:lnTo>
                  <a:pt x="5459" y="2375"/>
                </a:lnTo>
                <a:lnTo>
                  <a:pt x="5462" y="2366"/>
                </a:lnTo>
                <a:lnTo>
                  <a:pt x="5466" y="2358"/>
                </a:lnTo>
                <a:lnTo>
                  <a:pt x="5470" y="2350"/>
                </a:lnTo>
                <a:lnTo>
                  <a:pt x="5474" y="2342"/>
                </a:lnTo>
                <a:lnTo>
                  <a:pt x="5478" y="2334"/>
                </a:lnTo>
                <a:lnTo>
                  <a:pt x="5483" y="2327"/>
                </a:lnTo>
                <a:lnTo>
                  <a:pt x="5494" y="2313"/>
                </a:lnTo>
                <a:lnTo>
                  <a:pt x="5500" y="2305"/>
                </a:lnTo>
                <a:lnTo>
                  <a:pt x="5505" y="2299"/>
                </a:lnTo>
                <a:lnTo>
                  <a:pt x="5518" y="2288"/>
                </a:lnTo>
                <a:lnTo>
                  <a:pt x="5524" y="2283"/>
                </a:lnTo>
                <a:lnTo>
                  <a:pt x="5531" y="2278"/>
                </a:lnTo>
                <a:lnTo>
                  <a:pt x="5537" y="2274"/>
                </a:lnTo>
                <a:lnTo>
                  <a:pt x="5545" y="2269"/>
                </a:lnTo>
                <a:lnTo>
                  <a:pt x="5553" y="2266"/>
                </a:lnTo>
                <a:lnTo>
                  <a:pt x="5560" y="2263"/>
                </a:lnTo>
                <a:lnTo>
                  <a:pt x="5568" y="2260"/>
                </a:lnTo>
                <a:lnTo>
                  <a:pt x="5576" y="2258"/>
                </a:lnTo>
                <a:lnTo>
                  <a:pt x="5583" y="2256"/>
                </a:lnTo>
                <a:lnTo>
                  <a:pt x="5591" y="2255"/>
                </a:lnTo>
                <a:lnTo>
                  <a:pt x="5600" y="2254"/>
                </a:lnTo>
                <a:lnTo>
                  <a:pt x="5608" y="2254"/>
                </a:lnTo>
                <a:lnTo>
                  <a:pt x="5619" y="2254"/>
                </a:lnTo>
                <a:lnTo>
                  <a:pt x="5624" y="2255"/>
                </a:lnTo>
                <a:lnTo>
                  <a:pt x="5629" y="2255"/>
                </a:lnTo>
                <a:lnTo>
                  <a:pt x="5633" y="2256"/>
                </a:lnTo>
                <a:lnTo>
                  <a:pt x="5638" y="2258"/>
                </a:lnTo>
                <a:lnTo>
                  <a:pt x="5646" y="2261"/>
                </a:lnTo>
                <a:lnTo>
                  <a:pt x="5654" y="2265"/>
                </a:lnTo>
                <a:lnTo>
                  <a:pt x="5661" y="2269"/>
                </a:lnTo>
                <a:lnTo>
                  <a:pt x="5668" y="2275"/>
                </a:lnTo>
                <a:lnTo>
                  <a:pt x="5675" y="2281"/>
                </a:lnTo>
                <a:lnTo>
                  <a:pt x="5678" y="2284"/>
                </a:lnTo>
                <a:lnTo>
                  <a:pt x="5680" y="2287"/>
                </a:lnTo>
                <a:lnTo>
                  <a:pt x="5685" y="2295"/>
                </a:lnTo>
                <a:lnTo>
                  <a:pt x="5689" y="2302"/>
                </a:lnTo>
                <a:lnTo>
                  <a:pt x="5693" y="2312"/>
                </a:lnTo>
                <a:lnTo>
                  <a:pt x="5695" y="2320"/>
                </a:lnTo>
                <a:lnTo>
                  <a:pt x="5697" y="2329"/>
                </a:lnTo>
                <a:lnTo>
                  <a:pt x="5698" y="2339"/>
                </a:lnTo>
                <a:lnTo>
                  <a:pt x="5699" y="2349"/>
                </a:lnTo>
                <a:lnTo>
                  <a:pt x="5698" y="2361"/>
                </a:lnTo>
                <a:lnTo>
                  <a:pt x="5697" y="2368"/>
                </a:lnTo>
                <a:lnTo>
                  <a:pt x="5696" y="2375"/>
                </a:lnTo>
                <a:lnTo>
                  <a:pt x="5692" y="2387"/>
                </a:lnTo>
                <a:lnTo>
                  <a:pt x="5687" y="2398"/>
                </a:lnTo>
                <a:lnTo>
                  <a:pt x="5681" y="2409"/>
                </a:lnTo>
                <a:lnTo>
                  <a:pt x="5673" y="2420"/>
                </a:lnTo>
                <a:lnTo>
                  <a:pt x="5668" y="2425"/>
                </a:lnTo>
                <a:lnTo>
                  <a:pt x="5664" y="2430"/>
                </a:lnTo>
                <a:lnTo>
                  <a:pt x="5655" y="2440"/>
                </a:lnTo>
                <a:lnTo>
                  <a:pt x="5645" y="2449"/>
                </a:lnTo>
                <a:lnTo>
                  <a:pt x="5640" y="2452"/>
                </a:lnTo>
                <a:lnTo>
                  <a:pt x="5634" y="2456"/>
                </a:lnTo>
                <a:lnTo>
                  <a:pt x="5623" y="2463"/>
                </a:lnTo>
                <a:lnTo>
                  <a:pt x="5611" y="2468"/>
                </a:lnTo>
                <a:lnTo>
                  <a:pt x="5598" y="2473"/>
                </a:lnTo>
                <a:lnTo>
                  <a:pt x="5592" y="2475"/>
                </a:lnTo>
                <a:lnTo>
                  <a:pt x="5586" y="2476"/>
                </a:lnTo>
                <a:lnTo>
                  <a:pt x="5579" y="2478"/>
                </a:lnTo>
                <a:lnTo>
                  <a:pt x="5573" y="2478"/>
                </a:lnTo>
                <a:lnTo>
                  <a:pt x="5561" y="2479"/>
                </a:lnTo>
                <a:lnTo>
                  <a:pt x="5555" y="2478"/>
                </a:lnTo>
                <a:lnTo>
                  <a:pt x="5549" y="2477"/>
                </a:lnTo>
                <a:lnTo>
                  <a:pt x="5545" y="2474"/>
                </a:lnTo>
                <a:lnTo>
                  <a:pt x="5543" y="2472"/>
                </a:lnTo>
                <a:lnTo>
                  <a:pt x="5541" y="2470"/>
                </a:lnTo>
                <a:lnTo>
                  <a:pt x="5538" y="2465"/>
                </a:lnTo>
                <a:lnTo>
                  <a:pt x="5535" y="2460"/>
                </a:lnTo>
                <a:lnTo>
                  <a:pt x="5535" y="2457"/>
                </a:lnTo>
                <a:lnTo>
                  <a:pt x="5534" y="2454"/>
                </a:lnTo>
                <a:lnTo>
                  <a:pt x="5533" y="2448"/>
                </a:lnTo>
                <a:lnTo>
                  <a:pt x="5533" y="2445"/>
                </a:lnTo>
                <a:lnTo>
                  <a:pt x="5534" y="2442"/>
                </a:lnTo>
                <a:lnTo>
                  <a:pt x="5535" y="2437"/>
                </a:lnTo>
                <a:lnTo>
                  <a:pt x="5536" y="2435"/>
                </a:lnTo>
                <a:lnTo>
                  <a:pt x="5537" y="2433"/>
                </a:lnTo>
                <a:lnTo>
                  <a:pt x="5539" y="2432"/>
                </a:lnTo>
                <a:lnTo>
                  <a:pt x="5540" y="2430"/>
                </a:lnTo>
                <a:lnTo>
                  <a:pt x="5552" y="2428"/>
                </a:lnTo>
                <a:lnTo>
                  <a:pt x="5563" y="2425"/>
                </a:lnTo>
                <a:lnTo>
                  <a:pt x="5573" y="2422"/>
                </a:lnTo>
                <a:lnTo>
                  <a:pt x="5583" y="2418"/>
                </a:lnTo>
                <a:lnTo>
                  <a:pt x="5592" y="2413"/>
                </a:lnTo>
                <a:lnTo>
                  <a:pt x="5600" y="2408"/>
                </a:lnTo>
                <a:lnTo>
                  <a:pt x="5608" y="2403"/>
                </a:lnTo>
                <a:lnTo>
                  <a:pt x="5613" y="2400"/>
                </a:lnTo>
                <a:lnTo>
                  <a:pt x="5616" y="2397"/>
                </a:lnTo>
                <a:lnTo>
                  <a:pt x="5623" y="2390"/>
                </a:lnTo>
                <a:lnTo>
                  <a:pt x="5628" y="2384"/>
                </a:lnTo>
                <a:lnTo>
                  <a:pt x="5633" y="2377"/>
                </a:lnTo>
                <a:lnTo>
                  <a:pt x="5638" y="2369"/>
                </a:lnTo>
                <a:lnTo>
                  <a:pt x="5641" y="2362"/>
                </a:lnTo>
                <a:lnTo>
                  <a:pt x="5643" y="2355"/>
                </a:lnTo>
                <a:lnTo>
                  <a:pt x="5645" y="2348"/>
                </a:lnTo>
                <a:lnTo>
                  <a:pt x="5645" y="2341"/>
                </a:lnTo>
                <a:lnTo>
                  <a:pt x="5645" y="2333"/>
                </a:lnTo>
                <a:lnTo>
                  <a:pt x="5642" y="2326"/>
                </a:lnTo>
                <a:lnTo>
                  <a:pt x="5641" y="2323"/>
                </a:lnTo>
                <a:lnTo>
                  <a:pt x="5639" y="2319"/>
                </a:lnTo>
                <a:lnTo>
                  <a:pt x="5637" y="2317"/>
                </a:lnTo>
                <a:lnTo>
                  <a:pt x="5634" y="2314"/>
                </a:lnTo>
                <a:lnTo>
                  <a:pt x="5629" y="2309"/>
                </a:lnTo>
                <a:lnTo>
                  <a:pt x="5625" y="2307"/>
                </a:lnTo>
                <a:lnTo>
                  <a:pt x="5622" y="2306"/>
                </a:lnTo>
                <a:lnTo>
                  <a:pt x="5614" y="2304"/>
                </a:lnTo>
                <a:lnTo>
                  <a:pt x="5609" y="2303"/>
                </a:lnTo>
                <a:lnTo>
                  <a:pt x="5604" y="2303"/>
                </a:lnTo>
                <a:lnTo>
                  <a:pt x="5595" y="2304"/>
                </a:lnTo>
                <a:lnTo>
                  <a:pt x="5591" y="2305"/>
                </a:lnTo>
                <a:lnTo>
                  <a:pt x="5586" y="2306"/>
                </a:lnTo>
                <a:lnTo>
                  <a:pt x="5582" y="2308"/>
                </a:lnTo>
                <a:lnTo>
                  <a:pt x="5578" y="2310"/>
                </a:lnTo>
                <a:lnTo>
                  <a:pt x="5573" y="2313"/>
                </a:lnTo>
                <a:lnTo>
                  <a:pt x="5569" y="2315"/>
                </a:lnTo>
                <a:lnTo>
                  <a:pt x="5564" y="2318"/>
                </a:lnTo>
                <a:lnTo>
                  <a:pt x="5560" y="2321"/>
                </a:lnTo>
                <a:lnTo>
                  <a:pt x="5552" y="2328"/>
                </a:lnTo>
                <a:lnTo>
                  <a:pt x="5543" y="2336"/>
                </a:lnTo>
                <a:lnTo>
                  <a:pt x="5536" y="2345"/>
                </a:lnTo>
                <a:lnTo>
                  <a:pt x="5532" y="2350"/>
                </a:lnTo>
                <a:lnTo>
                  <a:pt x="5529" y="2355"/>
                </a:lnTo>
                <a:lnTo>
                  <a:pt x="5523" y="2366"/>
                </a:lnTo>
                <a:lnTo>
                  <a:pt x="5517" y="2379"/>
                </a:lnTo>
                <a:lnTo>
                  <a:pt x="5512" y="2391"/>
                </a:lnTo>
                <a:lnTo>
                  <a:pt x="5509" y="2404"/>
                </a:lnTo>
                <a:lnTo>
                  <a:pt x="5506" y="2417"/>
                </a:lnTo>
                <a:lnTo>
                  <a:pt x="5504" y="2432"/>
                </a:lnTo>
                <a:lnTo>
                  <a:pt x="5504" y="2439"/>
                </a:lnTo>
                <a:lnTo>
                  <a:pt x="5503" y="2446"/>
                </a:lnTo>
                <a:lnTo>
                  <a:pt x="5504" y="2459"/>
                </a:lnTo>
                <a:lnTo>
                  <a:pt x="5505" y="2471"/>
                </a:lnTo>
                <a:lnTo>
                  <a:pt x="5507" y="2482"/>
                </a:lnTo>
                <a:lnTo>
                  <a:pt x="5509" y="2488"/>
                </a:lnTo>
                <a:lnTo>
                  <a:pt x="5510" y="2494"/>
                </a:lnTo>
                <a:lnTo>
                  <a:pt x="5514" y="2505"/>
                </a:lnTo>
                <a:lnTo>
                  <a:pt x="5516" y="2510"/>
                </a:lnTo>
                <a:lnTo>
                  <a:pt x="5518" y="2515"/>
                </a:lnTo>
                <a:lnTo>
                  <a:pt x="5521" y="2519"/>
                </a:lnTo>
                <a:lnTo>
                  <a:pt x="5524" y="2524"/>
                </a:lnTo>
                <a:lnTo>
                  <a:pt x="5526" y="2528"/>
                </a:lnTo>
                <a:lnTo>
                  <a:pt x="5529" y="2532"/>
                </a:lnTo>
                <a:lnTo>
                  <a:pt x="5533" y="2536"/>
                </a:lnTo>
                <a:lnTo>
                  <a:pt x="5536" y="2540"/>
                </a:lnTo>
                <a:lnTo>
                  <a:pt x="5543" y="2546"/>
                </a:lnTo>
                <a:lnTo>
                  <a:pt x="5552" y="2553"/>
                </a:lnTo>
                <a:lnTo>
                  <a:pt x="5561" y="2558"/>
                </a:lnTo>
                <a:lnTo>
                  <a:pt x="5570" y="2561"/>
                </a:lnTo>
                <a:lnTo>
                  <a:pt x="5579" y="2564"/>
                </a:lnTo>
                <a:lnTo>
                  <a:pt x="5590" y="2566"/>
                </a:lnTo>
                <a:lnTo>
                  <a:pt x="5595" y="2566"/>
                </a:lnTo>
                <a:lnTo>
                  <a:pt x="5600" y="2567"/>
                </a:lnTo>
                <a:lnTo>
                  <a:pt x="5612" y="2566"/>
                </a:lnTo>
                <a:lnTo>
                  <a:pt x="5622" y="2564"/>
                </a:lnTo>
                <a:lnTo>
                  <a:pt x="5632" y="2562"/>
                </a:lnTo>
                <a:lnTo>
                  <a:pt x="5641" y="2559"/>
                </a:lnTo>
                <a:lnTo>
                  <a:pt x="5651" y="2554"/>
                </a:lnTo>
                <a:lnTo>
                  <a:pt x="5660" y="2548"/>
                </a:lnTo>
                <a:lnTo>
                  <a:pt x="5668" y="2543"/>
                </a:lnTo>
                <a:lnTo>
                  <a:pt x="5678" y="2536"/>
                </a:lnTo>
                <a:lnTo>
                  <a:pt x="5685" y="2529"/>
                </a:lnTo>
                <a:lnTo>
                  <a:pt x="5693" y="2521"/>
                </a:lnTo>
                <a:lnTo>
                  <a:pt x="5700" y="2512"/>
                </a:lnTo>
                <a:lnTo>
                  <a:pt x="5707" y="2503"/>
                </a:lnTo>
                <a:lnTo>
                  <a:pt x="5720" y="2483"/>
                </a:lnTo>
                <a:lnTo>
                  <a:pt x="5726" y="2473"/>
                </a:lnTo>
                <a:lnTo>
                  <a:pt x="5733" y="2462"/>
                </a:lnTo>
                <a:lnTo>
                  <a:pt x="5738" y="2451"/>
                </a:lnTo>
                <a:lnTo>
                  <a:pt x="5743" y="2440"/>
                </a:lnTo>
                <a:lnTo>
                  <a:pt x="5747" y="2427"/>
                </a:lnTo>
                <a:lnTo>
                  <a:pt x="5751" y="2415"/>
                </a:lnTo>
                <a:lnTo>
                  <a:pt x="5755" y="2403"/>
                </a:lnTo>
                <a:lnTo>
                  <a:pt x="5759" y="2391"/>
                </a:lnTo>
                <a:lnTo>
                  <a:pt x="5762" y="2379"/>
                </a:lnTo>
                <a:lnTo>
                  <a:pt x="5764" y="2366"/>
                </a:lnTo>
                <a:lnTo>
                  <a:pt x="5766" y="2354"/>
                </a:lnTo>
                <a:lnTo>
                  <a:pt x="5768" y="2343"/>
                </a:lnTo>
                <a:lnTo>
                  <a:pt x="5770" y="2331"/>
                </a:lnTo>
                <a:lnTo>
                  <a:pt x="5771" y="2319"/>
                </a:lnTo>
                <a:lnTo>
                  <a:pt x="5772" y="2307"/>
                </a:lnTo>
                <a:lnTo>
                  <a:pt x="5772" y="2296"/>
                </a:lnTo>
                <a:lnTo>
                  <a:pt x="5772" y="2285"/>
                </a:lnTo>
                <a:lnTo>
                  <a:pt x="5771" y="2275"/>
                </a:lnTo>
                <a:lnTo>
                  <a:pt x="5772" y="2272"/>
                </a:lnTo>
                <a:lnTo>
                  <a:pt x="5774" y="2270"/>
                </a:lnTo>
                <a:lnTo>
                  <a:pt x="5776" y="2268"/>
                </a:lnTo>
                <a:lnTo>
                  <a:pt x="5779" y="2266"/>
                </a:lnTo>
                <a:lnTo>
                  <a:pt x="5786" y="2263"/>
                </a:lnTo>
                <a:lnTo>
                  <a:pt x="5789" y="2263"/>
                </a:lnTo>
                <a:lnTo>
                  <a:pt x="5795" y="2262"/>
                </a:lnTo>
                <a:lnTo>
                  <a:pt x="5802" y="2263"/>
                </a:lnTo>
                <a:lnTo>
                  <a:pt x="5805" y="2264"/>
                </a:lnTo>
                <a:lnTo>
                  <a:pt x="5808" y="2265"/>
                </a:lnTo>
                <a:lnTo>
                  <a:pt x="5814" y="2267"/>
                </a:lnTo>
                <a:lnTo>
                  <a:pt x="5817" y="2269"/>
                </a:lnTo>
                <a:lnTo>
                  <a:pt x="5819" y="2272"/>
                </a:lnTo>
                <a:lnTo>
                  <a:pt x="5823" y="2277"/>
                </a:lnTo>
                <a:lnTo>
                  <a:pt x="5825" y="2281"/>
                </a:lnTo>
                <a:lnTo>
                  <a:pt x="5826" y="2285"/>
                </a:lnTo>
                <a:lnTo>
                  <a:pt x="5827" y="2289"/>
                </a:lnTo>
                <a:lnTo>
                  <a:pt x="5828" y="2294"/>
                </a:lnTo>
                <a:lnTo>
                  <a:pt x="5828" y="2299"/>
                </a:lnTo>
                <a:lnTo>
                  <a:pt x="5828" y="2305"/>
                </a:lnTo>
                <a:lnTo>
                  <a:pt x="5828" y="2322"/>
                </a:lnTo>
                <a:lnTo>
                  <a:pt x="5827" y="2337"/>
                </a:lnTo>
                <a:lnTo>
                  <a:pt x="5825" y="2352"/>
                </a:lnTo>
                <a:lnTo>
                  <a:pt x="5823" y="2368"/>
                </a:lnTo>
                <a:lnTo>
                  <a:pt x="5821" y="2383"/>
                </a:lnTo>
                <a:lnTo>
                  <a:pt x="5818" y="2398"/>
                </a:lnTo>
                <a:lnTo>
                  <a:pt x="5814" y="2413"/>
                </a:lnTo>
                <a:lnTo>
                  <a:pt x="5810" y="2427"/>
                </a:lnTo>
                <a:lnTo>
                  <a:pt x="5806" y="2442"/>
                </a:lnTo>
                <a:lnTo>
                  <a:pt x="5801" y="2455"/>
                </a:lnTo>
                <a:lnTo>
                  <a:pt x="5796" y="2468"/>
                </a:lnTo>
                <a:lnTo>
                  <a:pt x="5789" y="2481"/>
                </a:lnTo>
                <a:lnTo>
                  <a:pt x="5783" y="2495"/>
                </a:lnTo>
                <a:lnTo>
                  <a:pt x="5777" y="2507"/>
                </a:lnTo>
                <a:lnTo>
                  <a:pt x="5770" y="2518"/>
                </a:lnTo>
                <a:lnTo>
                  <a:pt x="5763" y="2529"/>
                </a:lnTo>
                <a:lnTo>
                  <a:pt x="5755" y="2540"/>
                </a:lnTo>
                <a:lnTo>
                  <a:pt x="5747" y="2550"/>
                </a:lnTo>
                <a:lnTo>
                  <a:pt x="5738" y="2561"/>
                </a:lnTo>
                <a:lnTo>
                  <a:pt x="5729" y="2570"/>
                </a:lnTo>
                <a:lnTo>
                  <a:pt x="5720" y="2578"/>
                </a:lnTo>
                <a:lnTo>
                  <a:pt x="5710" y="2586"/>
                </a:lnTo>
                <a:lnTo>
                  <a:pt x="5701" y="2593"/>
                </a:lnTo>
                <a:lnTo>
                  <a:pt x="5691" y="2600"/>
                </a:lnTo>
                <a:lnTo>
                  <a:pt x="5680" y="2606"/>
                </a:lnTo>
                <a:lnTo>
                  <a:pt x="5669" y="2612"/>
                </a:lnTo>
                <a:lnTo>
                  <a:pt x="5658" y="2616"/>
                </a:lnTo>
                <a:lnTo>
                  <a:pt x="5646" y="2620"/>
                </a:lnTo>
                <a:lnTo>
                  <a:pt x="5635" y="2623"/>
                </a:lnTo>
                <a:lnTo>
                  <a:pt x="5623" y="2625"/>
                </a:lnTo>
                <a:lnTo>
                  <a:pt x="5611" y="2626"/>
                </a:lnTo>
                <a:lnTo>
                  <a:pt x="5598" y="2627"/>
                </a:lnTo>
                <a:close/>
                <a:moveTo>
                  <a:pt x="5986" y="2621"/>
                </a:moveTo>
                <a:lnTo>
                  <a:pt x="5984" y="2621"/>
                </a:lnTo>
                <a:lnTo>
                  <a:pt x="5982" y="2620"/>
                </a:lnTo>
                <a:lnTo>
                  <a:pt x="5977" y="2617"/>
                </a:lnTo>
                <a:lnTo>
                  <a:pt x="5969" y="2613"/>
                </a:lnTo>
                <a:lnTo>
                  <a:pt x="5962" y="2607"/>
                </a:lnTo>
                <a:lnTo>
                  <a:pt x="5949" y="2596"/>
                </a:lnTo>
                <a:lnTo>
                  <a:pt x="5934" y="2582"/>
                </a:lnTo>
                <a:lnTo>
                  <a:pt x="5918" y="2566"/>
                </a:lnTo>
                <a:lnTo>
                  <a:pt x="5900" y="2548"/>
                </a:lnTo>
                <a:lnTo>
                  <a:pt x="5884" y="2531"/>
                </a:lnTo>
                <a:lnTo>
                  <a:pt x="5870" y="2515"/>
                </a:lnTo>
                <a:lnTo>
                  <a:pt x="5859" y="2501"/>
                </a:lnTo>
                <a:lnTo>
                  <a:pt x="5854" y="2494"/>
                </a:lnTo>
                <a:lnTo>
                  <a:pt x="5851" y="2488"/>
                </a:lnTo>
                <a:lnTo>
                  <a:pt x="5845" y="2478"/>
                </a:lnTo>
                <a:lnTo>
                  <a:pt x="5841" y="2468"/>
                </a:lnTo>
                <a:lnTo>
                  <a:pt x="5839" y="2458"/>
                </a:lnTo>
                <a:lnTo>
                  <a:pt x="5838" y="2448"/>
                </a:lnTo>
                <a:lnTo>
                  <a:pt x="5838" y="2443"/>
                </a:lnTo>
                <a:lnTo>
                  <a:pt x="5839" y="2437"/>
                </a:lnTo>
                <a:lnTo>
                  <a:pt x="5841" y="2430"/>
                </a:lnTo>
                <a:lnTo>
                  <a:pt x="5842" y="2424"/>
                </a:lnTo>
                <a:lnTo>
                  <a:pt x="5845" y="2418"/>
                </a:lnTo>
                <a:lnTo>
                  <a:pt x="5848" y="2412"/>
                </a:lnTo>
                <a:lnTo>
                  <a:pt x="5853" y="2405"/>
                </a:lnTo>
                <a:lnTo>
                  <a:pt x="5858" y="2398"/>
                </a:lnTo>
                <a:lnTo>
                  <a:pt x="5866" y="2387"/>
                </a:lnTo>
                <a:lnTo>
                  <a:pt x="5877" y="2374"/>
                </a:lnTo>
                <a:lnTo>
                  <a:pt x="5907" y="2339"/>
                </a:lnTo>
                <a:lnTo>
                  <a:pt x="5942" y="2299"/>
                </a:lnTo>
                <a:lnTo>
                  <a:pt x="5978" y="2259"/>
                </a:lnTo>
                <a:lnTo>
                  <a:pt x="5979" y="2258"/>
                </a:lnTo>
                <a:lnTo>
                  <a:pt x="5983" y="2258"/>
                </a:lnTo>
                <a:lnTo>
                  <a:pt x="5986" y="2258"/>
                </a:lnTo>
                <a:lnTo>
                  <a:pt x="5991" y="2260"/>
                </a:lnTo>
                <a:lnTo>
                  <a:pt x="5995" y="2261"/>
                </a:lnTo>
                <a:lnTo>
                  <a:pt x="5999" y="2264"/>
                </a:lnTo>
                <a:lnTo>
                  <a:pt x="6003" y="2267"/>
                </a:lnTo>
                <a:lnTo>
                  <a:pt x="6007" y="2271"/>
                </a:lnTo>
                <a:lnTo>
                  <a:pt x="6011" y="2275"/>
                </a:lnTo>
                <a:lnTo>
                  <a:pt x="6014" y="2280"/>
                </a:lnTo>
                <a:lnTo>
                  <a:pt x="6015" y="2284"/>
                </a:lnTo>
                <a:lnTo>
                  <a:pt x="6015" y="2289"/>
                </a:lnTo>
                <a:lnTo>
                  <a:pt x="6015" y="2295"/>
                </a:lnTo>
                <a:lnTo>
                  <a:pt x="6013" y="2300"/>
                </a:lnTo>
                <a:lnTo>
                  <a:pt x="6010" y="2306"/>
                </a:lnTo>
                <a:lnTo>
                  <a:pt x="6006" y="2313"/>
                </a:lnTo>
                <a:lnTo>
                  <a:pt x="5998" y="2323"/>
                </a:lnTo>
                <a:lnTo>
                  <a:pt x="5987" y="2336"/>
                </a:lnTo>
                <a:lnTo>
                  <a:pt x="5957" y="2369"/>
                </a:lnTo>
                <a:lnTo>
                  <a:pt x="5927" y="2404"/>
                </a:lnTo>
                <a:lnTo>
                  <a:pt x="5915" y="2418"/>
                </a:lnTo>
                <a:lnTo>
                  <a:pt x="5905" y="2430"/>
                </a:lnTo>
                <a:lnTo>
                  <a:pt x="5902" y="2434"/>
                </a:lnTo>
                <a:lnTo>
                  <a:pt x="5901" y="2438"/>
                </a:lnTo>
                <a:lnTo>
                  <a:pt x="5899" y="2442"/>
                </a:lnTo>
                <a:lnTo>
                  <a:pt x="5899" y="2445"/>
                </a:lnTo>
                <a:lnTo>
                  <a:pt x="5900" y="2450"/>
                </a:lnTo>
                <a:lnTo>
                  <a:pt x="5901" y="2454"/>
                </a:lnTo>
                <a:lnTo>
                  <a:pt x="5903" y="2458"/>
                </a:lnTo>
                <a:lnTo>
                  <a:pt x="5906" y="2463"/>
                </a:lnTo>
                <a:lnTo>
                  <a:pt x="5914" y="2472"/>
                </a:lnTo>
                <a:lnTo>
                  <a:pt x="5925" y="2484"/>
                </a:lnTo>
                <a:lnTo>
                  <a:pt x="5952" y="2514"/>
                </a:lnTo>
                <a:lnTo>
                  <a:pt x="5985" y="2546"/>
                </a:lnTo>
                <a:lnTo>
                  <a:pt x="6016" y="2577"/>
                </a:lnTo>
                <a:lnTo>
                  <a:pt x="6018" y="2579"/>
                </a:lnTo>
                <a:lnTo>
                  <a:pt x="6019" y="2581"/>
                </a:lnTo>
                <a:lnTo>
                  <a:pt x="6020" y="2584"/>
                </a:lnTo>
                <a:lnTo>
                  <a:pt x="6021" y="2586"/>
                </a:lnTo>
                <a:lnTo>
                  <a:pt x="6020" y="2592"/>
                </a:lnTo>
                <a:lnTo>
                  <a:pt x="6019" y="2595"/>
                </a:lnTo>
                <a:lnTo>
                  <a:pt x="6017" y="2597"/>
                </a:lnTo>
                <a:lnTo>
                  <a:pt x="6014" y="2603"/>
                </a:lnTo>
                <a:lnTo>
                  <a:pt x="6011" y="2606"/>
                </a:lnTo>
                <a:lnTo>
                  <a:pt x="6009" y="2608"/>
                </a:lnTo>
                <a:lnTo>
                  <a:pt x="6004" y="2614"/>
                </a:lnTo>
                <a:lnTo>
                  <a:pt x="6001" y="2616"/>
                </a:lnTo>
                <a:lnTo>
                  <a:pt x="5998" y="2618"/>
                </a:lnTo>
                <a:lnTo>
                  <a:pt x="5992" y="2620"/>
                </a:lnTo>
                <a:lnTo>
                  <a:pt x="5989" y="2621"/>
                </a:lnTo>
                <a:lnTo>
                  <a:pt x="5986" y="2621"/>
                </a:lnTo>
                <a:close/>
                <a:moveTo>
                  <a:pt x="2229" y="4087"/>
                </a:moveTo>
                <a:lnTo>
                  <a:pt x="2222" y="4087"/>
                </a:lnTo>
                <a:lnTo>
                  <a:pt x="2214" y="4086"/>
                </a:lnTo>
                <a:lnTo>
                  <a:pt x="2207" y="4085"/>
                </a:lnTo>
                <a:lnTo>
                  <a:pt x="2199" y="4084"/>
                </a:lnTo>
                <a:lnTo>
                  <a:pt x="2192" y="4082"/>
                </a:lnTo>
                <a:lnTo>
                  <a:pt x="2184" y="4080"/>
                </a:lnTo>
                <a:lnTo>
                  <a:pt x="2170" y="4074"/>
                </a:lnTo>
                <a:lnTo>
                  <a:pt x="2157" y="4066"/>
                </a:lnTo>
                <a:lnTo>
                  <a:pt x="2151" y="4062"/>
                </a:lnTo>
                <a:lnTo>
                  <a:pt x="2145" y="4058"/>
                </a:lnTo>
                <a:lnTo>
                  <a:pt x="2139" y="4053"/>
                </a:lnTo>
                <a:lnTo>
                  <a:pt x="2133" y="4047"/>
                </a:lnTo>
                <a:lnTo>
                  <a:pt x="2127" y="4041"/>
                </a:lnTo>
                <a:lnTo>
                  <a:pt x="2122" y="4035"/>
                </a:lnTo>
                <a:lnTo>
                  <a:pt x="2117" y="4029"/>
                </a:lnTo>
                <a:lnTo>
                  <a:pt x="2112" y="4023"/>
                </a:lnTo>
                <a:lnTo>
                  <a:pt x="2108" y="4016"/>
                </a:lnTo>
                <a:lnTo>
                  <a:pt x="2104" y="4010"/>
                </a:lnTo>
                <a:lnTo>
                  <a:pt x="2100" y="4003"/>
                </a:lnTo>
                <a:lnTo>
                  <a:pt x="2096" y="3995"/>
                </a:lnTo>
                <a:lnTo>
                  <a:pt x="2093" y="3987"/>
                </a:lnTo>
                <a:lnTo>
                  <a:pt x="2090" y="3979"/>
                </a:lnTo>
                <a:lnTo>
                  <a:pt x="2087" y="3971"/>
                </a:lnTo>
                <a:lnTo>
                  <a:pt x="2085" y="3963"/>
                </a:lnTo>
                <a:lnTo>
                  <a:pt x="2083" y="3954"/>
                </a:lnTo>
                <a:lnTo>
                  <a:pt x="2081" y="3946"/>
                </a:lnTo>
                <a:lnTo>
                  <a:pt x="2080" y="3937"/>
                </a:lnTo>
                <a:lnTo>
                  <a:pt x="2079" y="3927"/>
                </a:lnTo>
                <a:lnTo>
                  <a:pt x="2078" y="3918"/>
                </a:lnTo>
                <a:lnTo>
                  <a:pt x="2078" y="3909"/>
                </a:lnTo>
                <a:lnTo>
                  <a:pt x="2079" y="3890"/>
                </a:lnTo>
                <a:lnTo>
                  <a:pt x="2080" y="3881"/>
                </a:lnTo>
                <a:lnTo>
                  <a:pt x="2081" y="3872"/>
                </a:lnTo>
                <a:lnTo>
                  <a:pt x="2083" y="3862"/>
                </a:lnTo>
                <a:lnTo>
                  <a:pt x="2085" y="3853"/>
                </a:lnTo>
                <a:lnTo>
                  <a:pt x="2088" y="3844"/>
                </a:lnTo>
                <a:lnTo>
                  <a:pt x="2090" y="3836"/>
                </a:lnTo>
                <a:lnTo>
                  <a:pt x="2093" y="3827"/>
                </a:lnTo>
                <a:lnTo>
                  <a:pt x="2097" y="3819"/>
                </a:lnTo>
                <a:lnTo>
                  <a:pt x="2101" y="3810"/>
                </a:lnTo>
                <a:lnTo>
                  <a:pt x="2105" y="3802"/>
                </a:lnTo>
                <a:lnTo>
                  <a:pt x="2109" y="3795"/>
                </a:lnTo>
                <a:lnTo>
                  <a:pt x="2114" y="3787"/>
                </a:lnTo>
                <a:lnTo>
                  <a:pt x="2124" y="3774"/>
                </a:lnTo>
                <a:lnTo>
                  <a:pt x="2131" y="3767"/>
                </a:lnTo>
                <a:lnTo>
                  <a:pt x="2136" y="3761"/>
                </a:lnTo>
                <a:lnTo>
                  <a:pt x="2149" y="3748"/>
                </a:lnTo>
                <a:lnTo>
                  <a:pt x="2155" y="3743"/>
                </a:lnTo>
                <a:lnTo>
                  <a:pt x="2162" y="3738"/>
                </a:lnTo>
                <a:lnTo>
                  <a:pt x="2169" y="3734"/>
                </a:lnTo>
                <a:lnTo>
                  <a:pt x="2176" y="3730"/>
                </a:lnTo>
                <a:lnTo>
                  <a:pt x="2183" y="3726"/>
                </a:lnTo>
                <a:lnTo>
                  <a:pt x="2191" y="3723"/>
                </a:lnTo>
                <a:lnTo>
                  <a:pt x="2199" y="3721"/>
                </a:lnTo>
                <a:lnTo>
                  <a:pt x="2207" y="3718"/>
                </a:lnTo>
                <a:lnTo>
                  <a:pt x="2215" y="3716"/>
                </a:lnTo>
                <a:lnTo>
                  <a:pt x="2223" y="3715"/>
                </a:lnTo>
                <a:lnTo>
                  <a:pt x="2231" y="3714"/>
                </a:lnTo>
                <a:lnTo>
                  <a:pt x="2239" y="3714"/>
                </a:lnTo>
                <a:lnTo>
                  <a:pt x="2249" y="3715"/>
                </a:lnTo>
                <a:lnTo>
                  <a:pt x="2255" y="3715"/>
                </a:lnTo>
                <a:lnTo>
                  <a:pt x="2260" y="3716"/>
                </a:lnTo>
                <a:lnTo>
                  <a:pt x="2264" y="3717"/>
                </a:lnTo>
                <a:lnTo>
                  <a:pt x="2269" y="3718"/>
                </a:lnTo>
                <a:lnTo>
                  <a:pt x="2277" y="3721"/>
                </a:lnTo>
                <a:lnTo>
                  <a:pt x="2285" y="3725"/>
                </a:lnTo>
                <a:lnTo>
                  <a:pt x="2293" y="3730"/>
                </a:lnTo>
                <a:lnTo>
                  <a:pt x="2299" y="3735"/>
                </a:lnTo>
                <a:lnTo>
                  <a:pt x="2305" y="3741"/>
                </a:lnTo>
                <a:lnTo>
                  <a:pt x="2308" y="3744"/>
                </a:lnTo>
                <a:lnTo>
                  <a:pt x="2312" y="3748"/>
                </a:lnTo>
                <a:lnTo>
                  <a:pt x="2316" y="3756"/>
                </a:lnTo>
                <a:lnTo>
                  <a:pt x="2320" y="3764"/>
                </a:lnTo>
                <a:lnTo>
                  <a:pt x="2324" y="3772"/>
                </a:lnTo>
                <a:lnTo>
                  <a:pt x="2326" y="3781"/>
                </a:lnTo>
                <a:lnTo>
                  <a:pt x="2328" y="3790"/>
                </a:lnTo>
                <a:lnTo>
                  <a:pt x="2329" y="3800"/>
                </a:lnTo>
                <a:lnTo>
                  <a:pt x="2330" y="3809"/>
                </a:lnTo>
                <a:lnTo>
                  <a:pt x="2329" y="3823"/>
                </a:lnTo>
                <a:lnTo>
                  <a:pt x="2328" y="3829"/>
                </a:lnTo>
                <a:lnTo>
                  <a:pt x="2327" y="3835"/>
                </a:lnTo>
                <a:lnTo>
                  <a:pt x="2323" y="3847"/>
                </a:lnTo>
                <a:lnTo>
                  <a:pt x="2318" y="3859"/>
                </a:lnTo>
                <a:lnTo>
                  <a:pt x="2312" y="3870"/>
                </a:lnTo>
                <a:lnTo>
                  <a:pt x="2303" y="3881"/>
                </a:lnTo>
                <a:lnTo>
                  <a:pt x="2299" y="3887"/>
                </a:lnTo>
                <a:lnTo>
                  <a:pt x="2295" y="3891"/>
                </a:lnTo>
                <a:lnTo>
                  <a:pt x="2286" y="3901"/>
                </a:lnTo>
                <a:lnTo>
                  <a:pt x="2276" y="3909"/>
                </a:lnTo>
                <a:lnTo>
                  <a:pt x="2271" y="3913"/>
                </a:lnTo>
                <a:lnTo>
                  <a:pt x="2265" y="3917"/>
                </a:lnTo>
                <a:lnTo>
                  <a:pt x="2254" y="3923"/>
                </a:lnTo>
                <a:lnTo>
                  <a:pt x="2241" y="3929"/>
                </a:lnTo>
                <a:lnTo>
                  <a:pt x="2229" y="3935"/>
                </a:lnTo>
                <a:lnTo>
                  <a:pt x="2223" y="3936"/>
                </a:lnTo>
                <a:lnTo>
                  <a:pt x="2217" y="3938"/>
                </a:lnTo>
                <a:lnTo>
                  <a:pt x="2211" y="3939"/>
                </a:lnTo>
                <a:lnTo>
                  <a:pt x="2204" y="3940"/>
                </a:lnTo>
                <a:lnTo>
                  <a:pt x="2192" y="3941"/>
                </a:lnTo>
                <a:lnTo>
                  <a:pt x="2185" y="3940"/>
                </a:lnTo>
                <a:lnTo>
                  <a:pt x="2180" y="3938"/>
                </a:lnTo>
                <a:lnTo>
                  <a:pt x="2176" y="3935"/>
                </a:lnTo>
                <a:lnTo>
                  <a:pt x="2174" y="3933"/>
                </a:lnTo>
                <a:lnTo>
                  <a:pt x="2172" y="3930"/>
                </a:lnTo>
                <a:lnTo>
                  <a:pt x="2169" y="3926"/>
                </a:lnTo>
                <a:lnTo>
                  <a:pt x="2167" y="3921"/>
                </a:lnTo>
                <a:lnTo>
                  <a:pt x="2166" y="3918"/>
                </a:lnTo>
                <a:lnTo>
                  <a:pt x="2165" y="3915"/>
                </a:lnTo>
                <a:lnTo>
                  <a:pt x="2165" y="3908"/>
                </a:lnTo>
                <a:lnTo>
                  <a:pt x="2165" y="3906"/>
                </a:lnTo>
                <a:lnTo>
                  <a:pt x="2165" y="3903"/>
                </a:lnTo>
                <a:lnTo>
                  <a:pt x="2166" y="3898"/>
                </a:lnTo>
                <a:lnTo>
                  <a:pt x="2167" y="3896"/>
                </a:lnTo>
                <a:lnTo>
                  <a:pt x="2168" y="3894"/>
                </a:lnTo>
                <a:lnTo>
                  <a:pt x="2170" y="3892"/>
                </a:lnTo>
                <a:lnTo>
                  <a:pt x="2172" y="3891"/>
                </a:lnTo>
                <a:lnTo>
                  <a:pt x="2183" y="3889"/>
                </a:lnTo>
                <a:lnTo>
                  <a:pt x="2194" y="3887"/>
                </a:lnTo>
                <a:lnTo>
                  <a:pt x="2204" y="3883"/>
                </a:lnTo>
                <a:lnTo>
                  <a:pt x="2214" y="3879"/>
                </a:lnTo>
                <a:lnTo>
                  <a:pt x="2223" y="3875"/>
                </a:lnTo>
                <a:lnTo>
                  <a:pt x="2231" y="3869"/>
                </a:lnTo>
                <a:lnTo>
                  <a:pt x="2239" y="3863"/>
                </a:lnTo>
                <a:lnTo>
                  <a:pt x="2243" y="3860"/>
                </a:lnTo>
                <a:lnTo>
                  <a:pt x="2246" y="3857"/>
                </a:lnTo>
                <a:lnTo>
                  <a:pt x="2254" y="3851"/>
                </a:lnTo>
                <a:lnTo>
                  <a:pt x="2260" y="3845"/>
                </a:lnTo>
                <a:lnTo>
                  <a:pt x="2265" y="3838"/>
                </a:lnTo>
                <a:lnTo>
                  <a:pt x="2269" y="3831"/>
                </a:lnTo>
                <a:lnTo>
                  <a:pt x="2272" y="3824"/>
                </a:lnTo>
                <a:lnTo>
                  <a:pt x="2274" y="3817"/>
                </a:lnTo>
                <a:lnTo>
                  <a:pt x="2276" y="3809"/>
                </a:lnTo>
                <a:lnTo>
                  <a:pt x="2276" y="3802"/>
                </a:lnTo>
                <a:lnTo>
                  <a:pt x="2276" y="3794"/>
                </a:lnTo>
                <a:lnTo>
                  <a:pt x="2274" y="3786"/>
                </a:lnTo>
                <a:lnTo>
                  <a:pt x="2272" y="3783"/>
                </a:lnTo>
                <a:lnTo>
                  <a:pt x="2270" y="3780"/>
                </a:lnTo>
                <a:lnTo>
                  <a:pt x="2268" y="3777"/>
                </a:lnTo>
                <a:lnTo>
                  <a:pt x="2266" y="3775"/>
                </a:lnTo>
                <a:lnTo>
                  <a:pt x="2260" y="3771"/>
                </a:lnTo>
                <a:lnTo>
                  <a:pt x="2257" y="3769"/>
                </a:lnTo>
                <a:lnTo>
                  <a:pt x="2253" y="3767"/>
                </a:lnTo>
                <a:lnTo>
                  <a:pt x="2244" y="3766"/>
                </a:lnTo>
                <a:lnTo>
                  <a:pt x="2240" y="3765"/>
                </a:lnTo>
                <a:lnTo>
                  <a:pt x="2235" y="3765"/>
                </a:lnTo>
                <a:lnTo>
                  <a:pt x="2226" y="3766"/>
                </a:lnTo>
                <a:lnTo>
                  <a:pt x="2222" y="3766"/>
                </a:lnTo>
                <a:lnTo>
                  <a:pt x="2218" y="3768"/>
                </a:lnTo>
                <a:lnTo>
                  <a:pt x="2213" y="3769"/>
                </a:lnTo>
                <a:lnTo>
                  <a:pt x="2209" y="3771"/>
                </a:lnTo>
                <a:lnTo>
                  <a:pt x="2204" y="3773"/>
                </a:lnTo>
                <a:lnTo>
                  <a:pt x="2200" y="3776"/>
                </a:lnTo>
                <a:lnTo>
                  <a:pt x="2196" y="3779"/>
                </a:lnTo>
                <a:lnTo>
                  <a:pt x="2191" y="3782"/>
                </a:lnTo>
                <a:lnTo>
                  <a:pt x="2182" y="3789"/>
                </a:lnTo>
                <a:lnTo>
                  <a:pt x="2174" y="3797"/>
                </a:lnTo>
                <a:lnTo>
                  <a:pt x="2167" y="3806"/>
                </a:lnTo>
                <a:lnTo>
                  <a:pt x="2163" y="3812"/>
                </a:lnTo>
                <a:lnTo>
                  <a:pt x="2160" y="3817"/>
                </a:lnTo>
                <a:lnTo>
                  <a:pt x="2154" y="3828"/>
                </a:lnTo>
                <a:lnTo>
                  <a:pt x="2148" y="3839"/>
                </a:lnTo>
                <a:lnTo>
                  <a:pt x="2144" y="3851"/>
                </a:lnTo>
                <a:lnTo>
                  <a:pt x="2140" y="3864"/>
                </a:lnTo>
                <a:lnTo>
                  <a:pt x="2137" y="3879"/>
                </a:lnTo>
                <a:lnTo>
                  <a:pt x="2135" y="3892"/>
                </a:lnTo>
                <a:lnTo>
                  <a:pt x="2135" y="3899"/>
                </a:lnTo>
                <a:lnTo>
                  <a:pt x="2135" y="3906"/>
                </a:lnTo>
                <a:lnTo>
                  <a:pt x="2135" y="3919"/>
                </a:lnTo>
                <a:lnTo>
                  <a:pt x="2136" y="3932"/>
                </a:lnTo>
                <a:lnTo>
                  <a:pt x="2138" y="3944"/>
                </a:lnTo>
                <a:lnTo>
                  <a:pt x="2140" y="3950"/>
                </a:lnTo>
                <a:lnTo>
                  <a:pt x="2141" y="3955"/>
                </a:lnTo>
                <a:lnTo>
                  <a:pt x="2145" y="3965"/>
                </a:lnTo>
                <a:lnTo>
                  <a:pt x="2147" y="3970"/>
                </a:lnTo>
                <a:lnTo>
                  <a:pt x="2150" y="3975"/>
                </a:lnTo>
                <a:lnTo>
                  <a:pt x="2152" y="3980"/>
                </a:lnTo>
                <a:lnTo>
                  <a:pt x="2155" y="3984"/>
                </a:lnTo>
                <a:lnTo>
                  <a:pt x="2158" y="3989"/>
                </a:lnTo>
                <a:lnTo>
                  <a:pt x="2161" y="3994"/>
                </a:lnTo>
                <a:lnTo>
                  <a:pt x="2164" y="3997"/>
                </a:lnTo>
                <a:lnTo>
                  <a:pt x="2167" y="4001"/>
                </a:lnTo>
                <a:lnTo>
                  <a:pt x="2175" y="4008"/>
                </a:lnTo>
                <a:lnTo>
                  <a:pt x="2182" y="4013"/>
                </a:lnTo>
                <a:lnTo>
                  <a:pt x="2192" y="4018"/>
                </a:lnTo>
                <a:lnTo>
                  <a:pt x="2201" y="4022"/>
                </a:lnTo>
                <a:lnTo>
                  <a:pt x="2211" y="4025"/>
                </a:lnTo>
                <a:lnTo>
                  <a:pt x="2221" y="4026"/>
                </a:lnTo>
                <a:lnTo>
                  <a:pt x="2226" y="4027"/>
                </a:lnTo>
                <a:lnTo>
                  <a:pt x="2231" y="4027"/>
                </a:lnTo>
                <a:lnTo>
                  <a:pt x="2242" y="4027"/>
                </a:lnTo>
                <a:lnTo>
                  <a:pt x="2253" y="4025"/>
                </a:lnTo>
                <a:lnTo>
                  <a:pt x="2263" y="4023"/>
                </a:lnTo>
                <a:lnTo>
                  <a:pt x="2273" y="4019"/>
                </a:lnTo>
                <a:lnTo>
                  <a:pt x="2282" y="4015"/>
                </a:lnTo>
                <a:lnTo>
                  <a:pt x="2291" y="4010"/>
                </a:lnTo>
                <a:lnTo>
                  <a:pt x="2299" y="4004"/>
                </a:lnTo>
                <a:lnTo>
                  <a:pt x="2308" y="3998"/>
                </a:lnTo>
                <a:lnTo>
                  <a:pt x="2317" y="3989"/>
                </a:lnTo>
                <a:lnTo>
                  <a:pt x="2324" y="3981"/>
                </a:lnTo>
                <a:lnTo>
                  <a:pt x="2332" y="3973"/>
                </a:lnTo>
                <a:lnTo>
                  <a:pt x="2339" y="3964"/>
                </a:lnTo>
                <a:lnTo>
                  <a:pt x="2351" y="3945"/>
                </a:lnTo>
                <a:lnTo>
                  <a:pt x="2357" y="3934"/>
                </a:lnTo>
                <a:lnTo>
                  <a:pt x="2363" y="3922"/>
                </a:lnTo>
                <a:lnTo>
                  <a:pt x="2368" y="3911"/>
                </a:lnTo>
                <a:lnTo>
                  <a:pt x="2374" y="3900"/>
                </a:lnTo>
                <a:lnTo>
                  <a:pt x="2378" y="3889"/>
                </a:lnTo>
                <a:lnTo>
                  <a:pt x="2383" y="3877"/>
                </a:lnTo>
                <a:lnTo>
                  <a:pt x="2386" y="3864"/>
                </a:lnTo>
                <a:lnTo>
                  <a:pt x="2390" y="3852"/>
                </a:lnTo>
                <a:lnTo>
                  <a:pt x="2393" y="3840"/>
                </a:lnTo>
                <a:lnTo>
                  <a:pt x="2395" y="3828"/>
                </a:lnTo>
                <a:lnTo>
                  <a:pt x="2398" y="3816"/>
                </a:lnTo>
                <a:lnTo>
                  <a:pt x="2399" y="3803"/>
                </a:lnTo>
                <a:lnTo>
                  <a:pt x="2401" y="3791"/>
                </a:lnTo>
                <a:lnTo>
                  <a:pt x="2402" y="3780"/>
                </a:lnTo>
                <a:lnTo>
                  <a:pt x="2403" y="3768"/>
                </a:lnTo>
                <a:lnTo>
                  <a:pt x="2403" y="3757"/>
                </a:lnTo>
                <a:lnTo>
                  <a:pt x="2403" y="3746"/>
                </a:lnTo>
                <a:lnTo>
                  <a:pt x="2402" y="3735"/>
                </a:lnTo>
                <a:lnTo>
                  <a:pt x="2403" y="3733"/>
                </a:lnTo>
                <a:lnTo>
                  <a:pt x="2405" y="3731"/>
                </a:lnTo>
                <a:lnTo>
                  <a:pt x="2407" y="3729"/>
                </a:lnTo>
                <a:lnTo>
                  <a:pt x="2410" y="3727"/>
                </a:lnTo>
                <a:lnTo>
                  <a:pt x="2417" y="3724"/>
                </a:lnTo>
                <a:lnTo>
                  <a:pt x="2421" y="3723"/>
                </a:lnTo>
                <a:lnTo>
                  <a:pt x="2425" y="3723"/>
                </a:lnTo>
                <a:lnTo>
                  <a:pt x="2433" y="3724"/>
                </a:lnTo>
                <a:lnTo>
                  <a:pt x="2436" y="3724"/>
                </a:lnTo>
                <a:lnTo>
                  <a:pt x="2439" y="3725"/>
                </a:lnTo>
                <a:lnTo>
                  <a:pt x="2445" y="3728"/>
                </a:lnTo>
                <a:lnTo>
                  <a:pt x="2448" y="3730"/>
                </a:lnTo>
                <a:lnTo>
                  <a:pt x="2450" y="3732"/>
                </a:lnTo>
                <a:lnTo>
                  <a:pt x="2454" y="3738"/>
                </a:lnTo>
                <a:lnTo>
                  <a:pt x="2456" y="3741"/>
                </a:lnTo>
                <a:lnTo>
                  <a:pt x="2457" y="3745"/>
                </a:lnTo>
                <a:lnTo>
                  <a:pt x="2458" y="3750"/>
                </a:lnTo>
                <a:lnTo>
                  <a:pt x="2459" y="3756"/>
                </a:lnTo>
                <a:lnTo>
                  <a:pt x="2459" y="3761"/>
                </a:lnTo>
                <a:lnTo>
                  <a:pt x="2460" y="3767"/>
                </a:lnTo>
                <a:lnTo>
                  <a:pt x="2459" y="3782"/>
                </a:lnTo>
                <a:lnTo>
                  <a:pt x="2458" y="3798"/>
                </a:lnTo>
                <a:lnTo>
                  <a:pt x="2457" y="3814"/>
                </a:lnTo>
                <a:lnTo>
                  <a:pt x="2455" y="3829"/>
                </a:lnTo>
                <a:lnTo>
                  <a:pt x="2452" y="3844"/>
                </a:lnTo>
                <a:lnTo>
                  <a:pt x="2449" y="3859"/>
                </a:lnTo>
                <a:lnTo>
                  <a:pt x="2446" y="3874"/>
                </a:lnTo>
                <a:lnTo>
                  <a:pt x="2442" y="3888"/>
                </a:lnTo>
                <a:lnTo>
                  <a:pt x="2437" y="3902"/>
                </a:lnTo>
                <a:lnTo>
                  <a:pt x="2432" y="3916"/>
                </a:lnTo>
                <a:lnTo>
                  <a:pt x="2426" y="3929"/>
                </a:lnTo>
                <a:lnTo>
                  <a:pt x="2420" y="3943"/>
                </a:lnTo>
                <a:lnTo>
                  <a:pt x="2414" y="3955"/>
                </a:lnTo>
                <a:lnTo>
                  <a:pt x="2408" y="3967"/>
                </a:lnTo>
                <a:lnTo>
                  <a:pt x="2401" y="3979"/>
                </a:lnTo>
                <a:lnTo>
                  <a:pt x="2394" y="3990"/>
                </a:lnTo>
                <a:lnTo>
                  <a:pt x="2386" y="4002"/>
                </a:lnTo>
                <a:lnTo>
                  <a:pt x="2378" y="4012"/>
                </a:lnTo>
                <a:lnTo>
                  <a:pt x="2369" y="4021"/>
                </a:lnTo>
                <a:lnTo>
                  <a:pt x="2360" y="4030"/>
                </a:lnTo>
                <a:lnTo>
                  <a:pt x="2351" y="4039"/>
                </a:lnTo>
                <a:lnTo>
                  <a:pt x="2341" y="4047"/>
                </a:lnTo>
                <a:lnTo>
                  <a:pt x="2332" y="4055"/>
                </a:lnTo>
                <a:lnTo>
                  <a:pt x="2322" y="4061"/>
                </a:lnTo>
                <a:lnTo>
                  <a:pt x="2311" y="4067"/>
                </a:lnTo>
                <a:lnTo>
                  <a:pt x="2300" y="4072"/>
                </a:lnTo>
                <a:lnTo>
                  <a:pt x="2289" y="4077"/>
                </a:lnTo>
                <a:lnTo>
                  <a:pt x="2278" y="4081"/>
                </a:lnTo>
                <a:lnTo>
                  <a:pt x="2266" y="4084"/>
                </a:lnTo>
                <a:lnTo>
                  <a:pt x="2255" y="4086"/>
                </a:lnTo>
                <a:lnTo>
                  <a:pt x="2242" y="4087"/>
                </a:lnTo>
                <a:lnTo>
                  <a:pt x="2229" y="4087"/>
                </a:lnTo>
                <a:close/>
                <a:moveTo>
                  <a:pt x="2617" y="4082"/>
                </a:moveTo>
                <a:lnTo>
                  <a:pt x="2615" y="4081"/>
                </a:lnTo>
                <a:lnTo>
                  <a:pt x="2613" y="4081"/>
                </a:lnTo>
                <a:lnTo>
                  <a:pt x="2607" y="4078"/>
                </a:lnTo>
                <a:lnTo>
                  <a:pt x="2600" y="4074"/>
                </a:lnTo>
                <a:lnTo>
                  <a:pt x="2593" y="4068"/>
                </a:lnTo>
                <a:lnTo>
                  <a:pt x="2580" y="4057"/>
                </a:lnTo>
                <a:lnTo>
                  <a:pt x="2565" y="4042"/>
                </a:lnTo>
                <a:lnTo>
                  <a:pt x="2548" y="4027"/>
                </a:lnTo>
                <a:lnTo>
                  <a:pt x="2532" y="4010"/>
                </a:lnTo>
                <a:lnTo>
                  <a:pt x="2516" y="3993"/>
                </a:lnTo>
                <a:lnTo>
                  <a:pt x="2501" y="3975"/>
                </a:lnTo>
                <a:lnTo>
                  <a:pt x="2489" y="3961"/>
                </a:lnTo>
                <a:lnTo>
                  <a:pt x="2485" y="3955"/>
                </a:lnTo>
                <a:lnTo>
                  <a:pt x="2481" y="3950"/>
                </a:lnTo>
                <a:lnTo>
                  <a:pt x="2476" y="3939"/>
                </a:lnTo>
                <a:lnTo>
                  <a:pt x="2472" y="3929"/>
                </a:lnTo>
                <a:lnTo>
                  <a:pt x="2470" y="3919"/>
                </a:lnTo>
                <a:lnTo>
                  <a:pt x="2469" y="3909"/>
                </a:lnTo>
                <a:lnTo>
                  <a:pt x="2469" y="3903"/>
                </a:lnTo>
                <a:lnTo>
                  <a:pt x="2470" y="3898"/>
                </a:lnTo>
                <a:lnTo>
                  <a:pt x="2472" y="3892"/>
                </a:lnTo>
                <a:lnTo>
                  <a:pt x="2474" y="3886"/>
                </a:lnTo>
                <a:lnTo>
                  <a:pt x="2476" y="3880"/>
                </a:lnTo>
                <a:lnTo>
                  <a:pt x="2479" y="3873"/>
                </a:lnTo>
                <a:lnTo>
                  <a:pt x="2483" y="3866"/>
                </a:lnTo>
                <a:lnTo>
                  <a:pt x="2488" y="3859"/>
                </a:lnTo>
                <a:lnTo>
                  <a:pt x="2497" y="3848"/>
                </a:lnTo>
                <a:lnTo>
                  <a:pt x="2508" y="3834"/>
                </a:lnTo>
                <a:lnTo>
                  <a:pt x="2538" y="3800"/>
                </a:lnTo>
                <a:lnTo>
                  <a:pt x="2574" y="3761"/>
                </a:lnTo>
                <a:lnTo>
                  <a:pt x="2609" y="3719"/>
                </a:lnTo>
                <a:lnTo>
                  <a:pt x="2611" y="3719"/>
                </a:lnTo>
                <a:lnTo>
                  <a:pt x="2614" y="3719"/>
                </a:lnTo>
                <a:lnTo>
                  <a:pt x="2618" y="3719"/>
                </a:lnTo>
                <a:lnTo>
                  <a:pt x="2622" y="3720"/>
                </a:lnTo>
                <a:lnTo>
                  <a:pt x="2626" y="3722"/>
                </a:lnTo>
                <a:lnTo>
                  <a:pt x="2630" y="3724"/>
                </a:lnTo>
                <a:lnTo>
                  <a:pt x="2635" y="3728"/>
                </a:lnTo>
                <a:lnTo>
                  <a:pt x="2638" y="3731"/>
                </a:lnTo>
                <a:lnTo>
                  <a:pt x="2642" y="3735"/>
                </a:lnTo>
                <a:lnTo>
                  <a:pt x="2645" y="3740"/>
                </a:lnTo>
                <a:lnTo>
                  <a:pt x="2646" y="3745"/>
                </a:lnTo>
                <a:lnTo>
                  <a:pt x="2647" y="3750"/>
                </a:lnTo>
                <a:lnTo>
                  <a:pt x="2646" y="3756"/>
                </a:lnTo>
                <a:lnTo>
                  <a:pt x="2644" y="3762"/>
                </a:lnTo>
                <a:lnTo>
                  <a:pt x="2641" y="3767"/>
                </a:lnTo>
                <a:lnTo>
                  <a:pt x="2638" y="3773"/>
                </a:lnTo>
                <a:lnTo>
                  <a:pt x="2629" y="3783"/>
                </a:lnTo>
                <a:lnTo>
                  <a:pt x="2618" y="3797"/>
                </a:lnTo>
                <a:lnTo>
                  <a:pt x="2588" y="3831"/>
                </a:lnTo>
                <a:lnTo>
                  <a:pt x="2558" y="3864"/>
                </a:lnTo>
                <a:lnTo>
                  <a:pt x="2545" y="3880"/>
                </a:lnTo>
                <a:lnTo>
                  <a:pt x="2536" y="3891"/>
                </a:lnTo>
                <a:lnTo>
                  <a:pt x="2533" y="3895"/>
                </a:lnTo>
                <a:lnTo>
                  <a:pt x="2532" y="3899"/>
                </a:lnTo>
                <a:lnTo>
                  <a:pt x="2531" y="3902"/>
                </a:lnTo>
                <a:lnTo>
                  <a:pt x="2530" y="3906"/>
                </a:lnTo>
                <a:lnTo>
                  <a:pt x="2531" y="3910"/>
                </a:lnTo>
                <a:lnTo>
                  <a:pt x="2532" y="3915"/>
                </a:lnTo>
                <a:lnTo>
                  <a:pt x="2534" y="3919"/>
                </a:lnTo>
                <a:lnTo>
                  <a:pt x="2537" y="3924"/>
                </a:lnTo>
                <a:lnTo>
                  <a:pt x="2545" y="3934"/>
                </a:lnTo>
                <a:lnTo>
                  <a:pt x="2556" y="3945"/>
                </a:lnTo>
                <a:lnTo>
                  <a:pt x="2583" y="3975"/>
                </a:lnTo>
                <a:lnTo>
                  <a:pt x="2616" y="4008"/>
                </a:lnTo>
                <a:lnTo>
                  <a:pt x="2647" y="4038"/>
                </a:lnTo>
                <a:lnTo>
                  <a:pt x="2649" y="4040"/>
                </a:lnTo>
                <a:lnTo>
                  <a:pt x="2650" y="4042"/>
                </a:lnTo>
                <a:lnTo>
                  <a:pt x="2651" y="4044"/>
                </a:lnTo>
                <a:lnTo>
                  <a:pt x="2652" y="4047"/>
                </a:lnTo>
                <a:lnTo>
                  <a:pt x="2651" y="4053"/>
                </a:lnTo>
                <a:lnTo>
                  <a:pt x="2650" y="4056"/>
                </a:lnTo>
                <a:lnTo>
                  <a:pt x="2648" y="4059"/>
                </a:lnTo>
                <a:lnTo>
                  <a:pt x="2645" y="4065"/>
                </a:lnTo>
                <a:lnTo>
                  <a:pt x="2643" y="4067"/>
                </a:lnTo>
                <a:lnTo>
                  <a:pt x="2640" y="4070"/>
                </a:lnTo>
                <a:lnTo>
                  <a:pt x="2635" y="4075"/>
                </a:lnTo>
                <a:lnTo>
                  <a:pt x="2632" y="4077"/>
                </a:lnTo>
                <a:lnTo>
                  <a:pt x="2629" y="4078"/>
                </a:lnTo>
                <a:lnTo>
                  <a:pt x="2623" y="4081"/>
                </a:lnTo>
                <a:lnTo>
                  <a:pt x="2620" y="4081"/>
                </a:lnTo>
                <a:lnTo>
                  <a:pt x="2617" y="4082"/>
                </a:lnTo>
                <a:close/>
                <a:moveTo>
                  <a:pt x="0" y="3020"/>
                </a:moveTo>
                <a:lnTo>
                  <a:pt x="7" y="3016"/>
                </a:lnTo>
                <a:lnTo>
                  <a:pt x="14" y="3012"/>
                </a:lnTo>
                <a:lnTo>
                  <a:pt x="21" y="3007"/>
                </a:lnTo>
                <a:lnTo>
                  <a:pt x="27" y="3002"/>
                </a:lnTo>
                <a:lnTo>
                  <a:pt x="40" y="2990"/>
                </a:lnTo>
                <a:lnTo>
                  <a:pt x="52" y="2977"/>
                </a:lnTo>
                <a:lnTo>
                  <a:pt x="57" y="2968"/>
                </a:lnTo>
                <a:lnTo>
                  <a:pt x="62" y="2961"/>
                </a:lnTo>
                <a:lnTo>
                  <a:pt x="67" y="2953"/>
                </a:lnTo>
                <a:lnTo>
                  <a:pt x="72" y="2945"/>
                </a:lnTo>
                <a:lnTo>
                  <a:pt x="81" y="2928"/>
                </a:lnTo>
                <a:lnTo>
                  <a:pt x="89" y="2910"/>
                </a:lnTo>
                <a:lnTo>
                  <a:pt x="93" y="2901"/>
                </a:lnTo>
                <a:lnTo>
                  <a:pt x="97" y="2892"/>
                </a:lnTo>
                <a:lnTo>
                  <a:pt x="103" y="2873"/>
                </a:lnTo>
                <a:lnTo>
                  <a:pt x="108" y="2855"/>
                </a:lnTo>
                <a:lnTo>
                  <a:pt x="113" y="2835"/>
                </a:lnTo>
                <a:lnTo>
                  <a:pt x="116" y="2816"/>
                </a:lnTo>
                <a:lnTo>
                  <a:pt x="119" y="2797"/>
                </a:lnTo>
                <a:lnTo>
                  <a:pt x="120" y="2778"/>
                </a:lnTo>
                <a:lnTo>
                  <a:pt x="121" y="2761"/>
                </a:lnTo>
                <a:lnTo>
                  <a:pt x="120" y="2752"/>
                </a:lnTo>
                <a:lnTo>
                  <a:pt x="120" y="2742"/>
                </a:lnTo>
                <a:lnTo>
                  <a:pt x="121" y="2740"/>
                </a:lnTo>
                <a:lnTo>
                  <a:pt x="123" y="2738"/>
                </a:lnTo>
                <a:lnTo>
                  <a:pt x="125" y="2735"/>
                </a:lnTo>
                <a:lnTo>
                  <a:pt x="128" y="2734"/>
                </a:lnTo>
                <a:lnTo>
                  <a:pt x="131" y="2732"/>
                </a:lnTo>
                <a:lnTo>
                  <a:pt x="134" y="2730"/>
                </a:lnTo>
                <a:lnTo>
                  <a:pt x="138" y="2729"/>
                </a:lnTo>
                <a:lnTo>
                  <a:pt x="142" y="2729"/>
                </a:lnTo>
                <a:lnTo>
                  <a:pt x="149" y="2729"/>
                </a:lnTo>
                <a:lnTo>
                  <a:pt x="154" y="2730"/>
                </a:lnTo>
                <a:lnTo>
                  <a:pt x="157" y="2732"/>
                </a:lnTo>
                <a:lnTo>
                  <a:pt x="163" y="2735"/>
                </a:lnTo>
                <a:lnTo>
                  <a:pt x="165" y="2737"/>
                </a:lnTo>
                <a:lnTo>
                  <a:pt x="168" y="2739"/>
                </a:lnTo>
                <a:lnTo>
                  <a:pt x="172" y="2745"/>
                </a:lnTo>
                <a:lnTo>
                  <a:pt x="173" y="2748"/>
                </a:lnTo>
                <a:lnTo>
                  <a:pt x="175" y="2752"/>
                </a:lnTo>
                <a:lnTo>
                  <a:pt x="176" y="2757"/>
                </a:lnTo>
                <a:lnTo>
                  <a:pt x="177" y="2761"/>
                </a:lnTo>
                <a:lnTo>
                  <a:pt x="177" y="2767"/>
                </a:lnTo>
                <a:lnTo>
                  <a:pt x="177" y="2773"/>
                </a:lnTo>
                <a:lnTo>
                  <a:pt x="177" y="2786"/>
                </a:lnTo>
                <a:lnTo>
                  <a:pt x="176" y="2800"/>
                </a:lnTo>
                <a:lnTo>
                  <a:pt x="175" y="2814"/>
                </a:lnTo>
                <a:lnTo>
                  <a:pt x="173" y="2827"/>
                </a:lnTo>
                <a:lnTo>
                  <a:pt x="171" y="2840"/>
                </a:lnTo>
                <a:lnTo>
                  <a:pt x="169" y="2853"/>
                </a:lnTo>
                <a:lnTo>
                  <a:pt x="163" y="2879"/>
                </a:lnTo>
                <a:lnTo>
                  <a:pt x="160" y="2891"/>
                </a:lnTo>
                <a:lnTo>
                  <a:pt x="157" y="2903"/>
                </a:lnTo>
                <a:lnTo>
                  <a:pt x="153" y="2916"/>
                </a:lnTo>
                <a:lnTo>
                  <a:pt x="147" y="2927"/>
                </a:lnTo>
                <a:lnTo>
                  <a:pt x="143" y="2939"/>
                </a:lnTo>
                <a:lnTo>
                  <a:pt x="138" y="2950"/>
                </a:lnTo>
                <a:lnTo>
                  <a:pt x="127" y="2972"/>
                </a:lnTo>
                <a:lnTo>
                  <a:pt x="121" y="2982"/>
                </a:lnTo>
                <a:lnTo>
                  <a:pt x="115" y="2992"/>
                </a:lnTo>
                <a:lnTo>
                  <a:pt x="102" y="3010"/>
                </a:lnTo>
                <a:lnTo>
                  <a:pt x="95" y="3019"/>
                </a:lnTo>
                <a:lnTo>
                  <a:pt x="87" y="3027"/>
                </a:lnTo>
                <a:lnTo>
                  <a:pt x="79" y="3036"/>
                </a:lnTo>
                <a:lnTo>
                  <a:pt x="71" y="3043"/>
                </a:lnTo>
                <a:lnTo>
                  <a:pt x="63" y="3050"/>
                </a:lnTo>
                <a:lnTo>
                  <a:pt x="55" y="3057"/>
                </a:lnTo>
                <a:lnTo>
                  <a:pt x="47" y="3063"/>
                </a:lnTo>
                <a:lnTo>
                  <a:pt x="38" y="3068"/>
                </a:lnTo>
                <a:lnTo>
                  <a:pt x="28" y="3073"/>
                </a:lnTo>
                <a:lnTo>
                  <a:pt x="19" y="3078"/>
                </a:lnTo>
                <a:lnTo>
                  <a:pt x="0" y="3085"/>
                </a:lnTo>
                <a:lnTo>
                  <a:pt x="0" y="3020"/>
                </a:lnTo>
                <a:close/>
                <a:moveTo>
                  <a:pt x="0" y="2730"/>
                </a:moveTo>
                <a:lnTo>
                  <a:pt x="6" y="2734"/>
                </a:lnTo>
                <a:lnTo>
                  <a:pt x="11" y="2737"/>
                </a:lnTo>
                <a:lnTo>
                  <a:pt x="20" y="2745"/>
                </a:lnTo>
                <a:lnTo>
                  <a:pt x="24" y="2749"/>
                </a:lnTo>
                <a:lnTo>
                  <a:pt x="28" y="2754"/>
                </a:lnTo>
                <a:lnTo>
                  <a:pt x="32" y="2759"/>
                </a:lnTo>
                <a:lnTo>
                  <a:pt x="35" y="2764"/>
                </a:lnTo>
                <a:lnTo>
                  <a:pt x="38" y="2770"/>
                </a:lnTo>
                <a:lnTo>
                  <a:pt x="41" y="2776"/>
                </a:lnTo>
                <a:lnTo>
                  <a:pt x="43" y="2782"/>
                </a:lnTo>
                <a:lnTo>
                  <a:pt x="44" y="2788"/>
                </a:lnTo>
                <a:lnTo>
                  <a:pt x="46" y="2796"/>
                </a:lnTo>
                <a:lnTo>
                  <a:pt x="47" y="2802"/>
                </a:lnTo>
                <a:lnTo>
                  <a:pt x="47" y="2809"/>
                </a:lnTo>
                <a:lnTo>
                  <a:pt x="47" y="2816"/>
                </a:lnTo>
                <a:lnTo>
                  <a:pt x="47" y="2823"/>
                </a:lnTo>
                <a:lnTo>
                  <a:pt x="47" y="2829"/>
                </a:lnTo>
                <a:lnTo>
                  <a:pt x="45" y="2836"/>
                </a:lnTo>
                <a:lnTo>
                  <a:pt x="44" y="2842"/>
                </a:lnTo>
                <a:lnTo>
                  <a:pt x="42" y="2849"/>
                </a:lnTo>
                <a:lnTo>
                  <a:pt x="40" y="2856"/>
                </a:lnTo>
                <a:lnTo>
                  <a:pt x="37" y="2862"/>
                </a:lnTo>
                <a:lnTo>
                  <a:pt x="35" y="2868"/>
                </a:lnTo>
                <a:lnTo>
                  <a:pt x="31" y="2874"/>
                </a:lnTo>
                <a:lnTo>
                  <a:pt x="27" y="2879"/>
                </a:lnTo>
                <a:lnTo>
                  <a:pt x="23" y="2885"/>
                </a:lnTo>
                <a:lnTo>
                  <a:pt x="19" y="2890"/>
                </a:lnTo>
                <a:lnTo>
                  <a:pt x="15" y="2895"/>
                </a:lnTo>
                <a:lnTo>
                  <a:pt x="10" y="2901"/>
                </a:lnTo>
                <a:lnTo>
                  <a:pt x="0" y="2910"/>
                </a:lnTo>
                <a:lnTo>
                  <a:pt x="0" y="2730"/>
                </a:lnTo>
                <a:close/>
                <a:moveTo>
                  <a:pt x="187" y="2916"/>
                </a:moveTo>
                <a:lnTo>
                  <a:pt x="187" y="2910"/>
                </a:lnTo>
                <a:lnTo>
                  <a:pt x="188" y="2904"/>
                </a:lnTo>
                <a:lnTo>
                  <a:pt x="189" y="2898"/>
                </a:lnTo>
                <a:lnTo>
                  <a:pt x="191" y="2892"/>
                </a:lnTo>
                <a:lnTo>
                  <a:pt x="197" y="2879"/>
                </a:lnTo>
                <a:lnTo>
                  <a:pt x="201" y="2873"/>
                </a:lnTo>
                <a:lnTo>
                  <a:pt x="205" y="2866"/>
                </a:lnTo>
                <a:lnTo>
                  <a:pt x="214" y="2855"/>
                </a:lnTo>
                <a:lnTo>
                  <a:pt x="226" y="2840"/>
                </a:lnTo>
                <a:lnTo>
                  <a:pt x="255" y="2806"/>
                </a:lnTo>
                <a:lnTo>
                  <a:pt x="291" y="2766"/>
                </a:lnTo>
                <a:lnTo>
                  <a:pt x="326" y="2725"/>
                </a:lnTo>
                <a:lnTo>
                  <a:pt x="327" y="2725"/>
                </a:lnTo>
                <a:lnTo>
                  <a:pt x="332" y="2724"/>
                </a:lnTo>
                <a:lnTo>
                  <a:pt x="335" y="2725"/>
                </a:lnTo>
                <a:lnTo>
                  <a:pt x="339" y="2726"/>
                </a:lnTo>
                <a:lnTo>
                  <a:pt x="344" y="2728"/>
                </a:lnTo>
                <a:lnTo>
                  <a:pt x="348" y="2730"/>
                </a:lnTo>
                <a:lnTo>
                  <a:pt x="352" y="2734"/>
                </a:lnTo>
                <a:lnTo>
                  <a:pt x="356" y="2738"/>
                </a:lnTo>
                <a:lnTo>
                  <a:pt x="359" y="2742"/>
                </a:lnTo>
                <a:lnTo>
                  <a:pt x="362" y="2747"/>
                </a:lnTo>
                <a:lnTo>
                  <a:pt x="364" y="2752"/>
                </a:lnTo>
                <a:lnTo>
                  <a:pt x="364" y="2757"/>
                </a:lnTo>
                <a:lnTo>
                  <a:pt x="364" y="2762"/>
                </a:lnTo>
                <a:lnTo>
                  <a:pt x="362" y="2768"/>
                </a:lnTo>
                <a:lnTo>
                  <a:pt x="359" y="2773"/>
                </a:lnTo>
                <a:lnTo>
                  <a:pt x="355" y="2779"/>
                </a:lnTo>
                <a:lnTo>
                  <a:pt x="347" y="2790"/>
                </a:lnTo>
                <a:lnTo>
                  <a:pt x="335" y="2804"/>
                </a:lnTo>
                <a:lnTo>
                  <a:pt x="305" y="2837"/>
                </a:lnTo>
                <a:lnTo>
                  <a:pt x="276" y="2871"/>
                </a:lnTo>
                <a:lnTo>
                  <a:pt x="263" y="2886"/>
                </a:lnTo>
                <a:lnTo>
                  <a:pt x="254" y="2897"/>
                </a:lnTo>
                <a:lnTo>
                  <a:pt x="251" y="2901"/>
                </a:lnTo>
                <a:lnTo>
                  <a:pt x="249" y="2905"/>
                </a:lnTo>
                <a:lnTo>
                  <a:pt x="248" y="2908"/>
                </a:lnTo>
                <a:lnTo>
                  <a:pt x="248" y="2913"/>
                </a:lnTo>
                <a:lnTo>
                  <a:pt x="248" y="2917"/>
                </a:lnTo>
                <a:lnTo>
                  <a:pt x="250" y="2922"/>
                </a:lnTo>
                <a:lnTo>
                  <a:pt x="252" y="2926"/>
                </a:lnTo>
                <a:lnTo>
                  <a:pt x="255" y="2930"/>
                </a:lnTo>
                <a:lnTo>
                  <a:pt x="262" y="2939"/>
                </a:lnTo>
                <a:lnTo>
                  <a:pt x="273" y="2951"/>
                </a:lnTo>
                <a:lnTo>
                  <a:pt x="301" y="2981"/>
                </a:lnTo>
                <a:lnTo>
                  <a:pt x="334" y="3014"/>
                </a:lnTo>
                <a:lnTo>
                  <a:pt x="365" y="3045"/>
                </a:lnTo>
                <a:lnTo>
                  <a:pt x="367" y="3047"/>
                </a:lnTo>
                <a:lnTo>
                  <a:pt x="368" y="3049"/>
                </a:lnTo>
                <a:lnTo>
                  <a:pt x="369" y="3051"/>
                </a:lnTo>
                <a:lnTo>
                  <a:pt x="369" y="3054"/>
                </a:lnTo>
                <a:lnTo>
                  <a:pt x="368" y="3059"/>
                </a:lnTo>
                <a:lnTo>
                  <a:pt x="367" y="3062"/>
                </a:lnTo>
                <a:lnTo>
                  <a:pt x="366" y="3065"/>
                </a:lnTo>
                <a:lnTo>
                  <a:pt x="364" y="3068"/>
                </a:lnTo>
                <a:lnTo>
                  <a:pt x="362" y="3071"/>
                </a:lnTo>
                <a:lnTo>
                  <a:pt x="360" y="3074"/>
                </a:lnTo>
                <a:lnTo>
                  <a:pt x="358" y="3076"/>
                </a:lnTo>
                <a:lnTo>
                  <a:pt x="352" y="3081"/>
                </a:lnTo>
                <a:lnTo>
                  <a:pt x="350" y="3083"/>
                </a:lnTo>
                <a:lnTo>
                  <a:pt x="347" y="3085"/>
                </a:lnTo>
                <a:lnTo>
                  <a:pt x="341" y="3087"/>
                </a:lnTo>
                <a:lnTo>
                  <a:pt x="338" y="3088"/>
                </a:lnTo>
                <a:lnTo>
                  <a:pt x="335" y="3088"/>
                </a:lnTo>
                <a:lnTo>
                  <a:pt x="333" y="3088"/>
                </a:lnTo>
                <a:lnTo>
                  <a:pt x="331" y="3087"/>
                </a:lnTo>
                <a:lnTo>
                  <a:pt x="324" y="3084"/>
                </a:lnTo>
                <a:lnTo>
                  <a:pt x="318" y="3080"/>
                </a:lnTo>
                <a:lnTo>
                  <a:pt x="311" y="3075"/>
                </a:lnTo>
                <a:lnTo>
                  <a:pt x="298" y="3064"/>
                </a:lnTo>
                <a:lnTo>
                  <a:pt x="283" y="3050"/>
                </a:lnTo>
                <a:lnTo>
                  <a:pt x="266" y="3034"/>
                </a:lnTo>
                <a:lnTo>
                  <a:pt x="249" y="3016"/>
                </a:lnTo>
                <a:lnTo>
                  <a:pt x="233" y="2999"/>
                </a:lnTo>
                <a:lnTo>
                  <a:pt x="219" y="2983"/>
                </a:lnTo>
                <a:lnTo>
                  <a:pt x="207" y="2967"/>
                </a:lnTo>
                <a:lnTo>
                  <a:pt x="202" y="2961"/>
                </a:lnTo>
                <a:lnTo>
                  <a:pt x="199" y="2956"/>
                </a:lnTo>
                <a:lnTo>
                  <a:pt x="194" y="2946"/>
                </a:lnTo>
                <a:lnTo>
                  <a:pt x="190" y="2936"/>
                </a:lnTo>
                <a:lnTo>
                  <a:pt x="188" y="2926"/>
                </a:lnTo>
                <a:lnTo>
                  <a:pt x="187" y="2916"/>
                </a:lnTo>
                <a:close/>
                <a:moveTo>
                  <a:pt x="0" y="4015"/>
                </a:moveTo>
                <a:lnTo>
                  <a:pt x="8" y="4010"/>
                </a:lnTo>
                <a:lnTo>
                  <a:pt x="15" y="4006"/>
                </a:lnTo>
                <a:lnTo>
                  <a:pt x="22" y="4000"/>
                </a:lnTo>
                <a:lnTo>
                  <a:pt x="29" y="3994"/>
                </a:lnTo>
                <a:lnTo>
                  <a:pt x="36" y="3987"/>
                </a:lnTo>
                <a:lnTo>
                  <a:pt x="43" y="3980"/>
                </a:lnTo>
                <a:lnTo>
                  <a:pt x="49" y="3973"/>
                </a:lnTo>
                <a:lnTo>
                  <a:pt x="55" y="3966"/>
                </a:lnTo>
                <a:lnTo>
                  <a:pt x="66" y="3950"/>
                </a:lnTo>
                <a:lnTo>
                  <a:pt x="76" y="3932"/>
                </a:lnTo>
                <a:lnTo>
                  <a:pt x="81" y="3922"/>
                </a:lnTo>
                <a:lnTo>
                  <a:pt x="85" y="3913"/>
                </a:lnTo>
                <a:lnTo>
                  <a:pt x="94" y="3894"/>
                </a:lnTo>
                <a:lnTo>
                  <a:pt x="101" y="3874"/>
                </a:lnTo>
                <a:lnTo>
                  <a:pt x="107" y="3853"/>
                </a:lnTo>
                <a:lnTo>
                  <a:pt x="112" y="3833"/>
                </a:lnTo>
                <a:lnTo>
                  <a:pt x="116" y="3813"/>
                </a:lnTo>
                <a:lnTo>
                  <a:pt x="118" y="3792"/>
                </a:lnTo>
                <a:lnTo>
                  <a:pt x="120" y="3773"/>
                </a:lnTo>
                <a:lnTo>
                  <a:pt x="121" y="3754"/>
                </a:lnTo>
                <a:lnTo>
                  <a:pt x="120" y="3744"/>
                </a:lnTo>
                <a:lnTo>
                  <a:pt x="120" y="3735"/>
                </a:lnTo>
                <a:lnTo>
                  <a:pt x="121" y="3733"/>
                </a:lnTo>
                <a:lnTo>
                  <a:pt x="123" y="3731"/>
                </a:lnTo>
                <a:lnTo>
                  <a:pt x="125" y="3729"/>
                </a:lnTo>
                <a:lnTo>
                  <a:pt x="128" y="3727"/>
                </a:lnTo>
                <a:lnTo>
                  <a:pt x="134" y="3724"/>
                </a:lnTo>
                <a:lnTo>
                  <a:pt x="138" y="3723"/>
                </a:lnTo>
                <a:lnTo>
                  <a:pt x="142" y="3723"/>
                </a:lnTo>
                <a:lnTo>
                  <a:pt x="149" y="3724"/>
                </a:lnTo>
                <a:lnTo>
                  <a:pt x="154" y="3724"/>
                </a:lnTo>
                <a:lnTo>
                  <a:pt x="157" y="3725"/>
                </a:lnTo>
                <a:lnTo>
                  <a:pt x="163" y="3728"/>
                </a:lnTo>
                <a:lnTo>
                  <a:pt x="165" y="3730"/>
                </a:lnTo>
                <a:lnTo>
                  <a:pt x="168" y="3732"/>
                </a:lnTo>
                <a:lnTo>
                  <a:pt x="172" y="3738"/>
                </a:lnTo>
                <a:lnTo>
                  <a:pt x="173" y="3741"/>
                </a:lnTo>
                <a:lnTo>
                  <a:pt x="175" y="3745"/>
                </a:lnTo>
                <a:lnTo>
                  <a:pt x="176" y="3750"/>
                </a:lnTo>
                <a:lnTo>
                  <a:pt x="177" y="3756"/>
                </a:lnTo>
                <a:lnTo>
                  <a:pt x="177" y="3761"/>
                </a:lnTo>
                <a:lnTo>
                  <a:pt x="177" y="3767"/>
                </a:lnTo>
                <a:lnTo>
                  <a:pt x="177" y="3780"/>
                </a:lnTo>
                <a:lnTo>
                  <a:pt x="176" y="3793"/>
                </a:lnTo>
                <a:lnTo>
                  <a:pt x="175" y="3807"/>
                </a:lnTo>
                <a:lnTo>
                  <a:pt x="173" y="3821"/>
                </a:lnTo>
                <a:lnTo>
                  <a:pt x="171" y="3834"/>
                </a:lnTo>
                <a:lnTo>
                  <a:pt x="169" y="3846"/>
                </a:lnTo>
                <a:lnTo>
                  <a:pt x="163" y="3873"/>
                </a:lnTo>
                <a:lnTo>
                  <a:pt x="160" y="3885"/>
                </a:lnTo>
                <a:lnTo>
                  <a:pt x="157" y="3897"/>
                </a:lnTo>
                <a:lnTo>
                  <a:pt x="153" y="3909"/>
                </a:lnTo>
                <a:lnTo>
                  <a:pt x="147" y="3920"/>
                </a:lnTo>
                <a:lnTo>
                  <a:pt x="138" y="3943"/>
                </a:lnTo>
                <a:lnTo>
                  <a:pt x="127" y="3965"/>
                </a:lnTo>
                <a:lnTo>
                  <a:pt x="121" y="3975"/>
                </a:lnTo>
                <a:lnTo>
                  <a:pt x="115" y="3984"/>
                </a:lnTo>
                <a:lnTo>
                  <a:pt x="102" y="4004"/>
                </a:lnTo>
                <a:lnTo>
                  <a:pt x="95" y="4013"/>
                </a:lnTo>
                <a:lnTo>
                  <a:pt x="87" y="4021"/>
                </a:lnTo>
                <a:lnTo>
                  <a:pt x="79" y="4029"/>
                </a:lnTo>
                <a:lnTo>
                  <a:pt x="71" y="4036"/>
                </a:lnTo>
                <a:lnTo>
                  <a:pt x="63" y="4043"/>
                </a:lnTo>
                <a:lnTo>
                  <a:pt x="55" y="4050"/>
                </a:lnTo>
                <a:lnTo>
                  <a:pt x="47" y="4057"/>
                </a:lnTo>
                <a:lnTo>
                  <a:pt x="38" y="4062"/>
                </a:lnTo>
                <a:lnTo>
                  <a:pt x="28" y="4067"/>
                </a:lnTo>
                <a:lnTo>
                  <a:pt x="19" y="4072"/>
                </a:lnTo>
                <a:lnTo>
                  <a:pt x="0" y="4079"/>
                </a:lnTo>
                <a:lnTo>
                  <a:pt x="0" y="4015"/>
                </a:lnTo>
                <a:close/>
                <a:moveTo>
                  <a:pt x="0" y="3724"/>
                </a:moveTo>
                <a:lnTo>
                  <a:pt x="6" y="3727"/>
                </a:lnTo>
                <a:lnTo>
                  <a:pt x="11" y="3730"/>
                </a:lnTo>
                <a:lnTo>
                  <a:pt x="20" y="3738"/>
                </a:lnTo>
                <a:lnTo>
                  <a:pt x="24" y="3742"/>
                </a:lnTo>
                <a:lnTo>
                  <a:pt x="28" y="3747"/>
                </a:lnTo>
                <a:lnTo>
                  <a:pt x="32" y="3753"/>
                </a:lnTo>
                <a:lnTo>
                  <a:pt x="35" y="3759"/>
                </a:lnTo>
                <a:lnTo>
                  <a:pt x="38" y="3764"/>
                </a:lnTo>
                <a:lnTo>
                  <a:pt x="41" y="3770"/>
                </a:lnTo>
                <a:lnTo>
                  <a:pt x="43" y="3776"/>
                </a:lnTo>
                <a:lnTo>
                  <a:pt x="44" y="3782"/>
                </a:lnTo>
                <a:lnTo>
                  <a:pt x="46" y="3789"/>
                </a:lnTo>
                <a:lnTo>
                  <a:pt x="47" y="3796"/>
                </a:lnTo>
                <a:lnTo>
                  <a:pt x="47" y="3802"/>
                </a:lnTo>
                <a:lnTo>
                  <a:pt x="47" y="3809"/>
                </a:lnTo>
                <a:lnTo>
                  <a:pt x="47" y="3823"/>
                </a:lnTo>
                <a:lnTo>
                  <a:pt x="45" y="3830"/>
                </a:lnTo>
                <a:lnTo>
                  <a:pt x="44" y="3836"/>
                </a:lnTo>
                <a:lnTo>
                  <a:pt x="42" y="3843"/>
                </a:lnTo>
                <a:lnTo>
                  <a:pt x="40" y="3849"/>
                </a:lnTo>
                <a:lnTo>
                  <a:pt x="37" y="3855"/>
                </a:lnTo>
                <a:lnTo>
                  <a:pt x="35" y="3861"/>
                </a:lnTo>
                <a:lnTo>
                  <a:pt x="31" y="3867"/>
                </a:lnTo>
                <a:lnTo>
                  <a:pt x="27" y="3873"/>
                </a:lnTo>
                <a:lnTo>
                  <a:pt x="19" y="3884"/>
                </a:lnTo>
                <a:lnTo>
                  <a:pt x="15" y="3889"/>
                </a:lnTo>
                <a:lnTo>
                  <a:pt x="10" y="3894"/>
                </a:lnTo>
                <a:lnTo>
                  <a:pt x="0" y="3904"/>
                </a:lnTo>
                <a:lnTo>
                  <a:pt x="0" y="3724"/>
                </a:lnTo>
                <a:close/>
                <a:moveTo>
                  <a:pt x="335" y="4082"/>
                </a:moveTo>
                <a:lnTo>
                  <a:pt x="333" y="4081"/>
                </a:lnTo>
                <a:lnTo>
                  <a:pt x="331" y="4081"/>
                </a:lnTo>
                <a:lnTo>
                  <a:pt x="324" y="4078"/>
                </a:lnTo>
                <a:lnTo>
                  <a:pt x="318" y="4074"/>
                </a:lnTo>
                <a:lnTo>
                  <a:pt x="311" y="4068"/>
                </a:lnTo>
                <a:lnTo>
                  <a:pt x="298" y="4057"/>
                </a:lnTo>
                <a:lnTo>
                  <a:pt x="283" y="4042"/>
                </a:lnTo>
                <a:lnTo>
                  <a:pt x="266" y="4027"/>
                </a:lnTo>
                <a:lnTo>
                  <a:pt x="249" y="4010"/>
                </a:lnTo>
                <a:lnTo>
                  <a:pt x="233" y="3993"/>
                </a:lnTo>
                <a:lnTo>
                  <a:pt x="219" y="3975"/>
                </a:lnTo>
                <a:lnTo>
                  <a:pt x="207" y="3961"/>
                </a:lnTo>
                <a:lnTo>
                  <a:pt x="202" y="3955"/>
                </a:lnTo>
                <a:lnTo>
                  <a:pt x="199" y="3950"/>
                </a:lnTo>
                <a:lnTo>
                  <a:pt x="194" y="3939"/>
                </a:lnTo>
                <a:lnTo>
                  <a:pt x="190" y="3929"/>
                </a:lnTo>
                <a:lnTo>
                  <a:pt x="188" y="3919"/>
                </a:lnTo>
                <a:lnTo>
                  <a:pt x="187" y="3909"/>
                </a:lnTo>
                <a:lnTo>
                  <a:pt x="187" y="3903"/>
                </a:lnTo>
                <a:lnTo>
                  <a:pt x="188" y="3898"/>
                </a:lnTo>
                <a:lnTo>
                  <a:pt x="189" y="3892"/>
                </a:lnTo>
                <a:lnTo>
                  <a:pt x="191" y="3886"/>
                </a:lnTo>
                <a:lnTo>
                  <a:pt x="194" y="3880"/>
                </a:lnTo>
                <a:lnTo>
                  <a:pt x="197" y="3873"/>
                </a:lnTo>
                <a:lnTo>
                  <a:pt x="201" y="3866"/>
                </a:lnTo>
                <a:lnTo>
                  <a:pt x="205" y="3859"/>
                </a:lnTo>
                <a:lnTo>
                  <a:pt x="214" y="3848"/>
                </a:lnTo>
                <a:lnTo>
                  <a:pt x="226" y="3834"/>
                </a:lnTo>
                <a:lnTo>
                  <a:pt x="255" y="3800"/>
                </a:lnTo>
                <a:lnTo>
                  <a:pt x="291" y="3761"/>
                </a:lnTo>
                <a:lnTo>
                  <a:pt x="326" y="3719"/>
                </a:lnTo>
                <a:lnTo>
                  <a:pt x="327" y="3719"/>
                </a:lnTo>
                <a:lnTo>
                  <a:pt x="332" y="3719"/>
                </a:lnTo>
                <a:lnTo>
                  <a:pt x="335" y="3719"/>
                </a:lnTo>
                <a:lnTo>
                  <a:pt x="339" y="3720"/>
                </a:lnTo>
                <a:lnTo>
                  <a:pt x="344" y="3722"/>
                </a:lnTo>
                <a:lnTo>
                  <a:pt x="348" y="3724"/>
                </a:lnTo>
                <a:lnTo>
                  <a:pt x="352" y="3728"/>
                </a:lnTo>
                <a:lnTo>
                  <a:pt x="356" y="3731"/>
                </a:lnTo>
                <a:lnTo>
                  <a:pt x="359" y="3735"/>
                </a:lnTo>
                <a:lnTo>
                  <a:pt x="362" y="3740"/>
                </a:lnTo>
                <a:lnTo>
                  <a:pt x="364" y="3745"/>
                </a:lnTo>
                <a:lnTo>
                  <a:pt x="364" y="3750"/>
                </a:lnTo>
                <a:lnTo>
                  <a:pt x="364" y="3756"/>
                </a:lnTo>
                <a:lnTo>
                  <a:pt x="362" y="3762"/>
                </a:lnTo>
                <a:lnTo>
                  <a:pt x="359" y="3767"/>
                </a:lnTo>
                <a:lnTo>
                  <a:pt x="355" y="3773"/>
                </a:lnTo>
                <a:lnTo>
                  <a:pt x="347" y="3783"/>
                </a:lnTo>
                <a:lnTo>
                  <a:pt x="335" y="3797"/>
                </a:lnTo>
                <a:lnTo>
                  <a:pt x="305" y="3831"/>
                </a:lnTo>
                <a:lnTo>
                  <a:pt x="276" y="3864"/>
                </a:lnTo>
                <a:lnTo>
                  <a:pt x="263" y="3880"/>
                </a:lnTo>
                <a:lnTo>
                  <a:pt x="254" y="3891"/>
                </a:lnTo>
                <a:lnTo>
                  <a:pt x="251" y="3895"/>
                </a:lnTo>
                <a:lnTo>
                  <a:pt x="249" y="3899"/>
                </a:lnTo>
                <a:lnTo>
                  <a:pt x="248" y="3902"/>
                </a:lnTo>
                <a:lnTo>
                  <a:pt x="248" y="3906"/>
                </a:lnTo>
                <a:lnTo>
                  <a:pt x="248" y="3910"/>
                </a:lnTo>
                <a:lnTo>
                  <a:pt x="250" y="3915"/>
                </a:lnTo>
                <a:lnTo>
                  <a:pt x="252" y="3919"/>
                </a:lnTo>
                <a:lnTo>
                  <a:pt x="255" y="3924"/>
                </a:lnTo>
                <a:lnTo>
                  <a:pt x="262" y="3934"/>
                </a:lnTo>
                <a:lnTo>
                  <a:pt x="273" y="3945"/>
                </a:lnTo>
                <a:lnTo>
                  <a:pt x="301" y="3975"/>
                </a:lnTo>
                <a:lnTo>
                  <a:pt x="334" y="4008"/>
                </a:lnTo>
                <a:lnTo>
                  <a:pt x="365" y="4038"/>
                </a:lnTo>
                <a:lnTo>
                  <a:pt x="367" y="4040"/>
                </a:lnTo>
                <a:lnTo>
                  <a:pt x="368" y="4042"/>
                </a:lnTo>
                <a:lnTo>
                  <a:pt x="369" y="4044"/>
                </a:lnTo>
                <a:lnTo>
                  <a:pt x="369" y="4047"/>
                </a:lnTo>
                <a:lnTo>
                  <a:pt x="368" y="4053"/>
                </a:lnTo>
                <a:lnTo>
                  <a:pt x="367" y="4056"/>
                </a:lnTo>
                <a:lnTo>
                  <a:pt x="366" y="4059"/>
                </a:lnTo>
                <a:lnTo>
                  <a:pt x="362" y="4065"/>
                </a:lnTo>
                <a:lnTo>
                  <a:pt x="360" y="4067"/>
                </a:lnTo>
                <a:lnTo>
                  <a:pt x="358" y="4070"/>
                </a:lnTo>
                <a:lnTo>
                  <a:pt x="352" y="4075"/>
                </a:lnTo>
                <a:lnTo>
                  <a:pt x="350" y="4077"/>
                </a:lnTo>
                <a:lnTo>
                  <a:pt x="347" y="4078"/>
                </a:lnTo>
                <a:lnTo>
                  <a:pt x="341" y="4081"/>
                </a:lnTo>
                <a:lnTo>
                  <a:pt x="338" y="4081"/>
                </a:lnTo>
                <a:lnTo>
                  <a:pt x="335" y="4082"/>
                </a:lnTo>
                <a:close/>
                <a:moveTo>
                  <a:pt x="3777" y="4087"/>
                </a:moveTo>
                <a:lnTo>
                  <a:pt x="3769" y="4087"/>
                </a:lnTo>
                <a:lnTo>
                  <a:pt x="3762" y="4086"/>
                </a:lnTo>
                <a:lnTo>
                  <a:pt x="3754" y="4085"/>
                </a:lnTo>
                <a:lnTo>
                  <a:pt x="3746" y="4084"/>
                </a:lnTo>
                <a:lnTo>
                  <a:pt x="3739" y="4082"/>
                </a:lnTo>
                <a:lnTo>
                  <a:pt x="3731" y="4080"/>
                </a:lnTo>
                <a:lnTo>
                  <a:pt x="3718" y="4074"/>
                </a:lnTo>
                <a:lnTo>
                  <a:pt x="3705" y="4066"/>
                </a:lnTo>
                <a:lnTo>
                  <a:pt x="3698" y="4062"/>
                </a:lnTo>
                <a:lnTo>
                  <a:pt x="3692" y="4058"/>
                </a:lnTo>
                <a:lnTo>
                  <a:pt x="3686" y="4053"/>
                </a:lnTo>
                <a:lnTo>
                  <a:pt x="3680" y="4047"/>
                </a:lnTo>
                <a:lnTo>
                  <a:pt x="3674" y="4041"/>
                </a:lnTo>
                <a:lnTo>
                  <a:pt x="3669" y="4035"/>
                </a:lnTo>
                <a:lnTo>
                  <a:pt x="3664" y="4029"/>
                </a:lnTo>
                <a:lnTo>
                  <a:pt x="3660" y="4023"/>
                </a:lnTo>
                <a:lnTo>
                  <a:pt x="3655" y="4016"/>
                </a:lnTo>
                <a:lnTo>
                  <a:pt x="3651" y="4010"/>
                </a:lnTo>
                <a:lnTo>
                  <a:pt x="3647" y="4003"/>
                </a:lnTo>
                <a:lnTo>
                  <a:pt x="3643" y="3995"/>
                </a:lnTo>
                <a:lnTo>
                  <a:pt x="3640" y="3987"/>
                </a:lnTo>
                <a:lnTo>
                  <a:pt x="3637" y="3979"/>
                </a:lnTo>
                <a:lnTo>
                  <a:pt x="3634" y="3971"/>
                </a:lnTo>
                <a:lnTo>
                  <a:pt x="3632" y="3963"/>
                </a:lnTo>
                <a:lnTo>
                  <a:pt x="3629" y="3954"/>
                </a:lnTo>
                <a:lnTo>
                  <a:pt x="3627" y="3946"/>
                </a:lnTo>
                <a:lnTo>
                  <a:pt x="3626" y="3937"/>
                </a:lnTo>
                <a:lnTo>
                  <a:pt x="3625" y="3927"/>
                </a:lnTo>
                <a:lnTo>
                  <a:pt x="3625" y="3918"/>
                </a:lnTo>
                <a:lnTo>
                  <a:pt x="3624" y="3909"/>
                </a:lnTo>
                <a:lnTo>
                  <a:pt x="3625" y="3890"/>
                </a:lnTo>
                <a:lnTo>
                  <a:pt x="3626" y="3881"/>
                </a:lnTo>
                <a:lnTo>
                  <a:pt x="3628" y="3872"/>
                </a:lnTo>
                <a:lnTo>
                  <a:pt x="3629" y="3862"/>
                </a:lnTo>
                <a:lnTo>
                  <a:pt x="3632" y="3853"/>
                </a:lnTo>
                <a:lnTo>
                  <a:pt x="3635" y="3844"/>
                </a:lnTo>
                <a:lnTo>
                  <a:pt x="3638" y="3836"/>
                </a:lnTo>
                <a:lnTo>
                  <a:pt x="3641" y="3827"/>
                </a:lnTo>
                <a:lnTo>
                  <a:pt x="3644" y="3819"/>
                </a:lnTo>
                <a:lnTo>
                  <a:pt x="3648" y="3810"/>
                </a:lnTo>
                <a:lnTo>
                  <a:pt x="3652" y="3802"/>
                </a:lnTo>
                <a:lnTo>
                  <a:pt x="3657" y="3795"/>
                </a:lnTo>
                <a:lnTo>
                  <a:pt x="3661" y="3787"/>
                </a:lnTo>
                <a:lnTo>
                  <a:pt x="3672" y="3774"/>
                </a:lnTo>
                <a:lnTo>
                  <a:pt x="3677" y="3767"/>
                </a:lnTo>
                <a:lnTo>
                  <a:pt x="3683" y="3761"/>
                </a:lnTo>
                <a:lnTo>
                  <a:pt x="3696" y="3748"/>
                </a:lnTo>
                <a:lnTo>
                  <a:pt x="3703" y="3743"/>
                </a:lnTo>
                <a:lnTo>
                  <a:pt x="3709" y="3738"/>
                </a:lnTo>
                <a:lnTo>
                  <a:pt x="3716" y="3734"/>
                </a:lnTo>
                <a:lnTo>
                  <a:pt x="3723" y="3730"/>
                </a:lnTo>
                <a:lnTo>
                  <a:pt x="3730" y="3726"/>
                </a:lnTo>
                <a:lnTo>
                  <a:pt x="3738" y="3723"/>
                </a:lnTo>
                <a:lnTo>
                  <a:pt x="3745" y="3721"/>
                </a:lnTo>
                <a:lnTo>
                  <a:pt x="3754" y="3718"/>
                </a:lnTo>
                <a:lnTo>
                  <a:pt x="3762" y="3716"/>
                </a:lnTo>
                <a:lnTo>
                  <a:pt x="3770" y="3715"/>
                </a:lnTo>
                <a:lnTo>
                  <a:pt x="3778" y="3714"/>
                </a:lnTo>
                <a:lnTo>
                  <a:pt x="3786" y="3714"/>
                </a:lnTo>
                <a:lnTo>
                  <a:pt x="3797" y="3715"/>
                </a:lnTo>
                <a:lnTo>
                  <a:pt x="3802" y="3715"/>
                </a:lnTo>
                <a:lnTo>
                  <a:pt x="3806" y="3716"/>
                </a:lnTo>
                <a:lnTo>
                  <a:pt x="3812" y="3717"/>
                </a:lnTo>
                <a:lnTo>
                  <a:pt x="3816" y="3718"/>
                </a:lnTo>
                <a:lnTo>
                  <a:pt x="3825" y="3721"/>
                </a:lnTo>
                <a:lnTo>
                  <a:pt x="3833" y="3725"/>
                </a:lnTo>
                <a:lnTo>
                  <a:pt x="3840" y="3730"/>
                </a:lnTo>
                <a:lnTo>
                  <a:pt x="3847" y="3735"/>
                </a:lnTo>
                <a:lnTo>
                  <a:pt x="3853" y="3741"/>
                </a:lnTo>
                <a:lnTo>
                  <a:pt x="3855" y="3744"/>
                </a:lnTo>
                <a:lnTo>
                  <a:pt x="3858" y="3748"/>
                </a:lnTo>
                <a:lnTo>
                  <a:pt x="3863" y="3756"/>
                </a:lnTo>
                <a:lnTo>
                  <a:pt x="3867" y="3764"/>
                </a:lnTo>
                <a:lnTo>
                  <a:pt x="3871" y="3772"/>
                </a:lnTo>
                <a:lnTo>
                  <a:pt x="3874" y="3781"/>
                </a:lnTo>
                <a:lnTo>
                  <a:pt x="3876" y="3790"/>
                </a:lnTo>
                <a:lnTo>
                  <a:pt x="3877" y="3800"/>
                </a:lnTo>
                <a:lnTo>
                  <a:pt x="3877" y="3809"/>
                </a:lnTo>
                <a:lnTo>
                  <a:pt x="3876" y="3823"/>
                </a:lnTo>
                <a:lnTo>
                  <a:pt x="3876" y="3829"/>
                </a:lnTo>
                <a:lnTo>
                  <a:pt x="3874" y="3835"/>
                </a:lnTo>
                <a:lnTo>
                  <a:pt x="3869" y="3847"/>
                </a:lnTo>
                <a:lnTo>
                  <a:pt x="3864" y="3859"/>
                </a:lnTo>
                <a:lnTo>
                  <a:pt x="3858" y="3870"/>
                </a:lnTo>
                <a:lnTo>
                  <a:pt x="3851" y="3881"/>
                </a:lnTo>
                <a:lnTo>
                  <a:pt x="3847" y="3887"/>
                </a:lnTo>
                <a:lnTo>
                  <a:pt x="3843" y="3891"/>
                </a:lnTo>
                <a:lnTo>
                  <a:pt x="3833" y="3901"/>
                </a:lnTo>
                <a:lnTo>
                  <a:pt x="3823" y="3909"/>
                </a:lnTo>
                <a:lnTo>
                  <a:pt x="3818" y="3913"/>
                </a:lnTo>
                <a:lnTo>
                  <a:pt x="3813" y="3917"/>
                </a:lnTo>
                <a:lnTo>
                  <a:pt x="3800" y="3923"/>
                </a:lnTo>
                <a:lnTo>
                  <a:pt x="3789" y="3929"/>
                </a:lnTo>
                <a:lnTo>
                  <a:pt x="3777" y="3935"/>
                </a:lnTo>
                <a:lnTo>
                  <a:pt x="3771" y="3936"/>
                </a:lnTo>
                <a:lnTo>
                  <a:pt x="3764" y="3938"/>
                </a:lnTo>
                <a:lnTo>
                  <a:pt x="3758" y="3939"/>
                </a:lnTo>
                <a:lnTo>
                  <a:pt x="3752" y="3940"/>
                </a:lnTo>
                <a:lnTo>
                  <a:pt x="3738" y="3941"/>
                </a:lnTo>
                <a:lnTo>
                  <a:pt x="3733" y="3940"/>
                </a:lnTo>
                <a:lnTo>
                  <a:pt x="3728" y="3938"/>
                </a:lnTo>
                <a:lnTo>
                  <a:pt x="3723" y="3935"/>
                </a:lnTo>
                <a:lnTo>
                  <a:pt x="3721" y="3933"/>
                </a:lnTo>
                <a:lnTo>
                  <a:pt x="3720" y="3930"/>
                </a:lnTo>
                <a:lnTo>
                  <a:pt x="3716" y="3926"/>
                </a:lnTo>
                <a:lnTo>
                  <a:pt x="3714" y="3921"/>
                </a:lnTo>
                <a:lnTo>
                  <a:pt x="3713" y="3918"/>
                </a:lnTo>
                <a:lnTo>
                  <a:pt x="3713" y="3915"/>
                </a:lnTo>
                <a:lnTo>
                  <a:pt x="3712" y="3908"/>
                </a:lnTo>
                <a:lnTo>
                  <a:pt x="3712" y="3906"/>
                </a:lnTo>
                <a:lnTo>
                  <a:pt x="3712" y="3903"/>
                </a:lnTo>
                <a:lnTo>
                  <a:pt x="3714" y="3898"/>
                </a:lnTo>
                <a:lnTo>
                  <a:pt x="3715" y="3896"/>
                </a:lnTo>
                <a:lnTo>
                  <a:pt x="3716" y="3894"/>
                </a:lnTo>
                <a:lnTo>
                  <a:pt x="3717" y="3892"/>
                </a:lnTo>
                <a:lnTo>
                  <a:pt x="3719" y="3891"/>
                </a:lnTo>
                <a:lnTo>
                  <a:pt x="3730" y="3889"/>
                </a:lnTo>
                <a:lnTo>
                  <a:pt x="3741" y="3887"/>
                </a:lnTo>
                <a:lnTo>
                  <a:pt x="3752" y="3883"/>
                </a:lnTo>
                <a:lnTo>
                  <a:pt x="3761" y="3879"/>
                </a:lnTo>
                <a:lnTo>
                  <a:pt x="3770" y="3875"/>
                </a:lnTo>
                <a:lnTo>
                  <a:pt x="3779" y="3869"/>
                </a:lnTo>
                <a:lnTo>
                  <a:pt x="3787" y="3863"/>
                </a:lnTo>
                <a:lnTo>
                  <a:pt x="3790" y="3860"/>
                </a:lnTo>
                <a:lnTo>
                  <a:pt x="3794" y="3857"/>
                </a:lnTo>
                <a:lnTo>
                  <a:pt x="3800" y="3851"/>
                </a:lnTo>
                <a:lnTo>
                  <a:pt x="3806" y="3845"/>
                </a:lnTo>
                <a:lnTo>
                  <a:pt x="3812" y="3838"/>
                </a:lnTo>
                <a:lnTo>
                  <a:pt x="3816" y="3831"/>
                </a:lnTo>
                <a:lnTo>
                  <a:pt x="3819" y="3824"/>
                </a:lnTo>
                <a:lnTo>
                  <a:pt x="3822" y="3817"/>
                </a:lnTo>
                <a:lnTo>
                  <a:pt x="3823" y="3809"/>
                </a:lnTo>
                <a:lnTo>
                  <a:pt x="3824" y="3802"/>
                </a:lnTo>
                <a:lnTo>
                  <a:pt x="3823" y="3794"/>
                </a:lnTo>
                <a:lnTo>
                  <a:pt x="3821" y="3786"/>
                </a:lnTo>
                <a:lnTo>
                  <a:pt x="3820" y="3783"/>
                </a:lnTo>
                <a:lnTo>
                  <a:pt x="3818" y="3780"/>
                </a:lnTo>
                <a:lnTo>
                  <a:pt x="3816" y="3777"/>
                </a:lnTo>
                <a:lnTo>
                  <a:pt x="3813" y="3775"/>
                </a:lnTo>
                <a:lnTo>
                  <a:pt x="3806" y="3771"/>
                </a:lnTo>
                <a:lnTo>
                  <a:pt x="3803" y="3769"/>
                </a:lnTo>
                <a:lnTo>
                  <a:pt x="3799" y="3767"/>
                </a:lnTo>
                <a:lnTo>
                  <a:pt x="3792" y="3766"/>
                </a:lnTo>
                <a:lnTo>
                  <a:pt x="3787" y="3765"/>
                </a:lnTo>
                <a:lnTo>
                  <a:pt x="3783" y="3765"/>
                </a:lnTo>
                <a:lnTo>
                  <a:pt x="3774" y="3766"/>
                </a:lnTo>
                <a:lnTo>
                  <a:pt x="3769" y="3766"/>
                </a:lnTo>
                <a:lnTo>
                  <a:pt x="3765" y="3768"/>
                </a:lnTo>
                <a:lnTo>
                  <a:pt x="3761" y="3769"/>
                </a:lnTo>
                <a:lnTo>
                  <a:pt x="3756" y="3771"/>
                </a:lnTo>
                <a:lnTo>
                  <a:pt x="3752" y="3773"/>
                </a:lnTo>
                <a:lnTo>
                  <a:pt x="3746" y="3776"/>
                </a:lnTo>
                <a:lnTo>
                  <a:pt x="3742" y="3779"/>
                </a:lnTo>
                <a:lnTo>
                  <a:pt x="3738" y="3782"/>
                </a:lnTo>
                <a:lnTo>
                  <a:pt x="3730" y="3789"/>
                </a:lnTo>
                <a:lnTo>
                  <a:pt x="3722" y="3797"/>
                </a:lnTo>
                <a:lnTo>
                  <a:pt x="3714" y="3806"/>
                </a:lnTo>
                <a:lnTo>
                  <a:pt x="3711" y="3812"/>
                </a:lnTo>
                <a:lnTo>
                  <a:pt x="3707" y="3817"/>
                </a:lnTo>
                <a:lnTo>
                  <a:pt x="3701" y="3828"/>
                </a:lnTo>
                <a:lnTo>
                  <a:pt x="3696" y="3839"/>
                </a:lnTo>
                <a:lnTo>
                  <a:pt x="3691" y="3851"/>
                </a:lnTo>
                <a:lnTo>
                  <a:pt x="3686" y="3864"/>
                </a:lnTo>
                <a:lnTo>
                  <a:pt x="3683" y="3879"/>
                </a:lnTo>
                <a:lnTo>
                  <a:pt x="3682" y="3892"/>
                </a:lnTo>
                <a:lnTo>
                  <a:pt x="3681" y="3899"/>
                </a:lnTo>
                <a:lnTo>
                  <a:pt x="3681" y="3906"/>
                </a:lnTo>
                <a:lnTo>
                  <a:pt x="3681" y="3919"/>
                </a:lnTo>
                <a:lnTo>
                  <a:pt x="3683" y="3932"/>
                </a:lnTo>
                <a:lnTo>
                  <a:pt x="3685" y="3944"/>
                </a:lnTo>
                <a:lnTo>
                  <a:pt x="3686" y="3950"/>
                </a:lnTo>
                <a:lnTo>
                  <a:pt x="3688" y="3955"/>
                </a:lnTo>
                <a:lnTo>
                  <a:pt x="3693" y="3965"/>
                </a:lnTo>
                <a:lnTo>
                  <a:pt x="3695" y="3970"/>
                </a:lnTo>
                <a:lnTo>
                  <a:pt x="3697" y="3975"/>
                </a:lnTo>
                <a:lnTo>
                  <a:pt x="3699" y="3980"/>
                </a:lnTo>
                <a:lnTo>
                  <a:pt x="3702" y="3984"/>
                </a:lnTo>
                <a:lnTo>
                  <a:pt x="3705" y="3989"/>
                </a:lnTo>
                <a:lnTo>
                  <a:pt x="3708" y="3994"/>
                </a:lnTo>
                <a:lnTo>
                  <a:pt x="3711" y="3997"/>
                </a:lnTo>
                <a:lnTo>
                  <a:pt x="3715" y="4001"/>
                </a:lnTo>
                <a:lnTo>
                  <a:pt x="3722" y="4008"/>
                </a:lnTo>
                <a:lnTo>
                  <a:pt x="3730" y="4013"/>
                </a:lnTo>
                <a:lnTo>
                  <a:pt x="3738" y="4018"/>
                </a:lnTo>
                <a:lnTo>
                  <a:pt x="3747" y="4022"/>
                </a:lnTo>
                <a:lnTo>
                  <a:pt x="3758" y="4025"/>
                </a:lnTo>
                <a:lnTo>
                  <a:pt x="3768" y="4026"/>
                </a:lnTo>
                <a:lnTo>
                  <a:pt x="3773" y="4027"/>
                </a:lnTo>
                <a:lnTo>
                  <a:pt x="3779" y="4027"/>
                </a:lnTo>
                <a:lnTo>
                  <a:pt x="3789" y="4027"/>
                </a:lnTo>
                <a:lnTo>
                  <a:pt x="3800" y="4025"/>
                </a:lnTo>
                <a:lnTo>
                  <a:pt x="3809" y="4023"/>
                </a:lnTo>
                <a:lnTo>
                  <a:pt x="3820" y="4019"/>
                </a:lnTo>
                <a:lnTo>
                  <a:pt x="3829" y="4015"/>
                </a:lnTo>
                <a:lnTo>
                  <a:pt x="3838" y="4010"/>
                </a:lnTo>
                <a:lnTo>
                  <a:pt x="3847" y="4004"/>
                </a:lnTo>
                <a:lnTo>
                  <a:pt x="3855" y="3998"/>
                </a:lnTo>
                <a:lnTo>
                  <a:pt x="3863" y="3989"/>
                </a:lnTo>
                <a:lnTo>
                  <a:pt x="3872" y="3981"/>
                </a:lnTo>
                <a:lnTo>
                  <a:pt x="3879" y="3973"/>
                </a:lnTo>
                <a:lnTo>
                  <a:pt x="3886" y="3964"/>
                </a:lnTo>
                <a:lnTo>
                  <a:pt x="3899" y="3945"/>
                </a:lnTo>
                <a:lnTo>
                  <a:pt x="3905" y="3934"/>
                </a:lnTo>
                <a:lnTo>
                  <a:pt x="3910" y="3922"/>
                </a:lnTo>
                <a:lnTo>
                  <a:pt x="3916" y="3911"/>
                </a:lnTo>
                <a:lnTo>
                  <a:pt x="3920" y="3900"/>
                </a:lnTo>
                <a:lnTo>
                  <a:pt x="3925" y="3889"/>
                </a:lnTo>
                <a:lnTo>
                  <a:pt x="3929" y="3877"/>
                </a:lnTo>
                <a:lnTo>
                  <a:pt x="3934" y="3864"/>
                </a:lnTo>
                <a:lnTo>
                  <a:pt x="3937" y="3852"/>
                </a:lnTo>
                <a:lnTo>
                  <a:pt x="3940" y="3840"/>
                </a:lnTo>
                <a:lnTo>
                  <a:pt x="3943" y="3828"/>
                </a:lnTo>
                <a:lnTo>
                  <a:pt x="3945" y="3816"/>
                </a:lnTo>
                <a:lnTo>
                  <a:pt x="3947" y="3803"/>
                </a:lnTo>
                <a:lnTo>
                  <a:pt x="3948" y="3791"/>
                </a:lnTo>
                <a:lnTo>
                  <a:pt x="3949" y="3780"/>
                </a:lnTo>
                <a:lnTo>
                  <a:pt x="3950" y="3768"/>
                </a:lnTo>
                <a:lnTo>
                  <a:pt x="3950" y="3757"/>
                </a:lnTo>
                <a:lnTo>
                  <a:pt x="3950" y="3746"/>
                </a:lnTo>
                <a:lnTo>
                  <a:pt x="3950" y="3735"/>
                </a:lnTo>
                <a:lnTo>
                  <a:pt x="3951" y="3733"/>
                </a:lnTo>
                <a:lnTo>
                  <a:pt x="3953" y="3731"/>
                </a:lnTo>
                <a:lnTo>
                  <a:pt x="3955" y="3729"/>
                </a:lnTo>
                <a:lnTo>
                  <a:pt x="3957" y="3727"/>
                </a:lnTo>
                <a:lnTo>
                  <a:pt x="3964" y="3724"/>
                </a:lnTo>
                <a:lnTo>
                  <a:pt x="3968" y="3723"/>
                </a:lnTo>
                <a:lnTo>
                  <a:pt x="3972" y="3723"/>
                </a:lnTo>
                <a:lnTo>
                  <a:pt x="3979" y="3724"/>
                </a:lnTo>
                <a:lnTo>
                  <a:pt x="3983" y="3724"/>
                </a:lnTo>
                <a:lnTo>
                  <a:pt x="3986" y="3725"/>
                </a:lnTo>
                <a:lnTo>
                  <a:pt x="3993" y="3728"/>
                </a:lnTo>
                <a:lnTo>
                  <a:pt x="3995" y="3730"/>
                </a:lnTo>
                <a:lnTo>
                  <a:pt x="3998" y="3732"/>
                </a:lnTo>
                <a:lnTo>
                  <a:pt x="4002" y="3738"/>
                </a:lnTo>
                <a:lnTo>
                  <a:pt x="4003" y="3741"/>
                </a:lnTo>
                <a:lnTo>
                  <a:pt x="4005" y="3745"/>
                </a:lnTo>
                <a:lnTo>
                  <a:pt x="4006" y="3750"/>
                </a:lnTo>
                <a:lnTo>
                  <a:pt x="4006" y="3756"/>
                </a:lnTo>
                <a:lnTo>
                  <a:pt x="4007" y="3761"/>
                </a:lnTo>
                <a:lnTo>
                  <a:pt x="4007" y="3767"/>
                </a:lnTo>
                <a:lnTo>
                  <a:pt x="4007" y="3782"/>
                </a:lnTo>
                <a:lnTo>
                  <a:pt x="4006" y="3798"/>
                </a:lnTo>
                <a:lnTo>
                  <a:pt x="4004" y="3814"/>
                </a:lnTo>
                <a:lnTo>
                  <a:pt x="4002" y="3829"/>
                </a:lnTo>
                <a:lnTo>
                  <a:pt x="3999" y="3844"/>
                </a:lnTo>
                <a:lnTo>
                  <a:pt x="3996" y="3859"/>
                </a:lnTo>
                <a:lnTo>
                  <a:pt x="3993" y="3874"/>
                </a:lnTo>
                <a:lnTo>
                  <a:pt x="3988" y="3888"/>
                </a:lnTo>
                <a:lnTo>
                  <a:pt x="3984" y="3902"/>
                </a:lnTo>
                <a:lnTo>
                  <a:pt x="3979" y="3916"/>
                </a:lnTo>
                <a:lnTo>
                  <a:pt x="3974" y="3929"/>
                </a:lnTo>
                <a:lnTo>
                  <a:pt x="3968" y="3943"/>
                </a:lnTo>
                <a:lnTo>
                  <a:pt x="3962" y="3955"/>
                </a:lnTo>
                <a:lnTo>
                  <a:pt x="3955" y="3967"/>
                </a:lnTo>
                <a:lnTo>
                  <a:pt x="3948" y="3979"/>
                </a:lnTo>
                <a:lnTo>
                  <a:pt x="3941" y="3990"/>
                </a:lnTo>
                <a:lnTo>
                  <a:pt x="3933" y="4002"/>
                </a:lnTo>
                <a:lnTo>
                  <a:pt x="3924" y="4012"/>
                </a:lnTo>
                <a:lnTo>
                  <a:pt x="3916" y="4021"/>
                </a:lnTo>
                <a:lnTo>
                  <a:pt x="3907" y="4030"/>
                </a:lnTo>
                <a:lnTo>
                  <a:pt x="3898" y="4039"/>
                </a:lnTo>
                <a:lnTo>
                  <a:pt x="3889" y="4047"/>
                </a:lnTo>
                <a:lnTo>
                  <a:pt x="3879" y="4055"/>
                </a:lnTo>
                <a:lnTo>
                  <a:pt x="3868" y="4061"/>
                </a:lnTo>
                <a:lnTo>
                  <a:pt x="3858" y="4067"/>
                </a:lnTo>
                <a:lnTo>
                  <a:pt x="3847" y="4072"/>
                </a:lnTo>
                <a:lnTo>
                  <a:pt x="3836" y="4077"/>
                </a:lnTo>
                <a:lnTo>
                  <a:pt x="3825" y="4081"/>
                </a:lnTo>
                <a:lnTo>
                  <a:pt x="3814" y="4084"/>
                </a:lnTo>
                <a:lnTo>
                  <a:pt x="3801" y="4086"/>
                </a:lnTo>
                <a:lnTo>
                  <a:pt x="3789" y="4087"/>
                </a:lnTo>
                <a:lnTo>
                  <a:pt x="3777" y="4087"/>
                </a:lnTo>
                <a:close/>
                <a:moveTo>
                  <a:pt x="4164" y="4082"/>
                </a:moveTo>
                <a:lnTo>
                  <a:pt x="4162" y="4081"/>
                </a:lnTo>
                <a:lnTo>
                  <a:pt x="4160" y="4081"/>
                </a:lnTo>
                <a:lnTo>
                  <a:pt x="4154" y="4078"/>
                </a:lnTo>
                <a:lnTo>
                  <a:pt x="4148" y="4074"/>
                </a:lnTo>
                <a:lnTo>
                  <a:pt x="4141" y="4068"/>
                </a:lnTo>
                <a:lnTo>
                  <a:pt x="4128" y="4057"/>
                </a:lnTo>
                <a:lnTo>
                  <a:pt x="4113" y="4042"/>
                </a:lnTo>
                <a:lnTo>
                  <a:pt x="4096" y="4027"/>
                </a:lnTo>
                <a:lnTo>
                  <a:pt x="4079" y="4010"/>
                </a:lnTo>
                <a:lnTo>
                  <a:pt x="4063" y="3993"/>
                </a:lnTo>
                <a:lnTo>
                  <a:pt x="4048" y="3975"/>
                </a:lnTo>
                <a:lnTo>
                  <a:pt x="4036" y="3961"/>
                </a:lnTo>
                <a:lnTo>
                  <a:pt x="4032" y="3955"/>
                </a:lnTo>
                <a:lnTo>
                  <a:pt x="4029" y="3950"/>
                </a:lnTo>
                <a:lnTo>
                  <a:pt x="4024" y="3939"/>
                </a:lnTo>
                <a:lnTo>
                  <a:pt x="4020" y="3929"/>
                </a:lnTo>
                <a:lnTo>
                  <a:pt x="4017" y="3919"/>
                </a:lnTo>
                <a:lnTo>
                  <a:pt x="4017" y="3909"/>
                </a:lnTo>
                <a:lnTo>
                  <a:pt x="4017" y="3903"/>
                </a:lnTo>
                <a:lnTo>
                  <a:pt x="4018" y="3898"/>
                </a:lnTo>
                <a:lnTo>
                  <a:pt x="4019" y="3892"/>
                </a:lnTo>
                <a:lnTo>
                  <a:pt x="4021" y="3886"/>
                </a:lnTo>
                <a:lnTo>
                  <a:pt x="4024" y="3880"/>
                </a:lnTo>
                <a:lnTo>
                  <a:pt x="4027" y="3873"/>
                </a:lnTo>
                <a:lnTo>
                  <a:pt x="4031" y="3866"/>
                </a:lnTo>
                <a:lnTo>
                  <a:pt x="4035" y="3859"/>
                </a:lnTo>
                <a:lnTo>
                  <a:pt x="4043" y="3848"/>
                </a:lnTo>
                <a:lnTo>
                  <a:pt x="4056" y="3834"/>
                </a:lnTo>
                <a:lnTo>
                  <a:pt x="4085" y="3800"/>
                </a:lnTo>
                <a:lnTo>
                  <a:pt x="4121" y="3761"/>
                </a:lnTo>
                <a:lnTo>
                  <a:pt x="4156" y="3719"/>
                </a:lnTo>
                <a:lnTo>
                  <a:pt x="4157" y="3719"/>
                </a:lnTo>
                <a:lnTo>
                  <a:pt x="4160" y="3719"/>
                </a:lnTo>
                <a:lnTo>
                  <a:pt x="4164" y="3719"/>
                </a:lnTo>
                <a:lnTo>
                  <a:pt x="4168" y="3720"/>
                </a:lnTo>
                <a:lnTo>
                  <a:pt x="4173" y="3722"/>
                </a:lnTo>
                <a:lnTo>
                  <a:pt x="4178" y="3724"/>
                </a:lnTo>
                <a:lnTo>
                  <a:pt x="4182" y="3728"/>
                </a:lnTo>
                <a:lnTo>
                  <a:pt x="4186" y="3731"/>
                </a:lnTo>
                <a:lnTo>
                  <a:pt x="4189" y="3735"/>
                </a:lnTo>
                <a:lnTo>
                  <a:pt x="4192" y="3740"/>
                </a:lnTo>
                <a:lnTo>
                  <a:pt x="4194" y="3745"/>
                </a:lnTo>
                <a:lnTo>
                  <a:pt x="4194" y="3750"/>
                </a:lnTo>
                <a:lnTo>
                  <a:pt x="4193" y="3756"/>
                </a:lnTo>
                <a:lnTo>
                  <a:pt x="4192" y="3762"/>
                </a:lnTo>
                <a:lnTo>
                  <a:pt x="4189" y="3767"/>
                </a:lnTo>
                <a:lnTo>
                  <a:pt x="4185" y="3773"/>
                </a:lnTo>
                <a:lnTo>
                  <a:pt x="4177" y="3783"/>
                </a:lnTo>
                <a:lnTo>
                  <a:pt x="4164" y="3797"/>
                </a:lnTo>
                <a:lnTo>
                  <a:pt x="4135" y="3831"/>
                </a:lnTo>
                <a:lnTo>
                  <a:pt x="4105" y="3864"/>
                </a:lnTo>
                <a:lnTo>
                  <a:pt x="4093" y="3880"/>
                </a:lnTo>
                <a:lnTo>
                  <a:pt x="4083" y="3891"/>
                </a:lnTo>
                <a:lnTo>
                  <a:pt x="4081" y="3895"/>
                </a:lnTo>
                <a:lnTo>
                  <a:pt x="4079" y="3899"/>
                </a:lnTo>
                <a:lnTo>
                  <a:pt x="4078" y="3902"/>
                </a:lnTo>
                <a:lnTo>
                  <a:pt x="4078" y="3906"/>
                </a:lnTo>
                <a:lnTo>
                  <a:pt x="4078" y="3910"/>
                </a:lnTo>
                <a:lnTo>
                  <a:pt x="4080" y="3915"/>
                </a:lnTo>
                <a:lnTo>
                  <a:pt x="4082" y="3919"/>
                </a:lnTo>
                <a:lnTo>
                  <a:pt x="4085" y="3924"/>
                </a:lnTo>
                <a:lnTo>
                  <a:pt x="4092" y="3934"/>
                </a:lnTo>
                <a:lnTo>
                  <a:pt x="4102" y="3945"/>
                </a:lnTo>
                <a:lnTo>
                  <a:pt x="4131" y="3975"/>
                </a:lnTo>
                <a:lnTo>
                  <a:pt x="4163" y="4008"/>
                </a:lnTo>
                <a:lnTo>
                  <a:pt x="4195" y="4038"/>
                </a:lnTo>
                <a:lnTo>
                  <a:pt x="4196" y="4040"/>
                </a:lnTo>
                <a:lnTo>
                  <a:pt x="4198" y="4042"/>
                </a:lnTo>
                <a:lnTo>
                  <a:pt x="4199" y="4044"/>
                </a:lnTo>
                <a:lnTo>
                  <a:pt x="4199" y="4047"/>
                </a:lnTo>
                <a:lnTo>
                  <a:pt x="4198" y="4053"/>
                </a:lnTo>
                <a:lnTo>
                  <a:pt x="4197" y="4056"/>
                </a:lnTo>
                <a:lnTo>
                  <a:pt x="4196" y="4059"/>
                </a:lnTo>
                <a:lnTo>
                  <a:pt x="4192" y="4065"/>
                </a:lnTo>
                <a:lnTo>
                  <a:pt x="4190" y="4067"/>
                </a:lnTo>
                <a:lnTo>
                  <a:pt x="4188" y="4070"/>
                </a:lnTo>
                <a:lnTo>
                  <a:pt x="4182" y="4075"/>
                </a:lnTo>
                <a:lnTo>
                  <a:pt x="4179" y="4077"/>
                </a:lnTo>
                <a:lnTo>
                  <a:pt x="4177" y="4078"/>
                </a:lnTo>
                <a:lnTo>
                  <a:pt x="4171" y="4081"/>
                </a:lnTo>
                <a:lnTo>
                  <a:pt x="4167" y="4081"/>
                </a:lnTo>
                <a:lnTo>
                  <a:pt x="4164" y="4082"/>
                </a:lnTo>
                <a:close/>
                <a:moveTo>
                  <a:pt x="3000" y="4087"/>
                </a:moveTo>
                <a:lnTo>
                  <a:pt x="2992" y="4087"/>
                </a:lnTo>
                <a:lnTo>
                  <a:pt x="2984" y="4086"/>
                </a:lnTo>
                <a:lnTo>
                  <a:pt x="2977" y="4085"/>
                </a:lnTo>
                <a:lnTo>
                  <a:pt x="2969" y="4084"/>
                </a:lnTo>
                <a:lnTo>
                  <a:pt x="2961" y="4082"/>
                </a:lnTo>
                <a:lnTo>
                  <a:pt x="2954" y="4080"/>
                </a:lnTo>
                <a:lnTo>
                  <a:pt x="2941" y="4074"/>
                </a:lnTo>
                <a:lnTo>
                  <a:pt x="2927" y="4066"/>
                </a:lnTo>
                <a:lnTo>
                  <a:pt x="2921" y="4062"/>
                </a:lnTo>
                <a:lnTo>
                  <a:pt x="2915" y="4058"/>
                </a:lnTo>
                <a:lnTo>
                  <a:pt x="2908" y="4053"/>
                </a:lnTo>
                <a:lnTo>
                  <a:pt x="2903" y="4047"/>
                </a:lnTo>
                <a:lnTo>
                  <a:pt x="2897" y="4041"/>
                </a:lnTo>
                <a:lnTo>
                  <a:pt x="2892" y="4035"/>
                </a:lnTo>
                <a:lnTo>
                  <a:pt x="2887" y="4029"/>
                </a:lnTo>
                <a:lnTo>
                  <a:pt x="2882" y="4023"/>
                </a:lnTo>
                <a:lnTo>
                  <a:pt x="2878" y="4016"/>
                </a:lnTo>
                <a:lnTo>
                  <a:pt x="2874" y="4010"/>
                </a:lnTo>
                <a:lnTo>
                  <a:pt x="2870" y="4003"/>
                </a:lnTo>
                <a:lnTo>
                  <a:pt x="2866" y="3995"/>
                </a:lnTo>
                <a:lnTo>
                  <a:pt x="2863" y="3987"/>
                </a:lnTo>
                <a:lnTo>
                  <a:pt x="2860" y="3979"/>
                </a:lnTo>
                <a:lnTo>
                  <a:pt x="2857" y="3971"/>
                </a:lnTo>
                <a:lnTo>
                  <a:pt x="2855" y="3963"/>
                </a:lnTo>
                <a:lnTo>
                  <a:pt x="2853" y="3954"/>
                </a:lnTo>
                <a:lnTo>
                  <a:pt x="2851" y="3946"/>
                </a:lnTo>
                <a:lnTo>
                  <a:pt x="2849" y="3937"/>
                </a:lnTo>
                <a:lnTo>
                  <a:pt x="2848" y="3927"/>
                </a:lnTo>
                <a:lnTo>
                  <a:pt x="2847" y="3918"/>
                </a:lnTo>
                <a:lnTo>
                  <a:pt x="2847" y="3909"/>
                </a:lnTo>
                <a:lnTo>
                  <a:pt x="2848" y="3890"/>
                </a:lnTo>
                <a:lnTo>
                  <a:pt x="2849" y="3881"/>
                </a:lnTo>
                <a:lnTo>
                  <a:pt x="2851" y="3872"/>
                </a:lnTo>
                <a:lnTo>
                  <a:pt x="2853" y="3862"/>
                </a:lnTo>
                <a:lnTo>
                  <a:pt x="2855" y="3853"/>
                </a:lnTo>
                <a:lnTo>
                  <a:pt x="2858" y="3844"/>
                </a:lnTo>
                <a:lnTo>
                  <a:pt x="2861" y="3836"/>
                </a:lnTo>
                <a:lnTo>
                  <a:pt x="2864" y="3827"/>
                </a:lnTo>
                <a:lnTo>
                  <a:pt x="2867" y="3819"/>
                </a:lnTo>
                <a:lnTo>
                  <a:pt x="2871" y="3810"/>
                </a:lnTo>
                <a:lnTo>
                  <a:pt x="2875" y="3802"/>
                </a:lnTo>
                <a:lnTo>
                  <a:pt x="2879" y="3795"/>
                </a:lnTo>
                <a:lnTo>
                  <a:pt x="2884" y="3787"/>
                </a:lnTo>
                <a:lnTo>
                  <a:pt x="2894" y="3774"/>
                </a:lnTo>
                <a:lnTo>
                  <a:pt x="2900" y="3767"/>
                </a:lnTo>
                <a:lnTo>
                  <a:pt x="2906" y="3761"/>
                </a:lnTo>
                <a:lnTo>
                  <a:pt x="2919" y="3748"/>
                </a:lnTo>
                <a:lnTo>
                  <a:pt x="2925" y="3743"/>
                </a:lnTo>
                <a:lnTo>
                  <a:pt x="2932" y="3738"/>
                </a:lnTo>
                <a:lnTo>
                  <a:pt x="2939" y="3734"/>
                </a:lnTo>
                <a:lnTo>
                  <a:pt x="2946" y="3730"/>
                </a:lnTo>
                <a:lnTo>
                  <a:pt x="2953" y="3726"/>
                </a:lnTo>
                <a:lnTo>
                  <a:pt x="2961" y="3723"/>
                </a:lnTo>
                <a:lnTo>
                  <a:pt x="2968" y="3721"/>
                </a:lnTo>
                <a:lnTo>
                  <a:pt x="2977" y="3718"/>
                </a:lnTo>
                <a:lnTo>
                  <a:pt x="2985" y="3716"/>
                </a:lnTo>
                <a:lnTo>
                  <a:pt x="2993" y="3715"/>
                </a:lnTo>
                <a:lnTo>
                  <a:pt x="3001" y="3714"/>
                </a:lnTo>
                <a:lnTo>
                  <a:pt x="3009" y="3714"/>
                </a:lnTo>
                <a:lnTo>
                  <a:pt x="3019" y="3715"/>
                </a:lnTo>
                <a:lnTo>
                  <a:pt x="3024" y="3715"/>
                </a:lnTo>
                <a:lnTo>
                  <a:pt x="3029" y="3716"/>
                </a:lnTo>
                <a:lnTo>
                  <a:pt x="3035" y="3717"/>
                </a:lnTo>
                <a:lnTo>
                  <a:pt x="3039" y="3718"/>
                </a:lnTo>
                <a:lnTo>
                  <a:pt x="3048" y="3721"/>
                </a:lnTo>
                <a:lnTo>
                  <a:pt x="3055" y="3725"/>
                </a:lnTo>
                <a:lnTo>
                  <a:pt x="3063" y="3730"/>
                </a:lnTo>
                <a:lnTo>
                  <a:pt x="3069" y="3735"/>
                </a:lnTo>
                <a:lnTo>
                  <a:pt x="3075" y="3741"/>
                </a:lnTo>
                <a:lnTo>
                  <a:pt x="3078" y="3744"/>
                </a:lnTo>
                <a:lnTo>
                  <a:pt x="3081" y="3748"/>
                </a:lnTo>
                <a:lnTo>
                  <a:pt x="3086" y="3756"/>
                </a:lnTo>
                <a:lnTo>
                  <a:pt x="3091" y="3764"/>
                </a:lnTo>
                <a:lnTo>
                  <a:pt x="3094" y="3772"/>
                </a:lnTo>
                <a:lnTo>
                  <a:pt x="3097" y="3781"/>
                </a:lnTo>
                <a:lnTo>
                  <a:pt x="3099" y="3790"/>
                </a:lnTo>
                <a:lnTo>
                  <a:pt x="3100" y="3800"/>
                </a:lnTo>
                <a:lnTo>
                  <a:pt x="3100" y="3809"/>
                </a:lnTo>
                <a:lnTo>
                  <a:pt x="3099" y="3823"/>
                </a:lnTo>
                <a:lnTo>
                  <a:pt x="3098" y="3829"/>
                </a:lnTo>
                <a:lnTo>
                  <a:pt x="3097" y="3835"/>
                </a:lnTo>
                <a:lnTo>
                  <a:pt x="3093" y="3847"/>
                </a:lnTo>
                <a:lnTo>
                  <a:pt x="3087" y="3859"/>
                </a:lnTo>
                <a:lnTo>
                  <a:pt x="3081" y="3870"/>
                </a:lnTo>
                <a:lnTo>
                  <a:pt x="3074" y="3881"/>
                </a:lnTo>
                <a:lnTo>
                  <a:pt x="3070" y="3887"/>
                </a:lnTo>
                <a:lnTo>
                  <a:pt x="3065" y="3891"/>
                </a:lnTo>
                <a:lnTo>
                  <a:pt x="3056" y="3901"/>
                </a:lnTo>
                <a:lnTo>
                  <a:pt x="3046" y="3909"/>
                </a:lnTo>
                <a:lnTo>
                  <a:pt x="3041" y="3913"/>
                </a:lnTo>
                <a:lnTo>
                  <a:pt x="3036" y="3917"/>
                </a:lnTo>
                <a:lnTo>
                  <a:pt x="3023" y="3923"/>
                </a:lnTo>
                <a:lnTo>
                  <a:pt x="3012" y="3929"/>
                </a:lnTo>
                <a:lnTo>
                  <a:pt x="2999" y="3935"/>
                </a:lnTo>
                <a:lnTo>
                  <a:pt x="2993" y="3936"/>
                </a:lnTo>
                <a:lnTo>
                  <a:pt x="2987" y="3938"/>
                </a:lnTo>
                <a:lnTo>
                  <a:pt x="2981" y="3939"/>
                </a:lnTo>
                <a:lnTo>
                  <a:pt x="2975" y="3940"/>
                </a:lnTo>
                <a:lnTo>
                  <a:pt x="2961" y="3941"/>
                </a:lnTo>
                <a:lnTo>
                  <a:pt x="2956" y="3940"/>
                </a:lnTo>
                <a:lnTo>
                  <a:pt x="2951" y="3938"/>
                </a:lnTo>
                <a:lnTo>
                  <a:pt x="2946" y="3935"/>
                </a:lnTo>
                <a:lnTo>
                  <a:pt x="2944" y="3933"/>
                </a:lnTo>
                <a:lnTo>
                  <a:pt x="2942" y="3930"/>
                </a:lnTo>
                <a:lnTo>
                  <a:pt x="2939" y="3926"/>
                </a:lnTo>
                <a:lnTo>
                  <a:pt x="2937" y="3921"/>
                </a:lnTo>
                <a:lnTo>
                  <a:pt x="2936" y="3918"/>
                </a:lnTo>
                <a:lnTo>
                  <a:pt x="2935" y="3915"/>
                </a:lnTo>
                <a:lnTo>
                  <a:pt x="2935" y="3908"/>
                </a:lnTo>
                <a:lnTo>
                  <a:pt x="2935" y="3906"/>
                </a:lnTo>
                <a:lnTo>
                  <a:pt x="2935" y="3903"/>
                </a:lnTo>
                <a:lnTo>
                  <a:pt x="2936" y="3898"/>
                </a:lnTo>
                <a:lnTo>
                  <a:pt x="2937" y="3896"/>
                </a:lnTo>
                <a:lnTo>
                  <a:pt x="2939" y="3894"/>
                </a:lnTo>
                <a:lnTo>
                  <a:pt x="2940" y="3892"/>
                </a:lnTo>
                <a:lnTo>
                  <a:pt x="2942" y="3891"/>
                </a:lnTo>
                <a:lnTo>
                  <a:pt x="2953" y="3889"/>
                </a:lnTo>
                <a:lnTo>
                  <a:pt x="2963" y="3887"/>
                </a:lnTo>
                <a:lnTo>
                  <a:pt x="2974" y="3883"/>
                </a:lnTo>
                <a:lnTo>
                  <a:pt x="2984" y="3879"/>
                </a:lnTo>
                <a:lnTo>
                  <a:pt x="2993" y="3875"/>
                </a:lnTo>
                <a:lnTo>
                  <a:pt x="3001" y="3869"/>
                </a:lnTo>
                <a:lnTo>
                  <a:pt x="3009" y="3863"/>
                </a:lnTo>
                <a:lnTo>
                  <a:pt x="3013" y="3860"/>
                </a:lnTo>
                <a:lnTo>
                  <a:pt x="3017" y="3857"/>
                </a:lnTo>
                <a:lnTo>
                  <a:pt x="3023" y="3851"/>
                </a:lnTo>
                <a:lnTo>
                  <a:pt x="3029" y="3845"/>
                </a:lnTo>
                <a:lnTo>
                  <a:pt x="3035" y="3838"/>
                </a:lnTo>
                <a:lnTo>
                  <a:pt x="3039" y="3831"/>
                </a:lnTo>
                <a:lnTo>
                  <a:pt x="3042" y="3824"/>
                </a:lnTo>
                <a:lnTo>
                  <a:pt x="3045" y="3817"/>
                </a:lnTo>
                <a:lnTo>
                  <a:pt x="3046" y="3809"/>
                </a:lnTo>
                <a:lnTo>
                  <a:pt x="3047" y="3802"/>
                </a:lnTo>
                <a:lnTo>
                  <a:pt x="3046" y="3794"/>
                </a:lnTo>
                <a:lnTo>
                  <a:pt x="3044" y="3786"/>
                </a:lnTo>
                <a:lnTo>
                  <a:pt x="3042" y="3783"/>
                </a:lnTo>
                <a:lnTo>
                  <a:pt x="3040" y="3780"/>
                </a:lnTo>
                <a:lnTo>
                  <a:pt x="3038" y="3777"/>
                </a:lnTo>
                <a:lnTo>
                  <a:pt x="3036" y="3775"/>
                </a:lnTo>
                <a:lnTo>
                  <a:pt x="3029" y="3771"/>
                </a:lnTo>
                <a:lnTo>
                  <a:pt x="3026" y="3769"/>
                </a:lnTo>
                <a:lnTo>
                  <a:pt x="3022" y="3767"/>
                </a:lnTo>
                <a:lnTo>
                  <a:pt x="3014" y="3766"/>
                </a:lnTo>
                <a:lnTo>
                  <a:pt x="3010" y="3765"/>
                </a:lnTo>
                <a:lnTo>
                  <a:pt x="3005" y="3765"/>
                </a:lnTo>
                <a:lnTo>
                  <a:pt x="2997" y="3766"/>
                </a:lnTo>
                <a:lnTo>
                  <a:pt x="2992" y="3766"/>
                </a:lnTo>
                <a:lnTo>
                  <a:pt x="2988" y="3768"/>
                </a:lnTo>
                <a:lnTo>
                  <a:pt x="2983" y="3769"/>
                </a:lnTo>
                <a:lnTo>
                  <a:pt x="2979" y="3771"/>
                </a:lnTo>
                <a:lnTo>
                  <a:pt x="2975" y="3773"/>
                </a:lnTo>
                <a:lnTo>
                  <a:pt x="2969" y="3776"/>
                </a:lnTo>
                <a:lnTo>
                  <a:pt x="2965" y="3779"/>
                </a:lnTo>
                <a:lnTo>
                  <a:pt x="2961" y="3782"/>
                </a:lnTo>
                <a:lnTo>
                  <a:pt x="2952" y="3789"/>
                </a:lnTo>
                <a:lnTo>
                  <a:pt x="2945" y="3797"/>
                </a:lnTo>
                <a:lnTo>
                  <a:pt x="2937" y="3806"/>
                </a:lnTo>
                <a:lnTo>
                  <a:pt x="2934" y="3812"/>
                </a:lnTo>
                <a:lnTo>
                  <a:pt x="2930" y="3817"/>
                </a:lnTo>
                <a:lnTo>
                  <a:pt x="2924" y="3828"/>
                </a:lnTo>
                <a:lnTo>
                  <a:pt x="2918" y="3839"/>
                </a:lnTo>
                <a:lnTo>
                  <a:pt x="2914" y="3851"/>
                </a:lnTo>
                <a:lnTo>
                  <a:pt x="2909" y="3864"/>
                </a:lnTo>
                <a:lnTo>
                  <a:pt x="2906" y="3879"/>
                </a:lnTo>
                <a:lnTo>
                  <a:pt x="2904" y="3892"/>
                </a:lnTo>
                <a:lnTo>
                  <a:pt x="2904" y="3899"/>
                </a:lnTo>
                <a:lnTo>
                  <a:pt x="2904" y="3906"/>
                </a:lnTo>
                <a:lnTo>
                  <a:pt x="2904" y="3919"/>
                </a:lnTo>
                <a:lnTo>
                  <a:pt x="2905" y="3932"/>
                </a:lnTo>
                <a:lnTo>
                  <a:pt x="2908" y="3944"/>
                </a:lnTo>
                <a:lnTo>
                  <a:pt x="2909" y="3950"/>
                </a:lnTo>
                <a:lnTo>
                  <a:pt x="2912" y="3955"/>
                </a:lnTo>
                <a:lnTo>
                  <a:pt x="2915" y="3965"/>
                </a:lnTo>
                <a:lnTo>
                  <a:pt x="2917" y="3970"/>
                </a:lnTo>
                <a:lnTo>
                  <a:pt x="2920" y="3975"/>
                </a:lnTo>
                <a:lnTo>
                  <a:pt x="2922" y="3980"/>
                </a:lnTo>
                <a:lnTo>
                  <a:pt x="2925" y="3984"/>
                </a:lnTo>
                <a:lnTo>
                  <a:pt x="2928" y="3989"/>
                </a:lnTo>
                <a:lnTo>
                  <a:pt x="2931" y="3994"/>
                </a:lnTo>
                <a:lnTo>
                  <a:pt x="2934" y="3997"/>
                </a:lnTo>
                <a:lnTo>
                  <a:pt x="2937" y="4001"/>
                </a:lnTo>
                <a:lnTo>
                  <a:pt x="2945" y="4008"/>
                </a:lnTo>
                <a:lnTo>
                  <a:pt x="2953" y="4013"/>
                </a:lnTo>
                <a:lnTo>
                  <a:pt x="2961" y="4018"/>
                </a:lnTo>
                <a:lnTo>
                  <a:pt x="2971" y="4022"/>
                </a:lnTo>
                <a:lnTo>
                  <a:pt x="2981" y="4025"/>
                </a:lnTo>
                <a:lnTo>
                  <a:pt x="2991" y="4026"/>
                </a:lnTo>
                <a:lnTo>
                  <a:pt x="2996" y="4027"/>
                </a:lnTo>
                <a:lnTo>
                  <a:pt x="3002" y="4027"/>
                </a:lnTo>
                <a:lnTo>
                  <a:pt x="3012" y="4027"/>
                </a:lnTo>
                <a:lnTo>
                  <a:pt x="3022" y="4025"/>
                </a:lnTo>
                <a:lnTo>
                  <a:pt x="3033" y="4023"/>
                </a:lnTo>
                <a:lnTo>
                  <a:pt x="3043" y="4019"/>
                </a:lnTo>
                <a:lnTo>
                  <a:pt x="3052" y="4015"/>
                </a:lnTo>
                <a:lnTo>
                  <a:pt x="3061" y="4010"/>
                </a:lnTo>
                <a:lnTo>
                  <a:pt x="3070" y="4004"/>
                </a:lnTo>
                <a:lnTo>
                  <a:pt x="3078" y="3998"/>
                </a:lnTo>
                <a:lnTo>
                  <a:pt x="3086" y="3989"/>
                </a:lnTo>
                <a:lnTo>
                  <a:pt x="3094" y="3981"/>
                </a:lnTo>
                <a:lnTo>
                  <a:pt x="3102" y="3973"/>
                </a:lnTo>
                <a:lnTo>
                  <a:pt x="3109" y="3964"/>
                </a:lnTo>
                <a:lnTo>
                  <a:pt x="3122" y="3945"/>
                </a:lnTo>
                <a:lnTo>
                  <a:pt x="3128" y="3934"/>
                </a:lnTo>
                <a:lnTo>
                  <a:pt x="3133" y="3922"/>
                </a:lnTo>
                <a:lnTo>
                  <a:pt x="3138" y="3911"/>
                </a:lnTo>
                <a:lnTo>
                  <a:pt x="3143" y="3900"/>
                </a:lnTo>
                <a:lnTo>
                  <a:pt x="3148" y="3889"/>
                </a:lnTo>
                <a:lnTo>
                  <a:pt x="3153" y="3877"/>
                </a:lnTo>
                <a:lnTo>
                  <a:pt x="3157" y="3864"/>
                </a:lnTo>
                <a:lnTo>
                  <a:pt x="3160" y="3852"/>
                </a:lnTo>
                <a:lnTo>
                  <a:pt x="3163" y="3840"/>
                </a:lnTo>
                <a:lnTo>
                  <a:pt x="3166" y="3828"/>
                </a:lnTo>
                <a:lnTo>
                  <a:pt x="3168" y="3816"/>
                </a:lnTo>
                <a:lnTo>
                  <a:pt x="3170" y="3803"/>
                </a:lnTo>
                <a:lnTo>
                  <a:pt x="3171" y="3791"/>
                </a:lnTo>
                <a:lnTo>
                  <a:pt x="3172" y="3780"/>
                </a:lnTo>
                <a:lnTo>
                  <a:pt x="3173" y="3768"/>
                </a:lnTo>
                <a:lnTo>
                  <a:pt x="3173" y="3757"/>
                </a:lnTo>
                <a:lnTo>
                  <a:pt x="3173" y="3746"/>
                </a:lnTo>
                <a:lnTo>
                  <a:pt x="3173" y="3735"/>
                </a:lnTo>
                <a:lnTo>
                  <a:pt x="3174" y="3733"/>
                </a:lnTo>
                <a:lnTo>
                  <a:pt x="3175" y="3731"/>
                </a:lnTo>
                <a:lnTo>
                  <a:pt x="3177" y="3729"/>
                </a:lnTo>
                <a:lnTo>
                  <a:pt x="3180" y="3727"/>
                </a:lnTo>
                <a:lnTo>
                  <a:pt x="3187" y="3724"/>
                </a:lnTo>
                <a:lnTo>
                  <a:pt x="3191" y="3723"/>
                </a:lnTo>
                <a:lnTo>
                  <a:pt x="3195" y="3723"/>
                </a:lnTo>
                <a:lnTo>
                  <a:pt x="3202" y="3724"/>
                </a:lnTo>
                <a:lnTo>
                  <a:pt x="3205" y="3724"/>
                </a:lnTo>
                <a:lnTo>
                  <a:pt x="3209" y="3725"/>
                </a:lnTo>
                <a:lnTo>
                  <a:pt x="3215" y="3728"/>
                </a:lnTo>
                <a:lnTo>
                  <a:pt x="3218" y="3730"/>
                </a:lnTo>
                <a:lnTo>
                  <a:pt x="3220" y="3732"/>
                </a:lnTo>
                <a:lnTo>
                  <a:pt x="3224" y="3738"/>
                </a:lnTo>
                <a:lnTo>
                  <a:pt x="3226" y="3741"/>
                </a:lnTo>
                <a:lnTo>
                  <a:pt x="3227" y="3745"/>
                </a:lnTo>
                <a:lnTo>
                  <a:pt x="3228" y="3750"/>
                </a:lnTo>
                <a:lnTo>
                  <a:pt x="3229" y="3756"/>
                </a:lnTo>
                <a:lnTo>
                  <a:pt x="3230" y="3761"/>
                </a:lnTo>
                <a:lnTo>
                  <a:pt x="3230" y="3767"/>
                </a:lnTo>
                <a:lnTo>
                  <a:pt x="3229" y="3782"/>
                </a:lnTo>
                <a:lnTo>
                  <a:pt x="3228" y="3798"/>
                </a:lnTo>
                <a:lnTo>
                  <a:pt x="3227" y="3814"/>
                </a:lnTo>
                <a:lnTo>
                  <a:pt x="3225" y="3829"/>
                </a:lnTo>
                <a:lnTo>
                  <a:pt x="3222" y="3844"/>
                </a:lnTo>
                <a:lnTo>
                  <a:pt x="3219" y="3859"/>
                </a:lnTo>
                <a:lnTo>
                  <a:pt x="3216" y="3874"/>
                </a:lnTo>
                <a:lnTo>
                  <a:pt x="3212" y="3888"/>
                </a:lnTo>
                <a:lnTo>
                  <a:pt x="3206" y="3902"/>
                </a:lnTo>
                <a:lnTo>
                  <a:pt x="3202" y="3916"/>
                </a:lnTo>
                <a:lnTo>
                  <a:pt x="3196" y="3929"/>
                </a:lnTo>
                <a:lnTo>
                  <a:pt x="3191" y="3943"/>
                </a:lnTo>
                <a:lnTo>
                  <a:pt x="3185" y="3955"/>
                </a:lnTo>
                <a:lnTo>
                  <a:pt x="3178" y="3967"/>
                </a:lnTo>
                <a:lnTo>
                  <a:pt x="3171" y="3979"/>
                </a:lnTo>
                <a:lnTo>
                  <a:pt x="3164" y="3990"/>
                </a:lnTo>
                <a:lnTo>
                  <a:pt x="3156" y="4002"/>
                </a:lnTo>
                <a:lnTo>
                  <a:pt x="3147" y="4012"/>
                </a:lnTo>
                <a:lnTo>
                  <a:pt x="3139" y="4021"/>
                </a:lnTo>
                <a:lnTo>
                  <a:pt x="3130" y="4030"/>
                </a:lnTo>
                <a:lnTo>
                  <a:pt x="3121" y="4039"/>
                </a:lnTo>
                <a:lnTo>
                  <a:pt x="3112" y="4047"/>
                </a:lnTo>
                <a:lnTo>
                  <a:pt x="3102" y="4055"/>
                </a:lnTo>
                <a:lnTo>
                  <a:pt x="3092" y="4061"/>
                </a:lnTo>
                <a:lnTo>
                  <a:pt x="3081" y="4067"/>
                </a:lnTo>
                <a:lnTo>
                  <a:pt x="3070" y="4072"/>
                </a:lnTo>
                <a:lnTo>
                  <a:pt x="3059" y="4077"/>
                </a:lnTo>
                <a:lnTo>
                  <a:pt x="3048" y="4081"/>
                </a:lnTo>
                <a:lnTo>
                  <a:pt x="3036" y="4084"/>
                </a:lnTo>
                <a:lnTo>
                  <a:pt x="3024" y="4086"/>
                </a:lnTo>
                <a:lnTo>
                  <a:pt x="3012" y="4087"/>
                </a:lnTo>
                <a:lnTo>
                  <a:pt x="3000" y="4087"/>
                </a:lnTo>
                <a:close/>
                <a:moveTo>
                  <a:pt x="3386" y="4082"/>
                </a:moveTo>
                <a:lnTo>
                  <a:pt x="3385" y="4081"/>
                </a:lnTo>
                <a:lnTo>
                  <a:pt x="3382" y="4081"/>
                </a:lnTo>
                <a:lnTo>
                  <a:pt x="3377" y="4078"/>
                </a:lnTo>
                <a:lnTo>
                  <a:pt x="3371" y="4074"/>
                </a:lnTo>
                <a:lnTo>
                  <a:pt x="3363" y="4068"/>
                </a:lnTo>
                <a:lnTo>
                  <a:pt x="3351" y="4057"/>
                </a:lnTo>
                <a:lnTo>
                  <a:pt x="3336" y="4042"/>
                </a:lnTo>
                <a:lnTo>
                  <a:pt x="3318" y="4027"/>
                </a:lnTo>
                <a:lnTo>
                  <a:pt x="3302" y="4010"/>
                </a:lnTo>
                <a:lnTo>
                  <a:pt x="3286" y="3993"/>
                </a:lnTo>
                <a:lnTo>
                  <a:pt x="3272" y="3975"/>
                </a:lnTo>
                <a:lnTo>
                  <a:pt x="3259" y="3961"/>
                </a:lnTo>
                <a:lnTo>
                  <a:pt x="3255" y="3955"/>
                </a:lnTo>
                <a:lnTo>
                  <a:pt x="3252" y="3950"/>
                </a:lnTo>
                <a:lnTo>
                  <a:pt x="3246" y="3939"/>
                </a:lnTo>
                <a:lnTo>
                  <a:pt x="3243" y="3929"/>
                </a:lnTo>
                <a:lnTo>
                  <a:pt x="3240" y="3919"/>
                </a:lnTo>
                <a:lnTo>
                  <a:pt x="3239" y="3909"/>
                </a:lnTo>
                <a:lnTo>
                  <a:pt x="3240" y="3903"/>
                </a:lnTo>
                <a:lnTo>
                  <a:pt x="3240" y="3898"/>
                </a:lnTo>
                <a:lnTo>
                  <a:pt x="3242" y="3892"/>
                </a:lnTo>
                <a:lnTo>
                  <a:pt x="3244" y="3886"/>
                </a:lnTo>
                <a:lnTo>
                  <a:pt x="3246" y="3880"/>
                </a:lnTo>
                <a:lnTo>
                  <a:pt x="3250" y="3873"/>
                </a:lnTo>
                <a:lnTo>
                  <a:pt x="3253" y="3866"/>
                </a:lnTo>
                <a:lnTo>
                  <a:pt x="3258" y="3859"/>
                </a:lnTo>
                <a:lnTo>
                  <a:pt x="3266" y="3848"/>
                </a:lnTo>
                <a:lnTo>
                  <a:pt x="3278" y="3834"/>
                </a:lnTo>
                <a:lnTo>
                  <a:pt x="3308" y="3800"/>
                </a:lnTo>
                <a:lnTo>
                  <a:pt x="3344" y="3761"/>
                </a:lnTo>
                <a:lnTo>
                  <a:pt x="3379" y="3719"/>
                </a:lnTo>
                <a:lnTo>
                  <a:pt x="3380" y="3719"/>
                </a:lnTo>
                <a:lnTo>
                  <a:pt x="3383" y="3719"/>
                </a:lnTo>
                <a:lnTo>
                  <a:pt x="3387" y="3719"/>
                </a:lnTo>
                <a:lnTo>
                  <a:pt x="3392" y="3720"/>
                </a:lnTo>
                <a:lnTo>
                  <a:pt x="3396" y="3722"/>
                </a:lnTo>
                <a:lnTo>
                  <a:pt x="3401" y="3724"/>
                </a:lnTo>
                <a:lnTo>
                  <a:pt x="3405" y="3728"/>
                </a:lnTo>
                <a:lnTo>
                  <a:pt x="3409" y="3731"/>
                </a:lnTo>
                <a:lnTo>
                  <a:pt x="3412" y="3735"/>
                </a:lnTo>
                <a:lnTo>
                  <a:pt x="3415" y="3740"/>
                </a:lnTo>
                <a:lnTo>
                  <a:pt x="3416" y="3745"/>
                </a:lnTo>
                <a:lnTo>
                  <a:pt x="3417" y="3750"/>
                </a:lnTo>
                <a:lnTo>
                  <a:pt x="3416" y="3756"/>
                </a:lnTo>
                <a:lnTo>
                  <a:pt x="3414" y="3762"/>
                </a:lnTo>
                <a:lnTo>
                  <a:pt x="3412" y="3767"/>
                </a:lnTo>
                <a:lnTo>
                  <a:pt x="3408" y="3773"/>
                </a:lnTo>
                <a:lnTo>
                  <a:pt x="3400" y="3783"/>
                </a:lnTo>
                <a:lnTo>
                  <a:pt x="3387" y="3797"/>
                </a:lnTo>
                <a:lnTo>
                  <a:pt x="3358" y="3831"/>
                </a:lnTo>
                <a:lnTo>
                  <a:pt x="3328" y="3864"/>
                </a:lnTo>
                <a:lnTo>
                  <a:pt x="3315" y="3880"/>
                </a:lnTo>
                <a:lnTo>
                  <a:pt x="3306" y="3891"/>
                </a:lnTo>
                <a:lnTo>
                  <a:pt x="3304" y="3895"/>
                </a:lnTo>
                <a:lnTo>
                  <a:pt x="3302" y="3899"/>
                </a:lnTo>
                <a:lnTo>
                  <a:pt x="3301" y="3902"/>
                </a:lnTo>
                <a:lnTo>
                  <a:pt x="3300" y="3906"/>
                </a:lnTo>
                <a:lnTo>
                  <a:pt x="3301" y="3910"/>
                </a:lnTo>
                <a:lnTo>
                  <a:pt x="3302" y="3915"/>
                </a:lnTo>
                <a:lnTo>
                  <a:pt x="3304" y="3919"/>
                </a:lnTo>
                <a:lnTo>
                  <a:pt x="3307" y="3924"/>
                </a:lnTo>
                <a:lnTo>
                  <a:pt x="3315" y="3934"/>
                </a:lnTo>
                <a:lnTo>
                  <a:pt x="3325" y="3945"/>
                </a:lnTo>
                <a:lnTo>
                  <a:pt x="3354" y="3975"/>
                </a:lnTo>
                <a:lnTo>
                  <a:pt x="3385" y="4008"/>
                </a:lnTo>
                <a:lnTo>
                  <a:pt x="3417" y="4038"/>
                </a:lnTo>
                <a:lnTo>
                  <a:pt x="3419" y="4040"/>
                </a:lnTo>
                <a:lnTo>
                  <a:pt x="3421" y="4042"/>
                </a:lnTo>
                <a:lnTo>
                  <a:pt x="3422" y="4044"/>
                </a:lnTo>
                <a:lnTo>
                  <a:pt x="3422" y="4047"/>
                </a:lnTo>
                <a:lnTo>
                  <a:pt x="3421" y="4053"/>
                </a:lnTo>
                <a:lnTo>
                  <a:pt x="3420" y="4056"/>
                </a:lnTo>
                <a:lnTo>
                  <a:pt x="3419" y="4059"/>
                </a:lnTo>
                <a:lnTo>
                  <a:pt x="3415" y="4065"/>
                </a:lnTo>
                <a:lnTo>
                  <a:pt x="3413" y="4067"/>
                </a:lnTo>
                <a:lnTo>
                  <a:pt x="3410" y="4070"/>
                </a:lnTo>
                <a:lnTo>
                  <a:pt x="3405" y="4075"/>
                </a:lnTo>
                <a:lnTo>
                  <a:pt x="3402" y="4077"/>
                </a:lnTo>
                <a:lnTo>
                  <a:pt x="3399" y="4078"/>
                </a:lnTo>
                <a:lnTo>
                  <a:pt x="3393" y="4081"/>
                </a:lnTo>
                <a:lnTo>
                  <a:pt x="3389" y="4081"/>
                </a:lnTo>
                <a:lnTo>
                  <a:pt x="3386" y="4082"/>
                </a:lnTo>
                <a:close/>
                <a:moveTo>
                  <a:pt x="717" y="4087"/>
                </a:moveTo>
                <a:lnTo>
                  <a:pt x="710" y="4087"/>
                </a:lnTo>
                <a:lnTo>
                  <a:pt x="702" y="4086"/>
                </a:lnTo>
                <a:lnTo>
                  <a:pt x="694" y="4085"/>
                </a:lnTo>
                <a:lnTo>
                  <a:pt x="686" y="4084"/>
                </a:lnTo>
                <a:lnTo>
                  <a:pt x="679" y="4082"/>
                </a:lnTo>
                <a:lnTo>
                  <a:pt x="672" y="4080"/>
                </a:lnTo>
                <a:lnTo>
                  <a:pt x="658" y="4074"/>
                </a:lnTo>
                <a:lnTo>
                  <a:pt x="645" y="4066"/>
                </a:lnTo>
                <a:lnTo>
                  <a:pt x="639" y="4062"/>
                </a:lnTo>
                <a:lnTo>
                  <a:pt x="633" y="4058"/>
                </a:lnTo>
                <a:lnTo>
                  <a:pt x="626" y="4053"/>
                </a:lnTo>
                <a:lnTo>
                  <a:pt x="620" y="4047"/>
                </a:lnTo>
                <a:lnTo>
                  <a:pt x="615" y="4041"/>
                </a:lnTo>
                <a:lnTo>
                  <a:pt x="610" y="4035"/>
                </a:lnTo>
                <a:lnTo>
                  <a:pt x="605" y="4029"/>
                </a:lnTo>
                <a:lnTo>
                  <a:pt x="600" y="4023"/>
                </a:lnTo>
                <a:lnTo>
                  <a:pt x="595" y="4016"/>
                </a:lnTo>
                <a:lnTo>
                  <a:pt x="591" y="4010"/>
                </a:lnTo>
                <a:lnTo>
                  <a:pt x="587" y="4003"/>
                </a:lnTo>
                <a:lnTo>
                  <a:pt x="584" y="3995"/>
                </a:lnTo>
                <a:lnTo>
                  <a:pt x="580" y="3987"/>
                </a:lnTo>
                <a:lnTo>
                  <a:pt x="577" y="3979"/>
                </a:lnTo>
                <a:lnTo>
                  <a:pt x="575" y="3971"/>
                </a:lnTo>
                <a:lnTo>
                  <a:pt x="572" y="3963"/>
                </a:lnTo>
                <a:lnTo>
                  <a:pt x="569" y="3954"/>
                </a:lnTo>
                <a:lnTo>
                  <a:pt x="568" y="3946"/>
                </a:lnTo>
                <a:lnTo>
                  <a:pt x="566" y="3937"/>
                </a:lnTo>
                <a:lnTo>
                  <a:pt x="565" y="3927"/>
                </a:lnTo>
                <a:lnTo>
                  <a:pt x="565" y="3918"/>
                </a:lnTo>
                <a:lnTo>
                  <a:pt x="565" y="3909"/>
                </a:lnTo>
                <a:lnTo>
                  <a:pt x="566" y="3890"/>
                </a:lnTo>
                <a:lnTo>
                  <a:pt x="567" y="3881"/>
                </a:lnTo>
                <a:lnTo>
                  <a:pt x="568" y="3872"/>
                </a:lnTo>
                <a:lnTo>
                  <a:pt x="571" y="3862"/>
                </a:lnTo>
                <a:lnTo>
                  <a:pt x="573" y="3853"/>
                </a:lnTo>
                <a:lnTo>
                  <a:pt x="575" y="3844"/>
                </a:lnTo>
                <a:lnTo>
                  <a:pt x="578" y="3836"/>
                </a:lnTo>
                <a:lnTo>
                  <a:pt x="581" y="3827"/>
                </a:lnTo>
                <a:lnTo>
                  <a:pt x="585" y="3819"/>
                </a:lnTo>
                <a:lnTo>
                  <a:pt x="589" y="3810"/>
                </a:lnTo>
                <a:lnTo>
                  <a:pt x="593" y="3802"/>
                </a:lnTo>
                <a:lnTo>
                  <a:pt x="597" y="3795"/>
                </a:lnTo>
                <a:lnTo>
                  <a:pt x="602" y="3787"/>
                </a:lnTo>
                <a:lnTo>
                  <a:pt x="612" y="3774"/>
                </a:lnTo>
                <a:lnTo>
                  <a:pt x="617" y="3767"/>
                </a:lnTo>
                <a:lnTo>
                  <a:pt x="623" y="3761"/>
                </a:lnTo>
                <a:lnTo>
                  <a:pt x="636" y="3748"/>
                </a:lnTo>
                <a:lnTo>
                  <a:pt x="643" y="3743"/>
                </a:lnTo>
                <a:lnTo>
                  <a:pt x="650" y="3738"/>
                </a:lnTo>
                <a:lnTo>
                  <a:pt x="656" y="3734"/>
                </a:lnTo>
                <a:lnTo>
                  <a:pt x="663" y="3730"/>
                </a:lnTo>
                <a:lnTo>
                  <a:pt x="671" y="3726"/>
                </a:lnTo>
                <a:lnTo>
                  <a:pt x="678" y="3723"/>
                </a:lnTo>
                <a:lnTo>
                  <a:pt x="686" y="3721"/>
                </a:lnTo>
                <a:lnTo>
                  <a:pt x="694" y="3718"/>
                </a:lnTo>
                <a:lnTo>
                  <a:pt x="702" y="3716"/>
                </a:lnTo>
                <a:lnTo>
                  <a:pt x="710" y="3715"/>
                </a:lnTo>
                <a:lnTo>
                  <a:pt x="719" y="3714"/>
                </a:lnTo>
                <a:lnTo>
                  <a:pt x="727" y="3714"/>
                </a:lnTo>
                <a:lnTo>
                  <a:pt x="737" y="3715"/>
                </a:lnTo>
                <a:lnTo>
                  <a:pt x="742" y="3715"/>
                </a:lnTo>
                <a:lnTo>
                  <a:pt x="747" y="3716"/>
                </a:lnTo>
                <a:lnTo>
                  <a:pt x="752" y="3717"/>
                </a:lnTo>
                <a:lnTo>
                  <a:pt x="757" y="3718"/>
                </a:lnTo>
                <a:lnTo>
                  <a:pt x="765" y="3721"/>
                </a:lnTo>
                <a:lnTo>
                  <a:pt x="773" y="3725"/>
                </a:lnTo>
                <a:lnTo>
                  <a:pt x="780" y="3730"/>
                </a:lnTo>
                <a:lnTo>
                  <a:pt x="787" y="3735"/>
                </a:lnTo>
                <a:lnTo>
                  <a:pt x="793" y="3741"/>
                </a:lnTo>
                <a:lnTo>
                  <a:pt x="796" y="3744"/>
                </a:lnTo>
                <a:lnTo>
                  <a:pt x="798" y="3748"/>
                </a:lnTo>
                <a:lnTo>
                  <a:pt x="803" y="3756"/>
                </a:lnTo>
                <a:lnTo>
                  <a:pt x="807" y="3764"/>
                </a:lnTo>
                <a:lnTo>
                  <a:pt x="812" y="3772"/>
                </a:lnTo>
                <a:lnTo>
                  <a:pt x="814" y="3781"/>
                </a:lnTo>
                <a:lnTo>
                  <a:pt x="816" y="3790"/>
                </a:lnTo>
                <a:lnTo>
                  <a:pt x="817" y="3800"/>
                </a:lnTo>
                <a:lnTo>
                  <a:pt x="818" y="3809"/>
                </a:lnTo>
                <a:lnTo>
                  <a:pt x="817" y="3823"/>
                </a:lnTo>
                <a:lnTo>
                  <a:pt x="816" y="3829"/>
                </a:lnTo>
                <a:lnTo>
                  <a:pt x="814" y="3835"/>
                </a:lnTo>
                <a:lnTo>
                  <a:pt x="811" y="3847"/>
                </a:lnTo>
                <a:lnTo>
                  <a:pt x="805" y="3859"/>
                </a:lnTo>
                <a:lnTo>
                  <a:pt x="799" y="3870"/>
                </a:lnTo>
                <a:lnTo>
                  <a:pt x="791" y="3881"/>
                </a:lnTo>
                <a:lnTo>
                  <a:pt x="787" y="3887"/>
                </a:lnTo>
                <a:lnTo>
                  <a:pt x="783" y="3891"/>
                </a:lnTo>
                <a:lnTo>
                  <a:pt x="774" y="3901"/>
                </a:lnTo>
                <a:lnTo>
                  <a:pt x="764" y="3909"/>
                </a:lnTo>
                <a:lnTo>
                  <a:pt x="758" y="3913"/>
                </a:lnTo>
                <a:lnTo>
                  <a:pt x="753" y="3917"/>
                </a:lnTo>
                <a:lnTo>
                  <a:pt x="741" y="3923"/>
                </a:lnTo>
                <a:lnTo>
                  <a:pt x="729" y="3929"/>
                </a:lnTo>
                <a:lnTo>
                  <a:pt x="717" y="3935"/>
                </a:lnTo>
                <a:lnTo>
                  <a:pt x="711" y="3936"/>
                </a:lnTo>
                <a:lnTo>
                  <a:pt x="705" y="3938"/>
                </a:lnTo>
                <a:lnTo>
                  <a:pt x="698" y="3939"/>
                </a:lnTo>
                <a:lnTo>
                  <a:pt x="692" y="3940"/>
                </a:lnTo>
                <a:lnTo>
                  <a:pt x="679" y="3941"/>
                </a:lnTo>
                <a:lnTo>
                  <a:pt x="673" y="3940"/>
                </a:lnTo>
                <a:lnTo>
                  <a:pt x="668" y="3938"/>
                </a:lnTo>
                <a:lnTo>
                  <a:pt x="664" y="3935"/>
                </a:lnTo>
                <a:lnTo>
                  <a:pt x="662" y="3933"/>
                </a:lnTo>
                <a:lnTo>
                  <a:pt x="660" y="3930"/>
                </a:lnTo>
                <a:lnTo>
                  <a:pt x="657" y="3926"/>
                </a:lnTo>
                <a:lnTo>
                  <a:pt x="654" y="3921"/>
                </a:lnTo>
                <a:lnTo>
                  <a:pt x="653" y="3918"/>
                </a:lnTo>
                <a:lnTo>
                  <a:pt x="653" y="3915"/>
                </a:lnTo>
                <a:lnTo>
                  <a:pt x="652" y="3908"/>
                </a:lnTo>
                <a:lnTo>
                  <a:pt x="652" y="3906"/>
                </a:lnTo>
                <a:lnTo>
                  <a:pt x="653" y="3903"/>
                </a:lnTo>
                <a:lnTo>
                  <a:pt x="654" y="3898"/>
                </a:lnTo>
                <a:lnTo>
                  <a:pt x="655" y="3896"/>
                </a:lnTo>
                <a:lnTo>
                  <a:pt x="656" y="3894"/>
                </a:lnTo>
                <a:lnTo>
                  <a:pt x="658" y="3892"/>
                </a:lnTo>
                <a:lnTo>
                  <a:pt x="659" y="3891"/>
                </a:lnTo>
                <a:lnTo>
                  <a:pt x="670" y="3889"/>
                </a:lnTo>
                <a:lnTo>
                  <a:pt x="681" y="3887"/>
                </a:lnTo>
                <a:lnTo>
                  <a:pt x="692" y="3883"/>
                </a:lnTo>
                <a:lnTo>
                  <a:pt x="701" y="3879"/>
                </a:lnTo>
                <a:lnTo>
                  <a:pt x="711" y="3875"/>
                </a:lnTo>
                <a:lnTo>
                  <a:pt x="719" y="3869"/>
                </a:lnTo>
                <a:lnTo>
                  <a:pt x="727" y="3863"/>
                </a:lnTo>
                <a:lnTo>
                  <a:pt x="731" y="3860"/>
                </a:lnTo>
                <a:lnTo>
                  <a:pt x="734" y="3857"/>
                </a:lnTo>
                <a:lnTo>
                  <a:pt x="741" y="3851"/>
                </a:lnTo>
                <a:lnTo>
                  <a:pt x="746" y="3845"/>
                </a:lnTo>
                <a:lnTo>
                  <a:pt x="752" y="3838"/>
                </a:lnTo>
                <a:lnTo>
                  <a:pt x="756" y="3831"/>
                </a:lnTo>
                <a:lnTo>
                  <a:pt x="760" y="3824"/>
                </a:lnTo>
                <a:lnTo>
                  <a:pt x="762" y="3817"/>
                </a:lnTo>
                <a:lnTo>
                  <a:pt x="764" y="3809"/>
                </a:lnTo>
                <a:lnTo>
                  <a:pt x="764" y="3802"/>
                </a:lnTo>
                <a:lnTo>
                  <a:pt x="763" y="3794"/>
                </a:lnTo>
                <a:lnTo>
                  <a:pt x="761" y="3786"/>
                </a:lnTo>
                <a:lnTo>
                  <a:pt x="760" y="3783"/>
                </a:lnTo>
                <a:lnTo>
                  <a:pt x="758" y="3780"/>
                </a:lnTo>
                <a:lnTo>
                  <a:pt x="756" y="3777"/>
                </a:lnTo>
                <a:lnTo>
                  <a:pt x="753" y="3775"/>
                </a:lnTo>
                <a:lnTo>
                  <a:pt x="747" y="3771"/>
                </a:lnTo>
                <a:lnTo>
                  <a:pt x="743" y="3769"/>
                </a:lnTo>
                <a:lnTo>
                  <a:pt x="740" y="3767"/>
                </a:lnTo>
                <a:lnTo>
                  <a:pt x="732" y="3766"/>
                </a:lnTo>
                <a:lnTo>
                  <a:pt x="728" y="3765"/>
                </a:lnTo>
                <a:lnTo>
                  <a:pt x="723" y="3765"/>
                </a:lnTo>
                <a:lnTo>
                  <a:pt x="714" y="3766"/>
                </a:lnTo>
                <a:lnTo>
                  <a:pt x="710" y="3766"/>
                </a:lnTo>
                <a:lnTo>
                  <a:pt x="705" y="3768"/>
                </a:lnTo>
                <a:lnTo>
                  <a:pt x="701" y="3769"/>
                </a:lnTo>
                <a:lnTo>
                  <a:pt x="696" y="3771"/>
                </a:lnTo>
                <a:lnTo>
                  <a:pt x="692" y="3773"/>
                </a:lnTo>
                <a:lnTo>
                  <a:pt x="687" y="3776"/>
                </a:lnTo>
                <a:lnTo>
                  <a:pt x="682" y="3779"/>
                </a:lnTo>
                <a:lnTo>
                  <a:pt x="678" y="3782"/>
                </a:lnTo>
                <a:lnTo>
                  <a:pt x="670" y="3789"/>
                </a:lnTo>
                <a:lnTo>
                  <a:pt x="662" y="3797"/>
                </a:lnTo>
                <a:lnTo>
                  <a:pt x="655" y="3806"/>
                </a:lnTo>
                <a:lnTo>
                  <a:pt x="651" y="3812"/>
                </a:lnTo>
                <a:lnTo>
                  <a:pt x="648" y="3817"/>
                </a:lnTo>
                <a:lnTo>
                  <a:pt x="642" y="3828"/>
                </a:lnTo>
                <a:lnTo>
                  <a:pt x="636" y="3839"/>
                </a:lnTo>
                <a:lnTo>
                  <a:pt x="631" y="3851"/>
                </a:lnTo>
                <a:lnTo>
                  <a:pt x="626" y="3864"/>
                </a:lnTo>
                <a:lnTo>
                  <a:pt x="624" y="3879"/>
                </a:lnTo>
                <a:lnTo>
                  <a:pt x="622" y="3892"/>
                </a:lnTo>
                <a:lnTo>
                  <a:pt x="621" y="3899"/>
                </a:lnTo>
                <a:lnTo>
                  <a:pt x="621" y="3906"/>
                </a:lnTo>
                <a:lnTo>
                  <a:pt x="622" y="3919"/>
                </a:lnTo>
                <a:lnTo>
                  <a:pt x="623" y="3932"/>
                </a:lnTo>
                <a:lnTo>
                  <a:pt x="625" y="3944"/>
                </a:lnTo>
                <a:lnTo>
                  <a:pt x="627" y="3950"/>
                </a:lnTo>
                <a:lnTo>
                  <a:pt x="628" y="3955"/>
                </a:lnTo>
                <a:lnTo>
                  <a:pt x="633" y="3965"/>
                </a:lnTo>
                <a:lnTo>
                  <a:pt x="635" y="3970"/>
                </a:lnTo>
                <a:lnTo>
                  <a:pt x="637" y="3975"/>
                </a:lnTo>
                <a:lnTo>
                  <a:pt x="640" y="3980"/>
                </a:lnTo>
                <a:lnTo>
                  <a:pt x="642" y="3984"/>
                </a:lnTo>
                <a:lnTo>
                  <a:pt x="645" y="3989"/>
                </a:lnTo>
                <a:lnTo>
                  <a:pt x="648" y="3994"/>
                </a:lnTo>
                <a:lnTo>
                  <a:pt x="652" y="3997"/>
                </a:lnTo>
                <a:lnTo>
                  <a:pt x="655" y="4001"/>
                </a:lnTo>
                <a:lnTo>
                  <a:pt x="662" y="4008"/>
                </a:lnTo>
                <a:lnTo>
                  <a:pt x="670" y="4013"/>
                </a:lnTo>
                <a:lnTo>
                  <a:pt x="679" y="4018"/>
                </a:lnTo>
                <a:lnTo>
                  <a:pt x="688" y="4022"/>
                </a:lnTo>
                <a:lnTo>
                  <a:pt x="698" y="4025"/>
                </a:lnTo>
                <a:lnTo>
                  <a:pt x="708" y="4026"/>
                </a:lnTo>
                <a:lnTo>
                  <a:pt x="714" y="4027"/>
                </a:lnTo>
                <a:lnTo>
                  <a:pt x="719" y="4027"/>
                </a:lnTo>
                <a:lnTo>
                  <a:pt x="730" y="4027"/>
                </a:lnTo>
                <a:lnTo>
                  <a:pt x="740" y="4025"/>
                </a:lnTo>
                <a:lnTo>
                  <a:pt x="751" y="4023"/>
                </a:lnTo>
                <a:lnTo>
                  <a:pt x="760" y="4019"/>
                </a:lnTo>
                <a:lnTo>
                  <a:pt x="770" y="4015"/>
                </a:lnTo>
                <a:lnTo>
                  <a:pt x="779" y="4010"/>
                </a:lnTo>
                <a:lnTo>
                  <a:pt x="787" y="4004"/>
                </a:lnTo>
                <a:lnTo>
                  <a:pt x="795" y="3998"/>
                </a:lnTo>
                <a:lnTo>
                  <a:pt x="803" y="3989"/>
                </a:lnTo>
                <a:lnTo>
                  <a:pt x="812" y="3981"/>
                </a:lnTo>
                <a:lnTo>
                  <a:pt x="819" y="3973"/>
                </a:lnTo>
                <a:lnTo>
                  <a:pt x="826" y="3964"/>
                </a:lnTo>
                <a:lnTo>
                  <a:pt x="839" y="3945"/>
                </a:lnTo>
                <a:lnTo>
                  <a:pt x="845" y="3934"/>
                </a:lnTo>
                <a:lnTo>
                  <a:pt x="851" y="3922"/>
                </a:lnTo>
                <a:lnTo>
                  <a:pt x="856" y="3911"/>
                </a:lnTo>
                <a:lnTo>
                  <a:pt x="861" y="3900"/>
                </a:lnTo>
                <a:lnTo>
                  <a:pt x="865" y="3889"/>
                </a:lnTo>
                <a:lnTo>
                  <a:pt x="869" y="3877"/>
                </a:lnTo>
                <a:lnTo>
                  <a:pt x="874" y="3864"/>
                </a:lnTo>
                <a:lnTo>
                  <a:pt x="877" y="3852"/>
                </a:lnTo>
                <a:lnTo>
                  <a:pt x="880" y="3840"/>
                </a:lnTo>
                <a:lnTo>
                  <a:pt x="883" y="3828"/>
                </a:lnTo>
                <a:lnTo>
                  <a:pt x="885" y="3816"/>
                </a:lnTo>
                <a:lnTo>
                  <a:pt x="887" y="3803"/>
                </a:lnTo>
                <a:lnTo>
                  <a:pt x="889" y="3791"/>
                </a:lnTo>
                <a:lnTo>
                  <a:pt x="890" y="3780"/>
                </a:lnTo>
                <a:lnTo>
                  <a:pt x="890" y="3768"/>
                </a:lnTo>
                <a:lnTo>
                  <a:pt x="891" y="3757"/>
                </a:lnTo>
                <a:lnTo>
                  <a:pt x="891" y="3746"/>
                </a:lnTo>
                <a:lnTo>
                  <a:pt x="890" y="3735"/>
                </a:lnTo>
                <a:lnTo>
                  <a:pt x="891" y="3733"/>
                </a:lnTo>
                <a:lnTo>
                  <a:pt x="893" y="3731"/>
                </a:lnTo>
                <a:lnTo>
                  <a:pt x="895" y="3729"/>
                </a:lnTo>
                <a:lnTo>
                  <a:pt x="898" y="3727"/>
                </a:lnTo>
                <a:lnTo>
                  <a:pt x="904" y="3724"/>
                </a:lnTo>
                <a:lnTo>
                  <a:pt x="908" y="3723"/>
                </a:lnTo>
                <a:lnTo>
                  <a:pt x="912" y="3723"/>
                </a:lnTo>
                <a:lnTo>
                  <a:pt x="920" y="3724"/>
                </a:lnTo>
                <a:lnTo>
                  <a:pt x="923" y="3724"/>
                </a:lnTo>
                <a:lnTo>
                  <a:pt x="926" y="3725"/>
                </a:lnTo>
                <a:lnTo>
                  <a:pt x="933" y="3728"/>
                </a:lnTo>
                <a:lnTo>
                  <a:pt x="935" y="3730"/>
                </a:lnTo>
                <a:lnTo>
                  <a:pt x="938" y="3732"/>
                </a:lnTo>
                <a:lnTo>
                  <a:pt x="942" y="3738"/>
                </a:lnTo>
                <a:lnTo>
                  <a:pt x="943" y="3741"/>
                </a:lnTo>
                <a:lnTo>
                  <a:pt x="945" y="3745"/>
                </a:lnTo>
                <a:lnTo>
                  <a:pt x="946" y="3750"/>
                </a:lnTo>
                <a:lnTo>
                  <a:pt x="947" y="3756"/>
                </a:lnTo>
                <a:lnTo>
                  <a:pt x="947" y="3761"/>
                </a:lnTo>
                <a:lnTo>
                  <a:pt x="947" y="3767"/>
                </a:lnTo>
                <a:lnTo>
                  <a:pt x="947" y="3782"/>
                </a:lnTo>
                <a:lnTo>
                  <a:pt x="946" y="3798"/>
                </a:lnTo>
                <a:lnTo>
                  <a:pt x="944" y="3814"/>
                </a:lnTo>
                <a:lnTo>
                  <a:pt x="942" y="3829"/>
                </a:lnTo>
                <a:lnTo>
                  <a:pt x="940" y="3844"/>
                </a:lnTo>
                <a:lnTo>
                  <a:pt x="937" y="3859"/>
                </a:lnTo>
                <a:lnTo>
                  <a:pt x="933" y="3874"/>
                </a:lnTo>
                <a:lnTo>
                  <a:pt x="928" y="3888"/>
                </a:lnTo>
                <a:lnTo>
                  <a:pt x="924" y="3902"/>
                </a:lnTo>
                <a:lnTo>
                  <a:pt x="919" y="3916"/>
                </a:lnTo>
                <a:lnTo>
                  <a:pt x="914" y="3929"/>
                </a:lnTo>
                <a:lnTo>
                  <a:pt x="908" y="3943"/>
                </a:lnTo>
                <a:lnTo>
                  <a:pt x="902" y="3955"/>
                </a:lnTo>
                <a:lnTo>
                  <a:pt x="896" y="3967"/>
                </a:lnTo>
                <a:lnTo>
                  <a:pt x="889" y="3979"/>
                </a:lnTo>
                <a:lnTo>
                  <a:pt x="881" y="3990"/>
                </a:lnTo>
                <a:lnTo>
                  <a:pt x="874" y="4002"/>
                </a:lnTo>
                <a:lnTo>
                  <a:pt x="865" y="4012"/>
                </a:lnTo>
                <a:lnTo>
                  <a:pt x="856" y="4021"/>
                </a:lnTo>
                <a:lnTo>
                  <a:pt x="848" y="4030"/>
                </a:lnTo>
                <a:lnTo>
                  <a:pt x="839" y="4039"/>
                </a:lnTo>
                <a:lnTo>
                  <a:pt x="829" y="4047"/>
                </a:lnTo>
                <a:lnTo>
                  <a:pt x="819" y="4055"/>
                </a:lnTo>
                <a:lnTo>
                  <a:pt x="808" y="4061"/>
                </a:lnTo>
                <a:lnTo>
                  <a:pt x="798" y="4067"/>
                </a:lnTo>
                <a:lnTo>
                  <a:pt x="787" y="4072"/>
                </a:lnTo>
                <a:lnTo>
                  <a:pt x="777" y="4077"/>
                </a:lnTo>
                <a:lnTo>
                  <a:pt x="765" y="4081"/>
                </a:lnTo>
                <a:lnTo>
                  <a:pt x="754" y="4084"/>
                </a:lnTo>
                <a:lnTo>
                  <a:pt x="741" y="4086"/>
                </a:lnTo>
                <a:lnTo>
                  <a:pt x="729" y="4087"/>
                </a:lnTo>
                <a:lnTo>
                  <a:pt x="717" y="4087"/>
                </a:lnTo>
                <a:close/>
                <a:moveTo>
                  <a:pt x="1104" y="4082"/>
                </a:moveTo>
                <a:lnTo>
                  <a:pt x="1102" y="4081"/>
                </a:lnTo>
                <a:lnTo>
                  <a:pt x="1100" y="4081"/>
                </a:lnTo>
                <a:lnTo>
                  <a:pt x="1095" y="4078"/>
                </a:lnTo>
                <a:lnTo>
                  <a:pt x="1088" y="4074"/>
                </a:lnTo>
                <a:lnTo>
                  <a:pt x="1081" y="4068"/>
                </a:lnTo>
                <a:lnTo>
                  <a:pt x="1068" y="4057"/>
                </a:lnTo>
                <a:lnTo>
                  <a:pt x="1053" y="4042"/>
                </a:lnTo>
                <a:lnTo>
                  <a:pt x="1036" y="4027"/>
                </a:lnTo>
                <a:lnTo>
                  <a:pt x="1019" y="4010"/>
                </a:lnTo>
                <a:lnTo>
                  <a:pt x="1003" y="3993"/>
                </a:lnTo>
                <a:lnTo>
                  <a:pt x="988" y="3975"/>
                </a:lnTo>
                <a:lnTo>
                  <a:pt x="977" y="3961"/>
                </a:lnTo>
                <a:lnTo>
                  <a:pt x="972" y="3955"/>
                </a:lnTo>
                <a:lnTo>
                  <a:pt x="969" y="3950"/>
                </a:lnTo>
                <a:lnTo>
                  <a:pt x="964" y="3939"/>
                </a:lnTo>
                <a:lnTo>
                  <a:pt x="960" y="3929"/>
                </a:lnTo>
                <a:lnTo>
                  <a:pt x="958" y="3919"/>
                </a:lnTo>
                <a:lnTo>
                  <a:pt x="957" y="3909"/>
                </a:lnTo>
                <a:lnTo>
                  <a:pt x="957" y="3903"/>
                </a:lnTo>
                <a:lnTo>
                  <a:pt x="958" y="3898"/>
                </a:lnTo>
                <a:lnTo>
                  <a:pt x="959" y="3892"/>
                </a:lnTo>
                <a:lnTo>
                  <a:pt x="961" y="3886"/>
                </a:lnTo>
                <a:lnTo>
                  <a:pt x="964" y="3880"/>
                </a:lnTo>
                <a:lnTo>
                  <a:pt x="967" y="3873"/>
                </a:lnTo>
                <a:lnTo>
                  <a:pt x="971" y="3866"/>
                </a:lnTo>
                <a:lnTo>
                  <a:pt x="975" y="3859"/>
                </a:lnTo>
                <a:lnTo>
                  <a:pt x="984" y="3848"/>
                </a:lnTo>
                <a:lnTo>
                  <a:pt x="996" y="3834"/>
                </a:lnTo>
                <a:lnTo>
                  <a:pt x="1026" y="3800"/>
                </a:lnTo>
                <a:lnTo>
                  <a:pt x="1061" y="3761"/>
                </a:lnTo>
                <a:lnTo>
                  <a:pt x="1096" y="3719"/>
                </a:lnTo>
                <a:lnTo>
                  <a:pt x="1097" y="3719"/>
                </a:lnTo>
                <a:lnTo>
                  <a:pt x="1101" y="3719"/>
                </a:lnTo>
                <a:lnTo>
                  <a:pt x="1104" y="3719"/>
                </a:lnTo>
                <a:lnTo>
                  <a:pt x="1108" y="3720"/>
                </a:lnTo>
                <a:lnTo>
                  <a:pt x="1114" y="3722"/>
                </a:lnTo>
                <a:lnTo>
                  <a:pt x="1118" y="3724"/>
                </a:lnTo>
                <a:lnTo>
                  <a:pt x="1122" y="3728"/>
                </a:lnTo>
                <a:lnTo>
                  <a:pt x="1126" y="3731"/>
                </a:lnTo>
                <a:lnTo>
                  <a:pt x="1130" y="3735"/>
                </a:lnTo>
                <a:lnTo>
                  <a:pt x="1132" y="3740"/>
                </a:lnTo>
                <a:lnTo>
                  <a:pt x="1134" y="3745"/>
                </a:lnTo>
                <a:lnTo>
                  <a:pt x="1134" y="3750"/>
                </a:lnTo>
                <a:lnTo>
                  <a:pt x="1134" y="3756"/>
                </a:lnTo>
                <a:lnTo>
                  <a:pt x="1132" y="3762"/>
                </a:lnTo>
                <a:lnTo>
                  <a:pt x="1129" y="3767"/>
                </a:lnTo>
                <a:lnTo>
                  <a:pt x="1125" y="3773"/>
                </a:lnTo>
                <a:lnTo>
                  <a:pt x="1117" y="3783"/>
                </a:lnTo>
                <a:lnTo>
                  <a:pt x="1105" y="3797"/>
                </a:lnTo>
                <a:lnTo>
                  <a:pt x="1076" y="3831"/>
                </a:lnTo>
                <a:lnTo>
                  <a:pt x="1045" y="3864"/>
                </a:lnTo>
                <a:lnTo>
                  <a:pt x="1033" y="3880"/>
                </a:lnTo>
                <a:lnTo>
                  <a:pt x="1024" y="3891"/>
                </a:lnTo>
                <a:lnTo>
                  <a:pt x="1021" y="3895"/>
                </a:lnTo>
                <a:lnTo>
                  <a:pt x="1019" y="3899"/>
                </a:lnTo>
                <a:lnTo>
                  <a:pt x="1018" y="3902"/>
                </a:lnTo>
                <a:lnTo>
                  <a:pt x="1018" y="3906"/>
                </a:lnTo>
                <a:lnTo>
                  <a:pt x="1018" y="3910"/>
                </a:lnTo>
                <a:lnTo>
                  <a:pt x="1020" y="3915"/>
                </a:lnTo>
                <a:lnTo>
                  <a:pt x="1022" y="3919"/>
                </a:lnTo>
                <a:lnTo>
                  <a:pt x="1025" y="3924"/>
                </a:lnTo>
                <a:lnTo>
                  <a:pt x="1032" y="3934"/>
                </a:lnTo>
                <a:lnTo>
                  <a:pt x="1043" y="3945"/>
                </a:lnTo>
                <a:lnTo>
                  <a:pt x="1071" y="3975"/>
                </a:lnTo>
                <a:lnTo>
                  <a:pt x="1103" y="4008"/>
                </a:lnTo>
                <a:lnTo>
                  <a:pt x="1135" y="4038"/>
                </a:lnTo>
                <a:lnTo>
                  <a:pt x="1137" y="4040"/>
                </a:lnTo>
                <a:lnTo>
                  <a:pt x="1138" y="4042"/>
                </a:lnTo>
                <a:lnTo>
                  <a:pt x="1139" y="4044"/>
                </a:lnTo>
                <a:lnTo>
                  <a:pt x="1139" y="4047"/>
                </a:lnTo>
                <a:lnTo>
                  <a:pt x="1139" y="4053"/>
                </a:lnTo>
                <a:lnTo>
                  <a:pt x="1138" y="4056"/>
                </a:lnTo>
                <a:lnTo>
                  <a:pt x="1136" y="4059"/>
                </a:lnTo>
                <a:lnTo>
                  <a:pt x="1133" y="4065"/>
                </a:lnTo>
                <a:lnTo>
                  <a:pt x="1130" y="4067"/>
                </a:lnTo>
                <a:lnTo>
                  <a:pt x="1128" y="4070"/>
                </a:lnTo>
                <a:lnTo>
                  <a:pt x="1123" y="4075"/>
                </a:lnTo>
                <a:lnTo>
                  <a:pt x="1120" y="4077"/>
                </a:lnTo>
                <a:lnTo>
                  <a:pt x="1117" y="4078"/>
                </a:lnTo>
                <a:lnTo>
                  <a:pt x="1111" y="4081"/>
                </a:lnTo>
                <a:lnTo>
                  <a:pt x="1107" y="4081"/>
                </a:lnTo>
                <a:lnTo>
                  <a:pt x="1104" y="4082"/>
                </a:lnTo>
                <a:close/>
                <a:moveTo>
                  <a:pt x="4547" y="4087"/>
                </a:moveTo>
                <a:lnTo>
                  <a:pt x="4539" y="4087"/>
                </a:lnTo>
                <a:lnTo>
                  <a:pt x="4532" y="4086"/>
                </a:lnTo>
                <a:lnTo>
                  <a:pt x="4523" y="4085"/>
                </a:lnTo>
                <a:lnTo>
                  <a:pt x="4516" y="4084"/>
                </a:lnTo>
                <a:lnTo>
                  <a:pt x="4509" y="4082"/>
                </a:lnTo>
                <a:lnTo>
                  <a:pt x="4502" y="4080"/>
                </a:lnTo>
                <a:lnTo>
                  <a:pt x="4488" y="4074"/>
                </a:lnTo>
                <a:lnTo>
                  <a:pt x="4475" y="4066"/>
                </a:lnTo>
                <a:lnTo>
                  <a:pt x="4468" y="4062"/>
                </a:lnTo>
                <a:lnTo>
                  <a:pt x="4462" y="4058"/>
                </a:lnTo>
                <a:lnTo>
                  <a:pt x="4456" y="4053"/>
                </a:lnTo>
                <a:lnTo>
                  <a:pt x="4450" y="4047"/>
                </a:lnTo>
                <a:lnTo>
                  <a:pt x="4445" y="4041"/>
                </a:lnTo>
                <a:lnTo>
                  <a:pt x="4439" y="4035"/>
                </a:lnTo>
                <a:lnTo>
                  <a:pt x="4434" y="4029"/>
                </a:lnTo>
                <a:lnTo>
                  <a:pt x="4430" y="4023"/>
                </a:lnTo>
                <a:lnTo>
                  <a:pt x="4425" y="4016"/>
                </a:lnTo>
                <a:lnTo>
                  <a:pt x="4421" y="4010"/>
                </a:lnTo>
                <a:lnTo>
                  <a:pt x="4417" y="4003"/>
                </a:lnTo>
                <a:lnTo>
                  <a:pt x="4414" y="3995"/>
                </a:lnTo>
                <a:lnTo>
                  <a:pt x="4409" y="3987"/>
                </a:lnTo>
                <a:lnTo>
                  <a:pt x="4406" y="3979"/>
                </a:lnTo>
                <a:lnTo>
                  <a:pt x="4404" y="3971"/>
                </a:lnTo>
                <a:lnTo>
                  <a:pt x="4401" y="3963"/>
                </a:lnTo>
                <a:lnTo>
                  <a:pt x="4399" y="3954"/>
                </a:lnTo>
                <a:lnTo>
                  <a:pt x="4398" y="3946"/>
                </a:lnTo>
                <a:lnTo>
                  <a:pt x="4396" y="3937"/>
                </a:lnTo>
                <a:lnTo>
                  <a:pt x="4395" y="3927"/>
                </a:lnTo>
                <a:lnTo>
                  <a:pt x="4395" y="3918"/>
                </a:lnTo>
                <a:lnTo>
                  <a:pt x="4395" y="3909"/>
                </a:lnTo>
                <a:lnTo>
                  <a:pt x="4395" y="3890"/>
                </a:lnTo>
                <a:lnTo>
                  <a:pt x="4396" y="3881"/>
                </a:lnTo>
                <a:lnTo>
                  <a:pt x="4398" y="3872"/>
                </a:lnTo>
                <a:lnTo>
                  <a:pt x="4400" y="3862"/>
                </a:lnTo>
                <a:lnTo>
                  <a:pt x="4402" y="3853"/>
                </a:lnTo>
                <a:lnTo>
                  <a:pt x="4404" y="3844"/>
                </a:lnTo>
                <a:lnTo>
                  <a:pt x="4407" y="3836"/>
                </a:lnTo>
                <a:lnTo>
                  <a:pt x="4411" y="3827"/>
                </a:lnTo>
                <a:lnTo>
                  <a:pt x="4415" y="3819"/>
                </a:lnTo>
                <a:lnTo>
                  <a:pt x="4418" y="3810"/>
                </a:lnTo>
                <a:lnTo>
                  <a:pt x="4423" y="3802"/>
                </a:lnTo>
                <a:lnTo>
                  <a:pt x="4427" y="3795"/>
                </a:lnTo>
                <a:lnTo>
                  <a:pt x="4432" y="3787"/>
                </a:lnTo>
                <a:lnTo>
                  <a:pt x="4442" y="3774"/>
                </a:lnTo>
                <a:lnTo>
                  <a:pt x="4447" y="3767"/>
                </a:lnTo>
                <a:lnTo>
                  <a:pt x="4453" y="3761"/>
                </a:lnTo>
                <a:lnTo>
                  <a:pt x="4465" y="3748"/>
                </a:lnTo>
                <a:lnTo>
                  <a:pt x="4473" y="3743"/>
                </a:lnTo>
                <a:lnTo>
                  <a:pt x="4479" y="3738"/>
                </a:lnTo>
                <a:lnTo>
                  <a:pt x="4486" y="3734"/>
                </a:lnTo>
                <a:lnTo>
                  <a:pt x="4493" y="3730"/>
                </a:lnTo>
                <a:lnTo>
                  <a:pt x="4501" y="3726"/>
                </a:lnTo>
                <a:lnTo>
                  <a:pt x="4508" y="3723"/>
                </a:lnTo>
                <a:lnTo>
                  <a:pt x="4516" y="3721"/>
                </a:lnTo>
                <a:lnTo>
                  <a:pt x="4523" y="3718"/>
                </a:lnTo>
                <a:lnTo>
                  <a:pt x="4532" y="3716"/>
                </a:lnTo>
                <a:lnTo>
                  <a:pt x="4540" y="3715"/>
                </a:lnTo>
                <a:lnTo>
                  <a:pt x="4548" y="3714"/>
                </a:lnTo>
                <a:lnTo>
                  <a:pt x="4557" y="3714"/>
                </a:lnTo>
                <a:lnTo>
                  <a:pt x="4567" y="3715"/>
                </a:lnTo>
                <a:lnTo>
                  <a:pt x="4572" y="3715"/>
                </a:lnTo>
                <a:lnTo>
                  <a:pt x="4576" y="3716"/>
                </a:lnTo>
                <a:lnTo>
                  <a:pt x="4581" y="3717"/>
                </a:lnTo>
                <a:lnTo>
                  <a:pt x="4586" y="3718"/>
                </a:lnTo>
                <a:lnTo>
                  <a:pt x="4595" y="3721"/>
                </a:lnTo>
                <a:lnTo>
                  <a:pt x="4603" y="3725"/>
                </a:lnTo>
                <a:lnTo>
                  <a:pt x="4610" y="3730"/>
                </a:lnTo>
                <a:lnTo>
                  <a:pt x="4617" y="3735"/>
                </a:lnTo>
                <a:lnTo>
                  <a:pt x="4623" y="3741"/>
                </a:lnTo>
                <a:lnTo>
                  <a:pt x="4626" y="3744"/>
                </a:lnTo>
                <a:lnTo>
                  <a:pt x="4628" y="3748"/>
                </a:lnTo>
                <a:lnTo>
                  <a:pt x="4633" y="3756"/>
                </a:lnTo>
                <a:lnTo>
                  <a:pt x="4637" y="3764"/>
                </a:lnTo>
                <a:lnTo>
                  <a:pt x="4640" y="3772"/>
                </a:lnTo>
                <a:lnTo>
                  <a:pt x="4643" y="3781"/>
                </a:lnTo>
                <a:lnTo>
                  <a:pt x="4645" y="3790"/>
                </a:lnTo>
                <a:lnTo>
                  <a:pt x="4646" y="3800"/>
                </a:lnTo>
                <a:lnTo>
                  <a:pt x="4646" y="3809"/>
                </a:lnTo>
                <a:lnTo>
                  <a:pt x="4646" y="3823"/>
                </a:lnTo>
                <a:lnTo>
                  <a:pt x="4645" y="3829"/>
                </a:lnTo>
                <a:lnTo>
                  <a:pt x="4643" y="3835"/>
                </a:lnTo>
                <a:lnTo>
                  <a:pt x="4640" y="3847"/>
                </a:lnTo>
                <a:lnTo>
                  <a:pt x="4635" y="3859"/>
                </a:lnTo>
                <a:lnTo>
                  <a:pt x="4628" y="3870"/>
                </a:lnTo>
                <a:lnTo>
                  <a:pt x="4621" y="3881"/>
                </a:lnTo>
                <a:lnTo>
                  <a:pt x="4617" y="3887"/>
                </a:lnTo>
                <a:lnTo>
                  <a:pt x="4613" y="3891"/>
                </a:lnTo>
                <a:lnTo>
                  <a:pt x="4604" y="3901"/>
                </a:lnTo>
                <a:lnTo>
                  <a:pt x="4594" y="3909"/>
                </a:lnTo>
                <a:lnTo>
                  <a:pt x="4587" y="3913"/>
                </a:lnTo>
                <a:lnTo>
                  <a:pt x="4582" y="3917"/>
                </a:lnTo>
                <a:lnTo>
                  <a:pt x="4571" y="3923"/>
                </a:lnTo>
                <a:lnTo>
                  <a:pt x="4559" y="3929"/>
                </a:lnTo>
                <a:lnTo>
                  <a:pt x="4547" y="3935"/>
                </a:lnTo>
                <a:lnTo>
                  <a:pt x="4541" y="3936"/>
                </a:lnTo>
                <a:lnTo>
                  <a:pt x="4535" y="3938"/>
                </a:lnTo>
                <a:lnTo>
                  <a:pt x="4527" y="3939"/>
                </a:lnTo>
                <a:lnTo>
                  <a:pt x="4521" y="3940"/>
                </a:lnTo>
                <a:lnTo>
                  <a:pt x="4508" y="3941"/>
                </a:lnTo>
                <a:lnTo>
                  <a:pt x="4503" y="3940"/>
                </a:lnTo>
                <a:lnTo>
                  <a:pt x="4498" y="3938"/>
                </a:lnTo>
                <a:lnTo>
                  <a:pt x="4494" y="3935"/>
                </a:lnTo>
                <a:lnTo>
                  <a:pt x="4492" y="3933"/>
                </a:lnTo>
                <a:lnTo>
                  <a:pt x="4490" y="3930"/>
                </a:lnTo>
                <a:lnTo>
                  <a:pt x="4487" y="3926"/>
                </a:lnTo>
                <a:lnTo>
                  <a:pt x="4484" y="3921"/>
                </a:lnTo>
                <a:lnTo>
                  <a:pt x="4483" y="3918"/>
                </a:lnTo>
                <a:lnTo>
                  <a:pt x="4483" y="3915"/>
                </a:lnTo>
                <a:lnTo>
                  <a:pt x="4482" y="3908"/>
                </a:lnTo>
                <a:lnTo>
                  <a:pt x="4482" y="3906"/>
                </a:lnTo>
                <a:lnTo>
                  <a:pt x="4483" y="3903"/>
                </a:lnTo>
                <a:lnTo>
                  <a:pt x="4484" y="3898"/>
                </a:lnTo>
                <a:lnTo>
                  <a:pt x="4485" y="3896"/>
                </a:lnTo>
                <a:lnTo>
                  <a:pt x="4486" y="3894"/>
                </a:lnTo>
                <a:lnTo>
                  <a:pt x="4487" y="3892"/>
                </a:lnTo>
                <a:lnTo>
                  <a:pt x="4489" y="3891"/>
                </a:lnTo>
                <a:lnTo>
                  <a:pt x="4500" y="3889"/>
                </a:lnTo>
                <a:lnTo>
                  <a:pt x="4511" y="3887"/>
                </a:lnTo>
                <a:lnTo>
                  <a:pt x="4521" y="3883"/>
                </a:lnTo>
                <a:lnTo>
                  <a:pt x="4531" y="3879"/>
                </a:lnTo>
                <a:lnTo>
                  <a:pt x="4540" y="3875"/>
                </a:lnTo>
                <a:lnTo>
                  <a:pt x="4549" y="3869"/>
                </a:lnTo>
                <a:lnTo>
                  <a:pt x="4557" y="3863"/>
                </a:lnTo>
                <a:lnTo>
                  <a:pt x="4560" y="3860"/>
                </a:lnTo>
                <a:lnTo>
                  <a:pt x="4564" y="3857"/>
                </a:lnTo>
                <a:lnTo>
                  <a:pt x="4570" y="3851"/>
                </a:lnTo>
                <a:lnTo>
                  <a:pt x="4576" y="3845"/>
                </a:lnTo>
                <a:lnTo>
                  <a:pt x="4581" y="3838"/>
                </a:lnTo>
                <a:lnTo>
                  <a:pt x="4585" y="3831"/>
                </a:lnTo>
                <a:lnTo>
                  <a:pt x="4589" y="3824"/>
                </a:lnTo>
                <a:lnTo>
                  <a:pt x="4592" y="3817"/>
                </a:lnTo>
                <a:lnTo>
                  <a:pt x="4594" y="3809"/>
                </a:lnTo>
                <a:lnTo>
                  <a:pt x="4594" y="3802"/>
                </a:lnTo>
                <a:lnTo>
                  <a:pt x="4593" y="3794"/>
                </a:lnTo>
                <a:lnTo>
                  <a:pt x="4591" y="3786"/>
                </a:lnTo>
                <a:lnTo>
                  <a:pt x="4589" y="3783"/>
                </a:lnTo>
                <a:lnTo>
                  <a:pt x="4587" y="3780"/>
                </a:lnTo>
                <a:lnTo>
                  <a:pt x="4585" y="3777"/>
                </a:lnTo>
                <a:lnTo>
                  <a:pt x="4582" y="3775"/>
                </a:lnTo>
                <a:lnTo>
                  <a:pt x="4577" y="3771"/>
                </a:lnTo>
                <a:lnTo>
                  <a:pt x="4573" y="3769"/>
                </a:lnTo>
                <a:lnTo>
                  <a:pt x="4570" y="3767"/>
                </a:lnTo>
                <a:lnTo>
                  <a:pt x="4562" y="3766"/>
                </a:lnTo>
                <a:lnTo>
                  <a:pt x="4557" y="3765"/>
                </a:lnTo>
                <a:lnTo>
                  <a:pt x="4553" y="3765"/>
                </a:lnTo>
                <a:lnTo>
                  <a:pt x="4544" y="3766"/>
                </a:lnTo>
                <a:lnTo>
                  <a:pt x="4540" y="3766"/>
                </a:lnTo>
                <a:lnTo>
                  <a:pt x="4535" y="3768"/>
                </a:lnTo>
                <a:lnTo>
                  <a:pt x="4531" y="3769"/>
                </a:lnTo>
                <a:lnTo>
                  <a:pt x="4525" y="3771"/>
                </a:lnTo>
                <a:lnTo>
                  <a:pt x="4521" y="3773"/>
                </a:lnTo>
                <a:lnTo>
                  <a:pt x="4517" y="3776"/>
                </a:lnTo>
                <a:lnTo>
                  <a:pt x="4512" y="3779"/>
                </a:lnTo>
                <a:lnTo>
                  <a:pt x="4508" y="3782"/>
                </a:lnTo>
                <a:lnTo>
                  <a:pt x="4500" y="3789"/>
                </a:lnTo>
                <a:lnTo>
                  <a:pt x="4492" y="3797"/>
                </a:lnTo>
                <a:lnTo>
                  <a:pt x="4485" y="3806"/>
                </a:lnTo>
                <a:lnTo>
                  <a:pt x="4481" y="3812"/>
                </a:lnTo>
                <a:lnTo>
                  <a:pt x="4478" y="3817"/>
                </a:lnTo>
                <a:lnTo>
                  <a:pt x="4471" y="3828"/>
                </a:lnTo>
                <a:lnTo>
                  <a:pt x="4465" y="3839"/>
                </a:lnTo>
                <a:lnTo>
                  <a:pt x="4460" y="3851"/>
                </a:lnTo>
                <a:lnTo>
                  <a:pt x="4456" y="3864"/>
                </a:lnTo>
                <a:lnTo>
                  <a:pt x="4454" y="3879"/>
                </a:lnTo>
                <a:lnTo>
                  <a:pt x="4452" y="3892"/>
                </a:lnTo>
                <a:lnTo>
                  <a:pt x="4451" y="3899"/>
                </a:lnTo>
                <a:lnTo>
                  <a:pt x="4451" y="3906"/>
                </a:lnTo>
                <a:lnTo>
                  <a:pt x="4452" y="3919"/>
                </a:lnTo>
                <a:lnTo>
                  <a:pt x="4453" y="3932"/>
                </a:lnTo>
                <a:lnTo>
                  <a:pt x="4455" y="3944"/>
                </a:lnTo>
                <a:lnTo>
                  <a:pt x="4456" y="3950"/>
                </a:lnTo>
                <a:lnTo>
                  <a:pt x="4458" y="3955"/>
                </a:lnTo>
                <a:lnTo>
                  <a:pt x="4462" y="3965"/>
                </a:lnTo>
                <a:lnTo>
                  <a:pt x="4464" y="3970"/>
                </a:lnTo>
                <a:lnTo>
                  <a:pt x="4466" y="3975"/>
                </a:lnTo>
                <a:lnTo>
                  <a:pt x="4469" y="3980"/>
                </a:lnTo>
                <a:lnTo>
                  <a:pt x="4472" y="3984"/>
                </a:lnTo>
                <a:lnTo>
                  <a:pt x="4475" y="3989"/>
                </a:lnTo>
                <a:lnTo>
                  <a:pt x="4478" y="3994"/>
                </a:lnTo>
                <a:lnTo>
                  <a:pt x="4482" y="3997"/>
                </a:lnTo>
                <a:lnTo>
                  <a:pt x="4485" y="4001"/>
                </a:lnTo>
                <a:lnTo>
                  <a:pt x="4492" y="4008"/>
                </a:lnTo>
                <a:lnTo>
                  <a:pt x="4500" y="4013"/>
                </a:lnTo>
                <a:lnTo>
                  <a:pt x="4509" y="4018"/>
                </a:lnTo>
                <a:lnTo>
                  <a:pt x="4518" y="4022"/>
                </a:lnTo>
                <a:lnTo>
                  <a:pt x="4527" y="4025"/>
                </a:lnTo>
                <a:lnTo>
                  <a:pt x="4538" y="4026"/>
                </a:lnTo>
                <a:lnTo>
                  <a:pt x="4544" y="4027"/>
                </a:lnTo>
                <a:lnTo>
                  <a:pt x="4549" y="4027"/>
                </a:lnTo>
                <a:lnTo>
                  <a:pt x="4560" y="4027"/>
                </a:lnTo>
                <a:lnTo>
                  <a:pt x="4570" y="4025"/>
                </a:lnTo>
                <a:lnTo>
                  <a:pt x="4580" y="4023"/>
                </a:lnTo>
                <a:lnTo>
                  <a:pt x="4589" y="4019"/>
                </a:lnTo>
                <a:lnTo>
                  <a:pt x="4599" y="4015"/>
                </a:lnTo>
                <a:lnTo>
                  <a:pt x="4608" y="4010"/>
                </a:lnTo>
                <a:lnTo>
                  <a:pt x="4617" y="4004"/>
                </a:lnTo>
                <a:lnTo>
                  <a:pt x="4625" y="3998"/>
                </a:lnTo>
                <a:lnTo>
                  <a:pt x="4633" y="3989"/>
                </a:lnTo>
                <a:lnTo>
                  <a:pt x="4641" y="3981"/>
                </a:lnTo>
                <a:lnTo>
                  <a:pt x="4648" y="3973"/>
                </a:lnTo>
                <a:lnTo>
                  <a:pt x="4656" y="3964"/>
                </a:lnTo>
                <a:lnTo>
                  <a:pt x="4669" y="3945"/>
                </a:lnTo>
                <a:lnTo>
                  <a:pt x="4675" y="3934"/>
                </a:lnTo>
                <a:lnTo>
                  <a:pt x="4681" y="3922"/>
                </a:lnTo>
                <a:lnTo>
                  <a:pt x="4686" y="3911"/>
                </a:lnTo>
                <a:lnTo>
                  <a:pt x="4691" y="3900"/>
                </a:lnTo>
                <a:lnTo>
                  <a:pt x="4695" y="3889"/>
                </a:lnTo>
                <a:lnTo>
                  <a:pt x="4699" y="3877"/>
                </a:lnTo>
                <a:lnTo>
                  <a:pt x="4703" y="3864"/>
                </a:lnTo>
                <a:lnTo>
                  <a:pt x="4706" y="3852"/>
                </a:lnTo>
                <a:lnTo>
                  <a:pt x="4709" y="3840"/>
                </a:lnTo>
                <a:lnTo>
                  <a:pt x="4713" y="3828"/>
                </a:lnTo>
                <a:lnTo>
                  <a:pt x="4715" y="3816"/>
                </a:lnTo>
                <a:lnTo>
                  <a:pt x="4717" y="3803"/>
                </a:lnTo>
                <a:lnTo>
                  <a:pt x="4719" y="3791"/>
                </a:lnTo>
                <a:lnTo>
                  <a:pt x="4720" y="3780"/>
                </a:lnTo>
                <a:lnTo>
                  <a:pt x="4720" y="3768"/>
                </a:lnTo>
                <a:lnTo>
                  <a:pt x="4721" y="3757"/>
                </a:lnTo>
                <a:lnTo>
                  <a:pt x="4721" y="3746"/>
                </a:lnTo>
                <a:lnTo>
                  <a:pt x="4720" y="3735"/>
                </a:lnTo>
                <a:lnTo>
                  <a:pt x="4721" y="3733"/>
                </a:lnTo>
                <a:lnTo>
                  <a:pt x="4723" y="3731"/>
                </a:lnTo>
                <a:lnTo>
                  <a:pt x="4725" y="3729"/>
                </a:lnTo>
                <a:lnTo>
                  <a:pt x="4728" y="3727"/>
                </a:lnTo>
                <a:lnTo>
                  <a:pt x="4734" y="3724"/>
                </a:lnTo>
                <a:lnTo>
                  <a:pt x="4738" y="3723"/>
                </a:lnTo>
                <a:lnTo>
                  <a:pt x="4742" y="3723"/>
                </a:lnTo>
                <a:lnTo>
                  <a:pt x="4750" y="3724"/>
                </a:lnTo>
                <a:lnTo>
                  <a:pt x="4753" y="3724"/>
                </a:lnTo>
                <a:lnTo>
                  <a:pt x="4756" y="3725"/>
                </a:lnTo>
                <a:lnTo>
                  <a:pt x="4762" y="3728"/>
                </a:lnTo>
                <a:lnTo>
                  <a:pt x="4764" y="3730"/>
                </a:lnTo>
                <a:lnTo>
                  <a:pt x="4767" y="3732"/>
                </a:lnTo>
                <a:lnTo>
                  <a:pt x="4772" y="3738"/>
                </a:lnTo>
                <a:lnTo>
                  <a:pt x="4773" y="3741"/>
                </a:lnTo>
                <a:lnTo>
                  <a:pt x="4775" y="3745"/>
                </a:lnTo>
                <a:lnTo>
                  <a:pt x="4776" y="3750"/>
                </a:lnTo>
                <a:lnTo>
                  <a:pt x="4777" y="3756"/>
                </a:lnTo>
                <a:lnTo>
                  <a:pt x="4777" y="3761"/>
                </a:lnTo>
                <a:lnTo>
                  <a:pt x="4777" y="3767"/>
                </a:lnTo>
                <a:lnTo>
                  <a:pt x="4777" y="3782"/>
                </a:lnTo>
                <a:lnTo>
                  <a:pt x="4776" y="3798"/>
                </a:lnTo>
                <a:lnTo>
                  <a:pt x="4774" y="3814"/>
                </a:lnTo>
                <a:lnTo>
                  <a:pt x="4772" y="3829"/>
                </a:lnTo>
                <a:lnTo>
                  <a:pt x="4769" y="3844"/>
                </a:lnTo>
                <a:lnTo>
                  <a:pt x="4766" y="3859"/>
                </a:lnTo>
                <a:lnTo>
                  <a:pt x="4762" y="3874"/>
                </a:lnTo>
                <a:lnTo>
                  <a:pt x="4758" y="3888"/>
                </a:lnTo>
                <a:lnTo>
                  <a:pt x="4754" y="3902"/>
                </a:lnTo>
                <a:lnTo>
                  <a:pt x="4749" y="3916"/>
                </a:lnTo>
                <a:lnTo>
                  <a:pt x="4744" y="3929"/>
                </a:lnTo>
                <a:lnTo>
                  <a:pt x="4738" y="3943"/>
                </a:lnTo>
                <a:lnTo>
                  <a:pt x="4732" y="3955"/>
                </a:lnTo>
                <a:lnTo>
                  <a:pt x="4726" y="3967"/>
                </a:lnTo>
                <a:lnTo>
                  <a:pt x="4719" y="3979"/>
                </a:lnTo>
                <a:lnTo>
                  <a:pt x="4711" y="3990"/>
                </a:lnTo>
                <a:lnTo>
                  <a:pt x="4703" y="4002"/>
                </a:lnTo>
                <a:lnTo>
                  <a:pt x="4695" y="4012"/>
                </a:lnTo>
                <a:lnTo>
                  <a:pt x="4686" y="4021"/>
                </a:lnTo>
                <a:lnTo>
                  <a:pt x="4678" y="4030"/>
                </a:lnTo>
                <a:lnTo>
                  <a:pt x="4668" y="4039"/>
                </a:lnTo>
                <a:lnTo>
                  <a:pt x="4659" y="4047"/>
                </a:lnTo>
                <a:lnTo>
                  <a:pt x="4648" y="4055"/>
                </a:lnTo>
                <a:lnTo>
                  <a:pt x="4638" y="4061"/>
                </a:lnTo>
                <a:lnTo>
                  <a:pt x="4628" y="4067"/>
                </a:lnTo>
                <a:lnTo>
                  <a:pt x="4617" y="4072"/>
                </a:lnTo>
                <a:lnTo>
                  <a:pt x="4606" y="4077"/>
                </a:lnTo>
                <a:lnTo>
                  <a:pt x="4595" y="4081"/>
                </a:lnTo>
                <a:lnTo>
                  <a:pt x="4583" y="4084"/>
                </a:lnTo>
                <a:lnTo>
                  <a:pt x="4571" y="4086"/>
                </a:lnTo>
                <a:lnTo>
                  <a:pt x="4559" y="4087"/>
                </a:lnTo>
                <a:lnTo>
                  <a:pt x="4547" y="4087"/>
                </a:lnTo>
                <a:close/>
                <a:moveTo>
                  <a:pt x="4934" y="4082"/>
                </a:moveTo>
                <a:lnTo>
                  <a:pt x="4932" y="4081"/>
                </a:lnTo>
                <a:lnTo>
                  <a:pt x="4930" y="4081"/>
                </a:lnTo>
                <a:lnTo>
                  <a:pt x="4925" y="4078"/>
                </a:lnTo>
                <a:lnTo>
                  <a:pt x="4918" y="4074"/>
                </a:lnTo>
                <a:lnTo>
                  <a:pt x="4911" y="4068"/>
                </a:lnTo>
                <a:lnTo>
                  <a:pt x="4898" y="4057"/>
                </a:lnTo>
                <a:lnTo>
                  <a:pt x="4882" y="4042"/>
                </a:lnTo>
                <a:lnTo>
                  <a:pt x="4866" y="4027"/>
                </a:lnTo>
                <a:lnTo>
                  <a:pt x="4849" y="4010"/>
                </a:lnTo>
                <a:lnTo>
                  <a:pt x="4833" y="3993"/>
                </a:lnTo>
                <a:lnTo>
                  <a:pt x="4818" y="3975"/>
                </a:lnTo>
                <a:lnTo>
                  <a:pt x="4807" y="3961"/>
                </a:lnTo>
                <a:lnTo>
                  <a:pt x="4802" y="3955"/>
                </a:lnTo>
                <a:lnTo>
                  <a:pt x="4799" y="3950"/>
                </a:lnTo>
                <a:lnTo>
                  <a:pt x="4794" y="3939"/>
                </a:lnTo>
                <a:lnTo>
                  <a:pt x="4790" y="3929"/>
                </a:lnTo>
                <a:lnTo>
                  <a:pt x="4788" y="3919"/>
                </a:lnTo>
                <a:lnTo>
                  <a:pt x="4787" y="3909"/>
                </a:lnTo>
                <a:lnTo>
                  <a:pt x="4787" y="3903"/>
                </a:lnTo>
                <a:lnTo>
                  <a:pt x="4788" y="3898"/>
                </a:lnTo>
                <a:lnTo>
                  <a:pt x="4789" y="3892"/>
                </a:lnTo>
                <a:lnTo>
                  <a:pt x="4791" y="3886"/>
                </a:lnTo>
                <a:lnTo>
                  <a:pt x="4794" y="3880"/>
                </a:lnTo>
                <a:lnTo>
                  <a:pt x="4797" y="3873"/>
                </a:lnTo>
                <a:lnTo>
                  <a:pt x="4801" y="3866"/>
                </a:lnTo>
                <a:lnTo>
                  <a:pt x="4805" y="3859"/>
                </a:lnTo>
                <a:lnTo>
                  <a:pt x="4814" y="3848"/>
                </a:lnTo>
                <a:lnTo>
                  <a:pt x="4825" y="3834"/>
                </a:lnTo>
                <a:lnTo>
                  <a:pt x="4855" y="3800"/>
                </a:lnTo>
                <a:lnTo>
                  <a:pt x="4891" y="3761"/>
                </a:lnTo>
                <a:lnTo>
                  <a:pt x="4926" y="3719"/>
                </a:lnTo>
                <a:lnTo>
                  <a:pt x="4927" y="3719"/>
                </a:lnTo>
                <a:lnTo>
                  <a:pt x="4931" y="3719"/>
                </a:lnTo>
                <a:lnTo>
                  <a:pt x="4934" y="3719"/>
                </a:lnTo>
                <a:lnTo>
                  <a:pt x="4938" y="3720"/>
                </a:lnTo>
                <a:lnTo>
                  <a:pt x="4943" y="3722"/>
                </a:lnTo>
                <a:lnTo>
                  <a:pt x="4947" y="3724"/>
                </a:lnTo>
                <a:lnTo>
                  <a:pt x="4952" y="3728"/>
                </a:lnTo>
                <a:lnTo>
                  <a:pt x="4956" y="3731"/>
                </a:lnTo>
                <a:lnTo>
                  <a:pt x="4960" y="3735"/>
                </a:lnTo>
                <a:lnTo>
                  <a:pt x="4962" y="3740"/>
                </a:lnTo>
                <a:lnTo>
                  <a:pt x="4964" y="3745"/>
                </a:lnTo>
                <a:lnTo>
                  <a:pt x="4964" y="3750"/>
                </a:lnTo>
                <a:lnTo>
                  <a:pt x="4964" y="3756"/>
                </a:lnTo>
                <a:lnTo>
                  <a:pt x="4962" y="3762"/>
                </a:lnTo>
                <a:lnTo>
                  <a:pt x="4959" y="3767"/>
                </a:lnTo>
                <a:lnTo>
                  <a:pt x="4955" y="3773"/>
                </a:lnTo>
                <a:lnTo>
                  <a:pt x="4946" y="3783"/>
                </a:lnTo>
                <a:lnTo>
                  <a:pt x="4934" y="3797"/>
                </a:lnTo>
                <a:lnTo>
                  <a:pt x="4905" y="3831"/>
                </a:lnTo>
                <a:lnTo>
                  <a:pt x="4875" y="3864"/>
                </a:lnTo>
                <a:lnTo>
                  <a:pt x="4863" y="3880"/>
                </a:lnTo>
                <a:lnTo>
                  <a:pt x="4854" y="3891"/>
                </a:lnTo>
                <a:lnTo>
                  <a:pt x="4851" y="3895"/>
                </a:lnTo>
                <a:lnTo>
                  <a:pt x="4849" y="3899"/>
                </a:lnTo>
                <a:lnTo>
                  <a:pt x="4848" y="3902"/>
                </a:lnTo>
                <a:lnTo>
                  <a:pt x="4848" y="3906"/>
                </a:lnTo>
                <a:lnTo>
                  <a:pt x="4848" y="3910"/>
                </a:lnTo>
                <a:lnTo>
                  <a:pt x="4850" y="3915"/>
                </a:lnTo>
                <a:lnTo>
                  <a:pt x="4852" y="3919"/>
                </a:lnTo>
                <a:lnTo>
                  <a:pt x="4855" y="3924"/>
                </a:lnTo>
                <a:lnTo>
                  <a:pt x="4862" y="3934"/>
                </a:lnTo>
                <a:lnTo>
                  <a:pt x="4873" y="3945"/>
                </a:lnTo>
                <a:lnTo>
                  <a:pt x="4901" y="3975"/>
                </a:lnTo>
                <a:lnTo>
                  <a:pt x="4933" y="4008"/>
                </a:lnTo>
                <a:lnTo>
                  <a:pt x="4965" y="4038"/>
                </a:lnTo>
                <a:lnTo>
                  <a:pt x="4967" y="4040"/>
                </a:lnTo>
                <a:lnTo>
                  <a:pt x="4968" y="4042"/>
                </a:lnTo>
                <a:lnTo>
                  <a:pt x="4969" y="4044"/>
                </a:lnTo>
                <a:lnTo>
                  <a:pt x="4969" y="4047"/>
                </a:lnTo>
                <a:lnTo>
                  <a:pt x="4968" y="4053"/>
                </a:lnTo>
                <a:lnTo>
                  <a:pt x="4967" y="4056"/>
                </a:lnTo>
                <a:lnTo>
                  <a:pt x="4966" y="4059"/>
                </a:lnTo>
                <a:lnTo>
                  <a:pt x="4962" y="4065"/>
                </a:lnTo>
                <a:lnTo>
                  <a:pt x="4960" y="4067"/>
                </a:lnTo>
                <a:lnTo>
                  <a:pt x="4958" y="4070"/>
                </a:lnTo>
                <a:lnTo>
                  <a:pt x="4953" y="4075"/>
                </a:lnTo>
                <a:lnTo>
                  <a:pt x="4949" y="4077"/>
                </a:lnTo>
                <a:lnTo>
                  <a:pt x="4946" y="4078"/>
                </a:lnTo>
                <a:lnTo>
                  <a:pt x="4940" y="4081"/>
                </a:lnTo>
                <a:lnTo>
                  <a:pt x="4937" y="4081"/>
                </a:lnTo>
                <a:lnTo>
                  <a:pt x="4934" y="4082"/>
                </a:lnTo>
                <a:close/>
                <a:moveTo>
                  <a:pt x="1465" y="4087"/>
                </a:moveTo>
                <a:lnTo>
                  <a:pt x="1457" y="4087"/>
                </a:lnTo>
                <a:lnTo>
                  <a:pt x="1450" y="4086"/>
                </a:lnTo>
                <a:lnTo>
                  <a:pt x="1442" y="4085"/>
                </a:lnTo>
                <a:lnTo>
                  <a:pt x="1435" y="4084"/>
                </a:lnTo>
                <a:lnTo>
                  <a:pt x="1428" y="4082"/>
                </a:lnTo>
                <a:lnTo>
                  <a:pt x="1420" y="4080"/>
                </a:lnTo>
                <a:lnTo>
                  <a:pt x="1406" y="4074"/>
                </a:lnTo>
                <a:lnTo>
                  <a:pt x="1393" y="4066"/>
                </a:lnTo>
                <a:lnTo>
                  <a:pt x="1386" y="4062"/>
                </a:lnTo>
                <a:lnTo>
                  <a:pt x="1380" y="4058"/>
                </a:lnTo>
                <a:lnTo>
                  <a:pt x="1374" y="4053"/>
                </a:lnTo>
                <a:lnTo>
                  <a:pt x="1369" y="4047"/>
                </a:lnTo>
                <a:lnTo>
                  <a:pt x="1363" y="4041"/>
                </a:lnTo>
                <a:lnTo>
                  <a:pt x="1358" y="4035"/>
                </a:lnTo>
                <a:lnTo>
                  <a:pt x="1353" y="4029"/>
                </a:lnTo>
                <a:lnTo>
                  <a:pt x="1348" y="4023"/>
                </a:lnTo>
                <a:lnTo>
                  <a:pt x="1343" y="4016"/>
                </a:lnTo>
                <a:lnTo>
                  <a:pt x="1339" y="4010"/>
                </a:lnTo>
                <a:lnTo>
                  <a:pt x="1335" y="4003"/>
                </a:lnTo>
                <a:lnTo>
                  <a:pt x="1331" y="3995"/>
                </a:lnTo>
                <a:lnTo>
                  <a:pt x="1328" y="3987"/>
                </a:lnTo>
                <a:lnTo>
                  <a:pt x="1325" y="3979"/>
                </a:lnTo>
                <a:lnTo>
                  <a:pt x="1322" y="3971"/>
                </a:lnTo>
                <a:lnTo>
                  <a:pt x="1320" y="3963"/>
                </a:lnTo>
                <a:lnTo>
                  <a:pt x="1318" y="3954"/>
                </a:lnTo>
                <a:lnTo>
                  <a:pt x="1316" y="3946"/>
                </a:lnTo>
                <a:lnTo>
                  <a:pt x="1315" y="3937"/>
                </a:lnTo>
                <a:lnTo>
                  <a:pt x="1314" y="3927"/>
                </a:lnTo>
                <a:lnTo>
                  <a:pt x="1314" y="3918"/>
                </a:lnTo>
                <a:lnTo>
                  <a:pt x="1313" y="3909"/>
                </a:lnTo>
                <a:lnTo>
                  <a:pt x="1314" y="3890"/>
                </a:lnTo>
                <a:lnTo>
                  <a:pt x="1315" y="3881"/>
                </a:lnTo>
                <a:lnTo>
                  <a:pt x="1317" y="3872"/>
                </a:lnTo>
                <a:lnTo>
                  <a:pt x="1318" y="3862"/>
                </a:lnTo>
                <a:lnTo>
                  <a:pt x="1320" y="3853"/>
                </a:lnTo>
                <a:lnTo>
                  <a:pt x="1323" y="3844"/>
                </a:lnTo>
                <a:lnTo>
                  <a:pt x="1326" y="3836"/>
                </a:lnTo>
                <a:lnTo>
                  <a:pt x="1329" y="3827"/>
                </a:lnTo>
                <a:lnTo>
                  <a:pt x="1332" y="3819"/>
                </a:lnTo>
                <a:lnTo>
                  <a:pt x="1336" y="3810"/>
                </a:lnTo>
                <a:lnTo>
                  <a:pt x="1340" y="3802"/>
                </a:lnTo>
                <a:lnTo>
                  <a:pt x="1345" y="3795"/>
                </a:lnTo>
                <a:lnTo>
                  <a:pt x="1349" y="3787"/>
                </a:lnTo>
                <a:lnTo>
                  <a:pt x="1361" y="3774"/>
                </a:lnTo>
                <a:lnTo>
                  <a:pt x="1366" y="3767"/>
                </a:lnTo>
                <a:lnTo>
                  <a:pt x="1372" y="3761"/>
                </a:lnTo>
                <a:lnTo>
                  <a:pt x="1384" y="3748"/>
                </a:lnTo>
                <a:lnTo>
                  <a:pt x="1391" y="3743"/>
                </a:lnTo>
                <a:lnTo>
                  <a:pt x="1397" y="3738"/>
                </a:lnTo>
                <a:lnTo>
                  <a:pt x="1404" y="3734"/>
                </a:lnTo>
                <a:lnTo>
                  <a:pt x="1412" y="3730"/>
                </a:lnTo>
                <a:lnTo>
                  <a:pt x="1419" y="3726"/>
                </a:lnTo>
                <a:lnTo>
                  <a:pt x="1427" y="3723"/>
                </a:lnTo>
                <a:lnTo>
                  <a:pt x="1434" y="3721"/>
                </a:lnTo>
                <a:lnTo>
                  <a:pt x="1442" y="3718"/>
                </a:lnTo>
                <a:lnTo>
                  <a:pt x="1450" y="3716"/>
                </a:lnTo>
                <a:lnTo>
                  <a:pt x="1458" y="3715"/>
                </a:lnTo>
                <a:lnTo>
                  <a:pt x="1466" y="3714"/>
                </a:lnTo>
                <a:lnTo>
                  <a:pt x="1475" y="3714"/>
                </a:lnTo>
                <a:lnTo>
                  <a:pt x="1486" y="3715"/>
                </a:lnTo>
                <a:lnTo>
                  <a:pt x="1490" y="3715"/>
                </a:lnTo>
                <a:lnTo>
                  <a:pt x="1495" y="3716"/>
                </a:lnTo>
                <a:lnTo>
                  <a:pt x="1500" y="3717"/>
                </a:lnTo>
                <a:lnTo>
                  <a:pt x="1504" y="3718"/>
                </a:lnTo>
                <a:lnTo>
                  <a:pt x="1513" y="3721"/>
                </a:lnTo>
                <a:lnTo>
                  <a:pt x="1521" y="3725"/>
                </a:lnTo>
                <a:lnTo>
                  <a:pt x="1528" y="3730"/>
                </a:lnTo>
                <a:lnTo>
                  <a:pt x="1536" y="3735"/>
                </a:lnTo>
                <a:lnTo>
                  <a:pt x="1542" y="3741"/>
                </a:lnTo>
                <a:lnTo>
                  <a:pt x="1544" y="3744"/>
                </a:lnTo>
                <a:lnTo>
                  <a:pt x="1547" y="3748"/>
                </a:lnTo>
                <a:lnTo>
                  <a:pt x="1552" y="3756"/>
                </a:lnTo>
                <a:lnTo>
                  <a:pt x="1556" y="3764"/>
                </a:lnTo>
                <a:lnTo>
                  <a:pt x="1559" y="3772"/>
                </a:lnTo>
                <a:lnTo>
                  <a:pt x="1562" y="3781"/>
                </a:lnTo>
                <a:lnTo>
                  <a:pt x="1564" y="3790"/>
                </a:lnTo>
                <a:lnTo>
                  <a:pt x="1565" y="3800"/>
                </a:lnTo>
                <a:lnTo>
                  <a:pt x="1565" y="3809"/>
                </a:lnTo>
                <a:lnTo>
                  <a:pt x="1564" y="3823"/>
                </a:lnTo>
                <a:lnTo>
                  <a:pt x="1563" y="3829"/>
                </a:lnTo>
                <a:lnTo>
                  <a:pt x="1562" y="3835"/>
                </a:lnTo>
                <a:lnTo>
                  <a:pt x="1558" y="3847"/>
                </a:lnTo>
                <a:lnTo>
                  <a:pt x="1553" y="3859"/>
                </a:lnTo>
                <a:lnTo>
                  <a:pt x="1547" y="3870"/>
                </a:lnTo>
                <a:lnTo>
                  <a:pt x="1540" y="3881"/>
                </a:lnTo>
                <a:lnTo>
                  <a:pt x="1536" y="3887"/>
                </a:lnTo>
                <a:lnTo>
                  <a:pt x="1532" y="3891"/>
                </a:lnTo>
                <a:lnTo>
                  <a:pt x="1521" y="3901"/>
                </a:lnTo>
                <a:lnTo>
                  <a:pt x="1511" y="3909"/>
                </a:lnTo>
                <a:lnTo>
                  <a:pt x="1506" y="3913"/>
                </a:lnTo>
                <a:lnTo>
                  <a:pt x="1501" y="3917"/>
                </a:lnTo>
                <a:lnTo>
                  <a:pt x="1489" y="3923"/>
                </a:lnTo>
                <a:lnTo>
                  <a:pt x="1478" y="3929"/>
                </a:lnTo>
                <a:lnTo>
                  <a:pt x="1465" y="3935"/>
                </a:lnTo>
                <a:lnTo>
                  <a:pt x="1458" y="3936"/>
                </a:lnTo>
                <a:lnTo>
                  <a:pt x="1452" y="3938"/>
                </a:lnTo>
                <a:lnTo>
                  <a:pt x="1446" y="3939"/>
                </a:lnTo>
                <a:lnTo>
                  <a:pt x="1440" y="3940"/>
                </a:lnTo>
                <a:lnTo>
                  <a:pt x="1427" y="3941"/>
                </a:lnTo>
                <a:lnTo>
                  <a:pt x="1422" y="3940"/>
                </a:lnTo>
                <a:lnTo>
                  <a:pt x="1417" y="3938"/>
                </a:lnTo>
                <a:lnTo>
                  <a:pt x="1412" y="3935"/>
                </a:lnTo>
                <a:lnTo>
                  <a:pt x="1409" y="3933"/>
                </a:lnTo>
                <a:lnTo>
                  <a:pt x="1408" y="3930"/>
                </a:lnTo>
                <a:lnTo>
                  <a:pt x="1404" y="3926"/>
                </a:lnTo>
                <a:lnTo>
                  <a:pt x="1402" y="3921"/>
                </a:lnTo>
                <a:lnTo>
                  <a:pt x="1401" y="3918"/>
                </a:lnTo>
                <a:lnTo>
                  <a:pt x="1400" y="3915"/>
                </a:lnTo>
                <a:lnTo>
                  <a:pt x="1400" y="3908"/>
                </a:lnTo>
                <a:lnTo>
                  <a:pt x="1400" y="3906"/>
                </a:lnTo>
                <a:lnTo>
                  <a:pt x="1400" y="3903"/>
                </a:lnTo>
                <a:lnTo>
                  <a:pt x="1402" y="3898"/>
                </a:lnTo>
                <a:lnTo>
                  <a:pt x="1403" y="3896"/>
                </a:lnTo>
                <a:lnTo>
                  <a:pt x="1404" y="3894"/>
                </a:lnTo>
                <a:lnTo>
                  <a:pt x="1405" y="3892"/>
                </a:lnTo>
                <a:lnTo>
                  <a:pt x="1407" y="3891"/>
                </a:lnTo>
                <a:lnTo>
                  <a:pt x="1419" y="3889"/>
                </a:lnTo>
                <a:lnTo>
                  <a:pt x="1429" y="3887"/>
                </a:lnTo>
                <a:lnTo>
                  <a:pt x="1440" y="3883"/>
                </a:lnTo>
                <a:lnTo>
                  <a:pt x="1449" y="3879"/>
                </a:lnTo>
                <a:lnTo>
                  <a:pt x="1458" y="3875"/>
                </a:lnTo>
                <a:lnTo>
                  <a:pt x="1467" y="3869"/>
                </a:lnTo>
                <a:lnTo>
                  <a:pt x="1475" y="3863"/>
                </a:lnTo>
                <a:lnTo>
                  <a:pt x="1479" y="3860"/>
                </a:lnTo>
                <a:lnTo>
                  <a:pt x="1483" y="3857"/>
                </a:lnTo>
                <a:lnTo>
                  <a:pt x="1489" y="3851"/>
                </a:lnTo>
                <a:lnTo>
                  <a:pt x="1495" y="3845"/>
                </a:lnTo>
                <a:lnTo>
                  <a:pt x="1500" y="3838"/>
                </a:lnTo>
                <a:lnTo>
                  <a:pt x="1504" y="3831"/>
                </a:lnTo>
                <a:lnTo>
                  <a:pt x="1507" y="3824"/>
                </a:lnTo>
                <a:lnTo>
                  <a:pt x="1510" y="3817"/>
                </a:lnTo>
                <a:lnTo>
                  <a:pt x="1511" y="3809"/>
                </a:lnTo>
                <a:lnTo>
                  <a:pt x="1512" y="3802"/>
                </a:lnTo>
                <a:lnTo>
                  <a:pt x="1511" y="3794"/>
                </a:lnTo>
                <a:lnTo>
                  <a:pt x="1509" y="3786"/>
                </a:lnTo>
                <a:lnTo>
                  <a:pt x="1508" y="3783"/>
                </a:lnTo>
                <a:lnTo>
                  <a:pt x="1506" y="3780"/>
                </a:lnTo>
                <a:lnTo>
                  <a:pt x="1504" y="3777"/>
                </a:lnTo>
                <a:lnTo>
                  <a:pt x="1501" y="3775"/>
                </a:lnTo>
                <a:lnTo>
                  <a:pt x="1495" y="3771"/>
                </a:lnTo>
                <a:lnTo>
                  <a:pt x="1492" y="3769"/>
                </a:lnTo>
                <a:lnTo>
                  <a:pt x="1488" y="3767"/>
                </a:lnTo>
                <a:lnTo>
                  <a:pt x="1480" y="3766"/>
                </a:lnTo>
                <a:lnTo>
                  <a:pt x="1476" y="3765"/>
                </a:lnTo>
                <a:lnTo>
                  <a:pt x="1472" y="3765"/>
                </a:lnTo>
                <a:lnTo>
                  <a:pt x="1462" y="3766"/>
                </a:lnTo>
                <a:lnTo>
                  <a:pt x="1457" y="3766"/>
                </a:lnTo>
                <a:lnTo>
                  <a:pt x="1453" y="3768"/>
                </a:lnTo>
                <a:lnTo>
                  <a:pt x="1448" y="3769"/>
                </a:lnTo>
                <a:lnTo>
                  <a:pt x="1444" y="3771"/>
                </a:lnTo>
                <a:lnTo>
                  <a:pt x="1440" y="3773"/>
                </a:lnTo>
                <a:lnTo>
                  <a:pt x="1435" y="3776"/>
                </a:lnTo>
                <a:lnTo>
                  <a:pt x="1431" y="3779"/>
                </a:lnTo>
                <a:lnTo>
                  <a:pt x="1427" y="3782"/>
                </a:lnTo>
                <a:lnTo>
                  <a:pt x="1419" y="3789"/>
                </a:lnTo>
                <a:lnTo>
                  <a:pt x="1411" y="3797"/>
                </a:lnTo>
                <a:lnTo>
                  <a:pt x="1402" y="3806"/>
                </a:lnTo>
                <a:lnTo>
                  <a:pt x="1399" y="3812"/>
                </a:lnTo>
                <a:lnTo>
                  <a:pt x="1395" y="3817"/>
                </a:lnTo>
                <a:lnTo>
                  <a:pt x="1389" y="3828"/>
                </a:lnTo>
                <a:lnTo>
                  <a:pt x="1384" y="3839"/>
                </a:lnTo>
                <a:lnTo>
                  <a:pt x="1379" y="3851"/>
                </a:lnTo>
                <a:lnTo>
                  <a:pt x="1375" y="3864"/>
                </a:lnTo>
                <a:lnTo>
                  <a:pt x="1372" y="3879"/>
                </a:lnTo>
                <a:lnTo>
                  <a:pt x="1371" y="3892"/>
                </a:lnTo>
                <a:lnTo>
                  <a:pt x="1370" y="3899"/>
                </a:lnTo>
                <a:lnTo>
                  <a:pt x="1370" y="3906"/>
                </a:lnTo>
                <a:lnTo>
                  <a:pt x="1370" y="3919"/>
                </a:lnTo>
                <a:lnTo>
                  <a:pt x="1372" y="3932"/>
                </a:lnTo>
                <a:lnTo>
                  <a:pt x="1374" y="3944"/>
                </a:lnTo>
                <a:lnTo>
                  <a:pt x="1375" y="3950"/>
                </a:lnTo>
                <a:lnTo>
                  <a:pt x="1377" y="3955"/>
                </a:lnTo>
                <a:lnTo>
                  <a:pt x="1380" y="3965"/>
                </a:lnTo>
                <a:lnTo>
                  <a:pt x="1383" y="3970"/>
                </a:lnTo>
                <a:lnTo>
                  <a:pt x="1385" y="3975"/>
                </a:lnTo>
                <a:lnTo>
                  <a:pt x="1387" y="3980"/>
                </a:lnTo>
                <a:lnTo>
                  <a:pt x="1390" y="3984"/>
                </a:lnTo>
                <a:lnTo>
                  <a:pt x="1393" y="3989"/>
                </a:lnTo>
                <a:lnTo>
                  <a:pt x="1396" y="3994"/>
                </a:lnTo>
                <a:lnTo>
                  <a:pt x="1399" y="3997"/>
                </a:lnTo>
                <a:lnTo>
                  <a:pt x="1403" y="4001"/>
                </a:lnTo>
                <a:lnTo>
                  <a:pt x="1411" y="4008"/>
                </a:lnTo>
                <a:lnTo>
                  <a:pt x="1419" y="4013"/>
                </a:lnTo>
                <a:lnTo>
                  <a:pt x="1427" y="4018"/>
                </a:lnTo>
                <a:lnTo>
                  <a:pt x="1436" y="4022"/>
                </a:lnTo>
                <a:lnTo>
                  <a:pt x="1446" y="4025"/>
                </a:lnTo>
                <a:lnTo>
                  <a:pt x="1456" y="4026"/>
                </a:lnTo>
                <a:lnTo>
                  <a:pt x="1461" y="4027"/>
                </a:lnTo>
                <a:lnTo>
                  <a:pt x="1467" y="4027"/>
                </a:lnTo>
                <a:lnTo>
                  <a:pt x="1478" y="4027"/>
                </a:lnTo>
                <a:lnTo>
                  <a:pt x="1488" y="4025"/>
                </a:lnTo>
                <a:lnTo>
                  <a:pt x="1498" y="4023"/>
                </a:lnTo>
                <a:lnTo>
                  <a:pt x="1508" y="4019"/>
                </a:lnTo>
                <a:lnTo>
                  <a:pt x="1517" y="4015"/>
                </a:lnTo>
                <a:lnTo>
                  <a:pt x="1526" y="4010"/>
                </a:lnTo>
                <a:lnTo>
                  <a:pt x="1536" y="4004"/>
                </a:lnTo>
                <a:lnTo>
                  <a:pt x="1544" y="3998"/>
                </a:lnTo>
                <a:lnTo>
                  <a:pt x="1552" y="3989"/>
                </a:lnTo>
                <a:lnTo>
                  <a:pt x="1560" y="3981"/>
                </a:lnTo>
                <a:lnTo>
                  <a:pt x="1567" y="3973"/>
                </a:lnTo>
                <a:lnTo>
                  <a:pt x="1574" y="3964"/>
                </a:lnTo>
                <a:lnTo>
                  <a:pt x="1587" y="3945"/>
                </a:lnTo>
                <a:lnTo>
                  <a:pt x="1594" y="3934"/>
                </a:lnTo>
                <a:lnTo>
                  <a:pt x="1599" y="3922"/>
                </a:lnTo>
                <a:lnTo>
                  <a:pt x="1604" y="3911"/>
                </a:lnTo>
                <a:lnTo>
                  <a:pt x="1609" y="3900"/>
                </a:lnTo>
                <a:lnTo>
                  <a:pt x="1614" y="3889"/>
                </a:lnTo>
                <a:lnTo>
                  <a:pt x="1618" y="3877"/>
                </a:lnTo>
                <a:lnTo>
                  <a:pt x="1622" y="3864"/>
                </a:lnTo>
                <a:lnTo>
                  <a:pt x="1625" y="3852"/>
                </a:lnTo>
                <a:lnTo>
                  <a:pt x="1628" y="3840"/>
                </a:lnTo>
                <a:lnTo>
                  <a:pt x="1631" y="3828"/>
                </a:lnTo>
                <a:lnTo>
                  <a:pt x="1633" y="3816"/>
                </a:lnTo>
                <a:lnTo>
                  <a:pt x="1635" y="3803"/>
                </a:lnTo>
                <a:lnTo>
                  <a:pt x="1636" y="3791"/>
                </a:lnTo>
                <a:lnTo>
                  <a:pt x="1637" y="3780"/>
                </a:lnTo>
                <a:lnTo>
                  <a:pt x="1638" y="3768"/>
                </a:lnTo>
                <a:lnTo>
                  <a:pt x="1638" y="3757"/>
                </a:lnTo>
                <a:lnTo>
                  <a:pt x="1638" y="3746"/>
                </a:lnTo>
                <a:lnTo>
                  <a:pt x="1638" y="3735"/>
                </a:lnTo>
                <a:lnTo>
                  <a:pt x="1639" y="3733"/>
                </a:lnTo>
                <a:lnTo>
                  <a:pt x="1640" y="3731"/>
                </a:lnTo>
                <a:lnTo>
                  <a:pt x="1643" y="3729"/>
                </a:lnTo>
                <a:lnTo>
                  <a:pt x="1645" y="3727"/>
                </a:lnTo>
                <a:lnTo>
                  <a:pt x="1653" y="3724"/>
                </a:lnTo>
                <a:lnTo>
                  <a:pt x="1657" y="3723"/>
                </a:lnTo>
                <a:lnTo>
                  <a:pt x="1661" y="3723"/>
                </a:lnTo>
                <a:lnTo>
                  <a:pt x="1668" y="3724"/>
                </a:lnTo>
                <a:lnTo>
                  <a:pt x="1672" y="3724"/>
                </a:lnTo>
                <a:lnTo>
                  <a:pt x="1675" y="3725"/>
                </a:lnTo>
                <a:lnTo>
                  <a:pt x="1681" y="3728"/>
                </a:lnTo>
                <a:lnTo>
                  <a:pt x="1683" y="3730"/>
                </a:lnTo>
                <a:lnTo>
                  <a:pt x="1685" y="3732"/>
                </a:lnTo>
                <a:lnTo>
                  <a:pt x="1689" y="3738"/>
                </a:lnTo>
                <a:lnTo>
                  <a:pt x="1691" y="3741"/>
                </a:lnTo>
                <a:lnTo>
                  <a:pt x="1692" y="3745"/>
                </a:lnTo>
                <a:lnTo>
                  <a:pt x="1694" y="3750"/>
                </a:lnTo>
                <a:lnTo>
                  <a:pt x="1694" y="3756"/>
                </a:lnTo>
                <a:lnTo>
                  <a:pt x="1695" y="3761"/>
                </a:lnTo>
                <a:lnTo>
                  <a:pt x="1695" y="3767"/>
                </a:lnTo>
                <a:lnTo>
                  <a:pt x="1694" y="3782"/>
                </a:lnTo>
                <a:lnTo>
                  <a:pt x="1693" y="3798"/>
                </a:lnTo>
                <a:lnTo>
                  <a:pt x="1692" y="3814"/>
                </a:lnTo>
                <a:lnTo>
                  <a:pt x="1690" y="3829"/>
                </a:lnTo>
                <a:lnTo>
                  <a:pt x="1687" y="3844"/>
                </a:lnTo>
                <a:lnTo>
                  <a:pt x="1684" y="3859"/>
                </a:lnTo>
                <a:lnTo>
                  <a:pt x="1681" y="3874"/>
                </a:lnTo>
                <a:lnTo>
                  <a:pt x="1677" y="3888"/>
                </a:lnTo>
                <a:lnTo>
                  <a:pt x="1673" y="3902"/>
                </a:lnTo>
                <a:lnTo>
                  <a:pt x="1668" y="3916"/>
                </a:lnTo>
                <a:lnTo>
                  <a:pt x="1663" y="3929"/>
                </a:lnTo>
                <a:lnTo>
                  <a:pt x="1657" y="3943"/>
                </a:lnTo>
                <a:lnTo>
                  <a:pt x="1651" y="3955"/>
                </a:lnTo>
                <a:lnTo>
                  <a:pt x="1643" y="3967"/>
                </a:lnTo>
                <a:lnTo>
                  <a:pt x="1636" y="3979"/>
                </a:lnTo>
                <a:lnTo>
                  <a:pt x="1629" y="3990"/>
                </a:lnTo>
                <a:lnTo>
                  <a:pt x="1621" y="4002"/>
                </a:lnTo>
                <a:lnTo>
                  <a:pt x="1613" y="4012"/>
                </a:lnTo>
                <a:lnTo>
                  <a:pt x="1605" y="4021"/>
                </a:lnTo>
                <a:lnTo>
                  <a:pt x="1596" y="4030"/>
                </a:lnTo>
                <a:lnTo>
                  <a:pt x="1586" y="4039"/>
                </a:lnTo>
                <a:lnTo>
                  <a:pt x="1577" y="4047"/>
                </a:lnTo>
                <a:lnTo>
                  <a:pt x="1567" y="4055"/>
                </a:lnTo>
                <a:lnTo>
                  <a:pt x="1557" y="4061"/>
                </a:lnTo>
                <a:lnTo>
                  <a:pt x="1547" y="4067"/>
                </a:lnTo>
                <a:lnTo>
                  <a:pt x="1536" y="4072"/>
                </a:lnTo>
                <a:lnTo>
                  <a:pt x="1524" y="4077"/>
                </a:lnTo>
                <a:lnTo>
                  <a:pt x="1513" y="4081"/>
                </a:lnTo>
                <a:lnTo>
                  <a:pt x="1502" y="4084"/>
                </a:lnTo>
                <a:lnTo>
                  <a:pt x="1490" y="4086"/>
                </a:lnTo>
                <a:lnTo>
                  <a:pt x="1478" y="4087"/>
                </a:lnTo>
                <a:lnTo>
                  <a:pt x="1465" y="4087"/>
                </a:lnTo>
                <a:close/>
                <a:moveTo>
                  <a:pt x="1853" y="4082"/>
                </a:moveTo>
                <a:lnTo>
                  <a:pt x="1851" y="4081"/>
                </a:lnTo>
                <a:lnTo>
                  <a:pt x="1849" y="4081"/>
                </a:lnTo>
                <a:lnTo>
                  <a:pt x="1843" y="4078"/>
                </a:lnTo>
                <a:lnTo>
                  <a:pt x="1837" y="4074"/>
                </a:lnTo>
                <a:lnTo>
                  <a:pt x="1829" y="4068"/>
                </a:lnTo>
                <a:lnTo>
                  <a:pt x="1816" y="4057"/>
                </a:lnTo>
                <a:lnTo>
                  <a:pt x="1801" y="4042"/>
                </a:lnTo>
                <a:lnTo>
                  <a:pt x="1784" y="4027"/>
                </a:lnTo>
                <a:lnTo>
                  <a:pt x="1767" y="4010"/>
                </a:lnTo>
                <a:lnTo>
                  <a:pt x="1751" y="3993"/>
                </a:lnTo>
                <a:lnTo>
                  <a:pt x="1737" y="3975"/>
                </a:lnTo>
                <a:lnTo>
                  <a:pt x="1725" y="3961"/>
                </a:lnTo>
                <a:lnTo>
                  <a:pt x="1721" y="3955"/>
                </a:lnTo>
                <a:lnTo>
                  <a:pt x="1718" y="3950"/>
                </a:lnTo>
                <a:lnTo>
                  <a:pt x="1713" y="3939"/>
                </a:lnTo>
                <a:lnTo>
                  <a:pt x="1708" y="3929"/>
                </a:lnTo>
                <a:lnTo>
                  <a:pt x="1705" y="3919"/>
                </a:lnTo>
                <a:lnTo>
                  <a:pt x="1705" y="3909"/>
                </a:lnTo>
                <a:lnTo>
                  <a:pt x="1705" y="3903"/>
                </a:lnTo>
                <a:lnTo>
                  <a:pt x="1706" y="3898"/>
                </a:lnTo>
                <a:lnTo>
                  <a:pt x="1707" y="3892"/>
                </a:lnTo>
                <a:lnTo>
                  <a:pt x="1709" y="3886"/>
                </a:lnTo>
                <a:lnTo>
                  <a:pt x="1713" y="3880"/>
                </a:lnTo>
                <a:lnTo>
                  <a:pt x="1716" y="3873"/>
                </a:lnTo>
                <a:lnTo>
                  <a:pt x="1720" y="3866"/>
                </a:lnTo>
                <a:lnTo>
                  <a:pt x="1724" y="3859"/>
                </a:lnTo>
                <a:lnTo>
                  <a:pt x="1732" y="3848"/>
                </a:lnTo>
                <a:lnTo>
                  <a:pt x="1744" y="3834"/>
                </a:lnTo>
                <a:lnTo>
                  <a:pt x="1774" y="3800"/>
                </a:lnTo>
                <a:lnTo>
                  <a:pt x="1809" y="3761"/>
                </a:lnTo>
                <a:lnTo>
                  <a:pt x="1845" y="3719"/>
                </a:lnTo>
                <a:lnTo>
                  <a:pt x="1846" y="3719"/>
                </a:lnTo>
                <a:lnTo>
                  <a:pt x="1849" y="3719"/>
                </a:lnTo>
                <a:lnTo>
                  <a:pt x="1853" y="3719"/>
                </a:lnTo>
                <a:lnTo>
                  <a:pt x="1857" y="3720"/>
                </a:lnTo>
                <a:lnTo>
                  <a:pt x="1861" y="3722"/>
                </a:lnTo>
                <a:lnTo>
                  <a:pt x="1866" y="3724"/>
                </a:lnTo>
                <a:lnTo>
                  <a:pt x="1870" y="3728"/>
                </a:lnTo>
                <a:lnTo>
                  <a:pt x="1874" y="3731"/>
                </a:lnTo>
                <a:lnTo>
                  <a:pt x="1877" y="3735"/>
                </a:lnTo>
                <a:lnTo>
                  <a:pt x="1880" y="3740"/>
                </a:lnTo>
                <a:lnTo>
                  <a:pt x="1881" y="3745"/>
                </a:lnTo>
                <a:lnTo>
                  <a:pt x="1882" y="3750"/>
                </a:lnTo>
                <a:lnTo>
                  <a:pt x="1881" y="3756"/>
                </a:lnTo>
                <a:lnTo>
                  <a:pt x="1880" y="3762"/>
                </a:lnTo>
                <a:lnTo>
                  <a:pt x="1877" y="3767"/>
                </a:lnTo>
                <a:lnTo>
                  <a:pt x="1873" y="3773"/>
                </a:lnTo>
                <a:lnTo>
                  <a:pt x="1865" y="3783"/>
                </a:lnTo>
                <a:lnTo>
                  <a:pt x="1853" y="3797"/>
                </a:lnTo>
                <a:lnTo>
                  <a:pt x="1823" y="3831"/>
                </a:lnTo>
                <a:lnTo>
                  <a:pt x="1794" y="3864"/>
                </a:lnTo>
                <a:lnTo>
                  <a:pt x="1781" y="3880"/>
                </a:lnTo>
                <a:lnTo>
                  <a:pt x="1772" y="3891"/>
                </a:lnTo>
                <a:lnTo>
                  <a:pt x="1769" y="3895"/>
                </a:lnTo>
                <a:lnTo>
                  <a:pt x="1767" y="3899"/>
                </a:lnTo>
                <a:lnTo>
                  <a:pt x="1766" y="3902"/>
                </a:lnTo>
                <a:lnTo>
                  <a:pt x="1766" y="3906"/>
                </a:lnTo>
                <a:lnTo>
                  <a:pt x="1766" y="3910"/>
                </a:lnTo>
                <a:lnTo>
                  <a:pt x="1767" y="3915"/>
                </a:lnTo>
                <a:lnTo>
                  <a:pt x="1771" y="3919"/>
                </a:lnTo>
                <a:lnTo>
                  <a:pt x="1774" y="3924"/>
                </a:lnTo>
                <a:lnTo>
                  <a:pt x="1781" y="3934"/>
                </a:lnTo>
                <a:lnTo>
                  <a:pt x="1791" y="3945"/>
                </a:lnTo>
                <a:lnTo>
                  <a:pt x="1819" y="3975"/>
                </a:lnTo>
                <a:lnTo>
                  <a:pt x="1852" y="4008"/>
                </a:lnTo>
                <a:lnTo>
                  <a:pt x="1883" y="4038"/>
                </a:lnTo>
                <a:lnTo>
                  <a:pt x="1884" y="4040"/>
                </a:lnTo>
                <a:lnTo>
                  <a:pt x="1886" y="4042"/>
                </a:lnTo>
                <a:lnTo>
                  <a:pt x="1887" y="4044"/>
                </a:lnTo>
                <a:lnTo>
                  <a:pt x="1887" y="4047"/>
                </a:lnTo>
                <a:lnTo>
                  <a:pt x="1886" y="4053"/>
                </a:lnTo>
                <a:lnTo>
                  <a:pt x="1885" y="4056"/>
                </a:lnTo>
                <a:lnTo>
                  <a:pt x="1884" y="4059"/>
                </a:lnTo>
                <a:lnTo>
                  <a:pt x="1880" y="4065"/>
                </a:lnTo>
                <a:lnTo>
                  <a:pt x="1878" y="4067"/>
                </a:lnTo>
                <a:lnTo>
                  <a:pt x="1876" y="4070"/>
                </a:lnTo>
                <a:lnTo>
                  <a:pt x="1870" y="4075"/>
                </a:lnTo>
                <a:lnTo>
                  <a:pt x="1867" y="4077"/>
                </a:lnTo>
                <a:lnTo>
                  <a:pt x="1864" y="4078"/>
                </a:lnTo>
                <a:lnTo>
                  <a:pt x="1858" y="4081"/>
                </a:lnTo>
                <a:lnTo>
                  <a:pt x="1856" y="4081"/>
                </a:lnTo>
                <a:lnTo>
                  <a:pt x="1853" y="4082"/>
                </a:lnTo>
                <a:close/>
                <a:moveTo>
                  <a:pt x="5295" y="4087"/>
                </a:moveTo>
                <a:lnTo>
                  <a:pt x="5287" y="4087"/>
                </a:lnTo>
                <a:lnTo>
                  <a:pt x="5279" y="4086"/>
                </a:lnTo>
                <a:lnTo>
                  <a:pt x="5272" y="4085"/>
                </a:lnTo>
                <a:lnTo>
                  <a:pt x="5265" y="4084"/>
                </a:lnTo>
                <a:lnTo>
                  <a:pt x="5257" y="4082"/>
                </a:lnTo>
                <a:lnTo>
                  <a:pt x="5249" y="4080"/>
                </a:lnTo>
                <a:lnTo>
                  <a:pt x="5236" y="4074"/>
                </a:lnTo>
                <a:lnTo>
                  <a:pt x="5223" y="4066"/>
                </a:lnTo>
                <a:lnTo>
                  <a:pt x="5216" y="4062"/>
                </a:lnTo>
                <a:lnTo>
                  <a:pt x="5210" y="4058"/>
                </a:lnTo>
                <a:lnTo>
                  <a:pt x="5204" y="4053"/>
                </a:lnTo>
                <a:lnTo>
                  <a:pt x="5199" y="4047"/>
                </a:lnTo>
                <a:lnTo>
                  <a:pt x="5193" y="4041"/>
                </a:lnTo>
                <a:lnTo>
                  <a:pt x="5187" y="4035"/>
                </a:lnTo>
                <a:lnTo>
                  <a:pt x="5182" y="4029"/>
                </a:lnTo>
                <a:lnTo>
                  <a:pt x="5177" y="4023"/>
                </a:lnTo>
                <a:lnTo>
                  <a:pt x="5173" y="4016"/>
                </a:lnTo>
                <a:lnTo>
                  <a:pt x="5169" y="4010"/>
                </a:lnTo>
                <a:lnTo>
                  <a:pt x="5165" y="4003"/>
                </a:lnTo>
                <a:lnTo>
                  <a:pt x="5161" y="3995"/>
                </a:lnTo>
                <a:lnTo>
                  <a:pt x="5158" y="3987"/>
                </a:lnTo>
                <a:lnTo>
                  <a:pt x="5155" y="3979"/>
                </a:lnTo>
                <a:lnTo>
                  <a:pt x="5152" y="3971"/>
                </a:lnTo>
                <a:lnTo>
                  <a:pt x="5150" y="3963"/>
                </a:lnTo>
                <a:lnTo>
                  <a:pt x="5148" y="3954"/>
                </a:lnTo>
                <a:lnTo>
                  <a:pt x="5146" y="3946"/>
                </a:lnTo>
                <a:lnTo>
                  <a:pt x="5145" y="3937"/>
                </a:lnTo>
                <a:lnTo>
                  <a:pt x="5144" y="3927"/>
                </a:lnTo>
                <a:lnTo>
                  <a:pt x="5143" y="3918"/>
                </a:lnTo>
                <a:lnTo>
                  <a:pt x="5143" y="3909"/>
                </a:lnTo>
                <a:lnTo>
                  <a:pt x="5144" y="3890"/>
                </a:lnTo>
                <a:lnTo>
                  <a:pt x="5145" y="3881"/>
                </a:lnTo>
                <a:lnTo>
                  <a:pt x="5146" y="3872"/>
                </a:lnTo>
                <a:lnTo>
                  <a:pt x="5148" y="3862"/>
                </a:lnTo>
                <a:lnTo>
                  <a:pt x="5150" y="3853"/>
                </a:lnTo>
                <a:lnTo>
                  <a:pt x="5153" y="3844"/>
                </a:lnTo>
                <a:lnTo>
                  <a:pt x="5156" y="3836"/>
                </a:lnTo>
                <a:lnTo>
                  <a:pt x="5159" y="3827"/>
                </a:lnTo>
                <a:lnTo>
                  <a:pt x="5162" y="3819"/>
                </a:lnTo>
                <a:lnTo>
                  <a:pt x="5166" y="3810"/>
                </a:lnTo>
                <a:lnTo>
                  <a:pt x="5170" y="3802"/>
                </a:lnTo>
                <a:lnTo>
                  <a:pt x="5175" y="3795"/>
                </a:lnTo>
                <a:lnTo>
                  <a:pt x="5179" y="3787"/>
                </a:lnTo>
                <a:lnTo>
                  <a:pt x="5189" y="3774"/>
                </a:lnTo>
                <a:lnTo>
                  <a:pt x="5196" y="3767"/>
                </a:lnTo>
                <a:lnTo>
                  <a:pt x="5202" y="3761"/>
                </a:lnTo>
                <a:lnTo>
                  <a:pt x="5214" y="3748"/>
                </a:lnTo>
                <a:lnTo>
                  <a:pt x="5220" y="3743"/>
                </a:lnTo>
                <a:lnTo>
                  <a:pt x="5227" y="3738"/>
                </a:lnTo>
                <a:lnTo>
                  <a:pt x="5234" y="3734"/>
                </a:lnTo>
                <a:lnTo>
                  <a:pt x="5241" y="3730"/>
                </a:lnTo>
                <a:lnTo>
                  <a:pt x="5248" y="3726"/>
                </a:lnTo>
                <a:lnTo>
                  <a:pt x="5257" y="3723"/>
                </a:lnTo>
                <a:lnTo>
                  <a:pt x="5264" y="3721"/>
                </a:lnTo>
                <a:lnTo>
                  <a:pt x="5272" y="3718"/>
                </a:lnTo>
                <a:lnTo>
                  <a:pt x="5280" y="3716"/>
                </a:lnTo>
                <a:lnTo>
                  <a:pt x="5288" y="3715"/>
                </a:lnTo>
                <a:lnTo>
                  <a:pt x="5296" y="3714"/>
                </a:lnTo>
                <a:lnTo>
                  <a:pt x="5304" y="3714"/>
                </a:lnTo>
                <a:lnTo>
                  <a:pt x="5315" y="3715"/>
                </a:lnTo>
                <a:lnTo>
                  <a:pt x="5320" y="3715"/>
                </a:lnTo>
                <a:lnTo>
                  <a:pt x="5325" y="3716"/>
                </a:lnTo>
                <a:lnTo>
                  <a:pt x="5330" y="3717"/>
                </a:lnTo>
                <a:lnTo>
                  <a:pt x="5334" y="3718"/>
                </a:lnTo>
                <a:lnTo>
                  <a:pt x="5343" y="3721"/>
                </a:lnTo>
                <a:lnTo>
                  <a:pt x="5351" y="3725"/>
                </a:lnTo>
                <a:lnTo>
                  <a:pt x="5358" y="3730"/>
                </a:lnTo>
                <a:lnTo>
                  <a:pt x="5365" y="3735"/>
                </a:lnTo>
                <a:lnTo>
                  <a:pt x="5372" y="3741"/>
                </a:lnTo>
                <a:lnTo>
                  <a:pt x="5374" y="3744"/>
                </a:lnTo>
                <a:lnTo>
                  <a:pt x="5377" y="3748"/>
                </a:lnTo>
                <a:lnTo>
                  <a:pt x="5382" y="3756"/>
                </a:lnTo>
                <a:lnTo>
                  <a:pt x="5386" y="3764"/>
                </a:lnTo>
                <a:lnTo>
                  <a:pt x="5389" y="3772"/>
                </a:lnTo>
                <a:lnTo>
                  <a:pt x="5392" y="3781"/>
                </a:lnTo>
                <a:lnTo>
                  <a:pt x="5394" y="3790"/>
                </a:lnTo>
                <a:lnTo>
                  <a:pt x="5395" y="3800"/>
                </a:lnTo>
                <a:lnTo>
                  <a:pt x="5395" y="3809"/>
                </a:lnTo>
                <a:lnTo>
                  <a:pt x="5394" y="3823"/>
                </a:lnTo>
                <a:lnTo>
                  <a:pt x="5393" y="3829"/>
                </a:lnTo>
                <a:lnTo>
                  <a:pt x="5392" y="3835"/>
                </a:lnTo>
                <a:lnTo>
                  <a:pt x="5388" y="3847"/>
                </a:lnTo>
                <a:lnTo>
                  <a:pt x="5383" y="3859"/>
                </a:lnTo>
                <a:lnTo>
                  <a:pt x="5377" y="3870"/>
                </a:lnTo>
                <a:lnTo>
                  <a:pt x="5369" y="3881"/>
                </a:lnTo>
                <a:lnTo>
                  <a:pt x="5365" y="3887"/>
                </a:lnTo>
                <a:lnTo>
                  <a:pt x="5360" y="3891"/>
                </a:lnTo>
                <a:lnTo>
                  <a:pt x="5351" y="3901"/>
                </a:lnTo>
                <a:lnTo>
                  <a:pt x="5341" y="3909"/>
                </a:lnTo>
                <a:lnTo>
                  <a:pt x="5336" y="3913"/>
                </a:lnTo>
                <a:lnTo>
                  <a:pt x="5331" y="3917"/>
                </a:lnTo>
                <a:lnTo>
                  <a:pt x="5319" y="3923"/>
                </a:lnTo>
                <a:lnTo>
                  <a:pt x="5307" y="3929"/>
                </a:lnTo>
                <a:lnTo>
                  <a:pt x="5294" y="3935"/>
                </a:lnTo>
                <a:lnTo>
                  <a:pt x="5288" y="3936"/>
                </a:lnTo>
                <a:lnTo>
                  <a:pt x="5282" y="3938"/>
                </a:lnTo>
                <a:lnTo>
                  <a:pt x="5276" y="3939"/>
                </a:lnTo>
                <a:lnTo>
                  <a:pt x="5270" y="3940"/>
                </a:lnTo>
                <a:lnTo>
                  <a:pt x="5257" y="3941"/>
                </a:lnTo>
                <a:lnTo>
                  <a:pt x="5252" y="3940"/>
                </a:lnTo>
                <a:lnTo>
                  <a:pt x="5246" y="3938"/>
                </a:lnTo>
                <a:lnTo>
                  <a:pt x="5241" y="3935"/>
                </a:lnTo>
                <a:lnTo>
                  <a:pt x="5239" y="3933"/>
                </a:lnTo>
                <a:lnTo>
                  <a:pt x="5237" y="3930"/>
                </a:lnTo>
                <a:lnTo>
                  <a:pt x="5234" y="3926"/>
                </a:lnTo>
                <a:lnTo>
                  <a:pt x="5232" y="3921"/>
                </a:lnTo>
                <a:lnTo>
                  <a:pt x="5231" y="3918"/>
                </a:lnTo>
                <a:lnTo>
                  <a:pt x="5230" y="3915"/>
                </a:lnTo>
                <a:lnTo>
                  <a:pt x="5230" y="3908"/>
                </a:lnTo>
                <a:lnTo>
                  <a:pt x="5230" y="3906"/>
                </a:lnTo>
                <a:lnTo>
                  <a:pt x="5230" y="3903"/>
                </a:lnTo>
                <a:lnTo>
                  <a:pt x="5231" y="3898"/>
                </a:lnTo>
                <a:lnTo>
                  <a:pt x="5232" y="3896"/>
                </a:lnTo>
                <a:lnTo>
                  <a:pt x="5234" y="3894"/>
                </a:lnTo>
                <a:lnTo>
                  <a:pt x="5235" y="3892"/>
                </a:lnTo>
                <a:lnTo>
                  <a:pt x="5237" y="3891"/>
                </a:lnTo>
                <a:lnTo>
                  <a:pt x="5248" y="3889"/>
                </a:lnTo>
                <a:lnTo>
                  <a:pt x="5259" y="3887"/>
                </a:lnTo>
                <a:lnTo>
                  <a:pt x="5269" y="3883"/>
                </a:lnTo>
                <a:lnTo>
                  <a:pt x="5279" y="3879"/>
                </a:lnTo>
                <a:lnTo>
                  <a:pt x="5288" y="3875"/>
                </a:lnTo>
                <a:lnTo>
                  <a:pt x="5297" y="3869"/>
                </a:lnTo>
                <a:lnTo>
                  <a:pt x="5304" y="3863"/>
                </a:lnTo>
                <a:lnTo>
                  <a:pt x="5308" y="3860"/>
                </a:lnTo>
                <a:lnTo>
                  <a:pt x="5313" y="3857"/>
                </a:lnTo>
                <a:lnTo>
                  <a:pt x="5319" y="3851"/>
                </a:lnTo>
                <a:lnTo>
                  <a:pt x="5325" y="3845"/>
                </a:lnTo>
                <a:lnTo>
                  <a:pt x="5330" y="3838"/>
                </a:lnTo>
                <a:lnTo>
                  <a:pt x="5334" y="3831"/>
                </a:lnTo>
                <a:lnTo>
                  <a:pt x="5337" y="3824"/>
                </a:lnTo>
                <a:lnTo>
                  <a:pt x="5340" y="3817"/>
                </a:lnTo>
                <a:lnTo>
                  <a:pt x="5341" y="3809"/>
                </a:lnTo>
                <a:lnTo>
                  <a:pt x="5342" y="3802"/>
                </a:lnTo>
                <a:lnTo>
                  <a:pt x="5341" y="3794"/>
                </a:lnTo>
                <a:lnTo>
                  <a:pt x="5339" y="3786"/>
                </a:lnTo>
                <a:lnTo>
                  <a:pt x="5337" y="3783"/>
                </a:lnTo>
                <a:lnTo>
                  <a:pt x="5336" y="3780"/>
                </a:lnTo>
                <a:lnTo>
                  <a:pt x="5333" y="3777"/>
                </a:lnTo>
                <a:lnTo>
                  <a:pt x="5331" y="3775"/>
                </a:lnTo>
                <a:lnTo>
                  <a:pt x="5325" y="3771"/>
                </a:lnTo>
                <a:lnTo>
                  <a:pt x="5322" y="3769"/>
                </a:lnTo>
                <a:lnTo>
                  <a:pt x="5318" y="3767"/>
                </a:lnTo>
                <a:lnTo>
                  <a:pt x="5309" y="3766"/>
                </a:lnTo>
                <a:lnTo>
                  <a:pt x="5305" y="3765"/>
                </a:lnTo>
                <a:lnTo>
                  <a:pt x="5300" y="3765"/>
                </a:lnTo>
                <a:lnTo>
                  <a:pt x="5292" y="3766"/>
                </a:lnTo>
                <a:lnTo>
                  <a:pt x="5287" y="3766"/>
                </a:lnTo>
                <a:lnTo>
                  <a:pt x="5283" y="3768"/>
                </a:lnTo>
                <a:lnTo>
                  <a:pt x="5278" y="3769"/>
                </a:lnTo>
                <a:lnTo>
                  <a:pt x="5274" y="3771"/>
                </a:lnTo>
                <a:lnTo>
                  <a:pt x="5270" y="3773"/>
                </a:lnTo>
                <a:lnTo>
                  <a:pt x="5265" y="3776"/>
                </a:lnTo>
                <a:lnTo>
                  <a:pt x="5261" y="3779"/>
                </a:lnTo>
                <a:lnTo>
                  <a:pt x="5257" y="3782"/>
                </a:lnTo>
                <a:lnTo>
                  <a:pt x="5247" y="3789"/>
                </a:lnTo>
                <a:lnTo>
                  <a:pt x="5240" y="3797"/>
                </a:lnTo>
                <a:lnTo>
                  <a:pt x="5232" y="3806"/>
                </a:lnTo>
                <a:lnTo>
                  <a:pt x="5229" y="3812"/>
                </a:lnTo>
                <a:lnTo>
                  <a:pt x="5225" y="3817"/>
                </a:lnTo>
                <a:lnTo>
                  <a:pt x="5219" y="3828"/>
                </a:lnTo>
                <a:lnTo>
                  <a:pt x="5214" y="3839"/>
                </a:lnTo>
                <a:lnTo>
                  <a:pt x="5209" y="3851"/>
                </a:lnTo>
                <a:lnTo>
                  <a:pt x="5205" y="3864"/>
                </a:lnTo>
                <a:lnTo>
                  <a:pt x="5202" y="3879"/>
                </a:lnTo>
                <a:lnTo>
                  <a:pt x="5200" y="3892"/>
                </a:lnTo>
                <a:lnTo>
                  <a:pt x="5200" y="3899"/>
                </a:lnTo>
                <a:lnTo>
                  <a:pt x="5200" y="3906"/>
                </a:lnTo>
                <a:lnTo>
                  <a:pt x="5200" y="3919"/>
                </a:lnTo>
                <a:lnTo>
                  <a:pt x="5202" y="3932"/>
                </a:lnTo>
                <a:lnTo>
                  <a:pt x="5204" y="3944"/>
                </a:lnTo>
                <a:lnTo>
                  <a:pt x="5205" y="3950"/>
                </a:lnTo>
                <a:lnTo>
                  <a:pt x="5207" y="3955"/>
                </a:lnTo>
                <a:lnTo>
                  <a:pt x="5210" y="3965"/>
                </a:lnTo>
                <a:lnTo>
                  <a:pt x="5212" y="3970"/>
                </a:lnTo>
                <a:lnTo>
                  <a:pt x="5215" y="3975"/>
                </a:lnTo>
                <a:lnTo>
                  <a:pt x="5217" y="3980"/>
                </a:lnTo>
                <a:lnTo>
                  <a:pt x="5220" y="3984"/>
                </a:lnTo>
                <a:lnTo>
                  <a:pt x="5223" y="3989"/>
                </a:lnTo>
                <a:lnTo>
                  <a:pt x="5226" y="3994"/>
                </a:lnTo>
                <a:lnTo>
                  <a:pt x="5229" y="3997"/>
                </a:lnTo>
                <a:lnTo>
                  <a:pt x="5233" y="4001"/>
                </a:lnTo>
                <a:lnTo>
                  <a:pt x="5240" y="4008"/>
                </a:lnTo>
                <a:lnTo>
                  <a:pt x="5248" y="4013"/>
                </a:lnTo>
                <a:lnTo>
                  <a:pt x="5257" y="4018"/>
                </a:lnTo>
                <a:lnTo>
                  <a:pt x="5266" y="4022"/>
                </a:lnTo>
                <a:lnTo>
                  <a:pt x="5276" y="4025"/>
                </a:lnTo>
                <a:lnTo>
                  <a:pt x="5286" y="4026"/>
                </a:lnTo>
                <a:lnTo>
                  <a:pt x="5291" y="4027"/>
                </a:lnTo>
                <a:lnTo>
                  <a:pt x="5297" y="4027"/>
                </a:lnTo>
                <a:lnTo>
                  <a:pt x="5307" y="4027"/>
                </a:lnTo>
                <a:lnTo>
                  <a:pt x="5318" y="4025"/>
                </a:lnTo>
                <a:lnTo>
                  <a:pt x="5328" y="4023"/>
                </a:lnTo>
                <a:lnTo>
                  <a:pt x="5338" y="4019"/>
                </a:lnTo>
                <a:lnTo>
                  <a:pt x="5347" y="4015"/>
                </a:lnTo>
                <a:lnTo>
                  <a:pt x="5356" y="4010"/>
                </a:lnTo>
                <a:lnTo>
                  <a:pt x="5365" y="4004"/>
                </a:lnTo>
                <a:lnTo>
                  <a:pt x="5374" y="3998"/>
                </a:lnTo>
                <a:lnTo>
                  <a:pt x="5382" y="3989"/>
                </a:lnTo>
                <a:lnTo>
                  <a:pt x="5390" y="3981"/>
                </a:lnTo>
                <a:lnTo>
                  <a:pt x="5397" y="3973"/>
                </a:lnTo>
                <a:lnTo>
                  <a:pt x="5404" y="3964"/>
                </a:lnTo>
                <a:lnTo>
                  <a:pt x="5417" y="3945"/>
                </a:lnTo>
                <a:lnTo>
                  <a:pt x="5423" y="3934"/>
                </a:lnTo>
                <a:lnTo>
                  <a:pt x="5428" y="3922"/>
                </a:lnTo>
                <a:lnTo>
                  <a:pt x="5434" y="3911"/>
                </a:lnTo>
                <a:lnTo>
                  <a:pt x="5439" y="3900"/>
                </a:lnTo>
                <a:lnTo>
                  <a:pt x="5444" y="3889"/>
                </a:lnTo>
                <a:lnTo>
                  <a:pt x="5448" y="3877"/>
                </a:lnTo>
                <a:lnTo>
                  <a:pt x="5452" y="3864"/>
                </a:lnTo>
                <a:lnTo>
                  <a:pt x="5455" y="3852"/>
                </a:lnTo>
                <a:lnTo>
                  <a:pt x="5458" y="3840"/>
                </a:lnTo>
                <a:lnTo>
                  <a:pt x="5461" y="3828"/>
                </a:lnTo>
                <a:lnTo>
                  <a:pt x="5463" y="3816"/>
                </a:lnTo>
                <a:lnTo>
                  <a:pt x="5465" y="3803"/>
                </a:lnTo>
                <a:lnTo>
                  <a:pt x="5466" y="3791"/>
                </a:lnTo>
                <a:lnTo>
                  <a:pt x="5467" y="3780"/>
                </a:lnTo>
                <a:lnTo>
                  <a:pt x="5468" y="3768"/>
                </a:lnTo>
                <a:lnTo>
                  <a:pt x="5468" y="3757"/>
                </a:lnTo>
                <a:lnTo>
                  <a:pt x="5468" y="3746"/>
                </a:lnTo>
                <a:lnTo>
                  <a:pt x="5468" y="3735"/>
                </a:lnTo>
                <a:lnTo>
                  <a:pt x="5469" y="3733"/>
                </a:lnTo>
                <a:lnTo>
                  <a:pt x="5470" y="3731"/>
                </a:lnTo>
                <a:lnTo>
                  <a:pt x="5473" y="3729"/>
                </a:lnTo>
                <a:lnTo>
                  <a:pt x="5475" y="3727"/>
                </a:lnTo>
                <a:lnTo>
                  <a:pt x="5482" y="3724"/>
                </a:lnTo>
                <a:lnTo>
                  <a:pt x="5486" y="3723"/>
                </a:lnTo>
                <a:lnTo>
                  <a:pt x="5491" y="3723"/>
                </a:lnTo>
                <a:lnTo>
                  <a:pt x="5498" y="3724"/>
                </a:lnTo>
                <a:lnTo>
                  <a:pt x="5501" y="3724"/>
                </a:lnTo>
                <a:lnTo>
                  <a:pt x="5505" y="3725"/>
                </a:lnTo>
                <a:lnTo>
                  <a:pt x="5510" y="3728"/>
                </a:lnTo>
                <a:lnTo>
                  <a:pt x="5513" y="3730"/>
                </a:lnTo>
                <a:lnTo>
                  <a:pt x="5515" y="3732"/>
                </a:lnTo>
                <a:lnTo>
                  <a:pt x="5519" y="3738"/>
                </a:lnTo>
                <a:lnTo>
                  <a:pt x="5521" y="3741"/>
                </a:lnTo>
                <a:lnTo>
                  <a:pt x="5522" y="3745"/>
                </a:lnTo>
                <a:lnTo>
                  <a:pt x="5523" y="3750"/>
                </a:lnTo>
                <a:lnTo>
                  <a:pt x="5524" y="3756"/>
                </a:lnTo>
                <a:lnTo>
                  <a:pt x="5525" y="3761"/>
                </a:lnTo>
                <a:lnTo>
                  <a:pt x="5525" y="3767"/>
                </a:lnTo>
                <a:lnTo>
                  <a:pt x="5524" y="3782"/>
                </a:lnTo>
                <a:lnTo>
                  <a:pt x="5523" y="3798"/>
                </a:lnTo>
                <a:lnTo>
                  <a:pt x="5522" y="3814"/>
                </a:lnTo>
                <a:lnTo>
                  <a:pt x="5520" y="3829"/>
                </a:lnTo>
                <a:lnTo>
                  <a:pt x="5517" y="3844"/>
                </a:lnTo>
                <a:lnTo>
                  <a:pt x="5514" y="3859"/>
                </a:lnTo>
                <a:lnTo>
                  <a:pt x="5511" y="3874"/>
                </a:lnTo>
                <a:lnTo>
                  <a:pt x="5507" y="3888"/>
                </a:lnTo>
                <a:lnTo>
                  <a:pt x="5502" y="3902"/>
                </a:lnTo>
                <a:lnTo>
                  <a:pt x="5498" y="3916"/>
                </a:lnTo>
                <a:lnTo>
                  <a:pt x="5492" y="3929"/>
                </a:lnTo>
                <a:lnTo>
                  <a:pt x="5486" y="3943"/>
                </a:lnTo>
                <a:lnTo>
                  <a:pt x="5480" y="3955"/>
                </a:lnTo>
                <a:lnTo>
                  <a:pt x="5473" y="3967"/>
                </a:lnTo>
                <a:lnTo>
                  <a:pt x="5466" y="3979"/>
                </a:lnTo>
                <a:lnTo>
                  <a:pt x="5459" y="3990"/>
                </a:lnTo>
                <a:lnTo>
                  <a:pt x="5451" y="4002"/>
                </a:lnTo>
                <a:lnTo>
                  <a:pt x="5443" y="4012"/>
                </a:lnTo>
                <a:lnTo>
                  <a:pt x="5435" y="4021"/>
                </a:lnTo>
                <a:lnTo>
                  <a:pt x="5425" y="4030"/>
                </a:lnTo>
                <a:lnTo>
                  <a:pt x="5416" y="4039"/>
                </a:lnTo>
                <a:lnTo>
                  <a:pt x="5407" y="4047"/>
                </a:lnTo>
                <a:lnTo>
                  <a:pt x="5397" y="4055"/>
                </a:lnTo>
                <a:lnTo>
                  <a:pt x="5387" y="4061"/>
                </a:lnTo>
                <a:lnTo>
                  <a:pt x="5377" y="4067"/>
                </a:lnTo>
                <a:lnTo>
                  <a:pt x="5365" y="4072"/>
                </a:lnTo>
                <a:lnTo>
                  <a:pt x="5354" y="4077"/>
                </a:lnTo>
                <a:lnTo>
                  <a:pt x="5343" y="4081"/>
                </a:lnTo>
                <a:lnTo>
                  <a:pt x="5332" y="4084"/>
                </a:lnTo>
                <a:lnTo>
                  <a:pt x="5320" y="4086"/>
                </a:lnTo>
                <a:lnTo>
                  <a:pt x="5307" y="4087"/>
                </a:lnTo>
                <a:lnTo>
                  <a:pt x="5295" y="4087"/>
                </a:lnTo>
                <a:close/>
                <a:moveTo>
                  <a:pt x="5682" y="4082"/>
                </a:moveTo>
                <a:lnTo>
                  <a:pt x="5681" y="4081"/>
                </a:lnTo>
                <a:lnTo>
                  <a:pt x="5678" y="4081"/>
                </a:lnTo>
                <a:lnTo>
                  <a:pt x="5673" y="4078"/>
                </a:lnTo>
                <a:lnTo>
                  <a:pt x="5666" y="4074"/>
                </a:lnTo>
                <a:lnTo>
                  <a:pt x="5658" y="4068"/>
                </a:lnTo>
                <a:lnTo>
                  <a:pt x="5646" y="4057"/>
                </a:lnTo>
                <a:lnTo>
                  <a:pt x="5631" y="4042"/>
                </a:lnTo>
                <a:lnTo>
                  <a:pt x="5614" y="4027"/>
                </a:lnTo>
                <a:lnTo>
                  <a:pt x="5597" y="4010"/>
                </a:lnTo>
                <a:lnTo>
                  <a:pt x="5581" y="3993"/>
                </a:lnTo>
                <a:lnTo>
                  <a:pt x="5567" y="3975"/>
                </a:lnTo>
                <a:lnTo>
                  <a:pt x="5555" y="3961"/>
                </a:lnTo>
                <a:lnTo>
                  <a:pt x="5551" y="3955"/>
                </a:lnTo>
                <a:lnTo>
                  <a:pt x="5547" y="3950"/>
                </a:lnTo>
                <a:lnTo>
                  <a:pt x="5541" y="3939"/>
                </a:lnTo>
                <a:lnTo>
                  <a:pt x="5538" y="3929"/>
                </a:lnTo>
                <a:lnTo>
                  <a:pt x="5535" y="3919"/>
                </a:lnTo>
                <a:lnTo>
                  <a:pt x="5534" y="3909"/>
                </a:lnTo>
                <a:lnTo>
                  <a:pt x="5535" y="3903"/>
                </a:lnTo>
                <a:lnTo>
                  <a:pt x="5536" y="3898"/>
                </a:lnTo>
                <a:lnTo>
                  <a:pt x="5537" y="3892"/>
                </a:lnTo>
                <a:lnTo>
                  <a:pt x="5539" y="3886"/>
                </a:lnTo>
                <a:lnTo>
                  <a:pt x="5542" y="3880"/>
                </a:lnTo>
                <a:lnTo>
                  <a:pt x="5545" y="3873"/>
                </a:lnTo>
                <a:lnTo>
                  <a:pt x="5549" y="3866"/>
                </a:lnTo>
                <a:lnTo>
                  <a:pt x="5554" y="3859"/>
                </a:lnTo>
                <a:lnTo>
                  <a:pt x="5562" y="3848"/>
                </a:lnTo>
                <a:lnTo>
                  <a:pt x="5574" y="3834"/>
                </a:lnTo>
                <a:lnTo>
                  <a:pt x="5603" y="3800"/>
                </a:lnTo>
                <a:lnTo>
                  <a:pt x="5639" y="3761"/>
                </a:lnTo>
                <a:lnTo>
                  <a:pt x="5675" y="3719"/>
                </a:lnTo>
                <a:lnTo>
                  <a:pt x="5676" y="3719"/>
                </a:lnTo>
                <a:lnTo>
                  <a:pt x="5679" y="3719"/>
                </a:lnTo>
                <a:lnTo>
                  <a:pt x="5683" y="3719"/>
                </a:lnTo>
                <a:lnTo>
                  <a:pt x="5687" y="3720"/>
                </a:lnTo>
                <a:lnTo>
                  <a:pt x="5691" y="3722"/>
                </a:lnTo>
                <a:lnTo>
                  <a:pt x="5696" y="3724"/>
                </a:lnTo>
                <a:lnTo>
                  <a:pt x="5700" y="3728"/>
                </a:lnTo>
                <a:lnTo>
                  <a:pt x="5704" y="3731"/>
                </a:lnTo>
                <a:lnTo>
                  <a:pt x="5707" y="3735"/>
                </a:lnTo>
                <a:lnTo>
                  <a:pt x="5710" y="3740"/>
                </a:lnTo>
                <a:lnTo>
                  <a:pt x="5711" y="3745"/>
                </a:lnTo>
                <a:lnTo>
                  <a:pt x="5712" y="3750"/>
                </a:lnTo>
                <a:lnTo>
                  <a:pt x="5711" y="3756"/>
                </a:lnTo>
                <a:lnTo>
                  <a:pt x="5710" y="3762"/>
                </a:lnTo>
                <a:lnTo>
                  <a:pt x="5707" y="3767"/>
                </a:lnTo>
                <a:lnTo>
                  <a:pt x="5703" y="3773"/>
                </a:lnTo>
                <a:lnTo>
                  <a:pt x="5695" y="3783"/>
                </a:lnTo>
                <a:lnTo>
                  <a:pt x="5683" y="3797"/>
                </a:lnTo>
                <a:lnTo>
                  <a:pt x="5653" y="3831"/>
                </a:lnTo>
                <a:lnTo>
                  <a:pt x="5624" y="3864"/>
                </a:lnTo>
                <a:lnTo>
                  <a:pt x="5611" y="3880"/>
                </a:lnTo>
                <a:lnTo>
                  <a:pt x="5601" y="3891"/>
                </a:lnTo>
                <a:lnTo>
                  <a:pt x="5599" y="3895"/>
                </a:lnTo>
                <a:lnTo>
                  <a:pt x="5597" y="3899"/>
                </a:lnTo>
                <a:lnTo>
                  <a:pt x="5596" y="3902"/>
                </a:lnTo>
                <a:lnTo>
                  <a:pt x="5596" y="3906"/>
                </a:lnTo>
                <a:lnTo>
                  <a:pt x="5596" y="3910"/>
                </a:lnTo>
                <a:lnTo>
                  <a:pt x="5597" y="3915"/>
                </a:lnTo>
                <a:lnTo>
                  <a:pt x="5600" y="3919"/>
                </a:lnTo>
                <a:lnTo>
                  <a:pt x="5603" y="3924"/>
                </a:lnTo>
                <a:lnTo>
                  <a:pt x="5611" y="3934"/>
                </a:lnTo>
                <a:lnTo>
                  <a:pt x="5621" y="3945"/>
                </a:lnTo>
                <a:lnTo>
                  <a:pt x="5649" y="3975"/>
                </a:lnTo>
                <a:lnTo>
                  <a:pt x="5682" y="4008"/>
                </a:lnTo>
                <a:lnTo>
                  <a:pt x="5713" y="4038"/>
                </a:lnTo>
                <a:lnTo>
                  <a:pt x="5714" y="4040"/>
                </a:lnTo>
                <a:lnTo>
                  <a:pt x="5716" y="4042"/>
                </a:lnTo>
                <a:lnTo>
                  <a:pt x="5717" y="4044"/>
                </a:lnTo>
                <a:lnTo>
                  <a:pt x="5717" y="4047"/>
                </a:lnTo>
                <a:lnTo>
                  <a:pt x="5716" y="4053"/>
                </a:lnTo>
                <a:lnTo>
                  <a:pt x="5715" y="4056"/>
                </a:lnTo>
                <a:lnTo>
                  <a:pt x="5714" y="4059"/>
                </a:lnTo>
                <a:lnTo>
                  <a:pt x="5710" y="4065"/>
                </a:lnTo>
                <a:lnTo>
                  <a:pt x="5708" y="4067"/>
                </a:lnTo>
                <a:lnTo>
                  <a:pt x="5705" y="4070"/>
                </a:lnTo>
                <a:lnTo>
                  <a:pt x="5700" y="4075"/>
                </a:lnTo>
                <a:lnTo>
                  <a:pt x="5697" y="4077"/>
                </a:lnTo>
                <a:lnTo>
                  <a:pt x="5694" y="4078"/>
                </a:lnTo>
                <a:lnTo>
                  <a:pt x="5688" y="4081"/>
                </a:lnTo>
                <a:lnTo>
                  <a:pt x="5685" y="4081"/>
                </a:lnTo>
                <a:lnTo>
                  <a:pt x="5682" y="4082"/>
                </a:lnTo>
                <a:close/>
                <a:moveTo>
                  <a:pt x="2533" y="3591"/>
                </a:moveTo>
                <a:lnTo>
                  <a:pt x="2525" y="3591"/>
                </a:lnTo>
                <a:lnTo>
                  <a:pt x="2518" y="3590"/>
                </a:lnTo>
                <a:lnTo>
                  <a:pt x="2510" y="3589"/>
                </a:lnTo>
                <a:lnTo>
                  <a:pt x="2503" y="3587"/>
                </a:lnTo>
                <a:lnTo>
                  <a:pt x="2496" y="3585"/>
                </a:lnTo>
                <a:lnTo>
                  <a:pt x="2488" y="3583"/>
                </a:lnTo>
                <a:lnTo>
                  <a:pt x="2474" y="3577"/>
                </a:lnTo>
                <a:lnTo>
                  <a:pt x="2461" y="3569"/>
                </a:lnTo>
                <a:lnTo>
                  <a:pt x="2455" y="3565"/>
                </a:lnTo>
                <a:lnTo>
                  <a:pt x="2449" y="3560"/>
                </a:lnTo>
                <a:lnTo>
                  <a:pt x="2443" y="3555"/>
                </a:lnTo>
                <a:lnTo>
                  <a:pt x="2437" y="3550"/>
                </a:lnTo>
                <a:lnTo>
                  <a:pt x="2432" y="3545"/>
                </a:lnTo>
                <a:lnTo>
                  <a:pt x="2425" y="3539"/>
                </a:lnTo>
                <a:lnTo>
                  <a:pt x="2420" y="3533"/>
                </a:lnTo>
                <a:lnTo>
                  <a:pt x="2416" y="3527"/>
                </a:lnTo>
                <a:lnTo>
                  <a:pt x="2411" y="3520"/>
                </a:lnTo>
                <a:lnTo>
                  <a:pt x="2407" y="3513"/>
                </a:lnTo>
                <a:lnTo>
                  <a:pt x="2403" y="3505"/>
                </a:lnTo>
                <a:lnTo>
                  <a:pt x="2400" y="3498"/>
                </a:lnTo>
                <a:lnTo>
                  <a:pt x="2396" y="3490"/>
                </a:lnTo>
                <a:lnTo>
                  <a:pt x="2393" y="3482"/>
                </a:lnTo>
                <a:lnTo>
                  <a:pt x="2391" y="3474"/>
                </a:lnTo>
                <a:lnTo>
                  <a:pt x="2388" y="3466"/>
                </a:lnTo>
                <a:lnTo>
                  <a:pt x="2386" y="3458"/>
                </a:lnTo>
                <a:lnTo>
                  <a:pt x="2385" y="3448"/>
                </a:lnTo>
                <a:lnTo>
                  <a:pt x="2383" y="3439"/>
                </a:lnTo>
                <a:lnTo>
                  <a:pt x="2382" y="3431"/>
                </a:lnTo>
                <a:lnTo>
                  <a:pt x="2382" y="3422"/>
                </a:lnTo>
                <a:lnTo>
                  <a:pt x="2382" y="3412"/>
                </a:lnTo>
                <a:lnTo>
                  <a:pt x="2382" y="3394"/>
                </a:lnTo>
                <a:lnTo>
                  <a:pt x="2383" y="3384"/>
                </a:lnTo>
                <a:lnTo>
                  <a:pt x="2385" y="3374"/>
                </a:lnTo>
                <a:lnTo>
                  <a:pt x="2386" y="3365"/>
                </a:lnTo>
                <a:lnTo>
                  <a:pt x="2389" y="3357"/>
                </a:lnTo>
                <a:lnTo>
                  <a:pt x="2391" y="3348"/>
                </a:lnTo>
                <a:lnTo>
                  <a:pt x="2394" y="3339"/>
                </a:lnTo>
                <a:lnTo>
                  <a:pt x="2397" y="3330"/>
                </a:lnTo>
                <a:lnTo>
                  <a:pt x="2401" y="3322"/>
                </a:lnTo>
                <a:lnTo>
                  <a:pt x="2404" y="3314"/>
                </a:lnTo>
                <a:lnTo>
                  <a:pt x="2408" y="3306"/>
                </a:lnTo>
                <a:lnTo>
                  <a:pt x="2413" y="3298"/>
                </a:lnTo>
                <a:lnTo>
                  <a:pt x="2418" y="3291"/>
                </a:lnTo>
                <a:lnTo>
                  <a:pt x="2428" y="3277"/>
                </a:lnTo>
                <a:lnTo>
                  <a:pt x="2434" y="3269"/>
                </a:lnTo>
                <a:lnTo>
                  <a:pt x="2440" y="3263"/>
                </a:lnTo>
                <a:lnTo>
                  <a:pt x="2452" y="3252"/>
                </a:lnTo>
                <a:lnTo>
                  <a:pt x="2459" y="3247"/>
                </a:lnTo>
                <a:lnTo>
                  <a:pt x="2465" y="3242"/>
                </a:lnTo>
                <a:lnTo>
                  <a:pt x="2472" y="3237"/>
                </a:lnTo>
                <a:lnTo>
                  <a:pt x="2479" y="3233"/>
                </a:lnTo>
                <a:lnTo>
                  <a:pt x="2487" y="3230"/>
                </a:lnTo>
                <a:lnTo>
                  <a:pt x="2495" y="3227"/>
                </a:lnTo>
                <a:lnTo>
                  <a:pt x="2503" y="3224"/>
                </a:lnTo>
                <a:lnTo>
                  <a:pt x="2510" y="3222"/>
                </a:lnTo>
                <a:lnTo>
                  <a:pt x="2518" y="3220"/>
                </a:lnTo>
                <a:lnTo>
                  <a:pt x="2526" y="3219"/>
                </a:lnTo>
                <a:lnTo>
                  <a:pt x="2534" y="3218"/>
                </a:lnTo>
                <a:lnTo>
                  <a:pt x="2543" y="3218"/>
                </a:lnTo>
                <a:lnTo>
                  <a:pt x="2554" y="3218"/>
                </a:lnTo>
                <a:lnTo>
                  <a:pt x="2559" y="3219"/>
                </a:lnTo>
                <a:lnTo>
                  <a:pt x="2563" y="3219"/>
                </a:lnTo>
                <a:lnTo>
                  <a:pt x="2568" y="3220"/>
                </a:lnTo>
                <a:lnTo>
                  <a:pt x="2572" y="3222"/>
                </a:lnTo>
                <a:lnTo>
                  <a:pt x="2581" y="3225"/>
                </a:lnTo>
                <a:lnTo>
                  <a:pt x="2589" y="3229"/>
                </a:lnTo>
                <a:lnTo>
                  <a:pt x="2596" y="3233"/>
                </a:lnTo>
                <a:lnTo>
                  <a:pt x="2603" y="3239"/>
                </a:lnTo>
                <a:lnTo>
                  <a:pt x="2609" y="3245"/>
                </a:lnTo>
                <a:lnTo>
                  <a:pt x="2613" y="3248"/>
                </a:lnTo>
                <a:lnTo>
                  <a:pt x="2615" y="3251"/>
                </a:lnTo>
                <a:lnTo>
                  <a:pt x="2620" y="3258"/>
                </a:lnTo>
                <a:lnTo>
                  <a:pt x="2624" y="3266"/>
                </a:lnTo>
                <a:lnTo>
                  <a:pt x="2627" y="3276"/>
                </a:lnTo>
                <a:lnTo>
                  <a:pt x="2630" y="3284"/>
                </a:lnTo>
                <a:lnTo>
                  <a:pt x="2632" y="3293"/>
                </a:lnTo>
                <a:lnTo>
                  <a:pt x="2633" y="3303"/>
                </a:lnTo>
                <a:lnTo>
                  <a:pt x="2633" y="3313"/>
                </a:lnTo>
                <a:lnTo>
                  <a:pt x="2633" y="3325"/>
                </a:lnTo>
                <a:lnTo>
                  <a:pt x="2632" y="3333"/>
                </a:lnTo>
                <a:lnTo>
                  <a:pt x="2630" y="3339"/>
                </a:lnTo>
                <a:lnTo>
                  <a:pt x="2627" y="3351"/>
                </a:lnTo>
                <a:lnTo>
                  <a:pt x="2622" y="3362"/>
                </a:lnTo>
                <a:lnTo>
                  <a:pt x="2615" y="3373"/>
                </a:lnTo>
                <a:lnTo>
                  <a:pt x="2607" y="3384"/>
                </a:lnTo>
                <a:lnTo>
                  <a:pt x="2603" y="3389"/>
                </a:lnTo>
                <a:lnTo>
                  <a:pt x="2599" y="3395"/>
                </a:lnTo>
                <a:lnTo>
                  <a:pt x="2590" y="3404"/>
                </a:lnTo>
                <a:lnTo>
                  <a:pt x="2580" y="3413"/>
                </a:lnTo>
                <a:lnTo>
                  <a:pt x="2574" y="3416"/>
                </a:lnTo>
                <a:lnTo>
                  <a:pt x="2569" y="3420"/>
                </a:lnTo>
                <a:lnTo>
                  <a:pt x="2558" y="3427"/>
                </a:lnTo>
                <a:lnTo>
                  <a:pt x="2545" y="3432"/>
                </a:lnTo>
                <a:lnTo>
                  <a:pt x="2533" y="3437"/>
                </a:lnTo>
                <a:lnTo>
                  <a:pt x="2527" y="3439"/>
                </a:lnTo>
                <a:lnTo>
                  <a:pt x="2520" y="3440"/>
                </a:lnTo>
                <a:lnTo>
                  <a:pt x="2514" y="3441"/>
                </a:lnTo>
                <a:lnTo>
                  <a:pt x="2508" y="3442"/>
                </a:lnTo>
                <a:lnTo>
                  <a:pt x="2495" y="3443"/>
                </a:lnTo>
                <a:lnTo>
                  <a:pt x="2489" y="3442"/>
                </a:lnTo>
                <a:lnTo>
                  <a:pt x="2484" y="3441"/>
                </a:lnTo>
                <a:lnTo>
                  <a:pt x="2480" y="3438"/>
                </a:lnTo>
                <a:lnTo>
                  <a:pt x="2478" y="3436"/>
                </a:lnTo>
                <a:lnTo>
                  <a:pt x="2476" y="3434"/>
                </a:lnTo>
                <a:lnTo>
                  <a:pt x="2473" y="3429"/>
                </a:lnTo>
                <a:lnTo>
                  <a:pt x="2470" y="3424"/>
                </a:lnTo>
                <a:lnTo>
                  <a:pt x="2469" y="3421"/>
                </a:lnTo>
                <a:lnTo>
                  <a:pt x="2469" y="3418"/>
                </a:lnTo>
                <a:lnTo>
                  <a:pt x="2468" y="3412"/>
                </a:lnTo>
                <a:lnTo>
                  <a:pt x="2468" y="3409"/>
                </a:lnTo>
                <a:lnTo>
                  <a:pt x="2469" y="3406"/>
                </a:lnTo>
                <a:lnTo>
                  <a:pt x="2470" y="3401"/>
                </a:lnTo>
                <a:lnTo>
                  <a:pt x="2471" y="3399"/>
                </a:lnTo>
                <a:lnTo>
                  <a:pt x="2472" y="3397"/>
                </a:lnTo>
                <a:lnTo>
                  <a:pt x="2473" y="3396"/>
                </a:lnTo>
                <a:lnTo>
                  <a:pt x="2475" y="3395"/>
                </a:lnTo>
                <a:lnTo>
                  <a:pt x="2486" y="3393"/>
                </a:lnTo>
                <a:lnTo>
                  <a:pt x="2498" y="3389"/>
                </a:lnTo>
                <a:lnTo>
                  <a:pt x="2508" y="3386"/>
                </a:lnTo>
                <a:lnTo>
                  <a:pt x="2517" y="3382"/>
                </a:lnTo>
                <a:lnTo>
                  <a:pt x="2526" y="3377"/>
                </a:lnTo>
                <a:lnTo>
                  <a:pt x="2535" y="3372"/>
                </a:lnTo>
                <a:lnTo>
                  <a:pt x="2543" y="3367"/>
                </a:lnTo>
                <a:lnTo>
                  <a:pt x="2546" y="3364"/>
                </a:lnTo>
                <a:lnTo>
                  <a:pt x="2551" y="3361"/>
                </a:lnTo>
                <a:lnTo>
                  <a:pt x="2557" y="3354"/>
                </a:lnTo>
                <a:lnTo>
                  <a:pt x="2563" y="3348"/>
                </a:lnTo>
                <a:lnTo>
                  <a:pt x="2568" y="3341"/>
                </a:lnTo>
                <a:lnTo>
                  <a:pt x="2572" y="3334"/>
                </a:lnTo>
                <a:lnTo>
                  <a:pt x="2576" y="3326"/>
                </a:lnTo>
                <a:lnTo>
                  <a:pt x="2578" y="3319"/>
                </a:lnTo>
                <a:lnTo>
                  <a:pt x="2580" y="3312"/>
                </a:lnTo>
                <a:lnTo>
                  <a:pt x="2580" y="3305"/>
                </a:lnTo>
                <a:lnTo>
                  <a:pt x="2579" y="3297"/>
                </a:lnTo>
                <a:lnTo>
                  <a:pt x="2577" y="3290"/>
                </a:lnTo>
                <a:lnTo>
                  <a:pt x="2576" y="3286"/>
                </a:lnTo>
                <a:lnTo>
                  <a:pt x="2574" y="3283"/>
                </a:lnTo>
                <a:lnTo>
                  <a:pt x="2572" y="3281"/>
                </a:lnTo>
                <a:lnTo>
                  <a:pt x="2569" y="3278"/>
                </a:lnTo>
                <a:lnTo>
                  <a:pt x="2563" y="3274"/>
                </a:lnTo>
                <a:lnTo>
                  <a:pt x="2560" y="3272"/>
                </a:lnTo>
                <a:lnTo>
                  <a:pt x="2557" y="3270"/>
                </a:lnTo>
                <a:lnTo>
                  <a:pt x="2548" y="3268"/>
                </a:lnTo>
                <a:lnTo>
                  <a:pt x="2543" y="3267"/>
                </a:lnTo>
                <a:lnTo>
                  <a:pt x="2539" y="3267"/>
                </a:lnTo>
                <a:lnTo>
                  <a:pt x="2530" y="3268"/>
                </a:lnTo>
                <a:lnTo>
                  <a:pt x="2526" y="3269"/>
                </a:lnTo>
                <a:lnTo>
                  <a:pt x="2521" y="3270"/>
                </a:lnTo>
                <a:lnTo>
                  <a:pt x="2517" y="3273"/>
                </a:lnTo>
                <a:lnTo>
                  <a:pt x="2512" y="3275"/>
                </a:lnTo>
                <a:lnTo>
                  <a:pt x="2508" y="3277"/>
                </a:lnTo>
                <a:lnTo>
                  <a:pt x="2504" y="3279"/>
                </a:lnTo>
                <a:lnTo>
                  <a:pt x="2499" y="3282"/>
                </a:lnTo>
                <a:lnTo>
                  <a:pt x="2495" y="3285"/>
                </a:lnTo>
                <a:lnTo>
                  <a:pt x="2486" y="3292"/>
                </a:lnTo>
                <a:lnTo>
                  <a:pt x="2478" y="3300"/>
                </a:lnTo>
                <a:lnTo>
                  <a:pt x="2470" y="3309"/>
                </a:lnTo>
                <a:lnTo>
                  <a:pt x="2467" y="3314"/>
                </a:lnTo>
                <a:lnTo>
                  <a:pt x="2464" y="3319"/>
                </a:lnTo>
                <a:lnTo>
                  <a:pt x="2457" y="3330"/>
                </a:lnTo>
                <a:lnTo>
                  <a:pt x="2452" y="3343"/>
                </a:lnTo>
                <a:lnTo>
                  <a:pt x="2447" y="3355"/>
                </a:lnTo>
                <a:lnTo>
                  <a:pt x="2443" y="3368"/>
                </a:lnTo>
                <a:lnTo>
                  <a:pt x="2440" y="3381"/>
                </a:lnTo>
                <a:lnTo>
                  <a:pt x="2439" y="3396"/>
                </a:lnTo>
                <a:lnTo>
                  <a:pt x="2438" y="3403"/>
                </a:lnTo>
                <a:lnTo>
                  <a:pt x="2438" y="3410"/>
                </a:lnTo>
                <a:lnTo>
                  <a:pt x="2439" y="3423"/>
                </a:lnTo>
                <a:lnTo>
                  <a:pt x="2440" y="3435"/>
                </a:lnTo>
                <a:lnTo>
                  <a:pt x="2442" y="3446"/>
                </a:lnTo>
                <a:lnTo>
                  <a:pt x="2443" y="3453"/>
                </a:lnTo>
                <a:lnTo>
                  <a:pt x="2445" y="3458"/>
                </a:lnTo>
                <a:lnTo>
                  <a:pt x="2449" y="3469"/>
                </a:lnTo>
                <a:lnTo>
                  <a:pt x="2451" y="3474"/>
                </a:lnTo>
                <a:lnTo>
                  <a:pt x="2453" y="3479"/>
                </a:lnTo>
                <a:lnTo>
                  <a:pt x="2456" y="3483"/>
                </a:lnTo>
                <a:lnTo>
                  <a:pt x="2458" y="3488"/>
                </a:lnTo>
                <a:lnTo>
                  <a:pt x="2461" y="3492"/>
                </a:lnTo>
                <a:lnTo>
                  <a:pt x="2464" y="3496"/>
                </a:lnTo>
                <a:lnTo>
                  <a:pt x="2467" y="3500"/>
                </a:lnTo>
                <a:lnTo>
                  <a:pt x="2471" y="3503"/>
                </a:lnTo>
                <a:lnTo>
                  <a:pt x="2478" y="3510"/>
                </a:lnTo>
                <a:lnTo>
                  <a:pt x="2486" y="3517"/>
                </a:lnTo>
                <a:lnTo>
                  <a:pt x="2495" y="3522"/>
                </a:lnTo>
                <a:lnTo>
                  <a:pt x="2505" y="3525"/>
                </a:lnTo>
                <a:lnTo>
                  <a:pt x="2514" y="3528"/>
                </a:lnTo>
                <a:lnTo>
                  <a:pt x="2524" y="3530"/>
                </a:lnTo>
                <a:lnTo>
                  <a:pt x="2530" y="3530"/>
                </a:lnTo>
                <a:lnTo>
                  <a:pt x="2535" y="3530"/>
                </a:lnTo>
                <a:lnTo>
                  <a:pt x="2545" y="3530"/>
                </a:lnTo>
                <a:lnTo>
                  <a:pt x="2557" y="3528"/>
                </a:lnTo>
                <a:lnTo>
                  <a:pt x="2567" y="3526"/>
                </a:lnTo>
                <a:lnTo>
                  <a:pt x="2576" y="3523"/>
                </a:lnTo>
                <a:lnTo>
                  <a:pt x="2585" y="3518"/>
                </a:lnTo>
                <a:lnTo>
                  <a:pt x="2594" y="3513"/>
                </a:lnTo>
                <a:lnTo>
                  <a:pt x="2603" y="3507"/>
                </a:lnTo>
                <a:lnTo>
                  <a:pt x="2612" y="3500"/>
                </a:lnTo>
                <a:lnTo>
                  <a:pt x="2620" y="3493"/>
                </a:lnTo>
                <a:lnTo>
                  <a:pt x="2628" y="3485"/>
                </a:lnTo>
                <a:lnTo>
                  <a:pt x="2635" y="3476"/>
                </a:lnTo>
                <a:lnTo>
                  <a:pt x="2642" y="3467"/>
                </a:lnTo>
                <a:lnTo>
                  <a:pt x="2655" y="3447"/>
                </a:lnTo>
                <a:lnTo>
                  <a:pt x="2661" y="3437"/>
                </a:lnTo>
                <a:lnTo>
                  <a:pt x="2666" y="3426"/>
                </a:lnTo>
                <a:lnTo>
                  <a:pt x="2673" y="3415"/>
                </a:lnTo>
                <a:lnTo>
                  <a:pt x="2678" y="3404"/>
                </a:lnTo>
                <a:lnTo>
                  <a:pt x="2682" y="3392"/>
                </a:lnTo>
                <a:lnTo>
                  <a:pt x="2686" y="3379"/>
                </a:lnTo>
                <a:lnTo>
                  <a:pt x="2690" y="3367"/>
                </a:lnTo>
                <a:lnTo>
                  <a:pt x="2693" y="3355"/>
                </a:lnTo>
                <a:lnTo>
                  <a:pt x="2696" y="3343"/>
                </a:lnTo>
                <a:lnTo>
                  <a:pt x="2699" y="3330"/>
                </a:lnTo>
                <a:lnTo>
                  <a:pt x="2701" y="3318"/>
                </a:lnTo>
                <a:lnTo>
                  <a:pt x="2703" y="3307"/>
                </a:lnTo>
                <a:lnTo>
                  <a:pt x="2705" y="3295"/>
                </a:lnTo>
                <a:lnTo>
                  <a:pt x="2706" y="3283"/>
                </a:lnTo>
                <a:lnTo>
                  <a:pt x="2706" y="3272"/>
                </a:lnTo>
                <a:lnTo>
                  <a:pt x="2707" y="3260"/>
                </a:lnTo>
                <a:lnTo>
                  <a:pt x="2706" y="3249"/>
                </a:lnTo>
                <a:lnTo>
                  <a:pt x="2706" y="3239"/>
                </a:lnTo>
                <a:lnTo>
                  <a:pt x="2707" y="3236"/>
                </a:lnTo>
                <a:lnTo>
                  <a:pt x="2709" y="3234"/>
                </a:lnTo>
                <a:lnTo>
                  <a:pt x="2711" y="3232"/>
                </a:lnTo>
                <a:lnTo>
                  <a:pt x="2714" y="3230"/>
                </a:lnTo>
                <a:lnTo>
                  <a:pt x="2720" y="3227"/>
                </a:lnTo>
                <a:lnTo>
                  <a:pt x="2724" y="3227"/>
                </a:lnTo>
                <a:lnTo>
                  <a:pt x="2728" y="3226"/>
                </a:lnTo>
                <a:lnTo>
                  <a:pt x="2736" y="3227"/>
                </a:lnTo>
                <a:lnTo>
                  <a:pt x="2740" y="3228"/>
                </a:lnTo>
                <a:lnTo>
                  <a:pt x="2743" y="3229"/>
                </a:lnTo>
                <a:lnTo>
                  <a:pt x="2749" y="3231"/>
                </a:lnTo>
                <a:lnTo>
                  <a:pt x="2751" y="3233"/>
                </a:lnTo>
                <a:lnTo>
                  <a:pt x="2754" y="3236"/>
                </a:lnTo>
                <a:lnTo>
                  <a:pt x="2758" y="3241"/>
                </a:lnTo>
                <a:lnTo>
                  <a:pt x="2759" y="3245"/>
                </a:lnTo>
                <a:lnTo>
                  <a:pt x="2761" y="3249"/>
                </a:lnTo>
                <a:lnTo>
                  <a:pt x="2762" y="3253"/>
                </a:lnTo>
                <a:lnTo>
                  <a:pt x="2763" y="3258"/>
                </a:lnTo>
                <a:lnTo>
                  <a:pt x="2763" y="3263"/>
                </a:lnTo>
                <a:lnTo>
                  <a:pt x="2763" y="3269"/>
                </a:lnTo>
                <a:lnTo>
                  <a:pt x="2763" y="3286"/>
                </a:lnTo>
                <a:lnTo>
                  <a:pt x="2762" y="3301"/>
                </a:lnTo>
                <a:lnTo>
                  <a:pt x="2760" y="3316"/>
                </a:lnTo>
                <a:lnTo>
                  <a:pt x="2758" y="3333"/>
                </a:lnTo>
                <a:lnTo>
                  <a:pt x="2756" y="3347"/>
                </a:lnTo>
                <a:lnTo>
                  <a:pt x="2753" y="3362"/>
                </a:lnTo>
                <a:lnTo>
                  <a:pt x="2749" y="3377"/>
                </a:lnTo>
                <a:lnTo>
                  <a:pt x="2745" y="3392"/>
                </a:lnTo>
                <a:lnTo>
                  <a:pt x="2741" y="3406"/>
                </a:lnTo>
                <a:lnTo>
                  <a:pt x="2736" y="3419"/>
                </a:lnTo>
                <a:lnTo>
                  <a:pt x="2731" y="3432"/>
                </a:lnTo>
                <a:lnTo>
                  <a:pt x="2724" y="3445"/>
                </a:lnTo>
                <a:lnTo>
                  <a:pt x="2718" y="3459"/>
                </a:lnTo>
                <a:lnTo>
                  <a:pt x="2711" y="3471"/>
                </a:lnTo>
                <a:lnTo>
                  <a:pt x="2705" y="3482"/>
                </a:lnTo>
                <a:lnTo>
                  <a:pt x="2697" y="3493"/>
                </a:lnTo>
                <a:lnTo>
                  <a:pt x="2690" y="3504"/>
                </a:lnTo>
                <a:lnTo>
                  <a:pt x="2682" y="3515"/>
                </a:lnTo>
                <a:lnTo>
                  <a:pt x="2673" y="3525"/>
                </a:lnTo>
                <a:lnTo>
                  <a:pt x="2663" y="3534"/>
                </a:lnTo>
                <a:lnTo>
                  <a:pt x="2654" y="3542"/>
                </a:lnTo>
                <a:lnTo>
                  <a:pt x="2645" y="3550"/>
                </a:lnTo>
                <a:lnTo>
                  <a:pt x="2635" y="3557"/>
                </a:lnTo>
                <a:lnTo>
                  <a:pt x="2625" y="3564"/>
                </a:lnTo>
                <a:lnTo>
                  <a:pt x="2615" y="3570"/>
                </a:lnTo>
                <a:lnTo>
                  <a:pt x="2603" y="3576"/>
                </a:lnTo>
                <a:lnTo>
                  <a:pt x="2592" y="3580"/>
                </a:lnTo>
                <a:lnTo>
                  <a:pt x="2581" y="3584"/>
                </a:lnTo>
                <a:lnTo>
                  <a:pt x="2570" y="3587"/>
                </a:lnTo>
                <a:lnTo>
                  <a:pt x="2558" y="3589"/>
                </a:lnTo>
                <a:lnTo>
                  <a:pt x="2545" y="3590"/>
                </a:lnTo>
                <a:lnTo>
                  <a:pt x="2533" y="3591"/>
                </a:lnTo>
                <a:close/>
                <a:moveTo>
                  <a:pt x="2921" y="3585"/>
                </a:moveTo>
                <a:lnTo>
                  <a:pt x="2919" y="3585"/>
                </a:lnTo>
                <a:lnTo>
                  <a:pt x="2917" y="3584"/>
                </a:lnTo>
                <a:lnTo>
                  <a:pt x="2911" y="3581"/>
                </a:lnTo>
                <a:lnTo>
                  <a:pt x="2904" y="3577"/>
                </a:lnTo>
                <a:lnTo>
                  <a:pt x="2897" y="3572"/>
                </a:lnTo>
                <a:lnTo>
                  <a:pt x="2884" y="3560"/>
                </a:lnTo>
                <a:lnTo>
                  <a:pt x="2869" y="3546"/>
                </a:lnTo>
                <a:lnTo>
                  <a:pt x="2853" y="3530"/>
                </a:lnTo>
                <a:lnTo>
                  <a:pt x="2835" y="3513"/>
                </a:lnTo>
                <a:lnTo>
                  <a:pt x="2819" y="3495"/>
                </a:lnTo>
                <a:lnTo>
                  <a:pt x="2805" y="3479"/>
                </a:lnTo>
                <a:lnTo>
                  <a:pt x="2794" y="3464"/>
                </a:lnTo>
                <a:lnTo>
                  <a:pt x="2788" y="3458"/>
                </a:lnTo>
                <a:lnTo>
                  <a:pt x="2785" y="3453"/>
                </a:lnTo>
                <a:lnTo>
                  <a:pt x="2780" y="3442"/>
                </a:lnTo>
                <a:lnTo>
                  <a:pt x="2776" y="3432"/>
                </a:lnTo>
                <a:lnTo>
                  <a:pt x="2774" y="3422"/>
                </a:lnTo>
                <a:lnTo>
                  <a:pt x="2773" y="3412"/>
                </a:lnTo>
                <a:lnTo>
                  <a:pt x="2773" y="3407"/>
                </a:lnTo>
                <a:lnTo>
                  <a:pt x="2774" y="3401"/>
                </a:lnTo>
                <a:lnTo>
                  <a:pt x="2775" y="3395"/>
                </a:lnTo>
                <a:lnTo>
                  <a:pt x="2777" y="3388"/>
                </a:lnTo>
                <a:lnTo>
                  <a:pt x="2780" y="3382"/>
                </a:lnTo>
                <a:lnTo>
                  <a:pt x="2783" y="3376"/>
                </a:lnTo>
                <a:lnTo>
                  <a:pt x="2787" y="3369"/>
                </a:lnTo>
                <a:lnTo>
                  <a:pt x="2792" y="3362"/>
                </a:lnTo>
                <a:lnTo>
                  <a:pt x="2801" y="3351"/>
                </a:lnTo>
                <a:lnTo>
                  <a:pt x="2812" y="3338"/>
                </a:lnTo>
                <a:lnTo>
                  <a:pt x="2841" y="3303"/>
                </a:lnTo>
                <a:lnTo>
                  <a:pt x="2877" y="3263"/>
                </a:lnTo>
                <a:lnTo>
                  <a:pt x="2913" y="3223"/>
                </a:lnTo>
                <a:lnTo>
                  <a:pt x="2914" y="3222"/>
                </a:lnTo>
                <a:lnTo>
                  <a:pt x="2918" y="3222"/>
                </a:lnTo>
                <a:lnTo>
                  <a:pt x="2921" y="3222"/>
                </a:lnTo>
                <a:lnTo>
                  <a:pt x="2925" y="3223"/>
                </a:lnTo>
                <a:lnTo>
                  <a:pt x="2930" y="3225"/>
                </a:lnTo>
                <a:lnTo>
                  <a:pt x="2934" y="3228"/>
                </a:lnTo>
                <a:lnTo>
                  <a:pt x="2938" y="3231"/>
                </a:lnTo>
                <a:lnTo>
                  <a:pt x="2942" y="3235"/>
                </a:lnTo>
                <a:lnTo>
                  <a:pt x="2945" y="3239"/>
                </a:lnTo>
                <a:lnTo>
                  <a:pt x="2948" y="3244"/>
                </a:lnTo>
                <a:lnTo>
                  <a:pt x="2950" y="3248"/>
                </a:lnTo>
                <a:lnTo>
                  <a:pt x="2950" y="3253"/>
                </a:lnTo>
                <a:lnTo>
                  <a:pt x="2950" y="3259"/>
                </a:lnTo>
                <a:lnTo>
                  <a:pt x="2948" y="3264"/>
                </a:lnTo>
                <a:lnTo>
                  <a:pt x="2945" y="3270"/>
                </a:lnTo>
                <a:lnTo>
                  <a:pt x="2941" y="3277"/>
                </a:lnTo>
                <a:lnTo>
                  <a:pt x="2933" y="3287"/>
                </a:lnTo>
                <a:lnTo>
                  <a:pt x="2921" y="3300"/>
                </a:lnTo>
                <a:lnTo>
                  <a:pt x="2891" y="3334"/>
                </a:lnTo>
                <a:lnTo>
                  <a:pt x="2862" y="3368"/>
                </a:lnTo>
                <a:lnTo>
                  <a:pt x="2849" y="3382"/>
                </a:lnTo>
                <a:lnTo>
                  <a:pt x="2840" y="3395"/>
                </a:lnTo>
                <a:lnTo>
                  <a:pt x="2837" y="3398"/>
                </a:lnTo>
                <a:lnTo>
                  <a:pt x="2835" y="3402"/>
                </a:lnTo>
                <a:lnTo>
                  <a:pt x="2834" y="3406"/>
                </a:lnTo>
                <a:lnTo>
                  <a:pt x="2834" y="3409"/>
                </a:lnTo>
                <a:lnTo>
                  <a:pt x="2834" y="3414"/>
                </a:lnTo>
                <a:lnTo>
                  <a:pt x="2836" y="3418"/>
                </a:lnTo>
                <a:lnTo>
                  <a:pt x="2838" y="3422"/>
                </a:lnTo>
                <a:lnTo>
                  <a:pt x="2841" y="3427"/>
                </a:lnTo>
                <a:lnTo>
                  <a:pt x="2848" y="3436"/>
                </a:lnTo>
                <a:lnTo>
                  <a:pt x="2860" y="3448"/>
                </a:lnTo>
                <a:lnTo>
                  <a:pt x="2887" y="3478"/>
                </a:lnTo>
                <a:lnTo>
                  <a:pt x="2920" y="3510"/>
                </a:lnTo>
                <a:lnTo>
                  <a:pt x="2951" y="3541"/>
                </a:lnTo>
                <a:lnTo>
                  <a:pt x="2953" y="3543"/>
                </a:lnTo>
                <a:lnTo>
                  <a:pt x="2954" y="3545"/>
                </a:lnTo>
                <a:lnTo>
                  <a:pt x="2955" y="3548"/>
                </a:lnTo>
                <a:lnTo>
                  <a:pt x="2955" y="3550"/>
                </a:lnTo>
                <a:lnTo>
                  <a:pt x="2954" y="3556"/>
                </a:lnTo>
                <a:lnTo>
                  <a:pt x="2953" y="3559"/>
                </a:lnTo>
                <a:lnTo>
                  <a:pt x="2952" y="3561"/>
                </a:lnTo>
                <a:lnTo>
                  <a:pt x="2948" y="3567"/>
                </a:lnTo>
                <a:lnTo>
                  <a:pt x="2946" y="3570"/>
                </a:lnTo>
                <a:lnTo>
                  <a:pt x="2944" y="3573"/>
                </a:lnTo>
                <a:lnTo>
                  <a:pt x="2938" y="3578"/>
                </a:lnTo>
                <a:lnTo>
                  <a:pt x="2936" y="3580"/>
                </a:lnTo>
                <a:lnTo>
                  <a:pt x="2933" y="3582"/>
                </a:lnTo>
                <a:lnTo>
                  <a:pt x="2927" y="3584"/>
                </a:lnTo>
                <a:lnTo>
                  <a:pt x="2924" y="3585"/>
                </a:lnTo>
                <a:lnTo>
                  <a:pt x="2921" y="3585"/>
                </a:lnTo>
                <a:close/>
                <a:moveTo>
                  <a:pt x="2700" y="4321"/>
                </a:moveTo>
                <a:lnTo>
                  <a:pt x="2703" y="4298"/>
                </a:lnTo>
                <a:lnTo>
                  <a:pt x="2706" y="4275"/>
                </a:lnTo>
                <a:lnTo>
                  <a:pt x="2707" y="4253"/>
                </a:lnTo>
                <a:lnTo>
                  <a:pt x="2706" y="4243"/>
                </a:lnTo>
                <a:lnTo>
                  <a:pt x="2706" y="4233"/>
                </a:lnTo>
                <a:lnTo>
                  <a:pt x="2707" y="4229"/>
                </a:lnTo>
                <a:lnTo>
                  <a:pt x="2709" y="4227"/>
                </a:lnTo>
                <a:lnTo>
                  <a:pt x="2711" y="4225"/>
                </a:lnTo>
                <a:lnTo>
                  <a:pt x="2714" y="4223"/>
                </a:lnTo>
                <a:lnTo>
                  <a:pt x="2720" y="4221"/>
                </a:lnTo>
                <a:lnTo>
                  <a:pt x="2724" y="4220"/>
                </a:lnTo>
                <a:lnTo>
                  <a:pt x="2728" y="4220"/>
                </a:lnTo>
                <a:lnTo>
                  <a:pt x="2736" y="4220"/>
                </a:lnTo>
                <a:lnTo>
                  <a:pt x="2740" y="4221"/>
                </a:lnTo>
                <a:lnTo>
                  <a:pt x="2743" y="4222"/>
                </a:lnTo>
                <a:lnTo>
                  <a:pt x="2749" y="4225"/>
                </a:lnTo>
                <a:lnTo>
                  <a:pt x="2751" y="4227"/>
                </a:lnTo>
                <a:lnTo>
                  <a:pt x="2754" y="4229"/>
                </a:lnTo>
                <a:lnTo>
                  <a:pt x="2758" y="4236"/>
                </a:lnTo>
                <a:lnTo>
                  <a:pt x="2759" y="4239"/>
                </a:lnTo>
                <a:lnTo>
                  <a:pt x="2761" y="4243"/>
                </a:lnTo>
                <a:lnTo>
                  <a:pt x="2762" y="4247"/>
                </a:lnTo>
                <a:lnTo>
                  <a:pt x="2763" y="4252"/>
                </a:lnTo>
                <a:lnTo>
                  <a:pt x="2763" y="4258"/>
                </a:lnTo>
                <a:lnTo>
                  <a:pt x="2763" y="4263"/>
                </a:lnTo>
                <a:lnTo>
                  <a:pt x="2763" y="4278"/>
                </a:lnTo>
                <a:lnTo>
                  <a:pt x="2762" y="4293"/>
                </a:lnTo>
                <a:lnTo>
                  <a:pt x="2759" y="4321"/>
                </a:lnTo>
                <a:lnTo>
                  <a:pt x="2700" y="4321"/>
                </a:lnTo>
                <a:close/>
                <a:moveTo>
                  <a:pt x="2398" y="4321"/>
                </a:moveTo>
                <a:lnTo>
                  <a:pt x="2401" y="4315"/>
                </a:lnTo>
                <a:lnTo>
                  <a:pt x="2403" y="4310"/>
                </a:lnTo>
                <a:lnTo>
                  <a:pt x="2409" y="4299"/>
                </a:lnTo>
                <a:lnTo>
                  <a:pt x="2416" y="4287"/>
                </a:lnTo>
                <a:lnTo>
                  <a:pt x="2423" y="4277"/>
                </a:lnTo>
                <a:lnTo>
                  <a:pt x="2431" y="4267"/>
                </a:lnTo>
                <a:lnTo>
                  <a:pt x="2439" y="4258"/>
                </a:lnTo>
                <a:lnTo>
                  <a:pt x="2443" y="4254"/>
                </a:lnTo>
                <a:lnTo>
                  <a:pt x="2448" y="4250"/>
                </a:lnTo>
                <a:lnTo>
                  <a:pt x="2457" y="4243"/>
                </a:lnTo>
                <a:lnTo>
                  <a:pt x="2461" y="4239"/>
                </a:lnTo>
                <a:lnTo>
                  <a:pt x="2466" y="4236"/>
                </a:lnTo>
                <a:lnTo>
                  <a:pt x="2476" y="4229"/>
                </a:lnTo>
                <a:lnTo>
                  <a:pt x="2481" y="4226"/>
                </a:lnTo>
                <a:lnTo>
                  <a:pt x="2486" y="4223"/>
                </a:lnTo>
                <a:lnTo>
                  <a:pt x="2497" y="4219"/>
                </a:lnTo>
                <a:lnTo>
                  <a:pt x="2508" y="4215"/>
                </a:lnTo>
                <a:lnTo>
                  <a:pt x="2520" y="4213"/>
                </a:lnTo>
                <a:lnTo>
                  <a:pt x="2525" y="4212"/>
                </a:lnTo>
                <a:lnTo>
                  <a:pt x="2531" y="4211"/>
                </a:lnTo>
                <a:lnTo>
                  <a:pt x="2543" y="4211"/>
                </a:lnTo>
                <a:lnTo>
                  <a:pt x="2554" y="4211"/>
                </a:lnTo>
                <a:lnTo>
                  <a:pt x="2559" y="4212"/>
                </a:lnTo>
                <a:lnTo>
                  <a:pt x="2563" y="4213"/>
                </a:lnTo>
                <a:lnTo>
                  <a:pt x="2568" y="4214"/>
                </a:lnTo>
                <a:lnTo>
                  <a:pt x="2572" y="4215"/>
                </a:lnTo>
                <a:lnTo>
                  <a:pt x="2581" y="4218"/>
                </a:lnTo>
                <a:lnTo>
                  <a:pt x="2589" y="4222"/>
                </a:lnTo>
                <a:lnTo>
                  <a:pt x="2596" y="4226"/>
                </a:lnTo>
                <a:lnTo>
                  <a:pt x="2603" y="4233"/>
                </a:lnTo>
                <a:lnTo>
                  <a:pt x="2609" y="4239"/>
                </a:lnTo>
                <a:lnTo>
                  <a:pt x="2613" y="4242"/>
                </a:lnTo>
                <a:lnTo>
                  <a:pt x="2615" y="4245"/>
                </a:lnTo>
                <a:lnTo>
                  <a:pt x="2620" y="4253"/>
                </a:lnTo>
                <a:lnTo>
                  <a:pt x="2624" y="4260"/>
                </a:lnTo>
                <a:lnTo>
                  <a:pt x="2627" y="4269"/>
                </a:lnTo>
                <a:lnTo>
                  <a:pt x="2630" y="4277"/>
                </a:lnTo>
                <a:lnTo>
                  <a:pt x="2632" y="4287"/>
                </a:lnTo>
                <a:lnTo>
                  <a:pt x="2633" y="4297"/>
                </a:lnTo>
                <a:lnTo>
                  <a:pt x="2633" y="4307"/>
                </a:lnTo>
                <a:lnTo>
                  <a:pt x="2633" y="4314"/>
                </a:lnTo>
                <a:lnTo>
                  <a:pt x="2632" y="4321"/>
                </a:lnTo>
                <a:lnTo>
                  <a:pt x="2575" y="4321"/>
                </a:lnTo>
                <a:lnTo>
                  <a:pt x="2577" y="4316"/>
                </a:lnTo>
                <a:lnTo>
                  <a:pt x="2579" y="4310"/>
                </a:lnTo>
                <a:lnTo>
                  <a:pt x="2580" y="4305"/>
                </a:lnTo>
                <a:lnTo>
                  <a:pt x="2580" y="4299"/>
                </a:lnTo>
                <a:lnTo>
                  <a:pt x="2579" y="4290"/>
                </a:lnTo>
                <a:lnTo>
                  <a:pt x="2577" y="4283"/>
                </a:lnTo>
                <a:lnTo>
                  <a:pt x="2576" y="4280"/>
                </a:lnTo>
                <a:lnTo>
                  <a:pt x="2574" y="4277"/>
                </a:lnTo>
                <a:lnTo>
                  <a:pt x="2572" y="4274"/>
                </a:lnTo>
                <a:lnTo>
                  <a:pt x="2569" y="4271"/>
                </a:lnTo>
                <a:lnTo>
                  <a:pt x="2563" y="4267"/>
                </a:lnTo>
                <a:lnTo>
                  <a:pt x="2560" y="4265"/>
                </a:lnTo>
                <a:lnTo>
                  <a:pt x="2557" y="4264"/>
                </a:lnTo>
                <a:lnTo>
                  <a:pt x="2548" y="4262"/>
                </a:lnTo>
                <a:lnTo>
                  <a:pt x="2543" y="4262"/>
                </a:lnTo>
                <a:lnTo>
                  <a:pt x="2539" y="4261"/>
                </a:lnTo>
                <a:lnTo>
                  <a:pt x="2533" y="4262"/>
                </a:lnTo>
                <a:lnTo>
                  <a:pt x="2528" y="4263"/>
                </a:lnTo>
                <a:lnTo>
                  <a:pt x="2517" y="4266"/>
                </a:lnTo>
                <a:lnTo>
                  <a:pt x="2512" y="4268"/>
                </a:lnTo>
                <a:lnTo>
                  <a:pt x="2507" y="4271"/>
                </a:lnTo>
                <a:lnTo>
                  <a:pt x="2496" y="4278"/>
                </a:lnTo>
                <a:lnTo>
                  <a:pt x="2491" y="4282"/>
                </a:lnTo>
                <a:lnTo>
                  <a:pt x="2485" y="4286"/>
                </a:lnTo>
                <a:lnTo>
                  <a:pt x="2480" y="4292"/>
                </a:lnTo>
                <a:lnTo>
                  <a:pt x="2476" y="4297"/>
                </a:lnTo>
                <a:lnTo>
                  <a:pt x="2467" y="4308"/>
                </a:lnTo>
                <a:lnTo>
                  <a:pt x="2459" y="4321"/>
                </a:lnTo>
                <a:lnTo>
                  <a:pt x="2398" y="4321"/>
                </a:lnTo>
                <a:close/>
                <a:moveTo>
                  <a:pt x="2820" y="4321"/>
                </a:moveTo>
                <a:lnTo>
                  <a:pt x="2865" y="4271"/>
                </a:lnTo>
                <a:lnTo>
                  <a:pt x="2889" y="4244"/>
                </a:lnTo>
                <a:lnTo>
                  <a:pt x="2913" y="4216"/>
                </a:lnTo>
                <a:lnTo>
                  <a:pt x="2914" y="4216"/>
                </a:lnTo>
                <a:lnTo>
                  <a:pt x="2918" y="4215"/>
                </a:lnTo>
                <a:lnTo>
                  <a:pt x="2921" y="4216"/>
                </a:lnTo>
                <a:lnTo>
                  <a:pt x="2925" y="4217"/>
                </a:lnTo>
                <a:lnTo>
                  <a:pt x="2930" y="4219"/>
                </a:lnTo>
                <a:lnTo>
                  <a:pt x="2934" y="4221"/>
                </a:lnTo>
                <a:lnTo>
                  <a:pt x="2938" y="4224"/>
                </a:lnTo>
                <a:lnTo>
                  <a:pt x="2942" y="4228"/>
                </a:lnTo>
                <a:lnTo>
                  <a:pt x="2945" y="4233"/>
                </a:lnTo>
                <a:lnTo>
                  <a:pt x="2948" y="4238"/>
                </a:lnTo>
                <a:lnTo>
                  <a:pt x="2950" y="4243"/>
                </a:lnTo>
                <a:lnTo>
                  <a:pt x="2950" y="4247"/>
                </a:lnTo>
                <a:lnTo>
                  <a:pt x="2950" y="4253"/>
                </a:lnTo>
                <a:lnTo>
                  <a:pt x="2948" y="4258"/>
                </a:lnTo>
                <a:lnTo>
                  <a:pt x="2945" y="4264"/>
                </a:lnTo>
                <a:lnTo>
                  <a:pt x="2941" y="4270"/>
                </a:lnTo>
                <a:lnTo>
                  <a:pt x="2934" y="4279"/>
                </a:lnTo>
                <a:lnTo>
                  <a:pt x="2924" y="4292"/>
                </a:lnTo>
                <a:lnTo>
                  <a:pt x="2897" y="4321"/>
                </a:lnTo>
                <a:lnTo>
                  <a:pt x="2820" y="4321"/>
                </a:lnTo>
                <a:close/>
                <a:moveTo>
                  <a:pt x="251" y="3591"/>
                </a:moveTo>
                <a:lnTo>
                  <a:pt x="243" y="3591"/>
                </a:lnTo>
                <a:lnTo>
                  <a:pt x="235" y="3590"/>
                </a:lnTo>
                <a:lnTo>
                  <a:pt x="228" y="3589"/>
                </a:lnTo>
                <a:lnTo>
                  <a:pt x="220" y="3587"/>
                </a:lnTo>
                <a:lnTo>
                  <a:pt x="213" y="3585"/>
                </a:lnTo>
                <a:lnTo>
                  <a:pt x="205" y="3583"/>
                </a:lnTo>
                <a:lnTo>
                  <a:pt x="191" y="3577"/>
                </a:lnTo>
                <a:lnTo>
                  <a:pt x="178" y="3569"/>
                </a:lnTo>
                <a:lnTo>
                  <a:pt x="172" y="3565"/>
                </a:lnTo>
                <a:lnTo>
                  <a:pt x="166" y="3560"/>
                </a:lnTo>
                <a:lnTo>
                  <a:pt x="160" y="3555"/>
                </a:lnTo>
                <a:lnTo>
                  <a:pt x="155" y="3550"/>
                </a:lnTo>
                <a:lnTo>
                  <a:pt x="148" y="3545"/>
                </a:lnTo>
                <a:lnTo>
                  <a:pt x="143" y="3539"/>
                </a:lnTo>
                <a:lnTo>
                  <a:pt x="138" y="3533"/>
                </a:lnTo>
                <a:lnTo>
                  <a:pt x="133" y="3527"/>
                </a:lnTo>
                <a:lnTo>
                  <a:pt x="129" y="3520"/>
                </a:lnTo>
                <a:lnTo>
                  <a:pt x="125" y="3513"/>
                </a:lnTo>
                <a:lnTo>
                  <a:pt x="121" y="3505"/>
                </a:lnTo>
                <a:lnTo>
                  <a:pt x="117" y="3498"/>
                </a:lnTo>
                <a:lnTo>
                  <a:pt x="114" y="3490"/>
                </a:lnTo>
                <a:lnTo>
                  <a:pt x="111" y="3482"/>
                </a:lnTo>
                <a:lnTo>
                  <a:pt x="108" y="3474"/>
                </a:lnTo>
                <a:lnTo>
                  <a:pt x="106" y="3466"/>
                </a:lnTo>
                <a:lnTo>
                  <a:pt x="104" y="3458"/>
                </a:lnTo>
                <a:lnTo>
                  <a:pt x="102" y="3448"/>
                </a:lnTo>
                <a:lnTo>
                  <a:pt x="101" y="3439"/>
                </a:lnTo>
                <a:lnTo>
                  <a:pt x="100" y="3431"/>
                </a:lnTo>
                <a:lnTo>
                  <a:pt x="99" y="3422"/>
                </a:lnTo>
                <a:lnTo>
                  <a:pt x="99" y="3412"/>
                </a:lnTo>
                <a:lnTo>
                  <a:pt x="100" y="3394"/>
                </a:lnTo>
                <a:lnTo>
                  <a:pt x="101" y="3384"/>
                </a:lnTo>
                <a:lnTo>
                  <a:pt x="102" y="3374"/>
                </a:lnTo>
                <a:lnTo>
                  <a:pt x="104" y="3365"/>
                </a:lnTo>
                <a:lnTo>
                  <a:pt x="106" y="3357"/>
                </a:lnTo>
                <a:lnTo>
                  <a:pt x="109" y="3348"/>
                </a:lnTo>
                <a:lnTo>
                  <a:pt x="111" y="3339"/>
                </a:lnTo>
                <a:lnTo>
                  <a:pt x="115" y="3330"/>
                </a:lnTo>
                <a:lnTo>
                  <a:pt x="118" y="3322"/>
                </a:lnTo>
                <a:lnTo>
                  <a:pt x="122" y="3314"/>
                </a:lnTo>
                <a:lnTo>
                  <a:pt x="126" y="3306"/>
                </a:lnTo>
                <a:lnTo>
                  <a:pt x="130" y="3298"/>
                </a:lnTo>
                <a:lnTo>
                  <a:pt x="135" y="3291"/>
                </a:lnTo>
                <a:lnTo>
                  <a:pt x="145" y="3277"/>
                </a:lnTo>
                <a:lnTo>
                  <a:pt x="152" y="3269"/>
                </a:lnTo>
                <a:lnTo>
                  <a:pt x="158" y="3263"/>
                </a:lnTo>
                <a:lnTo>
                  <a:pt x="170" y="3252"/>
                </a:lnTo>
                <a:lnTo>
                  <a:pt x="176" y="3247"/>
                </a:lnTo>
                <a:lnTo>
                  <a:pt x="183" y="3242"/>
                </a:lnTo>
                <a:lnTo>
                  <a:pt x="190" y="3237"/>
                </a:lnTo>
                <a:lnTo>
                  <a:pt x="197" y="3233"/>
                </a:lnTo>
                <a:lnTo>
                  <a:pt x="204" y="3230"/>
                </a:lnTo>
                <a:lnTo>
                  <a:pt x="212" y="3227"/>
                </a:lnTo>
                <a:lnTo>
                  <a:pt x="220" y="3224"/>
                </a:lnTo>
                <a:lnTo>
                  <a:pt x="228" y="3222"/>
                </a:lnTo>
                <a:lnTo>
                  <a:pt x="236" y="3220"/>
                </a:lnTo>
                <a:lnTo>
                  <a:pt x="244" y="3219"/>
                </a:lnTo>
                <a:lnTo>
                  <a:pt x="252" y="3218"/>
                </a:lnTo>
                <a:lnTo>
                  <a:pt x="260" y="3218"/>
                </a:lnTo>
                <a:lnTo>
                  <a:pt x="271" y="3218"/>
                </a:lnTo>
                <a:lnTo>
                  <a:pt x="276" y="3219"/>
                </a:lnTo>
                <a:lnTo>
                  <a:pt x="281" y="3219"/>
                </a:lnTo>
                <a:lnTo>
                  <a:pt x="286" y="3220"/>
                </a:lnTo>
                <a:lnTo>
                  <a:pt x="290" y="3222"/>
                </a:lnTo>
                <a:lnTo>
                  <a:pt x="298" y="3225"/>
                </a:lnTo>
                <a:lnTo>
                  <a:pt x="306" y="3229"/>
                </a:lnTo>
                <a:lnTo>
                  <a:pt x="314" y="3233"/>
                </a:lnTo>
                <a:lnTo>
                  <a:pt x="320" y="3239"/>
                </a:lnTo>
                <a:lnTo>
                  <a:pt x="326" y="3245"/>
                </a:lnTo>
                <a:lnTo>
                  <a:pt x="329" y="3248"/>
                </a:lnTo>
                <a:lnTo>
                  <a:pt x="333" y="3251"/>
                </a:lnTo>
                <a:lnTo>
                  <a:pt x="338" y="3258"/>
                </a:lnTo>
                <a:lnTo>
                  <a:pt x="342" y="3266"/>
                </a:lnTo>
                <a:lnTo>
                  <a:pt x="345" y="3276"/>
                </a:lnTo>
                <a:lnTo>
                  <a:pt x="348" y="3284"/>
                </a:lnTo>
                <a:lnTo>
                  <a:pt x="349" y="3293"/>
                </a:lnTo>
                <a:lnTo>
                  <a:pt x="351" y="3303"/>
                </a:lnTo>
                <a:lnTo>
                  <a:pt x="351" y="3313"/>
                </a:lnTo>
                <a:lnTo>
                  <a:pt x="350" y="3325"/>
                </a:lnTo>
                <a:lnTo>
                  <a:pt x="349" y="3333"/>
                </a:lnTo>
                <a:lnTo>
                  <a:pt x="348" y="3339"/>
                </a:lnTo>
                <a:lnTo>
                  <a:pt x="344" y="3351"/>
                </a:lnTo>
                <a:lnTo>
                  <a:pt x="339" y="3362"/>
                </a:lnTo>
                <a:lnTo>
                  <a:pt x="333" y="3373"/>
                </a:lnTo>
                <a:lnTo>
                  <a:pt x="325" y="3384"/>
                </a:lnTo>
                <a:lnTo>
                  <a:pt x="321" y="3389"/>
                </a:lnTo>
                <a:lnTo>
                  <a:pt x="316" y="3395"/>
                </a:lnTo>
                <a:lnTo>
                  <a:pt x="307" y="3404"/>
                </a:lnTo>
                <a:lnTo>
                  <a:pt x="297" y="3413"/>
                </a:lnTo>
                <a:lnTo>
                  <a:pt x="292" y="3416"/>
                </a:lnTo>
                <a:lnTo>
                  <a:pt x="286" y="3420"/>
                </a:lnTo>
                <a:lnTo>
                  <a:pt x="275" y="3427"/>
                </a:lnTo>
                <a:lnTo>
                  <a:pt x="262" y="3432"/>
                </a:lnTo>
                <a:lnTo>
                  <a:pt x="250" y="3437"/>
                </a:lnTo>
                <a:lnTo>
                  <a:pt x="244" y="3439"/>
                </a:lnTo>
                <a:lnTo>
                  <a:pt x="238" y="3440"/>
                </a:lnTo>
                <a:lnTo>
                  <a:pt x="232" y="3441"/>
                </a:lnTo>
                <a:lnTo>
                  <a:pt x="225" y="3442"/>
                </a:lnTo>
                <a:lnTo>
                  <a:pt x="213" y="3443"/>
                </a:lnTo>
                <a:lnTo>
                  <a:pt x="207" y="3442"/>
                </a:lnTo>
                <a:lnTo>
                  <a:pt x="202" y="3441"/>
                </a:lnTo>
                <a:lnTo>
                  <a:pt x="197" y="3438"/>
                </a:lnTo>
                <a:lnTo>
                  <a:pt x="195" y="3436"/>
                </a:lnTo>
                <a:lnTo>
                  <a:pt x="193" y="3434"/>
                </a:lnTo>
                <a:lnTo>
                  <a:pt x="190" y="3429"/>
                </a:lnTo>
                <a:lnTo>
                  <a:pt x="188" y="3424"/>
                </a:lnTo>
                <a:lnTo>
                  <a:pt x="187" y="3421"/>
                </a:lnTo>
                <a:lnTo>
                  <a:pt x="186" y="3418"/>
                </a:lnTo>
                <a:lnTo>
                  <a:pt x="186" y="3412"/>
                </a:lnTo>
                <a:lnTo>
                  <a:pt x="186" y="3409"/>
                </a:lnTo>
                <a:lnTo>
                  <a:pt x="186" y="3406"/>
                </a:lnTo>
                <a:lnTo>
                  <a:pt x="187" y="3401"/>
                </a:lnTo>
                <a:lnTo>
                  <a:pt x="188" y="3399"/>
                </a:lnTo>
                <a:lnTo>
                  <a:pt x="189" y="3397"/>
                </a:lnTo>
                <a:lnTo>
                  <a:pt x="191" y="3396"/>
                </a:lnTo>
                <a:lnTo>
                  <a:pt x="193" y="3395"/>
                </a:lnTo>
                <a:lnTo>
                  <a:pt x="204" y="3393"/>
                </a:lnTo>
                <a:lnTo>
                  <a:pt x="215" y="3389"/>
                </a:lnTo>
                <a:lnTo>
                  <a:pt x="225" y="3386"/>
                </a:lnTo>
                <a:lnTo>
                  <a:pt x="235" y="3382"/>
                </a:lnTo>
                <a:lnTo>
                  <a:pt x="244" y="3377"/>
                </a:lnTo>
                <a:lnTo>
                  <a:pt x="252" y="3372"/>
                </a:lnTo>
                <a:lnTo>
                  <a:pt x="260" y="3367"/>
                </a:lnTo>
                <a:lnTo>
                  <a:pt x="264" y="3364"/>
                </a:lnTo>
                <a:lnTo>
                  <a:pt x="267" y="3361"/>
                </a:lnTo>
                <a:lnTo>
                  <a:pt x="275" y="3354"/>
                </a:lnTo>
                <a:lnTo>
                  <a:pt x="281" y="3348"/>
                </a:lnTo>
                <a:lnTo>
                  <a:pt x="286" y="3341"/>
                </a:lnTo>
                <a:lnTo>
                  <a:pt x="290" y="3334"/>
                </a:lnTo>
                <a:lnTo>
                  <a:pt x="293" y="3326"/>
                </a:lnTo>
                <a:lnTo>
                  <a:pt x="296" y="3319"/>
                </a:lnTo>
                <a:lnTo>
                  <a:pt x="297" y="3312"/>
                </a:lnTo>
                <a:lnTo>
                  <a:pt x="298" y="3305"/>
                </a:lnTo>
                <a:lnTo>
                  <a:pt x="297" y="3297"/>
                </a:lnTo>
                <a:lnTo>
                  <a:pt x="295" y="3290"/>
                </a:lnTo>
                <a:lnTo>
                  <a:pt x="293" y="3286"/>
                </a:lnTo>
                <a:lnTo>
                  <a:pt x="291" y="3283"/>
                </a:lnTo>
                <a:lnTo>
                  <a:pt x="289" y="3281"/>
                </a:lnTo>
                <a:lnTo>
                  <a:pt x="287" y="3278"/>
                </a:lnTo>
                <a:lnTo>
                  <a:pt x="281" y="3274"/>
                </a:lnTo>
                <a:lnTo>
                  <a:pt x="278" y="3272"/>
                </a:lnTo>
                <a:lnTo>
                  <a:pt x="274" y="3270"/>
                </a:lnTo>
                <a:lnTo>
                  <a:pt x="265" y="3268"/>
                </a:lnTo>
                <a:lnTo>
                  <a:pt x="261" y="3267"/>
                </a:lnTo>
                <a:lnTo>
                  <a:pt x="256" y="3267"/>
                </a:lnTo>
                <a:lnTo>
                  <a:pt x="248" y="3268"/>
                </a:lnTo>
                <a:lnTo>
                  <a:pt x="243" y="3269"/>
                </a:lnTo>
                <a:lnTo>
                  <a:pt x="239" y="3270"/>
                </a:lnTo>
                <a:lnTo>
                  <a:pt x="234" y="3273"/>
                </a:lnTo>
                <a:lnTo>
                  <a:pt x="230" y="3275"/>
                </a:lnTo>
                <a:lnTo>
                  <a:pt x="225" y="3277"/>
                </a:lnTo>
                <a:lnTo>
                  <a:pt x="221" y="3279"/>
                </a:lnTo>
                <a:lnTo>
                  <a:pt x="217" y="3282"/>
                </a:lnTo>
                <a:lnTo>
                  <a:pt x="213" y="3285"/>
                </a:lnTo>
                <a:lnTo>
                  <a:pt x="203" y="3292"/>
                </a:lnTo>
                <a:lnTo>
                  <a:pt x="195" y="3300"/>
                </a:lnTo>
                <a:lnTo>
                  <a:pt x="188" y="3309"/>
                </a:lnTo>
                <a:lnTo>
                  <a:pt x="184" y="3314"/>
                </a:lnTo>
                <a:lnTo>
                  <a:pt x="181" y="3319"/>
                </a:lnTo>
                <a:lnTo>
                  <a:pt x="175" y="3330"/>
                </a:lnTo>
                <a:lnTo>
                  <a:pt x="169" y="3343"/>
                </a:lnTo>
                <a:lnTo>
                  <a:pt x="165" y="3355"/>
                </a:lnTo>
                <a:lnTo>
                  <a:pt x="161" y="3368"/>
                </a:lnTo>
                <a:lnTo>
                  <a:pt x="158" y="3381"/>
                </a:lnTo>
                <a:lnTo>
                  <a:pt x="156" y="3396"/>
                </a:lnTo>
                <a:lnTo>
                  <a:pt x="156" y="3403"/>
                </a:lnTo>
                <a:lnTo>
                  <a:pt x="156" y="3410"/>
                </a:lnTo>
                <a:lnTo>
                  <a:pt x="156" y="3423"/>
                </a:lnTo>
                <a:lnTo>
                  <a:pt x="157" y="3435"/>
                </a:lnTo>
                <a:lnTo>
                  <a:pt x="160" y="3446"/>
                </a:lnTo>
                <a:lnTo>
                  <a:pt x="161" y="3453"/>
                </a:lnTo>
                <a:lnTo>
                  <a:pt x="162" y="3458"/>
                </a:lnTo>
                <a:lnTo>
                  <a:pt x="166" y="3469"/>
                </a:lnTo>
                <a:lnTo>
                  <a:pt x="168" y="3474"/>
                </a:lnTo>
                <a:lnTo>
                  <a:pt x="171" y="3479"/>
                </a:lnTo>
                <a:lnTo>
                  <a:pt x="173" y="3483"/>
                </a:lnTo>
                <a:lnTo>
                  <a:pt x="176" y="3488"/>
                </a:lnTo>
                <a:lnTo>
                  <a:pt x="179" y="3492"/>
                </a:lnTo>
                <a:lnTo>
                  <a:pt x="182" y="3496"/>
                </a:lnTo>
                <a:lnTo>
                  <a:pt x="185" y="3500"/>
                </a:lnTo>
                <a:lnTo>
                  <a:pt x="188" y="3503"/>
                </a:lnTo>
                <a:lnTo>
                  <a:pt x="196" y="3510"/>
                </a:lnTo>
                <a:lnTo>
                  <a:pt x="203" y="3517"/>
                </a:lnTo>
                <a:lnTo>
                  <a:pt x="213" y="3522"/>
                </a:lnTo>
                <a:lnTo>
                  <a:pt x="222" y="3525"/>
                </a:lnTo>
                <a:lnTo>
                  <a:pt x="232" y="3528"/>
                </a:lnTo>
                <a:lnTo>
                  <a:pt x="242" y="3530"/>
                </a:lnTo>
                <a:lnTo>
                  <a:pt x="247" y="3530"/>
                </a:lnTo>
                <a:lnTo>
                  <a:pt x="252" y="3530"/>
                </a:lnTo>
                <a:lnTo>
                  <a:pt x="263" y="3530"/>
                </a:lnTo>
                <a:lnTo>
                  <a:pt x="274" y="3528"/>
                </a:lnTo>
                <a:lnTo>
                  <a:pt x="284" y="3526"/>
                </a:lnTo>
                <a:lnTo>
                  <a:pt x="294" y="3523"/>
                </a:lnTo>
                <a:lnTo>
                  <a:pt x="303" y="3518"/>
                </a:lnTo>
                <a:lnTo>
                  <a:pt x="312" y="3513"/>
                </a:lnTo>
                <a:lnTo>
                  <a:pt x="320" y="3507"/>
                </a:lnTo>
                <a:lnTo>
                  <a:pt x="329" y="3500"/>
                </a:lnTo>
                <a:lnTo>
                  <a:pt x="338" y="3493"/>
                </a:lnTo>
                <a:lnTo>
                  <a:pt x="345" y="3485"/>
                </a:lnTo>
                <a:lnTo>
                  <a:pt x="353" y="3476"/>
                </a:lnTo>
                <a:lnTo>
                  <a:pt x="360" y="3467"/>
                </a:lnTo>
                <a:lnTo>
                  <a:pt x="373" y="3447"/>
                </a:lnTo>
                <a:lnTo>
                  <a:pt x="378" y="3437"/>
                </a:lnTo>
                <a:lnTo>
                  <a:pt x="384" y="3426"/>
                </a:lnTo>
                <a:lnTo>
                  <a:pt x="389" y="3415"/>
                </a:lnTo>
                <a:lnTo>
                  <a:pt x="395" y="3404"/>
                </a:lnTo>
                <a:lnTo>
                  <a:pt x="400" y="3392"/>
                </a:lnTo>
                <a:lnTo>
                  <a:pt x="404" y="3379"/>
                </a:lnTo>
                <a:lnTo>
                  <a:pt x="407" y="3367"/>
                </a:lnTo>
                <a:lnTo>
                  <a:pt x="411" y="3355"/>
                </a:lnTo>
                <a:lnTo>
                  <a:pt x="414" y="3343"/>
                </a:lnTo>
                <a:lnTo>
                  <a:pt x="416" y="3330"/>
                </a:lnTo>
                <a:lnTo>
                  <a:pt x="419" y="3318"/>
                </a:lnTo>
                <a:lnTo>
                  <a:pt x="421" y="3307"/>
                </a:lnTo>
                <a:lnTo>
                  <a:pt x="422" y="3295"/>
                </a:lnTo>
                <a:lnTo>
                  <a:pt x="423" y="3283"/>
                </a:lnTo>
                <a:lnTo>
                  <a:pt x="424" y="3272"/>
                </a:lnTo>
                <a:lnTo>
                  <a:pt x="424" y="3260"/>
                </a:lnTo>
                <a:lnTo>
                  <a:pt x="424" y="3249"/>
                </a:lnTo>
                <a:lnTo>
                  <a:pt x="423" y="3239"/>
                </a:lnTo>
                <a:lnTo>
                  <a:pt x="425" y="3236"/>
                </a:lnTo>
                <a:lnTo>
                  <a:pt x="426" y="3234"/>
                </a:lnTo>
                <a:lnTo>
                  <a:pt x="428" y="3232"/>
                </a:lnTo>
                <a:lnTo>
                  <a:pt x="431" y="3230"/>
                </a:lnTo>
                <a:lnTo>
                  <a:pt x="438" y="3227"/>
                </a:lnTo>
                <a:lnTo>
                  <a:pt x="442" y="3227"/>
                </a:lnTo>
                <a:lnTo>
                  <a:pt x="446" y="3226"/>
                </a:lnTo>
                <a:lnTo>
                  <a:pt x="454" y="3227"/>
                </a:lnTo>
                <a:lnTo>
                  <a:pt x="457" y="3228"/>
                </a:lnTo>
                <a:lnTo>
                  <a:pt x="461" y="3229"/>
                </a:lnTo>
                <a:lnTo>
                  <a:pt x="466" y="3231"/>
                </a:lnTo>
                <a:lnTo>
                  <a:pt x="469" y="3233"/>
                </a:lnTo>
                <a:lnTo>
                  <a:pt x="471" y="3236"/>
                </a:lnTo>
                <a:lnTo>
                  <a:pt x="475" y="3241"/>
                </a:lnTo>
                <a:lnTo>
                  <a:pt x="477" y="3245"/>
                </a:lnTo>
                <a:lnTo>
                  <a:pt x="478" y="3249"/>
                </a:lnTo>
                <a:lnTo>
                  <a:pt x="479" y="3253"/>
                </a:lnTo>
                <a:lnTo>
                  <a:pt x="480" y="3258"/>
                </a:lnTo>
                <a:lnTo>
                  <a:pt x="481" y="3263"/>
                </a:lnTo>
                <a:lnTo>
                  <a:pt x="481" y="3269"/>
                </a:lnTo>
                <a:lnTo>
                  <a:pt x="480" y="3286"/>
                </a:lnTo>
                <a:lnTo>
                  <a:pt x="479" y="3301"/>
                </a:lnTo>
                <a:lnTo>
                  <a:pt x="478" y="3316"/>
                </a:lnTo>
                <a:lnTo>
                  <a:pt x="476" y="3333"/>
                </a:lnTo>
                <a:lnTo>
                  <a:pt x="473" y="3347"/>
                </a:lnTo>
                <a:lnTo>
                  <a:pt x="470" y="3362"/>
                </a:lnTo>
                <a:lnTo>
                  <a:pt x="467" y="3377"/>
                </a:lnTo>
                <a:lnTo>
                  <a:pt x="463" y="3392"/>
                </a:lnTo>
                <a:lnTo>
                  <a:pt x="458" y="3406"/>
                </a:lnTo>
                <a:lnTo>
                  <a:pt x="454" y="3419"/>
                </a:lnTo>
                <a:lnTo>
                  <a:pt x="447" y="3432"/>
                </a:lnTo>
                <a:lnTo>
                  <a:pt x="442" y="3445"/>
                </a:lnTo>
                <a:lnTo>
                  <a:pt x="435" y="3459"/>
                </a:lnTo>
                <a:lnTo>
                  <a:pt x="429" y="3471"/>
                </a:lnTo>
                <a:lnTo>
                  <a:pt x="422" y="3482"/>
                </a:lnTo>
                <a:lnTo>
                  <a:pt x="415" y="3493"/>
                </a:lnTo>
                <a:lnTo>
                  <a:pt x="407" y="3504"/>
                </a:lnTo>
                <a:lnTo>
                  <a:pt x="399" y="3515"/>
                </a:lnTo>
                <a:lnTo>
                  <a:pt x="391" y="3525"/>
                </a:lnTo>
                <a:lnTo>
                  <a:pt x="381" y="3534"/>
                </a:lnTo>
                <a:lnTo>
                  <a:pt x="372" y="3542"/>
                </a:lnTo>
                <a:lnTo>
                  <a:pt x="363" y="3550"/>
                </a:lnTo>
                <a:lnTo>
                  <a:pt x="353" y="3557"/>
                </a:lnTo>
                <a:lnTo>
                  <a:pt x="343" y="3564"/>
                </a:lnTo>
                <a:lnTo>
                  <a:pt x="332" y="3570"/>
                </a:lnTo>
                <a:lnTo>
                  <a:pt x="321" y="3576"/>
                </a:lnTo>
                <a:lnTo>
                  <a:pt x="310" y="3580"/>
                </a:lnTo>
                <a:lnTo>
                  <a:pt x="299" y="3584"/>
                </a:lnTo>
                <a:lnTo>
                  <a:pt x="287" y="3587"/>
                </a:lnTo>
                <a:lnTo>
                  <a:pt x="276" y="3589"/>
                </a:lnTo>
                <a:lnTo>
                  <a:pt x="263" y="3590"/>
                </a:lnTo>
                <a:lnTo>
                  <a:pt x="251" y="3591"/>
                </a:lnTo>
                <a:close/>
                <a:moveTo>
                  <a:pt x="638" y="3585"/>
                </a:moveTo>
                <a:lnTo>
                  <a:pt x="636" y="3585"/>
                </a:lnTo>
                <a:lnTo>
                  <a:pt x="634" y="3584"/>
                </a:lnTo>
                <a:lnTo>
                  <a:pt x="628" y="3581"/>
                </a:lnTo>
                <a:lnTo>
                  <a:pt x="622" y="3577"/>
                </a:lnTo>
                <a:lnTo>
                  <a:pt x="614" y="3572"/>
                </a:lnTo>
                <a:lnTo>
                  <a:pt x="602" y="3560"/>
                </a:lnTo>
                <a:lnTo>
                  <a:pt x="587" y="3546"/>
                </a:lnTo>
                <a:lnTo>
                  <a:pt x="569" y="3530"/>
                </a:lnTo>
                <a:lnTo>
                  <a:pt x="553" y="3513"/>
                </a:lnTo>
                <a:lnTo>
                  <a:pt x="537" y="3495"/>
                </a:lnTo>
                <a:lnTo>
                  <a:pt x="523" y="3479"/>
                </a:lnTo>
                <a:lnTo>
                  <a:pt x="511" y="3464"/>
                </a:lnTo>
                <a:lnTo>
                  <a:pt x="506" y="3458"/>
                </a:lnTo>
                <a:lnTo>
                  <a:pt x="502" y="3453"/>
                </a:lnTo>
                <a:lnTo>
                  <a:pt x="497" y="3442"/>
                </a:lnTo>
                <a:lnTo>
                  <a:pt x="493" y="3432"/>
                </a:lnTo>
                <a:lnTo>
                  <a:pt x="491" y="3422"/>
                </a:lnTo>
                <a:lnTo>
                  <a:pt x="490" y="3412"/>
                </a:lnTo>
                <a:lnTo>
                  <a:pt x="491" y="3407"/>
                </a:lnTo>
                <a:lnTo>
                  <a:pt x="491" y="3401"/>
                </a:lnTo>
                <a:lnTo>
                  <a:pt x="493" y="3395"/>
                </a:lnTo>
                <a:lnTo>
                  <a:pt x="495" y="3388"/>
                </a:lnTo>
                <a:lnTo>
                  <a:pt x="497" y="3382"/>
                </a:lnTo>
                <a:lnTo>
                  <a:pt x="501" y="3376"/>
                </a:lnTo>
                <a:lnTo>
                  <a:pt x="504" y="3369"/>
                </a:lnTo>
                <a:lnTo>
                  <a:pt x="509" y="3362"/>
                </a:lnTo>
                <a:lnTo>
                  <a:pt x="518" y="3351"/>
                </a:lnTo>
                <a:lnTo>
                  <a:pt x="529" y="3338"/>
                </a:lnTo>
                <a:lnTo>
                  <a:pt x="559" y="3303"/>
                </a:lnTo>
                <a:lnTo>
                  <a:pt x="595" y="3263"/>
                </a:lnTo>
                <a:lnTo>
                  <a:pt x="631" y="3223"/>
                </a:lnTo>
                <a:lnTo>
                  <a:pt x="632" y="3222"/>
                </a:lnTo>
                <a:lnTo>
                  <a:pt x="635" y="3222"/>
                </a:lnTo>
                <a:lnTo>
                  <a:pt x="639" y="3222"/>
                </a:lnTo>
                <a:lnTo>
                  <a:pt x="643" y="3223"/>
                </a:lnTo>
                <a:lnTo>
                  <a:pt x="647" y="3225"/>
                </a:lnTo>
                <a:lnTo>
                  <a:pt x="651" y="3228"/>
                </a:lnTo>
                <a:lnTo>
                  <a:pt x="656" y="3231"/>
                </a:lnTo>
                <a:lnTo>
                  <a:pt x="660" y="3235"/>
                </a:lnTo>
                <a:lnTo>
                  <a:pt x="663" y="3239"/>
                </a:lnTo>
                <a:lnTo>
                  <a:pt x="666" y="3244"/>
                </a:lnTo>
                <a:lnTo>
                  <a:pt x="667" y="3248"/>
                </a:lnTo>
                <a:lnTo>
                  <a:pt x="668" y="3253"/>
                </a:lnTo>
                <a:lnTo>
                  <a:pt x="667" y="3259"/>
                </a:lnTo>
                <a:lnTo>
                  <a:pt x="665" y="3264"/>
                </a:lnTo>
                <a:lnTo>
                  <a:pt x="663" y="3270"/>
                </a:lnTo>
                <a:lnTo>
                  <a:pt x="659" y="3277"/>
                </a:lnTo>
                <a:lnTo>
                  <a:pt x="650" y="3287"/>
                </a:lnTo>
                <a:lnTo>
                  <a:pt x="639" y="3300"/>
                </a:lnTo>
                <a:lnTo>
                  <a:pt x="609" y="3334"/>
                </a:lnTo>
                <a:lnTo>
                  <a:pt x="579" y="3368"/>
                </a:lnTo>
                <a:lnTo>
                  <a:pt x="566" y="3382"/>
                </a:lnTo>
                <a:lnTo>
                  <a:pt x="557" y="3395"/>
                </a:lnTo>
                <a:lnTo>
                  <a:pt x="555" y="3398"/>
                </a:lnTo>
                <a:lnTo>
                  <a:pt x="553" y="3402"/>
                </a:lnTo>
                <a:lnTo>
                  <a:pt x="552" y="3406"/>
                </a:lnTo>
                <a:lnTo>
                  <a:pt x="551" y="3409"/>
                </a:lnTo>
                <a:lnTo>
                  <a:pt x="552" y="3414"/>
                </a:lnTo>
                <a:lnTo>
                  <a:pt x="553" y="3418"/>
                </a:lnTo>
                <a:lnTo>
                  <a:pt x="555" y="3422"/>
                </a:lnTo>
                <a:lnTo>
                  <a:pt x="558" y="3427"/>
                </a:lnTo>
                <a:lnTo>
                  <a:pt x="566" y="3436"/>
                </a:lnTo>
                <a:lnTo>
                  <a:pt x="577" y="3448"/>
                </a:lnTo>
                <a:lnTo>
                  <a:pt x="604" y="3478"/>
                </a:lnTo>
                <a:lnTo>
                  <a:pt x="637" y="3510"/>
                </a:lnTo>
                <a:lnTo>
                  <a:pt x="668" y="3541"/>
                </a:lnTo>
                <a:lnTo>
                  <a:pt x="670" y="3543"/>
                </a:lnTo>
                <a:lnTo>
                  <a:pt x="672" y="3545"/>
                </a:lnTo>
                <a:lnTo>
                  <a:pt x="672" y="3548"/>
                </a:lnTo>
                <a:lnTo>
                  <a:pt x="673" y="3550"/>
                </a:lnTo>
                <a:lnTo>
                  <a:pt x="672" y="3556"/>
                </a:lnTo>
                <a:lnTo>
                  <a:pt x="671" y="3559"/>
                </a:lnTo>
                <a:lnTo>
                  <a:pt x="670" y="3561"/>
                </a:lnTo>
                <a:lnTo>
                  <a:pt x="666" y="3567"/>
                </a:lnTo>
                <a:lnTo>
                  <a:pt x="664" y="3570"/>
                </a:lnTo>
                <a:lnTo>
                  <a:pt x="661" y="3573"/>
                </a:lnTo>
                <a:lnTo>
                  <a:pt x="656" y="3578"/>
                </a:lnTo>
                <a:lnTo>
                  <a:pt x="653" y="3580"/>
                </a:lnTo>
                <a:lnTo>
                  <a:pt x="650" y="3582"/>
                </a:lnTo>
                <a:lnTo>
                  <a:pt x="644" y="3584"/>
                </a:lnTo>
                <a:lnTo>
                  <a:pt x="641" y="3585"/>
                </a:lnTo>
                <a:lnTo>
                  <a:pt x="638" y="3585"/>
                </a:lnTo>
                <a:close/>
                <a:moveTo>
                  <a:pt x="417" y="4321"/>
                </a:moveTo>
                <a:lnTo>
                  <a:pt x="421" y="4298"/>
                </a:lnTo>
                <a:lnTo>
                  <a:pt x="423" y="4275"/>
                </a:lnTo>
                <a:lnTo>
                  <a:pt x="424" y="4253"/>
                </a:lnTo>
                <a:lnTo>
                  <a:pt x="424" y="4243"/>
                </a:lnTo>
                <a:lnTo>
                  <a:pt x="423" y="4233"/>
                </a:lnTo>
                <a:lnTo>
                  <a:pt x="425" y="4229"/>
                </a:lnTo>
                <a:lnTo>
                  <a:pt x="426" y="4227"/>
                </a:lnTo>
                <a:lnTo>
                  <a:pt x="428" y="4225"/>
                </a:lnTo>
                <a:lnTo>
                  <a:pt x="431" y="4223"/>
                </a:lnTo>
                <a:lnTo>
                  <a:pt x="438" y="4221"/>
                </a:lnTo>
                <a:lnTo>
                  <a:pt x="442" y="4220"/>
                </a:lnTo>
                <a:lnTo>
                  <a:pt x="446" y="4220"/>
                </a:lnTo>
                <a:lnTo>
                  <a:pt x="454" y="4220"/>
                </a:lnTo>
                <a:lnTo>
                  <a:pt x="457" y="4221"/>
                </a:lnTo>
                <a:lnTo>
                  <a:pt x="461" y="4222"/>
                </a:lnTo>
                <a:lnTo>
                  <a:pt x="466" y="4225"/>
                </a:lnTo>
                <a:lnTo>
                  <a:pt x="469" y="4227"/>
                </a:lnTo>
                <a:lnTo>
                  <a:pt x="471" y="4229"/>
                </a:lnTo>
                <a:lnTo>
                  <a:pt x="475" y="4236"/>
                </a:lnTo>
                <a:lnTo>
                  <a:pt x="477" y="4239"/>
                </a:lnTo>
                <a:lnTo>
                  <a:pt x="478" y="4243"/>
                </a:lnTo>
                <a:lnTo>
                  <a:pt x="479" y="4247"/>
                </a:lnTo>
                <a:lnTo>
                  <a:pt x="480" y="4252"/>
                </a:lnTo>
                <a:lnTo>
                  <a:pt x="481" y="4258"/>
                </a:lnTo>
                <a:lnTo>
                  <a:pt x="481" y="4263"/>
                </a:lnTo>
                <a:lnTo>
                  <a:pt x="480" y="4278"/>
                </a:lnTo>
                <a:lnTo>
                  <a:pt x="479" y="4293"/>
                </a:lnTo>
                <a:lnTo>
                  <a:pt x="476" y="4321"/>
                </a:lnTo>
                <a:lnTo>
                  <a:pt x="417" y="4321"/>
                </a:lnTo>
                <a:close/>
                <a:moveTo>
                  <a:pt x="116" y="4321"/>
                </a:moveTo>
                <a:lnTo>
                  <a:pt x="118" y="4315"/>
                </a:lnTo>
                <a:lnTo>
                  <a:pt x="121" y="4310"/>
                </a:lnTo>
                <a:lnTo>
                  <a:pt x="127" y="4299"/>
                </a:lnTo>
                <a:lnTo>
                  <a:pt x="133" y="4287"/>
                </a:lnTo>
                <a:lnTo>
                  <a:pt x="140" y="4277"/>
                </a:lnTo>
                <a:lnTo>
                  <a:pt x="148" y="4267"/>
                </a:lnTo>
                <a:lnTo>
                  <a:pt x="157" y="4258"/>
                </a:lnTo>
                <a:lnTo>
                  <a:pt x="161" y="4254"/>
                </a:lnTo>
                <a:lnTo>
                  <a:pt x="165" y="4250"/>
                </a:lnTo>
                <a:lnTo>
                  <a:pt x="174" y="4243"/>
                </a:lnTo>
                <a:lnTo>
                  <a:pt x="179" y="4239"/>
                </a:lnTo>
                <a:lnTo>
                  <a:pt x="184" y="4236"/>
                </a:lnTo>
                <a:lnTo>
                  <a:pt x="193" y="4229"/>
                </a:lnTo>
                <a:lnTo>
                  <a:pt x="198" y="4226"/>
                </a:lnTo>
                <a:lnTo>
                  <a:pt x="203" y="4223"/>
                </a:lnTo>
                <a:lnTo>
                  <a:pt x="215" y="4219"/>
                </a:lnTo>
                <a:lnTo>
                  <a:pt x="226" y="4215"/>
                </a:lnTo>
                <a:lnTo>
                  <a:pt x="237" y="4213"/>
                </a:lnTo>
                <a:lnTo>
                  <a:pt x="243" y="4212"/>
                </a:lnTo>
                <a:lnTo>
                  <a:pt x="248" y="4211"/>
                </a:lnTo>
                <a:lnTo>
                  <a:pt x="260" y="4211"/>
                </a:lnTo>
                <a:lnTo>
                  <a:pt x="271" y="4211"/>
                </a:lnTo>
                <a:lnTo>
                  <a:pt x="276" y="4212"/>
                </a:lnTo>
                <a:lnTo>
                  <a:pt x="281" y="4213"/>
                </a:lnTo>
                <a:lnTo>
                  <a:pt x="286" y="4214"/>
                </a:lnTo>
                <a:lnTo>
                  <a:pt x="290" y="4215"/>
                </a:lnTo>
                <a:lnTo>
                  <a:pt x="298" y="4218"/>
                </a:lnTo>
                <a:lnTo>
                  <a:pt x="306" y="4222"/>
                </a:lnTo>
                <a:lnTo>
                  <a:pt x="314" y="4226"/>
                </a:lnTo>
                <a:lnTo>
                  <a:pt x="320" y="4233"/>
                </a:lnTo>
                <a:lnTo>
                  <a:pt x="326" y="4239"/>
                </a:lnTo>
                <a:lnTo>
                  <a:pt x="329" y="4242"/>
                </a:lnTo>
                <a:lnTo>
                  <a:pt x="333" y="4245"/>
                </a:lnTo>
                <a:lnTo>
                  <a:pt x="338" y="4253"/>
                </a:lnTo>
                <a:lnTo>
                  <a:pt x="342" y="4260"/>
                </a:lnTo>
                <a:lnTo>
                  <a:pt x="345" y="4269"/>
                </a:lnTo>
                <a:lnTo>
                  <a:pt x="348" y="4277"/>
                </a:lnTo>
                <a:lnTo>
                  <a:pt x="349" y="4287"/>
                </a:lnTo>
                <a:lnTo>
                  <a:pt x="351" y="4297"/>
                </a:lnTo>
                <a:lnTo>
                  <a:pt x="351" y="4307"/>
                </a:lnTo>
                <a:lnTo>
                  <a:pt x="351" y="4314"/>
                </a:lnTo>
                <a:lnTo>
                  <a:pt x="350" y="4321"/>
                </a:lnTo>
                <a:lnTo>
                  <a:pt x="293" y="4321"/>
                </a:lnTo>
                <a:lnTo>
                  <a:pt x="295" y="4316"/>
                </a:lnTo>
                <a:lnTo>
                  <a:pt x="296" y="4310"/>
                </a:lnTo>
                <a:lnTo>
                  <a:pt x="297" y="4305"/>
                </a:lnTo>
                <a:lnTo>
                  <a:pt x="298" y="4299"/>
                </a:lnTo>
                <a:lnTo>
                  <a:pt x="297" y="4290"/>
                </a:lnTo>
                <a:lnTo>
                  <a:pt x="295" y="4283"/>
                </a:lnTo>
                <a:lnTo>
                  <a:pt x="293" y="4280"/>
                </a:lnTo>
                <a:lnTo>
                  <a:pt x="291" y="4277"/>
                </a:lnTo>
                <a:lnTo>
                  <a:pt x="289" y="4274"/>
                </a:lnTo>
                <a:lnTo>
                  <a:pt x="287" y="4271"/>
                </a:lnTo>
                <a:lnTo>
                  <a:pt x="281" y="4267"/>
                </a:lnTo>
                <a:lnTo>
                  <a:pt x="278" y="4265"/>
                </a:lnTo>
                <a:lnTo>
                  <a:pt x="274" y="4264"/>
                </a:lnTo>
                <a:lnTo>
                  <a:pt x="265" y="4262"/>
                </a:lnTo>
                <a:lnTo>
                  <a:pt x="261" y="4262"/>
                </a:lnTo>
                <a:lnTo>
                  <a:pt x="256" y="4261"/>
                </a:lnTo>
                <a:lnTo>
                  <a:pt x="251" y="4262"/>
                </a:lnTo>
                <a:lnTo>
                  <a:pt x="246" y="4263"/>
                </a:lnTo>
                <a:lnTo>
                  <a:pt x="235" y="4266"/>
                </a:lnTo>
                <a:lnTo>
                  <a:pt x="229" y="4268"/>
                </a:lnTo>
                <a:lnTo>
                  <a:pt x="224" y="4271"/>
                </a:lnTo>
                <a:lnTo>
                  <a:pt x="214" y="4278"/>
                </a:lnTo>
                <a:lnTo>
                  <a:pt x="208" y="4282"/>
                </a:lnTo>
                <a:lnTo>
                  <a:pt x="203" y="4286"/>
                </a:lnTo>
                <a:lnTo>
                  <a:pt x="198" y="4292"/>
                </a:lnTo>
                <a:lnTo>
                  <a:pt x="193" y="4297"/>
                </a:lnTo>
                <a:lnTo>
                  <a:pt x="184" y="4308"/>
                </a:lnTo>
                <a:lnTo>
                  <a:pt x="177" y="4321"/>
                </a:lnTo>
                <a:lnTo>
                  <a:pt x="116" y="4321"/>
                </a:lnTo>
                <a:close/>
                <a:moveTo>
                  <a:pt x="538" y="4321"/>
                </a:moveTo>
                <a:lnTo>
                  <a:pt x="582" y="4271"/>
                </a:lnTo>
                <a:lnTo>
                  <a:pt x="606" y="4244"/>
                </a:lnTo>
                <a:lnTo>
                  <a:pt x="631" y="4216"/>
                </a:lnTo>
                <a:lnTo>
                  <a:pt x="632" y="4216"/>
                </a:lnTo>
                <a:lnTo>
                  <a:pt x="635" y="4215"/>
                </a:lnTo>
                <a:lnTo>
                  <a:pt x="639" y="4216"/>
                </a:lnTo>
                <a:lnTo>
                  <a:pt x="643" y="4217"/>
                </a:lnTo>
                <a:lnTo>
                  <a:pt x="647" y="4219"/>
                </a:lnTo>
                <a:lnTo>
                  <a:pt x="651" y="4221"/>
                </a:lnTo>
                <a:lnTo>
                  <a:pt x="656" y="4224"/>
                </a:lnTo>
                <a:lnTo>
                  <a:pt x="660" y="4228"/>
                </a:lnTo>
                <a:lnTo>
                  <a:pt x="663" y="4233"/>
                </a:lnTo>
                <a:lnTo>
                  <a:pt x="666" y="4238"/>
                </a:lnTo>
                <a:lnTo>
                  <a:pt x="667" y="4243"/>
                </a:lnTo>
                <a:lnTo>
                  <a:pt x="668" y="4247"/>
                </a:lnTo>
                <a:lnTo>
                  <a:pt x="667" y="4253"/>
                </a:lnTo>
                <a:lnTo>
                  <a:pt x="665" y="4258"/>
                </a:lnTo>
                <a:lnTo>
                  <a:pt x="663" y="4264"/>
                </a:lnTo>
                <a:lnTo>
                  <a:pt x="659" y="4270"/>
                </a:lnTo>
                <a:lnTo>
                  <a:pt x="651" y="4279"/>
                </a:lnTo>
                <a:lnTo>
                  <a:pt x="641" y="4292"/>
                </a:lnTo>
                <a:lnTo>
                  <a:pt x="614" y="4321"/>
                </a:lnTo>
                <a:lnTo>
                  <a:pt x="538" y="4321"/>
                </a:lnTo>
                <a:close/>
                <a:moveTo>
                  <a:pt x="4080" y="3591"/>
                </a:moveTo>
                <a:lnTo>
                  <a:pt x="4073" y="3591"/>
                </a:lnTo>
                <a:lnTo>
                  <a:pt x="4065" y="3590"/>
                </a:lnTo>
                <a:lnTo>
                  <a:pt x="4058" y="3589"/>
                </a:lnTo>
                <a:lnTo>
                  <a:pt x="4049" y="3587"/>
                </a:lnTo>
                <a:lnTo>
                  <a:pt x="4042" y="3585"/>
                </a:lnTo>
                <a:lnTo>
                  <a:pt x="4035" y="3583"/>
                </a:lnTo>
                <a:lnTo>
                  <a:pt x="4021" y="3577"/>
                </a:lnTo>
                <a:lnTo>
                  <a:pt x="4008" y="3569"/>
                </a:lnTo>
                <a:lnTo>
                  <a:pt x="4002" y="3565"/>
                </a:lnTo>
                <a:lnTo>
                  <a:pt x="3996" y="3560"/>
                </a:lnTo>
                <a:lnTo>
                  <a:pt x="3989" y="3555"/>
                </a:lnTo>
                <a:lnTo>
                  <a:pt x="3983" y="3550"/>
                </a:lnTo>
                <a:lnTo>
                  <a:pt x="3978" y="3545"/>
                </a:lnTo>
                <a:lnTo>
                  <a:pt x="3973" y="3539"/>
                </a:lnTo>
                <a:lnTo>
                  <a:pt x="3968" y="3533"/>
                </a:lnTo>
                <a:lnTo>
                  <a:pt x="3963" y="3527"/>
                </a:lnTo>
                <a:lnTo>
                  <a:pt x="3959" y="3520"/>
                </a:lnTo>
                <a:lnTo>
                  <a:pt x="3955" y="3513"/>
                </a:lnTo>
                <a:lnTo>
                  <a:pt x="3951" y="3505"/>
                </a:lnTo>
                <a:lnTo>
                  <a:pt x="3947" y="3498"/>
                </a:lnTo>
                <a:lnTo>
                  <a:pt x="3944" y="3490"/>
                </a:lnTo>
                <a:lnTo>
                  <a:pt x="3941" y="3482"/>
                </a:lnTo>
                <a:lnTo>
                  <a:pt x="3938" y="3474"/>
                </a:lnTo>
                <a:lnTo>
                  <a:pt x="3936" y="3466"/>
                </a:lnTo>
                <a:lnTo>
                  <a:pt x="3934" y="3458"/>
                </a:lnTo>
                <a:lnTo>
                  <a:pt x="3932" y="3448"/>
                </a:lnTo>
                <a:lnTo>
                  <a:pt x="3931" y="3439"/>
                </a:lnTo>
                <a:lnTo>
                  <a:pt x="3929" y="3431"/>
                </a:lnTo>
                <a:lnTo>
                  <a:pt x="3928" y="3422"/>
                </a:lnTo>
                <a:lnTo>
                  <a:pt x="3928" y="3412"/>
                </a:lnTo>
                <a:lnTo>
                  <a:pt x="3929" y="3394"/>
                </a:lnTo>
                <a:lnTo>
                  <a:pt x="3931" y="3384"/>
                </a:lnTo>
                <a:lnTo>
                  <a:pt x="3932" y="3374"/>
                </a:lnTo>
                <a:lnTo>
                  <a:pt x="3934" y="3365"/>
                </a:lnTo>
                <a:lnTo>
                  <a:pt x="3936" y="3357"/>
                </a:lnTo>
                <a:lnTo>
                  <a:pt x="3939" y="3348"/>
                </a:lnTo>
                <a:lnTo>
                  <a:pt x="3941" y="3339"/>
                </a:lnTo>
                <a:lnTo>
                  <a:pt x="3944" y="3330"/>
                </a:lnTo>
                <a:lnTo>
                  <a:pt x="3948" y="3322"/>
                </a:lnTo>
                <a:lnTo>
                  <a:pt x="3952" y="3314"/>
                </a:lnTo>
                <a:lnTo>
                  <a:pt x="3956" y="3306"/>
                </a:lnTo>
                <a:lnTo>
                  <a:pt x="3960" y="3298"/>
                </a:lnTo>
                <a:lnTo>
                  <a:pt x="3965" y="3291"/>
                </a:lnTo>
                <a:lnTo>
                  <a:pt x="3975" y="3277"/>
                </a:lnTo>
                <a:lnTo>
                  <a:pt x="3981" y="3269"/>
                </a:lnTo>
                <a:lnTo>
                  <a:pt x="3986" y="3263"/>
                </a:lnTo>
                <a:lnTo>
                  <a:pt x="4000" y="3252"/>
                </a:lnTo>
                <a:lnTo>
                  <a:pt x="4006" y="3247"/>
                </a:lnTo>
                <a:lnTo>
                  <a:pt x="4013" y="3242"/>
                </a:lnTo>
                <a:lnTo>
                  <a:pt x="4020" y="3237"/>
                </a:lnTo>
                <a:lnTo>
                  <a:pt x="4027" y="3233"/>
                </a:lnTo>
                <a:lnTo>
                  <a:pt x="4034" y="3230"/>
                </a:lnTo>
                <a:lnTo>
                  <a:pt x="4041" y="3227"/>
                </a:lnTo>
                <a:lnTo>
                  <a:pt x="4049" y="3224"/>
                </a:lnTo>
                <a:lnTo>
                  <a:pt x="4058" y="3222"/>
                </a:lnTo>
                <a:lnTo>
                  <a:pt x="4066" y="3220"/>
                </a:lnTo>
                <a:lnTo>
                  <a:pt x="4074" y="3219"/>
                </a:lnTo>
                <a:lnTo>
                  <a:pt x="4082" y="3218"/>
                </a:lnTo>
                <a:lnTo>
                  <a:pt x="4090" y="3218"/>
                </a:lnTo>
                <a:lnTo>
                  <a:pt x="4100" y="3218"/>
                </a:lnTo>
                <a:lnTo>
                  <a:pt x="4105" y="3219"/>
                </a:lnTo>
                <a:lnTo>
                  <a:pt x="4111" y="3219"/>
                </a:lnTo>
                <a:lnTo>
                  <a:pt x="4115" y="3220"/>
                </a:lnTo>
                <a:lnTo>
                  <a:pt x="4120" y="3222"/>
                </a:lnTo>
                <a:lnTo>
                  <a:pt x="4128" y="3225"/>
                </a:lnTo>
                <a:lnTo>
                  <a:pt x="4136" y="3229"/>
                </a:lnTo>
                <a:lnTo>
                  <a:pt x="4144" y="3233"/>
                </a:lnTo>
                <a:lnTo>
                  <a:pt x="4150" y="3239"/>
                </a:lnTo>
                <a:lnTo>
                  <a:pt x="4156" y="3245"/>
                </a:lnTo>
                <a:lnTo>
                  <a:pt x="4159" y="3248"/>
                </a:lnTo>
                <a:lnTo>
                  <a:pt x="4162" y="3251"/>
                </a:lnTo>
                <a:lnTo>
                  <a:pt x="4166" y="3258"/>
                </a:lnTo>
                <a:lnTo>
                  <a:pt x="4171" y="3266"/>
                </a:lnTo>
                <a:lnTo>
                  <a:pt x="4175" y="3276"/>
                </a:lnTo>
                <a:lnTo>
                  <a:pt x="4177" y="3284"/>
                </a:lnTo>
                <a:lnTo>
                  <a:pt x="4179" y="3293"/>
                </a:lnTo>
                <a:lnTo>
                  <a:pt x="4180" y="3303"/>
                </a:lnTo>
                <a:lnTo>
                  <a:pt x="4181" y="3313"/>
                </a:lnTo>
                <a:lnTo>
                  <a:pt x="4180" y="3325"/>
                </a:lnTo>
                <a:lnTo>
                  <a:pt x="4179" y="3333"/>
                </a:lnTo>
                <a:lnTo>
                  <a:pt x="4178" y="3339"/>
                </a:lnTo>
                <a:lnTo>
                  <a:pt x="4174" y="3351"/>
                </a:lnTo>
                <a:lnTo>
                  <a:pt x="4168" y="3362"/>
                </a:lnTo>
                <a:lnTo>
                  <a:pt x="4162" y="3373"/>
                </a:lnTo>
                <a:lnTo>
                  <a:pt x="4154" y="3384"/>
                </a:lnTo>
                <a:lnTo>
                  <a:pt x="4150" y="3389"/>
                </a:lnTo>
                <a:lnTo>
                  <a:pt x="4146" y="3395"/>
                </a:lnTo>
                <a:lnTo>
                  <a:pt x="4137" y="3404"/>
                </a:lnTo>
                <a:lnTo>
                  <a:pt x="4127" y="3413"/>
                </a:lnTo>
                <a:lnTo>
                  <a:pt x="4122" y="3416"/>
                </a:lnTo>
                <a:lnTo>
                  <a:pt x="4116" y="3420"/>
                </a:lnTo>
                <a:lnTo>
                  <a:pt x="4104" y="3427"/>
                </a:lnTo>
                <a:lnTo>
                  <a:pt x="4092" y="3432"/>
                </a:lnTo>
                <a:lnTo>
                  <a:pt x="4080" y="3437"/>
                </a:lnTo>
                <a:lnTo>
                  <a:pt x="4074" y="3439"/>
                </a:lnTo>
                <a:lnTo>
                  <a:pt x="4068" y="3440"/>
                </a:lnTo>
                <a:lnTo>
                  <a:pt x="4062" y="3441"/>
                </a:lnTo>
                <a:lnTo>
                  <a:pt x="4055" y="3442"/>
                </a:lnTo>
                <a:lnTo>
                  <a:pt x="4042" y="3443"/>
                </a:lnTo>
                <a:lnTo>
                  <a:pt x="4036" y="3442"/>
                </a:lnTo>
                <a:lnTo>
                  <a:pt x="4031" y="3441"/>
                </a:lnTo>
                <a:lnTo>
                  <a:pt x="4027" y="3438"/>
                </a:lnTo>
                <a:lnTo>
                  <a:pt x="4025" y="3436"/>
                </a:lnTo>
                <a:lnTo>
                  <a:pt x="4023" y="3434"/>
                </a:lnTo>
                <a:lnTo>
                  <a:pt x="4020" y="3429"/>
                </a:lnTo>
                <a:lnTo>
                  <a:pt x="4018" y="3424"/>
                </a:lnTo>
                <a:lnTo>
                  <a:pt x="4017" y="3421"/>
                </a:lnTo>
                <a:lnTo>
                  <a:pt x="4016" y="3418"/>
                </a:lnTo>
                <a:lnTo>
                  <a:pt x="4016" y="3412"/>
                </a:lnTo>
                <a:lnTo>
                  <a:pt x="4016" y="3409"/>
                </a:lnTo>
                <a:lnTo>
                  <a:pt x="4016" y="3406"/>
                </a:lnTo>
                <a:lnTo>
                  <a:pt x="4017" y="3401"/>
                </a:lnTo>
                <a:lnTo>
                  <a:pt x="4018" y="3399"/>
                </a:lnTo>
                <a:lnTo>
                  <a:pt x="4019" y="3397"/>
                </a:lnTo>
                <a:lnTo>
                  <a:pt x="4021" y="3396"/>
                </a:lnTo>
                <a:lnTo>
                  <a:pt x="4023" y="3395"/>
                </a:lnTo>
                <a:lnTo>
                  <a:pt x="4034" y="3393"/>
                </a:lnTo>
                <a:lnTo>
                  <a:pt x="4044" y="3389"/>
                </a:lnTo>
                <a:lnTo>
                  <a:pt x="4055" y="3386"/>
                </a:lnTo>
                <a:lnTo>
                  <a:pt x="4065" y="3382"/>
                </a:lnTo>
                <a:lnTo>
                  <a:pt x="4074" y="3377"/>
                </a:lnTo>
                <a:lnTo>
                  <a:pt x="4082" y="3372"/>
                </a:lnTo>
                <a:lnTo>
                  <a:pt x="4090" y="3367"/>
                </a:lnTo>
                <a:lnTo>
                  <a:pt x="4094" y="3364"/>
                </a:lnTo>
                <a:lnTo>
                  <a:pt x="4097" y="3361"/>
                </a:lnTo>
                <a:lnTo>
                  <a:pt x="4104" y="3354"/>
                </a:lnTo>
                <a:lnTo>
                  <a:pt x="4111" y="3348"/>
                </a:lnTo>
                <a:lnTo>
                  <a:pt x="4116" y="3341"/>
                </a:lnTo>
                <a:lnTo>
                  <a:pt x="4120" y="3334"/>
                </a:lnTo>
                <a:lnTo>
                  <a:pt x="4123" y="3326"/>
                </a:lnTo>
                <a:lnTo>
                  <a:pt x="4125" y="3319"/>
                </a:lnTo>
                <a:lnTo>
                  <a:pt x="4127" y="3312"/>
                </a:lnTo>
                <a:lnTo>
                  <a:pt x="4127" y="3305"/>
                </a:lnTo>
                <a:lnTo>
                  <a:pt x="4127" y="3297"/>
                </a:lnTo>
                <a:lnTo>
                  <a:pt x="4125" y="3290"/>
                </a:lnTo>
                <a:lnTo>
                  <a:pt x="4123" y="3286"/>
                </a:lnTo>
                <a:lnTo>
                  <a:pt x="4121" y="3283"/>
                </a:lnTo>
                <a:lnTo>
                  <a:pt x="4119" y="3281"/>
                </a:lnTo>
                <a:lnTo>
                  <a:pt x="4117" y="3278"/>
                </a:lnTo>
                <a:lnTo>
                  <a:pt x="4111" y="3274"/>
                </a:lnTo>
                <a:lnTo>
                  <a:pt x="4107" y="3272"/>
                </a:lnTo>
                <a:lnTo>
                  <a:pt x="4103" y="3270"/>
                </a:lnTo>
                <a:lnTo>
                  <a:pt x="4095" y="3268"/>
                </a:lnTo>
                <a:lnTo>
                  <a:pt x="4091" y="3267"/>
                </a:lnTo>
                <a:lnTo>
                  <a:pt x="4086" y="3267"/>
                </a:lnTo>
                <a:lnTo>
                  <a:pt x="4077" y="3268"/>
                </a:lnTo>
                <a:lnTo>
                  <a:pt x="4073" y="3269"/>
                </a:lnTo>
                <a:lnTo>
                  <a:pt x="4069" y="3270"/>
                </a:lnTo>
                <a:lnTo>
                  <a:pt x="4064" y="3273"/>
                </a:lnTo>
                <a:lnTo>
                  <a:pt x="4060" y="3275"/>
                </a:lnTo>
                <a:lnTo>
                  <a:pt x="4055" y="3277"/>
                </a:lnTo>
                <a:lnTo>
                  <a:pt x="4051" y="3279"/>
                </a:lnTo>
                <a:lnTo>
                  <a:pt x="4046" y="3282"/>
                </a:lnTo>
                <a:lnTo>
                  <a:pt x="4041" y="3285"/>
                </a:lnTo>
                <a:lnTo>
                  <a:pt x="4033" y="3292"/>
                </a:lnTo>
                <a:lnTo>
                  <a:pt x="4025" y="3300"/>
                </a:lnTo>
                <a:lnTo>
                  <a:pt x="4018" y="3309"/>
                </a:lnTo>
                <a:lnTo>
                  <a:pt x="4014" y="3314"/>
                </a:lnTo>
                <a:lnTo>
                  <a:pt x="4011" y="3319"/>
                </a:lnTo>
                <a:lnTo>
                  <a:pt x="4005" y="3330"/>
                </a:lnTo>
                <a:lnTo>
                  <a:pt x="3999" y="3343"/>
                </a:lnTo>
                <a:lnTo>
                  <a:pt x="3995" y="3355"/>
                </a:lnTo>
                <a:lnTo>
                  <a:pt x="3991" y="3368"/>
                </a:lnTo>
                <a:lnTo>
                  <a:pt x="3987" y="3381"/>
                </a:lnTo>
                <a:lnTo>
                  <a:pt x="3985" y="3396"/>
                </a:lnTo>
                <a:lnTo>
                  <a:pt x="3985" y="3403"/>
                </a:lnTo>
                <a:lnTo>
                  <a:pt x="3985" y="3410"/>
                </a:lnTo>
                <a:lnTo>
                  <a:pt x="3985" y="3423"/>
                </a:lnTo>
                <a:lnTo>
                  <a:pt x="3986" y="3435"/>
                </a:lnTo>
                <a:lnTo>
                  <a:pt x="3988" y="3446"/>
                </a:lnTo>
                <a:lnTo>
                  <a:pt x="3991" y="3453"/>
                </a:lnTo>
                <a:lnTo>
                  <a:pt x="3992" y="3458"/>
                </a:lnTo>
                <a:lnTo>
                  <a:pt x="3996" y="3469"/>
                </a:lnTo>
                <a:lnTo>
                  <a:pt x="3998" y="3474"/>
                </a:lnTo>
                <a:lnTo>
                  <a:pt x="4001" y="3479"/>
                </a:lnTo>
                <a:lnTo>
                  <a:pt x="4003" y="3483"/>
                </a:lnTo>
                <a:lnTo>
                  <a:pt x="4006" y="3488"/>
                </a:lnTo>
                <a:lnTo>
                  <a:pt x="4009" y="3492"/>
                </a:lnTo>
                <a:lnTo>
                  <a:pt x="4012" y="3496"/>
                </a:lnTo>
                <a:lnTo>
                  <a:pt x="4015" y="3500"/>
                </a:lnTo>
                <a:lnTo>
                  <a:pt x="4018" y="3503"/>
                </a:lnTo>
                <a:lnTo>
                  <a:pt x="4026" y="3510"/>
                </a:lnTo>
                <a:lnTo>
                  <a:pt x="4033" y="3517"/>
                </a:lnTo>
                <a:lnTo>
                  <a:pt x="4042" y="3522"/>
                </a:lnTo>
                <a:lnTo>
                  <a:pt x="4052" y="3525"/>
                </a:lnTo>
                <a:lnTo>
                  <a:pt x="4062" y="3528"/>
                </a:lnTo>
                <a:lnTo>
                  <a:pt x="4072" y="3530"/>
                </a:lnTo>
                <a:lnTo>
                  <a:pt x="4077" y="3530"/>
                </a:lnTo>
                <a:lnTo>
                  <a:pt x="4082" y="3530"/>
                </a:lnTo>
                <a:lnTo>
                  <a:pt x="4093" y="3530"/>
                </a:lnTo>
                <a:lnTo>
                  <a:pt x="4103" y="3528"/>
                </a:lnTo>
                <a:lnTo>
                  <a:pt x="4114" y="3526"/>
                </a:lnTo>
                <a:lnTo>
                  <a:pt x="4124" y="3523"/>
                </a:lnTo>
                <a:lnTo>
                  <a:pt x="4133" y="3518"/>
                </a:lnTo>
                <a:lnTo>
                  <a:pt x="4142" y="3513"/>
                </a:lnTo>
                <a:lnTo>
                  <a:pt x="4150" y="3507"/>
                </a:lnTo>
                <a:lnTo>
                  <a:pt x="4159" y="3500"/>
                </a:lnTo>
                <a:lnTo>
                  <a:pt x="4167" y="3493"/>
                </a:lnTo>
                <a:lnTo>
                  <a:pt x="4175" y="3485"/>
                </a:lnTo>
                <a:lnTo>
                  <a:pt x="4183" y="3476"/>
                </a:lnTo>
                <a:lnTo>
                  <a:pt x="4190" y="3467"/>
                </a:lnTo>
                <a:lnTo>
                  <a:pt x="4202" y="3447"/>
                </a:lnTo>
                <a:lnTo>
                  <a:pt x="4208" y="3437"/>
                </a:lnTo>
                <a:lnTo>
                  <a:pt x="4214" y="3426"/>
                </a:lnTo>
                <a:lnTo>
                  <a:pt x="4219" y="3415"/>
                </a:lnTo>
                <a:lnTo>
                  <a:pt x="4224" y="3404"/>
                </a:lnTo>
                <a:lnTo>
                  <a:pt x="4228" y="3392"/>
                </a:lnTo>
                <a:lnTo>
                  <a:pt x="4234" y="3379"/>
                </a:lnTo>
                <a:lnTo>
                  <a:pt x="4237" y="3367"/>
                </a:lnTo>
                <a:lnTo>
                  <a:pt x="4241" y="3355"/>
                </a:lnTo>
                <a:lnTo>
                  <a:pt x="4244" y="3343"/>
                </a:lnTo>
                <a:lnTo>
                  <a:pt x="4246" y="3330"/>
                </a:lnTo>
                <a:lnTo>
                  <a:pt x="4249" y="3318"/>
                </a:lnTo>
                <a:lnTo>
                  <a:pt x="4250" y="3307"/>
                </a:lnTo>
                <a:lnTo>
                  <a:pt x="4252" y="3295"/>
                </a:lnTo>
                <a:lnTo>
                  <a:pt x="4253" y="3283"/>
                </a:lnTo>
                <a:lnTo>
                  <a:pt x="4254" y="3272"/>
                </a:lnTo>
                <a:lnTo>
                  <a:pt x="4254" y="3260"/>
                </a:lnTo>
                <a:lnTo>
                  <a:pt x="4254" y="3249"/>
                </a:lnTo>
                <a:lnTo>
                  <a:pt x="4253" y="3239"/>
                </a:lnTo>
                <a:lnTo>
                  <a:pt x="4254" y="3236"/>
                </a:lnTo>
                <a:lnTo>
                  <a:pt x="4256" y="3234"/>
                </a:lnTo>
                <a:lnTo>
                  <a:pt x="4258" y="3232"/>
                </a:lnTo>
                <a:lnTo>
                  <a:pt x="4261" y="3230"/>
                </a:lnTo>
                <a:lnTo>
                  <a:pt x="4268" y="3227"/>
                </a:lnTo>
                <a:lnTo>
                  <a:pt x="4272" y="3227"/>
                </a:lnTo>
                <a:lnTo>
                  <a:pt x="4276" y="3226"/>
                </a:lnTo>
                <a:lnTo>
                  <a:pt x="4283" y="3227"/>
                </a:lnTo>
                <a:lnTo>
                  <a:pt x="4286" y="3228"/>
                </a:lnTo>
                <a:lnTo>
                  <a:pt x="4289" y="3229"/>
                </a:lnTo>
                <a:lnTo>
                  <a:pt x="4296" y="3231"/>
                </a:lnTo>
                <a:lnTo>
                  <a:pt x="4299" y="3233"/>
                </a:lnTo>
                <a:lnTo>
                  <a:pt x="4301" y="3236"/>
                </a:lnTo>
                <a:lnTo>
                  <a:pt x="4305" y="3241"/>
                </a:lnTo>
                <a:lnTo>
                  <a:pt x="4307" y="3245"/>
                </a:lnTo>
                <a:lnTo>
                  <a:pt x="4308" y="3249"/>
                </a:lnTo>
                <a:lnTo>
                  <a:pt x="4309" y="3253"/>
                </a:lnTo>
                <a:lnTo>
                  <a:pt x="4310" y="3258"/>
                </a:lnTo>
                <a:lnTo>
                  <a:pt x="4310" y="3263"/>
                </a:lnTo>
                <a:lnTo>
                  <a:pt x="4311" y="3269"/>
                </a:lnTo>
                <a:lnTo>
                  <a:pt x="4310" y="3286"/>
                </a:lnTo>
                <a:lnTo>
                  <a:pt x="4309" y="3301"/>
                </a:lnTo>
                <a:lnTo>
                  <a:pt x="4308" y="3316"/>
                </a:lnTo>
                <a:lnTo>
                  <a:pt x="4306" y="3333"/>
                </a:lnTo>
                <a:lnTo>
                  <a:pt x="4303" y="3347"/>
                </a:lnTo>
                <a:lnTo>
                  <a:pt x="4300" y="3362"/>
                </a:lnTo>
                <a:lnTo>
                  <a:pt x="4297" y="3377"/>
                </a:lnTo>
                <a:lnTo>
                  <a:pt x="4293" y="3392"/>
                </a:lnTo>
                <a:lnTo>
                  <a:pt x="4287" y="3406"/>
                </a:lnTo>
                <a:lnTo>
                  <a:pt x="4282" y="3419"/>
                </a:lnTo>
                <a:lnTo>
                  <a:pt x="4277" y="3432"/>
                </a:lnTo>
                <a:lnTo>
                  <a:pt x="4271" y="3445"/>
                </a:lnTo>
                <a:lnTo>
                  <a:pt x="4265" y="3459"/>
                </a:lnTo>
                <a:lnTo>
                  <a:pt x="4259" y="3471"/>
                </a:lnTo>
                <a:lnTo>
                  <a:pt x="4252" y="3482"/>
                </a:lnTo>
                <a:lnTo>
                  <a:pt x="4245" y="3493"/>
                </a:lnTo>
                <a:lnTo>
                  <a:pt x="4237" y="3504"/>
                </a:lnTo>
                <a:lnTo>
                  <a:pt x="4228" y="3515"/>
                </a:lnTo>
                <a:lnTo>
                  <a:pt x="4220" y="3525"/>
                </a:lnTo>
                <a:lnTo>
                  <a:pt x="4211" y="3534"/>
                </a:lnTo>
                <a:lnTo>
                  <a:pt x="4202" y="3542"/>
                </a:lnTo>
                <a:lnTo>
                  <a:pt x="4192" y="3550"/>
                </a:lnTo>
                <a:lnTo>
                  <a:pt x="4183" y="3557"/>
                </a:lnTo>
                <a:lnTo>
                  <a:pt x="4173" y="3564"/>
                </a:lnTo>
                <a:lnTo>
                  <a:pt x="4161" y="3570"/>
                </a:lnTo>
                <a:lnTo>
                  <a:pt x="4151" y="3576"/>
                </a:lnTo>
                <a:lnTo>
                  <a:pt x="4140" y="3580"/>
                </a:lnTo>
                <a:lnTo>
                  <a:pt x="4129" y="3584"/>
                </a:lnTo>
                <a:lnTo>
                  <a:pt x="4117" y="3587"/>
                </a:lnTo>
                <a:lnTo>
                  <a:pt x="4105" y="3589"/>
                </a:lnTo>
                <a:lnTo>
                  <a:pt x="4093" y="3590"/>
                </a:lnTo>
                <a:lnTo>
                  <a:pt x="4080" y="3591"/>
                </a:lnTo>
                <a:close/>
                <a:moveTo>
                  <a:pt x="4467" y="3585"/>
                </a:moveTo>
                <a:lnTo>
                  <a:pt x="4465" y="3585"/>
                </a:lnTo>
                <a:lnTo>
                  <a:pt x="4463" y="3584"/>
                </a:lnTo>
                <a:lnTo>
                  <a:pt x="4458" y="3581"/>
                </a:lnTo>
                <a:lnTo>
                  <a:pt x="4451" y="3577"/>
                </a:lnTo>
                <a:lnTo>
                  <a:pt x="4444" y="3572"/>
                </a:lnTo>
                <a:lnTo>
                  <a:pt x="4431" y="3560"/>
                </a:lnTo>
                <a:lnTo>
                  <a:pt x="4416" y="3546"/>
                </a:lnTo>
                <a:lnTo>
                  <a:pt x="4399" y="3530"/>
                </a:lnTo>
                <a:lnTo>
                  <a:pt x="4383" y="3513"/>
                </a:lnTo>
                <a:lnTo>
                  <a:pt x="4367" y="3495"/>
                </a:lnTo>
                <a:lnTo>
                  <a:pt x="4352" y="3479"/>
                </a:lnTo>
                <a:lnTo>
                  <a:pt x="4340" y="3464"/>
                </a:lnTo>
                <a:lnTo>
                  <a:pt x="4336" y="3458"/>
                </a:lnTo>
                <a:lnTo>
                  <a:pt x="4332" y="3453"/>
                </a:lnTo>
                <a:lnTo>
                  <a:pt x="4327" y="3442"/>
                </a:lnTo>
                <a:lnTo>
                  <a:pt x="4323" y="3432"/>
                </a:lnTo>
                <a:lnTo>
                  <a:pt x="4321" y="3422"/>
                </a:lnTo>
                <a:lnTo>
                  <a:pt x="4320" y="3412"/>
                </a:lnTo>
                <a:lnTo>
                  <a:pt x="4320" y="3407"/>
                </a:lnTo>
                <a:lnTo>
                  <a:pt x="4321" y="3401"/>
                </a:lnTo>
                <a:lnTo>
                  <a:pt x="4323" y="3395"/>
                </a:lnTo>
                <a:lnTo>
                  <a:pt x="4325" y="3388"/>
                </a:lnTo>
                <a:lnTo>
                  <a:pt x="4327" y="3382"/>
                </a:lnTo>
                <a:lnTo>
                  <a:pt x="4330" y="3376"/>
                </a:lnTo>
                <a:lnTo>
                  <a:pt x="4334" y="3369"/>
                </a:lnTo>
                <a:lnTo>
                  <a:pt x="4339" y="3362"/>
                </a:lnTo>
                <a:lnTo>
                  <a:pt x="4347" y="3351"/>
                </a:lnTo>
                <a:lnTo>
                  <a:pt x="4359" y="3338"/>
                </a:lnTo>
                <a:lnTo>
                  <a:pt x="4389" y="3303"/>
                </a:lnTo>
                <a:lnTo>
                  <a:pt x="4425" y="3263"/>
                </a:lnTo>
                <a:lnTo>
                  <a:pt x="4460" y="3223"/>
                </a:lnTo>
                <a:lnTo>
                  <a:pt x="4461" y="3222"/>
                </a:lnTo>
                <a:lnTo>
                  <a:pt x="4464" y="3222"/>
                </a:lnTo>
                <a:lnTo>
                  <a:pt x="4468" y="3222"/>
                </a:lnTo>
                <a:lnTo>
                  <a:pt x="4473" y="3223"/>
                </a:lnTo>
                <a:lnTo>
                  <a:pt x="4477" y="3225"/>
                </a:lnTo>
                <a:lnTo>
                  <a:pt x="4481" y="3228"/>
                </a:lnTo>
                <a:lnTo>
                  <a:pt x="4486" y="3231"/>
                </a:lnTo>
                <a:lnTo>
                  <a:pt x="4489" y="3235"/>
                </a:lnTo>
                <a:lnTo>
                  <a:pt x="4493" y="3239"/>
                </a:lnTo>
                <a:lnTo>
                  <a:pt x="4496" y="3244"/>
                </a:lnTo>
                <a:lnTo>
                  <a:pt x="4497" y="3248"/>
                </a:lnTo>
                <a:lnTo>
                  <a:pt x="4498" y="3253"/>
                </a:lnTo>
                <a:lnTo>
                  <a:pt x="4497" y="3259"/>
                </a:lnTo>
                <a:lnTo>
                  <a:pt x="4495" y="3264"/>
                </a:lnTo>
                <a:lnTo>
                  <a:pt x="4492" y="3270"/>
                </a:lnTo>
                <a:lnTo>
                  <a:pt x="4489" y="3277"/>
                </a:lnTo>
                <a:lnTo>
                  <a:pt x="4480" y="3287"/>
                </a:lnTo>
                <a:lnTo>
                  <a:pt x="4468" y="3300"/>
                </a:lnTo>
                <a:lnTo>
                  <a:pt x="4439" y="3334"/>
                </a:lnTo>
                <a:lnTo>
                  <a:pt x="4408" y="3368"/>
                </a:lnTo>
                <a:lnTo>
                  <a:pt x="4396" y="3382"/>
                </a:lnTo>
                <a:lnTo>
                  <a:pt x="4387" y="3395"/>
                </a:lnTo>
                <a:lnTo>
                  <a:pt x="4384" y="3398"/>
                </a:lnTo>
                <a:lnTo>
                  <a:pt x="4383" y="3402"/>
                </a:lnTo>
                <a:lnTo>
                  <a:pt x="4382" y="3406"/>
                </a:lnTo>
                <a:lnTo>
                  <a:pt x="4381" y="3409"/>
                </a:lnTo>
                <a:lnTo>
                  <a:pt x="4382" y="3414"/>
                </a:lnTo>
                <a:lnTo>
                  <a:pt x="4383" y="3418"/>
                </a:lnTo>
                <a:lnTo>
                  <a:pt x="4385" y="3422"/>
                </a:lnTo>
                <a:lnTo>
                  <a:pt x="4388" y="3427"/>
                </a:lnTo>
                <a:lnTo>
                  <a:pt x="4396" y="3436"/>
                </a:lnTo>
                <a:lnTo>
                  <a:pt x="4406" y="3448"/>
                </a:lnTo>
                <a:lnTo>
                  <a:pt x="4434" y="3478"/>
                </a:lnTo>
                <a:lnTo>
                  <a:pt x="4466" y="3510"/>
                </a:lnTo>
                <a:lnTo>
                  <a:pt x="4498" y="3541"/>
                </a:lnTo>
                <a:lnTo>
                  <a:pt x="4500" y="3543"/>
                </a:lnTo>
                <a:lnTo>
                  <a:pt x="4501" y="3545"/>
                </a:lnTo>
                <a:lnTo>
                  <a:pt x="4502" y="3548"/>
                </a:lnTo>
                <a:lnTo>
                  <a:pt x="4503" y="3550"/>
                </a:lnTo>
                <a:lnTo>
                  <a:pt x="4502" y="3556"/>
                </a:lnTo>
                <a:lnTo>
                  <a:pt x="4501" y="3559"/>
                </a:lnTo>
                <a:lnTo>
                  <a:pt x="4499" y="3561"/>
                </a:lnTo>
                <a:lnTo>
                  <a:pt x="4496" y="3567"/>
                </a:lnTo>
                <a:lnTo>
                  <a:pt x="4494" y="3570"/>
                </a:lnTo>
                <a:lnTo>
                  <a:pt x="4491" y="3573"/>
                </a:lnTo>
                <a:lnTo>
                  <a:pt x="4486" y="3578"/>
                </a:lnTo>
                <a:lnTo>
                  <a:pt x="4483" y="3580"/>
                </a:lnTo>
                <a:lnTo>
                  <a:pt x="4480" y="3582"/>
                </a:lnTo>
                <a:lnTo>
                  <a:pt x="4474" y="3584"/>
                </a:lnTo>
                <a:lnTo>
                  <a:pt x="4471" y="3585"/>
                </a:lnTo>
                <a:lnTo>
                  <a:pt x="4467" y="3585"/>
                </a:lnTo>
                <a:close/>
                <a:moveTo>
                  <a:pt x="4247" y="4321"/>
                </a:moveTo>
                <a:lnTo>
                  <a:pt x="4251" y="4298"/>
                </a:lnTo>
                <a:lnTo>
                  <a:pt x="4253" y="4275"/>
                </a:lnTo>
                <a:lnTo>
                  <a:pt x="4254" y="4253"/>
                </a:lnTo>
                <a:lnTo>
                  <a:pt x="4254" y="4243"/>
                </a:lnTo>
                <a:lnTo>
                  <a:pt x="4253" y="4233"/>
                </a:lnTo>
                <a:lnTo>
                  <a:pt x="4254" y="4229"/>
                </a:lnTo>
                <a:lnTo>
                  <a:pt x="4256" y="4227"/>
                </a:lnTo>
                <a:lnTo>
                  <a:pt x="4258" y="4225"/>
                </a:lnTo>
                <a:lnTo>
                  <a:pt x="4261" y="4223"/>
                </a:lnTo>
                <a:lnTo>
                  <a:pt x="4268" y="4221"/>
                </a:lnTo>
                <a:lnTo>
                  <a:pt x="4272" y="4220"/>
                </a:lnTo>
                <a:lnTo>
                  <a:pt x="4276" y="4220"/>
                </a:lnTo>
                <a:lnTo>
                  <a:pt x="4283" y="4220"/>
                </a:lnTo>
                <a:lnTo>
                  <a:pt x="4286" y="4221"/>
                </a:lnTo>
                <a:lnTo>
                  <a:pt x="4289" y="4222"/>
                </a:lnTo>
                <a:lnTo>
                  <a:pt x="4296" y="4225"/>
                </a:lnTo>
                <a:lnTo>
                  <a:pt x="4299" y="4227"/>
                </a:lnTo>
                <a:lnTo>
                  <a:pt x="4301" y="4229"/>
                </a:lnTo>
                <a:lnTo>
                  <a:pt x="4305" y="4236"/>
                </a:lnTo>
                <a:lnTo>
                  <a:pt x="4307" y="4239"/>
                </a:lnTo>
                <a:lnTo>
                  <a:pt x="4308" y="4243"/>
                </a:lnTo>
                <a:lnTo>
                  <a:pt x="4309" y="4247"/>
                </a:lnTo>
                <a:lnTo>
                  <a:pt x="4310" y="4252"/>
                </a:lnTo>
                <a:lnTo>
                  <a:pt x="4310" y="4258"/>
                </a:lnTo>
                <a:lnTo>
                  <a:pt x="4311" y="4263"/>
                </a:lnTo>
                <a:lnTo>
                  <a:pt x="4310" y="4278"/>
                </a:lnTo>
                <a:lnTo>
                  <a:pt x="4309" y="4293"/>
                </a:lnTo>
                <a:lnTo>
                  <a:pt x="4306" y="4321"/>
                </a:lnTo>
                <a:lnTo>
                  <a:pt x="4247" y="4321"/>
                </a:lnTo>
                <a:close/>
                <a:moveTo>
                  <a:pt x="3946" y="4321"/>
                </a:moveTo>
                <a:lnTo>
                  <a:pt x="3948" y="4315"/>
                </a:lnTo>
                <a:lnTo>
                  <a:pt x="3951" y="4310"/>
                </a:lnTo>
                <a:lnTo>
                  <a:pt x="3957" y="4299"/>
                </a:lnTo>
                <a:lnTo>
                  <a:pt x="3963" y="4287"/>
                </a:lnTo>
                <a:lnTo>
                  <a:pt x="3970" y="4277"/>
                </a:lnTo>
                <a:lnTo>
                  <a:pt x="3978" y="4267"/>
                </a:lnTo>
                <a:lnTo>
                  <a:pt x="3986" y="4258"/>
                </a:lnTo>
                <a:lnTo>
                  <a:pt x="3991" y="4254"/>
                </a:lnTo>
                <a:lnTo>
                  <a:pt x="3995" y="4250"/>
                </a:lnTo>
                <a:lnTo>
                  <a:pt x="4004" y="4243"/>
                </a:lnTo>
                <a:lnTo>
                  <a:pt x="4009" y="4239"/>
                </a:lnTo>
                <a:lnTo>
                  <a:pt x="4013" y="4236"/>
                </a:lnTo>
                <a:lnTo>
                  <a:pt x="4023" y="4229"/>
                </a:lnTo>
                <a:lnTo>
                  <a:pt x="4028" y="4226"/>
                </a:lnTo>
                <a:lnTo>
                  <a:pt x="4033" y="4223"/>
                </a:lnTo>
                <a:lnTo>
                  <a:pt x="4044" y="4219"/>
                </a:lnTo>
                <a:lnTo>
                  <a:pt x="4056" y="4215"/>
                </a:lnTo>
                <a:lnTo>
                  <a:pt x="4067" y="4213"/>
                </a:lnTo>
                <a:lnTo>
                  <a:pt x="4073" y="4212"/>
                </a:lnTo>
                <a:lnTo>
                  <a:pt x="4078" y="4211"/>
                </a:lnTo>
                <a:lnTo>
                  <a:pt x="4090" y="4211"/>
                </a:lnTo>
                <a:lnTo>
                  <a:pt x="4100" y="4211"/>
                </a:lnTo>
                <a:lnTo>
                  <a:pt x="4105" y="4212"/>
                </a:lnTo>
                <a:lnTo>
                  <a:pt x="4111" y="4213"/>
                </a:lnTo>
                <a:lnTo>
                  <a:pt x="4115" y="4214"/>
                </a:lnTo>
                <a:lnTo>
                  <a:pt x="4120" y="4215"/>
                </a:lnTo>
                <a:lnTo>
                  <a:pt x="4128" y="4218"/>
                </a:lnTo>
                <a:lnTo>
                  <a:pt x="4136" y="4222"/>
                </a:lnTo>
                <a:lnTo>
                  <a:pt x="4144" y="4226"/>
                </a:lnTo>
                <a:lnTo>
                  <a:pt x="4150" y="4233"/>
                </a:lnTo>
                <a:lnTo>
                  <a:pt x="4156" y="4239"/>
                </a:lnTo>
                <a:lnTo>
                  <a:pt x="4159" y="4242"/>
                </a:lnTo>
                <a:lnTo>
                  <a:pt x="4162" y="4245"/>
                </a:lnTo>
                <a:lnTo>
                  <a:pt x="4166" y="4253"/>
                </a:lnTo>
                <a:lnTo>
                  <a:pt x="4171" y="4260"/>
                </a:lnTo>
                <a:lnTo>
                  <a:pt x="4175" y="4269"/>
                </a:lnTo>
                <a:lnTo>
                  <a:pt x="4177" y="4277"/>
                </a:lnTo>
                <a:lnTo>
                  <a:pt x="4179" y="4287"/>
                </a:lnTo>
                <a:lnTo>
                  <a:pt x="4180" y="4297"/>
                </a:lnTo>
                <a:lnTo>
                  <a:pt x="4181" y="4307"/>
                </a:lnTo>
                <a:lnTo>
                  <a:pt x="4181" y="4314"/>
                </a:lnTo>
                <a:lnTo>
                  <a:pt x="4180" y="4321"/>
                </a:lnTo>
                <a:lnTo>
                  <a:pt x="4123" y="4321"/>
                </a:lnTo>
                <a:lnTo>
                  <a:pt x="4125" y="4316"/>
                </a:lnTo>
                <a:lnTo>
                  <a:pt x="4126" y="4310"/>
                </a:lnTo>
                <a:lnTo>
                  <a:pt x="4127" y="4305"/>
                </a:lnTo>
                <a:lnTo>
                  <a:pt x="4127" y="4299"/>
                </a:lnTo>
                <a:lnTo>
                  <a:pt x="4127" y="4290"/>
                </a:lnTo>
                <a:lnTo>
                  <a:pt x="4125" y="4283"/>
                </a:lnTo>
                <a:lnTo>
                  <a:pt x="4123" y="4280"/>
                </a:lnTo>
                <a:lnTo>
                  <a:pt x="4121" y="4277"/>
                </a:lnTo>
                <a:lnTo>
                  <a:pt x="4119" y="4274"/>
                </a:lnTo>
                <a:lnTo>
                  <a:pt x="4117" y="4271"/>
                </a:lnTo>
                <a:lnTo>
                  <a:pt x="4111" y="4267"/>
                </a:lnTo>
                <a:lnTo>
                  <a:pt x="4107" y="4265"/>
                </a:lnTo>
                <a:lnTo>
                  <a:pt x="4103" y="4264"/>
                </a:lnTo>
                <a:lnTo>
                  <a:pt x="4095" y="4262"/>
                </a:lnTo>
                <a:lnTo>
                  <a:pt x="4091" y="4262"/>
                </a:lnTo>
                <a:lnTo>
                  <a:pt x="4086" y="4261"/>
                </a:lnTo>
                <a:lnTo>
                  <a:pt x="4081" y="4262"/>
                </a:lnTo>
                <a:lnTo>
                  <a:pt x="4076" y="4263"/>
                </a:lnTo>
                <a:lnTo>
                  <a:pt x="4065" y="4266"/>
                </a:lnTo>
                <a:lnTo>
                  <a:pt x="4059" y="4268"/>
                </a:lnTo>
                <a:lnTo>
                  <a:pt x="4054" y="4271"/>
                </a:lnTo>
                <a:lnTo>
                  <a:pt x="4043" y="4278"/>
                </a:lnTo>
                <a:lnTo>
                  <a:pt x="4038" y="4282"/>
                </a:lnTo>
                <a:lnTo>
                  <a:pt x="4033" y="4286"/>
                </a:lnTo>
                <a:lnTo>
                  <a:pt x="4028" y="4292"/>
                </a:lnTo>
                <a:lnTo>
                  <a:pt x="4023" y="4297"/>
                </a:lnTo>
                <a:lnTo>
                  <a:pt x="4014" y="4308"/>
                </a:lnTo>
                <a:lnTo>
                  <a:pt x="4006" y="4321"/>
                </a:lnTo>
                <a:lnTo>
                  <a:pt x="3946" y="4321"/>
                </a:lnTo>
                <a:close/>
                <a:moveTo>
                  <a:pt x="4368" y="4321"/>
                </a:moveTo>
                <a:lnTo>
                  <a:pt x="4412" y="4271"/>
                </a:lnTo>
                <a:lnTo>
                  <a:pt x="4436" y="4244"/>
                </a:lnTo>
                <a:lnTo>
                  <a:pt x="4460" y="4216"/>
                </a:lnTo>
                <a:lnTo>
                  <a:pt x="4461" y="4216"/>
                </a:lnTo>
                <a:lnTo>
                  <a:pt x="4464" y="4215"/>
                </a:lnTo>
                <a:lnTo>
                  <a:pt x="4468" y="4216"/>
                </a:lnTo>
                <a:lnTo>
                  <a:pt x="4473" y="4217"/>
                </a:lnTo>
                <a:lnTo>
                  <a:pt x="4477" y="4219"/>
                </a:lnTo>
                <a:lnTo>
                  <a:pt x="4481" y="4221"/>
                </a:lnTo>
                <a:lnTo>
                  <a:pt x="4486" y="4224"/>
                </a:lnTo>
                <a:lnTo>
                  <a:pt x="4489" y="4228"/>
                </a:lnTo>
                <a:lnTo>
                  <a:pt x="4493" y="4233"/>
                </a:lnTo>
                <a:lnTo>
                  <a:pt x="4496" y="4238"/>
                </a:lnTo>
                <a:lnTo>
                  <a:pt x="4497" y="4243"/>
                </a:lnTo>
                <a:lnTo>
                  <a:pt x="4498" y="4247"/>
                </a:lnTo>
                <a:lnTo>
                  <a:pt x="4497" y="4253"/>
                </a:lnTo>
                <a:lnTo>
                  <a:pt x="4495" y="4258"/>
                </a:lnTo>
                <a:lnTo>
                  <a:pt x="4492" y="4264"/>
                </a:lnTo>
                <a:lnTo>
                  <a:pt x="4489" y="4270"/>
                </a:lnTo>
                <a:lnTo>
                  <a:pt x="4481" y="4279"/>
                </a:lnTo>
                <a:lnTo>
                  <a:pt x="4471" y="4292"/>
                </a:lnTo>
                <a:lnTo>
                  <a:pt x="4444" y="4321"/>
                </a:lnTo>
                <a:lnTo>
                  <a:pt x="4368" y="4321"/>
                </a:lnTo>
                <a:close/>
                <a:moveTo>
                  <a:pt x="3303" y="3591"/>
                </a:moveTo>
                <a:lnTo>
                  <a:pt x="3296" y="3591"/>
                </a:lnTo>
                <a:lnTo>
                  <a:pt x="3288" y="3590"/>
                </a:lnTo>
                <a:lnTo>
                  <a:pt x="3280" y="3589"/>
                </a:lnTo>
                <a:lnTo>
                  <a:pt x="3273" y="3587"/>
                </a:lnTo>
                <a:lnTo>
                  <a:pt x="3265" y="3585"/>
                </a:lnTo>
                <a:lnTo>
                  <a:pt x="3258" y="3583"/>
                </a:lnTo>
                <a:lnTo>
                  <a:pt x="3244" y="3577"/>
                </a:lnTo>
                <a:lnTo>
                  <a:pt x="3231" y="3569"/>
                </a:lnTo>
                <a:lnTo>
                  <a:pt x="3225" y="3565"/>
                </a:lnTo>
                <a:lnTo>
                  <a:pt x="3219" y="3560"/>
                </a:lnTo>
                <a:lnTo>
                  <a:pt x="3213" y="3555"/>
                </a:lnTo>
                <a:lnTo>
                  <a:pt x="3206" y="3550"/>
                </a:lnTo>
                <a:lnTo>
                  <a:pt x="3201" y="3545"/>
                </a:lnTo>
                <a:lnTo>
                  <a:pt x="3196" y="3539"/>
                </a:lnTo>
                <a:lnTo>
                  <a:pt x="3191" y="3533"/>
                </a:lnTo>
                <a:lnTo>
                  <a:pt x="3186" y="3527"/>
                </a:lnTo>
                <a:lnTo>
                  <a:pt x="3181" y="3520"/>
                </a:lnTo>
                <a:lnTo>
                  <a:pt x="3177" y="3513"/>
                </a:lnTo>
                <a:lnTo>
                  <a:pt x="3173" y="3505"/>
                </a:lnTo>
                <a:lnTo>
                  <a:pt x="3170" y="3498"/>
                </a:lnTo>
                <a:lnTo>
                  <a:pt x="3166" y="3490"/>
                </a:lnTo>
                <a:lnTo>
                  <a:pt x="3163" y="3482"/>
                </a:lnTo>
                <a:lnTo>
                  <a:pt x="3161" y="3474"/>
                </a:lnTo>
                <a:lnTo>
                  <a:pt x="3158" y="3466"/>
                </a:lnTo>
                <a:lnTo>
                  <a:pt x="3156" y="3458"/>
                </a:lnTo>
                <a:lnTo>
                  <a:pt x="3155" y="3448"/>
                </a:lnTo>
                <a:lnTo>
                  <a:pt x="3153" y="3439"/>
                </a:lnTo>
                <a:lnTo>
                  <a:pt x="3153" y="3431"/>
                </a:lnTo>
                <a:lnTo>
                  <a:pt x="3152" y="3422"/>
                </a:lnTo>
                <a:lnTo>
                  <a:pt x="3152" y="3412"/>
                </a:lnTo>
                <a:lnTo>
                  <a:pt x="3153" y="3394"/>
                </a:lnTo>
                <a:lnTo>
                  <a:pt x="3154" y="3384"/>
                </a:lnTo>
                <a:lnTo>
                  <a:pt x="3155" y="3374"/>
                </a:lnTo>
                <a:lnTo>
                  <a:pt x="3157" y="3365"/>
                </a:lnTo>
                <a:lnTo>
                  <a:pt x="3159" y="3357"/>
                </a:lnTo>
                <a:lnTo>
                  <a:pt x="3161" y="3348"/>
                </a:lnTo>
                <a:lnTo>
                  <a:pt x="3164" y="3339"/>
                </a:lnTo>
                <a:lnTo>
                  <a:pt x="3167" y="3330"/>
                </a:lnTo>
                <a:lnTo>
                  <a:pt x="3171" y="3322"/>
                </a:lnTo>
                <a:lnTo>
                  <a:pt x="3175" y="3314"/>
                </a:lnTo>
                <a:lnTo>
                  <a:pt x="3179" y="3306"/>
                </a:lnTo>
                <a:lnTo>
                  <a:pt x="3183" y="3298"/>
                </a:lnTo>
                <a:lnTo>
                  <a:pt x="3188" y="3291"/>
                </a:lnTo>
                <a:lnTo>
                  <a:pt x="3198" y="3277"/>
                </a:lnTo>
                <a:lnTo>
                  <a:pt x="3203" y="3269"/>
                </a:lnTo>
                <a:lnTo>
                  <a:pt x="3209" y="3263"/>
                </a:lnTo>
                <a:lnTo>
                  <a:pt x="3222" y="3252"/>
                </a:lnTo>
                <a:lnTo>
                  <a:pt x="3229" y="3247"/>
                </a:lnTo>
                <a:lnTo>
                  <a:pt x="3236" y="3242"/>
                </a:lnTo>
                <a:lnTo>
                  <a:pt x="3242" y="3237"/>
                </a:lnTo>
                <a:lnTo>
                  <a:pt x="3249" y="3233"/>
                </a:lnTo>
                <a:lnTo>
                  <a:pt x="3257" y="3230"/>
                </a:lnTo>
                <a:lnTo>
                  <a:pt x="3264" y="3227"/>
                </a:lnTo>
                <a:lnTo>
                  <a:pt x="3273" y="3224"/>
                </a:lnTo>
                <a:lnTo>
                  <a:pt x="3280" y="3222"/>
                </a:lnTo>
                <a:lnTo>
                  <a:pt x="3288" y="3220"/>
                </a:lnTo>
                <a:lnTo>
                  <a:pt x="3296" y="3219"/>
                </a:lnTo>
                <a:lnTo>
                  <a:pt x="3305" y="3218"/>
                </a:lnTo>
                <a:lnTo>
                  <a:pt x="3313" y="3218"/>
                </a:lnTo>
                <a:lnTo>
                  <a:pt x="3323" y="3218"/>
                </a:lnTo>
                <a:lnTo>
                  <a:pt x="3328" y="3219"/>
                </a:lnTo>
                <a:lnTo>
                  <a:pt x="3334" y="3219"/>
                </a:lnTo>
                <a:lnTo>
                  <a:pt x="3338" y="3220"/>
                </a:lnTo>
                <a:lnTo>
                  <a:pt x="3343" y="3222"/>
                </a:lnTo>
                <a:lnTo>
                  <a:pt x="3351" y="3225"/>
                </a:lnTo>
                <a:lnTo>
                  <a:pt x="3359" y="3229"/>
                </a:lnTo>
                <a:lnTo>
                  <a:pt x="3366" y="3233"/>
                </a:lnTo>
                <a:lnTo>
                  <a:pt x="3373" y="3239"/>
                </a:lnTo>
                <a:lnTo>
                  <a:pt x="3379" y="3245"/>
                </a:lnTo>
                <a:lnTo>
                  <a:pt x="3382" y="3248"/>
                </a:lnTo>
                <a:lnTo>
                  <a:pt x="3384" y="3251"/>
                </a:lnTo>
                <a:lnTo>
                  <a:pt x="3389" y="3258"/>
                </a:lnTo>
                <a:lnTo>
                  <a:pt x="3394" y="3266"/>
                </a:lnTo>
                <a:lnTo>
                  <a:pt x="3398" y="3276"/>
                </a:lnTo>
                <a:lnTo>
                  <a:pt x="3400" y="3284"/>
                </a:lnTo>
                <a:lnTo>
                  <a:pt x="3402" y="3293"/>
                </a:lnTo>
                <a:lnTo>
                  <a:pt x="3403" y="3303"/>
                </a:lnTo>
                <a:lnTo>
                  <a:pt x="3404" y="3313"/>
                </a:lnTo>
                <a:lnTo>
                  <a:pt x="3403" y="3325"/>
                </a:lnTo>
                <a:lnTo>
                  <a:pt x="3402" y="3333"/>
                </a:lnTo>
                <a:lnTo>
                  <a:pt x="3401" y="3339"/>
                </a:lnTo>
                <a:lnTo>
                  <a:pt x="3397" y="3351"/>
                </a:lnTo>
                <a:lnTo>
                  <a:pt x="3392" y="3362"/>
                </a:lnTo>
                <a:lnTo>
                  <a:pt x="3385" y="3373"/>
                </a:lnTo>
                <a:lnTo>
                  <a:pt x="3377" y="3384"/>
                </a:lnTo>
                <a:lnTo>
                  <a:pt x="3373" y="3389"/>
                </a:lnTo>
                <a:lnTo>
                  <a:pt x="3369" y="3395"/>
                </a:lnTo>
                <a:lnTo>
                  <a:pt x="3360" y="3404"/>
                </a:lnTo>
                <a:lnTo>
                  <a:pt x="3350" y="3413"/>
                </a:lnTo>
                <a:lnTo>
                  <a:pt x="3344" y="3416"/>
                </a:lnTo>
                <a:lnTo>
                  <a:pt x="3339" y="3420"/>
                </a:lnTo>
                <a:lnTo>
                  <a:pt x="3327" y="3427"/>
                </a:lnTo>
                <a:lnTo>
                  <a:pt x="3315" y="3432"/>
                </a:lnTo>
                <a:lnTo>
                  <a:pt x="3303" y="3437"/>
                </a:lnTo>
                <a:lnTo>
                  <a:pt x="3297" y="3439"/>
                </a:lnTo>
                <a:lnTo>
                  <a:pt x="3291" y="3440"/>
                </a:lnTo>
                <a:lnTo>
                  <a:pt x="3284" y="3441"/>
                </a:lnTo>
                <a:lnTo>
                  <a:pt x="3278" y="3442"/>
                </a:lnTo>
                <a:lnTo>
                  <a:pt x="3265" y="3443"/>
                </a:lnTo>
                <a:lnTo>
                  <a:pt x="3259" y="3442"/>
                </a:lnTo>
                <a:lnTo>
                  <a:pt x="3254" y="3441"/>
                </a:lnTo>
                <a:lnTo>
                  <a:pt x="3250" y="3438"/>
                </a:lnTo>
                <a:lnTo>
                  <a:pt x="3248" y="3436"/>
                </a:lnTo>
                <a:lnTo>
                  <a:pt x="3246" y="3434"/>
                </a:lnTo>
                <a:lnTo>
                  <a:pt x="3243" y="3429"/>
                </a:lnTo>
                <a:lnTo>
                  <a:pt x="3240" y="3424"/>
                </a:lnTo>
                <a:lnTo>
                  <a:pt x="3239" y="3421"/>
                </a:lnTo>
                <a:lnTo>
                  <a:pt x="3239" y="3418"/>
                </a:lnTo>
                <a:lnTo>
                  <a:pt x="3238" y="3412"/>
                </a:lnTo>
                <a:lnTo>
                  <a:pt x="3238" y="3409"/>
                </a:lnTo>
                <a:lnTo>
                  <a:pt x="3239" y="3406"/>
                </a:lnTo>
                <a:lnTo>
                  <a:pt x="3240" y="3401"/>
                </a:lnTo>
                <a:lnTo>
                  <a:pt x="3241" y="3399"/>
                </a:lnTo>
                <a:lnTo>
                  <a:pt x="3242" y="3397"/>
                </a:lnTo>
                <a:lnTo>
                  <a:pt x="3244" y="3396"/>
                </a:lnTo>
                <a:lnTo>
                  <a:pt x="3245" y="3395"/>
                </a:lnTo>
                <a:lnTo>
                  <a:pt x="3256" y="3393"/>
                </a:lnTo>
                <a:lnTo>
                  <a:pt x="3267" y="3389"/>
                </a:lnTo>
                <a:lnTo>
                  <a:pt x="3278" y="3386"/>
                </a:lnTo>
                <a:lnTo>
                  <a:pt x="3288" y="3382"/>
                </a:lnTo>
                <a:lnTo>
                  <a:pt x="3297" y="3377"/>
                </a:lnTo>
                <a:lnTo>
                  <a:pt x="3305" y="3372"/>
                </a:lnTo>
                <a:lnTo>
                  <a:pt x="3313" y="3367"/>
                </a:lnTo>
                <a:lnTo>
                  <a:pt x="3317" y="3364"/>
                </a:lnTo>
                <a:lnTo>
                  <a:pt x="3320" y="3361"/>
                </a:lnTo>
                <a:lnTo>
                  <a:pt x="3327" y="3354"/>
                </a:lnTo>
                <a:lnTo>
                  <a:pt x="3333" y="3348"/>
                </a:lnTo>
                <a:lnTo>
                  <a:pt x="3338" y="3341"/>
                </a:lnTo>
                <a:lnTo>
                  <a:pt x="3343" y="3334"/>
                </a:lnTo>
                <a:lnTo>
                  <a:pt x="3346" y="3326"/>
                </a:lnTo>
                <a:lnTo>
                  <a:pt x="3348" y="3319"/>
                </a:lnTo>
                <a:lnTo>
                  <a:pt x="3350" y="3312"/>
                </a:lnTo>
                <a:lnTo>
                  <a:pt x="3350" y="3305"/>
                </a:lnTo>
                <a:lnTo>
                  <a:pt x="3350" y="3297"/>
                </a:lnTo>
                <a:lnTo>
                  <a:pt x="3347" y="3290"/>
                </a:lnTo>
                <a:lnTo>
                  <a:pt x="3346" y="3286"/>
                </a:lnTo>
                <a:lnTo>
                  <a:pt x="3344" y="3283"/>
                </a:lnTo>
                <a:lnTo>
                  <a:pt x="3342" y="3281"/>
                </a:lnTo>
                <a:lnTo>
                  <a:pt x="3339" y="3278"/>
                </a:lnTo>
                <a:lnTo>
                  <a:pt x="3334" y="3274"/>
                </a:lnTo>
                <a:lnTo>
                  <a:pt x="3329" y="3272"/>
                </a:lnTo>
                <a:lnTo>
                  <a:pt x="3326" y="3270"/>
                </a:lnTo>
                <a:lnTo>
                  <a:pt x="3318" y="3268"/>
                </a:lnTo>
                <a:lnTo>
                  <a:pt x="3314" y="3267"/>
                </a:lnTo>
                <a:lnTo>
                  <a:pt x="3309" y="3267"/>
                </a:lnTo>
                <a:lnTo>
                  <a:pt x="3300" y="3268"/>
                </a:lnTo>
                <a:lnTo>
                  <a:pt x="3296" y="3269"/>
                </a:lnTo>
                <a:lnTo>
                  <a:pt x="3291" y="3270"/>
                </a:lnTo>
                <a:lnTo>
                  <a:pt x="3287" y="3273"/>
                </a:lnTo>
                <a:lnTo>
                  <a:pt x="3282" y="3275"/>
                </a:lnTo>
                <a:lnTo>
                  <a:pt x="3278" y="3277"/>
                </a:lnTo>
                <a:lnTo>
                  <a:pt x="3274" y="3279"/>
                </a:lnTo>
                <a:lnTo>
                  <a:pt x="3268" y="3282"/>
                </a:lnTo>
                <a:lnTo>
                  <a:pt x="3264" y="3285"/>
                </a:lnTo>
                <a:lnTo>
                  <a:pt x="3256" y="3292"/>
                </a:lnTo>
                <a:lnTo>
                  <a:pt x="3248" y="3300"/>
                </a:lnTo>
                <a:lnTo>
                  <a:pt x="3241" y="3309"/>
                </a:lnTo>
                <a:lnTo>
                  <a:pt x="3237" y="3314"/>
                </a:lnTo>
                <a:lnTo>
                  <a:pt x="3234" y="3319"/>
                </a:lnTo>
                <a:lnTo>
                  <a:pt x="3228" y="3330"/>
                </a:lnTo>
                <a:lnTo>
                  <a:pt x="3222" y="3343"/>
                </a:lnTo>
                <a:lnTo>
                  <a:pt x="3217" y="3355"/>
                </a:lnTo>
                <a:lnTo>
                  <a:pt x="3214" y="3368"/>
                </a:lnTo>
                <a:lnTo>
                  <a:pt x="3211" y="3381"/>
                </a:lnTo>
                <a:lnTo>
                  <a:pt x="3208" y="3396"/>
                </a:lnTo>
                <a:lnTo>
                  <a:pt x="3207" y="3403"/>
                </a:lnTo>
                <a:lnTo>
                  <a:pt x="3207" y="3410"/>
                </a:lnTo>
                <a:lnTo>
                  <a:pt x="3208" y="3423"/>
                </a:lnTo>
                <a:lnTo>
                  <a:pt x="3209" y="3435"/>
                </a:lnTo>
                <a:lnTo>
                  <a:pt x="3212" y="3446"/>
                </a:lnTo>
                <a:lnTo>
                  <a:pt x="3214" y="3453"/>
                </a:lnTo>
                <a:lnTo>
                  <a:pt x="3215" y="3458"/>
                </a:lnTo>
                <a:lnTo>
                  <a:pt x="3219" y="3469"/>
                </a:lnTo>
                <a:lnTo>
                  <a:pt x="3221" y="3474"/>
                </a:lnTo>
                <a:lnTo>
                  <a:pt x="3223" y="3479"/>
                </a:lnTo>
                <a:lnTo>
                  <a:pt x="3226" y="3483"/>
                </a:lnTo>
                <a:lnTo>
                  <a:pt x="3229" y="3488"/>
                </a:lnTo>
                <a:lnTo>
                  <a:pt x="3231" y="3492"/>
                </a:lnTo>
                <a:lnTo>
                  <a:pt x="3234" y="3496"/>
                </a:lnTo>
                <a:lnTo>
                  <a:pt x="3238" y="3500"/>
                </a:lnTo>
                <a:lnTo>
                  <a:pt x="3241" y="3503"/>
                </a:lnTo>
                <a:lnTo>
                  <a:pt x="3248" y="3510"/>
                </a:lnTo>
                <a:lnTo>
                  <a:pt x="3256" y="3517"/>
                </a:lnTo>
                <a:lnTo>
                  <a:pt x="3265" y="3522"/>
                </a:lnTo>
                <a:lnTo>
                  <a:pt x="3275" y="3525"/>
                </a:lnTo>
                <a:lnTo>
                  <a:pt x="3284" y="3528"/>
                </a:lnTo>
                <a:lnTo>
                  <a:pt x="3294" y="3530"/>
                </a:lnTo>
                <a:lnTo>
                  <a:pt x="3300" y="3530"/>
                </a:lnTo>
                <a:lnTo>
                  <a:pt x="3305" y="3530"/>
                </a:lnTo>
                <a:lnTo>
                  <a:pt x="3316" y="3530"/>
                </a:lnTo>
                <a:lnTo>
                  <a:pt x="3326" y="3528"/>
                </a:lnTo>
                <a:lnTo>
                  <a:pt x="3337" y="3526"/>
                </a:lnTo>
                <a:lnTo>
                  <a:pt x="3346" y="3523"/>
                </a:lnTo>
                <a:lnTo>
                  <a:pt x="3356" y="3518"/>
                </a:lnTo>
                <a:lnTo>
                  <a:pt x="3365" y="3513"/>
                </a:lnTo>
                <a:lnTo>
                  <a:pt x="3373" y="3507"/>
                </a:lnTo>
                <a:lnTo>
                  <a:pt x="3381" y="3500"/>
                </a:lnTo>
                <a:lnTo>
                  <a:pt x="3389" y="3493"/>
                </a:lnTo>
                <a:lnTo>
                  <a:pt x="3398" y="3485"/>
                </a:lnTo>
                <a:lnTo>
                  <a:pt x="3405" y="3476"/>
                </a:lnTo>
                <a:lnTo>
                  <a:pt x="3412" y="3467"/>
                </a:lnTo>
                <a:lnTo>
                  <a:pt x="3425" y="3447"/>
                </a:lnTo>
                <a:lnTo>
                  <a:pt x="3431" y="3437"/>
                </a:lnTo>
                <a:lnTo>
                  <a:pt x="3437" y="3426"/>
                </a:lnTo>
                <a:lnTo>
                  <a:pt x="3442" y="3415"/>
                </a:lnTo>
                <a:lnTo>
                  <a:pt x="3447" y="3404"/>
                </a:lnTo>
                <a:lnTo>
                  <a:pt x="3452" y="3392"/>
                </a:lnTo>
                <a:lnTo>
                  <a:pt x="3456" y="3379"/>
                </a:lnTo>
                <a:lnTo>
                  <a:pt x="3460" y="3367"/>
                </a:lnTo>
                <a:lnTo>
                  <a:pt x="3463" y="3355"/>
                </a:lnTo>
                <a:lnTo>
                  <a:pt x="3466" y="3343"/>
                </a:lnTo>
                <a:lnTo>
                  <a:pt x="3469" y="3330"/>
                </a:lnTo>
                <a:lnTo>
                  <a:pt x="3471" y="3318"/>
                </a:lnTo>
                <a:lnTo>
                  <a:pt x="3473" y="3307"/>
                </a:lnTo>
                <a:lnTo>
                  <a:pt x="3475" y="3295"/>
                </a:lnTo>
                <a:lnTo>
                  <a:pt x="3476" y="3283"/>
                </a:lnTo>
                <a:lnTo>
                  <a:pt x="3476" y="3272"/>
                </a:lnTo>
                <a:lnTo>
                  <a:pt x="3477" y="3260"/>
                </a:lnTo>
                <a:lnTo>
                  <a:pt x="3477" y="3249"/>
                </a:lnTo>
                <a:lnTo>
                  <a:pt x="3476" y="3239"/>
                </a:lnTo>
                <a:lnTo>
                  <a:pt x="3477" y="3236"/>
                </a:lnTo>
                <a:lnTo>
                  <a:pt x="3479" y="3234"/>
                </a:lnTo>
                <a:lnTo>
                  <a:pt x="3481" y="3232"/>
                </a:lnTo>
                <a:lnTo>
                  <a:pt x="3484" y="3230"/>
                </a:lnTo>
                <a:lnTo>
                  <a:pt x="3490" y="3227"/>
                </a:lnTo>
                <a:lnTo>
                  <a:pt x="3494" y="3227"/>
                </a:lnTo>
                <a:lnTo>
                  <a:pt x="3499" y="3226"/>
                </a:lnTo>
                <a:lnTo>
                  <a:pt x="3506" y="3227"/>
                </a:lnTo>
                <a:lnTo>
                  <a:pt x="3509" y="3228"/>
                </a:lnTo>
                <a:lnTo>
                  <a:pt x="3513" y="3229"/>
                </a:lnTo>
                <a:lnTo>
                  <a:pt x="3519" y="3231"/>
                </a:lnTo>
                <a:lnTo>
                  <a:pt x="3522" y="3233"/>
                </a:lnTo>
                <a:lnTo>
                  <a:pt x="3524" y="3236"/>
                </a:lnTo>
                <a:lnTo>
                  <a:pt x="3528" y="3241"/>
                </a:lnTo>
                <a:lnTo>
                  <a:pt x="3530" y="3245"/>
                </a:lnTo>
                <a:lnTo>
                  <a:pt x="3531" y="3249"/>
                </a:lnTo>
                <a:lnTo>
                  <a:pt x="3532" y="3253"/>
                </a:lnTo>
                <a:lnTo>
                  <a:pt x="3533" y="3258"/>
                </a:lnTo>
                <a:lnTo>
                  <a:pt x="3533" y="3263"/>
                </a:lnTo>
                <a:lnTo>
                  <a:pt x="3533" y="3269"/>
                </a:lnTo>
                <a:lnTo>
                  <a:pt x="3533" y="3286"/>
                </a:lnTo>
                <a:lnTo>
                  <a:pt x="3532" y="3301"/>
                </a:lnTo>
                <a:lnTo>
                  <a:pt x="3530" y="3316"/>
                </a:lnTo>
                <a:lnTo>
                  <a:pt x="3528" y="3333"/>
                </a:lnTo>
                <a:lnTo>
                  <a:pt x="3526" y="3347"/>
                </a:lnTo>
                <a:lnTo>
                  <a:pt x="3523" y="3362"/>
                </a:lnTo>
                <a:lnTo>
                  <a:pt x="3519" y="3377"/>
                </a:lnTo>
                <a:lnTo>
                  <a:pt x="3515" y="3392"/>
                </a:lnTo>
                <a:lnTo>
                  <a:pt x="3511" y="3406"/>
                </a:lnTo>
                <a:lnTo>
                  <a:pt x="3505" y="3419"/>
                </a:lnTo>
                <a:lnTo>
                  <a:pt x="3500" y="3432"/>
                </a:lnTo>
                <a:lnTo>
                  <a:pt x="3494" y="3445"/>
                </a:lnTo>
                <a:lnTo>
                  <a:pt x="3488" y="3459"/>
                </a:lnTo>
                <a:lnTo>
                  <a:pt x="3482" y="3471"/>
                </a:lnTo>
                <a:lnTo>
                  <a:pt x="3475" y="3482"/>
                </a:lnTo>
                <a:lnTo>
                  <a:pt x="3467" y="3493"/>
                </a:lnTo>
                <a:lnTo>
                  <a:pt x="3460" y="3504"/>
                </a:lnTo>
                <a:lnTo>
                  <a:pt x="3452" y="3515"/>
                </a:lnTo>
                <a:lnTo>
                  <a:pt x="3442" y="3525"/>
                </a:lnTo>
                <a:lnTo>
                  <a:pt x="3434" y="3534"/>
                </a:lnTo>
                <a:lnTo>
                  <a:pt x="3425" y="3542"/>
                </a:lnTo>
                <a:lnTo>
                  <a:pt x="3415" y="3550"/>
                </a:lnTo>
                <a:lnTo>
                  <a:pt x="3405" y="3557"/>
                </a:lnTo>
                <a:lnTo>
                  <a:pt x="3395" y="3564"/>
                </a:lnTo>
                <a:lnTo>
                  <a:pt x="3384" y="3570"/>
                </a:lnTo>
                <a:lnTo>
                  <a:pt x="3374" y="3576"/>
                </a:lnTo>
                <a:lnTo>
                  <a:pt x="3363" y="3580"/>
                </a:lnTo>
                <a:lnTo>
                  <a:pt x="3351" y="3584"/>
                </a:lnTo>
                <a:lnTo>
                  <a:pt x="3340" y="3587"/>
                </a:lnTo>
                <a:lnTo>
                  <a:pt x="3327" y="3589"/>
                </a:lnTo>
                <a:lnTo>
                  <a:pt x="3315" y="3590"/>
                </a:lnTo>
                <a:lnTo>
                  <a:pt x="3303" y="3591"/>
                </a:lnTo>
                <a:close/>
                <a:moveTo>
                  <a:pt x="3691" y="3585"/>
                </a:moveTo>
                <a:lnTo>
                  <a:pt x="3688" y="3585"/>
                </a:lnTo>
                <a:lnTo>
                  <a:pt x="3686" y="3584"/>
                </a:lnTo>
                <a:lnTo>
                  <a:pt x="3681" y="3581"/>
                </a:lnTo>
                <a:lnTo>
                  <a:pt x="3674" y="3577"/>
                </a:lnTo>
                <a:lnTo>
                  <a:pt x="3667" y="3572"/>
                </a:lnTo>
                <a:lnTo>
                  <a:pt x="3654" y="3560"/>
                </a:lnTo>
                <a:lnTo>
                  <a:pt x="3639" y="3546"/>
                </a:lnTo>
                <a:lnTo>
                  <a:pt x="3622" y="3530"/>
                </a:lnTo>
                <a:lnTo>
                  <a:pt x="3605" y="3513"/>
                </a:lnTo>
                <a:lnTo>
                  <a:pt x="3589" y="3495"/>
                </a:lnTo>
                <a:lnTo>
                  <a:pt x="3575" y="3479"/>
                </a:lnTo>
                <a:lnTo>
                  <a:pt x="3563" y="3464"/>
                </a:lnTo>
                <a:lnTo>
                  <a:pt x="3558" y="3458"/>
                </a:lnTo>
                <a:lnTo>
                  <a:pt x="3555" y="3453"/>
                </a:lnTo>
                <a:lnTo>
                  <a:pt x="3550" y="3442"/>
                </a:lnTo>
                <a:lnTo>
                  <a:pt x="3546" y="3432"/>
                </a:lnTo>
                <a:lnTo>
                  <a:pt x="3544" y="3422"/>
                </a:lnTo>
                <a:lnTo>
                  <a:pt x="3543" y="3412"/>
                </a:lnTo>
                <a:lnTo>
                  <a:pt x="3543" y="3407"/>
                </a:lnTo>
                <a:lnTo>
                  <a:pt x="3544" y="3401"/>
                </a:lnTo>
                <a:lnTo>
                  <a:pt x="3545" y="3395"/>
                </a:lnTo>
                <a:lnTo>
                  <a:pt x="3547" y="3388"/>
                </a:lnTo>
                <a:lnTo>
                  <a:pt x="3550" y="3382"/>
                </a:lnTo>
                <a:lnTo>
                  <a:pt x="3553" y="3376"/>
                </a:lnTo>
                <a:lnTo>
                  <a:pt x="3557" y="3369"/>
                </a:lnTo>
                <a:lnTo>
                  <a:pt x="3561" y="3362"/>
                </a:lnTo>
                <a:lnTo>
                  <a:pt x="3571" y="3351"/>
                </a:lnTo>
                <a:lnTo>
                  <a:pt x="3582" y="3338"/>
                </a:lnTo>
                <a:lnTo>
                  <a:pt x="3612" y="3303"/>
                </a:lnTo>
                <a:lnTo>
                  <a:pt x="3647" y="3263"/>
                </a:lnTo>
                <a:lnTo>
                  <a:pt x="3682" y="3223"/>
                </a:lnTo>
                <a:lnTo>
                  <a:pt x="3683" y="3222"/>
                </a:lnTo>
                <a:lnTo>
                  <a:pt x="3687" y="3222"/>
                </a:lnTo>
                <a:lnTo>
                  <a:pt x="3691" y="3222"/>
                </a:lnTo>
                <a:lnTo>
                  <a:pt x="3695" y="3223"/>
                </a:lnTo>
                <a:lnTo>
                  <a:pt x="3700" y="3225"/>
                </a:lnTo>
                <a:lnTo>
                  <a:pt x="3704" y="3228"/>
                </a:lnTo>
                <a:lnTo>
                  <a:pt x="3708" y="3231"/>
                </a:lnTo>
                <a:lnTo>
                  <a:pt x="3712" y="3235"/>
                </a:lnTo>
                <a:lnTo>
                  <a:pt x="3716" y="3239"/>
                </a:lnTo>
                <a:lnTo>
                  <a:pt x="3718" y="3244"/>
                </a:lnTo>
                <a:lnTo>
                  <a:pt x="3720" y="3248"/>
                </a:lnTo>
                <a:lnTo>
                  <a:pt x="3720" y="3253"/>
                </a:lnTo>
                <a:lnTo>
                  <a:pt x="3720" y="3259"/>
                </a:lnTo>
                <a:lnTo>
                  <a:pt x="3718" y="3264"/>
                </a:lnTo>
                <a:lnTo>
                  <a:pt x="3715" y="3270"/>
                </a:lnTo>
                <a:lnTo>
                  <a:pt x="3711" y="3277"/>
                </a:lnTo>
                <a:lnTo>
                  <a:pt x="3703" y="3287"/>
                </a:lnTo>
                <a:lnTo>
                  <a:pt x="3692" y="3300"/>
                </a:lnTo>
                <a:lnTo>
                  <a:pt x="3662" y="3334"/>
                </a:lnTo>
                <a:lnTo>
                  <a:pt x="3632" y="3368"/>
                </a:lnTo>
                <a:lnTo>
                  <a:pt x="3619" y="3382"/>
                </a:lnTo>
                <a:lnTo>
                  <a:pt x="3610" y="3395"/>
                </a:lnTo>
                <a:lnTo>
                  <a:pt x="3607" y="3398"/>
                </a:lnTo>
                <a:lnTo>
                  <a:pt x="3605" y="3402"/>
                </a:lnTo>
                <a:lnTo>
                  <a:pt x="3604" y="3406"/>
                </a:lnTo>
                <a:lnTo>
                  <a:pt x="3604" y="3409"/>
                </a:lnTo>
                <a:lnTo>
                  <a:pt x="3604" y="3414"/>
                </a:lnTo>
                <a:lnTo>
                  <a:pt x="3606" y="3418"/>
                </a:lnTo>
                <a:lnTo>
                  <a:pt x="3608" y="3422"/>
                </a:lnTo>
                <a:lnTo>
                  <a:pt x="3611" y="3427"/>
                </a:lnTo>
                <a:lnTo>
                  <a:pt x="3618" y="3436"/>
                </a:lnTo>
                <a:lnTo>
                  <a:pt x="3629" y="3448"/>
                </a:lnTo>
                <a:lnTo>
                  <a:pt x="3657" y="3478"/>
                </a:lnTo>
                <a:lnTo>
                  <a:pt x="3689" y="3510"/>
                </a:lnTo>
                <a:lnTo>
                  <a:pt x="3721" y="3541"/>
                </a:lnTo>
                <a:lnTo>
                  <a:pt x="3723" y="3543"/>
                </a:lnTo>
                <a:lnTo>
                  <a:pt x="3724" y="3545"/>
                </a:lnTo>
                <a:lnTo>
                  <a:pt x="3725" y="3548"/>
                </a:lnTo>
                <a:lnTo>
                  <a:pt x="3725" y="3550"/>
                </a:lnTo>
                <a:lnTo>
                  <a:pt x="3725" y="3556"/>
                </a:lnTo>
                <a:lnTo>
                  <a:pt x="3724" y="3559"/>
                </a:lnTo>
                <a:lnTo>
                  <a:pt x="3722" y="3561"/>
                </a:lnTo>
                <a:lnTo>
                  <a:pt x="3719" y="3567"/>
                </a:lnTo>
                <a:lnTo>
                  <a:pt x="3716" y="3570"/>
                </a:lnTo>
                <a:lnTo>
                  <a:pt x="3714" y="3573"/>
                </a:lnTo>
                <a:lnTo>
                  <a:pt x="3709" y="3578"/>
                </a:lnTo>
                <a:lnTo>
                  <a:pt x="3706" y="3580"/>
                </a:lnTo>
                <a:lnTo>
                  <a:pt x="3703" y="3582"/>
                </a:lnTo>
                <a:lnTo>
                  <a:pt x="3697" y="3584"/>
                </a:lnTo>
                <a:lnTo>
                  <a:pt x="3694" y="3585"/>
                </a:lnTo>
                <a:lnTo>
                  <a:pt x="3691" y="3585"/>
                </a:lnTo>
                <a:close/>
                <a:moveTo>
                  <a:pt x="3470" y="4321"/>
                </a:moveTo>
                <a:lnTo>
                  <a:pt x="3474" y="4298"/>
                </a:lnTo>
                <a:lnTo>
                  <a:pt x="3476" y="4275"/>
                </a:lnTo>
                <a:lnTo>
                  <a:pt x="3477" y="4253"/>
                </a:lnTo>
                <a:lnTo>
                  <a:pt x="3477" y="4243"/>
                </a:lnTo>
                <a:lnTo>
                  <a:pt x="3476" y="4233"/>
                </a:lnTo>
                <a:lnTo>
                  <a:pt x="3477" y="4229"/>
                </a:lnTo>
                <a:lnTo>
                  <a:pt x="3479" y="4227"/>
                </a:lnTo>
                <a:lnTo>
                  <a:pt x="3481" y="4225"/>
                </a:lnTo>
                <a:lnTo>
                  <a:pt x="3484" y="4223"/>
                </a:lnTo>
                <a:lnTo>
                  <a:pt x="3490" y="4221"/>
                </a:lnTo>
                <a:lnTo>
                  <a:pt x="3494" y="4220"/>
                </a:lnTo>
                <a:lnTo>
                  <a:pt x="3499" y="4220"/>
                </a:lnTo>
                <a:lnTo>
                  <a:pt x="3506" y="4220"/>
                </a:lnTo>
                <a:lnTo>
                  <a:pt x="3509" y="4221"/>
                </a:lnTo>
                <a:lnTo>
                  <a:pt x="3513" y="4222"/>
                </a:lnTo>
                <a:lnTo>
                  <a:pt x="3519" y="4225"/>
                </a:lnTo>
                <a:lnTo>
                  <a:pt x="3522" y="4227"/>
                </a:lnTo>
                <a:lnTo>
                  <a:pt x="3524" y="4229"/>
                </a:lnTo>
                <a:lnTo>
                  <a:pt x="3528" y="4236"/>
                </a:lnTo>
                <a:lnTo>
                  <a:pt x="3530" y="4239"/>
                </a:lnTo>
                <a:lnTo>
                  <a:pt x="3531" y="4243"/>
                </a:lnTo>
                <a:lnTo>
                  <a:pt x="3532" y="4247"/>
                </a:lnTo>
                <a:lnTo>
                  <a:pt x="3533" y="4252"/>
                </a:lnTo>
                <a:lnTo>
                  <a:pt x="3533" y="4258"/>
                </a:lnTo>
                <a:lnTo>
                  <a:pt x="3533" y="4263"/>
                </a:lnTo>
                <a:lnTo>
                  <a:pt x="3533" y="4278"/>
                </a:lnTo>
                <a:lnTo>
                  <a:pt x="3532" y="4293"/>
                </a:lnTo>
                <a:lnTo>
                  <a:pt x="3529" y="4321"/>
                </a:lnTo>
                <a:lnTo>
                  <a:pt x="3470" y="4321"/>
                </a:lnTo>
                <a:close/>
                <a:moveTo>
                  <a:pt x="3168" y="4321"/>
                </a:moveTo>
                <a:lnTo>
                  <a:pt x="3171" y="4315"/>
                </a:lnTo>
                <a:lnTo>
                  <a:pt x="3174" y="4310"/>
                </a:lnTo>
                <a:lnTo>
                  <a:pt x="3179" y="4299"/>
                </a:lnTo>
                <a:lnTo>
                  <a:pt x="3186" y="4287"/>
                </a:lnTo>
                <a:lnTo>
                  <a:pt x="3193" y="4277"/>
                </a:lnTo>
                <a:lnTo>
                  <a:pt x="3200" y="4267"/>
                </a:lnTo>
                <a:lnTo>
                  <a:pt x="3208" y="4258"/>
                </a:lnTo>
                <a:lnTo>
                  <a:pt x="3213" y="4254"/>
                </a:lnTo>
                <a:lnTo>
                  <a:pt x="3218" y="4250"/>
                </a:lnTo>
                <a:lnTo>
                  <a:pt x="3227" y="4243"/>
                </a:lnTo>
                <a:lnTo>
                  <a:pt x="3231" y="4239"/>
                </a:lnTo>
                <a:lnTo>
                  <a:pt x="3236" y="4236"/>
                </a:lnTo>
                <a:lnTo>
                  <a:pt x="3246" y="4229"/>
                </a:lnTo>
                <a:lnTo>
                  <a:pt x="3251" y="4226"/>
                </a:lnTo>
                <a:lnTo>
                  <a:pt x="3256" y="4223"/>
                </a:lnTo>
                <a:lnTo>
                  <a:pt x="3267" y="4219"/>
                </a:lnTo>
                <a:lnTo>
                  <a:pt x="3279" y="4215"/>
                </a:lnTo>
                <a:lnTo>
                  <a:pt x="3290" y="4213"/>
                </a:lnTo>
                <a:lnTo>
                  <a:pt x="3295" y="4212"/>
                </a:lnTo>
                <a:lnTo>
                  <a:pt x="3301" y="4211"/>
                </a:lnTo>
                <a:lnTo>
                  <a:pt x="3313" y="4211"/>
                </a:lnTo>
                <a:lnTo>
                  <a:pt x="3323" y="4211"/>
                </a:lnTo>
                <a:lnTo>
                  <a:pt x="3328" y="4212"/>
                </a:lnTo>
                <a:lnTo>
                  <a:pt x="3334" y="4213"/>
                </a:lnTo>
                <a:lnTo>
                  <a:pt x="3338" y="4214"/>
                </a:lnTo>
                <a:lnTo>
                  <a:pt x="3343" y="4215"/>
                </a:lnTo>
                <a:lnTo>
                  <a:pt x="3351" y="4218"/>
                </a:lnTo>
                <a:lnTo>
                  <a:pt x="3359" y="4222"/>
                </a:lnTo>
                <a:lnTo>
                  <a:pt x="3366" y="4226"/>
                </a:lnTo>
                <a:lnTo>
                  <a:pt x="3373" y="4233"/>
                </a:lnTo>
                <a:lnTo>
                  <a:pt x="3379" y="4239"/>
                </a:lnTo>
                <a:lnTo>
                  <a:pt x="3382" y="4242"/>
                </a:lnTo>
                <a:lnTo>
                  <a:pt x="3384" y="4245"/>
                </a:lnTo>
                <a:lnTo>
                  <a:pt x="3389" y="4253"/>
                </a:lnTo>
                <a:lnTo>
                  <a:pt x="3394" y="4260"/>
                </a:lnTo>
                <a:lnTo>
                  <a:pt x="3398" y="4269"/>
                </a:lnTo>
                <a:lnTo>
                  <a:pt x="3400" y="4277"/>
                </a:lnTo>
                <a:lnTo>
                  <a:pt x="3402" y="4287"/>
                </a:lnTo>
                <a:lnTo>
                  <a:pt x="3403" y="4297"/>
                </a:lnTo>
                <a:lnTo>
                  <a:pt x="3404" y="4307"/>
                </a:lnTo>
                <a:lnTo>
                  <a:pt x="3403" y="4314"/>
                </a:lnTo>
                <a:lnTo>
                  <a:pt x="3403" y="4321"/>
                </a:lnTo>
                <a:lnTo>
                  <a:pt x="3346" y="4321"/>
                </a:lnTo>
                <a:lnTo>
                  <a:pt x="3348" y="4316"/>
                </a:lnTo>
                <a:lnTo>
                  <a:pt x="3349" y="4310"/>
                </a:lnTo>
                <a:lnTo>
                  <a:pt x="3350" y="4305"/>
                </a:lnTo>
                <a:lnTo>
                  <a:pt x="3350" y="4299"/>
                </a:lnTo>
                <a:lnTo>
                  <a:pt x="3350" y="4290"/>
                </a:lnTo>
                <a:lnTo>
                  <a:pt x="3347" y="4283"/>
                </a:lnTo>
                <a:lnTo>
                  <a:pt x="3346" y="4280"/>
                </a:lnTo>
                <a:lnTo>
                  <a:pt x="3344" y="4277"/>
                </a:lnTo>
                <a:lnTo>
                  <a:pt x="3342" y="4274"/>
                </a:lnTo>
                <a:lnTo>
                  <a:pt x="3339" y="4271"/>
                </a:lnTo>
                <a:lnTo>
                  <a:pt x="3334" y="4267"/>
                </a:lnTo>
                <a:lnTo>
                  <a:pt x="3329" y="4265"/>
                </a:lnTo>
                <a:lnTo>
                  <a:pt x="3326" y="4264"/>
                </a:lnTo>
                <a:lnTo>
                  <a:pt x="3318" y="4262"/>
                </a:lnTo>
                <a:lnTo>
                  <a:pt x="3314" y="4262"/>
                </a:lnTo>
                <a:lnTo>
                  <a:pt x="3309" y="4261"/>
                </a:lnTo>
                <a:lnTo>
                  <a:pt x="3304" y="4262"/>
                </a:lnTo>
                <a:lnTo>
                  <a:pt x="3298" y="4263"/>
                </a:lnTo>
                <a:lnTo>
                  <a:pt x="3288" y="4266"/>
                </a:lnTo>
                <a:lnTo>
                  <a:pt x="3282" y="4268"/>
                </a:lnTo>
                <a:lnTo>
                  <a:pt x="3277" y="4271"/>
                </a:lnTo>
                <a:lnTo>
                  <a:pt x="3265" y="4278"/>
                </a:lnTo>
                <a:lnTo>
                  <a:pt x="3260" y="4282"/>
                </a:lnTo>
                <a:lnTo>
                  <a:pt x="3255" y="4286"/>
                </a:lnTo>
                <a:lnTo>
                  <a:pt x="3251" y="4292"/>
                </a:lnTo>
                <a:lnTo>
                  <a:pt x="3246" y="4297"/>
                </a:lnTo>
                <a:lnTo>
                  <a:pt x="3237" y="4308"/>
                </a:lnTo>
                <a:lnTo>
                  <a:pt x="3229" y="4321"/>
                </a:lnTo>
                <a:lnTo>
                  <a:pt x="3168" y="4321"/>
                </a:lnTo>
                <a:close/>
                <a:moveTo>
                  <a:pt x="3591" y="4321"/>
                </a:moveTo>
                <a:lnTo>
                  <a:pt x="3635" y="4271"/>
                </a:lnTo>
                <a:lnTo>
                  <a:pt x="3659" y="4244"/>
                </a:lnTo>
                <a:lnTo>
                  <a:pt x="3682" y="4216"/>
                </a:lnTo>
                <a:lnTo>
                  <a:pt x="3683" y="4216"/>
                </a:lnTo>
                <a:lnTo>
                  <a:pt x="3687" y="4215"/>
                </a:lnTo>
                <a:lnTo>
                  <a:pt x="3691" y="4216"/>
                </a:lnTo>
                <a:lnTo>
                  <a:pt x="3695" y="4217"/>
                </a:lnTo>
                <a:lnTo>
                  <a:pt x="3700" y="4219"/>
                </a:lnTo>
                <a:lnTo>
                  <a:pt x="3704" y="4221"/>
                </a:lnTo>
                <a:lnTo>
                  <a:pt x="3708" y="4224"/>
                </a:lnTo>
                <a:lnTo>
                  <a:pt x="3712" y="4228"/>
                </a:lnTo>
                <a:lnTo>
                  <a:pt x="3716" y="4233"/>
                </a:lnTo>
                <a:lnTo>
                  <a:pt x="3718" y="4238"/>
                </a:lnTo>
                <a:lnTo>
                  <a:pt x="3720" y="4243"/>
                </a:lnTo>
                <a:lnTo>
                  <a:pt x="3720" y="4247"/>
                </a:lnTo>
                <a:lnTo>
                  <a:pt x="3720" y="4253"/>
                </a:lnTo>
                <a:lnTo>
                  <a:pt x="3718" y="4258"/>
                </a:lnTo>
                <a:lnTo>
                  <a:pt x="3715" y="4264"/>
                </a:lnTo>
                <a:lnTo>
                  <a:pt x="3711" y="4270"/>
                </a:lnTo>
                <a:lnTo>
                  <a:pt x="3704" y="4279"/>
                </a:lnTo>
                <a:lnTo>
                  <a:pt x="3694" y="4292"/>
                </a:lnTo>
                <a:lnTo>
                  <a:pt x="3667" y="4321"/>
                </a:lnTo>
                <a:lnTo>
                  <a:pt x="3591" y="4321"/>
                </a:lnTo>
                <a:close/>
                <a:moveTo>
                  <a:pt x="1021" y="3591"/>
                </a:moveTo>
                <a:lnTo>
                  <a:pt x="1013" y="3591"/>
                </a:lnTo>
                <a:lnTo>
                  <a:pt x="1006" y="3590"/>
                </a:lnTo>
                <a:lnTo>
                  <a:pt x="998" y="3589"/>
                </a:lnTo>
                <a:lnTo>
                  <a:pt x="991" y="3587"/>
                </a:lnTo>
                <a:lnTo>
                  <a:pt x="982" y="3585"/>
                </a:lnTo>
                <a:lnTo>
                  <a:pt x="975" y="3583"/>
                </a:lnTo>
                <a:lnTo>
                  <a:pt x="962" y="3577"/>
                </a:lnTo>
                <a:lnTo>
                  <a:pt x="949" y="3569"/>
                </a:lnTo>
                <a:lnTo>
                  <a:pt x="942" y="3565"/>
                </a:lnTo>
                <a:lnTo>
                  <a:pt x="936" y="3560"/>
                </a:lnTo>
                <a:lnTo>
                  <a:pt x="929" y="3555"/>
                </a:lnTo>
                <a:lnTo>
                  <a:pt x="924" y="3550"/>
                </a:lnTo>
                <a:lnTo>
                  <a:pt x="918" y="3545"/>
                </a:lnTo>
                <a:lnTo>
                  <a:pt x="913" y="3539"/>
                </a:lnTo>
                <a:lnTo>
                  <a:pt x="908" y="3533"/>
                </a:lnTo>
                <a:lnTo>
                  <a:pt x="903" y="3527"/>
                </a:lnTo>
                <a:lnTo>
                  <a:pt x="899" y="3520"/>
                </a:lnTo>
                <a:lnTo>
                  <a:pt x="895" y="3513"/>
                </a:lnTo>
                <a:lnTo>
                  <a:pt x="891" y="3505"/>
                </a:lnTo>
                <a:lnTo>
                  <a:pt x="887" y="3498"/>
                </a:lnTo>
                <a:lnTo>
                  <a:pt x="884" y="3490"/>
                </a:lnTo>
                <a:lnTo>
                  <a:pt x="881" y="3482"/>
                </a:lnTo>
                <a:lnTo>
                  <a:pt x="878" y="3474"/>
                </a:lnTo>
                <a:lnTo>
                  <a:pt x="876" y="3466"/>
                </a:lnTo>
                <a:lnTo>
                  <a:pt x="874" y="3458"/>
                </a:lnTo>
                <a:lnTo>
                  <a:pt x="872" y="3448"/>
                </a:lnTo>
                <a:lnTo>
                  <a:pt x="871" y="3439"/>
                </a:lnTo>
                <a:lnTo>
                  <a:pt x="869" y="3431"/>
                </a:lnTo>
                <a:lnTo>
                  <a:pt x="868" y="3422"/>
                </a:lnTo>
                <a:lnTo>
                  <a:pt x="868" y="3412"/>
                </a:lnTo>
                <a:lnTo>
                  <a:pt x="869" y="3394"/>
                </a:lnTo>
                <a:lnTo>
                  <a:pt x="871" y="3384"/>
                </a:lnTo>
                <a:lnTo>
                  <a:pt x="872" y="3374"/>
                </a:lnTo>
                <a:lnTo>
                  <a:pt x="874" y="3365"/>
                </a:lnTo>
                <a:lnTo>
                  <a:pt x="876" y="3357"/>
                </a:lnTo>
                <a:lnTo>
                  <a:pt x="879" y="3348"/>
                </a:lnTo>
                <a:lnTo>
                  <a:pt x="882" y="3339"/>
                </a:lnTo>
                <a:lnTo>
                  <a:pt x="885" y="3330"/>
                </a:lnTo>
                <a:lnTo>
                  <a:pt x="888" y="3322"/>
                </a:lnTo>
                <a:lnTo>
                  <a:pt x="892" y="3314"/>
                </a:lnTo>
                <a:lnTo>
                  <a:pt x="896" y="3306"/>
                </a:lnTo>
                <a:lnTo>
                  <a:pt x="901" y="3298"/>
                </a:lnTo>
                <a:lnTo>
                  <a:pt x="905" y="3291"/>
                </a:lnTo>
                <a:lnTo>
                  <a:pt x="916" y="3277"/>
                </a:lnTo>
                <a:lnTo>
                  <a:pt x="921" y="3269"/>
                </a:lnTo>
                <a:lnTo>
                  <a:pt x="927" y="3263"/>
                </a:lnTo>
                <a:lnTo>
                  <a:pt x="940" y="3252"/>
                </a:lnTo>
                <a:lnTo>
                  <a:pt x="946" y="3247"/>
                </a:lnTo>
                <a:lnTo>
                  <a:pt x="953" y="3242"/>
                </a:lnTo>
                <a:lnTo>
                  <a:pt x="960" y="3237"/>
                </a:lnTo>
                <a:lnTo>
                  <a:pt x="967" y="3233"/>
                </a:lnTo>
                <a:lnTo>
                  <a:pt x="974" y="3230"/>
                </a:lnTo>
                <a:lnTo>
                  <a:pt x="982" y="3227"/>
                </a:lnTo>
                <a:lnTo>
                  <a:pt x="989" y="3224"/>
                </a:lnTo>
                <a:lnTo>
                  <a:pt x="998" y="3222"/>
                </a:lnTo>
                <a:lnTo>
                  <a:pt x="1006" y="3220"/>
                </a:lnTo>
                <a:lnTo>
                  <a:pt x="1014" y="3219"/>
                </a:lnTo>
                <a:lnTo>
                  <a:pt x="1022" y="3218"/>
                </a:lnTo>
                <a:lnTo>
                  <a:pt x="1030" y="3218"/>
                </a:lnTo>
                <a:lnTo>
                  <a:pt x="1041" y="3218"/>
                </a:lnTo>
                <a:lnTo>
                  <a:pt x="1045" y="3219"/>
                </a:lnTo>
                <a:lnTo>
                  <a:pt x="1051" y="3219"/>
                </a:lnTo>
                <a:lnTo>
                  <a:pt x="1056" y="3220"/>
                </a:lnTo>
                <a:lnTo>
                  <a:pt x="1060" y="3222"/>
                </a:lnTo>
                <a:lnTo>
                  <a:pt x="1069" y="3225"/>
                </a:lnTo>
                <a:lnTo>
                  <a:pt x="1077" y="3229"/>
                </a:lnTo>
                <a:lnTo>
                  <a:pt x="1084" y="3233"/>
                </a:lnTo>
                <a:lnTo>
                  <a:pt x="1091" y="3239"/>
                </a:lnTo>
                <a:lnTo>
                  <a:pt x="1097" y="3245"/>
                </a:lnTo>
                <a:lnTo>
                  <a:pt x="1099" y="3248"/>
                </a:lnTo>
                <a:lnTo>
                  <a:pt x="1102" y="3251"/>
                </a:lnTo>
                <a:lnTo>
                  <a:pt x="1107" y="3258"/>
                </a:lnTo>
                <a:lnTo>
                  <a:pt x="1112" y="3266"/>
                </a:lnTo>
                <a:lnTo>
                  <a:pt x="1115" y="3276"/>
                </a:lnTo>
                <a:lnTo>
                  <a:pt x="1118" y="3284"/>
                </a:lnTo>
                <a:lnTo>
                  <a:pt x="1120" y="3293"/>
                </a:lnTo>
                <a:lnTo>
                  <a:pt x="1121" y="3303"/>
                </a:lnTo>
                <a:lnTo>
                  <a:pt x="1121" y="3313"/>
                </a:lnTo>
                <a:lnTo>
                  <a:pt x="1120" y="3325"/>
                </a:lnTo>
                <a:lnTo>
                  <a:pt x="1119" y="3333"/>
                </a:lnTo>
                <a:lnTo>
                  <a:pt x="1118" y="3339"/>
                </a:lnTo>
                <a:lnTo>
                  <a:pt x="1114" y="3351"/>
                </a:lnTo>
                <a:lnTo>
                  <a:pt x="1108" y="3362"/>
                </a:lnTo>
                <a:lnTo>
                  <a:pt x="1102" y="3373"/>
                </a:lnTo>
                <a:lnTo>
                  <a:pt x="1095" y="3384"/>
                </a:lnTo>
                <a:lnTo>
                  <a:pt x="1091" y="3389"/>
                </a:lnTo>
                <a:lnTo>
                  <a:pt x="1086" y="3395"/>
                </a:lnTo>
                <a:lnTo>
                  <a:pt x="1077" y="3404"/>
                </a:lnTo>
                <a:lnTo>
                  <a:pt x="1067" y="3413"/>
                </a:lnTo>
                <a:lnTo>
                  <a:pt x="1062" y="3416"/>
                </a:lnTo>
                <a:lnTo>
                  <a:pt x="1057" y="3420"/>
                </a:lnTo>
                <a:lnTo>
                  <a:pt x="1044" y="3427"/>
                </a:lnTo>
                <a:lnTo>
                  <a:pt x="1033" y="3432"/>
                </a:lnTo>
                <a:lnTo>
                  <a:pt x="1021" y="3437"/>
                </a:lnTo>
                <a:lnTo>
                  <a:pt x="1014" y="3439"/>
                </a:lnTo>
                <a:lnTo>
                  <a:pt x="1008" y="3440"/>
                </a:lnTo>
                <a:lnTo>
                  <a:pt x="1002" y="3441"/>
                </a:lnTo>
                <a:lnTo>
                  <a:pt x="996" y="3442"/>
                </a:lnTo>
                <a:lnTo>
                  <a:pt x="982" y="3443"/>
                </a:lnTo>
                <a:lnTo>
                  <a:pt x="977" y="3442"/>
                </a:lnTo>
                <a:lnTo>
                  <a:pt x="972" y="3441"/>
                </a:lnTo>
                <a:lnTo>
                  <a:pt x="967" y="3438"/>
                </a:lnTo>
                <a:lnTo>
                  <a:pt x="965" y="3436"/>
                </a:lnTo>
                <a:lnTo>
                  <a:pt x="963" y="3434"/>
                </a:lnTo>
                <a:lnTo>
                  <a:pt x="960" y="3429"/>
                </a:lnTo>
                <a:lnTo>
                  <a:pt x="958" y="3424"/>
                </a:lnTo>
                <a:lnTo>
                  <a:pt x="957" y="3421"/>
                </a:lnTo>
                <a:lnTo>
                  <a:pt x="956" y="3418"/>
                </a:lnTo>
                <a:lnTo>
                  <a:pt x="956" y="3412"/>
                </a:lnTo>
                <a:lnTo>
                  <a:pt x="956" y="3409"/>
                </a:lnTo>
                <a:lnTo>
                  <a:pt x="956" y="3406"/>
                </a:lnTo>
                <a:lnTo>
                  <a:pt x="957" y="3401"/>
                </a:lnTo>
                <a:lnTo>
                  <a:pt x="958" y="3399"/>
                </a:lnTo>
                <a:lnTo>
                  <a:pt x="960" y="3397"/>
                </a:lnTo>
                <a:lnTo>
                  <a:pt x="961" y="3396"/>
                </a:lnTo>
                <a:lnTo>
                  <a:pt x="963" y="3395"/>
                </a:lnTo>
                <a:lnTo>
                  <a:pt x="974" y="3393"/>
                </a:lnTo>
                <a:lnTo>
                  <a:pt x="984" y="3389"/>
                </a:lnTo>
                <a:lnTo>
                  <a:pt x="995" y="3386"/>
                </a:lnTo>
                <a:lnTo>
                  <a:pt x="1005" y="3382"/>
                </a:lnTo>
                <a:lnTo>
                  <a:pt x="1014" y="3377"/>
                </a:lnTo>
                <a:lnTo>
                  <a:pt x="1023" y="3372"/>
                </a:lnTo>
                <a:lnTo>
                  <a:pt x="1030" y="3367"/>
                </a:lnTo>
                <a:lnTo>
                  <a:pt x="1034" y="3364"/>
                </a:lnTo>
                <a:lnTo>
                  <a:pt x="1038" y="3361"/>
                </a:lnTo>
                <a:lnTo>
                  <a:pt x="1044" y="3354"/>
                </a:lnTo>
                <a:lnTo>
                  <a:pt x="1051" y="3348"/>
                </a:lnTo>
                <a:lnTo>
                  <a:pt x="1056" y="3341"/>
                </a:lnTo>
                <a:lnTo>
                  <a:pt x="1060" y="3334"/>
                </a:lnTo>
                <a:lnTo>
                  <a:pt x="1063" y="3326"/>
                </a:lnTo>
                <a:lnTo>
                  <a:pt x="1066" y="3319"/>
                </a:lnTo>
                <a:lnTo>
                  <a:pt x="1067" y="3312"/>
                </a:lnTo>
                <a:lnTo>
                  <a:pt x="1068" y="3305"/>
                </a:lnTo>
                <a:lnTo>
                  <a:pt x="1067" y="3297"/>
                </a:lnTo>
                <a:lnTo>
                  <a:pt x="1065" y="3290"/>
                </a:lnTo>
                <a:lnTo>
                  <a:pt x="1063" y="3286"/>
                </a:lnTo>
                <a:lnTo>
                  <a:pt x="1062" y="3283"/>
                </a:lnTo>
                <a:lnTo>
                  <a:pt x="1059" y="3281"/>
                </a:lnTo>
                <a:lnTo>
                  <a:pt x="1057" y="3278"/>
                </a:lnTo>
                <a:lnTo>
                  <a:pt x="1051" y="3274"/>
                </a:lnTo>
                <a:lnTo>
                  <a:pt x="1047" y="3272"/>
                </a:lnTo>
                <a:lnTo>
                  <a:pt x="1043" y="3270"/>
                </a:lnTo>
                <a:lnTo>
                  <a:pt x="1035" y="3268"/>
                </a:lnTo>
                <a:lnTo>
                  <a:pt x="1031" y="3267"/>
                </a:lnTo>
                <a:lnTo>
                  <a:pt x="1027" y="3267"/>
                </a:lnTo>
                <a:lnTo>
                  <a:pt x="1018" y="3268"/>
                </a:lnTo>
                <a:lnTo>
                  <a:pt x="1013" y="3269"/>
                </a:lnTo>
                <a:lnTo>
                  <a:pt x="1009" y="3270"/>
                </a:lnTo>
                <a:lnTo>
                  <a:pt x="1004" y="3273"/>
                </a:lnTo>
                <a:lnTo>
                  <a:pt x="1000" y="3275"/>
                </a:lnTo>
                <a:lnTo>
                  <a:pt x="996" y="3277"/>
                </a:lnTo>
                <a:lnTo>
                  <a:pt x="991" y="3279"/>
                </a:lnTo>
                <a:lnTo>
                  <a:pt x="986" y="3282"/>
                </a:lnTo>
                <a:lnTo>
                  <a:pt x="982" y="3285"/>
                </a:lnTo>
                <a:lnTo>
                  <a:pt x="973" y="3292"/>
                </a:lnTo>
                <a:lnTo>
                  <a:pt x="966" y="3300"/>
                </a:lnTo>
                <a:lnTo>
                  <a:pt x="958" y="3309"/>
                </a:lnTo>
                <a:lnTo>
                  <a:pt x="955" y="3314"/>
                </a:lnTo>
                <a:lnTo>
                  <a:pt x="951" y="3319"/>
                </a:lnTo>
                <a:lnTo>
                  <a:pt x="945" y="3330"/>
                </a:lnTo>
                <a:lnTo>
                  <a:pt x="940" y="3343"/>
                </a:lnTo>
                <a:lnTo>
                  <a:pt x="935" y="3355"/>
                </a:lnTo>
                <a:lnTo>
                  <a:pt x="931" y="3368"/>
                </a:lnTo>
                <a:lnTo>
                  <a:pt x="927" y="3381"/>
                </a:lnTo>
                <a:lnTo>
                  <a:pt x="925" y="3396"/>
                </a:lnTo>
                <a:lnTo>
                  <a:pt x="925" y="3403"/>
                </a:lnTo>
                <a:lnTo>
                  <a:pt x="925" y="3410"/>
                </a:lnTo>
                <a:lnTo>
                  <a:pt x="925" y="3423"/>
                </a:lnTo>
                <a:lnTo>
                  <a:pt x="927" y="3435"/>
                </a:lnTo>
                <a:lnTo>
                  <a:pt x="929" y="3446"/>
                </a:lnTo>
                <a:lnTo>
                  <a:pt x="931" y="3453"/>
                </a:lnTo>
                <a:lnTo>
                  <a:pt x="933" y="3458"/>
                </a:lnTo>
                <a:lnTo>
                  <a:pt x="936" y="3469"/>
                </a:lnTo>
                <a:lnTo>
                  <a:pt x="939" y="3474"/>
                </a:lnTo>
                <a:lnTo>
                  <a:pt x="941" y="3479"/>
                </a:lnTo>
                <a:lnTo>
                  <a:pt x="943" y="3483"/>
                </a:lnTo>
                <a:lnTo>
                  <a:pt x="946" y="3488"/>
                </a:lnTo>
                <a:lnTo>
                  <a:pt x="949" y="3492"/>
                </a:lnTo>
                <a:lnTo>
                  <a:pt x="952" y="3496"/>
                </a:lnTo>
                <a:lnTo>
                  <a:pt x="955" y="3500"/>
                </a:lnTo>
                <a:lnTo>
                  <a:pt x="959" y="3503"/>
                </a:lnTo>
                <a:lnTo>
                  <a:pt x="966" y="3510"/>
                </a:lnTo>
                <a:lnTo>
                  <a:pt x="974" y="3517"/>
                </a:lnTo>
                <a:lnTo>
                  <a:pt x="982" y="3522"/>
                </a:lnTo>
                <a:lnTo>
                  <a:pt x="992" y="3525"/>
                </a:lnTo>
                <a:lnTo>
                  <a:pt x="1002" y="3528"/>
                </a:lnTo>
                <a:lnTo>
                  <a:pt x="1012" y="3530"/>
                </a:lnTo>
                <a:lnTo>
                  <a:pt x="1017" y="3530"/>
                </a:lnTo>
                <a:lnTo>
                  <a:pt x="1023" y="3530"/>
                </a:lnTo>
                <a:lnTo>
                  <a:pt x="1033" y="3530"/>
                </a:lnTo>
                <a:lnTo>
                  <a:pt x="1043" y="3528"/>
                </a:lnTo>
                <a:lnTo>
                  <a:pt x="1054" y="3526"/>
                </a:lnTo>
                <a:lnTo>
                  <a:pt x="1064" y="3523"/>
                </a:lnTo>
                <a:lnTo>
                  <a:pt x="1073" y="3518"/>
                </a:lnTo>
                <a:lnTo>
                  <a:pt x="1082" y="3513"/>
                </a:lnTo>
                <a:lnTo>
                  <a:pt x="1091" y="3507"/>
                </a:lnTo>
                <a:lnTo>
                  <a:pt x="1099" y="3500"/>
                </a:lnTo>
                <a:lnTo>
                  <a:pt x="1107" y="3493"/>
                </a:lnTo>
                <a:lnTo>
                  <a:pt x="1116" y="3485"/>
                </a:lnTo>
                <a:lnTo>
                  <a:pt x="1123" y="3476"/>
                </a:lnTo>
                <a:lnTo>
                  <a:pt x="1130" y="3467"/>
                </a:lnTo>
                <a:lnTo>
                  <a:pt x="1143" y="3447"/>
                </a:lnTo>
                <a:lnTo>
                  <a:pt x="1149" y="3437"/>
                </a:lnTo>
                <a:lnTo>
                  <a:pt x="1154" y="3426"/>
                </a:lnTo>
                <a:lnTo>
                  <a:pt x="1159" y="3415"/>
                </a:lnTo>
                <a:lnTo>
                  <a:pt x="1164" y="3404"/>
                </a:lnTo>
                <a:lnTo>
                  <a:pt x="1169" y="3392"/>
                </a:lnTo>
                <a:lnTo>
                  <a:pt x="1174" y="3379"/>
                </a:lnTo>
                <a:lnTo>
                  <a:pt x="1178" y="3367"/>
                </a:lnTo>
                <a:lnTo>
                  <a:pt x="1181" y="3355"/>
                </a:lnTo>
                <a:lnTo>
                  <a:pt x="1184" y="3343"/>
                </a:lnTo>
                <a:lnTo>
                  <a:pt x="1187" y="3330"/>
                </a:lnTo>
                <a:lnTo>
                  <a:pt x="1189" y="3318"/>
                </a:lnTo>
                <a:lnTo>
                  <a:pt x="1191" y="3307"/>
                </a:lnTo>
                <a:lnTo>
                  <a:pt x="1192" y="3295"/>
                </a:lnTo>
                <a:lnTo>
                  <a:pt x="1193" y="3283"/>
                </a:lnTo>
                <a:lnTo>
                  <a:pt x="1194" y="3272"/>
                </a:lnTo>
                <a:lnTo>
                  <a:pt x="1194" y="3260"/>
                </a:lnTo>
                <a:lnTo>
                  <a:pt x="1194" y="3249"/>
                </a:lnTo>
                <a:lnTo>
                  <a:pt x="1194" y="3239"/>
                </a:lnTo>
                <a:lnTo>
                  <a:pt x="1195" y="3236"/>
                </a:lnTo>
                <a:lnTo>
                  <a:pt x="1196" y="3234"/>
                </a:lnTo>
                <a:lnTo>
                  <a:pt x="1199" y="3232"/>
                </a:lnTo>
                <a:lnTo>
                  <a:pt x="1201" y="3230"/>
                </a:lnTo>
                <a:lnTo>
                  <a:pt x="1208" y="3227"/>
                </a:lnTo>
                <a:lnTo>
                  <a:pt x="1212" y="3227"/>
                </a:lnTo>
                <a:lnTo>
                  <a:pt x="1216" y="3226"/>
                </a:lnTo>
                <a:lnTo>
                  <a:pt x="1223" y="3227"/>
                </a:lnTo>
                <a:lnTo>
                  <a:pt x="1227" y="3228"/>
                </a:lnTo>
                <a:lnTo>
                  <a:pt x="1231" y="3229"/>
                </a:lnTo>
                <a:lnTo>
                  <a:pt x="1236" y="3231"/>
                </a:lnTo>
                <a:lnTo>
                  <a:pt x="1239" y="3233"/>
                </a:lnTo>
                <a:lnTo>
                  <a:pt x="1241" y="3236"/>
                </a:lnTo>
                <a:lnTo>
                  <a:pt x="1245" y="3241"/>
                </a:lnTo>
                <a:lnTo>
                  <a:pt x="1247" y="3245"/>
                </a:lnTo>
                <a:lnTo>
                  <a:pt x="1248" y="3249"/>
                </a:lnTo>
                <a:lnTo>
                  <a:pt x="1249" y="3253"/>
                </a:lnTo>
                <a:lnTo>
                  <a:pt x="1250" y="3258"/>
                </a:lnTo>
                <a:lnTo>
                  <a:pt x="1251" y="3263"/>
                </a:lnTo>
                <a:lnTo>
                  <a:pt x="1251" y="3269"/>
                </a:lnTo>
                <a:lnTo>
                  <a:pt x="1250" y="3286"/>
                </a:lnTo>
                <a:lnTo>
                  <a:pt x="1249" y="3301"/>
                </a:lnTo>
                <a:lnTo>
                  <a:pt x="1248" y="3316"/>
                </a:lnTo>
                <a:lnTo>
                  <a:pt x="1246" y="3333"/>
                </a:lnTo>
                <a:lnTo>
                  <a:pt x="1243" y="3347"/>
                </a:lnTo>
                <a:lnTo>
                  <a:pt x="1240" y="3362"/>
                </a:lnTo>
                <a:lnTo>
                  <a:pt x="1237" y="3377"/>
                </a:lnTo>
                <a:lnTo>
                  <a:pt x="1233" y="3392"/>
                </a:lnTo>
                <a:lnTo>
                  <a:pt x="1228" y="3406"/>
                </a:lnTo>
                <a:lnTo>
                  <a:pt x="1223" y="3419"/>
                </a:lnTo>
                <a:lnTo>
                  <a:pt x="1217" y="3432"/>
                </a:lnTo>
                <a:lnTo>
                  <a:pt x="1212" y="3445"/>
                </a:lnTo>
                <a:lnTo>
                  <a:pt x="1206" y="3459"/>
                </a:lnTo>
                <a:lnTo>
                  <a:pt x="1199" y="3471"/>
                </a:lnTo>
                <a:lnTo>
                  <a:pt x="1192" y="3482"/>
                </a:lnTo>
                <a:lnTo>
                  <a:pt x="1185" y="3493"/>
                </a:lnTo>
                <a:lnTo>
                  <a:pt x="1177" y="3504"/>
                </a:lnTo>
                <a:lnTo>
                  <a:pt x="1168" y="3515"/>
                </a:lnTo>
                <a:lnTo>
                  <a:pt x="1160" y="3525"/>
                </a:lnTo>
                <a:lnTo>
                  <a:pt x="1151" y="3534"/>
                </a:lnTo>
                <a:lnTo>
                  <a:pt x="1142" y="3542"/>
                </a:lnTo>
                <a:lnTo>
                  <a:pt x="1133" y="3550"/>
                </a:lnTo>
                <a:lnTo>
                  <a:pt x="1123" y="3557"/>
                </a:lnTo>
                <a:lnTo>
                  <a:pt x="1113" y="3564"/>
                </a:lnTo>
                <a:lnTo>
                  <a:pt x="1102" y="3570"/>
                </a:lnTo>
                <a:lnTo>
                  <a:pt x="1091" y="3576"/>
                </a:lnTo>
                <a:lnTo>
                  <a:pt x="1080" y="3580"/>
                </a:lnTo>
                <a:lnTo>
                  <a:pt x="1069" y="3584"/>
                </a:lnTo>
                <a:lnTo>
                  <a:pt x="1058" y="3587"/>
                </a:lnTo>
                <a:lnTo>
                  <a:pt x="1045" y="3589"/>
                </a:lnTo>
                <a:lnTo>
                  <a:pt x="1033" y="3590"/>
                </a:lnTo>
                <a:lnTo>
                  <a:pt x="1021" y="3591"/>
                </a:lnTo>
                <a:close/>
                <a:moveTo>
                  <a:pt x="1408" y="3585"/>
                </a:moveTo>
                <a:lnTo>
                  <a:pt x="1406" y="3585"/>
                </a:lnTo>
                <a:lnTo>
                  <a:pt x="1403" y="3584"/>
                </a:lnTo>
                <a:lnTo>
                  <a:pt x="1398" y="3581"/>
                </a:lnTo>
                <a:lnTo>
                  <a:pt x="1392" y="3577"/>
                </a:lnTo>
                <a:lnTo>
                  <a:pt x="1385" y="3572"/>
                </a:lnTo>
                <a:lnTo>
                  <a:pt x="1372" y="3560"/>
                </a:lnTo>
                <a:lnTo>
                  <a:pt x="1357" y="3546"/>
                </a:lnTo>
                <a:lnTo>
                  <a:pt x="1339" y="3530"/>
                </a:lnTo>
                <a:lnTo>
                  <a:pt x="1323" y="3513"/>
                </a:lnTo>
                <a:lnTo>
                  <a:pt x="1307" y="3495"/>
                </a:lnTo>
                <a:lnTo>
                  <a:pt x="1293" y="3479"/>
                </a:lnTo>
                <a:lnTo>
                  <a:pt x="1280" y="3464"/>
                </a:lnTo>
                <a:lnTo>
                  <a:pt x="1276" y="3458"/>
                </a:lnTo>
                <a:lnTo>
                  <a:pt x="1273" y="3453"/>
                </a:lnTo>
                <a:lnTo>
                  <a:pt x="1268" y="3442"/>
                </a:lnTo>
                <a:lnTo>
                  <a:pt x="1264" y="3432"/>
                </a:lnTo>
                <a:lnTo>
                  <a:pt x="1261" y="3422"/>
                </a:lnTo>
                <a:lnTo>
                  <a:pt x="1260" y="3412"/>
                </a:lnTo>
                <a:lnTo>
                  <a:pt x="1261" y="3407"/>
                </a:lnTo>
                <a:lnTo>
                  <a:pt x="1262" y="3401"/>
                </a:lnTo>
                <a:lnTo>
                  <a:pt x="1263" y="3395"/>
                </a:lnTo>
                <a:lnTo>
                  <a:pt x="1265" y="3388"/>
                </a:lnTo>
                <a:lnTo>
                  <a:pt x="1268" y="3382"/>
                </a:lnTo>
                <a:lnTo>
                  <a:pt x="1271" y="3376"/>
                </a:lnTo>
                <a:lnTo>
                  <a:pt x="1275" y="3369"/>
                </a:lnTo>
                <a:lnTo>
                  <a:pt x="1279" y="3362"/>
                </a:lnTo>
                <a:lnTo>
                  <a:pt x="1287" y="3351"/>
                </a:lnTo>
                <a:lnTo>
                  <a:pt x="1300" y="3338"/>
                </a:lnTo>
                <a:lnTo>
                  <a:pt x="1329" y="3303"/>
                </a:lnTo>
                <a:lnTo>
                  <a:pt x="1365" y="3263"/>
                </a:lnTo>
                <a:lnTo>
                  <a:pt x="1400" y="3223"/>
                </a:lnTo>
                <a:lnTo>
                  <a:pt x="1401" y="3222"/>
                </a:lnTo>
                <a:lnTo>
                  <a:pt x="1404" y="3222"/>
                </a:lnTo>
                <a:lnTo>
                  <a:pt x="1408" y="3222"/>
                </a:lnTo>
                <a:lnTo>
                  <a:pt x="1413" y="3223"/>
                </a:lnTo>
                <a:lnTo>
                  <a:pt x="1417" y="3225"/>
                </a:lnTo>
                <a:lnTo>
                  <a:pt x="1422" y="3228"/>
                </a:lnTo>
                <a:lnTo>
                  <a:pt x="1426" y="3231"/>
                </a:lnTo>
                <a:lnTo>
                  <a:pt x="1430" y="3235"/>
                </a:lnTo>
                <a:lnTo>
                  <a:pt x="1433" y="3239"/>
                </a:lnTo>
                <a:lnTo>
                  <a:pt x="1436" y="3244"/>
                </a:lnTo>
                <a:lnTo>
                  <a:pt x="1437" y="3248"/>
                </a:lnTo>
                <a:lnTo>
                  <a:pt x="1438" y="3253"/>
                </a:lnTo>
                <a:lnTo>
                  <a:pt x="1437" y="3259"/>
                </a:lnTo>
                <a:lnTo>
                  <a:pt x="1436" y="3264"/>
                </a:lnTo>
                <a:lnTo>
                  <a:pt x="1433" y="3270"/>
                </a:lnTo>
                <a:lnTo>
                  <a:pt x="1429" y="3277"/>
                </a:lnTo>
                <a:lnTo>
                  <a:pt x="1421" y="3287"/>
                </a:lnTo>
                <a:lnTo>
                  <a:pt x="1408" y="3300"/>
                </a:lnTo>
                <a:lnTo>
                  <a:pt x="1379" y="3334"/>
                </a:lnTo>
                <a:lnTo>
                  <a:pt x="1349" y="3368"/>
                </a:lnTo>
                <a:lnTo>
                  <a:pt x="1336" y="3382"/>
                </a:lnTo>
                <a:lnTo>
                  <a:pt x="1327" y="3395"/>
                </a:lnTo>
                <a:lnTo>
                  <a:pt x="1325" y="3398"/>
                </a:lnTo>
                <a:lnTo>
                  <a:pt x="1323" y="3402"/>
                </a:lnTo>
                <a:lnTo>
                  <a:pt x="1322" y="3406"/>
                </a:lnTo>
                <a:lnTo>
                  <a:pt x="1322" y="3409"/>
                </a:lnTo>
                <a:lnTo>
                  <a:pt x="1322" y="3414"/>
                </a:lnTo>
                <a:lnTo>
                  <a:pt x="1323" y="3418"/>
                </a:lnTo>
                <a:lnTo>
                  <a:pt x="1326" y="3422"/>
                </a:lnTo>
                <a:lnTo>
                  <a:pt x="1329" y="3427"/>
                </a:lnTo>
                <a:lnTo>
                  <a:pt x="1336" y="3436"/>
                </a:lnTo>
                <a:lnTo>
                  <a:pt x="1346" y="3448"/>
                </a:lnTo>
                <a:lnTo>
                  <a:pt x="1375" y="3478"/>
                </a:lnTo>
                <a:lnTo>
                  <a:pt x="1407" y="3510"/>
                </a:lnTo>
                <a:lnTo>
                  <a:pt x="1439" y="3541"/>
                </a:lnTo>
                <a:lnTo>
                  <a:pt x="1440" y="3543"/>
                </a:lnTo>
                <a:lnTo>
                  <a:pt x="1442" y="3545"/>
                </a:lnTo>
                <a:lnTo>
                  <a:pt x="1443" y="3548"/>
                </a:lnTo>
                <a:lnTo>
                  <a:pt x="1443" y="3550"/>
                </a:lnTo>
                <a:lnTo>
                  <a:pt x="1442" y="3556"/>
                </a:lnTo>
                <a:lnTo>
                  <a:pt x="1441" y="3559"/>
                </a:lnTo>
                <a:lnTo>
                  <a:pt x="1440" y="3561"/>
                </a:lnTo>
                <a:lnTo>
                  <a:pt x="1436" y="3567"/>
                </a:lnTo>
                <a:lnTo>
                  <a:pt x="1434" y="3570"/>
                </a:lnTo>
                <a:lnTo>
                  <a:pt x="1432" y="3573"/>
                </a:lnTo>
                <a:lnTo>
                  <a:pt x="1426" y="3578"/>
                </a:lnTo>
                <a:lnTo>
                  <a:pt x="1423" y="3580"/>
                </a:lnTo>
                <a:lnTo>
                  <a:pt x="1420" y="3582"/>
                </a:lnTo>
                <a:lnTo>
                  <a:pt x="1414" y="3584"/>
                </a:lnTo>
                <a:lnTo>
                  <a:pt x="1411" y="3585"/>
                </a:lnTo>
                <a:lnTo>
                  <a:pt x="1408" y="3585"/>
                </a:lnTo>
                <a:close/>
                <a:moveTo>
                  <a:pt x="1187" y="4321"/>
                </a:moveTo>
                <a:lnTo>
                  <a:pt x="1191" y="4298"/>
                </a:lnTo>
                <a:lnTo>
                  <a:pt x="1193" y="4275"/>
                </a:lnTo>
                <a:lnTo>
                  <a:pt x="1194" y="4253"/>
                </a:lnTo>
                <a:lnTo>
                  <a:pt x="1194" y="4243"/>
                </a:lnTo>
                <a:lnTo>
                  <a:pt x="1194" y="4233"/>
                </a:lnTo>
                <a:lnTo>
                  <a:pt x="1195" y="4229"/>
                </a:lnTo>
                <a:lnTo>
                  <a:pt x="1196" y="4227"/>
                </a:lnTo>
                <a:lnTo>
                  <a:pt x="1199" y="4225"/>
                </a:lnTo>
                <a:lnTo>
                  <a:pt x="1201" y="4223"/>
                </a:lnTo>
                <a:lnTo>
                  <a:pt x="1208" y="4221"/>
                </a:lnTo>
                <a:lnTo>
                  <a:pt x="1212" y="4220"/>
                </a:lnTo>
                <a:lnTo>
                  <a:pt x="1216" y="4220"/>
                </a:lnTo>
                <a:lnTo>
                  <a:pt x="1223" y="4220"/>
                </a:lnTo>
                <a:lnTo>
                  <a:pt x="1227" y="4221"/>
                </a:lnTo>
                <a:lnTo>
                  <a:pt x="1231" y="4222"/>
                </a:lnTo>
                <a:lnTo>
                  <a:pt x="1236" y="4225"/>
                </a:lnTo>
                <a:lnTo>
                  <a:pt x="1239" y="4227"/>
                </a:lnTo>
                <a:lnTo>
                  <a:pt x="1241" y="4229"/>
                </a:lnTo>
                <a:lnTo>
                  <a:pt x="1245" y="4236"/>
                </a:lnTo>
                <a:lnTo>
                  <a:pt x="1247" y="4239"/>
                </a:lnTo>
                <a:lnTo>
                  <a:pt x="1248" y="4243"/>
                </a:lnTo>
                <a:lnTo>
                  <a:pt x="1249" y="4247"/>
                </a:lnTo>
                <a:lnTo>
                  <a:pt x="1250" y="4252"/>
                </a:lnTo>
                <a:lnTo>
                  <a:pt x="1251" y="4258"/>
                </a:lnTo>
                <a:lnTo>
                  <a:pt x="1251" y="4263"/>
                </a:lnTo>
                <a:lnTo>
                  <a:pt x="1250" y="4278"/>
                </a:lnTo>
                <a:lnTo>
                  <a:pt x="1250" y="4293"/>
                </a:lnTo>
                <a:lnTo>
                  <a:pt x="1247" y="4321"/>
                </a:lnTo>
                <a:lnTo>
                  <a:pt x="1187" y="4321"/>
                </a:lnTo>
                <a:close/>
                <a:moveTo>
                  <a:pt x="886" y="4321"/>
                </a:moveTo>
                <a:lnTo>
                  <a:pt x="888" y="4315"/>
                </a:lnTo>
                <a:lnTo>
                  <a:pt x="891" y="4310"/>
                </a:lnTo>
                <a:lnTo>
                  <a:pt x="897" y="4299"/>
                </a:lnTo>
                <a:lnTo>
                  <a:pt x="903" y="4287"/>
                </a:lnTo>
                <a:lnTo>
                  <a:pt x="910" y="4277"/>
                </a:lnTo>
                <a:lnTo>
                  <a:pt x="918" y="4267"/>
                </a:lnTo>
                <a:lnTo>
                  <a:pt x="926" y="4258"/>
                </a:lnTo>
                <a:lnTo>
                  <a:pt x="931" y="4254"/>
                </a:lnTo>
                <a:lnTo>
                  <a:pt x="935" y="4250"/>
                </a:lnTo>
                <a:lnTo>
                  <a:pt x="944" y="4243"/>
                </a:lnTo>
                <a:lnTo>
                  <a:pt x="949" y="4239"/>
                </a:lnTo>
                <a:lnTo>
                  <a:pt x="954" y="4236"/>
                </a:lnTo>
                <a:lnTo>
                  <a:pt x="964" y="4229"/>
                </a:lnTo>
                <a:lnTo>
                  <a:pt x="969" y="4226"/>
                </a:lnTo>
                <a:lnTo>
                  <a:pt x="974" y="4223"/>
                </a:lnTo>
                <a:lnTo>
                  <a:pt x="984" y="4219"/>
                </a:lnTo>
                <a:lnTo>
                  <a:pt x="996" y="4215"/>
                </a:lnTo>
                <a:lnTo>
                  <a:pt x="1007" y="4213"/>
                </a:lnTo>
                <a:lnTo>
                  <a:pt x="1013" y="4212"/>
                </a:lnTo>
                <a:lnTo>
                  <a:pt x="1019" y="4211"/>
                </a:lnTo>
                <a:lnTo>
                  <a:pt x="1030" y="4211"/>
                </a:lnTo>
                <a:lnTo>
                  <a:pt x="1041" y="4211"/>
                </a:lnTo>
                <a:lnTo>
                  <a:pt x="1045" y="4212"/>
                </a:lnTo>
                <a:lnTo>
                  <a:pt x="1051" y="4213"/>
                </a:lnTo>
                <a:lnTo>
                  <a:pt x="1056" y="4214"/>
                </a:lnTo>
                <a:lnTo>
                  <a:pt x="1060" y="4215"/>
                </a:lnTo>
                <a:lnTo>
                  <a:pt x="1069" y="4218"/>
                </a:lnTo>
                <a:lnTo>
                  <a:pt x="1077" y="4222"/>
                </a:lnTo>
                <a:lnTo>
                  <a:pt x="1084" y="4226"/>
                </a:lnTo>
                <a:lnTo>
                  <a:pt x="1091" y="4233"/>
                </a:lnTo>
                <a:lnTo>
                  <a:pt x="1097" y="4239"/>
                </a:lnTo>
                <a:lnTo>
                  <a:pt x="1099" y="4242"/>
                </a:lnTo>
                <a:lnTo>
                  <a:pt x="1102" y="4245"/>
                </a:lnTo>
                <a:lnTo>
                  <a:pt x="1107" y="4253"/>
                </a:lnTo>
                <a:lnTo>
                  <a:pt x="1112" y="4260"/>
                </a:lnTo>
                <a:lnTo>
                  <a:pt x="1115" y="4269"/>
                </a:lnTo>
                <a:lnTo>
                  <a:pt x="1118" y="4277"/>
                </a:lnTo>
                <a:lnTo>
                  <a:pt x="1120" y="4287"/>
                </a:lnTo>
                <a:lnTo>
                  <a:pt x="1121" y="4297"/>
                </a:lnTo>
                <a:lnTo>
                  <a:pt x="1121" y="4307"/>
                </a:lnTo>
                <a:lnTo>
                  <a:pt x="1121" y="4314"/>
                </a:lnTo>
                <a:lnTo>
                  <a:pt x="1120" y="4321"/>
                </a:lnTo>
                <a:lnTo>
                  <a:pt x="1063" y="4321"/>
                </a:lnTo>
                <a:lnTo>
                  <a:pt x="1065" y="4316"/>
                </a:lnTo>
                <a:lnTo>
                  <a:pt x="1067" y="4310"/>
                </a:lnTo>
                <a:lnTo>
                  <a:pt x="1067" y="4305"/>
                </a:lnTo>
                <a:lnTo>
                  <a:pt x="1068" y="4299"/>
                </a:lnTo>
                <a:lnTo>
                  <a:pt x="1067" y="4290"/>
                </a:lnTo>
                <a:lnTo>
                  <a:pt x="1065" y="4283"/>
                </a:lnTo>
                <a:lnTo>
                  <a:pt x="1063" y="4280"/>
                </a:lnTo>
                <a:lnTo>
                  <a:pt x="1062" y="4277"/>
                </a:lnTo>
                <a:lnTo>
                  <a:pt x="1059" y="4274"/>
                </a:lnTo>
                <a:lnTo>
                  <a:pt x="1057" y="4271"/>
                </a:lnTo>
                <a:lnTo>
                  <a:pt x="1051" y="4267"/>
                </a:lnTo>
                <a:lnTo>
                  <a:pt x="1047" y="4265"/>
                </a:lnTo>
                <a:lnTo>
                  <a:pt x="1043" y="4264"/>
                </a:lnTo>
                <a:lnTo>
                  <a:pt x="1035" y="4262"/>
                </a:lnTo>
                <a:lnTo>
                  <a:pt x="1031" y="4262"/>
                </a:lnTo>
                <a:lnTo>
                  <a:pt x="1027" y="4261"/>
                </a:lnTo>
                <a:lnTo>
                  <a:pt x="1021" y="4262"/>
                </a:lnTo>
                <a:lnTo>
                  <a:pt x="1016" y="4263"/>
                </a:lnTo>
                <a:lnTo>
                  <a:pt x="1005" y="4266"/>
                </a:lnTo>
                <a:lnTo>
                  <a:pt x="1000" y="4268"/>
                </a:lnTo>
                <a:lnTo>
                  <a:pt x="994" y="4271"/>
                </a:lnTo>
                <a:lnTo>
                  <a:pt x="983" y="4278"/>
                </a:lnTo>
                <a:lnTo>
                  <a:pt x="978" y="4282"/>
                </a:lnTo>
                <a:lnTo>
                  <a:pt x="973" y="4286"/>
                </a:lnTo>
                <a:lnTo>
                  <a:pt x="968" y="4292"/>
                </a:lnTo>
                <a:lnTo>
                  <a:pt x="963" y="4297"/>
                </a:lnTo>
                <a:lnTo>
                  <a:pt x="955" y="4308"/>
                </a:lnTo>
                <a:lnTo>
                  <a:pt x="947" y="4321"/>
                </a:lnTo>
                <a:lnTo>
                  <a:pt x="886" y="4321"/>
                </a:lnTo>
                <a:close/>
                <a:moveTo>
                  <a:pt x="1308" y="4321"/>
                </a:moveTo>
                <a:lnTo>
                  <a:pt x="1353" y="4271"/>
                </a:lnTo>
                <a:lnTo>
                  <a:pt x="1377" y="4244"/>
                </a:lnTo>
                <a:lnTo>
                  <a:pt x="1400" y="4216"/>
                </a:lnTo>
                <a:lnTo>
                  <a:pt x="1401" y="4216"/>
                </a:lnTo>
                <a:lnTo>
                  <a:pt x="1404" y="4215"/>
                </a:lnTo>
                <a:lnTo>
                  <a:pt x="1408" y="4216"/>
                </a:lnTo>
                <a:lnTo>
                  <a:pt x="1413" y="4217"/>
                </a:lnTo>
                <a:lnTo>
                  <a:pt x="1417" y="4219"/>
                </a:lnTo>
                <a:lnTo>
                  <a:pt x="1422" y="4221"/>
                </a:lnTo>
                <a:lnTo>
                  <a:pt x="1426" y="4224"/>
                </a:lnTo>
                <a:lnTo>
                  <a:pt x="1430" y="4228"/>
                </a:lnTo>
                <a:lnTo>
                  <a:pt x="1433" y="4233"/>
                </a:lnTo>
                <a:lnTo>
                  <a:pt x="1436" y="4238"/>
                </a:lnTo>
                <a:lnTo>
                  <a:pt x="1437" y="4243"/>
                </a:lnTo>
                <a:lnTo>
                  <a:pt x="1438" y="4247"/>
                </a:lnTo>
                <a:lnTo>
                  <a:pt x="1437" y="4253"/>
                </a:lnTo>
                <a:lnTo>
                  <a:pt x="1436" y="4258"/>
                </a:lnTo>
                <a:lnTo>
                  <a:pt x="1433" y="4264"/>
                </a:lnTo>
                <a:lnTo>
                  <a:pt x="1429" y="4270"/>
                </a:lnTo>
                <a:lnTo>
                  <a:pt x="1422" y="4279"/>
                </a:lnTo>
                <a:lnTo>
                  <a:pt x="1411" y="4292"/>
                </a:lnTo>
                <a:lnTo>
                  <a:pt x="1385" y="4321"/>
                </a:lnTo>
                <a:lnTo>
                  <a:pt x="1308" y="4321"/>
                </a:lnTo>
                <a:close/>
                <a:moveTo>
                  <a:pt x="4851" y="3591"/>
                </a:moveTo>
                <a:lnTo>
                  <a:pt x="4843" y="3591"/>
                </a:lnTo>
                <a:lnTo>
                  <a:pt x="4835" y="3590"/>
                </a:lnTo>
                <a:lnTo>
                  <a:pt x="4827" y="3589"/>
                </a:lnTo>
                <a:lnTo>
                  <a:pt x="4820" y="3587"/>
                </a:lnTo>
                <a:lnTo>
                  <a:pt x="4812" y="3585"/>
                </a:lnTo>
                <a:lnTo>
                  <a:pt x="4805" y="3583"/>
                </a:lnTo>
                <a:lnTo>
                  <a:pt x="4792" y="3577"/>
                </a:lnTo>
                <a:lnTo>
                  <a:pt x="4778" y="3569"/>
                </a:lnTo>
                <a:lnTo>
                  <a:pt x="4772" y="3565"/>
                </a:lnTo>
                <a:lnTo>
                  <a:pt x="4765" y="3560"/>
                </a:lnTo>
                <a:lnTo>
                  <a:pt x="4759" y="3555"/>
                </a:lnTo>
                <a:lnTo>
                  <a:pt x="4754" y="3550"/>
                </a:lnTo>
                <a:lnTo>
                  <a:pt x="4748" y="3545"/>
                </a:lnTo>
                <a:lnTo>
                  <a:pt x="4743" y="3539"/>
                </a:lnTo>
                <a:lnTo>
                  <a:pt x="4738" y="3533"/>
                </a:lnTo>
                <a:lnTo>
                  <a:pt x="4733" y="3527"/>
                </a:lnTo>
                <a:lnTo>
                  <a:pt x="4729" y="3520"/>
                </a:lnTo>
                <a:lnTo>
                  <a:pt x="4725" y="3513"/>
                </a:lnTo>
                <a:lnTo>
                  <a:pt x="4721" y="3505"/>
                </a:lnTo>
                <a:lnTo>
                  <a:pt x="4717" y="3498"/>
                </a:lnTo>
                <a:lnTo>
                  <a:pt x="4714" y="3490"/>
                </a:lnTo>
                <a:lnTo>
                  <a:pt x="4711" y="3482"/>
                </a:lnTo>
                <a:lnTo>
                  <a:pt x="4707" y="3474"/>
                </a:lnTo>
                <a:lnTo>
                  <a:pt x="4705" y="3466"/>
                </a:lnTo>
                <a:lnTo>
                  <a:pt x="4703" y="3458"/>
                </a:lnTo>
                <a:lnTo>
                  <a:pt x="4701" y="3448"/>
                </a:lnTo>
                <a:lnTo>
                  <a:pt x="4700" y="3439"/>
                </a:lnTo>
                <a:lnTo>
                  <a:pt x="4699" y="3431"/>
                </a:lnTo>
                <a:lnTo>
                  <a:pt x="4698" y="3422"/>
                </a:lnTo>
                <a:lnTo>
                  <a:pt x="4698" y="3412"/>
                </a:lnTo>
                <a:lnTo>
                  <a:pt x="4699" y="3394"/>
                </a:lnTo>
                <a:lnTo>
                  <a:pt x="4700" y="3384"/>
                </a:lnTo>
                <a:lnTo>
                  <a:pt x="4701" y="3374"/>
                </a:lnTo>
                <a:lnTo>
                  <a:pt x="4703" y="3365"/>
                </a:lnTo>
                <a:lnTo>
                  <a:pt x="4705" y="3357"/>
                </a:lnTo>
                <a:lnTo>
                  <a:pt x="4708" y="3348"/>
                </a:lnTo>
                <a:lnTo>
                  <a:pt x="4712" y="3339"/>
                </a:lnTo>
                <a:lnTo>
                  <a:pt x="4715" y="3330"/>
                </a:lnTo>
                <a:lnTo>
                  <a:pt x="4718" y="3322"/>
                </a:lnTo>
                <a:lnTo>
                  <a:pt x="4722" y="3314"/>
                </a:lnTo>
                <a:lnTo>
                  <a:pt x="4726" y="3306"/>
                </a:lnTo>
                <a:lnTo>
                  <a:pt x="4730" y="3298"/>
                </a:lnTo>
                <a:lnTo>
                  <a:pt x="4735" y="3291"/>
                </a:lnTo>
                <a:lnTo>
                  <a:pt x="4745" y="3277"/>
                </a:lnTo>
                <a:lnTo>
                  <a:pt x="4751" y="3269"/>
                </a:lnTo>
                <a:lnTo>
                  <a:pt x="4757" y="3263"/>
                </a:lnTo>
                <a:lnTo>
                  <a:pt x="4769" y="3252"/>
                </a:lnTo>
                <a:lnTo>
                  <a:pt x="4776" y="3247"/>
                </a:lnTo>
                <a:lnTo>
                  <a:pt x="4783" y="3242"/>
                </a:lnTo>
                <a:lnTo>
                  <a:pt x="4790" y="3237"/>
                </a:lnTo>
                <a:lnTo>
                  <a:pt x="4797" y="3233"/>
                </a:lnTo>
                <a:lnTo>
                  <a:pt x="4804" y="3230"/>
                </a:lnTo>
                <a:lnTo>
                  <a:pt x="4812" y="3227"/>
                </a:lnTo>
                <a:lnTo>
                  <a:pt x="4819" y="3224"/>
                </a:lnTo>
                <a:lnTo>
                  <a:pt x="4827" y="3222"/>
                </a:lnTo>
                <a:lnTo>
                  <a:pt x="4836" y="3220"/>
                </a:lnTo>
                <a:lnTo>
                  <a:pt x="4844" y="3219"/>
                </a:lnTo>
                <a:lnTo>
                  <a:pt x="4852" y="3218"/>
                </a:lnTo>
                <a:lnTo>
                  <a:pt x="4860" y="3218"/>
                </a:lnTo>
                <a:lnTo>
                  <a:pt x="4870" y="3218"/>
                </a:lnTo>
                <a:lnTo>
                  <a:pt x="4875" y="3219"/>
                </a:lnTo>
                <a:lnTo>
                  <a:pt x="4880" y="3219"/>
                </a:lnTo>
                <a:lnTo>
                  <a:pt x="4885" y="3220"/>
                </a:lnTo>
                <a:lnTo>
                  <a:pt x="4889" y="3222"/>
                </a:lnTo>
                <a:lnTo>
                  <a:pt x="4899" y="3225"/>
                </a:lnTo>
                <a:lnTo>
                  <a:pt x="4906" y="3229"/>
                </a:lnTo>
                <a:lnTo>
                  <a:pt x="4914" y="3233"/>
                </a:lnTo>
                <a:lnTo>
                  <a:pt x="4920" y="3239"/>
                </a:lnTo>
                <a:lnTo>
                  <a:pt x="4926" y="3245"/>
                </a:lnTo>
                <a:lnTo>
                  <a:pt x="4929" y="3248"/>
                </a:lnTo>
                <a:lnTo>
                  <a:pt x="4932" y="3251"/>
                </a:lnTo>
                <a:lnTo>
                  <a:pt x="4937" y="3258"/>
                </a:lnTo>
                <a:lnTo>
                  <a:pt x="4941" y="3266"/>
                </a:lnTo>
                <a:lnTo>
                  <a:pt x="4944" y="3276"/>
                </a:lnTo>
                <a:lnTo>
                  <a:pt x="4947" y="3284"/>
                </a:lnTo>
                <a:lnTo>
                  <a:pt x="4949" y="3293"/>
                </a:lnTo>
                <a:lnTo>
                  <a:pt x="4951" y="3303"/>
                </a:lnTo>
                <a:lnTo>
                  <a:pt x="4951" y="3313"/>
                </a:lnTo>
                <a:lnTo>
                  <a:pt x="4949" y="3325"/>
                </a:lnTo>
                <a:lnTo>
                  <a:pt x="4948" y="3333"/>
                </a:lnTo>
                <a:lnTo>
                  <a:pt x="4947" y="3339"/>
                </a:lnTo>
                <a:lnTo>
                  <a:pt x="4943" y="3351"/>
                </a:lnTo>
                <a:lnTo>
                  <a:pt x="4938" y="3362"/>
                </a:lnTo>
                <a:lnTo>
                  <a:pt x="4932" y="3373"/>
                </a:lnTo>
                <a:lnTo>
                  <a:pt x="4925" y="3384"/>
                </a:lnTo>
                <a:lnTo>
                  <a:pt x="4921" y="3389"/>
                </a:lnTo>
                <a:lnTo>
                  <a:pt x="4916" y="3395"/>
                </a:lnTo>
                <a:lnTo>
                  <a:pt x="4907" y="3404"/>
                </a:lnTo>
                <a:lnTo>
                  <a:pt x="4897" y="3413"/>
                </a:lnTo>
                <a:lnTo>
                  <a:pt x="4892" y="3416"/>
                </a:lnTo>
                <a:lnTo>
                  <a:pt x="4885" y="3420"/>
                </a:lnTo>
                <a:lnTo>
                  <a:pt x="4874" y="3427"/>
                </a:lnTo>
                <a:lnTo>
                  <a:pt x="4863" y="3432"/>
                </a:lnTo>
                <a:lnTo>
                  <a:pt x="4850" y="3437"/>
                </a:lnTo>
                <a:lnTo>
                  <a:pt x="4844" y="3439"/>
                </a:lnTo>
                <a:lnTo>
                  <a:pt x="4838" y="3440"/>
                </a:lnTo>
                <a:lnTo>
                  <a:pt x="4832" y="3441"/>
                </a:lnTo>
                <a:lnTo>
                  <a:pt x="4825" y="3442"/>
                </a:lnTo>
                <a:lnTo>
                  <a:pt x="4812" y="3443"/>
                </a:lnTo>
                <a:lnTo>
                  <a:pt x="4807" y="3442"/>
                </a:lnTo>
                <a:lnTo>
                  <a:pt x="4802" y="3441"/>
                </a:lnTo>
                <a:lnTo>
                  <a:pt x="4797" y="3438"/>
                </a:lnTo>
                <a:lnTo>
                  <a:pt x="4795" y="3436"/>
                </a:lnTo>
                <a:lnTo>
                  <a:pt x="4793" y="3434"/>
                </a:lnTo>
                <a:lnTo>
                  <a:pt x="4790" y="3429"/>
                </a:lnTo>
                <a:lnTo>
                  <a:pt x="4788" y="3424"/>
                </a:lnTo>
                <a:lnTo>
                  <a:pt x="4787" y="3421"/>
                </a:lnTo>
                <a:lnTo>
                  <a:pt x="4786" y="3418"/>
                </a:lnTo>
                <a:lnTo>
                  <a:pt x="4786" y="3412"/>
                </a:lnTo>
                <a:lnTo>
                  <a:pt x="4786" y="3409"/>
                </a:lnTo>
                <a:lnTo>
                  <a:pt x="4786" y="3406"/>
                </a:lnTo>
                <a:lnTo>
                  <a:pt x="4787" y="3401"/>
                </a:lnTo>
                <a:lnTo>
                  <a:pt x="4788" y="3399"/>
                </a:lnTo>
                <a:lnTo>
                  <a:pt x="4790" y="3397"/>
                </a:lnTo>
                <a:lnTo>
                  <a:pt x="4791" y="3396"/>
                </a:lnTo>
                <a:lnTo>
                  <a:pt x="4793" y="3395"/>
                </a:lnTo>
                <a:lnTo>
                  <a:pt x="4804" y="3393"/>
                </a:lnTo>
                <a:lnTo>
                  <a:pt x="4814" y="3389"/>
                </a:lnTo>
                <a:lnTo>
                  <a:pt x="4824" y="3386"/>
                </a:lnTo>
                <a:lnTo>
                  <a:pt x="4835" y="3382"/>
                </a:lnTo>
                <a:lnTo>
                  <a:pt x="4844" y="3377"/>
                </a:lnTo>
                <a:lnTo>
                  <a:pt x="4852" y="3372"/>
                </a:lnTo>
                <a:lnTo>
                  <a:pt x="4860" y="3367"/>
                </a:lnTo>
                <a:lnTo>
                  <a:pt x="4864" y="3364"/>
                </a:lnTo>
                <a:lnTo>
                  <a:pt x="4868" y="3361"/>
                </a:lnTo>
                <a:lnTo>
                  <a:pt x="4874" y="3354"/>
                </a:lnTo>
                <a:lnTo>
                  <a:pt x="4880" y="3348"/>
                </a:lnTo>
                <a:lnTo>
                  <a:pt x="4885" y="3341"/>
                </a:lnTo>
                <a:lnTo>
                  <a:pt x="4889" y="3334"/>
                </a:lnTo>
                <a:lnTo>
                  <a:pt x="4893" y="3326"/>
                </a:lnTo>
                <a:lnTo>
                  <a:pt x="4896" y="3319"/>
                </a:lnTo>
                <a:lnTo>
                  <a:pt x="4897" y="3312"/>
                </a:lnTo>
                <a:lnTo>
                  <a:pt x="4898" y="3305"/>
                </a:lnTo>
                <a:lnTo>
                  <a:pt x="4897" y="3297"/>
                </a:lnTo>
                <a:lnTo>
                  <a:pt x="4895" y="3290"/>
                </a:lnTo>
                <a:lnTo>
                  <a:pt x="4893" y="3286"/>
                </a:lnTo>
                <a:lnTo>
                  <a:pt x="4891" y="3283"/>
                </a:lnTo>
                <a:lnTo>
                  <a:pt x="4888" y="3281"/>
                </a:lnTo>
                <a:lnTo>
                  <a:pt x="4886" y="3278"/>
                </a:lnTo>
                <a:lnTo>
                  <a:pt x="4880" y="3274"/>
                </a:lnTo>
                <a:lnTo>
                  <a:pt x="4877" y="3272"/>
                </a:lnTo>
                <a:lnTo>
                  <a:pt x="4873" y="3270"/>
                </a:lnTo>
                <a:lnTo>
                  <a:pt x="4865" y="3268"/>
                </a:lnTo>
                <a:lnTo>
                  <a:pt x="4861" y="3267"/>
                </a:lnTo>
                <a:lnTo>
                  <a:pt x="4856" y="3267"/>
                </a:lnTo>
                <a:lnTo>
                  <a:pt x="4848" y="3268"/>
                </a:lnTo>
                <a:lnTo>
                  <a:pt x="4843" y="3269"/>
                </a:lnTo>
                <a:lnTo>
                  <a:pt x="4839" y="3270"/>
                </a:lnTo>
                <a:lnTo>
                  <a:pt x="4834" y="3273"/>
                </a:lnTo>
                <a:lnTo>
                  <a:pt x="4829" y="3275"/>
                </a:lnTo>
                <a:lnTo>
                  <a:pt x="4825" y="3277"/>
                </a:lnTo>
                <a:lnTo>
                  <a:pt x="4820" y="3279"/>
                </a:lnTo>
                <a:lnTo>
                  <a:pt x="4816" y="3282"/>
                </a:lnTo>
                <a:lnTo>
                  <a:pt x="4812" y="3285"/>
                </a:lnTo>
                <a:lnTo>
                  <a:pt x="4803" y="3292"/>
                </a:lnTo>
                <a:lnTo>
                  <a:pt x="4796" y="3300"/>
                </a:lnTo>
                <a:lnTo>
                  <a:pt x="4788" y="3309"/>
                </a:lnTo>
                <a:lnTo>
                  <a:pt x="4785" y="3314"/>
                </a:lnTo>
                <a:lnTo>
                  <a:pt x="4781" y="3319"/>
                </a:lnTo>
                <a:lnTo>
                  <a:pt x="4775" y="3330"/>
                </a:lnTo>
                <a:lnTo>
                  <a:pt x="4768" y="3343"/>
                </a:lnTo>
                <a:lnTo>
                  <a:pt x="4764" y="3355"/>
                </a:lnTo>
                <a:lnTo>
                  <a:pt x="4760" y="3368"/>
                </a:lnTo>
                <a:lnTo>
                  <a:pt x="4757" y="3381"/>
                </a:lnTo>
                <a:lnTo>
                  <a:pt x="4755" y="3396"/>
                </a:lnTo>
                <a:lnTo>
                  <a:pt x="4755" y="3403"/>
                </a:lnTo>
                <a:lnTo>
                  <a:pt x="4755" y="3410"/>
                </a:lnTo>
                <a:lnTo>
                  <a:pt x="4755" y="3423"/>
                </a:lnTo>
                <a:lnTo>
                  <a:pt x="4756" y="3435"/>
                </a:lnTo>
                <a:lnTo>
                  <a:pt x="4759" y="3446"/>
                </a:lnTo>
                <a:lnTo>
                  <a:pt x="4760" y="3453"/>
                </a:lnTo>
                <a:lnTo>
                  <a:pt x="4762" y="3458"/>
                </a:lnTo>
                <a:lnTo>
                  <a:pt x="4765" y="3469"/>
                </a:lnTo>
                <a:lnTo>
                  <a:pt x="4767" y="3474"/>
                </a:lnTo>
                <a:lnTo>
                  <a:pt x="4771" y="3479"/>
                </a:lnTo>
                <a:lnTo>
                  <a:pt x="4773" y="3483"/>
                </a:lnTo>
                <a:lnTo>
                  <a:pt x="4776" y="3488"/>
                </a:lnTo>
                <a:lnTo>
                  <a:pt x="4779" y="3492"/>
                </a:lnTo>
                <a:lnTo>
                  <a:pt x="4782" y="3496"/>
                </a:lnTo>
                <a:lnTo>
                  <a:pt x="4785" y="3500"/>
                </a:lnTo>
                <a:lnTo>
                  <a:pt x="4788" y="3503"/>
                </a:lnTo>
                <a:lnTo>
                  <a:pt x="4796" y="3510"/>
                </a:lnTo>
                <a:lnTo>
                  <a:pt x="4804" y="3517"/>
                </a:lnTo>
                <a:lnTo>
                  <a:pt x="4812" y="3522"/>
                </a:lnTo>
                <a:lnTo>
                  <a:pt x="4821" y="3525"/>
                </a:lnTo>
                <a:lnTo>
                  <a:pt x="4832" y="3528"/>
                </a:lnTo>
                <a:lnTo>
                  <a:pt x="4842" y="3530"/>
                </a:lnTo>
                <a:lnTo>
                  <a:pt x="4847" y="3530"/>
                </a:lnTo>
                <a:lnTo>
                  <a:pt x="4853" y="3530"/>
                </a:lnTo>
                <a:lnTo>
                  <a:pt x="4863" y="3530"/>
                </a:lnTo>
                <a:lnTo>
                  <a:pt x="4873" y="3528"/>
                </a:lnTo>
                <a:lnTo>
                  <a:pt x="4883" y="3526"/>
                </a:lnTo>
                <a:lnTo>
                  <a:pt x="4894" y="3523"/>
                </a:lnTo>
                <a:lnTo>
                  <a:pt x="4903" y="3518"/>
                </a:lnTo>
                <a:lnTo>
                  <a:pt x="4912" y="3513"/>
                </a:lnTo>
                <a:lnTo>
                  <a:pt x="4921" y="3507"/>
                </a:lnTo>
                <a:lnTo>
                  <a:pt x="4929" y="3500"/>
                </a:lnTo>
                <a:lnTo>
                  <a:pt x="4937" y="3493"/>
                </a:lnTo>
                <a:lnTo>
                  <a:pt x="4944" y="3485"/>
                </a:lnTo>
                <a:lnTo>
                  <a:pt x="4953" y="3476"/>
                </a:lnTo>
                <a:lnTo>
                  <a:pt x="4960" y="3467"/>
                </a:lnTo>
                <a:lnTo>
                  <a:pt x="4973" y="3447"/>
                </a:lnTo>
                <a:lnTo>
                  <a:pt x="4979" y="3437"/>
                </a:lnTo>
                <a:lnTo>
                  <a:pt x="4984" y="3426"/>
                </a:lnTo>
                <a:lnTo>
                  <a:pt x="4989" y="3415"/>
                </a:lnTo>
                <a:lnTo>
                  <a:pt x="4994" y="3404"/>
                </a:lnTo>
                <a:lnTo>
                  <a:pt x="4999" y="3392"/>
                </a:lnTo>
                <a:lnTo>
                  <a:pt x="5003" y="3379"/>
                </a:lnTo>
                <a:lnTo>
                  <a:pt x="5007" y="3367"/>
                </a:lnTo>
                <a:lnTo>
                  <a:pt x="5011" y="3355"/>
                </a:lnTo>
                <a:lnTo>
                  <a:pt x="5014" y="3343"/>
                </a:lnTo>
                <a:lnTo>
                  <a:pt x="5017" y="3330"/>
                </a:lnTo>
                <a:lnTo>
                  <a:pt x="5019" y="3318"/>
                </a:lnTo>
                <a:lnTo>
                  <a:pt x="5021" y="3307"/>
                </a:lnTo>
                <a:lnTo>
                  <a:pt x="5022" y="3295"/>
                </a:lnTo>
                <a:lnTo>
                  <a:pt x="5023" y="3283"/>
                </a:lnTo>
                <a:lnTo>
                  <a:pt x="5024" y="3272"/>
                </a:lnTo>
                <a:lnTo>
                  <a:pt x="5024" y="3260"/>
                </a:lnTo>
                <a:lnTo>
                  <a:pt x="5024" y="3249"/>
                </a:lnTo>
                <a:lnTo>
                  <a:pt x="5024" y="3239"/>
                </a:lnTo>
                <a:lnTo>
                  <a:pt x="5025" y="3236"/>
                </a:lnTo>
                <a:lnTo>
                  <a:pt x="5026" y="3234"/>
                </a:lnTo>
                <a:lnTo>
                  <a:pt x="5028" y="3232"/>
                </a:lnTo>
                <a:lnTo>
                  <a:pt x="5031" y="3230"/>
                </a:lnTo>
                <a:lnTo>
                  <a:pt x="5038" y="3227"/>
                </a:lnTo>
                <a:lnTo>
                  <a:pt x="5042" y="3227"/>
                </a:lnTo>
                <a:lnTo>
                  <a:pt x="5046" y="3226"/>
                </a:lnTo>
                <a:lnTo>
                  <a:pt x="5053" y="3227"/>
                </a:lnTo>
                <a:lnTo>
                  <a:pt x="5056" y="3228"/>
                </a:lnTo>
                <a:lnTo>
                  <a:pt x="5060" y="3229"/>
                </a:lnTo>
                <a:lnTo>
                  <a:pt x="5065" y="3231"/>
                </a:lnTo>
                <a:lnTo>
                  <a:pt x="5068" y="3233"/>
                </a:lnTo>
                <a:lnTo>
                  <a:pt x="5071" y="3236"/>
                </a:lnTo>
                <a:lnTo>
                  <a:pt x="5075" y="3241"/>
                </a:lnTo>
                <a:lnTo>
                  <a:pt x="5077" y="3245"/>
                </a:lnTo>
                <a:lnTo>
                  <a:pt x="5078" y="3249"/>
                </a:lnTo>
                <a:lnTo>
                  <a:pt x="5079" y="3253"/>
                </a:lnTo>
                <a:lnTo>
                  <a:pt x="5080" y="3258"/>
                </a:lnTo>
                <a:lnTo>
                  <a:pt x="5081" y="3263"/>
                </a:lnTo>
                <a:lnTo>
                  <a:pt x="5081" y="3269"/>
                </a:lnTo>
                <a:lnTo>
                  <a:pt x="5080" y="3286"/>
                </a:lnTo>
                <a:lnTo>
                  <a:pt x="5079" y="3301"/>
                </a:lnTo>
                <a:lnTo>
                  <a:pt x="5078" y="3316"/>
                </a:lnTo>
                <a:lnTo>
                  <a:pt x="5076" y="3333"/>
                </a:lnTo>
                <a:lnTo>
                  <a:pt x="5073" y="3347"/>
                </a:lnTo>
                <a:lnTo>
                  <a:pt x="5069" y="3362"/>
                </a:lnTo>
                <a:lnTo>
                  <a:pt x="5066" y="3377"/>
                </a:lnTo>
                <a:lnTo>
                  <a:pt x="5062" y="3392"/>
                </a:lnTo>
                <a:lnTo>
                  <a:pt x="5057" y="3406"/>
                </a:lnTo>
                <a:lnTo>
                  <a:pt x="5053" y="3419"/>
                </a:lnTo>
                <a:lnTo>
                  <a:pt x="5047" y="3432"/>
                </a:lnTo>
                <a:lnTo>
                  <a:pt x="5042" y="3445"/>
                </a:lnTo>
                <a:lnTo>
                  <a:pt x="5036" y="3459"/>
                </a:lnTo>
                <a:lnTo>
                  <a:pt x="5029" y="3471"/>
                </a:lnTo>
                <a:lnTo>
                  <a:pt x="5022" y="3482"/>
                </a:lnTo>
                <a:lnTo>
                  <a:pt x="5015" y="3493"/>
                </a:lnTo>
                <a:lnTo>
                  <a:pt x="5006" y="3504"/>
                </a:lnTo>
                <a:lnTo>
                  <a:pt x="4998" y="3515"/>
                </a:lnTo>
                <a:lnTo>
                  <a:pt x="4990" y="3525"/>
                </a:lnTo>
                <a:lnTo>
                  <a:pt x="4981" y="3534"/>
                </a:lnTo>
                <a:lnTo>
                  <a:pt x="4972" y="3542"/>
                </a:lnTo>
                <a:lnTo>
                  <a:pt x="4963" y="3550"/>
                </a:lnTo>
                <a:lnTo>
                  <a:pt x="4953" y="3557"/>
                </a:lnTo>
                <a:lnTo>
                  <a:pt x="4942" y="3564"/>
                </a:lnTo>
                <a:lnTo>
                  <a:pt x="4932" y="3570"/>
                </a:lnTo>
                <a:lnTo>
                  <a:pt x="4921" y="3576"/>
                </a:lnTo>
                <a:lnTo>
                  <a:pt x="4910" y="3580"/>
                </a:lnTo>
                <a:lnTo>
                  <a:pt x="4899" y="3584"/>
                </a:lnTo>
                <a:lnTo>
                  <a:pt x="4886" y="3587"/>
                </a:lnTo>
                <a:lnTo>
                  <a:pt x="4875" y="3589"/>
                </a:lnTo>
                <a:lnTo>
                  <a:pt x="4863" y="3590"/>
                </a:lnTo>
                <a:lnTo>
                  <a:pt x="4851" y="3591"/>
                </a:lnTo>
                <a:close/>
                <a:moveTo>
                  <a:pt x="5237" y="3585"/>
                </a:moveTo>
                <a:lnTo>
                  <a:pt x="5236" y="3585"/>
                </a:lnTo>
                <a:lnTo>
                  <a:pt x="5233" y="3584"/>
                </a:lnTo>
                <a:lnTo>
                  <a:pt x="5228" y="3581"/>
                </a:lnTo>
                <a:lnTo>
                  <a:pt x="5222" y="3577"/>
                </a:lnTo>
                <a:lnTo>
                  <a:pt x="5214" y="3572"/>
                </a:lnTo>
                <a:lnTo>
                  <a:pt x="5202" y="3560"/>
                </a:lnTo>
                <a:lnTo>
                  <a:pt x="5186" y="3546"/>
                </a:lnTo>
                <a:lnTo>
                  <a:pt x="5169" y="3530"/>
                </a:lnTo>
                <a:lnTo>
                  <a:pt x="5153" y="3513"/>
                </a:lnTo>
                <a:lnTo>
                  <a:pt x="5137" y="3495"/>
                </a:lnTo>
                <a:lnTo>
                  <a:pt x="5122" y="3479"/>
                </a:lnTo>
                <a:lnTo>
                  <a:pt x="5110" y="3464"/>
                </a:lnTo>
                <a:lnTo>
                  <a:pt x="5106" y="3458"/>
                </a:lnTo>
                <a:lnTo>
                  <a:pt x="5103" y="3453"/>
                </a:lnTo>
                <a:lnTo>
                  <a:pt x="5097" y="3442"/>
                </a:lnTo>
                <a:lnTo>
                  <a:pt x="5094" y="3432"/>
                </a:lnTo>
                <a:lnTo>
                  <a:pt x="5091" y="3422"/>
                </a:lnTo>
                <a:lnTo>
                  <a:pt x="5090" y="3412"/>
                </a:lnTo>
                <a:lnTo>
                  <a:pt x="5091" y="3407"/>
                </a:lnTo>
                <a:lnTo>
                  <a:pt x="5091" y="3401"/>
                </a:lnTo>
                <a:lnTo>
                  <a:pt x="5093" y="3395"/>
                </a:lnTo>
                <a:lnTo>
                  <a:pt x="5095" y="3388"/>
                </a:lnTo>
                <a:lnTo>
                  <a:pt x="5097" y="3382"/>
                </a:lnTo>
                <a:lnTo>
                  <a:pt x="5101" y="3376"/>
                </a:lnTo>
                <a:lnTo>
                  <a:pt x="5104" y="3369"/>
                </a:lnTo>
                <a:lnTo>
                  <a:pt x="5109" y="3362"/>
                </a:lnTo>
                <a:lnTo>
                  <a:pt x="5117" y="3351"/>
                </a:lnTo>
                <a:lnTo>
                  <a:pt x="5128" y="3338"/>
                </a:lnTo>
                <a:lnTo>
                  <a:pt x="5159" y="3303"/>
                </a:lnTo>
                <a:lnTo>
                  <a:pt x="5195" y="3263"/>
                </a:lnTo>
                <a:lnTo>
                  <a:pt x="5230" y="3223"/>
                </a:lnTo>
                <a:lnTo>
                  <a:pt x="5231" y="3222"/>
                </a:lnTo>
                <a:lnTo>
                  <a:pt x="5234" y="3222"/>
                </a:lnTo>
                <a:lnTo>
                  <a:pt x="5238" y="3222"/>
                </a:lnTo>
                <a:lnTo>
                  <a:pt x="5242" y="3223"/>
                </a:lnTo>
                <a:lnTo>
                  <a:pt x="5246" y="3225"/>
                </a:lnTo>
                <a:lnTo>
                  <a:pt x="5252" y="3228"/>
                </a:lnTo>
                <a:lnTo>
                  <a:pt x="5256" y="3231"/>
                </a:lnTo>
                <a:lnTo>
                  <a:pt x="5260" y="3235"/>
                </a:lnTo>
                <a:lnTo>
                  <a:pt x="5263" y="3239"/>
                </a:lnTo>
                <a:lnTo>
                  <a:pt x="5266" y="3244"/>
                </a:lnTo>
                <a:lnTo>
                  <a:pt x="5267" y="3248"/>
                </a:lnTo>
                <a:lnTo>
                  <a:pt x="5268" y="3253"/>
                </a:lnTo>
                <a:lnTo>
                  <a:pt x="5267" y="3259"/>
                </a:lnTo>
                <a:lnTo>
                  <a:pt x="5265" y="3264"/>
                </a:lnTo>
                <a:lnTo>
                  <a:pt x="5263" y="3270"/>
                </a:lnTo>
                <a:lnTo>
                  <a:pt x="5259" y="3277"/>
                </a:lnTo>
                <a:lnTo>
                  <a:pt x="5251" y="3287"/>
                </a:lnTo>
                <a:lnTo>
                  <a:pt x="5238" y="3300"/>
                </a:lnTo>
                <a:lnTo>
                  <a:pt x="5209" y="3334"/>
                </a:lnTo>
                <a:lnTo>
                  <a:pt x="5179" y="3368"/>
                </a:lnTo>
                <a:lnTo>
                  <a:pt x="5166" y="3382"/>
                </a:lnTo>
                <a:lnTo>
                  <a:pt x="5157" y="3395"/>
                </a:lnTo>
                <a:lnTo>
                  <a:pt x="5155" y="3398"/>
                </a:lnTo>
                <a:lnTo>
                  <a:pt x="5153" y="3402"/>
                </a:lnTo>
                <a:lnTo>
                  <a:pt x="5152" y="3406"/>
                </a:lnTo>
                <a:lnTo>
                  <a:pt x="5151" y="3409"/>
                </a:lnTo>
                <a:lnTo>
                  <a:pt x="5152" y="3414"/>
                </a:lnTo>
                <a:lnTo>
                  <a:pt x="5153" y="3418"/>
                </a:lnTo>
                <a:lnTo>
                  <a:pt x="5155" y="3422"/>
                </a:lnTo>
                <a:lnTo>
                  <a:pt x="5158" y="3427"/>
                </a:lnTo>
                <a:lnTo>
                  <a:pt x="5166" y="3436"/>
                </a:lnTo>
                <a:lnTo>
                  <a:pt x="5176" y="3448"/>
                </a:lnTo>
                <a:lnTo>
                  <a:pt x="5205" y="3478"/>
                </a:lnTo>
                <a:lnTo>
                  <a:pt x="5236" y="3510"/>
                </a:lnTo>
                <a:lnTo>
                  <a:pt x="5268" y="3541"/>
                </a:lnTo>
                <a:lnTo>
                  <a:pt x="5270" y="3543"/>
                </a:lnTo>
                <a:lnTo>
                  <a:pt x="5272" y="3545"/>
                </a:lnTo>
                <a:lnTo>
                  <a:pt x="5273" y="3548"/>
                </a:lnTo>
                <a:lnTo>
                  <a:pt x="5273" y="3550"/>
                </a:lnTo>
                <a:lnTo>
                  <a:pt x="5272" y="3556"/>
                </a:lnTo>
                <a:lnTo>
                  <a:pt x="5271" y="3559"/>
                </a:lnTo>
                <a:lnTo>
                  <a:pt x="5270" y="3561"/>
                </a:lnTo>
                <a:lnTo>
                  <a:pt x="5266" y="3567"/>
                </a:lnTo>
                <a:lnTo>
                  <a:pt x="5264" y="3570"/>
                </a:lnTo>
                <a:lnTo>
                  <a:pt x="5261" y="3573"/>
                </a:lnTo>
                <a:lnTo>
                  <a:pt x="5256" y="3578"/>
                </a:lnTo>
                <a:lnTo>
                  <a:pt x="5253" y="3580"/>
                </a:lnTo>
                <a:lnTo>
                  <a:pt x="5249" y="3582"/>
                </a:lnTo>
                <a:lnTo>
                  <a:pt x="5243" y="3584"/>
                </a:lnTo>
                <a:lnTo>
                  <a:pt x="5240" y="3585"/>
                </a:lnTo>
                <a:lnTo>
                  <a:pt x="5237" y="3585"/>
                </a:lnTo>
                <a:close/>
                <a:moveTo>
                  <a:pt x="5017" y="4321"/>
                </a:moveTo>
                <a:lnTo>
                  <a:pt x="5021" y="4298"/>
                </a:lnTo>
                <a:lnTo>
                  <a:pt x="5023" y="4275"/>
                </a:lnTo>
                <a:lnTo>
                  <a:pt x="5024" y="4253"/>
                </a:lnTo>
                <a:lnTo>
                  <a:pt x="5024" y="4243"/>
                </a:lnTo>
                <a:lnTo>
                  <a:pt x="5024" y="4233"/>
                </a:lnTo>
                <a:lnTo>
                  <a:pt x="5025" y="4229"/>
                </a:lnTo>
                <a:lnTo>
                  <a:pt x="5026" y="4227"/>
                </a:lnTo>
                <a:lnTo>
                  <a:pt x="5028" y="4225"/>
                </a:lnTo>
                <a:lnTo>
                  <a:pt x="5031" y="4223"/>
                </a:lnTo>
                <a:lnTo>
                  <a:pt x="5038" y="4221"/>
                </a:lnTo>
                <a:lnTo>
                  <a:pt x="5042" y="4220"/>
                </a:lnTo>
                <a:lnTo>
                  <a:pt x="5046" y="4220"/>
                </a:lnTo>
                <a:lnTo>
                  <a:pt x="5053" y="4220"/>
                </a:lnTo>
                <a:lnTo>
                  <a:pt x="5056" y="4221"/>
                </a:lnTo>
                <a:lnTo>
                  <a:pt x="5060" y="4222"/>
                </a:lnTo>
                <a:lnTo>
                  <a:pt x="5065" y="4225"/>
                </a:lnTo>
                <a:lnTo>
                  <a:pt x="5068" y="4227"/>
                </a:lnTo>
                <a:lnTo>
                  <a:pt x="5071" y="4229"/>
                </a:lnTo>
                <a:lnTo>
                  <a:pt x="5075" y="4236"/>
                </a:lnTo>
                <a:lnTo>
                  <a:pt x="5077" y="4239"/>
                </a:lnTo>
                <a:lnTo>
                  <a:pt x="5078" y="4243"/>
                </a:lnTo>
                <a:lnTo>
                  <a:pt x="5079" y="4247"/>
                </a:lnTo>
                <a:lnTo>
                  <a:pt x="5080" y="4252"/>
                </a:lnTo>
                <a:lnTo>
                  <a:pt x="5081" y="4258"/>
                </a:lnTo>
                <a:lnTo>
                  <a:pt x="5081" y="4263"/>
                </a:lnTo>
                <a:lnTo>
                  <a:pt x="5080" y="4278"/>
                </a:lnTo>
                <a:lnTo>
                  <a:pt x="5079" y="4293"/>
                </a:lnTo>
                <a:lnTo>
                  <a:pt x="5076" y="4321"/>
                </a:lnTo>
                <a:lnTo>
                  <a:pt x="5017" y="4321"/>
                </a:lnTo>
                <a:close/>
                <a:moveTo>
                  <a:pt x="4716" y="4321"/>
                </a:moveTo>
                <a:lnTo>
                  <a:pt x="4718" y="4315"/>
                </a:lnTo>
                <a:lnTo>
                  <a:pt x="4721" y="4310"/>
                </a:lnTo>
                <a:lnTo>
                  <a:pt x="4727" y="4299"/>
                </a:lnTo>
                <a:lnTo>
                  <a:pt x="4733" y="4287"/>
                </a:lnTo>
                <a:lnTo>
                  <a:pt x="4740" y="4277"/>
                </a:lnTo>
                <a:lnTo>
                  <a:pt x="4748" y="4267"/>
                </a:lnTo>
                <a:lnTo>
                  <a:pt x="4756" y="4258"/>
                </a:lnTo>
                <a:lnTo>
                  <a:pt x="4760" y="4254"/>
                </a:lnTo>
                <a:lnTo>
                  <a:pt x="4764" y="4250"/>
                </a:lnTo>
                <a:lnTo>
                  <a:pt x="4774" y="4243"/>
                </a:lnTo>
                <a:lnTo>
                  <a:pt x="4779" y="4239"/>
                </a:lnTo>
                <a:lnTo>
                  <a:pt x="4784" y="4236"/>
                </a:lnTo>
                <a:lnTo>
                  <a:pt x="4793" y="4229"/>
                </a:lnTo>
                <a:lnTo>
                  <a:pt x="4798" y="4226"/>
                </a:lnTo>
                <a:lnTo>
                  <a:pt x="4804" y="4223"/>
                </a:lnTo>
                <a:lnTo>
                  <a:pt x="4814" y="4219"/>
                </a:lnTo>
                <a:lnTo>
                  <a:pt x="4825" y="4215"/>
                </a:lnTo>
                <a:lnTo>
                  <a:pt x="4837" y="4213"/>
                </a:lnTo>
                <a:lnTo>
                  <a:pt x="4843" y="4212"/>
                </a:lnTo>
                <a:lnTo>
                  <a:pt x="4849" y="4211"/>
                </a:lnTo>
                <a:lnTo>
                  <a:pt x="4860" y="4211"/>
                </a:lnTo>
                <a:lnTo>
                  <a:pt x="4870" y="4211"/>
                </a:lnTo>
                <a:lnTo>
                  <a:pt x="4875" y="4212"/>
                </a:lnTo>
                <a:lnTo>
                  <a:pt x="4880" y="4213"/>
                </a:lnTo>
                <a:lnTo>
                  <a:pt x="4885" y="4214"/>
                </a:lnTo>
                <a:lnTo>
                  <a:pt x="4889" y="4215"/>
                </a:lnTo>
                <a:lnTo>
                  <a:pt x="4899" y="4218"/>
                </a:lnTo>
                <a:lnTo>
                  <a:pt x="4906" y="4222"/>
                </a:lnTo>
                <a:lnTo>
                  <a:pt x="4914" y="4226"/>
                </a:lnTo>
                <a:lnTo>
                  <a:pt x="4920" y="4233"/>
                </a:lnTo>
                <a:lnTo>
                  <a:pt x="4926" y="4239"/>
                </a:lnTo>
                <a:lnTo>
                  <a:pt x="4929" y="4242"/>
                </a:lnTo>
                <a:lnTo>
                  <a:pt x="4932" y="4245"/>
                </a:lnTo>
                <a:lnTo>
                  <a:pt x="4937" y="4253"/>
                </a:lnTo>
                <a:lnTo>
                  <a:pt x="4941" y="4260"/>
                </a:lnTo>
                <a:lnTo>
                  <a:pt x="4944" y="4269"/>
                </a:lnTo>
                <a:lnTo>
                  <a:pt x="4947" y="4277"/>
                </a:lnTo>
                <a:lnTo>
                  <a:pt x="4949" y="4287"/>
                </a:lnTo>
                <a:lnTo>
                  <a:pt x="4951" y="4297"/>
                </a:lnTo>
                <a:lnTo>
                  <a:pt x="4951" y="4307"/>
                </a:lnTo>
                <a:lnTo>
                  <a:pt x="4951" y="4314"/>
                </a:lnTo>
                <a:lnTo>
                  <a:pt x="4949" y="4321"/>
                </a:lnTo>
                <a:lnTo>
                  <a:pt x="4893" y="4321"/>
                </a:lnTo>
                <a:lnTo>
                  <a:pt x="4895" y="4316"/>
                </a:lnTo>
                <a:lnTo>
                  <a:pt x="4896" y="4310"/>
                </a:lnTo>
                <a:lnTo>
                  <a:pt x="4897" y="4305"/>
                </a:lnTo>
                <a:lnTo>
                  <a:pt x="4898" y="4299"/>
                </a:lnTo>
                <a:lnTo>
                  <a:pt x="4897" y="4290"/>
                </a:lnTo>
                <a:lnTo>
                  <a:pt x="4895" y="4283"/>
                </a:lnTo>
                <a:lnTo>
                  <a:pt x="4893" y="4280"/>
                </a:lnTo>
                <a:lnTo>
                  <a:pt x="4891" y="4277"/>
                </a:lnTo>
                <a:lnTo>
                  <a:pt x="4888" y="4274"/>
                </a:lnTo>
                <a:lnTo>
                  <a:pt x="4886" y="4271"/>
                </a:lnTo>
                <a:lnTo>
                  <a:pt x="4880" y="4267"/>
                </a:lnTo>
                <a:lnTo>
                  <a:pt x="4877" y="4265"/>
                </a:lnTo>
                <a:lnTo>
                  <a:pt x="4873" y="4264"/>
                </a:lnTo>
                <a:lnTo>
                  <a:pt x="4865" y="4262"/>
                </a:lnTo>
                <a:lnTo>
                  <a:pt x="4861" y="4262"/>
                </a:lnTo>
                <a:lnTo>
                  <a:pt x="4856" y="4261"/>
                </a:lnTo>
                <a:lnTo>
                  <a:pt x="4851" y="4262"/>
                </a:lnTo>
                <a:lnTo>
                  <a:pt x="4846" y="4263"/>
                </a:lnTo>
                <a:lnTo>
                  <a:pt x="4835" y="4266"/>
                </a:lnTo>
                <a:lnTo>
                  <a:pt x="4829" y="4268"/>
                </a:lnTo>
                <a:lnTo>
                  <a:pt x="4823" y="4271"/>
                </a:lnTo>
                <a:lnTo>
                  <a:pt x="4813" y="4278"/>
                </a:lnTo>
                <a:lnTo>
                  <a:pt x="4808" y="4282"/>
                </a:lnTo>
                <a:lnTo>
                  <a:pt x="4803" y="4286"/>
                </a:lnTo>
                <a:lnTo>
                  <a:pt x="4798" y="4292"/>
                </a:lnTo>
                <a:lnTo>
                  <a:pt x="4793" y="4297"/>
                </a:lnTo>
                <a:lnTo>
                  <a:pt x="4785" y="4308"/>
                </a:lnTo>
                <a:lnTo>
                  <a:pt x="4777" y="4321"/>
                </a:lnTo>
                <a:lnTo>
                  <a:pt x="4716" y="4321"/>
                </a:lnTo>
                <a:close/>
                <a:moveTo>
                  <a:pt x="5138" y="4321"/>
                </a:moveTo>
                <a:lnTo>
                  <a:pt x="5182" y="4271"/>
                </a:lnTo>
                <a:lnTo>
                  <a:pt x="5206" y="4244"/>
                </a:lnTo>
                <a:lnTo>
                  <a:pt x="5230" y="4216"/>
                </a:lnTo>
                <a:lnTo>
                  <a:pt x="5231" y="4216"/>
                </a:lnTo>
                <a:lnTo>
                  <a:pt x="5234" y="4215"/>
                </a:lnTo>
                <a:lnTo>
                  <a:pt x="5238" y="4216"/>
                </a:lnTo>
                <a:lnTo>
                  <a:pt x="5242" y="4217"/>
                </a:lnTo>
                <a:lnTo>
                  <a:pt x="5246" y="4219"/>
                </a:lnTo>
                <a:lnTo>
                  <a:pt x="5252" y="4221"/>
                </a:lnTo>
                <a:lnTo>
                  <a:pt x="5256" y="4224"/>
                </a:lnTo>
                <a:lnTo>
                  <a:pt x="5260" y="4228"/>
                </a:lnTo>
                <a:lnTo>
                  <a:pt x="5263" y="4233"/>
                </a:lnTo>
                <a:lnTo>
                  <a:pt x="5266" y="4238"/>
                </a:lnTo>
                <a:lnTo>
                  <a:pt x="5267" y="4243"/>
                </a:lnTo>
                <a:lnTo>
                  <a:pt x="5268" y="4247"/>
                </a:lnTo>
                <a:lnTo>
                  <a:pt x="5267" y="4253"/>
                </a:lnTo>
                <a:lnTo>
                  <a:pt x="5265" y="4258"/>
                </a:lnTo>
                <a:lnTo>
                  <a:pt x="5263" y="4264"/>
                </a:lnTo>
                <a:lnTo>
                  <a:pt x="5259" y="4270"/>
                </a:lnTo>
                <a:lnTo>
                  <a:pt x="5251" y="4279"/>
                </a:lnTo>
                <a:lnTo>
                  <a:pt x="5240" y="4292"/>
                </a:lnTo>
                <a:lnTo>
                  <a:pt x="5214" y="4321"/>
                </a:lnTo>
                <a:lnTo>
                  <a:pt x="5138" y="4321"/>
                </a:lnTo>
                <a:close/>
                <a:moveTo>
                  <a:pt x="1768" y="3591"/>
                </a:moveTo>
                <a:lnTo>
                  <a:pt x="1761" y="3591"/>
                </a:lnTo>
                <a:lnTo>
                  <a:pt x="1753" y="3590"/>
                </a:lnTo>
                <a:lnTo>
                  <a:pt x="1746" y="3589"/>
                </a:lnTo>
                <a:lnTo>
                  <a:pt x="1738" y="3587"/>
                </a:lnTo>
                <a:lnTo>
                  <a:pt x="1731" y="3585"/>
                </a:lnTo>
                <a:lnTo>
                  <a:pt x="1724" y="3583"/>
                </a:lnTo>
                <a:lnTo>
                  <a:pt x="1709" y="3577"/>
                </a:lnTo>
                <a:lnTo>
                  <a:pt x="1696" y="3569"/>
                </a:lnTo>
                <a:lnTo>
                  <a:pt x="1690" y="3565"/>
                </a:lnTo>
                <a:lnTo>
                  <a:pt x="1684" y="3560"/>
                </a:lnTo>
                <a:lnTo>
                  <a:pt x="1678" y="3555"/>
                </a:lnTo>
                <a:lnTo>
                  <a:pt x="1672" y="3550"/>
                </a:lnTo>
                <a:lnTo>
                  <a:pt x="1667" y="3545"/>
                </a:lnTo>
                <a:lnTo>
                  <a:pt x="1662" y="3539"/>
                </a:lnTo>
                <a:lnTo>
                  <a:pt x="1657" y="3533"/>
                </a:lnTo>
                <a:lnTo>
                  <a:pt x="1652" y="3527"/>
                </a:lnTo>
                <a:lnTo>
                  <a:pt x="1647" y="3520"/>
                </a:lnTo>
                <a:lnTo>
                  <a:pt x="1642" y="3513"/>
                </a:lnTo>
                <a:lnTo>
                  <a:pt x="1639" y="3505"/>
                </a:lnTo>
                <a:lnTo>
                  <a:pt x="1635" y="3498"/>
                </a:lnTo>
                <a:lnTo>
                  <a:pt x="1632" y="3490"/>
                </a:lnTo>
                <a:lnTo>
                  <a:pt x="1629" y="3482"/>
                </a:lnTo>
                <a:lnTo>
                  <a:pt x="1626" y="3474"/>
                </a:lnTo>
                <a:lnTo>
                  <a:pt x="1624" y="3466"/>
                </a:lnTo>
                <a:lnTo>
                  <a:pt x="1622" y="3458"/>
                </a:lnTo>
                <a:lnTo>
                  <a:pt x="1620" y="3448"/>
                </a:lnTo>
                <a:lnTo>
                  <a:pt x="1619" y="3439"/>
                </a:lnTo>
                <a:lnTo>
                  <a:pt x="1618" y="3431"/>
                </a:lnTo>
                <a:lnTo>
                  <a:pt x="1617" y="3422"/>
                </a:lnTo>
                <a:lnTo>
                  <a:pt x="1617" y="3412"/>
                </a:lnTo>
                <a:lnTo>
                  <a:pt x="1618" y="3394"/>
                </a:lnTo>
                <a:lnTo>
                  <a:pt x="1619" y="3384"/>
                </a:lnTo>
                <a:lnTo>
                  <a:pt x="1620" y="3374"/>
                </a:lnTo>
                <a:lnTo>
                  <a:pt x="1622" y="3365"/>
                </a:lnTo>
                <a:lnTo>
                  <a:pt x="1624" y="3357"/>
                </a:lnTo>
                <a:lnTo>
                  <a:pt x="1626" y="3348"/>
                </a:lnTo>
                <a:lnTo>
                  <a:pt x="1629" y="3339"/>
                </a:lnTo>
                <a:lnTo>
                  <a:pt x="1632" y="3330"/>
                </a:lnTo>
                <a:lnTo>
                  <a:pt x="1636" y="3322"/>
                </a:lnTo>
                <a:lnTo>
                  <a:pt x="1640" y="3314"/>
                </a:lnTo>
                <a:lnTo>
                  <a:pt x="1644" y="3306"/>
                </a:lnTo>
                <a:lnTo>
                  <a:pt x="1648" y="3298"/>
                </a:lnTo>
                <a:lnTo>
                  <a:pt x="1654" y="3291"/>
                </a:lnTo>
                <a:lnTo>
                  <a:pt x="1664" y="3277"/>
                </a:lnTo>
                <a:lnTo>
                  <a:pt x="1670" y="3269"/>
                </a:lnTo>
                <a:lnTo>
                  <a:pt x="1675" y="3263"/>
                </a:lnTo>
                <a:lnTo>
                  <a:pt x="1688" y="3252"/>
                </a:lnTo>
                <a:lnTo>
                  <a:pt x="1694" y="3247"/>
                </a:lnTo>
                <a:lnTo>
                  <a:pt x="1701" y="3242"/>
                </a:lnTo>
                <a:lnTo>
                  <a:pt x="1708" y="3237"/>
                </a:lnTo>
                <a:lnTo>
                  <a:pt x="1716" y="3233"/>
                </a:lnTo>
                <a:lnTo>
                  <a:pt x="1723" y="3230"/>
                </a:lnTo>
                <a:lnTo>
                  <a:pt x="1730" y="3227"/>
                </a:lnTo>
                <a:lnTo>
                  <a:pt x="1738" y="3224"/>
                </a:lnTo>
                <a:lnTo>
                  <a:pt x="1746" y="3222"/>
                </a:lnTo>
                <a:lnTo>
                  <a:pt x="1754" y="3220"/>
                </a:lnTo>
                <a:lnTo>
                  <a:pt x="1762" y="3219"/>
                </a:lnTo>
                <a:lnTo>
                  <a:pt x="1771" y="3218"/>
                </a:lnTo>
                <a:lnTo>
                  <a:pt x="1779" y="3218"/>
                </a:lnTo>
                <a:lnTo>
                  <a:pt x="1789" y="3218"/>
                </a:lnTo>
                <a:lnTo>
                  <a:pt x="1794" y="3219"/>
                </a:lnTo>
                <a:lnTo>
                  <a:pt x="1799" y="3219"/>
                </a:lnTo>
                <a:lnTo>
                  <a:pt x="1803" y="3220"/>
                </a:lnTo>
                <a:lnTo>
                  <a:pt x="1808" y="3222"/>
                </a:lnTo>
                <a:lnTo>
                  <a:pt x="1816" y="3225"/>
                </a:lnTo>
                <a:lnTo>
                  <a:pt x="1824" y="3229"/>
                </a:lnTo>
                <a:lnTo>
                  <a:pt x="1832" y="3233"/>
                </a:lnTo>
                <a:lnTo>
                  <a:pt x="1839" y="3239"/>
                </a:lnTo>
                <a:lnTo>
                  <a:pt x="1845" y="3245"/>
                </a:lnTo>
                <a:lnTo>
                  <a:pt x="1848" y="3248"/>
                </a:lnTo>
                <a:lnTo>
                  <a:pt x="1851" y="3251"/>
                </a:lnTo>
                <a:lnTo>
                  <a:pt x="1855" y="3258"/>
                </a:lnTo>
                <a:lnTo>
                  <a:pt x="1859" y="3266"/>
                </a:lnTo>
                <a:lnTo>
                  <a:pt x="1863" y="3276"/>
                </a:lnTo>
                <a:lnTo>
                  <a:pt x="1865" y="3284"/>
                </a:lnTo>
                <a:lnTo>
                  <a:pt x="1867" y="3293"/>
                </a:lnTo>
                <a:lnTo>
                  <a:pt x="1868" y="3303"/>
                </a:lnTo>
                <a:lnTo>
                  <a:pt x="1869" y="3313"/>
                </a:lnTo>
                <a:lnTo>
                  <a:pt x="1868" y="3325"/>
                </a:lnTo>
                <a:lnTo>
                  <a:pt x="1867" y="3333"/>
                </a:lnTo>
                <a:lnTo>
                  <a:pt x="1866" y="3339"/>
                </a:lnTo>
                <a:lnTo>
                  <a:pt x="1862" y="3351"/>
                </a:lnTo>
                <a:lnTo>
                  <a:pt x="1857" y="3362"/>
                </a:lnTo>
                <a:lnTo>
                  <a:pt x="1851" y="3373"/>
                </a:lnTo>
                <a:lnTo>
                  <a:pt x="1843" y="3384"/>
                </a:lnTo>
                <a:lnTo>
                  <a:pt x="1839" y="3389"/>
                </a:lnTo>
                <a:lnTo>
                  <a:pt x="1835" y="3395"/>
                </a:lnTo>
                <a:lnTo>
                  <a:pt x="1825" y="3404"/>
                </a:lnTo>
                <a:lnTo>
                  <a:pt x="1815" y="3413"/>
                </a:lnTo>
                <a:lnTo>
                  <a:pt x="1810" y="3416"/>
                </a:lnTo>
                <a:lnTo>
                  <a:pt x="1804" y="3420"/>
                </a:lnTo>
                <a:lnTo>
                  <a:pt x="1793" y="3427"/>
                </a:lnTo>
                <a:lnTo>
                  <a:pt x="1781" y="3432"/>
                </a:lnTo>
                <a:lnTo>
                  <a:pt x="1768" y="3437"/>
                </a:lnTo>
                <a:lnTo>
                  <a:pt x="1762" y="3439"/>
                </a:lnTo>
                <a:lnTo>
                  <a:pt x="1756" y="3440"/>
                </a:lnTo>
                <a:lnTo>
                  <a:pt x="1750" y="3441"/>
                </a:lnTo>
                <a:lnTo>
                  <a:pt x="1743" y="3442"/>
                </a:lnTo>
                <a:lnTo>
                  <a:pt x="1731" y="3443"/>
                </a:lnTo>
                <a:lnTo>
                  <a:pt x="1725" y="3442"/>
                </a:lnTo>
                <a:lnTo>
                  <a:pt x="1720" y="3441"/>
                </a:lnTo>
                <a:lnTo>
                  <a:pt x="1716" y="3438"/>
                </a:lnTo>
                <a:lnTo>
                  <a:pt x="1714" y="3436"/>
                </a:lnTo>
                <a:lnTo>
                  <a:pt x="1712" y="3434"/>
                </a:lnTo>
                <a:lnTo>
                  <a:pt x="1708" y="3429"/>
                </a:lnTo>
                <a:lnTo>
                  <a:pt x="1706" y="3424"/>
                </a:lnTo>
                <a:lnTo>
                  <a:pt x="1705" y="3421"/>
                </a:lnTo>
                <a:lnTo>
                  <a:pt x="1704" y="3418"/>
                </a:lnTo>
                <a:lnTo>
                  <a:pt x="1704" y="3412"/>
                </a:lnTo>
                <a:lnTo>
                  <a:pt x="1704" y="3409"/>
                </a:lnTo>
                <a:lnTo>
                  <a:pt x="1704" y="3406"/>
                </a:lnTo>
                <a:lnTo>
                  <a:pt x="1705" y="3401"/>
                </a:lnTo>
                <a:lnTo>
                  <a:pt x="1706" y="3399"/>
                </a:lnTo>
                <a:lnTo>
                  <a:pt x="1707" y="3397"/>
                </a:lnTo>
                <a:lnTo>
                  <a:pt x="1709" y="3396"/>
                </a:lnTo>
                <a:lnTo>
                  <a:pt x="1712" y="3395"/>
                </a:lnTo>
                <a:lnTo>
                  <a:pt x="1722" y="3393"/>
                </a:lnTo>
                <a:lnTo>
                  <a:pt x="1733" y="3389"/>
                </a:lnTo>
                <a:lnTo>
                  <a:pt x="1743" y="3386"/>
                </a:lnTo>
                <a:lnTo>
                  <a:pt x="1753" y="3382"/>
                </a:lnTo>
                <a:lnTo>
                  <a:pt x="1762" y="3377"/>
                </a:lnTo>
                <a:lnTo>
                  <a:pt x="1771" y="3372"/>
                </a:lnTo>
                <a:lnTo>
                  <a:pt x="1779" y="3367"/>
                </a:lnTo>
                <a:lnTo>
                  <a:pt x="1783" y="3364"/>
                </a:lnTo>
                <a:lnTo>
                  <a:pt x="1786" y="3361"/>
                </a:lnTo>
                <a:lnTo>
                  <a:pt x="1793" y="3354"/>
                </a:lnTo>
                <a:lnTo>
                  <a:pt x="1799" y="3348"/>
                </a:lnTo>
                <a:lnTo>
                  <a:pt x="1803" y="3341"/>
                </a:lnTo>
                <a:lnTo>
                  <a:pt x="1808" y="3334"/>
                </a:lnTo>
                <a:lnTo>
                  <a:pt x="1811" y="3326"/>
                </a:lnTo>
                <a:lnTo>
                  <a:pt x="1813" y="3319"/>
                </a:lnTo>
                <a:lnTo>
                  <a:pt x="1815" y="3312"/>
                </a:lnTo>
                <a:lnTo>
                  <a:pt x="1815" y="3305"/>
                </a:lnTo>
                <a:lnTo>
                  <a:pt x="1815" y="3297"/>
                </a:lnTo>
                <a:lnTo>
                  <a:pt x="1813" y="3290"/>
                </a:lnTo>
                <a:lnTo>
                  <a:pt x="1811" y="3286"/>
                </a:lnTo>
                <a:lnTo>
                  <a:pt x="1809" y="3283"/>
                </a:lnTo>
                <a:lnTo>
                  <a:pt x="1807" y="3281"/>
                </a:lnTo>
                <a:lnTo>
                  <a:pt x="1805" y="3278"/>
                </a:lnTo>
                <a:lnTo>
                  <a:pt x="1799" y="3274"/>
                </a:lnTo>
                <a:lnTo>
                  <a:pt x="1796" y="3272"/>
                </a:lnTo>
                <a:lnTo>
                  <a:pt x="1792" y="3270"/>
                </a:lnTo>
                <a:lnTo>
                  <a:pt x="1784" y="3268"/>
                </a:lnTo>
                <a:lnTo>
                  <a:pt x="1780" y="3267"/>
                </a:lnTo>
                <a:lnTo>
                  <a:pt x="1775" y="3267"/>
                </a:lnTo>
                <a:lnTo>
                  <a:pt x="1765" y="3268"/>
                </a:lnTo>
                <a:lnTo>
                  <a:pt x="1761" y="3269"/>
                </a:lnTo>
                <a:lnTo>
                  <a:pt x="1756" y="3270"/>
                </a:lnTo>
                <a:lnTo>
                  <a:pt x="1752" y="3273"/>
                </a:lnTo>
                <a:lnTo>
                  <a:pt x="1748" y="3275"/>
                </a:lnTo>
                <a:lnTo>
                  <a:pt x="1743" y="3277"/>
                </a:lnTo>
                <a:lnTo>
                  <a:pt x="1739" y="3279"/>
                </a:lnTo>
                <a:lnTo>
                  <a:pt x="1735" y="3282"/>
                </a:lnTo>
                <a:lnTo>
                  <a:pt x="1730" y="3285"/>
                </a:lnTo>
                <a:lnTo>
                  <a:pt x="1722" y="3292"/>
                </a:lnTo>
                <a:lnTo>
                  <a:pt x="1714" y="3300"/>
                </a:lnTo>
                <a:lnTo>
                  <a:pt x="1706" y="3309"/>
                </a:lnTo>
                <a:lnTo>
                  <a:pt x="1702" y="3314"/>
                </a:lnTo>
                <a:lnTo>
                  <a:pt x="1699" y="3319"/>
                </a:lnTo>
                <a:lnTo>
                  <a:pt x="1693" y="3330"/>
                </a:lnTo>
                <a:lnTo>
                  <a:pt x="1687" y="3343"/>
                </a:lnTo>
                <a:lnTo>
                  <a:pt x="1682" y="3355"/>
                </a:lnTo>
                <a:lnTo>
                  <a:pt x="1679" y="3368"/>
                </a:lnTo>
                <a:lnTo>
                  <a:pt x="1676" y="3381"/>
                </a:lnTo>
                <a:lnTo>
                  <a:pt x="1674" y="3396"/>
                </a:lnTo>
                <a:lnTo>
                  <a:pt x="1674" y="3403"/>
                </a:lnTo>
                <a:lnTo>
                  <a:pt x="1673" y="3410"/>
                </a:lnTo>
                <a:lnTo>
                  <a:pt x="1674" y="3423"/>
                </a:lnTo>
                <a:lnTo>
                  <a:pt x="1675" y="3435"/>
                </a:lnTo>
                <a:lnTo>
                  <a:pt x="1677" y="3446"/>
                </a:lnTo>
                <a:lnTo>
                  <a:pt x="1679" y="3453"/>
                </a:lnTo>
                <a:lnTo>
                  <a:pt x="1680" y="3458"/>
                </a:lnTo>
                <a:lnTo>
                  <a:pt x="1684" y="3469"/>
                </a:lnTo>
                <a:lnTo>
                  <a:pt x="1686" y="3474"/>
                </a:lnTo>
                <a:lnTo>
                  <a:pt x="1688" y="3479"/>
                </a:lnTo>
                <a:lnTo>
                  <a:pt x="1691" y="3483"/>
                </a:lnTo>
                <a:lnTo>
                  <a:pt x="1694" y="3488"/>
                </a:lnTo>
                <a:lnTo>
                  <a:pt x="1697" y="3492"/>
                </a:lnTo>
                <a:lnTo>
                  <a:pt x="1700" y="3496"/>
                </a:lnTo>
                <a:lnTo>
                  <a:pt x="1703" y="3500"/>
                </a:lnTo>
                <a:lnTo>
                  <a:pt x="1706" y="3503"/>
                </a:lnTo>
                <a:lnTo>
                  <a:pt x="1714" y="3510"/>
                </a:lnTo>
                <a:lnTo>
                  <a:pt x="1722" y="3517"/>
                </a:lnTo>
                <a:lnTo>
                  <a:pt x="1731" y="3522"/>
                </a:lnTo>
                <a:lnTo>
                  <a:pt x="1740" y="3525"/>
                </a:lnTo>
                <a:lnTo>
                  <a:pt x="1749" y="3528"/>
                </a:lnTo>
                <a:lnTo>
                  <a:pt x="1760" y="3530"/>
                </a:lnTo>
                <a:lnTo>
                  <a:pt x="1765" y="3530"/>
                </a:lnTo>
                <a:lnTo>
                  <a:pt x="1771" y="3530"/>
                </a:lnTo>
                <a:lnTo>
                  <a:pt x="1782" y="3530"/>
                </a:lnTo>
                <a:lnTo>
                  <a:pt x="1792" y="3528"/>
                </a:lnTo>
                <a:lnTo>
                  <a:pt x="1802" y="3526"/>
                </a:lnTo>
                <a:lnTo>
                  <a:pt x="1811" y="3523"/>
                </a:lnTo>
                <a:lnTo>
                  <a:pt x="1821" y="3518"/>
                </a:lnTo>
                <a:lnTo>
                  <a:pt x="1831" y="3513"/>
                </a:lnTo>
                <a:lnTo>
                  <a:pt x="1839" y="3507"/>
                </a:lnTo>
                <a:lnTo>
                  <a:pt x="1848" y="3500"/>
                </a:lnTo>
                <a:lnTo>
                  <a:pt x="1856" y="3493"/>
                </a:lnTo>
                <a:lnTo>
                  <a:pt x="1863" y="3485"/>
                </a:lnTo>
                <a:lnTo>
                  <a:pt x="1871" y="3476"/>
                </a:lnTo>
                <a:lnTo>
                  <a:pt x="1877" y="3467"/>
                </a:lnTo>
                <a:lnTo>
                  <a:pt x="1891" y="3447"/>
                </a:lnTo>
                <a:lnTo>
                  <a:pt x="1897" y="3437"/>
                </a:lnTo>
                <a:lnTo>
                  <a:pt x="1903" y="3426"/>
                </a:lnTo>
                <a:lnTo>
                  <a:pt x="1908" y="3415"/>
                </a:lnTo>
                <a:lnTo>
                  <a:pt x="1913" y="3404"/>
                </a:lnTo>
                <a:lnTo>
                  <a:pt x="1917" y="3392"/>
                </a:lnTo>
                <a:lnTo>
                  <a:pt x="1922" y="3379"/>
                </a:lnTo>
                <a:lnTo>
                  <a:pt x="1925" y="3367"/>
                </a:lnTo>
                <a:lnTo>
                  <a:pt x="1929" y="3355"/>
                </a:lnTo>
                <a:lnTo>
                  <a:pt x="1932" y="3343"/>
                </a:lnTo>
                <a:lnTo>
                  <a:pt x="1934" y="3330"/>
                </a:lnTo>
                <a:lnTo>
                  <a:pt x="1937" y="3318"/>
                </a:lnTo>
                <a:lnTo>
                  <a:pt x="1938" y="3307"/>
                </a:lnTo>
                <a:lnTo>
                  <a:pt x="1940" y="3295"/>
                </a:lnTo>
                <a:lnTo>
                  <a:pt x="1941" y="3283"/>
                </a:lnTo>
                <a:lnTo>
                  <a:pt x="1942" y="3272"/>
                </a:lnTo>
                <a:lnTo>
                  <a:pt x="1942" y="3260"/>
                </a:lnTo>
                <a:lnTo>
                  <a:pt x="1942" y="3249"/>
                </a:lnTo>
                <a:lnTo>
                  <a:pt x="1941" y="3239"/>
                </a:lnTo>
                <a:lnTo>
                  <a:pt x="1942" y="3236"/>
                </a:lnTo>
                <a:lnTo>
                  <a:pt x="1944" y="3234"/>
                </a:lnTo>
                <a:lnTo>
                  <a:pt x="1946" y="3232"/>
                </a:lnTo>
                <a:lnTo>
                  <a:pt x="1949" y="3230"/>
                </a:lnTo>
                <a:lnTo>
                  <a:pt x="1957" y="3227"/>
                </a:lnTo>
                <a:lnTo>
                  <a:pt x="1960" y="3227"/>
                </a:lnTo>
                <a:lnTo>
                  <a:pt x="1965" y="3226"/>
                </a:lnTo>
                <a:lnTo>
                  <a:pt x="1972" y="3227"/>
                </a:lnTo>
                <a:lnTo>
                  <a:pt x="1975" y="3228"/>
                </a:lnTo>
                <a:lnTo>
                  <a:pt x="1978" y="3229"/>
                </a:lnTo>
                <a:lnTo>
                  <a:pt x="1984" y="3231"/>
                </a:lnTo>
                <a:lnTo>
                  <a:pt x="1987" y="3233"/>
                </a:lnTo>
                <a:lnTo>
                  <a:pt x="1989" y="3236"/>
                </a:lnTo>
                <a:lnTo>
                  <a:pt x="1993" y="3241"/>
                </a:lnTo>
                <a:lnTo>
                  <a:pt x="1995" y="3245"/>
                </a:lnTo>
                <a:lnTo>
                  <a:pt x="1996" y="3249"/>
                </a:lnTo>
                <a:lnTo>
                  <a:pt x="1997" y="3253"/>
                </a:lnTo>
                <a:lnTo>
                  <a:pt x="1998" y="3258"/>
                </a:lnTo>
                <a:lnTo>
                  <a:pt x="1998" y="3263"/>
                </a:lnTo>
                <a:lnTo>
                  <a:pt x="1999" y="3269"/>
                </a:lnTo>
                <a:lnTo>
                  <a:pt x="1998" y="3286"/>
                </a:lnTo>
                <a:lnTo>
                  <a:pt x="1997" y="3301"/>
                </a:lnTo>
                <a:lnTo>
                  <a:pt x="1995" y="3316"/>
                </a:lnTo>
                <a:lnTo>
                  <a:pt x="1993" y="3333"/>
                </a:lnTo>
                <a:lnTo>
                  <a:pt x="1991" y="3347"/>
                </a:lnTo>
                <a:lnTo>
                  <a:pt x="1988" y="3362"/>
                </a:lnTo>
                <a:lnTo>
                  <a:pt x="1984" y="3377"/>
                </a:lnTo>
                <a:lnTo>
                  <a:pt x="1981" y="3392"/>
                </a:lnTo>
                <a:lnTo>
                  <a:pt x="1976" y="3406"/>
                </a:lnTo>
                <a:lnTo>
                  <a:pt x="1971" y="3419"/>
                </a:lnTo>
                <a:lnTo>
                  <a:pt x="1966" y="3432"/>
                </a:lnTo>
                <a:lnTo>
                  <a:pt x="1960" y="3445"/>
                </a:lnTo>
                <a:lnTo>
                  <a:pt x="1954" y="3459"/>
                </a:lnTo>
                <a:lnTo>
                  <a:pt x="1947" y="3471"/>
                </a:lnTo>
                <a:lnTo>
                  <a:pt x="1940" y="3482"/>
                </a:lnTo>
                <a:lnTo>
                  <a:pt x="1933" y="3493"/>
                </a:lnTo>
                <a:lnTo>
                  <a:pt x="1925" y="3504"/>
                </a:lnTo>
                <a:lnTo>
                  <a:pt x="1917" y="3515"/>
                </a:lnTo>
                <a:lnTo>
                  <a:pt x="1909" y="3525"/>
                </a:lnTo>
                <a:lnTo>
                  <a:pt x="1900" y="3534"/>
                </a:lnTo>
                <a:lnTo>
                  <a:pt x="1891" y="3542"/>
                </a:lnTo>
                <a:lnTo>
                  <a:pt x="1880" y="3550"/>
                </a:lnTo>
                <a:lnTo>
                  <a:pt x="1871" y="3557"/>
                </a:lnTo>
                <a:lnTo>
                  <a:pt x="1861" y="3564"/>
                </a:lnTo>
                <a:lnTo>
                  <a:pt x="1850" y="3570"/>
                </a:lnTo>
                <a:lnTo>
                  <a:pt x="1840" y="3576"/>
                </a:lnTo>
                <a:lnTo>
                  <a:pt x="1828" y="3580"/>
                </a:lnTo>
                <a:lnTo>
                  <a:pt x="1817" y="3584"/>
                </a:lnTo>
                <a:lnTo>
                  <a:pt x="1805" y="3587"/>
                </a:lnTo>
                <a:lnTo>
                  <a:pt x="1793" y="3589"/>
                </a:lnTo>
                <a:lnTo>
                  <a:pt x="1782" y="3590"/>
                </a:lnTo>
                <a:lnTo>
                  <a:pt x="1768" y="3591"/>
                </a:lnTo>
                <a:close/>
                <a:moveTo>
                  <a:pt x="2156" y="3585"/>
                </a:moveTo>
                <a:lnTo>
                  <a:pt x="2154" y="3585"/>
                </a:lnTo>
                <a:lnTo>
                  <a:pt x="2152" y="3584"/>
                </a:lnTo>
                <a:lnTo>
                  <a:pt x="2147" y="3581"/>
                </a:lnTo>
                <a:lnTo>
                  <a:pt x="2140" y="3577"/>
                </a:lnTo>
                <a:lnTo>
                  <a:pt x="2133" y="3572"/>
                </a:lnTo>
                <a:lnTo>
                  <a:pt x="2119" y="3560"/>
                </a:lnTo>
                <a:lnTo>
                  <a:pt x="2104" y="3546"/>
                </a:lnTo>
                <a:lnTo>
                  <a:pt x="2088" y="3530"/>
                </a:lnTo>
                <a:lnTo>
                  <a:pt x="2071" y="3513"/>
                </a:lnTo>
                <a:lnTo>
                  <a:pt x="2055" y="3495"/>
                </a:lnTo>
                <a:lnTo>
                  <a:pt x="2040" y="3479"/>
                </a:lnTo>
                <a:lnTo>
                  <a:pt x="2029" y="3464"/>
                </a:lnTo>
                <a:lnTo>
                  <a:pt x="2025" y="3458"/>
                </a:lnTo>
                <a:lnTo>
                  <a:pt x="2021" y="3453"/>
                </a:lnTo>
                <a:lnTo>
                  <a:pt x="2016" y="3442"/>
                </a:lnTo>
                <a:lnTo>
                  <a:pt x="2012" y="3432"/>
                </a:lnTo>
                <a:lnTo>
                  <a:pt x="2009" y="3422"/>
                </a:lnTo>
                <a:lnTo>
                  <a:pt x="2008" y="3412"/>
                </a:lnTo>
                <a:lnTo>
                  <a:pt x="2008" y="3407"/>
                </a:lnTo>
                <a:lnTo>
                  <a:pt x="2009" y="3401"/>
                </a:lnTo>
                <a:lnTo>
                  <a:pt x="2012" y="3395"/>
                </a:lnTo>
                <a:lnTo>
                  <a:pt x="2014" y="3388"/>
                </a:lnTo>
                <a:lnTo>
                  <a:pt x="2016" y="3382"/>
                </a:lnTo>
                <a:lnTo>
                  <a:pt x="2019" y="3376"/>
                </a:lnTo>
                <a:lnTo>
                  <a:pt x="2023" y="3369"/>
                </a:lnTo>
                <a:lnTo>
                  <a:pt x="2028" y="3362"/>
                </a:lnTo>
                <a:lnTo>
                  <a:pt x="2036" y="3351"/>
                </a:lnTo>
                <a:lnTo>
                  <a:pt x="2047" y="3338"/>
                </a:lnTo>
                <a:lnTo>
                  <a:pt x="2078" y="3303"/>
                </a:lnTo>
                <a:lnTo>
                  <a:pt x="2112" y="3263"/>
                </a:lnTo>
                <a:lnTo>
                  <a:pt x="2148" y="3223"/>
                </a:lnTo>
                <a:lnTo>
                  <a:pt x="2150" y="3222"/>
                </a:lnTo>
                <a:lnTo>
                  <a:pt x="2153" y="3222"/>
                </a:lnTo>
                <a:lnTo>
                  <a:pt x="2157" y="3222"/>
                </a:lnTo>
                <a:lnTo>
                  <a:pt x="2161" y="3223"/>
                </a:lnTo>
                <a:lnTo>
                  <a:pt x="2165" y="3225"/>
                </a:lnTo>
                <a:lnTo>
                  <a:pt x="2169" y="3228"/>
                </a:lnTo>
                <a:lnTo>
                  <a:pt x="2173" y="3231"/>
                </a:lnTo>
                <a:lnTo>
                  <a:pt x="2177" y="3235"/>
                </a:lnTo>
                <a:lnTo>
                  <a:pt x="2181" y="3239"/>
                </a:lnTo>
                <a:lnTo>
                  <a:pt x="2184" y="3244"/>
                </a:lnTo>
                <a:lnTo>
                  <a:pt x="2185" y="3248"/>
                </a:lnTo>
                <a:lnTo>
                  <a:pt x="2186" y="3253"/>
                </a:lnTo>
                <a:lnTo>
                  <a:pt x="2185" y="3259"/>
                </a:lnTo>
                <a:lnTo>
                  <a:pt x="2183" y="3264"/>
                </a:lnTo>
                <a:lnTo>
                  <a:pt x="2180" y="3270"/>
                </a:lnTo>
                <a:lnTo>
                  <a:pt x="2177" y="3277"/>
                </a:lnTo>
                <a:lnTo>
                  <a:pt x="2168" y="3287"/>
                </a:lnTo>
                <a:lnTo>
                  <a:pt x="2157" y="3300"/>
                </a:lnTo>
                <a:lnTo>
                  <a:pt x="2127" y="3334"/>
                </a:lnTo>
                <a:lnTo>
                  <a:pt x="2097" y="3368"/>
                </a:lnTo>
                <a:lnTo>
                  <a:pt x="2085" y="3382"/>
                </a:lnTo>
                <a:lnTo>
                  <a:pt x="2076" y="3395"/>
                </a:lnTo>
                <a:lnTo>
                  <a:pt x="2073" y="3398"/>
                </a:lnTo>
                <a:lnTo>
                  <a:pt x="2072" y="3402"/>
                </a:lnTo>
                <a:lnTo>
                  <a:pt x="2071" y="3406"/>
                </a:lnTo>
                <a:lnTo>
                  <a:pt x="2069" y="3409"/>
                </a:lnTo>
                <a:lnTo>
                  <a:pt x="2071" y="3414"/>
                </a:lnTo>
                <a:lnTo>
                  <a:pt x="2072" y="3418"/>
                </a:lnTo>
                <a:lnTo>
                  <a:pt x="2074" y="3422"/>
                </a:lnTo>
                <a:lnTo>
                  <a:pt x="2077" y="3427"/>
                </a:lnTo>
                <a:lnTo>
                  <a:pt x="2084" y="3436"/>
                </a:lnTo>
                <a:lnTo>
                  <a:pt x="2095" y="3448"/>
                </a:lnTo>
                <a:lnTo>
                  <a:pt x="2122" y="3478"/>
                </a:lnTo>
                <a:lnTo>
                  <a:pt x="2155" y="3510"/>
                </a:lnTo>
                <a:lnTo>
                  <a:pt x="2186" y="3541"/>
                </a:lnTo>
                <a:lnTo>
                  <a:pt x="2188" y="3543"/>
                </a:lnTo>
                <a:lnTo>
                  <a:pt x="2189" y="3545"/>
                </a:lnTo>
                <a:lnTo>
                  <a:pt x="2191" y="3548"/>
                </a:lnTo>
                <a:lnTo>
                  <a:pt x="2192" y="3550"/>
                </a:lnTo>
                <a:lnTo>
                  <a:pt x="2191" y="3556"/>
                </a:lnTo>
                <a:lnTo>
                  <a:pt x="2189" y="3559"/>
                </a:lnTo>
                <a:lnTo>
                  <a:pt x="2187" y="3561"/>
                </a:lnTo>
                <a:lnTo>
                  <a:pt x="2184" y="3567"/>
                </a:lnTo>
                <a:lnTo>
                  <a:pt x="2182" y="3570"/>
                </a:lnTo>
                <a:lnTo>
                  <a:pt x="2179" y="3573"/>
                </a:lnTo>
                <a:lnTo>
                  <a:pt x="2174" y="3578"/>
                </a:lnTo>
                <a:lnTo>
                  <a:pt x="2171" y="3580"/>
                </a:lnTo>
                <a:lnTo>
                  <a:pt x="2168" y="3582"/>
                </a:lnTo>
                <a:lnTo>
                  <a:pt x="2162" y="3584"/>
                </a:lnTo>
                <a:lnTo>
                  <a:pt x="2159" y="3585"/>
                </a:lnTo>
                <a:lnTo>
                  <a:pt x="2156" y="3585"/>
                </a:lnTo>
                <a:close/>
                <a:moveTo>
                  <a:pt x="1935" y="4321"/>
                </a:moveTo>
                <a:lnTo>
                  <a:pt x="1939" y="4298"/>
                </a:lnTo>
                <a:lnTo>
                  <a:pt x="1941" y="4275"/>
                </a:lnTo>
                <a:lnTo>
                  <a:pt x="1942" y="4253"/>
                </a:lnTo>
                <a:lnTo>
                  <a:pt x="1942" y="4243"/>
                </a:lnTo>
                <a:lnTo>
                  <a:pt x="1941" y="4233"/>
                </a:lnTo>
                <a:lnTo>
                  <a:pt x="1942" y="4229"/>
                </a:lnTo>
                <a:lnTo>
                  <a:pt x="1944" y="4227"/>
                </a:lnTo>
                <a:lnTo>
                  <a:pt x="1946" y="4225"/>
                </a:lnTo>
                <a:lnTo>
                  <a:pt x="1949" y="4223"/>
                </a:lnTo>
                <a:lnTo>
                  <a:pt x="1957" y="4221"/>
                </a:lnTo>
                <a:lnTo>
                  <a:pt x="1960" y="4220"/>
                </a:lnTo>
                <a:lnTo>
                  <a:pt x="1965" y="4220"/>
                </a:lnTo>
                <a:lnTo>
                  <a:pt x="1972" y="4220"/>
                </a:lnTo>
                <a:lnTo>
                  <a:pt x="1975" y="4221"/>
                </a:lnTo>
                <a:lnTo>
                  <a:pt x="1978" y="4222"/>
                </a:lnTo>
                <a:lnTo>
                  <a:pt x="1984" y="4225"/>
                </a:lnTo>
                <a:lnTo>
                  <a:pt x="1987" y="4227"/>
                </a:lnTo>
                <a:lnTo>
                  <a:pt x="1989" y="4229"/>
                </a:lnTo>
                <a:lnTo>
                  <a:pt x="1993" y="4236"/>
                </a:lnTo>
                <a:lnTo>
                  <a:pt x="1995" y="4239"/>
                </a:lnTo>
                <a:lnTo>
                  <a:pt x="1996" y="4243"/>
                </a:lnTo>
                <a:lnTo>
                  <a:pt x="1997" y="4247"/>
                </a:lnTo>
                <a:lnTo>
                  <a:pt x="1998" y="4252"/>
                </a:lnTo>
                <a:lnTo>
                  <a:pt x="1998" y="4258"/>
                </a:lnTo>
                <a:lnTo>
                  <a:pt x="1999" y="4263"/>
                </a:lnTo>
                <a:lnTo>
                  <a:pt x="1998" y="4278"/>
                </a:lnTo>
                <a:lnTo>
                  <a:pt x="1997" y="4293"/>
                </a:lnTo>
                <a:lnTo>
                  <a:pt x="1994" y="4321"/>
                </a:lnTo>
                <a:lnTo>
                  <a:pt x="1935" y="4321"/>
                </a:lnTo>
                <a:close/>
                <a:moveTo>
                  <a:pt x="1634" y="4321"/>
                </a:moveTo>
                <a:lnTo>
                  <a:pt x="1636" y="4315"/>
                </a:lnTo>
                <a:lnTo>
                  <a:pt x="1639" y="4310"/>
                </a:lnTo>
                <a:lnTo>
                  <a:pt x="1645" y="4299"/>
                </a:lnTo>
                <a:lnTo>
                  <a:pt x="1652" y="4287"/>
                </a:lnTo>
                <a:lnTo>
                  <a:pt x="1659" y="4277"/>
                </a:lnTo>
                <a:lnTo>
                  <a:pt x="1666" y="4267"/>
                </a:lnTo>
                <a:lnTo>
                  <a:pt x="1674" y="4258"/>
                </a:lnTo>
                <a:lnTo>
                  <a:pt x="1679" y="4254"/>
                </a:lnTo>
                <a:lnTo>
                  <a:pt x="1683" y="4250"/>
                </a:lnTo>
                <a:lnTo>
                  <a:pt x="1692" y="4243"/>
                </a:lnTo>
                <a:lnTo>
                  <a:pt x="1697" y="4239"/>
                </a:lnTo>
                <a:lnTo>
                  <a:pt x="1701" y="4236"/>
                </a:lnTo>
                <a:lnTo>
                  <a:pt x="1712" y="4229"/>
                </a:lnTo>
                <a:lnTo>
                  <a:pt x="1717" y="4226"/>
                </a:lnTo>
                <a:lnTo>
                  <a:pt x="1722" y="4223"/>
                </a:lnTo>
                <a:lnTo>
                  <a:pt x="1733" y="4219"/>
                </a:lnTo>
                <a:lnTo>
                  <a:pt x="1744" y="4215"/>
                </a:lnTo>
                <a:lnTo>
                  <a:pt x="1755" y="4213"/>
                </a:lnTo>
                <a:lnTo>
                  <a:pt x="1761" y="4212"/>
                </a:lnTo>
                <a:lnTo>
                  <a:pt x="1766" y="4211"/>
                </a:lnTo>
                <a:lnTo>
                  <a:pt x="1779" y="4211"/>
                </a:lnTo>
                <a:lnTo>
                  <a:pt x="1789" y="4211"/>
                </a:lnTo>
                <a:lnTo>
                  <a:pt x="1794" y="4212"/>
                </a:lnTo>
                <a:lnTo>
                  <a:pt x="1799" y="4213"/>
                </a:lnTo>
                <a:lnTo>
                  <a:pt x="1803" y="4214"/>
                </a:lnTo>
                <a:lnTo>
                  <a:pt x="1808" y="4215"/>
                </a:lnTo>
                <a:lnTo>
                  <a:pt x="1816" y="4218"/>
                </a:lnTo>
                <a:lnTo>
                  <a:pt x="1824" y="4222"/>
                </a:lnTo>
                <a:lnTo>
                  <a:pt x="1832" y="4226"/>
                </a:lnTo>
                <a:lnTo>
                  <a:pt x="1839" y="4233"/>
                </a:lnTo>
                <a:lnTo>
                  <a:pt x="1845" y="4239"/>
                </a:lnTo>
                <a:lnTo>
                  <a:pt x="1848" y="4242"/>
                </a:lnTo>
                <a:lnTo>
                  <a:pt x="1851" y="4245"/>
                </a:lnTo>
                <a:lnTo>
                  <a:pt x="1855" y="4253"/>
                </a:lnTo>
                <a:lnTo>
                  <a:pt x="1859" y="4260"/>
                </a:lnTo>
                <a:lnTo>
                  <a:pt x="1863" y="4269"/>
                </a:lnTo>
                <a:lnTo>
                  <a:pt x="1865" y="4277"/>
                </a:lnTo>
                <a:lnTo>
                  <a:pt x="1867" y="4287"/>
                </a:lnTo>
                <a:lnTo>
                  <a:pt x="1868" y="4297"/>
                </a:lnTo>
                <a:lnTo>
                  <a:pt x="1869" y="4307"/>
                </a:lnTo>
                <a:lnTo>
                  <a:pt x="1869" y="4314"/>
                </a:lnTo>
                <a:lnTo>
                  <a:pt x="1868" y="4321"/>
                </a:lnTo>
                <a:lnTo>
                  <a:pt x="1811" y="4321"/>
                </a:lnTo>
                <a:lnTo>
                  <a:pt x="1813" y="4316"/>
                </a:lnTo>
                <a:lnTo>
                  <a:pt x="1814" y="4310"/>
                </a:lnTo>
                <a:lnTo>
                  <a:pt x="1815" y="4305"/>
                </a:lnTo>
                <a:lnTo>
                  <a:pt x="1815" y="4299"/>
                </a:lnTo>
                <a:lnTo>
                  <a:pt x="1815" y="4290"/>
                </a:lnTo>
                <a:lnTo>
                  <a:pt x="1813" y="4283"/>
                </a:lnTo>
                <a:lnTo>
                  <a:pt x="1811" y="4280"/>
                </a:lnTo>
                <a:lnTo>
                  <a:pt x="1809" y="4277"/>
                </a:lnTo>
                <a:lnTo>
                  <a:pt x="1807" y="4274"/>
                </a:lnTo>
                <a:lnTo>
                  <a:pt x="1805" y="4271"/>
                </a:lnTo>
                <a:lnTo>
                  <a:pt x="1799" y="4267"/>
                </a:lnTo>
                <a:lnTo>
                  <a:pt x="1796" y="4265"/>
                </a:lnTo>
                <a:lnTo>
                  <a:pt x="1792" y="4264"/>
                </a:lnTo>
                <a:lnTo>
                  <a:pt x="1784" y="4262"/>
                </a:lnTo>
                <a:lnTo>
                  <a:pt x="1780" y="4262"/>
                </a:lnTo>
                <a:lnTo>
                  <a:pt x="1775" y="4261"/>
                </a:lnTo>
                <a:lnTo>
                  <a:pt x="1769" y="4262"/>
                </a:lnTo>
                <a:lnTo>
                  <a:pt x="1763" y="4263"/>
                </a:lnTo>
                <a:lnTo>
                  <a:pt x="1753" y="4266"/>
                </a:lnTo>
                <a:lnTo>
                  <a:pt x="1747" y="4268"/>
                </a:lnTo>
                <a:lnTo>
                  <a:pt x="1742" y="4271"/>
                </a:lnTo>
                <a:lnTo>
                  <a:pt x="1732" y="4278"/>
                </a:lnTo>
                <a:lnTo>
                  <a:pt x="1726" y="4282"/>
                </a:lnTo>
                <a:lnTo>
                  <a:pt x="1722" y="4286"/>
                </a:lnTo>
                <a:lnTo>
                  <a:pt x="1717" y="4292"/>
                </a:lnTo>
                <a:lnTo>
                  <a:pt x="1712" y="4297"/>
                </a:lnTo>
                <a:lnTo>
                  <a:pt x="1702" y="4308"/>
                </a:lnTo>
                <a:lnTo>
                  <a:pt x="1694" y="4321"/>
                </a:lnTo>
                <a:lnTo>
                  <a:pt x="1634" y="4321"/>
                </a:lnTo>
                <a:close/>
                <a:moveTo>
                  <a:pt x="2056" y="4321"/>
                </a:moveTo>
                <a:lnTo>
                  <a:pt x="2100" y="4271"/>
                </a:lnTo>
                <a:lnTo>
                  <a:pt x="2124" y="4244"/>
                </a:lnTo>
                <a:lnTo>
                  <a:pt x="2148" y="4216"/>
                </a:lnTo>
                <a:lnTo>
                  <a:pt x="2150" y="4216"/>
                </a:lnTo>
                <a:lnTo>
                  <a:pt x="2153" y="4215"/>
                </a:lnTo>
                <a:lnTo>
                  <a:pt x="2157" y="4216"/>
                </a:lnTo>
                <a:lnTo>
                  <a:pt x="2161" y="4217"/>
                </a:lnTo>
                <a:lnTo>
                  <a:pt x="2165" y="4219"/>
                </a:lnTo>
                <a:lnTo>
                  <a:pt x="2169" y="4221"/>
                </a:lnTo>
                <a:lnTo>
                  <a:pt x="2173" y="4224"/>
                </a:lnTo>
                <a:lnTo>
                  <a:pt x="2177" y="4228"/>
                </a:lnTo>
                <a:lnTo>
                  <a:pt x="2181" y="4233"/>
                </a:lnTo>
                <a:lnTo>
                  <a:pt x="2184" y="4238"/>
                </a:lnTo>
                <a:lnTo>
                  <a:pt x="2185" y="4243"/>
                </a:lnTo>
                <a:lnTo>
                  <a:pt x="2186" y="4247"/>
                </a:lnTo>
                <a:lnTo>
                  <a:pt x="2185" y="4253"/>
                </a:lnTo>
                <a:lnTo>
                  <a:pt x="2183" y="4258"/>
                </a:lnTo>
                <a:lnTo>
                  <a:pt x="2180" y="4264"/>
                </a:lnTo>
                <a:lnTo>
                  <a:pt x="2177" y="4270"/>
                </a:lnTo>
                <a:lnTo>
                  <a:pt x="2169" y="4279"/>
                </a:lnTo>
                <a:lnTo>
                  <a:pt x="2159" y="4292"/>
                </a:lnTo>
                <a:lnTo>
                  <a:pt x="2133" y="4321"/>
                </a:lnTo>
                <a:lnTo>
                  <a:pt x="2056" y="4321"/>
                </a:lnTo>
                <a:close/>
                <a:moveTo>
                  <a:pt x="5598" y="3591"/>
                </a:moveTo>
                <a:lnTo>
                  <a:pt x="5591" y="3591"/>
                </a:lnTo>
                <a:lnTo>
                  <a:pt x="5583" y="3590"/>
                </a:lnTo>
                <a:lnTo>
                  <a:pt x="5576" y="3589"/>
                </a:lnTo>
                <a:lnTo>
                  <a:pt x="5568" y="3587"/>
                </a:lnTo>
                <a:lnTo>
                  <a:pt x="5561" y="3585"/>
                </a:lnTo>
                <a:lnTo>
                  <a:pt x="5554" y="3583"/>
                </a:lnTo>
                <a:lnTo>
                  <a:pt x="5539" y="3577"/>
                </a:lnTo>
                <a:lnTo>
                  <a:pt x="5526" y="3569"/>
                </a:lnTo>
                <a:lnTo>
                  <a:pt x="5520" y="3565"/>
                </a:lnTo>
                <a:lnTo>
                  <a:pt x="5514" y="3560"/>
                </a:lnTo>
                <a:lnTo>
                  <a:pt x="5508" y="3555"/>
                </a:lnTo>
                <a:lnTo>
                  <a:pt x="5502" y="3550"/>
                </a:lnTo>
                <a:lnTo>
                  <a:pt x="5497" y="3545"/>
                </a:lnTo>
                <a:lnTo>
                  <a:pt x="5492" y="3539"/>
                </a:lnTo>
                <a:lnTo>
                  <a:pt x="5486" y="3533"/>
                </a:lnTo>
                <a:lnTo>
                  <a:pt x="5481" y="3527"/>
                </a:lnTo>
                <a:lnTo>
                  <a:pt x="5477" y="3520"/>
                </a:lnTo>
                <a:lnTo>
                  <a:pt x="5472" y="3513"/>
                </a:lnTo>
                <a:lnTo>
                  <a:pt x="5468" y="3505"/>
                </a:lnTo>
                <a:lnTo>
                  <a:pt x="5465" y="3498"/>
                </a:lnTo>
                <a:lnTo>
                  <a:pt x="5462" y="3490"/>
                </a:lnTo>
                <a:lnTo>
                  <a:pt x="5459" y="3482"/>
                </a:lnTo>
                <a:lnTo>
                  <a:pt x="5456" y="3474"/>
                </a:lnTo>
                <a:lnTo>
                  <a:pt x="5454" y="3466"/>
                </a:lnTo>
                <a:lnTo>
                  <a:pt x="5452" y="3458"/>
                </a:lnTo>
                <a:lnTo>
                  <a:pt x="5450" y="3448"/>
                </a:lnTo>
                <a:lnTo>
                  <a:pt x="5449" y="3439"/>
                </a:lnTo>
                <a:lnTo>
                  <a:pt x="5448" y="3431"/>
                </a:lnTo>
                <a:lnTo>
                  <a:pt x="5447" y="3422"/>
                </a:lnTo>
                <a:lnTo>
                  <a:pt x="5447" y="3412"/>
                </a:lnTo>
                <a:lnTo>
                  <a:pt x="5448" y="3394"/>
                </a:lnTo>
                <a:lnTo>
                  <a:pt x="5449" y="3384"/>
                </a:lnTo>
                <a:lnTo>
                  <a:pt x="5450" y="3374"/>
                </a:lnTo>
                <a:lnTo>
                  <a:pt x="5452" y="3365"/>
                </a:lnTo>
                <a:lnTo>
                  <a:pt x="5454" y="3357"/>
                </a:lnTo>
                <a:lnTo>
                  <a:pt x="5456" y="3348"/>
                </a:lnTo>
                <a:lnTo>
                  <a:pt x="5459" y="3339"/>
                </a:lnTo>
                <a:lnTo>
                  <a:pt x="5462" y="3330"/>
                </a:lnTo>
                <a:lnTo>
                  <a:pt x="5466" y="3322"/>
                </a:lnTo>
                <a:lnTo>
                  <a:pt x="5470" y="3314"/>
                </a:lnTo>
                <a:lnTo>
                  <a:pt x="5474" y="3306"/>
                </a:lnTo>
                <a:lnTo>
                  <a:pt x="5478" y="3298"/>
                </a:lnTo>
                <a:lnTo>
                  <a:pt x="5483" y="3291"/>
                </a:lnTo>
                <a:lnTo>
                  <a:pt x="5494" y="3277"/>
                </a:lnTo>
                <a:lnTo>
                  <a:pt x="5500" y="3269"/>
                </a:lnTo>
                <a:lnTo>
                  <a:pt x="5505" y="3263"/>
                </a:lnTo>
                <a:lnTo>
                  <a:pt x="5518" y="3252"/>
                </a:lnTo>
                <a:lnTo>
                  <a:pt x="5524" y="3247"/>
                </a:lnTo>
                <a:lnTo>
                  <a:pt x="5531" y="3242"/>
                </a:lnTo>
                <a:lnTo>
                  <a:pt x="5537" y="3237"/>
                </a:lnTo>
                <a:lnTo>
                  <a:pt x="5545" y="3233"/>
                </a:lnTo>
                <a:lnTo>
                  <a:pt x="5553" y="3230"/>
                </a:lnTo>
                <a:lnTo>
                  <a:pt x="5560" y="3227"/>
                </a:lnTo>
                <a:lnTo>
                  <a:pt x="5568" y="3224"/>
                </a:lnTo>
                <a:lnTo>
                  <a:pt x="5576" y="3222"/>
                </a:lnTo>
                <a:lnTo>
                  <a:pt x="5583" y="3220"/>
                </a:lnTo>
                <a:lnTo>
                  <a:pt x="5591" y="3219"/>
                </a:lnTo>
                <a:lnTo>
                  <a:pt x="5600" y="3218"/>
                </a:lnTo>
                <a:lnTo>
                  <a:pt x="5608" y="3218"/>
                </a:lnTo>
                <a:lnTo>
                  <a:pt x="5619" y="3218"/>
                </a:lnTo>
                <a:lnTo>
                  <a:pt x="5624" y="3219"/>
                </a:lnTo>
                <a:lnTo>
                  <a:pt x="5629" y="3219"/>
                </a:lnTo>
                <a:lnTo>
                  <a:pt x="5633" y="3220"/>
                </a:lnTo>
                <a:lnTo>
                  <a:pt x="5638" y="3222"/>
                </a:lnTo>
                <a:lnTo>
                  <a:pt x="5646" y="3225"/>
                </a:lnTo>
                <a:lnTo>
                  <a:pt x="5654" y="3229"/>
                </a:lnTo>
                <a:lnTo>
                  <a:pt x="5661" y="3233"/>
                </a:lnTo>
                <a:lnTo>
                  <a:pt x="5668" y="3239"/>
                </a:lnTo>
                <a:lnTo>
                  <a:pt x="5675" y="3245"/>
                </a:lnTo>
                <a:lnTo>
                  <a:pt x="5678" y="3248"/>
                </a:lnTo>
                <a:lnTo>
                  <a:pt x="5680" y="3251"/>
                </a:lnTo>
                <a:lnTo>
                  <a:pt x="5685" y="3258"/>
                </a:lnTo>
                <a:lnTo>
                  <a:pt x="5689" y="3266"/>
                </a:lnTo>
                <a:lnTo>
                  <a:pt x="5693" y="3276"/>
                </a:lnTo>
                <a:lnTo>
                  <a:pt x="5695" y="3284"/>
                </a:lnTo>
                <a:lnTo>
                  <a:pt x="5697" y="3293"/>
                </a:lnTo>
                <a:lnTo>
                  <a:pt x="5698" y="3303"/>
                </a:lnTo>
                <a:lnTo>
                  <a:pt x="5699" y="3313"/>
                </a:lnTo>
                <a:lnTo>
                  <a:pt x="5698" y="3325"/>
                </a:lnTo>
                <a:lnTo>
                  <a:pt x="5697" y="3333"/>
                </a:lnTo>
                <a:lnTo>
                  <a:pt x="5696" y="3339"/>
                </a:lnTo>
                <a:lnTo>
                  <a:pt x="5692" y="3351"/>
                </a:lnTo>
                <a:lnTo>
                  <a:pt x="5687" y="3362"/>
                </a:lnTo>
                <a:lnTo>
                  <a:pt x="5681" y="3373"/>
                </a:lnTo>
                <a:lnTo>
                  <a:pt x="5673" y="3384"/>
                </a:lnTo>
                <a:lnTo>
                  <a:pt x="5668" y="3389"/>
                </a:lnTo>
                <a:lnTo>
                  <a:pt x="5664" y="3395"/>
                </a:lnTo>
                <a:lnTo>
                  <a:pt x="5655" y="3404"/>
                </a:lnTo>
                <a:lnTo>
                  <a:pt x="5645" y="3413"/>
                </a:lnTo>
                <a:lnTo>
                  <a:pt x="5640" y="3416"/>
                </a:lnTo>
                <a:lnTo>
                  <a:pt x="5634" y="3420"/>
                </a:lnTo>
                <a:lnTo>
                  <a:pt x="5623" y="3427"/>
                </a:lnTo>
                <a:lnTo>
                  <a:pt x="5611" y="3432"/>
                </a:lnTo>
                <a:lnTo>
                  <a:pt x="5598" y="3437"/>
                </a:lnTo>
                <a:lnTo>
                  <a:pt x="5592" y="3439"/>
                </a:lnTo>
                <a:lnTo>
                  <a:pt x="5586" y="3440"/>
                </a:lnTo>
                <a:lnTo>
                  <a:pt x="5579" y="3441"/>
                </a:lnTo>
                <a:lnTo>
                  <a:pt x="5573" y="3442"/>
                </a:lnTo>
                <a:lnTo>
                  <a:pt x="5561" y="3443"/>
                </a:lnTo>
                <a:lnTo>
                  <a:pt x="5555" y="3442"/>
                </a:lnTo>
                <a:lnTo>
                  <a:pt x="5549" y="3441"/>
                </a:lnTo>
                <a:lnTo>
                  <a:pt x="5545" y="3438"/>
                </a:lnTo>
                <a:lnTo>
                  <a:pt x="5543" y="3436"/>
                </a:lnTo>
                <a:lnTo>
                  <a:pt x="5541" y="3434"/>
                </a:lnTo>
                <a:lnTo>
                  <a:pt x="5538" y="3429"/>
                </a:lnTo>
                <a:lnTo>
                  <a:pt x="5535" y="3424"/>
                </a:lnTo>
                <a:lnTo>
                  <a:pt x="5535" y="3421"/>
                </a:lnTo>
                <a:lnTo>
                  <a:pt x="5534" y="3418"/>
                </a:lnTo>
                <a:lnTo>
                  <a:pt x="5533" y="3412"/>
                </a:lnTo>
                <a:lnTo>
                  <a:pt x="5533" y="3409"/>
                </a:lnTo>
                <a:lnTo>
                  <a:pt x="5534" y="3406"/>
                </a:lnTo>
                <a:lnTo>
                  <a:pt x="5535" y="3401"/>
                </a:lnTo>
                <a:lnTo>
                  <a:pt x="5536" y="3399"/>
                </a:lnTo>
                <a:lnTo>
                  <a:pt x="5537" y="3397"/>
                </a:lnTo>
                <a:lnTo>
                  <a:pt x="5539" y="3396"/>
                </a:lnTo>
                <a:lnTo>
                  <a:pt x="5540" y="3395"/>
                </a:lnTo>
                <a:lnTo>
                  <a:pt x="5552" y="3393"/>
                </a:lnTo>
                <a:lnTo>
                  <a:pt x="5563" y="3389"/>
                </a:lnTo>
                <a:lnTo>
                  <a:pt x="5573" y="3386"/>
                </a:lnTo>
                <a:lnTo>
                  <a:pt x="5583" y="3382"/>
                </a:lnTo>
                <a:lnTo>
                  <a:pt x="5592" y="3377"/>
                </a:lnTo>
                <a:lnTo>
                  <a:pt x="5600" y="3372"/>
                </a:lnTo>
                <a:lnTo>
                  <a:pt x="5608" y="3367"/>
                </a:lnTo>
                <a:lnTo>
                  <a:pt x="5613" y="3364"/>
                </a:lnTo>
                <a:lnTo>
                  <a:pt x="5616" y="3361"/>
                </a:lnTo>
                <a:lnTo>
                  <a:pt x="5623" y="3354"/>
                </a:lnTo>
                <a:lnTo>
                  <a:pt x="5628" y="3348"/>
                </a:lnTo>
                <a:lnTo>
                  <a:pt x="5633" y="3341"/>
                </a:lnTo>
                <a:lnTo>
                  <a:pt x="5638" y="3334"/>
                </a:lnTo>
                <a:lnTo>
                  <a:pt x="5641" y="3326"/>
                </a:lnTo>
                <a:lnTo>
                  <a:pt x="5643" y="3319"/>
                </a:lnTo>
                <a:lnTo>
                  <a:pt x="5645" y="3312"/>
                </a:lnTo>
                <a:lnTo>
                  <a:pt x="5645" y="3305"/>
                </a:lnTo>
                <a:lnTo>
                  <a:pt x="5645" y="3297"/>
                </a:lnTo>
                <a:lnTo>
                  <a:pt x="5642" y="3290"/>
                </a:lnTo>
                <a:lnTo>
                  <a:pt x="5641" y="3286"/>
                </a:lnTo>
                <a:lnTo>
                  <a:pt x="5639" y="3283"/>
                </a:lnTo>
                <a:lnTo>
                  <a:pt x="5637" y="3281"/>
                </a:lnTo>
                <a:lnTo>
                  <a:pt x="5634" y="3278"/>
                </a:lnTo>
                <a:lnTo>
                  <a:pt x="5629" y="3274"/>
                </a:lnTo>
                <a:lnTo>
                  <a:pt x="5625" y="3272"/>
                </a:lnTo>
                <a:lnTo>
                  <a:pt x="5622" y="3270"/>
                </a:lnTo>
                <a:lnTo>
                  <a:pt x="5614" y="3268"/>
                </a:lnTo>
                <a:lnTo>
                  <a:pt x="5609" y="3267"/>
                </a:lnTo>
                <a:lnTo>
                  <a:pt x="5604" y="3267"/>
                </a:lnTo>
                <a:lnTo>
                  <a:pt x="5595" y="3268"/>
                </a:lnTo>
                <a:lnTo>
                  <a:pt x="5591" y="3269"/>
                </a:lnTo>
                <a:lnTo>
                  <a:pt x="5586" y="3270"/>
                </a:lnTo>
                <a:lnTo>
                  <a:pt x="5582" y="3273"/>
                </a:lnTo>
                <a:lnTo>
                  <a:pt x="5578" y="3275"/>
                </a:lnTo>
                <a:lnTo>
                  <a:pt x="5573" y="3277"/>
                </a:lnTo>
                <a:lnTo>
                  <a:pt x="5569" y="3279"/>
                </a:lnTo>
                <a:lnTo>
                  <a:pt x="5564" y="3282"/>
                </a:lnTo>
                <a:lnTo>
                  <a:pt x="5560" y="3285"/>
                </a:lnTo>
                <a:lnTo>
                  <a:pt x="5552" y="3292"/>
                </a:lnTo>
                <a:lnTo>
                  <a:pt x="5543" y="3300"/>
                </a:lnTo>
                <a:lnTo>
                  <a:pt x="5536" y="3309"/>
                </a:lnTo>
                <a:lnTo>
                  <a:pt x="5532" y="3314"/>
                </a:lnTo>
                <a:lnTo>
                  <a:pt x="5529" y="3319"/>
                </a:lnTo>
                <a:lnTo>
                  <a:pt x="5523" y="3330"/>
                </a:lnTo>
                <a:lnTo>
                  <a:pt x="5517" y="3343"/>
                </a:lnTo>
                <a:lnTo>
                  <a:pt x="5512" y="3355"/>
                </a:lnTo>
                <a:lnTo>
                  <a:pt x="5509" y="3368"/>
                </a:lnTo>
                <a:lnTo>
                  <a:pt x="5506" y="3381"/>
                </a:lnTo>
                <a:lnTo>
                  <a:pt x="5504" y="3396"/>
                </a:lnTo>
                <a:lnTo>
                  <a:pt x="5504" y="3403"/>
                </a:lnTo>
                <a:lnTo>
                  <a:pt x="5503" y="3410"/>
                </a:lnTo>
                <a:lnTo>
                  <a:pt x="5504" y="3423"/>
                </a:lnTo>
                <a:lnTo>
                  <a:pt x="5505" y="3435"/>
                </a:lnTo>
                <a:lnTo>
                  <a:pt x="5507" y="3446"/>
                </a:lnTo>
                <a:lnTo>
                  <a:pt x="5509" y="3453"/>
                </a:lnTo>
                <a:lnTo>
                  <a:pt x="5510" y="3458"/>
                </a:lnTo>
                <a:lnTo>
                  <a:pt x="5514" y="3469"/>
                </a:lnTo>
                <a:lnTo>
                  <a:pt x="5516" y="3474"/>
                </a:lnTo>
                <a:lnTo>
                  <a:pt x="5518" y="3479"/>
                </a:lnTo>
                <a:lnTo>
                  <a:pt x="5521" y="3483"/>
                </a:lnTo>
                <a:lnTo>
                  <a:pt x="5524" y="3488"/>
                </a:lnTo>
                <a:lnTo>
                  <a:pt x="5526" y="3492"/>
                </a:lnTo>
                <a:lnTo>
                  <a:pt x="5529" y="3496"/>
                </a:lnTo>
                <a:lnTo>
                  <a:pt x="5533" y="3500"/>
                </a:lnTo>
                <a:lnTo>
                  <a:pt x="5536" y="3503"/>
                </a:lnTo>
                <a:lnTo>
                  <a:pt x="5543" y="3510"/>
                </a:lnTo>
                <a:lnTo>
                  <a:pt x="5552" y="3517"/>
                </a:lnTo>
                <a:lnTo>
                  <a:pt x="5561" y="3522"/>
                </a:lnTo>
                <a:lnTo>
                  <a:pt x="5570" y="3525"/>
                </a:lnTo>
                <a:lnTo>
                  <a:pt x="5579" y="3528"/>
                </a:lnTo>
                <a:lnTo>
                  <a:pt x="5590" y="3530"/>
                </a:lnTo>
                <a:lnTo>
                  <a:pt x="5595" y="3530"/>
                </a:lnTo>
                <a:lnTo>
                  <a:pt x="5600" y="3530"/>
                </a:lnTo>
                <a:lnTo>
                  <a:pt x="5612" y="3530"/>
                </a:lnTo>
                <a:lnTo>
                  <a:pt x="5622" y="3528"/>
                </a:lnTo>
                <a:lnTo>
                  <a:pt x="5632" y="3526"/>
                </a:lnTo>
                <a:lnTo>
                  <a:pt x="5641" y="3523"/>
                </a:lnTo>
                <a:lnTo>
                  <a:pt x="5651" y="3518"/>
                </a:lnTo>
                <a:lnTo>
                  <a:pt x="5660" y="3513"/>
                </a:lnTo>
                <a:lnTo>
                  <a:pt x="5668" y="3507"/>
                </a:lnTo>
                <a:lnTo>
                  <a:pt x="5678" y="3500"/>
                </a:lnTo>
                <a:lnTo>
                  <a:pt x="5685" y="3493"/>
                </a:lnTo>
                <a:lnTo>
                  <a:pt x="5693" y="3485"/>
                </a:lnTo>
                <a:lnTo>
                  <a:pt x="5700" y="3476"/>
                </a:lnTo>
                <a:lnTo>
                  <a:pt x="5707" y="3467"/>
                </a:lnTo>
                <a:lnTo>
                  <a:pt x="5720" y="3447"/>
                </a:lnTo>
                <a:lnTo>
                  <a:pt x="5726" y="3437"/>
                </a:lnTo>
                <a:lnTo>
                  <a:pt x="5733" y="3426"/>
                </a:lnTo>
                <a:lnTo>
                  <a:pt x="5738" y="3415"/>
                </a:lnTo>
                <a:lnTo>
                  <a:pt x="5743" y="3404"/>
                </a:lnTo>
                <a:lnTo>
                  <a:pt x="5747" y="3392"/>
                </a:lnTo>
                <a:lnTo>
                  <a:pt x="5751" y="3379"/>
                </a:lnTo>
                <a:lnTo>
                  <a:pt x="5755" y="3367"/>
                </a:lnTo>
                <a:lnTo>
                  <a:pt x="5759" y="3355"/>
                </a:lnTo>
                <a:lnTo>
                  <a:pt x="5762" y="3343"/>
                </a:lnTo>
                <a:lnTo>
                  <a:pt x="5764" y="3330"/>
                </a:lnTo>
                <a:lnTo>
                  <a:pt x="5766" y="3318"/>
                </a:lnTo>
                <a:lnTo>
                  <a:pt x="5768" y="3307"/>
                </a:lnTo>
                <a:lnTo>
                  <a:pt x="5770" y="3295"/>
                </a:lnTo>
                <a:lnTo>
                  <a:pt x="5771" y="3283"/>
                </a:lnTo>
                <a:lnTo>
                  <a:pt x="5772" y="3272"/>
                </a:lnTo>
                <a:lnTo>
                  <a:pt x="5772" y="3260"/>
                </a:lnTo>
                <a:lnTo>
                  <a:pt x="5772" y="3249"/>
                </a:lnTo>
                <a:lnTo>
                  <a:pt x="5771" y="3239"/>
                </a:lnTo>
                <a:lnTo>
                  <a:pt x="5772" y="3236"/>
                </a:lnTo>
                <a:lnTo>
                  <a:pt x="5774" y="3234"/>
                </a:lnTo>
                <a:lnTo>
                  <a:pt x="5776" y="3232"/>
                </a:lnTo>
                <a:lnTo>
                  <a:pt x="5779" y="3230"/>
                </a:lnTo>
                <a:lnTo>
                  <a:pt x="5786" y="3227"/>
                </a:lnTo>
                <a:lnTo>
                  <a:pt x="5789" y="3227"/>
                </a:lnTo>
                <a:lnTo>
                  <a:pt x="5795" y="3226"/>
                </a:lnTo>
                <a:lnTo>
                  <a:pt x="5802" y="3227"/>
                </a:lnTo>
                <a:lnTo>
                  <a:pt x="5805" y="3228"/>
                </a:lnTo>
                <a:lnTo>
                  <a:pt x="5808" y="3229"/>
                </a:lnTo>
                <a:lnTo>
                  <a:pt x="5814" y="3231"/>
                </a:lnTo>
                <a:lnTo>
                  <a:pt x="5817" y="3233"/>
                </a:lnTo>
                <a:lnTo>
                  <a:pt x="5819" y="3236"/>
                </a:lnTo>
                <a:lnTo>
                  <a:pt x="5823" y="3241"/>
                </a:lnTo>
                <a:lnTo>
                  <a:pt x="5825" y="3245"/>
                </a:lnTo>
                <a:lnTo>
                  <a:pt x="5826" y="3249"/>
                </a:lnTo>
                <a:lnTo>
                  <a:pt x="5827" y="3253"/>
                </a:lnTo>
                <a:lnTo>
                  <a:pt x="5828" y="3258"/>
                </a:lnTo>
                <a:lnTo>
                  <a:pt x="5828" y="3263"/>
                </a:lnTo>
                <a:lnTo>
                  <a:pt x="5828" y="3269"/>
                </a:lnTo>
                <a:lnTo>
                  <a:pt x="5828" y="3286"/>
                </a:lnTo>
                <a:lnTo>
                  <a:pt x="5827" y="3301"/>
                </a:lnTo>
                <a:lnTo>
                  <a:pt x="5825" y="3316"/>
                </a:lnTo>
                <a:lnTo>
                  <a:pt x="5823" y="3333"/>
                </a:lnTo>
                <a:lnTo>
                  <a:pt x="5821" y="3347"/>
                </a:lnTo>
                <a:lnTo>
                  <a:pt x="5818" y="3362"/>
                </a:lnTo>
                <a:lnTo>
                  <a:pt x="5814" y="3377"/>
                </a:lnTo>
                <a:lnTo>
                  <a:pt x="5810" y="3392"/>
                </a:lnTo>
                <a:lnTo>
                  <a:pt x="5806" y="3406"/>
                </a:lnTo>
                <a:lnTo>
                  <a:pt x="5801" y="3419"/>
                </a:lnTo>
                <a:lnTo>
                  <a:pt x="5796" y="3432"/>
                </a:lnTo>
                <a:lnTo>
                  <a:pt x="5789" y="3445"/>
                </a:lnTo>
                <a:lnTo>
                  <a:pt x="5783" y="3459"/>
                </a:lnTo>
                <a:lnTo>
                  <a:pt x="5777" y="3471"/>
                </a:lnTo>
                <a:lnTo>
                  <a:pt x="5770" y="3482"/>
                </a:lnTo>
                <a:lnTo>
                  <a:pt x="5763" y="3493"/>
                </a:lnTo>
                <a:lnTo>
                  <a:pt x="5755" y="3504"/>
                </a:lnTo>
                <a:lnTo>
                  <a:pt x="5747" y="3515"/>
                </a:lnTo>
                <a:lnTo>
                  <a:pt x="5738" y="3525"/>
                </a:lnTo>
                <a:lnTo>
                  <a:pt x="5729" y="3534"/>
                </a:lnTo>
                <a:lnTo>
                  <a:pt x="5720" y="3542"/>
                </a:lnTo>
                <a:lnTo>
                  <a:pt x="5710" y="3550"/>
                </a:lnTo>
                <a:lnTo>
                  <a:pt x="5701" y="3557"/>
                </a:lnTo>
                <a:lnTo>
                  <a:pt x="5691" y="3564"/>
                </a:lnTo>
                <a:lnTo>
                  <a:pt x="5680" y="3570"/>
                </a:lnTo>
                <a:lnTo>
                  <a:pt x="5669" y="3576"/>
                </a:lnTo>
                <a:lnTo>
                  <a:pt x="5658" y="3580"/>
                </a:lnTo>
                <a:lnTo>
                  <a:pt x="5646" y="3584"/>
                </a:lnTo>
                <a:lnTo>
                  <a:pt x="5635" y="3587"/>
                </a:lnTo>
                <a:lnTo>
                  <a:pt x="5623" y="3589"/>
                </a:lnTo>
                <a:lnTo>
                  <a:pt x="5611" y="3590"/>
                </a:lnTo>
                <a:lnTo>
                  <a:pt x="5598" y="3591"/>
                </a:lnTo>
                <a:close/>
                <a:moveTo>
                  <a:pt x="5986" y="3585"/>
                </a:moveTo>
                <a:lnTo>
                  <a:pt x="5984" y="3585"/>
                </a:lnTo>
                <a:lnTo>
                  <a:pt x="5982" y="3584"/>
                </a:lnTo>
                <a:lnTo>
                  <a:pt x="5977" y="3581"/>
                </a:lnTo>
                <a:lnTo>
                  <a:pt x="5969" y="3577"/>
                </a:lnTo>
                <a:lnTo>
                  <a:pt x="5962" y="3572"/>
                </a:lnTo>
                <a:lnTo>
                  <a:pt x="5949" y="3560"/>
                </a:lnTo>
                <a:lnTo>
                  <a:pt x="5934" y="3546"/>
                </a:lnTo>
                <a:lnTo>
                  <a:pt x="5918" y="3530"/>
                </a:lnTo>
                <a:lnTo>
                  <a:pt x="5900" y="3513"/>
                </a:lnTo>
                <a:lnTo>
                  <a:pt x="5884" y="3495"/>
                </a:lnTo>
                <a:lnTo>
                  <a:pt x="5870" y="3479"/>
                </a:lnTo>
                <a:lnTo>
                  <a:pt x="5859" y="3464"/>
                </a:lnTo>
                <a:lnTo>
                  <a:pt x="5854" y="3458"/>
                </a:lnTo>
                <a:lnTo>
                  <a:pt x="5851" y="3453"/>
                </a:lnTo>
                <a:lnTo>
                  <a:pt x="5845" y="3442"/>
                </a:lnTo>
                <a:lnTo>
                  <a:pt x="5841" y="3432"/>
                </a:lnTo>
                <a:lnTo>
                  <a:pt x="5839" y="3422"/>
                </a:lnTo>
                <a:lnTo>
                  <a:pt x="5838" y="3412"/>
                </a:lnTo>
                <a:lnTo>
                  <a:pt x="5838" y="3407"/>
                </a:lnTo>
                <a:lnTo>
                  <a:pt x="5839" y="3401"/>
                </a:lnTo>
                <a:lnTo>
                  <a:pt x="5841" y="3395"/>
                </a:lnTo>
                <a:lnTo>
                  <a:pt x="5842" y="3388"/>
                </a:lnTo>
                <a:lnTo>
                  <a:pt x="5845" y="3382"/>
                </a:lnTo>
                <a:lnTo>
                  <a:pt x="5848" y="3376"/>
                </a:lnTo>
                <a:lnTo>
                  <a:pt x="5853" y="3369"/>
                </a:lnTo>
                <a:lnTo>
                  <a:pt x="5858" y="3362"/>
                </a:lnTo>
                <a:lnTo>
                  <a:pt x="5866" y="3351"/>
                </a:lnTo>
                <a:lnTo>
                  <a:pt x="5877" y="3338"/>
                </a:lnTo>
                <a:lnTo>
                  <a:pt x="5907" y="3303"/>
                </a:lnTo>
                <a:lnTo>
                  <a:pt x="5942" y="3263"/>
                </a:lnTo>
                <a:lnTo>
                  <a:pt x="5978" y="3223"/>
                </a:lnTo>
                <a:lnTo>
                  <a:pt x="5979" y="3222"/>
                </a:lnTo>
                <a:lnTo>
                  <a:pt x="5983" y="3222"/>
                </a:lnTo>
                <a:lnTo>
                  <a:pt x="5986" y="3222"/>
                </a:lnTo>
                <a:lnTo>
                  <a:pt x="5991" y="3223"/>
                </a:lnTo>
                <a:lnTo>
                  <a:pt x="5995" y="3225"/>
                </a:lnTo>
                <a:lnTo>
                  <a:pt x="5999" y="3228"/>
                </a:lnTo>
                <a:lnTo>
                  <a:pt x="6003" y="3231"/>
                </a:lnTo>
                <a:lnTo>
                  <a:pt x="6007" y="3235"/>
                </a:lnTo>
                <a:lnTo>
                  <a:pt x="6011" y="3239"/>
                </a:lnTo>
                <a:lnTo>
                  <a:pt x="6014" y="3244"/>
                </a:lnTo>
                <a:lnTo>
                  <a:pt x="6015" y="3248"/>
                </a:lnTo>
                <a:lnTo>
                  <a:pt x="6015" y="3253"/>
                </a:lnTo>
                <a:lnTo>
                  <a:pt x="6015" y="3259"/>
                </a:lnTo>
                <a:lnTo>
                  <a:pt x="6013" y="3264"/>
                </a:lnTo>
                <a:lnTo>
                  <a:pt x="6010" y="3270"/>
                </a:lnTo>
                <a:lnTo>
                  <a:pt x="6006" y="3277"/>
                </a:lnTo>
                <a:lnTo>
                  <a:pt x="5998" y="3287"/>
                </a:lnTo>
                <a:lnTo>
                  <a:pt x="5987" y="3300"/>
                </a:lnTo>
                <a:lnTo>
                  <a:pt x="5957" y="3334"/>
                </a:lnTo>
                <a:lnTo>
                  <a:pt x="5927" y="3368"/>
                </a:lnTo>
                <a:lnTo>
                  <a:pt x="5915" y="3382"/>
                </a:lnTo>
                <a:lnTo>
                  <a:pt x="5905" y="3395"/>
                </a:lnTo>
                <a:lnTo>
                  <a:pt x="5902" y="3398"/>
                </a:lnTo>
                <a:lnTo>
                  <a:pt x="5901" y="3402"/>
                </a:lnTo>
                <a:lnTo>
                  <a:pt x="5899" y="3406"/>
                </a:lnTo>
                <a:lnTo>
                  <a:pt x="5899" y="3409"/>
                </a:lnTo>
                <a:lnTo>
                  <a:pt x="5900" y="3414"/>
                </a:lnTo>
                <a:lnTo>
                  <a:pt x="5901" y="3418"/>
                </a:lnTo>
                <a:lnTo>
                  <a:pt x="5903" y="3422"/>
                </a:lnTo>
                <a:lnTo>
                  <a:pt x="5906" y="3427"/>
                </a:lnTo>
                <a:lnTo>
                  <a:pt x="5914" y="3436"/>
                </a:lnTo>
                <a:lnTo>
                  <a:pt x="5925" y="3448"/>
                </a:lnTo>
                <a:lnTo>
                  <a:pt x="5952" y="3478"/>
                </a:lnTo>
                <a:lnTo>
                  <a:pt x="5985" y="3510"/>
                </a:lnTo>
                <a:lnTo>
                  <a:pt x="6016" y="3541"/>
                </a:lnTo>
                <a:lnTo>
                  <a:pt x="6018" y="3543"/>
                </a:lnTo>
                <a:lnTo>
                  <a:pt x="6019" y="3545"/>
                </a:lnTo>
                <a:lnTo>
                  <a:pt x="6020" y="3548"/>
                </a:lnTo>
                <a:lnTo>
                  <a:pt x="6021" y="3550"/>
                </a:lnTo>
                <a:lnTo>
                  <a:pt x="6020" y="3556"/>
                </a:lnTo>
                <a:lnTo>
                  <a:pt x="6019" y="3559"/>
                </a:lnTo>
                <a:lnTo>
                  <a:pt x="6017" y="3561"/>
                </a:lnTo>
                <a:lnTo>
                  <a:pt x="6014" y="3567"/>
                </a:lnTo>
                <a:lnTo>
                  <a:pt x="6011" y="3570"/>
                </a:lnTo>
                <a:lnTo>
                  <a:pt x="6009" y="3573"/>
                </a:lnTo>
                <a:lnTo>
                  <a:pt x="6004" y="3578"/>
                </a:lnTo>
                <a:lnTo>
                  <a:pt x="6001" y="3580"/>
                </a:lnTo>
                <a:lnTo>
                  <a:pt x="5998" y="3582"/>
                </a:lnTo>
                <a:lnTo>
                  <a:pt x="5992" y="3584"/>
                </a:lnTo>
                <a:lnTo>
                  <a:pt x="5989" y="3585"/>
                </a:lnTo>
                <a:lnTo>
                  <a:pt x="5986" y="3585"/>
                </a:lnTo>
                <a:close/>
                <a:moveTo>
                  <a:pt x="5765" y="4321"/>
                </a:moveTo>
                <a:lnTo>
                  <a:pt x="5769" y="4298"/>
                </a:lnTo>
                <a:lnTo>
                  <a:pt x="5771" y="4275"/>
                </a:lnTo>
                <a:lnTo>
                  <a:pt x="5772" y="4253"/>
                </a:lnTo>
                <a:lnTo>
                  <a:pt x="5772" y="4243"/>
                </a:lnTo>
                <a:lnTo>
                  <a:pt x="5771" y="4233"/>
                </a:lnTo>
                <a:lnTo>
                  <a:pt x="5772" y="4229"/>
                </a:lnTo>
                <a:lnTo>
                  <a:pt x="5774" y="4227"/>
                </a:lnTo>
                <a:lnTo>
                  <a:pt x="5776" y="4225"/>
                </a:lnTo>
                <a:lnTo>
                  <a:pt x="5779" y="4223"/>
                </a:lnTo>
                <a:lnTo>
                  <a:pt x="5786" y="4221"/>
                </a:lnTo>
                <a:lnTo>
                  <a:pt x="5789" y="4220"/>
                </a:lnTo>
                <a:lnTo>
                  <a:pt x="5795" y="4220"/>
                </a:lnTo>
                <a:lnTo>
                  <a:pt x="5802" y="4220"/>
                </a:lnTo>
                <a:lnTo>
                  <a:pt x="5805" y="4221"/>
                </a:lnTo>
                <a:lnTo>
                  <a:pt x="5808" y="4222"/>
                </a:lnTo>
                <a:lnTo>
                  <a:pt x="5814" y="4225"/>
                </a:lnTo>
                <a:lnTo>
                  <a:pt x="5817" y="4227"/>
                </a:lnTo>
                <a:lnTo>
                  <a:pt x="5819" y="4229"/>
                </a:lnTo>
                <a:lnTo>
                  <a:pt x="5823" y="4236"/>
                </a:lnTo>
                <a:lnTo>
                  <a:pt x="5825" y="4239"/>
                </a:lnTo>
                <a:lnTo>
                  <a:pt x="5826" y="4243"/>
                </a:lnTo>
                <a:lnTo>
                  <a:pt x="5827" y="4247"/>
                </a:lnTo>
                <a:lnTo>
                  <a:pt x="5828" y="4252"/>
                </a:lnTo>
                <a:lnTo>
                  <a:pt x="5828" y="4258"/>
                </a:lnTo>
                <a:lnTo>
                  <a:pt x="5828" y="4263"/>
                </a:lnTo>
                <a:lnTo>
                  <a:pt x="5828" y="4278"/>
                </a:lnTo>
                <a:lnTo>
                  <a:pt x="5827" y="4293"/>
                </a:lnTo>
                <a:lnTo>
                  <a:pt x="5824" y="4321"/>
                </a:lnTo>
                <a:lnTo>
                  <a:pt x="5765" y="4321"/>
                </a:lnTo>
                <a:close/>
                <a:moveTo>
                  <a:pt x="5463" y="4321"/>
                </a:moveTo>
                <a:lnTo>
                  <a:pt x="5466" y="4315"/>
                </a:lnTo>
                <a:lnTo>
                  <a:pt x="5469" y="4310"/>
                </a:lnTo>
                <a:lnTo>
                  <a:pt x="5474" y="4299"/>
                </a:lnTo>
                <a:lnTo>
                  <a:pt x="5481" y="4287"/>
                </a:lnTo>
                <a:lnTo>
                  <a:pt x="5488" y="4277"/>
                </a:lnTo>
                <a:lnTo>
                  <a:pt x="5496" y="4267"/>
                </a:lnTo>
                <a:lnTo>
                  <a:pt x="5504" y="4258"/>
                </a:lnTo>
                <a:lnTo>
                  <a:pt x="5509" y="4254"/>
                </a:lnTo>
                <a:lnTo>
                  <a:pt x="5513" y="4250"/>
                </a:lnTo>
                <a:lnTo>
                  <a:pt x="5522" y="4243"/>
                </a:lnTo>
                <a:lnTo>
                  <a:pt x="5526" y="4239"/>
                </a:lnTo>
                <a:lnTo>
                  <a:pt x="5531" y="4236"/>
                </a:lnTo>
                <a:lnTo>
                  <a:pt x="5541" y="4229"/>
                </a:lnTo>
                <a:lnTo>
                  <a:pt x="5546" y="4226"/>
                </a:lnTo>
                <a:lnTo>
                  <a:pt x="5552" y="4223"/>
                </a:lnTo>
                <a:lnTo>
                  <a:pt x="5563" y="4219"/>
                </a:lnTo>
                <a:lnTo>
                  <a:pt x="5574" y="4215"/>
                </a:lnTo>
                <a:lnTo>
                  <a:pt x="5585" y="4213"/>
                </a:lnTo>
                <a:lnTo>
                  <a:pt x="5590" y="4212"/>
                </a:lnTo>
                <a:lnTo>
                  <a:pt x="5596" y="4211"/>
                </a:lnTo>
                <a:lnTo>
                  <a:pt x="5608" y="4211"/>
                </a:lnTo>
                <a:lnTo>
                  <a:pt x="5619" y="4211"/>
                </a:lnTo>
                <a:lnTo>
                  <a:pt x="5624" y="4212"/>
                </a:lnTo>
                <a:lnTo>
                  <a:pt x="5629" y="4213"/>
                </a:lnTo>
                <a:lnTo>
                  <a:pt x="5633" y="4214"/>
                </a:lnTo>
                <a:lnTo>
                  <a:pt x="5638" y="4215"/>
                </a:lnTo>
                <a:lnTo>
                  <a:pt x="5646" y="4218"/>
                </a:lnTo>
                <a:lnTo>
                  <a:pt x="5654" y="4222"/>
                </a:lnTo>
                <a:lnTo>
                  <a:pt x="5661" y="4226"/>
                </a:lnTo>
                <a:lnTo>
                  <a:pt x="5668" y="4233"/>
                </a:lnTo>
                <a:lnTo>
                  <a:pt x="5675" y="4239"/>
                </a:lnTo>
                <a:lnTo>
                  <a:pt x="5678" y="4242"/>
                </a:lnTo>
                <a:lnTo>
                  <a:pt x="5680" y="4245"/>
                </a:lnTo>
                <a:lnTo>
                  <a:pt x="5685" y="4253"/>
                </a:lnTo>
                <a:lnTo>
                  <a:pt x="5689" y="4260"/>
                </a:lnTo>
                <a:lnTo>
                  <a:pt x="5693" y="4269"/>
                </a:lnTo>
                <a:lnTo>
                  <a:pt x="5695" y="4277"/>
                </a:lnTo>
                <a:lnTo>
                  <a:pt x="5697" y="4287"/>
                </a:lnTo>
                <a:lnTo>
                  <a:pt x="5698" y="4297"/>
                </a:lnTo>
                <a:lnTo>
                  <a:pt x="5699" y="4307"/>
                </a:lnTo>
                <a:lnTo>
                  <a:pt x="5698" y="4314"/>
                </a:lnTo>
                <a:lnTo>
                  <a:pt x="5698" y="4321"/>
                </a:lnTo>
                <a:lnTo>
                  <a:pt x="5641" y="4321"/>
                </a:lnTo>
                <a:lnTo>
                  <a:pt x="5643" y="4316"/>
                </a:lnTo>
                <a:lnTo>
                  <a:pt x="5644" y="4310"/>
                </a:lnTo>
                <a:lnTo>
                  <a:pt x="5645" y="4305"/>
                </a:lnTo>
                <a:lnTo>
                  <a:pt x="5645" y="4299"/>
                </a:lnTo>
                <a:lnTo>
                  <a:pt x="5645" y="4290"/>
                </a:lnTo>
                <a:lnTo>
                  <a:pt x="5642" y="4283"/>
                </a:lnTo>
                <a:lnTo>
                  <a:pt x="5641" y="4280"/>
                </a:lnTo>
                <a:lnTo>
                  <a:pt x="5639" y="4277"/>
                </a:lnTo>
                <a:lnTo>
                  <a:pt x="5637" y="4274"/>
                </a:lnTo>
                <a:lnTo>
                  <a:pt x="5634" y="4271"/>
                </a:lnTo>
                <a:lnTo>
                  <a:pt x="5629" y="4267"/>
                </a:lnTo>
                <a:lnTo>
                  <a:pt x="5625" y="4265"/>
                </a:lnTo>
                <a:lnTo>
                  <a:pt x="5622" y="4264"/>
                </a:lnTo>
                <a:lnTo>
                  <a:pt x="5614" y="4262"/>
                </a:lnTo>
                <a:lnTo>
                  <a:pt x="5609" y="4262"/>
                </a:lnTo>
                <a:lnTo>
                  <a:pt x="5604" y="4261"/>
                </a:lnTo>
                <a:lnTo>
                  <a:pt x="5599" y="4262"/>
                </a:lnTo>
                <a:lnTo>
                  <a:pt x="5593" y="4263"/>
                </a:lnTo>
                <a:lnTo>
                  <a:pt x="5583" y="4266"/>
                </a:lnTo>
                <a:lnTo>
                  <a:pt x="5577" y="4268"/>
                </a:lnTo>
                <a:lnTo>
                  <a:pt x="5572" y="4271"/>
                </a:lnTo>
                <a:lnTo>
                  <a:pt x="5561" y="4278"/>
                </a:lnTo>
                <a:lnTo>
                  <a:pt x="5556" y="4282"/>
                </a:lnTo>
                <a:lnTo>
                  <a:pt x="5551" y="4286"/>
                </a:lnTo>
                <a:lnTo>
                  <a:pt x="5546" y="4292"/>
                </a:lnTo>
                <a:lnTo>
                  <a:pt x="5541" y="4297"/>
                </a:lnTo>
                <a:lnTo>
                  <a:pt x="5532" y="4308"/>
                </a:lnTo>
                <a:lnTo>
                  <a:pt x="5524" y="4321"/>
                </a:lnTo>
                <a:lnTo>
                  <a:pt x="5463" y="4321"/>
                </a:lnTo>
                <a:close/>
                <a:moveTo>
                  <a:pt x="5886" y="4321"/>
                </a:moveTo>
                <a:lnTo>
                  <a:pt x="5930" y="4271"/>
                </a:lnTo>
                <a:lnTo>
                  <a:pt x="5954" y="4244"/>
                </a:lnTo>
                <a:lnTo>
                  <a:pt x="5978" y="4216"/>
                </a:lnTo>
                <a:lnTo>
                  <a:pt x="5979" y="4216"/>
                </a:lnTo>
                <a:lnTo>
                  <a:pt x="5983" y="4215"/>
                </a:lnTo>
                <a:lnTo>
                  <a:pt x="5986" y="4216"/>
                </a:lnTo>
                <a:lnTo>
                  <a:pt x="5991" y="4217"/>
                </a:lnTo>
                <a:lnTo>
                  <a:pt x="5995" y="4219"/>
                </a:lnTo>
                <a:lnTo>
                  <a:pt x="5999" y="4221"/>
                </a:lnTo>
                <a:lnTo>
                  <a:pt x="6003" y="4224"/>
                </a:lnTo>
                <a:lnTo>
                  <a:pt x="6007" y="4228"/>
                </a:lnTo>
                <a:lnTo>
                  <a:pt x="6011" y="4233"/>
                </a:lnTo>
                <a:lnTo>
                  <a:pt x="6014" y="4238"/>
                </a:lnTo>
                <a:lnTo>
                  <a:pt x="6015" y="4243"/>
                </a:lnTo>
                <a:lnTo>
                  <a:pt x="6015" y="4247"/>
                </a:lnTo>
                <a:lnTo>
                  <a:pt x="6015" y="4253"/>
                </a:lnTo>
                <a:lnTo>
                  <a:pt x="6013" y="4258"/>
                </a:lnTo>
                <a:lnTo>
                  <a:pt x="6010" y="4264"/>
                </a:lnTo>
                <a:lnTo>
                  <a:pt x="6006" y="4270"/>
                </a:lnTo>
                <a:lnTo>
                  <a:pt x="5999" y="4279"/>
                </a:lnTo>
                <a:lnTo>
                  <a:pt x="5989" y="4292"/>
                </a:lnTo>
                <a:lnTo>
                  <a:pt x="5962" y="4321"/>
                </a:lnTo>
                <a:lnTo>
                  <a:pt x="5886" y="4321"/>
                </a:lnTo>
                <a:close/>
                <a:moveTo>
                  <a:pt x="6086" y="142"/>
                </a:moveTo>
                <a:lnTo>
                  <a:pt x="6073" y="141"/>
                </a:lnTo>
                <a:lnTo>
                  <a:pt x="6059" y="139"/>
                </a:lnTo>
                <a:lnTo>
                  <a:pt x="6047" y="136"/>
                </a:lnTo>
                <a:lnTo>
                  <a:pt x="6041" y="134"/>
                </a:lnTo>
                <a:lnTo>
                  <a:pt x="6035" y="131"/>
                </a:lnTo>
                <a:lnTo>
                  <a:pt x="6028" y="129"/>
                </a:lnTo>
                <a:lnTo>
                  <a:pt x="6022" y="126"/>
                </a:lnTo>
                <a:lnTo>
                  <a:pt x="6011" y="119"/>
                </a:lnTo>
                <a:lnTo>
                  <a:pt x="6000" y="111"/>
                </a:lnTo>
                <a:lnTo>
                  <a:pt x="5990" y="102"/>
                </a:lnTo>
                <a:lnTo>
                  <a:pt x="5985" y="97"/>
                </a:lnTo>
                <a:lnTo>
                  <a:pt x="5981" y="92"/>
                </a:lnTo>
                <a:lnTo>
                  <a:pt x="5972" y="81"/>
                </a:lnTo>
                <a:lnTo>
                  <a:pt x="5963" y="69"/>
                </a:lnTo>
                <a:lnTo>
                  <a:pt x="5956" y="57"/>
                </a:lnTo>
                <a:lnTo>
                  <a:pt x="5953" y="51"/>
                </a:lnTo>
                <a:lnTo>
                  <a:pt x="5950" y="44"/>
                </a:lnTo>
                <a:lnTo>
                  <a:pt x="5945" y="29"/>
                </a:lnTo>
                <a:lnTo>
                  <a:pt x="5941" y="15"/>
                </a:lnTo>
                <a:lnTo>
                  <a:pt x="5937" y="0"/>
                </a:lnTo>
                <a:lnTo>
                  <a:pt x="5995" y="0"/>
                </a:lnTo>
                <a:lnTo>
                  <a:pt x="5998" y="9"/>
                </a:lnTo>
                <a:lnTo>
                  <a:pt x="6001" y="17"/>
                </a:lnTo>
                <a:lnTo>
                  <a:pt x="6004" y="25"/>
                </a:lnTo>
                <a:lnTo>
                  <a:pt x="6008" y="34"/>
                </a:lnTo>
                <a:lnTo>
                  <a:pt x="6012" y="41"/>
                </a:lnTo>
                <a:lnTo>
                  <a:pt x="6017" y="48"/>
                </a:lnTo>
                <a:lnTo>
                  <a:pt x="6022" y="54"/>
                </a:lnTo>
                <a:lnTo>
                  <a:pt x="6028" y="59"/>
                </a:lnTo>
                <a:lnTo>
                  <a:pt x="6035" y="64"/>
                </a:lnTo>
                <a:lnTo>
                  <a:pt x="6041" y="69"/>
                </a:lnTo>
                <a:lnTo>
                  <a:pt x="6048" y="73"/>
                </a:lnTo>
                <a:lnTo>
                  <a:pt x="6055" y="76"/>
                </a:lnTo>
                <a:lnTo>
                  <a:pt x="6063" y="78"/>
                </a:lnTo>
                <a:lnTo>
                  <a:pt x="6071" y="80"/>
                </a:lnTo>
                <a:lnTo>
                  <a:pt x="6079" y="81"/>
                </a:lnTo>
                <a:lnTo>
                  <a:pt x="6088" y="81"/>
                </a:lnTo>
                <a:lnTo>
                  <a:pt x="6098" y="81"/>
                </a:lnTo>
                <a:lnTo>
                  <a:pt x="6107" y="80"/>
                </a:lnTo>
                <a:lnTo>
                  <a:pt x="6115" y="78"/>
                </a:lnTo>
                <a:lnTo>
                  <a:pt x="6124" y="75"/>
                </a:lnTo>
                <a:lnTo>
                  <a:pt x="6132" y="72"/>
                </a:lnTo>
                <a:lnTo>
                  <a:pt x="6140" y="68"/>
                </a:lnTo>
                <a:lnTo>
                  <a:pt x="6148" y="64"/>
                </a:lnTo>
                <a:lnTo>
                  <a:pt x="6156" y="59"/>
                </a:lnTo>
                <a:lnTo>
                  <a:pt x="6164" y="53"/>
                </a:lnTo>
                <a:lnTo>
                  <a:pt x="6170" y="47"/>
                </a:lnTo>
                <a:lnTo>
                  <a:pt x="6177" y="41"/>
                </a:lnTo>
                <a:lnTo>
                  <a:pt x="6184" y="33"/>
                </a:lnTo>
                <a:lnTo>
                  <a:pt x="6190" y="25"/>
                </a:lnTo>
                <a:lnTo>
                  <a:pt x="6196" y="17"/>
                </a:lnTo>
                <a:lnTo>
                  <a:pt x="6202" y="9"/>
                </a:lnTo>
                <a:lnTo>
                  <a:pt x="6207" y="0"/>
                </a:lnTo>
                <a:lnTo>
                  <a:pt x="6276" y="0"/>
                </a:lnTo>
                <a:lnTo>
                  <a:pt x="6268" y="15"/>
                </a:lnTo>
                <a:lnTo>
                  <a:pt x="6259" y="30"/>
                </a:lnTo>
                <a:lnTo>
                  <a:pt x="6255" y="38"/>
                </a:lnTo>
                <a:lnTo>
                  <a:pt x="6250" y="45"/>
                </a:lnTo>
                <a:lnTo>
                  <a:pt x="6241" y="58"/>
                </a:lnTo>
                <a:lnTo>
                  <a:pt x="6231" y="70"/>
                </a:lnTo>
                <a:lnTo>
                  <a:pt x="6220" y="82"/>
                </a:lnTo>
                <a:lnTo>
                  <a:pt x="6215" y="87"/>
                </a:lnTo>
                <a:lnTo>
                  <a:pt x="6208" y="93"/>
                </a:lnTo>
                <a:lnTo>
                  <a:pt x="6197" y="103"/>
                </a:lnTo>
                <a:lnTo>
                  <a:pt x="6185" y="112"/>
                </a:lnTo>
                <a:lnTo>
                  <a:pt x="6172" y="119"/>
                </a:lnTo>
                <a:lnTo>
                  <a:pt x="6159" y="126"/>
                </a:lnTo>
                <a:lnTo>
                  <a:pt x="6152" y="129"/>
                </a:lnTo>
                <a:lnTo>
                  <a:pt x="6145" y="132"/>
                </a:lnTo>
                <a:lnTo>
                  <a:pt x="6131" y="136"/>
                </a:lnTo>
                <a:lnTo>
                  <a:pt x="6116" y="139"/>
                </a:lnTo>
                <a:lnTo>
                  <a:pt x="6102" y="141"/>
                </a:lnTo>
                <a:lnTo>
                  <a:pt x="6086" y="142"/>
                </a:lnTo>
                <a:close/>
                <a:moveTo>
                  <a:pt x="6339" y="4"/>
                </a:moveTo>
                <a:lnTo>
                  <a:pt x="6337" y="0"/>
                </a:lnTo>
                <a:lnTo>
                  <a:pt x="6413" y="0"/>
                </a:lnTo>
                <a:lnTo>
                  <a:pt x="6433" y="21"/>
                </a:lnTo>
                <a:lnTo>
                  <a:pt x="6457" y="46"/>
                </a:lnTo>
                <a:lnTo>
                  <a:pt x="6481" y="70"/>
                </a:lnTo>
                <a:lnTo>
                  <a:pt x="6504" y="93"/>
                </a:lnTo>
                <a:lnTo>
                  <a:pt x="6505" y="95"/>
                </a:lnTo>
                <a:lnTo>
                  <a:pt x="6507" y="97"/>
                </a:lnTo>
                <a:lnTo>
                  <a:pt x="6508" y="100"/>
                </a:lnTo>
                <a:lnTo>
                  <a:pt x="6508" y="102"/>
                </a:lnTo>
                <a:lnTo>
                  <a:pt x="6507" y="108"/>
                </a:lnTo>
                <a:lnTo>
                  <a:pt x="6506" y="111"/>
                </a:lnTo>
                <a:lnTo>
                  <a:pt x="6505" y="113"/>
                </a:lnTo>
                <a:lnTo>
                  <a:pt x="6501" y="119"/>
                </a:lnTo>
                <a:lnTo>
                  <a:pt x="6499" y="122"/>
                </a:lnTo>
                <a:lnTo>
                  <a:pt x="6497" y="124"/>
                </a:lnTo>
                <a:lnTo>
                  <a:pt x="6491" y="129"/>
                </a:lnTo>
                <a:lnTo>
                  <a:pt x="6488" y="131"/>
                </a:lnTo>
                <a:lnTo>
                  <a:pt x="6485" y="133"/>
                </a:lnTo>
                <a:lnTo>
                  <a:pt x="6480" y="135"/>
                </a:lnTo>
                <a:lnTo>
                  <a:pt x="6477" y="136"/>
                </a:lnTo>
                <a:lnTo>
                  <a:pt x="6474" y="136"/>
                </a:lnTo>
                <a:lnTo>
                  <a:pt x="6472" y="136"/>
                </a:lnTo>
                <a:lnTo>
                  <a:pt x="6470" y="135"/>
                </a:lnTo>
                <a:lnTo>
                  <a:pt x="6464" y="132"/>
                </a:lnTo>
                <a:lnTo>
                  <a:pt x="6458" y="128"/>
                </a:lnTo>
                <a:lnTo>
                  <a:pt x="6451" y="123"/>
                </a:lnTo>
                <a:lnTo>
                  <a:pt x="6437" y="112"/>
                </a:lnTo>
                <a:lnTo>
                  <a:pt x="6422" y="98"/>
                </a:lnTo>
                <a:lnTo>
                  <a:pt x="6406" y="81"/>
                </a:lnTo>
                <a:lnTo>
                  <a:pt x="6388" y="64"/>
                </a:lnTo>
                <a:lnTo>
                  <a:pt x="6372" y="47"/>
                </a:lnTo>
                <a:lnTo>
                  <a:pt x="6358" y="30"/>
                </a:lnTo>
                <a:lnTo>
                  <a:pt x="6346" y="15"/>
                </a:lnTo>
                <a:lnTo>
                  <a:pt x="6342" y="9"/>
                </a:lnTo>
                <a:lnTo>
                  <a:pt x="6339" y="4"/>
                </a:lnTo>
                <a:close/>
                <a:moveTo>
                  <a:pt x="6856" y="142"/>
                </a:moveTo>
                <a:lnTo>
                  <a:pt x="6843" y="141"/>
                </a:lnTo>
                <a:lnTo>
                  <a:pt x="6830" y="139"/>
                </a:lnTo>
                <a:lnTo>
                  <a:pt x="6817" y="136"/>
                </a:lnTo>
                <a:lnTo>
                  <a:pt x="6811" y="134"/>
                </a:lnTo>
                <a:lnTo>
                  <a:pt x="6804" y="131"/>
                </a:lnTo>
                <a:lnTo>
                  <a:pt x="6798" y="129"/>
                </a:lnTo>
                <a:lnTo>
                  <a:pt x="6792" y="126"/>
                </a:lnTo>
                <a:lnTo>
                  <a:pt x="6781" y="119"/>
                </a:lnTo>
                <a:lnTo>
                  <a:pt x="6770" y="111"/>
                </a:lnTo>
                <a:lnTo>
                  <a:pt x="6760" y="102"/>
                </a:lnTo>
                <a:lnTo>
                  <a:pt x="6755" y="97"/>
                </a:lnTo>
                <a:lnTo>
                  <a:pt x="6751" y="92"/>
                </a:lnTo>
                <a:lnTo>
                  <a:pt x="6741" y="81"/>
                </a:lnTo>
                <a:lnTo>
                  <a:pt x="6733" y="69"/>
                </a:lnTo>
                <a:lnTo>
                  <a:pt x="6726" y="57"/>
                </a:lnTo>
                <a:lnTo>
                  <a:pt x="6723" y="51"/>
                </a:lnTo>
                <a:lnTo>
                  <a:pt x="6720" y="44"/>
                </a:lnTo>
                <a:lnTo>
                  <a:pt x="6715" y="29"/>
                </a:lnTo>
                <a:lnTo>
                  <a:pt x="6711" y="15"/>
                </a:lnTo>
                <a:lnTo>
                  <a:pt x="6708" y="0"/>
                </a:lnTo>
                <a:lnTo>
                  <a:pt x="6765" y="0"/>
                </a:lnTo>
                <a:lnTo>
                  <a:pt x="6768" y="9"/>
                </a:lnTo>
                <a:lnTo>
                  <a:pt x="6771" y="17"/>
                </a:lnTo>
                <a:lnTo>
                  <a:pt x="6774" y="25"/>
                </a:lnTo>
                <a:lnTo>
                  <a:pt x="6778" y="34"/>
                </a:lnTo>
                <a:lnTo>
                  <a:pt x="6782" y="41"/>
                </a:lnTo>
                <a:lnTo>
                  <a:pt x="6787" y="48"/>
                </a:lnTo>
                <a:lnTo>
                  <a:pt x="6792" y="54"/>
                </a:lnTo>
                <a:lnTo>
                  <a:pt x="6798" y="59"/>
                </a:lnTo>
                <a:lnTo>
                  <a:pt x="6804" y="64"/>
                </a:lnTo>
                <a:lnTo>
                  <a:pt x="6812" y="69"/>
                </a:lnTo>
                <a:lnTo>
                  <a:pt x="6818" y="73"/>
                </a:lnTo>
                <a:lnTo>
                  <a:pt x="6826" y="76"/>
                </a:lnTo>
                <a:lnTo>
                  <a:pt x="6833" y="78"/>
                </a:lnTo>
                <a:lnTo>
                  <a:pt x="6841" y="80"/>
                </a:lnTo>
                <a:lnTo>
                  <a:pt x="6849" y="81"/>
                </a:lnTo>
                <a:lnTo>
                  <a:pt x="6858" y="81"/>
                </a:lnTo>
                <a:lnTo>
                  <a:pt x="6867" y="81"/>
                </a:lnTo>
                <a:lnTo>
                  <a:pt x="6877" y="80"/>
                </a:lnTo>
                <a:lnTo>
                  <a:pt x="6886" y="78"/>
                </a:lnTo>
                <a:lnTo>
                  <a:pt x="6894" y="75"/>
                </a:lnTo>
                <a:lnTo>
                  <a:pt x="6902" y="72"/>
                </a:lnTo>
                <a:lnTo>
                  <a:pt x="6910" y="68"/>
                </a:lnTo>
                <a:lnTo>
                  <a:pt x="6918" y="64"/>
                </a:lnTo>
                <a:lnTo>
                  <a:pt x="6925" y="59"/>
                </a:lnTo>
                <a:lnTo>
                  <a:pt x="6934" y="53"/>
                </a:lnTo>
                <a:lnTo>
                  <a:pt x="6941" y="47"/>
                </a:lnTo>
                <a:lnTo>
                  <a:pt x="6947" y="41"/>
                </a:lnTo>
                <a:lnTo>
                  <a:pt x="6954" y="33"/>
                </a:lnTo>
                <a:lnTo>
                  <a:pt x="6960" y="25"/>
                </a:lnTo>
                <a:lnTo>
                  <a:pt x="6966" y="17"/>
                </a:lnTo>
                <a:lnTo>
                  <a:pt x="6972" y="9"/>
                </a:lnTo>
                <a:lnTo>
                  <a:pt x="6977" y="0"/>
                </a:lnTo>
                <a:lnTo>
                  <a:pt x="7046" y="0"/>
                </a:lnTo>
                <a:lnTo>
                  <a:pt x="7038" y="15"/>
                </a:lnTo>
                <a:lnTo>
                  <a:pt x="7030" y="30"/>
                </a:lnTo>
                <a:lnTo>
                  <a:pt x="7025" y="38"/>
                </a:lnTo>
                <a:lnTo>
                  <a:pt x="7021" y="45"/>
                </a:lnTo>
                <a:lnTo>
                  <a:pt x="7011" y="58"/>
                </a:lnTo>
                <a:lnTo>
                  <a:pt x="7001" y="70"/>
                </a:lnTo>
                <a:lnTo>
                  <a:pt x="6991" y="82"/>
                </a:lnTo>
                <a:lnTo>
                  <a:pt x="6984" y="87"/>
                </a:lnTo>
                <a:lnTo>
                  <a:pt x="6978" y="93"/>
                </a:lnTo>
                <a:lnTo>
                  <a:pt x="6967" y="103"/>
                </a:lnTo>
                <a:lnTo>
                  <a:pt x="6955" y="112"/>
                </a:lnTo>
                <a:lnTo>
                  <a:pt x="6942" y="119"/>
                </a:lnTo>
                <a:lnTo>
                  <a:pt x="6928" y="126"/>
                </a:lnTo>
                <a:lnTo>
                  <a:pt x="6922" y="129"/>
                </a:lnTo>
                <a:lnTo>
                  <a:pt x="6915" y="132"/>
                </a:lnTo>
                <a:lnTo>
                  <a:pt x="6901" y="136"/>
                </a:lnTo>
                <a:lnTo>
                  <a:pt x="6887" y="139"/>
                </a:lnTo>
                <a:lnTo>
                  <a:pt x="6872" y="141"/>
                </a:lnTo>
                <a:lnTo>
                  <a:pt x="6856" y="142"/>
                </a:lnTo>
                <a:close/>
                <a:moveTo>
                  <a:pt x="7108" y="4"/>
                </a:moveTo>
                <a:lnTo>
                  <a:pt x="7106" y="0"/>
                </a:lnTo>
                <a:lnTo>
                  <a:pt x="7183" y="0"/>
                </a:lnTo>
                <a:lnTo>
                  <a:pt x="7203" y="21"/>
                </a:lnTo>
                <a:lnTo>
                  <a:pt x="7226" y="46"/>
                </a:lnTo>
                <a:lnTo>
                  <a:pt x="7251" y="70"/>
                </a:lnTo>
                <a:lnTo>
                  <a:pt x="7274" y="93"/>
                </a:lnTo>
                <a:lnTo>
                  <a:pt x="7276" y="95"/>
                </a:lnTo>
                <a:lnTo>
                  <a:pt x="7277" y="97"/>
                </a:lnTo>
                <a:lnTo>
                  <a:pt x="7278" y="100"/>
                </a:lnTo>
                <a:lnTo>
                  <a:pt x="7278" y="102"/>
                </a:lnTo>
                <a:lnTo>
                  <a:pt x="7277" y="108"/>
                </a:lnTo>
                <a:lnTo>
                  <a:pt x="7276" y="111"/>
                </a:lnTo>
                <a:lnTo>
                  <a:pt x="7275" y="113"/>
                </a:lnTo>
                <a:lnTo>
                  <a:pt x="7271" y="119"/>
                </a:lnTo>
                <a:lnTo>
                  <a:pt x="7269" y="122"/>
                </a:lnTo>
                <a:lnTo>
                  <a:pt x="7267" y="124"/>
                </a:lnTo>
                <a:lnTo>
                  <a:pt x="7261" y="129"/>
                </a:lnTo>
                <a:lnTo>
                  <a:pt x="7259" y="131"/>
                </a:lnTo>
                <a:lnTo>
                  <a:pt x="7256" y="133"/>
                </a:lnTo>
                <a:lnTo>
                  <a:pt x="7250" y="135"/>
                </a:lnTo>
                <a:lnTo>
                  <a:pt x="7247" y="136"/>
                </a:lnTo>
                <a:lnTo>
                  <a:pt x="7244" y="136"/>
                </a:lnTo>
                <a:lnTo>
                  <a:pt x="7242" y="136"/>
                </a:lnTo>
                <a:lnTo>
                  <a:pt x="7240" y="135"/>
                </a:lnTo>
                <a:lnTo>
                  <a:pt x="7234" y="132"/>
                </a:lnTo>
                <a:lnTo>
                  <a:pt x="7227" y="128"/>
                </a:lnTo>
                <a:lnTo>
                  <a:pt x="7220" y="123"/>
                </a:lnTo>
                <a:lnTo>
                  <a:pt x="7207" y="112"/>
                </a:lnTo>
                <a:lnTo>
                  <a:pt x="7192" y="98"/>
                </a:lnTo>
                <a:lnTo>
                  <a:pt x="7176" y="81"/>
                </a:lnTo>
                <a:lnTo>
                  <a:pt x="7158" y="64"/>
                </a:lnTo>
                <a:lnTo>
                  <a:pt x="7142" y="47"/>
                </a:lnTo>
                <a:lnTo>
                  <a:pt x="7128" y="30"/>
                </a:lnTo>
                <a:lnTo>
                  <a:pt x="7117" y="15"/>
                </a:lnTo>
                <a:lnTo>
                  <a:pt x="7112" y="9"/>
                </a:lnTo>
                <a:lnTo>
                  <a:pt x="7108" y="4"/>
                </a:lnTo>
                <a:close/>
                <a:moveTo>
                  <a:pt x="7605" y="142"/>
                </a:moveTo>
                <a:lnTo>
                  <a:pt x="7591" y="141"/>
                </a:lnTo>
                <a:lnTo>
                  <a:pt x="7577" y="139"/>
                </a:lnTo>
                <a:lnTo>
                  <a:pt x="7565" y="136"/>
                </a:lnTo>
                <a:lnTo>
                  <a:pt x="7558" y="134"/>
                </a:lnTo>
                <a:lnTo>
                  <a:pt x="7552" y="131"/>
                </a:lnTo>
                <a:lnTo>
                  <a:pt x="7546" y="129"/>
                </a:lnTo>
                <a:lnTo>
                  <a:pt x="7541" y="126"/>
                </a:lnTo>
                <a:lnTo>
                  <a:pt x="7528" y="119"/>
                </a:lnTo>
                <a:lnTo>
                  <a:pt x="7518" y="111"/>
                </a:lnTo>
                <a:lnTo>
                  <a:pt x="7508" y="102"/>
                </a:lnTo>
                <a:lnTo>
                  <a:pt x="7503" y="97"/>
                </a:lnTo>
                <a:lnTo>
                  <a:pt x="7498" y="92"/>
                </a:lnTo>
                <a:lnTo>
                  <a:pt x="7490" y="81"/>
                </a:lnTo>
                <a:lnTo>
                  <a:pt x="7482" y="69"/>
                </a:lnTo>
                <a:lnTo>
                  <a:pt x="7475" y="57"/>
                </a:lnTo>
                <a:lnTo>
                  <a:pt x="7472" y="51"/>
                </a:lnTo>
                <a:lnTo>
                  <a:pt x="7468" y="44"/>
                </a:lnTo>
                <a:lnTo>
                  <a:pt x="7463" y="29"/>
                </a:lnTo>
                <a:lnTo>
                  <a:pt x="7458" y="15"/>
                </a:lnTo>
                <a:lnTo>
                  <a:pt x="7455" y="0"/>
                </a:lnTo>
                <a:lnTo>
                  <a:pt x="7513" y="0"/>
                </a:lnTo>
                <a:lnTo>
                  <a:pt x="7515" y="9"/>
                </a:lnTo>
                <a:lnTo>
                  <a:pt x="7518" y="17"/>
                </a:lnTo>
                <a:lnTo>
                  <a:pt x="7522" y="25"/>
                </a:lnTo>
                <a:lnTo>
                  <a:pt x="7526" y="34"/>
                </a:lnTo>
                <a:lnTo>
                  <a:pt x="7531" y="41"/>
                </a:lnTo>
                <a:lnTo>
                  <a:pt x="7536" y="48"/>
                </a:lnTo>
                <a:lnTo>
                  <a:pt x="7541" y="54"/>
                </a:lnTo>
                <a:lnTo>
                  <a:pt x="7547" y="59"/>
                </a:lnTo>
                <a:lnTo>
                  <a:pt x="7553" y="64"/>
                </a:lnTo>
                <a:lnTo>
                  <a:pt x="7559" y="69"/>
                </a:lnTo>
                <a:lnTo>
                  <a:pt x="7566" y="73"/>
                </a:lnTo>
                <a:lnTo>
                  <a:pt x="7573" y="76"/>
                </a:lnTo>
                <a:lnTo>
                  <a:pt x="7581" y="78"/>
                </a:lnTo>
                <a:lnTo>
                  <a:pt x="7589" y="80"/>
                </a:lnTo>
                <a:lnTo>
                  <a:pt x="7598" y="81"/>
                </a:lnTo>
                <a:lnTo>
                  <a:pt x="7607" y="81"/>
                </a:lnTo>
                <a:lnTo>
                  <a:pt x="7617" y="81"/>
                </a:lnTo>
                <a:lnTo>
                  <a:pt x="7622" y="80"/>
                </a:lnTo>
                <a:lnTo>
                  <a:pt x="7627" y="79"/>
                </a:lnTo>
                <a:lnTo>
                  <a:pt x="7637" y="77"/>
                </a:lnTo>
                <a:lnTo>
                  <a:pt x="7646" y="74"/>
                </a:lnTo>
                <a:lnTo>
                  <a:pt x="7656" y="70"/>
                </a:lnTo>
                <a:lnTo>
                  <a:pt x="7661" y="67"/>
                </a:lnTo>
                <a:lnTo>
                  <a:pt x="7665" y="65"/>
                </a:lnTo>
                <a:lnTo>
                  <a:pt x="7674" y="59"/>
                </a:lnTo>
                <a:lnTo>
                  <a:pt x="7682" y="53"/>
                </a:lnTo>
                <a:lnTo>
                  <a:pt x="7682" y="124"/>
                </a:lnTo>
                <a:lnTo>
                  <a:pt x="7673" y="128"/>
                </a:lnTo>
                <a:lnTo>
                  <a:pt x="7664" y="131"/>
                </a:lnTo>
                <a:lnTo>
                  <a:pt x="7655" y="134"/>
                </a:lnTo>
                <a:lnTo>
                  <a:pt x="7644" y="137"/>
                </a:lnTo>
                <a:lnTo>
                  <a:pt x="7635" y="139"/>
                </a:lnTo>
                <a:lnTo>
                  <a:pt x="7625" y="141"/>
                </a:lnTo>
                <a:lnTo>
                  <a:pt x="7615" y="141"/>
                </a:lnTo>
                <a:lnTo>
                  <a:pt x="7605" y="142"/>
                </a:lnTo>
                <a:close/>
                <a:moveTo>
                  <a:pt x="6086" y="1136"/>
                </a:moveTo>
                <a:lnTo>
                  <a:pt x="6078" y="1136"/>
                </a:lnTo>
                <a:lnTo>
                  <a:pt x="6071" y="1135"/>
                </a:lnTo>
                <a:lnTo>
                  <a:pt x="6063" y="1134"/>
                </a:lnTo>
                <a:lnTo>
                  <a:pt x="6056" y="1132"/>
                </a:lnTo>
                <a:lnTo>
                  <a:pt x="6049" y="1131"/>
                </a:lnTo>
                <a:lnTo>
                  <a:pt x="6041" y="1128"/>
                </a:lnTo>
                <a:lnTo>
                  <a:pt x="6027" y="1122"/>
                </a:lnTo>
                <a:lnTo>
                  <a:pt x="6014" y="1115"/>
                </a:lnTo>
                <a:lnTo>
                  <a:pt x="6007" y="1110"/>
                </a:lnTo>
                <a:lnTo>
                  <a:pt x="6001" y="1105"/>
                </a:lnTo>
                <a:lnTo>
                  <a:pt x="5995" y="1101"/>
                </a:lnTo>
                <a:lnTo>
                  <a:pt x="5990" y="1095"/>
                </a:lnTo>
                <a:lnTo>
                  <a:pt x="5984" y="1090"/>
                </a:lnTo>
                <a:lnTo>
                  <a:pt x="5979" y="1084"/>
                </a:lnTo>
                <a:lnTo>
                  <a:pt x="5974" y="1078"/>
                </a:lnTo>
                <a:lnTo>
                  <a:pt x="5969" y="1072"/>
                </a:lnTo>
                <a:lnTo>
                  <a:pt x="5964" y="1065"/>
                </a:lnTo>
                <a:lnTo>
                  <a:pt x="5960" y="1058"/>
                </a:lnTo>
                <a:lnTo>
                  <a:pt x="5956" y="1050"/>
                </a:lnTo>
                <a:lnTo>
                  <a:pt x="5952" y="1043"/>
                </a:lnTo>
                <a:lnTo>
                  <a:pt x="5949" y="1035"/>
                </a:lnTo>
                <a:lnTo>
                  <a:pt x="5946" y="1027"/>
                </a:lnTo>
                <a:lnTo>
                  <a:pt x="5943" y="1020"/>
                </a:lnTo>
                <a:lnTo>
                  <a:pt x="5941" y="1011"/>
                </a:lnTo>
                <a:lnTo>
                  <a:pt x="5939" y="1003"/>
                </a:lnTo>
                <a:lnTo>
                  <a:pt x="5937" y="994"/>
                </a:lnTo>
                <a:lnTo>
                  <a:pt x="5936" y="985"/>
                </a:lnTo>
                <a:lnTo>
                  <a:pt x="5935" y="976"/>
                </a:lnTo>
                <a:lnTo>
                  <a:pt x="5935" y="967"/>
                </a:lnTo>
                <a:lnTo>
                  <a:pt x="5934" y="958"/>
                </a:lnTo>
                <a:lnTo>
                  <a:pt x="5935" y="939"/>
                </a:lnTo>
                <a:lnTo>
                  <a:pt x="5936" y="929"/>
                </a:lnTo>
                <a:lnTo>
                  <a:pt x="5938" y="920"/>
                </a:lnTo>
                <a:lnTo>
                  <a:pt x="5939" y="911"/>
                </a:lnTo>
                <a:lnTo>
                  <a:pt x="5941" y="902"/>
                </a:lnTo>
                <a:lnTo>
                  <a:pt x="5944" y="893"/>
                </a:lnTo>
                <a:lnTo>
                  <a:pt x="5947" y="884"/>
                </a:lnTo>
                <a:lnTo>
                  <a:pt x="5950" y="876"/>
                </a:lnTo>
                <a:lnTo>
                  <a:pt x="5953" y="867"/>
                </a:lnTo>
                <a:lnTo>
                  <a:pt x="5957" y="859"/>
                </a:lnTo>
                <a:lnTo>
                  <a:pt x="5961" y="851"/>
                </a:lnTo>
                <a:lnTo>
                  <a:pt x="5966" y="843"/>
                </a:lnTo>
                <a:lnTo>
                  <a:pt x="5971" y="836"/>
                </a:lnTo>
                <a:lnTo>
                  <a:pt x="5982" y="822"/>
                </a:lnTo>
                <a:lnTo>
                  <a:pt x="5987" y="816"/>
                </a:lnTo>
                <a:lnTo>
                  <a:pt x="5993" y="809"/>
                </a:lnTo>
                <a:lnTo>
                  <a:pt x="6005" y="797"/>
                </a:lnTo>
                <a:lnTo>
                  <a:pt x="6012" y="792"/>
                </a:lnTo>
                <a:lnTo>
                  <a:pt x="6018" y="787"/>
                </a:lnTo>
                <a:lnTo>
                  <a:pt x="6025" y="783"/>
                </a:lnTo>
                <a:lnTo>
                  <a:pt x="6033" y="779"/>
                </a:lnTo>
                <a:lnTo>
                  <a:pt x="6040" y="775"/>
                </a:lnTo>
                <a:lnTo>
                  <a:pt x="6048" y="772"/>
                </a:lnTo>
                <a:lnTo>
                  <a:pt x="6055" y="769"/>
                </a:lnTo>
                <a:lnTo>
                  <a:pt x="6063" y="767"/>
                </a:lnTo>
                <a:lnTo>
                  <a:pt x="6071" y="765"/>
                </a:lnTo>
                <a:lnTo>
                  <a:pt x="6079" y="764"/>
                </a:lnTo>
                <a:lnTo>
                  <a:pt x="6087" y="763"/>
                </a:lnTo>
                <a:lnTo>
                  <a:pt x="6096" y="763"/>
                </a:lnTo>
                <a:lnTo>
                  <a:pt x="6107" y="763"/>
                </a:lnTo>
                <a:lnTo>
                  <a:pt x="6111" y="764"/>
                </a:lnTo>
                <a:lnTo>
                  <a:pt x="6116" y="765"/>
                </a:lnTo>
                <a:lnTo>
                  <a:pt x="6121" y="766"/>
                </a:lnTo>
                <a:lnTo>
                  <a:pt x="6125" y="767"/>
                </a:lnTo>
                <a:lnTo>
                  <a:pt x="6134" y="770"/>
                </a:lnTo>
                <a:lnTo>
                  <a:pt x="6142" y="774"/>
                </a:lnTo>
                <a:lnTo>
                  <a:pt x="6149" y="779"/>
                </a:lnTo>
                <a:lnTo>
                  <a:pt x="6157" y="784"/>
                </a:lnTo>
                <a:lnTo>
                  <a:pt x="6163" y="790"/>
                </a:lnTo>
                <a:lnTo>
                  <a:pt x="6165" y="793"/>
                </a:lnTo>
                <a:lnTo>
                  <a:pt x="6168" y="797"/>
                </a:lnTo>
                <a:lnTo>
                  <a:pt x="6173" y="804"/>
                </a:lnTo>
                <a:lnTo>
                  <a:pt x="6177" y="813"/>
                </a:lnTo>
                <a:lnTo>
                  <a:pt x="6180" y="821"/>
                </a:lnTo>
                <a:lnTo>
                  <a:pt x="6183" y="830"/>
                </a:lnTo>
                <a:lnTo>
                  <a:pt x="6185" y="839"/>
                </a:lnTo>
                <a:lnTo>
                  <a:pt x="6186" y="848"/>
                </a:lnTo>
                <a:lnTo>
                  <a:pt x="6186" y="858"/>
                </a:lnTo>
                <a:lnTo>
                  <a:pt x="6185" y="872"/>
                </a:lnTo>
                <a:lnTo>
                  <a:pt x="6184" y="878"/>
                </a:lnTo>
                <a:lnTo>
                  <a:pt x="6183" y="884"/>
                </a:lnTo>
                <a:lnTo>
                  <a:pt x="6179" y="896"/>
                </a:lnTo>
                <a:lnTo>
                  <a:pt x="6174" y="907"/>
                </a:lnTo>
                <a:lnTo>
                  <a:pt x="6168" y="919"/>
                </a:lnTo>
                <a:lnTo>
                  <a:pt x="6161" y="929"/>
                </a:lnTo>
                <a:lnTo>
                  <a:pt x="6157" y="935"/>
                </a:lnTo>
                <a:lnTo>
                  <a:pt x="6153" y="940"/>
                </a:lnTo>
                <a:lnTo>
                  <a:pt x="6142" y="949"/>
                </a:lnTo>
                <a:lnTo>
                  <a:pt x="6132" y="958"/>
                </a:lnTo>
                <a:lnTo>
                  <a:pt x="6127" y="962"/>
                </a:lnTo>
                <a:lnTo>
                  <a:pt x="6122" y="965"/>
                </a:lnTo>
                <a:lnTo>
                  <a:pt x="6110" y="972"/>
                </a:lnTo>
                <a:lnTo>
                  <a:pt x="6099" y="978"/>
                </a:lnTo>
                <a:lnTo>
                  <a:pt x="6086" y="982"/>
                </a:lnTo>
                <a:lnTo>
                  <a:pt x="6079" y="984"/>
                </a:lnTo>
                <a:lnTo>
                  <a:pt x="6073" y="986"/>
                </a:lnTo>
                <a:lnTo>
                  <a:pt x="6067" y="987"/>
                </a:lnTo>
                <a:lnTo>
                  <a:pt x="6061" y="988"/>
                </a:lnTo>
                <a:lnTo>
                  <a:pt x="6048" y="988"/>
                </a:lnTo>
                <a:lnTo>
                  <a:pt x="6043" y="988"/>
                </a:lnTo>
                <a:lnTo>
                  <a:pt x="6038" y="986"/>
                </a:lnTo>
                <a:lnTo>
                  <a:pt x="6033" y="983"/>
                </a:lnTo>
                <a:lnTo>
                  <a:pt x="6031" y="981"/>
                </a:lnTo>
                <a:lnTo>
                  <a:pt x="6029" y="979"/>
                </a:lnTo>
                <a:lnTo>
                  <a:pt x="6025" y="974"/>
                </a:lnTo>
                <a:lnTo>
                  <a:pt x="6023" y="969"/>
                </a:lnTo>
                <a:lnTo>
                  <a:pt x="6022" y="966"/>
                </a:lnTo>
                <a:lnTo>
                  <a:pt x="6022" y="963"/>
                </a:lnTo>
                <a:lnTo>
                  <a:pt x="6021" y="957"/>
                </a:lnTo>
                <a:lnTo>
                  <a:pt x="6021" y="954"/>
                </a:lnTo>
                <a:lnTo>
                  <a:pt x="6021" y="951"/>
                </a:lnTo>
                <a:lnTo>
                  <a:pt x="6023" y="947"/>
                </a:lnTo>
                <a:lnTo>
                  <a:pt x="6024" y="944"/>
                </a:lnTo>
                <a:lnTo>
                  <a:pt x="6025" y="943"/>
                </a:lnTo>
                <a:lnTo>
                  <a:pt x="6026" y="941"/>
                </a:lnTo>
                <a:lnTo>
                  <a:pt x="6028" y="940"/>
                </a:lnTo>
                <a:lnTo>
                  <a:pt x="6040" y="938"/>
                </a:lnTo>
                <a:lnTo>
                  <a:pt x="6050" y="935"/>
                </a:lnTo>
                <a:lnTo>
                  <a:pt x="6061" y="932"/>
                </a:lnTo>
                <a:lnTo>
                  <a:pt x="6070" y="927"/>
                </a:lnTo>
                <a:lnTo>
                  <a:pt x="6079" y="922"/>
                </a:lnTo>
                <a:lnTo>
                  <a:pt x="6088" y="917"/>
                </a:lnTo>
                <a:lnTo>
                  <a:pt x="6097" y="912"/>
                </a:lnTo>
                <a:lnTo>
                  <a:pt x="6100" y="909"/>
                </a:lnTo>
                <a:lnTo>
                  <a:pt x="6104" y="906"/>
                </a:lnTo>
                <a:lnTo>
                  <a:pt x="6110" y="900"/>
                </a:lnTo>
                <a:lnTo>
                  <a:pt x="6116" y="893"/>
                </a:lnTo>
                <a:lnTo>
                  <a:pt x="6121" y="886"/>
                </a:lnTo>
                <a:lnTo>
                  <a:pt x="6125" y="880"/>
                </a:lnTo>
                <a:lnTo>
                  <a:pt x="6128" y="873"/>
                </a:lnTo>
                <a:lnTo>
                  <a:pt x="6131" y="865"/>
                </a:lnTo>
                <a:lnTo>
                  <a:pt x="6132" y="857"/>
                </a:lnTo>
                <a:lnTo>
                  <a:pt x="6133" y="850"/>
                </a:lnTo>
                <a:lnTo>
                  <a:pt x="6132" y="842"/>
                </a:lnTo>
                <a:lnTo>
                  <a:pt x="6130" y="835"/>
                </a:lnTo>
                <a:lnTo>
                  <a:pt x="6129" y="832"/>
                </a:lnTo>
                <a:lnTo>
                  <a:pt x="6127" y="829"/>
                </a:lnTo>
                <a:lnTo>
                  <a:pt x="6125" y="826"/>
                </a:lnTo>
                <a:lnTo>
                  <a:pt x="6122" y="823"/>
                </a:lnTo>
                <a:lnTo>
                  <a:pt x="6116" y="819"/>
                </a:lnTo>
                <a:lnTo>
                  <a:pt x="6113" y="817"/>
                </a:lnTo>
                <a:lnTo>
                  <a:pt x="6109" y="816"/>
                </a:lnTo>
                <a:lnTo>
                  <a:pt x="6102" y="814"/>
                </a:lnTo>
                <a:lnTo>
                  <a:pt x="6097" y="814"/>
                </a:lnTo>
                <a:lnTo>
                  <a:pt x="6093" y="814"/>
                </a:lnTo>
                <a:lnTo>
                  <a:pt x="6083" y="814"/>
                </a:lnTo>
                <a:lnTo>
                  <a:pt x="6078" y="815"/>
                </a:lnTo>
                <a:lnTo>
                  <a:pt x="6074" y="816"/>
                </a:lnTo>
                <a:lnTo>
                  <a:pt x="6070" y="818"/>
                </a:lnTo>
                <a:lnTo>
                  <a:pt x="6065" y="820"/>
                </a:lnTo>
                <a:lnTo>
                  <a:pt x="6061" y="822"/>
                </a:lnTo>
                <a:lnTo>
                  <a:pt x="6056" y="825"/>
                </a:lnTo>
                <a:lnTo>
                  <a:pt x="6052" y="827"/>
                </a:lnTo>
                <a:lnTo>
                  <a:pt x="6048" y="830"/>
                </a:lnTo>
                <a:lnTo>
                  <a:pt x="6040" y="838"/>
                </a:lnTo>
                <a:lnTo>
                  <a:pt x="6032" y="846"/>
                </a:lnTo>
                <a:lnTo>
                  <a:pt x="6023" y="855"/>
                </a:lnTo>
                <a:lnTo>
                  <a:pt x="6020" y="859"/>
                </a:lnTo>
                <a:lnTo>
                  <a:pt x="6016" y="865"/>
                </a:lnTo>
                <a:lnTo>
                  <a:pt x="6010" y="876"/>
                </a:lnTo>
                <a:lnTo>
                  <a:pt x="6005" y="888"/>
                </a:lnTo>
                <a:lnTo>
                  <a:pt x="6000" y="900"/>
                </a:lnTo>
                <a:lnTo>
                  <a:pt x="5996" y="913"/>
                </a:lnTo>
                <a:lnTo>
                  <a:pt x="5993" y="926"/>
                </a:lnTo>
                <a:lnTo>
                  <a:pt x="5992" y="941"/>
                </a:lnTo>
                <a:lnTo>
                  <a:pt x="5991" y="948"/>
                </a:lnTo>
                <a:lnTo>
                  <a:pt x="5991" y="955"/>
                </a:lnTo>
                <a:lnTo>
                  <a:pt x="5991" y="968"/>
                </a:lnTo>
                <a:lnTo>
                  <a:pt x="5993" y="980"/>
                </a:lnTo>
                <a:lnTo>
                  <a:pt x="5995" y="993"/>
                </a:lnTo>
                <a:lnTo>
                  <a:pt x="5996" y="998"/>
                </a:lnTo>
                <a:lnTo>
                  <a:pt x="5998" y="1004"/>
                </a:lnTo>
                <a:lnTo>
                  <a:pt x="6001" y="1014"/>
                </a:lnTo>
                <a:lnTo>
                  <a:pt x="6004" y="1019"/>
                </a:lnTo>
                <a:lnTo>
                  <a:pt x="6006" y="1024"/>
                </a:lnTo>
                <a:lnTo>
                  <a:pt x="6008" y="1029"/>
                </a:lnTo>
                <a:lnTo>
                  <a:pt x="6011" y="1033"/>
                </a:lnTo>
                <a:lnTo>
                  <a:pt x="6014" y="1037"/>
                </a:lnTo>
                <a:lnTo>
                  <a:pt x="6017" y="1041"/>
                </a:lnTo>
                <a:lnTo>
                  <a:pt x="6020" y="1045"/>
                </a:lnTo>
                <a:lnTo>
                  <a:pt x="6024" y="1049"/>
                </a:lnTo>
                <a:lnTo>
                  <a:pt x="6032" y="1056"/>
                </a:lnTo>
                <a:lnTo>
                  <a:pt x="6040" y="1062"/>
                </a:lnTo>
                <a:lnTo>
                  <a:pt x="6048" y="1067"/>
                </a:lnTo>
                <a:lnTo>
                  <a:pt x="6057" y="1071"/>
                </a:lnTo>
                <a:lnTo>
                  <a:pt x="6067" y="1073"/>
                </a:lnTo>
                <a:lnTo>
                  <a:pt x="6077" y="1075"/>
                </a:lnTo>
                <a:lnTo>
                  <a:pt x="6082" y="1076"/>
                </a:lnTo>
                <a:lnTo>
                  <a:pt x="6088" y="1076"/>
                </a:lnTo>
                <a:lnTo>
                  <a:pt x="6099" y="1075"/>
                </a:lnTo>
                <a:lnTo>
                  <a:pt x="6110" y="1074"/>
                </a:lnTo>
                <a:lnTo>
                  <a:pt x="6119" y="1071"/>
                </a:lnTo>
                <a:lnTo>
                  <a:pt x="6129" y="1068"/>
                </a:lnTo>
                <a:lnTo>
                  <a:pt x="6138" y="1064"/>
                </a:lnTo>
                <a:lnTo>
                  <a:pt x="6147" y="1059"/>
                </a:lnTo>
                <a:lnTo>
                  <a:pt x="6157" y="1053"/>
                </a:lnTo>
                <a:lnTo>
                  <a:pt x="6165" y="1045"/>
                </a:lnTo>
                <a:lnTo>
                  <a:pt x="6173" y="1038"/>
                </a:lnTo>
                <a:lnTo>
                  <a:pt x="6181" y="1030"/>
                </a:lnTo>
                <a:lnTo>
                  <a:pt x="6188" y="1022"/>
                </a:lnTo>
                <a:lnTo>
                  <a:pt x="6195" y="1013"/>
                </a:lnTo>
                <a:lnTo>
                  <a:pt x="6208" y="993"/>
                </a:lnTo>
                <a:lnTo>
                  <a:pt x="6215" y="982"/>
                </a:lnTo>
                <a:lnTo>
                  <a:pt x="6220" y="971"/>
                </a:lnTo>
                <a:lnTo>
                  <a:pt x="6226" y="960"/>
                </a:lnTo>
                <a:lnTo>
                  <a:pt x="6230" y="949"/>
                </a:lnTo>
                <a:lnTo>
                  <a:pt x="6235" y="937"/>
                </a:lnTo>
                <a:lnTo>
                  <a:pt x="6239" y="925"/>
                </a:lnTo>
                <a:lnTo>
                  <a:pt x="6243" y="913"/>
                </a:lnTo>
                <a:lnTo>
                  <a:pt x="6246" y="901"/>
                </a:lnTo>
                <a:lnTo>
                  <a:pt x="6249" y="889"/>
                </a:lnTo>
                <a:lnTo>
                  <a:pt x="6252" y="877"/>
                </a:lnTo>
                <a:lnTo>
                  <a:pt x="6254" y="864"/>
                </a:lnTo>
                <a:lnTo>
                  <a:pt x="6256" y="852"/>
                </a:lnTo>
                <a:lnTo>
                  <a:pt x="6257" y="840"/>
                </a:lnTo>
                <a:lnTo>
                  <a:pt x="6258" y="828"/>
                </a:lnTo>
                <a:lnTo>
                  <a:pt x="6259" y="817"/>
                </a:lnTo>
                <a:lnTo>
                  <a:pt x="6259" y="805"/>
                </a:lnTo>
                <a:lnTo>
                  <a:pt x="6259" y="794"/>
                </a:lnTo>
                <a:lnTo>
                  <a:pt x="6259" y="784"/>
                </a:lnTo>
                <a:lnTo>
                  <a:pt x="6260" y="781"/>
                </a:lnTo>
                <a:lnTo>
                  <a:pt x="6261" y="779"/>
                </a:lnTo>
                <a:lnTo>
                  <a:pt x="6264" y="777"/>
                </a:lnTo>
                <a:lnTo>
                  <a:pt x="6266" y="775"/>
                </a:lnTo>
                <a:lnTo>
                  <a:pt x="6274" y="773"/>
                </a:lnTo>
                <a:lnTo>
                  <a:pt x="6278" y="772"/>
                </a:lnTo>
                <a:lnTo>
                  <a:pt x="6282" y="772"/>
                </a:lnTo>
                <a:lnTo>
                  <a:pt x="6289" y="772"/>
                </a:lnTo>
                <a:lnTo>
                  <a:pt x="6293" y="773"/>
                </a:lnTo>
                <a:lnTo>
                  <a:pt x="6296" y="774"/>
                </a:lnTo>
                <a:lnTo>
                  <a:pt x="6302" y="777"/>
                </a:lnTo>
                <a:lnTo>
                  <a:pt x="6304" y="779"/>
                </a:lnTo>
                <a:lnTo>
                  <a:pt x="6307" y="781"/>
                </a:lnTo>
                <a:lnTo>
                  <a:pt x="6311" y="787"/>
                </a:lnTo>
                <a:lnTo>
                  <a:pt x="6312" y="790"/>
                </a:lnTo>
                <a:lnTo>
                  <a:pt x="6314" y="794"/>
                </a:lnTo>
                <a:lnTo>
                  <a:pt x="6315" y="798"/>
                </a:lnTo>
                <a:lnTo>
                  <a:pt x="6315" y="803"/>
                </a:lnTo>
                <a:lnTo>
                  <a:pt x="6316" y="809"/>
                </a:lnTo>
                <a:lnTo>
                  <a:pt x="6316" y="815"/>
                </a:lnTo>
                <a:lnTo>
                  <a:pt x="6316" y="831"/>
                </a:lnTo>
                <a:lnTo>
                  <a:pt x="6315" y="846"/>
                </a:lnTo>
                <a:lnTo>
                  <a:pt x="6313" y="862"/>
                </a:lnTo>
                <a:lnTo>
                  <a:pt x="6311" y="878"/>
                </a:lnTo>
                <a:lnTo>
                  <a:pt x="6308" y="893"/>
                </a:lnTo>
                <a:lnTo>
                  <a:pt x="6305" y="907"/>
                </a:lnTo>
                <a:lnTo>
                  <a:pt x="6302" y="922"/>
                </a:lnTo>
                <a:lnTo>
                  <a:pt x="6298" y="937"/>
                </a:lnTo>
                <a:lnTo>
                  <a:pt x="6294" y="951"/>
                </a:lnTo>
                <a:lnTo>
                  <a:pt x="6289" y="964"/>
                </a:lnTo>
                <a:lnTo>
                  <a:pt x="6284" y="978"/>
                </a:lnTo>
                <a:lnTo>
                  <a:pt x="6278" y="990"/>
                </a:lnTo>
                <a:lnTo>
                  <a:pt x="6272" y="1004"/>
                </a:lnTo>
                <a:lnTo>
                  <a:pt x="6264" y="1016"/>
                </a:lnTo>
                <a:lnTo>
                  <a:pt x="6257" y="1027"/>
                </a:lnTo>
                <a:lnTo>
                  <a:pt x="6250" y="1039"/>
                </a:lnTo>
                <a:lnTo>
                  <a:pt x="6242" y="1049"/>
                </a:lnTo>
                <a:lnTo>
                  <a:pt x="6234" y="1060"/>
                </a:lnTo>
                <a:lnTo>
                  <a:pt x="6226" y="1070"/>
                </a:lnTo>
                <a:lnTo>
                  <a:pt x="6217" y="1079"/>
                </a:lnTo>
                <a:lnTo>
                  <a:pt x="6207" y="1087"/>
                </a:lnTo>
                <a:lnTo>
                  <a:pt x="6198" y="1095"/>
                </a:lnTo>
                <a:lnTo>
                  <a:pt x="6188" y="1103"/>
                </a:lnTo>
                <a:lnTo>
                  <a:pt x="6178" y="1109"/>
                </a:lnTo>
                <a:lnTo>
                  <a:pt x="6168" y="1116"/>
                </a:lnTo>
                <a:lnTo>
                  <a:pt x="6157" y="1121"/>
                </a:lnTo>
                <a:lnTo>
                  <a:pt x="6145" y="1126"/>
                </a:lnTo>
                <a:lnTo>
                  <a:pt x="6134" y="1129"/>
                </a:lnTo>
                <a:lnTo>
                  <a:pt x="6123" y="1132"/>
                </a:lnTo>
                <a:lnTo>
                  <a:pt x="6111" y="1134"/>
                </a:lnTo>
                <a:lnTo>
                  <a:pt x="6099" y="1136"/>
                </a:lnTo>
                <a:lnTo>
                  <a:pt x="6086" y="1136"/>
                </a:lnTo>
                <a:close/>
                <a:moveTo>
                  <a:pt x="6474" y="1130"/>
                </a:moveTo>
                <a:lnTo>
                  <a:pt x="6472" y="1130"/>
                </a:lnTo>
                <a:lnTo>
                  <a:pt x="6470" y="1129"/>
                </a:lnTo>
                <a:lnTo>
                  <a:pt x="6464" y="1127"/>
                </a:lnTo>
                <a:lnTo>
                  <a:pt x="6458" y="1122"/>
                </a:lnTo>
                <a:lnTo>
                  <a:pt x="6451" y="1117"/>
                </a:lnTo>
                <a:lnTo>
                  <a:pt x="6437" y="1105"/>
                </a:lnTo>
                <a:lnTo>
                  <a:pt x="6422" y="1091"/>
                </a:lnTo>
                <a:lnTo>
                  <a:pt x="6406" y="1075"/>
                </a:lnTo>
                <a:lnTo>
                  <a:pt x="6388" y="1058"/>
                </a:lnTo>
                <a:lnTo>
                  <a:pt x="6372" y="1040"/>
                </a:lnTo>
                <a:lnTo>
                  <a:pt x="6358" y="1024"/>
                </a:lnTo>
                <a:lnTo>
                  <a:pt x="6346" y="1010"/>
                </a:lnTo>
                <a:lnTo>
                  <a:pt x="6342" y="1004"/>
                </a:lnTo>
                <a:lnTo>
                  <a:pt x="6339" y="998"/>
                </a:lnTo>
                <a:lnTo>
                  <a:pt x="6334" y="987"/>
                </a:lnTo>
                <a:lnTo>
                  <a:pt x="6329" y="977"/>
                </a:lnTo>
                <a:lnTo>
                  <a:pt x="6326" y="968"/>
                </a:lnTo>
                <a:lnTo>
                  <a:pt x="6326" y="958"/>
                </a:lnTo>
                <a:lnTo>
                  <a:pt x="6326" y="952"/>
                </a:lnTo>
                <a:lnTo>
                  <a:pt x="6327" y="946"/>
                </a:lnTo>
                <a:lnTo>
                  <a:pt x="6328" y="941"/>
                </a:lnTo>
                <a:lnTo>
                  <a:pt x="6331" y="935"/>
                </a:lnTo>
                <a:lnTo>
                  <a:pt x="6334" y="927"/>
                </a:lnTo>
                <a:lnTo>
                  <a:pt x="6337" y="921"/>
                </a:lnTo>
                <a:lnTo>
                  <a:pt x="6341" y="914"/>
                </a:lnTo>
                <a:lnTo>
                  <a:pt x="6345" y="908"/>
                </a:lnTo>
                <a:lnTo>
                  <a:pt x="6353" y="897"/>
                </a:lnTo>
                <a:lnTo>
                  <a:pt x="6365" y="883"/>
                </a:lnTo>
                <a:lnTo>
                  <a:pt x="6395" y="848"/>
                </a:lnTo>
                <a:lnTo>
                  <a:pt x="6430" y="808"/>
                </a:lnTo>
                <a:lnTo>
                  <a:pt x="6466" y="768"/>
                </a:lnTo>
                <a:lnTo>
                  <a:pt x="6467" y="768"/>
                </a:lnTo>
                <a:lnTo>
                  <a:pt x="6470" y="767"/>
                </a:lnTo>
                <a:lnTo>
                  <a:pt x="6474" y="768"/>
                </a:lnTo>
                <a:lnTo>
                  <a:pt x="6478" y="769"/>
                </a:lnTo>
                <a:lnTo>
                  <a:pt x="6482" y="771"/>
                </a:lnTo>
                <a:lnTo>
                  <a:pt x="6487" y="773"/>
                </a:lnTo>
                <a:lnTo>
                  <a:pt x="6491" y="776"/>
                </a:lnTo>
                <a:lnTo>
                  <a:pt x="6495" y="780"/>
                </a:lnTo>
                <a:lnTo>
                  <a:pt x="6498" y="784"/>
                </a:lnTo>
                <a:lnTo>
                  <a:pt x="6501" y="789"/>
                </a:lnTo>
                <a:lnTo>
                  <a:pt x="6503" y="794"/>
                </a:lnTo>
                <a:lnTo>
                  <a:pt x="6503" y="798"/>
                </a:lnTo>
                <a:lnTo>
                  <a:pt x="6502" y="804"/>
                </a:lnTo>
                <a:lnTo>
                  <a:pt x="6501" y="809"/>
                </a:lnTo>
                <a:lnTo>
                  <a:pt x="6498" y="816"/>
                </a:lnTo>
                <a:lnTo>
                  <a:pt x="6494" y="822"/>
                </a:lnTo>
                <a:lnTo>
                  <a:pt x="6486" y="832"/>
                </a:lnTo>
                <a:lnTo>
                  <a:pt x="6474" y="846"/>
                </a:lnTo>
                <a:lnTo>
                  <a:pt x="6444" y="879"/>
                </a:lnTo>
                <a:lnTo>
                  <a:pt x="6415" y="913"/>
                </a:lnTo>
                <a:lnTo>
                  <a:pt x="6403" y="927"/>
                </a:lnTo>
                <a:lnTo>
                  <a:pt x="6393" y="940"/>
                </a:lnTo>
                <a:lnTo>
                  <a:pt x="6391" y="944"/>
                </a:lnTo>
                <a:lnTo>
                  <a:pt x="6388" y="947"/>
                </a:lnTo>
                <a:lnTo>
                  <a:pt x="6387" y="951"/>
                </a:lnTo>
                <a:lnTo>
                  <a:pt x="6387" y="954"/>
                </a:lnTo>
                <a:lnTo>
                  <a:pt x="6387" y="959"/>
                </a:lnTo>
                <a:lnTo>
                  <a:pt x="6388" y="963"/>
                </a:lnTo>
                <a:lnTo>
                  <a:pt x="6392" y="968"/>
                </a:lnTo>
                <a:lnTo>
                  <a:pt x="6395" y="972"/>
                </a:lnTo>
                <a:lnTo>
                  <a:pt x="6402" y="981"/>
                </a:lnTo>
                <a:lnTo>
                  <a:pt x="6412" y="994"/>
                </a:lnTo>
                <a:lnTo>
                  <a:pt x="6440" y="1023"/>
                </a:lnTo>
                <a:lnTo>
                  <a:pt x="6473" y="1056"/>
                </a:lnTo>
                <a:lnTo>
                  <a:pt x="6504" y="1087"/>
                </a:lnTo>
                <a:lnTo>
                  <a:pt x="6505" y="1088"/>
                </a:lnTo>
                <a:lnTo>
                  <a:pt x="6507" y="1091"/>
                </a:lnTo>
                <a:lnTo>
                  <a:pt x="6508" y="1093"/>
                </a:lnTo>
                <a:lnTo>
                  <a:pt x="6508" y="1095"/>
                </a:lnTo>
                <a:lnTo>
                  <a:pt x="6507" y="1101"/>
                </a:lnTo>
                <a:lnTo>
                  <a:pt x="6506" y="1104"/>
                </a:lnTo>
                <a:lnTo>
                  <a:pt x="6505" y="1107"/>
                </a:lnTo>
                <a:lnTo>
                  <a:pt x="6501" y="1113"/>
                </a:lnTo>
                <a:lnTo>
                  <a:pt x="6499" y="1116"/>
                </a:lnTo>
                <a:lnTo>
                  <a:pt x="6497" y="1119"/>
                </a:lnTo>
                <a:lnTo>
                  <a:pt x="6491" y="1123"/>
                </a:lnTo>
                <a:lnTo>
                  <a:pt x="6488" y="1125"/>
                </a:lnTo>
                <a:lnTo>
                  <a:pt x="6485" y="1127"/>
                </a:lnTo>
                <a:lnTo>
                  <a:pt x="6480" y="1129"/>
                </a:lnTo>
                <a:lnTo>
                  <a:pt x="6477" y="1130"/>
                </a:lnTo>
                <a:lnTo>
                  <a:pt x="6474" y="1130"/>
                </a:lnTo>
                <a:close/>
                <a:moveTo>
                  <a:pt x="6086" y="2129"/>
                </a:moveTo>
                <a:lnTo>
                  <a:pt x="6078" y="2129"/>
                </a:lnTo>
                <a:lnTo>
                  <a:pt x="6071" y="2128"/>
                </a:lnTo>
                <a:lnTo>
                  <a:pt x="6063" y="2127"/>
                </a:lnTo>
                <a:lnTo>
                  <a:pt x="6056" y="2126"/>
                </a:lnTo>
                <a:lnTo>
                  <a:pt x="6049" y="2124"/>
                </a:lnTo>
                <a:lnTo>
                  <a:pt x="6041" y="2121"/>
                </a:lnTo>
                <a:lnTo>
                  <a:pt x="6027" y="2116"/>
                </a:lnTo>
                <a:lnTo>
                  <a:pt x="6014" y="2108"/>
                </a:lnTo>
                <a:lnTo>
                  <a:pt x="6007" y="2104"/>
                </a:lnTo>
                <a:lnTo>
                  <a:pt x="6001" y="2100"/>
                </a:lnTo>
                <a:lnTo>
                  <a:pt x="5995" y="2095"/>
                </a:lnTo>
                <a:lnTo>
                  <a:pt x="5990" y="2090"/>
                </a:lnTo>
                <a:lnTo>
                  <a:pt x="5984" y="2084"/>
                </a:lnTo>
                <a:lnTo>
                  <a:pt x="5979" y="2078"/>
                </a:lnTo>
                <a:lnTo>
                  <a:pt x="5974" y="2072"/>
                </a:lnTo>
                <a:lnTo>
                  <a:pt x="5969" y="2065"/>
                </a:lnTo>
                <a:lnTo>
                  <a:pt x="5964" y="2058"/>
                </a:lnTo>
                <a:lnTo>
                  <a:pt x="5960" y="2051"/>
                </a:lnTo>
                <a:lnTo>
                  <a:pt x="5956" y="2044"/>
                </a:lnTo>
                <a:lnTo>
                  <a:pt x="5952" y="2037"/>
                </a:lnTo>
                <a:lnTo>
                  <a:pt x="5949" y="2029"/>
                </a:lnTo>
                <a:lnTo>
                  <a:pt x="5946" y="2022"/>
                </a:lnTo>
                <a:lnTo>
                  <a:pt x="5943" y="2014"/>
                </a:lnTo>
                <a:lnTo>
                  <a:pt x="5941" y="2005"/>
                </a:lnTo>
                <a:lnTo>
                  <a:pt x="5939" y="1996"/>
                </a:lnTo>
                <a:lnTo>
                  <a:pt x="5937" y="1988"/>
                </a:lnTo>
                <a:lnTo>
                  <a:pt x="5936" y="1979"/>
                </a:lnTo>
                <a:lnTo>
                  <a:pt x="5935" y="1970"/>
                </a:lnTo>
                <a:lnTo>
                  <a:pt x="5935" y="1961"/>
                </a:lnTo>
                <a:lnTo>
                  <a:pt x="5934" y="1952"/>
                </a:lnTo>
                <a:lnTo>
                  <a:pt x="5935" y="1932"/>
                </a:lnTo>
                <a:lnTo>
                  <a:pt x="5936" y="1923"/>
                </a:lnTo>
                <a:lnTo>
                  <a:pt x="5938" y="1914"/>
                </a:lnTo>
                <a:lnTo>
                  <a:pt x="5939" y="1905"/>
                </a:lnTo>
                <a:lnTo>
                  <a:pt x="5941" y="1896"/>
                </a:lnTo>
                <a:lnTo>
                  <a:pt x="5944" y="1886"/>
                </a:lnTo>
                <a:lnTo>
                  <a:pt x="5947" y="1878"/>
                </a:lnTo>
                <a:lnTo>
                  <a:pt x="5950" y="1869"/>
                </a:lnTo>
                <a:lnTo>
                  <a:pt x="5953" y="1861"/>
                </a:lnTo>
                <a:lnTo>
                  <a:pt x="5957" y="1853"/>
                </a:lnTo>
                <a:lnTo>
                  <a:pt x="5961" y="1845"/>
                </a:lnTo>
                <a:lnTo>
                  <a:pt x="5966" y="1838"/>
                </a:lnTo>
                <a:lnTo>
                  <a:pt x="5971" y="1829"/>
                </a:lnTo>
                <a:lnTo>
                  <a:pt x="5982" y="1815"/>
                </a:lnTo>
                <a:lnTo>
                  <a:pt x="5987" y="1809"/>
                </a:lnTo>
                <a:lnTo>
                  <a:pt x="5993" y="1803"/>
                </a:lnTo>
                <a:lnTo>
                  <a:pt x="6005" y="1791"/>
                </a:lnTo>
                <a:lnTo>
                  <a:pt x="6012" y="1786"/>
                </a:lnTo>
                <a:lnTo>
                  <a:pt x="6018" y="1781"/>
                </a:lnTo>
                <a:lnTo>
                  <a:pt x="6025" y="1777"/>
                </a:lnTo>
                <a:lnTo>
                  <a:pt x="6033" y="1773"/>
                </a:lnTo>
                <a:lnTo>
                  <a:pt x="6040" y="1768"/>
                </a:lnTo>
                <a:lnTo>
                  <a:pt x="6048" y="1765"/>
                </a:lnTo>
                <a:lnTo>
                  <a:pt x="6055" y="1762"/>
                </a:lnTo>
                <a:lnTo>
                  <a:pt x="6063" y="1760"/>
                </a:lnTo>
                <a:lnTo>
                  <a:pt x="6071" y="1758"/>
                </a:lnTo>
                <a:lnTo>
                  <a:pt x="6079" y="1757"/>
                </a:lnTo>
                <a:lnTo>
                  <a:pt x="6087" y="1756"/>
                </a:lnTo>
                <a:lnTo>
                  <a:pt x="6096" y="1756"/>
                </a:lnTo>
                <a:lnTo>
                  <a:pt x="6107" y="1756"/>
                </a:lnTo>
                <a:lnTo>
                  <a:pt x="6111" y="1757"/>
                </a:lnTo>
                <a:lnTo>
                  <a:pt x="6116" y="1758"/>
                </a:lnTo>
                <a:lnTo>
                  <a:pt x="6121" y="1759"/>
                </a:lnTo>
                <a:lnTo>
                  <a:pt x="6125" y="1760"/>
                </a:lnTo>
                <a:lnTo>
                  <a:pt x="6134" y="1763"/>
                </a:lnTo>
                <a:lnTo>
                  <a:pt x="6142" y="1767"/>
                </a:lnTo>
                <a:lnTo>
                  <a:pt x="6149" y="1773"/>
                </a:lnTo>
                <a:lnTo>
                  <a:pt x="6157" y="1778"/>
                </a:lnTo>
                <a:lnTo>
                  <a:pt x="6163" y="1784"/>
                </a:lnTo>
                <a:lnTo>
                  <a:pt x="6165" y="1787"/>
                </a:lnTo>
                <a:lnTo>
                  <a:pt x="6168" y="1791"/>
                </a:lnTo>
                <a:lnTo>
                  <a:pt x="6173" y="1798"/>
                </a:lnTo>
                <a:lnTo>
                  <a:pt x="6177" y="1806"/>
                </a:lnTo>
                <a:lnTo>
                  <a:pt x="6180" y="1814"/>
                </a:lnTo>
                <a:lnTo>
                  <a:pt x="6183" y="1823"/>
                </a:lnTo>
                <a:lnTo>
                  <a:pt x="6185" y="1833"/>
                </a:lnTo>
                <a:lnTo>
                  <a:pt x="6186" y="1842"/>
                </a:lnTo>
                <a:lnTo>
                  <a:pt x="6186" y="1852"/>
                </a:lnTo>
                <a:lnTo>
                  <a:pt x="6185" y="1865"/>
                </a:lnTo>
                <a:lnTo>
                  <a:pt x="6184" y="1871"/>
                </a:lnTo>
                <a:lnTo>
                  <a:pt x="6183" y="1877"/>
                </a:lnTo>
                <a:lnTo>
                  <a:pt x="6179" y="1889"/>
                </a:lnTo>
                <a:lnTo>
                  <a:pt x="6174" y="1902"/>
                </a:lnTo>
                <a:lnTo>
                  <a:pt x="6168" y="1913"/>
                </a:lnTo>
                <a:lnTo>
                  <a:pt x="6161" y="1923"/>
                </a:lnTo>
                <a:lnTo>
                  <a:pt x="6157" y="1928"/>
                </a:lnTo>
                <a:lnTo>
                  <a:pt x="6153" y="1933"/>
                </a:lnTo>
                <a:lnTo>
                  <a:pt x="6142" y="1943"/>
                </a:lnTo>
                <a:lnTo>
                  <a:pt x="6132" y="1952"/>
                </a:lnTo>
                <a:lnTo>
                  <a:pt x="6127" y="1956"/>
                </a:lnTo>
                <a:lnTo>
                  <a:pt x="6122" y="1960"/>
                </a:lnTo>
                <a:lnTo>
                  <a:pt x="6110" y="1966"/>
                </a:lnTo>
                <a:lnTo>
                  <a:pt x="6099" y="1972"/>
                </a:lnTo>
                <a:lnTo>
                  <a:pt x="6086" y="1976"/>
                </a:lnTo>
                <a:lnTo>
                  <a:pt x="6079" y="1978"/>
                </a:lnTo>
                <a:lnTo>
                  <a:pt x="6073" y="1980"/>
                </a:lnTo>
                <a:lnTo>
                  <a:pt x="6067" y="1981"/>
                </a:lnTo>
                <a:lnTo>
                  <a:pt x="6061" y="1982"/>
                </a:lnTo>
                <a:lnTo>
                  <a:pt x="6048" y="1982"/>
                </a:lnTo>
                <a:lnTo>
                  <a:pt x="6043" y="1982"/>
                </a:lnTo>
                <a:lnTo>
                  <a:pt x="6038" y="1980"/>
                </a:lnTo>
                <a:lnTo>
                  <a:pt x="6033" y="1977"/>
                </a:lnTo>
                <a:lnTo>
                  <a:pt x="6031" y="1975"/>
                </a:lnTo>
                <a:lnTo>
                  <a:pt x="6029" y="1973"/>
                </a:lnTo>
                <a:lnTo>
                  <a:pt x="6025" y="1969"/>
                </a:lnTo>
                <a:lnTo>
                  <a:pt x="6023" y="1963"/>
                </a:lnTo>
                <a:lnTo>
                  <a:pt x="6022" y="1961"/>
                </a:lnTo>
                <a:lnTo>
                  <a:pt x="6022" y="1958"/>
                </a:lnTo>
                <a:lnTo>
                  <a:pt x="6021" y="1950"/>
                </a:lnTo>
                <a:lnTo>
                  <a:pt x="6021" y="1947"/>
                </a:lnTo>
                <a:lnTo>
                  <a:pt x="6021" y="1945"/>
                </a:lnTo>
                <a:lnTo>
                  <a:pt x="6023" y="1940"/>
                </a:lnTo>
                <a:lnTo>
                  <a:pt x="6024" y="1938"/>
                </a:lnTo>
                <a:lnTo>
                  <a:pt x="6025" y="1936"/>
                </a:lnTo>
                <a:lnTo>
                  <a:pt x="6026" y="1934"/>
                </a:lnTo>
                <a:lnTo>
                  <a:pt x="6028" y="1933"/>
                </a:lnTo>
                <a:lnTo>
                  <a:pt x="6040" y="1931"/>
                </a:lnTo>
                <a:lnTo>
                  <a:pt x="6050" y="1928"/>
                </a:lnTo>
                <a:lnTo>
                  <a:pt x="6061" y="1925"/>
                </a:lnTo>
                <a:lnTo>
                  <a:pt x="6070" y="1921"/>
                </a:lnTo>
                <a:lnTo>
                  <a:pt x="6079" y="1917"/>
                </a:lnTo>
                <a:lnTo>
                  <a:pt x="6088" y="1911"/>
                </a:lnTo>
                <a:lnTo>
                  <a:pt x="6097" y="1906"/>
                </a:lnTo>
                <a:lnTo>
                  <a:pt x="6100" y="1903"/>
                </a:lnTo>
                <a:lnTo>
                  <a:pt x="6104" y="1900"/>
                </a:lnTo>
                <a:lnTo>
                  <a:pt x="6110" y="1894"/>
                </a:lnTo>
                <a:lnTo>
                  <a:pt x="6116" y="1886"/>
                </a:lnTo>
                <a:lnTo>
                  <a:pt x="6121" y="1880"/>
                </a:lnTo>
                <a:lnTo>
                  <a:pt x="6125" y="1873"/>
                </a:lnTo>
                <a:lnTo>
                  <a:pt x="6128" y="1866"/>
                </a:lnTo>
                <a:lnTo>
                  <a:pt x="6131" y="1859"/>
                </a:lnTo>
                <a:lnTo>
                  <a:pt x="6132" y="1852"/>
                </a:lnTo>
                <a:lnTo>
                  <a:pt x="6133" y="1845"/>
                </a:lnTo>
                <a:lnTo>
                  <a:pt x="6132" y="1837"/>
                </a:lnTo>
                <a:lnTo>
                  <a:pt x="6130" y="1828"/>
                </a:lnTo>
                <a:lnTo>
                  <a:pt x="6129" y="1825"/>
                </a:lnTo>
                <a:lnTo>
                  <a:pt x="6127" y="1822"/>
                </a:lnTo>
                <a:lnTo>
                  <a:pt x="6125" y="1819"/>
                </a:lnTo>
                <a:lnTo>
                  <a:pt x="6122" y="1817"/>
                </a:lnTo>
                <a:lnTo>
                  <a:pt x="6116" y="1812"/>
                </a:lnTo>
                <a:lnTo>
                  <a:pt x="6113" y="1811"/>
                </a:lnTo>
                <a:lnTo>
                  <a:pt x="6109" y="1809"/>
                </a:lnTo>
                <a:lnTo>
                  <a:pt x="6102" y="1807"/>
                </a:lnTo>
                <a:lnTo>
                  <a:pt x="6097" y="1807"/>
                </a:lnTo>
                <a:lnTo>
                  <a:pt x="6093" y="1807"/>
                </a:lnTo>
                <a:lnTo>
                  <a:pt x="6083" y="1807"/>
                </a:lnTo>
                <a:lnTo>
                  <a:pt x="6078" y="1808"/>
                </a:lnTo>
                <a:lnTo>
                  <a:pt x="6074" y="1810"/>
                </a:lnTo>
                <a:lnTo>
                  <a:pt x="6070" y="1811"/>
                </a:lnTo>
                <a:lnTo>
                  <a:pt x="6065" y="1813"/>
                </a:lnTo>
                <a:lnTo>
                  <a:pt x="6061" y="1815"/>
                </a:lnTo>
                <a:lnTo>
                  <a:pt x="6056" y="1818"/>
                </a:lnTo>
                <a:lnTo>
                  <a:pt x="6052" y="1821"/>
                </a:lnTo>
                <a:lnTo>
                  <a:pt x="6048" y="1824"/>
                </a:lnTo>
                <a:lnTo>
                  <a:pt x="6040" y="1832"/>
                </a:lnTo>
                <a:lnTo>
                  <a:pt x="6032" y="1840"/>
                </a:lnTo>
                <a:lnTo>
                  <a:pt x="6023" y="1849"/>
                </a:lnTo>
                <a:lnTo>
                  <a:pt x="6020" y="1854"/>
                </a:lnTo>
                <a:lnTo>
                  <a:pt x="6016" y="1859"/>
                </a:lnTo>
                <a:lnTo>
                  <a:pt x="6010" y="1870"/>
                </a:lnTo>
                <a:lnTo>
                  <a:pt x="6005" y="1881"/>
                </a:lnTo>
                <a:lnTo>
                  <a:pt x="6000" y="1894"/>
                </a:lnTo>
                <a:lnTo>
                  <a:pt x="5996" y="1907"/>
                </a:lnTo>
                <a:lnTo>
                  <a:pt x="5993" y="1920"/>
                </a:lnTo>
                <a:lnTo>
                  <a:pt x="5992" y="1934"/>
                </a:lnTo>
                <a:lnTo>
                  <a:pt x="5991" y="1941"/>
                </a:lnTo>
                <a:lnTo>
                  <a:pt x="5991" y="1948"/>
                </a:lnTo>
                <a:lnTo>
                  <a:pt x="5991" y="1962"/>
                </a:lnTo>
                <a:lnTo>
                  <a:pt x="5993" y="1974"/>
                </a:lnTo>
                <a:lnTo>
                  <a:pt x="5995" y="1986"/>
                </a:lnTo>
                <a:lnTo>
                  <a:pt x="5996" y="1991"/>
                </a:lnTo>
                <a:lnTo>
                  <a:pt x="5998" y="1997"/>
                </a:lnTo>
                <a:lnTo>
                  <a:pt x="6001" y="2007"/>
                </a:lnTo>
                <a:lnTo>
                  <a:pt x="6004" y="2013"/>
                </a:lnTo>
                <a:lnTo>
                  <a:pt x="6006" y="2018"/>
                </a:lnTo>
                <a:lnTo>
                  <a:pt x="6008" y="2023"/>
                </a:lnTo>
                <a:lnTo>
                  <a:pt x="6011" y="2027"/>
                </a:lnTo>
                <a:lnTo>
                  <a:pt x="6014" y="2031"/>
                </a:lnTo>
                <a:lnTo>
                  <a:pt x="6017" y="2035"/>
                </a:lnTo>
                <a:lnTo>
                  <a:pt x="6020" y="2039"/>
                </a:lnTo>
                <a:lnTo>
                  <a:pt x="6024" y="2043"/>
                </a:lnTo>
                <a:lnTo>
                  <a:pt x="6032" y="2050"/>
                </a:lnTo>
                <a:lnTo>
                  <a:pt x="6040" y="2055"/>
                </a:lnTo>
                <a:lnTo>
                  <a:pt x="6048" y="2060"/>
                </a:lnTo>
                <a:lnTo>
                  <a:pt x="6057" y="2064"/>
                </a:lnTo>
                <a:lnTo>
                  <a:pt x="6067" y="2067"/>
                </a:lnTo>
                <a:lnTo>
                  <a:pt x="6077" y="2068"/>
                </a:lnTo>
                <a:lnTo>
                  <a:pt x="6082" y="2069"/>
                </a:lnTo>
                <a:lnTo>
                  <a:pt x="6088" y="2069"/>
                </a:lnTo>
                <a:lnTo>
                  <a:pt x="6099" y="2068"/>
                </a:lnTo>
                <a:lnTo>
                  <a:pt x="6110" y="2067"/>
                </a:lnTo>
                <a:lnTo>
                  <a:pt x="6119" y="2064"/>
                </a:lnTo>
                <a:lnTo>
                  <a:pt x="6129" y="2061"/>
                </a:lnTo>
                <a:lnTo>
                  <a:pt x="6138" y="2057"/>
                </a:lnTo>
                <a:lnTo>
                  <a:pt x="6147" y="2052"/>
                </a:lnTo>
                <a:lnTo>
                  <a:pt x="6157" y="2046"/>
                </a:lnTo>
                <a:lnTo>
                  <a:pt x="6165" y="2039"/>
                </a:lnTo>
                <a:lnTo>
                  <a:pt x="6173" y="2032"/>
                </a:lnTo>
                <a:lnTo>
                  <a:pt x="6181" y="2024"/>
                </a:lnTo>
                <a:lnTo>
                  <a:pt x="6188" y="2016"/>
                </a:lnTo>
                <a:lnTo>
                  <a:pt x="6195" y="2006"/>
                </a:lnTo>
                <a:lnTo>
                  <a:pt x="6208" y="1986"/>
                </a:lnTo>
                <a:lnTo>
                  <a:pt x="6215" y="1976"/>
                </a:lnTo>
                <a:lnTo>
                  <a:pt x="6220" y="1965"/>
                </a:lnTo>
                <a:lnTo>
                  <a:pt x="6226" y="1954"/>
                </a:lnTo>
                <a:lnTo>
                  <a:pt x="6230" y="1942"/>
                </a:lnTo>
                <a:lnTo>
                  <a:pt x="6235" y="1930"/>
                </a:lnTo>
                <a:lnTo>
                  <a:pt x="6239" y="1919"/>
                </a:lnTo>
                <a:lnTo>
                  <a:pt x="6243" y="1907"/>
                </a:lnTo>
                <a:lnTo>
                  <a:pt x="6246" y="1895"/>
                </a:lnTo>
                <a:lnTo>
                  <a:pt x="6249" y="1882"/>
                </a:lnTo>
                <a:lnTo>
                  <a:pt x="6252" y="1870"/>
                </a:lnTo>
                <a:lnTo>
                  <a:pt x="6254" y="1858"/>
                </a:lnTo>
                <a:lnTo>
                  <a:pt x="6256" y="1846"/>
                </a:lnTo>
                <a:lnTo>
                  <a:pt x="6257" y="1834"/>
                </a:lnTo>
                <a:lnTo>
                  <a:pt x="6258" y="1822"/>
                </a:lnTo>
                <a:lnTo>
                  <a:pt x="6259" y="1810"/>
                </a:lnTo>
                <a:lnTo>
                  <a:pt x="6259" y="1799"/>
                </a:lnTo>
                <a:lnTo>
                  <a:pt x="6259" y="1788"/>
                </a:lnTo>
                <a:lnTo>
                  <a:pt x="6259" y="1778"/>
                </a:lnTo>
                <a:lnTo>
                  <a:pt x="6260" y="1776"/>
                </a:lnTo>
                <a:lnTo>
                  <a:pt x="6261" y="1773"/>
                </a:lnTo>
                <a:lnTo>
                  <a:pt x="6264" y="1770"/>
                </a:lnTo>
                <a:lnTo>
                  <a:pt x="6266" y="1769"/>
                </a:lnTo>
                <a:lnTo>
                  <a:pt x="6274" y="1766"/>
                </a:lnTo>
                <a:lnTo>
                  <a:pt x="6278" y="1765"/>
                </a:lnTo>
                <a:lnTo>
                  <a:pt x="6282" y="1765"/>
                </a:lnTo>
                <a:lnTo>
                  <a:pt x="6289" y="1765"/>
                </a:lnTo>
                <a:lnTo>
                  <a:pt x="6293" y="1766"/>
                </a:lnTo>
                <a:lnTo>
                  <a:pt x="6296" y="1767"/>
                </a:lnTo>
                <a:lnTo>
                  <a:pt x="6302" y="1770"/>
                </a:lnTo>
                <a:lnTo>
                  <a:pt x="6304" y="1773"/>
                </a:lnTo>
                <a:lnTo>
                  <a:pt x="6307" y="1775"/>
                </a:lnTo>
                <a:lnTo>
                  <a:pt x="6311" y="1781"/>
                </a:lnTo>
                <a:lnTo>
                  <a:pt x="6312" y="1784"/>
                </a:lnTo>
                <a:lnTo>
                  <a:pt x="6314" y="1788"/>
                </a:lnTo>
                <a:lnTo>
                  <a:pt x="6315" y="1793"/>
                </a:lnTo>
                <a:lnTo>
                  <a:pt x="6315" y="1797"/>
                </a:lnTo>
                <a:lnTo>
                  <a:pt x="6316" y="1803"/>
                </a:lnTo>
                <a:lnTo>
                  <a:pt x="6316" y="1809"/>
                </a:lnTo>
                <a:lnTo>
                  <a:pt x="6316" y="1824"/>
                </a:lnTo>
                <a:lnTo>
                  <a:pt x="6315" y="1841"/>
                </a:lnTo>
                <a:lnTo>
                  <a:pt x="6313" y="1856"/>
                </a:lnTo>
                <a:lnTo>
                  <a:pt x="6311" y="1871"/>
                </a:lnTo>
                <a:lnTo>
                  <a:pt x="6308" y="1886"/>
                </a:lnTo>
                <a:lnTo>
                  <a:pt x="6305" y="1902"/>
                </a:lnTo>
                <a:lnTo>
                  <a:pt x="6302" y="1916"/>
                </a:lnTo>
                <a:lnTo>
                  <a:pt x="6298" y="1930"/>
                </a:lnTo>
                <a:lnTo>
                  <a:pt x="6294" y="1944"/>
                </a:lnTo>
                <a:lnTo>
                  <a:pt x="6289" y="1959"/>
                </a:lnTo>
                <a:lnTo>
                  <a:pt x="6284" y="1972"/>
                </a:lnTo>
                <a:lnTo>
                  <a:pt x="6278" y="1985"/>
                </a:lnTo>
                <a:lnTo>
                  <a:pt x="6272" y="1997"/>
                </a:lnTo>
                <a:lnTo>
                  <a:pt x="6264" y="2009"/>
                </a:lnTo>
                <a:lnTo>
                  <a:pt x="6257" y="2022"/>
                </a:lnTo>
                <a:lnTo>
                  <a:pt x="6250" y="2033"/>
                </a:lnTo>
                <a:lnTo>
                  <a:pt x="6242" y="2043"/>
                </a:lnTo>
                <a:lnTo>
                  <a:pt x="6234" y="2054"/>
                </a:lnTo>
                <a:lnTo>
                  <a:pt x="6226" y="2063"/>
                </a:lnTo>
                <a:lnTo>
                  <a:pt x="6217" y="2073"/>
                </a:lnTo>
                <a:lnTo>
                  <a:pt x="6207" y="2082"/>
                </a:lnTo>
                <a:lnTo>
                  <a:pt x="6198" y="2090"/>
                </a:lnTo>
                <a:lnTo>
                  <a:pt x="6188" y="2097"/>
                </a:lnTo>
                <a:lnTo>
                  <a:pt x="6178" y="2103"/>
                </a:lnTo>
                <a:lnTo>
                  <a:pt x="6168" y="2109"/>
                </a:lnTo>
                <a:lnTo>
                  <a:pt x="6157" y="2114"/>
                </a:lnTo>
                <a:lnTo>
                  <a:pt x="6145" y="2119"/>
                </a:lnTo>
                <a:lnTo>
                  <a:pt x="6134" y="2122"/>
                </a:lnTo>
                <a:lnTo>
                  <a:pt x="6123" y="2125"/>
                </a:lnTo>
                <a:lnTo>
                  <a:pt x="6111" y="2127"/>
                </a:lnTo>
                <a:lnTo>
                  <a:pt x="6099" y="2129"/>
                </a:lnTo>
                <a:lnTo>
                  <a:pt x="6086" y="2129"/>
                </a:lnTo>
                <a:close/>
                <a:moveTo>
                  <a:pt x="6474" y="2123"/>
                </a:moveTo>
                <a:lnTo>
                  <a:pt x="6472" y="2123"/>
                </a:lnTo>
                <a:lnTo>
                  <a:pt x="6470" y="2123"/>
                </a:lnTo>
                <a:lnTo>
                  <a:pt x="6464" y="2120"/>
                </a:lnTo>
                <a:lnTo>
                  <a:pt x="6458" y="2116"/>
                </a:lnTo>
                <a:lnTo>
                  <a:pt x="6451" y="2110"/>
                </a:lnTo>
                <a:lnTo>
                  <a:pt x="6437" y="2099"/>
                </a:lnTo>
                <a:lnTo>
                  <a:pt x="6422" y="2085"/>
                </a:lnTo>
                <a:lnTo>
                  <a:pt x="6406" y="2068"/>
                </a:lnTo>
                <a:lnTo>
                  <a:pt x="6388" y="2051"/>
                </a:lnTo>
                <a:lnTo>
                  <a:pt x="6372" y="2034"/>
                </a:lnTo>
                <a:lnTo>
                  <a:pt x="6358" y="2018"/>
                </a:lnTo>
                <a:lnTo>
                  <a:pt x="6346" y="2003"/>
                </a:lnTo>
                <a:lnTo>
                  <a:pt x="6342" y="1997"/>
                </a:lnTo>
                <a:lnTo>
                  <a:pt x="6339" y="1991"/>
                </a:lnTo>
                <a:lnTo>
                  <a:pt x="6334" y="1981"/>
                </a:lnTo>
                <a:lnTo>
                  <a:pt x="6329" y="1971"/>
                </a:lnTo>
                <a:lnTo>
                  <a:pt x="6326" y="1962"/>
                </a:lnTo>
                <a:lnTo>
                  <a:pt x="6326" y="1952"/>
                </a:lnTo>
                <a:lnTo>
                  <a:pt x="6326" y="1945"/>
                </a:lnTo>
                <a:lnTo>
                  <a:pt x="6327" y="1940"/>
                </a:lnTo>
                <a:lnTo>
                  <a:pt x="6328" y="1934"/>
                </a:lnTo>
                <a:lnTo>
                  <a:pt x="6331" y="1928"/>
                </a:lnTo>
                <a:lnTo>
                  <a:pt x="6334" y="1922"/>
                </a:lnTo>
                <a:lnTo>
                  <a:pt x="6337" y="1915"/>
                </a:lnTo>
                <a:lnTo>
                  <a:pt x="6341" y="1909"/>
                </a:lnTo>
                <a:lnTo>
                  <a:pt x="6345" y="1902"/>
                </a:lnTo>
                <a:lnTo>
                  <a:pt x="6353" y="1890"/>
                </a:lnTo>
                <a:lnTo>
                  <a:pt x="6365" y="1876"/>
                </a:lnTo>
                <a:lnTo>
                  <a:pt x="6395" y="1842"/>
                </a:lnTo>
                <a:lnTo>
                  <a:pt x="6430" y="1802"/>
                </a:lnTo>
                <a:lnTo>
                  <a:pt x="6466" y="1761"/>
                </a:lnTo>
                <a:lnTo>
                  <a:pt x="6467" y="1761"/>
                </a:lnTo>
                <a:lnTo>
                  <a:pt x="6470" y="1760"/>
                </a:lnTo>
                <a:lnTo>
                  <a:pt x="6474" y="1761"/>
                </a:lnTo>
                <a:lnTo>
                  <a:pt x="6478" y="1762"/>
                </a:lnTo>
                <a:lnTo>
                  <a:pt x="6482" y="1764"/>
                </a:lnTo>
                <a:lnTo>
                  <a:pt x="6487" y="1766"/>
                </a:lnTo>
                <a:lnTo>
                  <a:pt x="6491" y="1769"/>
                </a:lnTo>
                <a:lnTo>
                  <a:pt x="6495" y="1774"/>
                </a:lnTo>
                <a:lnTo>
                  <a:pt x="6498" y="1778"/>
                </a:lnTo>
                <a:lnTo>
                  <a:pt x="6501" y="1783"/>
                </a:lnTo>
                <a:lnTo>
                  <a:pt x="6503" y="1788"/>
                </a:lnTo>
                <a:lnTo>
                  <a:pt x="6503" y="1793"/>
                </a:lnTo>
                <a:lnTo>
                  <a:pt x="6502" y="1798"/>
                </a:lnTo>
                <a:lnTo>
                  <a:pt x="6501" y="1803"/>
                </a:lnTo>
                <a:lnTo>
                  <a:pt x="6498" y="1809"/>
                </a:lnTo>
                <a:lnTo>
                  <a:pt x="6494" y="1815"/>
                </a:lnTo>
                <a:lnTo>
                  <a:pt x="6486" y="1825"/>
                </a:lnTo>
                <a:lnTo>
                  <a:pt x="6474" y="1840"/>
                </a:lnTo>
                <a:lnTo>
                  <a:pt x="6444" y="1873"/>
                </a:lnTo>
                <a:lnTo>
                  <a:pt x="6415" y="1907"/>
                </a:lnTo>
                <a:lnTo>
                  <a:pt x="6403" y="1921"/>
                </a:lnTo>
                <a:lnTo>
                  <a:pt x="6393" y="1933"/>
                </a:lnTo>
                <a:lnTo>
                  <a:pt x="6391" y="1937"/>
                </a:lnTo>
                <a:lnTo>
                  <a:pt x="6388" y="1940"/>
                </a:lnTo>
                <a:lnTo>
                  <a:pt x="6387" y="1944"/>
                </a:lnTo>
                <a:lnTo>
                  <a:pt x="6387" y="1948"/>
                </a:lnTo>
                <a:lnTo>
                  <a:pt x="6387" y="1953"/>
                </a:lnTo>
                <a:lnTo>
                  <a:pt x="6388" y="1957"/>
                </a:lnTo>
                <a:lnTo>
                  <a:pt x="6392" y="1962"/>
                </a:lnTo>
                <a:lnTo>
                  <a:pt x="6395" y="1967"/>
                </a:lnTo>
                <a:lnTo>
                  <a:pt x="6402" y="1976"/>
                </a:lnTo>
                <a:lnTo>
                  <a:pt x="6412" y="1987"/>
                </a:lnTo>
                <a:lnTo>
                  <a:pt x="6440" y="2017"/>
                </a:lnTo>
                <a:lnTo>
                  <a:pt x="6473" y="2050"/>
                </a:lnTo>
                <a:lnTo>
                  <a:pt x="6504" y="2081"/>
                </a:lnTo>
                <a:lnTo>
                  <a:pt x="6505" y="2083"/>
                </a:lnTo>
                <a:lnTo>
                  <a:pt x="6507" y="2085"/>
                </a:lnTo>
                <a:lnTo>
                  <a:pt x="6508" y="2087"/>
                </a:lnTo>
                <a:lnTo>
                  <a:pt x="6508" y="2090"/>
                </a:lnTo>
                <a:lnTo>
                  <a:pt x="6507" y="2095"/>
                </a:lnTo>
                <a:lnTo>
                  <a:pt x="6506" y="2098"/>
                </a:lnTo>
                <a:lnTo>
                  <a:pt x="6505" y="2101"/>
                </a:lnTo>
                <a:lnTo>
                  <a:pt x="6501" y="2107"/>
                </a:lnTo>
                <a:lnTo>
                  <a:pt x="6499" y="2109"/>
                </a:lnTo>
                <a:lnTo>
                  <a:pt x="6497" y="2112"/>
                </a:lnTo>
                <a:lnTo>
                  <a:pt x="6491" y="2116"/>
                </a:lnTo>
                <a:lnTo>
                  <a:pt x="6488" y="2118"/>
                </a:lnTo>
                <a:lnTo>
                  <a:pt x="6485" y="2120"/>
                </a:lnTo>
                <a:lnTo>
                  <a:pt x="6480" y="2123"/>
                </a:lnTo>
                <a:lnTo>
                  <a:pt x="6477" y="2123"/>
                </a:lnTo>
                <a:lnTo>
                  <a:pt x="6474" y="2123"/>
                </a:lnTo>
                <a:close/>
                <a:moveTo>
                  <a:pt x="6856" y="1136"/>
                </a:moveTo>
                <a:lnTo>
                  <a:pt x="6848" y="1136"/>
                </a:lnTo>
                <a:lnTo>
                  <a:pt x="6841" y="1135"/>
                </a:lnTo>
                <a:lnTo>
                  <a:pt x="6833" y="1134"/>
                </a:lnTo>
                <a:lnTo>
                  <a:pt x="6826" y="1132"/>
                </a:lnTo>
                <a:lnTo>
                  <a:pt x="6819" y="1131"/>
                </a:lnTo>
                <a:lnTo>
                  <a:pt x="6812" y="1128"/>
                </a:lnTo>
                <a:lnTo>
                  <a:pt x="6797" y="1122"/>
                </a:lnTo>
                <a:lnTo>
                  <a:pt x="6784" y="1115"/>
                </a:lnTo>
                <a:lnTo>
                  <a:pt x="6778" y="1110"/>
                </a:lnTo>
                <a:lnTo>
                  <a:pt x="6772" y="1105"/>
                </a:lnTo>
                <a:lnTo>
                  <a:pt x="6766" y="1101"/>
                </a:lnTo>
                <a:lnTo>
                  <a:pt x="6760" y="1095"/>
                </a:lnTo>
                <a:lnTo>
                  <a:pt x="6755" y="1090"/>
                </a:lnTo>
                <a:lnTo>
                  <a:pt x="6748" y="1084"/>
                </a:lnTo>
                <a:lnTo>
                  <a:pt x="6743" y="1078"/>
                </a:lnTo>
                <a:lnTo>
                  <a:pt x="6739" y="1072"/>
                </a:lnTo>
                <a:lnTo>
                  <a:pt x="6734" y="1065"/>
                </a:lnTo>
                <a:lnTo>
                  <a:pt x="6730" y="1058"/>
                </a:lnTo>
                <a:lnTo>
                  <a:pt x="6726" y="1050"/>
                </a:lnTo>
                <a:lnTo>
                  <a:pt x="6723" y="1043"/>
                </a:lnTo>
                <a:lnTo>
                  <a:pt x="6719" y="1035"/>
                </a:lnTo>
                <a:lnTo>
                  <a:pt x="6716" y="1027"/>
                </a:lnTo>
                <a:lnTo>
                  <a:pt x="6714" y="1020"/>
                </a:lnTo>
                <a:lnTo>
                  <a:pt x="6711" y="1011"/>
                </a:lnTo>
                <a:lnTo>
                  <a:pt x="6709" y="1003"/>
                </a:lnTo>
                <a:lnTo>
                  <a:pt x="6708" y="994"/>
                </a:lnTo>
                <a:lnTo>
                  <a:pt x="6706" y="985"/>
                </a:lnTo>
                <a:lnTo>
                  <a:pt x="6705" y="976"/>
                </a:lnTo>
                <a:lnTo>
                  <a:pt x="6705" y="967"/>
                </a:lnTo>
                <a:lnTo>
                  <a:pt x="6705" y="958"/>
                </a:lnTo>
                <a:lnTo>
                  <a:pt x="6705" y="939"/>
                </a:lnTo>
                <a:lnTo>
                  <a:pt x="6706" y="929"/>
                </a:lnTo>
                <a:lnTo>
                  <a:pt x="6708" y="920"/>
                </a:lnTo>
                <a:lnTo>
                  <a:pt x="6710" y="911"/>
                </a:lnTo>
                <a:lnTo>
                  <a:pt x="6712" y="902"/>
                </a:lnTo>
                <a:lnTo>
                  <a:pt x="6714" y="893"/>
                </a:lnTo>
                <a:lnTo>
                  <a:pt x="6717" y="884"/>
                </a:lnTo>
                <a:lnTo>
                  <a:pt x="6720" y="876"/>
                </a:lnTo>
                <a:lnTo>
                  <a:pt x="6724" y="867"/>
                </a:lnTo>
                <a:lnTo>
                  <a:pt x="6727" y="859"/>
                </a:lnTo>
                <a:lnTo>
                  <a:pt x="6731" y="851"/>
                </a:lnTo>
                <a:lnTo>
                  <a:pt x="6736" y="843"/>
                </a:lnTo>
                <a:lnTo>
                  <a:pt x="6741" y="836"/>
                </a:lnTo>
                <a:lnTo>
                  <a:pt x="6752" y="822"/>
                </a:lnTo>
                <a:lnTo>
                  <a:pt x="6757" y="816"/>
                </a:lnTo>
                <a:lnTo>
                  <a:pt x="6763" y="809"/>
                </a:lnTo>
                <a:lnTo>
                  <a:pt x="6775" y="797"/>
                </a:lnTo>
                <a:lnTo>
                  <a:pt x="6782" y="792"/>
                </a:lnTo>
                <a:lnTo>
                  <a:pt x="6788" y="787"/>
                </a:lnTo>
                <a:lnTo>
                  <a:pt x="6795" y="783"/>
                </a:lnTo>
                <a:lnTo>
                  <a:pt x="6802" y="779"/>
                </a:lnTo>
                <a:lnTo>
                  <a:pt x="6811" y="775"/>
                </a:lnTo>
                <a:lnTo>
                  <a:pt x="6818" y="772"/>
                </a:lnTo>
                <a:lnTo>
                  <a:pt x="6826" y="769"/>
                </a:lnTo>
                <a:lnTo>
                  <a:pt x="6833" y="767"/>
                </a:lnTo>
                <a:lnTo>
                  <a:pt x="6841" y="765"/>
                </a:lnTo>
                <a:lnTo>
                  <a:pt x="6849" y="764"/>
                </a:lnTo>
                <a:lnTo>
                  <a:pt x="6857" y="763"/>
                </a:lnTo>
                <a:lnTo>
                  <a:pt x="6866" y="763"/>
                </a:lnTo>
                <a:lnTo>
                  <a:pt x="6877" y="763"/>
                </a:lnTo>
                <a:lnTo>
                  <a:pt x="6882" y="764"/>
                </a:lnTo>
                <a:lnTo>
                  <a:pt x="6886" y="765"/>
                </a:lnTo>
                <a:lnTo>
                  <a:pt x="6891" y="766"/>
                </a:lnTo>
                <a:lnTo>
                  <a:pt x="6895" y="767"/>
                </a:lnTo>
                <a:lnTo>
                  <a:pt x="6904" y="770"/>
                </a:lnTo>
                <a:lnTo>
                  <a:pt x="6912" y="774"/>
                </a:lnTo>
                <a:lnTo>
                  <a:pt x="6919" y="779"/>
                </a:lnTo>
                <a:lnTo>
                  <a:pt x="6926" y="784"/>
                </a:lnTo>
                <a:lnTo>
                  <a:pt x="6933" y="790"/>
                </a:lnTo>
                <a:lnTo>
                  <a:pt x="6936" y="793"/>
                </a:lnTo>
                <a:lnTo>
                  <a:pt x="6938" y="797"/>
                </a:lnTo>
                <a:lnTo>
                  <a:pt x="6943" y="804"/>
                </a:lnTo>
                <a:lnTo>
                  <a:pt x="6947" y="813"/>
                </a:lnTo>
                <a:lnTo>
                  <a:pt x="6950" y="821"/>
                </a:lnTo>
                <a:lnTo>
                  <a:pt x="6953" y="830"/>
                </a:lnTo>
                <a:lnTo>
                  <a:pt x="6955" y="839"/>
                </a:lnTo>
                <a:lnTo>
                  <a:pt x="6956" y="848"/>
                </a:lnTo>
                <a:lnTo>
                  <a:pt x="6956" y="858"/>
                </a:lnTo>
                <a:lnTo>
                  <a:pt x="6956" y="872"/>
                </a:lnTo>
                <a:lnTo>
                  <a:pt x="6955" y="878"/>
                </a:lnTo>
                <a:lnTo>
                  <a:pt x="6953" y="884"/>
                </a:lnTo>
                <a:lnTo>
                  <a:pt x="6950" y="896"/>
                </a:lnTo>
                <a:lnTo>
                  <a:pt x="6945" y="907"/>
                </a:lnTo>
                <a:lnTo>
                  <a:pt x="6938" y="919"/>
                </a:lnTo>
                <a:lnTo>
                  <a:pt x="6931" y="929"/>
                </a:lnTo>
                <a:lnTo>
                  <a:pt x="6926" y="935"/>
                </a:lnTo>
                <a:lnTo>
                  <a:pt x="6922" y="940"/>
                </a:lnTo>
                <a:lnTo>
                  <a:pt x="6913" y="949"/>
                </a:lnTo>
                <a:lnTo>
                  <a:pt x="6903" y="958"/>
                </a:lnTo>
                <a:lnTo>
                  <a:pt x="6897" y="962"/>
                </a:lnTo>
                <a:lnTo>
                  <a:pt x="6892" y="965"/>
                </a:lnTo>
                <a:lnTo>
                  <a:pt x="6881" y="972"/>
                </a:lnTo>
                <a:lnTo>
                  <a:pt x="6868" y="978"/>
                </a:lnTo>
                <a:lnTo>
                  <a:pt x="6856" y="982"/>
                </a:lnTo>
                <a:lnTo>
                  <a:pt x="6850" y="984"/>
                </a:lnTo>
                <a:lnTo>
                  <a:pt x="6843" y="986"/>
                </a:lnTo>
                <a:lnTo>
                  <a:pt x="6837" y="987"/>
                </a:lnTo>
                <a:lnTo>
                  <a:pt x="6831" y="988"/>
                </a:lnTo>
                <a:lnTo>
                  <a:pt x="6818" y="988"/>
                </a:lnTo>
                <a:lnTo>
                  <a:pt x="6813" y="988"/>
                </a:lnTo>
                <a:lnTo>
                  <a:pt x="6807" y="986"/>
                </a:lnTo>
                <a:lnTo>
                  <a:pt x="6803" y="983"/>
                </a:lnTo>
                <a:lnTo>
                  <a:pt x="6801" y="981"/>
                </a:lnTo>
                <a:lnTo>
                  <a:pt x="6799" y="979"/>
                </a:lnTo>
                <a:lnTo>
                  <a:pt x="6796" y="974"/>
                </a:lnTo>
                <a:lnTo>
                  <a:pt x="6793" y="969"/>
                </a:lnTo>
                <a:lnTo>
                  <a:pt x="6792" y="966"/>
                </a:lnTo>
                <a:lnTo>
                  <a:pt x="6792" y="963"/>
                </a:lnTo>
                <a:lnTo>
                  <a:pt x="6791" y="957"/>
                </a:lnTo>
                <a:lnTo>
                  <a:pt x="6791" y="954"/>
                </a:lnTo>
                <a:lnTo>
                  <a:pt x="6792" y="951"/>
                </a:lnTo>
                <a:lnTo>
                  <a:pt x="6793" y="947"/>
                </a:lnTo>
                <a:lnTo>
                  <a:pt x="6794" y="944"/>
                </a:lnTo>
                <a:lnTo>
                  <a:pt x="6795" y="943"/>
                </a:lnTo>
                <a:lnTo>
                  <a:pt x="6796" y="941"/>
                </a:lnTo>
                <a:lnTo>
                  <a:pt x="6798" y="940"/>
                </a:lnTo>
                <a:lnTo>
                  <a:pt x="6809" y="938"/>
                </a:lnTo>
                <a:lnTo>
                  <a:pt x="6821" y="935"/>
                </a:lnTo>
                <a:lnTo>
                  <a:pt x="6831" y="932"/>
                </a:lnTo>
                <a:lnTo>
                  <a:pt x="6840" y="927"/>
                </a:lnTo>
                <a:lnTo>
                  <a:pt x="6849" y="922"/>
                </a:lnTo>
                <a:lnTo>
                  <a:pt x="6858" y="917"/>
                </a:lnTo>
                <a:lnTo>
                  <a:pt x="6866" y="912"/>
                </a:lnTo>
                <a:lnTo>
                  <a:pt x="6869" y="909"/>
                </a:lnTo>
                <a:lnTo>
                  <a:pt x="6874" y="906"/>
                </a:lnTo>
                <a:lnTo>
                  <a:pt x="6880" y="900"/>
                </a:lnTo>
                <a:lnTo>
                  <a:pt x="6886" y="893"/>
                </a:lnTo>
                <a:lnTo>
                  <a:pt x="6891" y="886"/>
                </a:lnTo>
                <a:lnTo>
                  <a:pt x="6895" y="880"/>
                </a:lnTo>
                <a:lnTo>
                  <a:pt x="6899" y="873"/>
                </a:lnTo>
                <a:lnTo>
                  <a:pt x="6901" y="865"/>
                </a:lnTo>
                <a:lnTo>
                  <a:pt x="6903" y="857"/>
                </a:lnTo>
                <a:lnTo>
                  <a:pt x="6903" y="850"/>
                </a:lnTo>
                <a:lnTo>
                  <a:pt x="6902" y="842"/>
                </a:lnTo>
                <a:lnTo>
                  <a:pt x="6900" y="835"/>
                </a:lnTo>
                <a:lnTo>
                  <a:pt x="6899" y="832"/>
                </a:lnTo>
                <a:lnTo>
                  <a:pt x="6897" y="829"/>
                </a:lnTo>
                <a:lnTo>
                  <a:pt x="6895" y="826"/>
                </a:lnTo>
                <a:lnTo>
                  <a:pt x="6892" y="823"/>
                </a:lnTo>
                <a:lnTo>
                  <a:pt x="6887" y="819"/>
                </a:lnTo>
                <a:lnTo>
                  <a:pt x="6883" y="817"/>
                </a:lnTo>
                <a:lnTo>
                  <a:pt x="6880" y="816"/>
                </a:lnTo>
                <a:lnTo>
                  <a:pt x="6872" y="814"/>
                </a:lnTo>
                <a:lnTo>
                  <a:pt x="6866" y="814"/>
                </a:lnTo>
                <a:lnTo>
                  <a:pt x="6862" y="814"/>
                </a:lnTo>
                <a:lnTo>
                  <a:pt x="6853" y="814"/>
                </a:lnTo>
                <a:lnTo>
                  <a:pt x="6849" y="815"/>
                </a:lnTo>
                <a:lnTo>
                  <a:pt x="6844" y="816"/>
                </a:lnTo>
                <a:lnTo>
                  <a:pt x="6840" y="818"/>
                </a:lnTo>
                <a:lnTo>
                  <a:pt x="6835" y="820"/>
                </a:lnTo>
                <a:lnTo>
                  <a:pt x="6831" y="822"/>
                </a:lnTo>
                <a:lnTo>
                  <a:pt x="6827" y="825"/>
                </a:lnTo>
                <a:lnTo>
                  <a:pt x="6822" y="827"/>
                </a:lnTo>
                <a:lnTo>
                  <a:pt x="6818" y="830"/>
                </a:lnTo>
                <a:lnTo>
                  <a:pt x="6809" y="838"/>
                </a:lnTo>
                <a:lnTo>
                  <a:pt x="6801" y="846"/>
                </a:lnTo>
                <a:lnTo>
                  <a:pt x="6794" y="855"/>
                </a:lnTo>
                <a:lnTo>
                  <a:pt x="6790" y="859"/>
                </a:lnTo>
                <a:lnTo>
                  <a:pt x="6787" y="865"/>
                </a:lnTo>
                <a:lnTo>
                  <a:pt x="6780" y="876"/>
                </a:lnTo>
                <a:lnTo>
                  <a:pt x="6775" y="888"/>
                </a:lnTo>
                <a:lnTo>
                  <a:pt x="6770" y="900"/>
                </a:lnTo>
                <a:lnTo>
                  <a:pt x="6766" y="913"/>
                </a:lnTo>
                <a:lnTo>
                  <a:pt x="6764" y="926"/>
                </a:lnTo>
                <a:lnTo>
                  <a:pt x="6762" y="941"/>
                </a:lnTo>
                <a:lnTo>
                  <a:pt x="6761" y="948"/>
                </a:lnTo>
                <a:lnTo>
                  <a:pt x="6761" y="955"/>
                </a:lnTo>
                <a:lnTo>
                  <a:pt x="6762" y="968"/>
                </a:lnTo>
                <a:lnTo>
                  <a:pt x="6763" y="980"/>
                </a:lnTo>
                <a:lnTo>
                  <a:pt x="6765" y="993"/>
                </a:lnTo>
                <a:lnTo>
                  <a:pt x="6766" y="998"/>
                </a:lnTo>
                <a:lnTo>
                  <a:pt x="6768" y="1004"/>
                </a:lnTo>
                <a:lnTo>
                  <a:pt x="6772" y="1014"/>
                </a:lnTo>
                <a:lnTo>
                  <a:pt x="6774" y="1019"/>
                </a:lnTo>
                <a:lnTo>
                  <a:pt x="6776" y="1024"/>
                </a:lnTo>
                <a:lnTo>
                  <a:pt x="6779" y="1029"/>
                </a:lnTo>
                <a:lnTo>
                  <a:pt x="6781" y="1033"/>
                </a:lnTo>
                <a:lnTo>
                  <a:pt x="6784" y="1037"/>
                </a:lnTo>
                <a:lnTo>
                  <a:pt x="6787" y="1041"/>
                </a:lnTo>
                <a:lnTo>
                  <a:pt x="6790" y="1045"/>
                </a:lnTo>
                <a:lnTo>
                  <a:pt x="6794" y="1049"/>
                </a:lnTo>
                <a:lnTo>
                  <a:pt x="6801" y="1056"/>
                </a:lnTo>
                <a:lnTo>
                  <a:pt x="6809" y="1062"/>
                </a:lnTo>
                <a:lnTo>
                  <a:pt x="6818" y="1067"/>
                </a:lnTo>
                <a:lnTo>
                  <a:pt x="6828" y="1071"/>
                </a:lnTo>
                <a:lnTo>
                  <a:pt x="6837" y="1073"/>
                </a:lnTo>
                <a:lnTo>
                  <a:pt x="6847" y="1075"/>
                </a:lnTo>
                <a:lnTo>
                  <a:pt x="6853" y="1076"/>
                </a:lnTo>
                <a:lnTo>
                  <a:pt x="6858" y="1076"/>
                </a:lnTo>
                <a:lnTo>
                  <a:pt x="6868" y="1075"/>
                </a:lnTo>
                <a:lnTo>
                  <a:pt x="6880" y="1074"/>
                </a:lnTo>
                <a:lnTo>
                  <a:pt x="6890" y="1071"/>
                </a:lnTo>
                <a:lnTo>
                  <a:pt x="6899" y="1068"/>
                </a:lnTo>
                <a:lnTo>
                  <a:pt x="6908" y="1064"/>
                </a:lnTo>
                <a:lnTo>
                  <a:pt x="6917" y="1059"/>
                </a:lnTo>
                <a:lnTo>
                  <a:pt x="6926" y="1053"/>
                </a:lnTo>
                <a:lnTo>
                  <a:pt x="6935" y="1045"/>
                </a:lnTo>
                <a:lnTo>
                  <a:pt x="6943" y="1038"/>
                </a:lnTo>
                <a:lnTo>
                  <a:pt x="6951" y="1030"/>
                </a:lnTo>
                <a:lnTo>
                  <a:pt x="6958" y="1022"/>
                </a:lnTo>
                <a:lnTo>
                  <a:pt x="6965" y="1013"/>
                </a:lnTo>
                <a:lnTo>
                  <a:pt x="6978" y="993"/>
                </a:lnTo>
                <a:lnTo>
                  <a:pt x="6984" y="982"/>
                </a:lnTo>
                <a:lnTo>
                  <a:pt x="6991" y="971"/>
                </a:lnTo>
                <a:lnTo>
                  <a:pt x="6996" y="960"/>
                </a:lnTo>
                <a:lnTo>
                  <a:pt x="7001" y="949"/>
                </a:lnTo>
                <a:lnTo>
                  <a:pt x="7005" y="937"/>
                </a:lnTo>
                <a:lnTo>
                  <a:pt x="7009" y="925"/>
                </a:lnTo>
                <a:lnTo>
                  <a:pt x="7013" y="913"/>
                </a:lnTo>
                <a:lnTo>
                  <a:pt x="7016" y="901"/>
                </a:lnTo>
                <a:lnTo>
                  <a:pt x="7019" y="889"/>
                </a:lnTo>
                <a:lnTo>
                  <a:pt x="7022" y="877"/>
                </a:lnTo>
                <a:lnTo>
                  <a:pt x="7024" y="864"/>
                </a:lnTo>
                <a:lnTo>
                  <a:pt x="7026" y="852"/>
                </a:lnTo>
                <a:lnTo>
                  <a:pt x="7028" y="840"/>
                </a:lnTo>
                <a:lnTo>
                  <a:pt x="7029" y="828"/>
                </a:lnTo>
                <a:lnTo>
                  <a:pt x="7029" y="817"/>
                </a:lnTo>
                <a:lnTo>
                  <a:pt x="7030" y="805"/>
                </a:lnTo>
                <a:lnTo>
                  <a:pt x="7030" y="794"/>
                </a:lnTo>
                <a:lnTo>
                  <a:pt x="7029" y="784"/>
                </a:lnTo>
                <a:lnTo>
                  <a:pt x="7030" y="781"/>
                </a:lnTo>
                <a:lnTo>
                  <a:pt x="7032" y="779"/>
                </a:lnTo>
                <a:lnTo>
                  <a:pt x="7034" y="777"/>
                </a:lnTo>
                <a:lnTo>
                  <a:pt x="7037" y="775"/>
                </a:lnTo>
                <a:lnTo>
                  <a:pt x="7043" y="773"/>
                </a:lnTo>
                <a:lnTo>
                  <a:pt x="7047" y="772"/>
                </a:lnTo>
                <a:lnTo>
                  <a:pt x="7052" y="772"/>
                </a:lnTo>
                <a:lnTo>
                  <a:pt x="7060" y="772"/>
                </a:lnTo>
                <a:lnTo>
                  <a:pt x="7063" y="773"/>
                </a:lnTo>
                <a:lnTo>
                  <a:pt x="7066" y="774"/>
                </a:lnTo>
                <a:lnTo>
                  <a:pt x="7072" y="777"/>
                </a:lnTo>
                <a:lnTo>
                  <a:pt x="7074" y="779"/>
                </a:lnTo>
                <a:lnTo>
                  <a:pt x="7077" y="781"/>
                </a:lnTo>
                <a:lnTo>
                  <a:pt x="7081" y="787"/>
                </a:lnTo>
                <a:lnTo>
                  <a:pt x="7082" y="790"/>
                </a:lnTo>
                <a:lnTo>
                  <a:pt x="7084" y="794"/>
                </a:lnTo>
                <a:lnTo>
                  <a:pt x="7085" y="798"/>
                </a:lnTo>
                <a:lnTo>
                  <a:pt x="7086" y="803"/>
                </a:lnTo>
                <a:lnTo>
                  <a:pt x="7086" y="809"/>
                </a:lnTo>
                <a:lnTo>
                  <a:pt x="7086" y="815"/>
                </a:lnTo>
                <a:lnTo>
                  <a:pt x="7086" y="831"/>
                </a:lnTo>
                <a:lnTo>
                  <a:pt x="7085" y="846"/>
                </a:lnTo>
                <a:lnTo>
                  <a:pt x="7083" y="862"/>
                </a:lnTo>
                <a:lnTo>
                  <a:pt x="7081" y="878"/>
                </a:lnTo>
                <a:lnTo>
                  <a:pt x="7079" y="893"/>
                </a:lnTo>
                <a:lnTo>
                  <a:pt x="7076" y="907"/>
                </a:lnTo>
                <a:lnTo>
                  <a:pt x="7072" y="922"/>
                </a:lnTo>
                <a:lnTo>
                  <a:pt x="7068" y="937"/>
                </a:lnTo>
                <a:lnTo>
                  <a:pt x="7064" y="951"/>
                </a:lnTo>
                <a:lnTo>
                  <a:pt x="7059" y="964"/>
                </a:lnTo>
                <a:lnTo>
                  <a:pt x="7054" y="978"/>
                </a:lnTo>
                <a:lnTo>
                  <a:pt x="7047" y="990"/>
                </a:lnTo>
                <a:lnTo>
                  <a:pt x="7041" y="1004"/>
                </a:lnTo>
                <a:lnTo>
                  <a:pt x="7034" y="1016"/>
                </a:lnTo>
                <a:lnTo>
                  <a:pt x="7028" y="1027"/>
                </a:lnTo>
                <a:lnTo>
                  <a:pt x="7020" y="1039"/>
                </a:lnTo>
                <a:lnTo>
                  <a:pt x="7013" y="1049"/>
                </a:lnTo>
                <a:lnTo>
                  <a:pt x="7005" y="1060"/>
                </a:lnTo>
                <a:lnTo>
                  <a:pt x="6996" y="1070"/>
                </a:lnTo>
                <a:lnTo>
                  <a:pt x="6987" y="1079"/>
                </a:lnTo>
                <a:lnTo>
                  <a:pt x="6977" y="1087"/>
                </a:lnTo>
                <a:lnTo>
                  <a:pt x="6968" y="1095"/>
                </a:lnTo>
                <a:lnTo>
                  <a:pt x="6958" y="1103"/>
                </a:lnTo>
                <a:lnTo>
                  <a:pt x="6948" y="1109"/>
                </a:lnTo>
                <a:lnTo>
                  <a:pt x="6938" y="1116"/>
                </a:lnTo>
                <a:lnTo>
                  <a:pt x="6926" y="1121"/>
                </a:lnTo>
                <a:lnTo>
                  <a:pt x="6915" y="1126"/>
                </a:lnTo>
                <a:lnTo>
                  <a:pt x="6904" y="1129"/>
                </a:lnTo>
                <a:lnTo>
                  <a:pt x="6893" y="1132"/>
                </a:lnTo>
                <a:lnTo>
                  <a:pt x="6881" y="1134"/>
                </a:lnTo>
                <a:lnTo>
                  <a:pt x="6868" y="1136"/>
                </a:lnTo>
                <a:lnTo>
                  <a:pt x="6856" y="1136"/>
                </a:lnTo>
                <a:close/>
                <a:moveTo>
                  <a:pt x="7244" y="1130"/>
                </a:moveTo>
                <a:lnTo>
                  <a:pt x="7242" y="1130"/>
                </a:lnTo>
                <a:lnTo>
                  <a:pt x="7240" y="1129"/>
                </a:lnTo>
                <a:lnTo>
                  <a:pt x="7234" y="1127"/>
                </a:lnTo>
                <a:lnTo>
                  <a:pt x="7227" y="1122"/>
                </a:lnTo>
                <a:lnTo>
                  <a:pt x="7220" y="1117"/>
                </a:lnTo>
                <a:lnTo>
                  <a:pt x="7207" y="1105"/>
                </a:lnTo>
                <a:lnTo>
                  <a:pt x="7192" y="1091"/>
                </a:lnTo>
                <a:lnTo>
                  <a:pt x="7176" y="1075"/>
                </a:lnTo>
                <a:lnTo>
                  <a:pt x="7158" y="1058"/>
                </a:lnTo>
                <a:lnTo>
                  <a:pt x="7142" y="1040"/>
                </a:lnTo>
                <a:lnTo>
                  <a:pt x="7128" y="1024"/>
                </a:lnTo>
                <a:lnTo>
                  <a:pt x="7117" y="1010"/>
                </a:lnTo>
                <a:lnTo>
                  <a:pt x="7112" y="1004"/>
                </a:lnTo>
                <a:lnTo>
                  <a:pt x="7108" y="998"/>
                </a:lnTo>
                <a:lnTo>
                  <a:pt x="7103" y="987"/>
                </a:lnTo>
                <a:lnTo>
                  <a:pt x="7099" y="977"/>
                </a:lnTo>
                <a:lnTo>
                  <a:pt x="7097" y="968"/>
                </a:lnTo>
                <a:lnTo>
                  <a:pt x="7096" y="958"/>
                </a:lnTo>
                <a:lnTo>
                  <a:pt x="7096" y="952"/>
                </a:lnTo>
                <a:lnTo>
                  <a:pt x="7097" y="946"/>
                </a:lnTo>
                <a:lnTo>
                  <a:pt x="7098" y="941"/>
                </a:lnTo>
                <a:lnTo>
                  <a:pt x="7100" y="935"/>
                </a:lnTo>
                <a:lnTo>
                  <a:pt x="7103" y="927"/>
                </a:lnTo>
                <a:lnTo>
                  <a:pt x="7106" y="921"/>
                </a:lnTo>
                <a:lnTo>
                  <a:pt x="7111" y="914"/>
                </a:lnTo>
                <a:lnTo>
                  <a:pt x="7115" y="908"/>
                </a:lnTo>
                <a:lnTo>
                  <a:pt x="7124" y="897"/>
                </a:lnTo>
                <a:lnTo>
                  <a:pt x="7135" y="883"/>
                </a:lnTo>
                <a:lnTo>
                  <a:pt x="7164" y="848"/>
                </a:lnTo>
                <a:lnTo>
                  <a:pt x="7200" y="808"/>
                </a:lnTo>
                <a:lnTo>
                  <a:pt x="7236" y="768"/>
                </a:lnTo>
                <a:lnTo>
                  <a:pt x="7237" y="768"/>
                </a:lnTo>
                <a:lnTo>
                  <a:pt x="7241" y="767"/>
                </a:lnTo>
                <a:lnTo>
                  <a:pt x="7244" y="768"/>
                </a:lnTo>
                <a:lnTo>
                  <a:pt x="7248" y="769"/>
                </a:lnTo>
                <a:lnTo>
                  <a:pt x="7253" y="771"/>
                </a:lnTo>
                <a:lnTo>
                  <a:pt x="7257" y="773"/>
                </a:lnTo>
                <a:lnTo>
                  <a:pt x="7261" y="776"/>
                </a:lnTo>
                <a:lnTo>
                  <a:pt x="7265" y="780"/>
                </a:lnTo>
                <a:lnTo>
                  <a:pt x="7269" y="784"/>
                </a:lnTo>
                <a:lnTo>
                  <a:pt x="7271" y="789"/>
                </a:lnTo>
                <a:lnTo>
                  <a:pt x="7273" y="794"/>
                </a:lnTo>
                <a:lnTo>
                  <a:pt x="7273" y="798"/>
                </a:lnTo>
                <a:lnTo>
                  <a:pt x="7273" y="804"/>
                </a:lnTo>
                <a:lnTo>
                  <a:pt x="7271" y="809"/>
                </a:lnTo>
                <a:lnTo>
                  <a:pt x="7268" y="816"/>
                </a:lnTo>
                <a:lnTo>
                  <a:pt x="7264" y="822"/>
                </a:lnTo>
                <a:lnTo>
                  <a:pt x="7256" y="832"/>
                </a:lnTo>
                <a:lnTo>
                  <a:pt x="7244" y="846"/>
                </a:lnTo>
                <a:lnTo>
                  <a:pt x="7214" y="879"/>
                </a:lnTo>
                <a:lnTo>
                  <a:pt x="7185" y="913"/>
                </a:lnTo>
                <a:lnTo>
                  <a:pt x="7173" y="927"/>
                </a:lnTo>
                <a:lnTo>
                  <a:pt x="7163" y="940"/>
                </a:lnTo>
                <a:lnTo>
                  <a:pt x="7160" y="944"/>
                </a:lnTo>
                <a:lnTo>
                  <a:pt x="7158" y="947"/>
                </a:lnTo>
                <a:lnTo>
                  <a:pt x="7157" y="951"/>
                </a:lnTo>
                <a:lnTo>
                  <a:pt x="7157" y="954"/>
                </a:lnTo>
                <a:lnTo>
                  <a:pt x="7157" y="959"/>
                </a:lnTo>
                <a:lnTo>
                  <a:pt x="7159" y="963"/>
                </a:lnTo>
                <a:lnTo>
                  <a:pt x="7161" y="968"/>
                </a:lnTo>
                <a:lnTo>
                  <a:pt x="7164" y="972"/>
                </a:lnTo>
                <a:lnTo>
                  <a:pt x="7172" y="981"/>
                </a:lnTo>
                <a:lnTo>
                  <a:pt x="7183" y="994"/>
                </a:lnTo>
                <a:lnTo>
                  <a:pt x="7210" y="1023"/>
                </a:lnTo>
                <a:lnTo>
                  <a:pt x="7243" y="1056"/>
                </a:lnTo>
                <a:lnTo>
                  <a:pt x="7274" y="1087"/>
                </a:lnTo>
                <a:lnTo>
                  <a:pt x="7276" y="1088"/>
                </a:lnTo>
                <a:lnTo>
                  <a:pt x="7277" y="1091"/>
                </a:lnTo>
                <a:lnTo>
                  <a:pt x="7278" y="1093"/>
                </a:lnTo>
                <a:lnTo>
                  <a:pt x="7278" y="1095"/>
                </a:lnTo>
                <a:lnTo>
                  <a:pt x="7277" y="1101"/>
                </a:lnTo>
                <a:lnTo>
                  <a:pt x="7276" y="1104"/>
                </a:lnTo>
                <a:lnTo>
                  <a:pt x="7275" y="1107"/>
                </a:lnTo>
                <a:lnTo>
                  <a:pt x="7271" y="1113"/>
                </a:lnTo>
                <a:lnTo>
                  <a:pt x="7269" y="1116"/>
                </a:lnTo>
                <a:lnTo>
                  <a:pt x="7267" y="1119"/>
                </a:lnTo>
                <a:lnTo>
                  <a:pt x="7261" y="1123"/>
                </a:lnTo>
                <a:lnTo>
                  <a:pt x="7259" y="1125"/>
                </a:lnTo>
                <a:lnTo>
                  <a:pt x="7256" y="1127"/>
                </a:lnTo>
                <a:lnTo>
                  <a:pt x="7250" y="1129"/>
                </a:lnTo>
                <a:lnTo>
                  <a:pt x="7247" y="1130"/>
                </a:lnTo>
                <a:lnTo>
                  <a:pt x="7244" y="1130"/>
                </a:lnTo>
                <a:close/>
                <a:moveTo>
                  <a:pt x="6856" y="2129"/>
                </a:moveTo>
                <a:lnTo>
                  <a:pt x="6848" y="2129"/>
                </a:lnTo>
                <a:lnTo>
                  <a:pt x="6841" y="2128"/>
                </a:lnTo>
                <a:lnTo>
                  <a:pt x="6833" y="2127"/>
                </a:lnTo>
                <a:lnTo>
                  <a:pt x="6826" y="2126"/>
                </a:lnTo>
                <a:lnTo>
                  <a:pt x="6819" y="2124"/>
                </a:lnTo>
                <a:lnTo>
                  <a:pt x="6812" y="2121"/>
                </a:lnTo>
                <a:lnTo>
                  <a:pt x="6797" y="2116"/>
                </a:lnTo>
                <a:lnTo>
                  <a:pt x="6784" y="2108"/>
                </a:lnTo>
                <a:lnTo>
                  <a:pt x="6778" y="2104"/>
                </a:lnTo>
                <a:lnTo>
                  <a:pt x="6772" y="2100"/>
                </a:lnTo>
                <a:lnTo>
                  <a:pt x="6766" y="2095"/>
                </a:lnTo>
                <a:lnTo>
                  <a:pt x="6760" y="2090"/>
                </a:lnTo>
                <a:lnTo>
                  <a:pt x="6755" y="2084"/>
                </a:lnTo>
                <a:lnTo>
                  <a:pt x="6748" y="2078"/>
                </a:lnTo>
                <a:lnTo>
                  <a:pt x="6743" y="2072"/>
                </a:lnTo>
                <a:lnTo>
                  <a:pt x="6739" y="2065"/>
                </a:lnTo>
                <a:lnTo>
                  <a:pt x="6734" y="2058"/>
                </a:lnTo>
                <a:lnTo>
                  <a:pt x="6730" y="2051"/>
                </a:lnTo>
                <a:lnTo>
                  <a:pt x="6726" y="2044"/>
                </a:lnTo>
                <a:lnTo>
                  <a:pt x="6723" y="2037"/>
                </a:lnTo>
                <a:lnTo>
                  <a:pt x="6719" y="2029"/>
                </a:lnTo>
                <a:lnTo>
                  <a:pt x="6716" y="2022"/>
                </a:lnTo>
                <a:lnTo>
                  <a:pt x="6714" y="2014"/>
                </a:lnTo>
                <a:lnTo>
                  <a:pt x="6711" y="2005"/>
                </a:lnTo>
                <a:lnTo>
                  <a:pt x="6709" y="1996"/>
                </a:lnTo>
                <a:lnTo>
                  <a:pt x="6708" y="1988"/>
                </a:lnTo>
                <a:lnTo>
                  <a:pt x="6706" y="1979"/>
                </a:lnTo>
                <a:lnTo>
                  <a:pt x="6705" y="1970"/>
                </a:lnTo>
                <a:lnTo>
                  <a:pt x="6705" y="1961"/>
                </a:lnTo>
                <a:lnTo>
                  <a:pt x="6705" y="1952"/>
                </a:lnTo>
                <a:lnTo>
                  <a:pt x="6705" y="1932"/>
                </a:lnTo>
                <a:lnTo>
                  <a:pt x="6706" y="1923"/>
                </a:lnTo>
                <a:lnTo>
                  <a:pt x="6708" y="1914"/>
                </a:lnTo>
                <a:lnTo>
                  <a:pt x="6710" y="1905"/>
                </a:lnTo>
                <a:lnTo>
                  <a:pt x="6712" y="1896"/>
                </a:lnTo>
                <a:lnTo>
                  <a:pt x="6714" y="1886"/>
                </a:lnTo>
                <a:lnTo>
                  <a:pt x="6717" y="1878"/>
                </a:lnTo>
                <a:lnTo>
                  <a:pt x="6720" y="1869"/>
                </a:lnTo>
                <a:lnTo>
                  <a:pt x="6724" y="1861"/>
                </a:lnTo>
                <a:lnTo>
                  <a:pt x="6727" y="1853"/>
                </a:lnTo>
                <a:lnTo>
                  <a:pt x="6731" y="1845"/>
                </a:lnTo>
                <a:lnTo>
                  <a:pt x="6736" y="1838"/>
                </a:lnTo>
                <a:lnTo>
                  <a:pt x="6741" y="1829"/>
                </a:lnTo>
                <a:lnTo>
                  <a:pt x="6752" y="1815"/>
                </a:lnTo>
                <a:lnTo>
                  <a:pt x="6757" y="1809"/>
                </a:lnTo>
                <a:lnTo>
                  <a:pt x="6763" y="1803"/>
                </a:lnTo>
                <a:lnTo>
                  <a:pt x="6775" y="1791"/>
                </a:lnTo>
                <a:lnTo>
                  <a:pt x="6782" y="1786"/>
                </a:lnTo>
                <a:lnTo>
                  <a:pt x="6788" y="1781"/>
                </a:lnTo>
                <a:lnTo>
                  <a:pt x="6795" y="1777"/>
                </a:lnTo>
                <a:lnTo>
                  <a:pt x="6802" y="1773"/>
                </a:lnTo>
                <a:lnTo>
                  <a:pt x="6811" y="1768"/>
                </a:lnTo>
                <a:lnTo>
                  <a:pt x="6818" y="1765"/>
                </a:lnTo>
                <a:lnTo>
                  <a:pt x="6826" y="1762"/>
                </a:lnTo>
                <a:lnTo>
                  <a:pt x="6833" y="1760"/>
                </a:lnTo>
                <a:lnTo>
                  <a:pt x="6841" y="1758"/>
                </a:lnTo>
                <a:lnTo>
                  <a:pt x="6849" y="1757"/>
                </a:lnTo>
                <a:lnTo>
                  <a:pt x="6857" y="1756"/>
                </a:lnTo>
                <a:lnTo>
                  <a:pt x="6866" y="1756"/>
                </a:lnTo>
                <a:lnTo>
                  <a:pt x="6877" y="1756"/>
                </a:lnTo>
                <a:lnTo>
                  <a:pt x="6882" y="1757"/>
                </a:lnTo>
                <a:lnTo>
                  <a:pt x="6886" y="1758"/>
                </a:lnTo>
                <a:lnTo>
                  <a:pt x="6891" y="1759"/>
                </a:lnTo>
                <a:lnTo>
                  <a:pt x="6895" y="1760"/>
                </a:lnTo>
                <a:lnTo>
                  <a:pt x="6904" y="1763"/>
                </a:lnTo>
                <a:lnTo>
                  <a:pt x="6912" y="1767"/>
                </a:lnTo>
                <a:lnTo>
                  <a:pt x="6919" y="1773"/>
                </a:lnTo>
                <a:lnTo>
                  <a:pt x="6926" y="1778"/>
                </a:lnTo>
                <a:lnTo>
                  <a:pt x="6933" y="1784"/>
                </a:lnTo>
                <a:lnTo>
                  <a:pt x="6936" y="1787"/>
                </a:lnTo>
                <a:lnTo>
                  <a:pt x="6938" y="1791"/>
                </a:lnTo>
                <a:lnTo>
                  <a:pt x="6943" y="1798"/>
                </a:lnTo>
                <a:lnTo>
                  <a:pt x="6947" y="1806"/>
                </a:lnTo>
                <a:lnTo>
                  <a:pt x="6950" y="1814"/>
                </a:lnTo>
                <a:lnTo>
                  <a:pt x="6953" y="1823"/>
                </a:lnTo>
                <a:lnTo>
                  <a:pt x="6955" y="1833"/>
                </a:lnTo>
                <a:lnTo>
                  <a:pt x="6956" y="1842"/>
                </a:lnTo>
                <a:lnTo>
                  <a:pt x="6956" y="1852"/>
                </a:lnTo>
                <a:lnTo>
                  <a:pt x="6956" y="1865"/>
                </a:lnTo>
                <a:lnTo>
                  <a:pt x="6955" y="1871"/>
                </a:lnTo>
                <a:lnTo>
                  <a:pt x="6953" y="1877"/>
                </a:lnTo>
                <a:lnTo>
                  <a:pt x="6950" y="1889"/>
                </a:lnTo>
                <a:lnTo>
                  <a:pt x="6945" y="1902"/>
                </a:lnTo>
                <a:lnTo>
                  <a:pt x="6938" y="1913"/>
                </a:lnTo>
                <a:lnTo>
                  <a:pt x="6931" y="1923"/>
                </a:lnTo>
                <a:lnTo>
                  <a:pt x="6926" y="1928"/>
                </a:lnTo>
                <a:lnTo>
                  <a:pt x="6922" y="1933"/>
                </a:lnTo>
                <a:lnTo>
                  <a:pt x="6913" y="1943"/>
                </a:lnTo>
                <a:lnTo>
                  <a:pt x="6903" y="1952"/>
                </a:lnTo>
                <a:lnTo>
                  <a:pt x="6897" y="1956"/>
                </a:lnTo>
                <a:lnTo>
                  <a:pt x="6892" y="1960"/>
                </a:lnTo>
                <a:lnTo>
                  <a:pt x="6881" y="1966"/>
                </a:lnTo>
                <a:lnTo>
                  <a:pt x="6868" y="1972"/>
                </a:lnTo>
                <a:lnTo>
                  <a:pt x="6856" y="1976"/>
                </a:lnTo>
                <a:lnTo>
                  <a:pt x="6850" y="1978"/>
                </a:lnTo>
                <a:lnTo>
                  <a:pt x="6843" y="1980"/>
                </a:lnTo>
                <a:lnTo>
                  <a:pt x="6837" y="1981"/>
                </a:lnTo>
                <a:lnTo>
                  <a:pt x="6831" y="1982"/>
                </a:lnTo>
                <a:lnTo>
                  <a:pt x="6818" y="1982"/>
                </a:lnTo>
                <a:lnTo>
                  <a:pt x="6813" y="1982"/>
                </a:lnTo>
                <a:lnTo>
                  <a:pt x="6807" y="1980"/>
                </a:lnTo>
                <a:lnTo>
                  <a:pt x="6803" y="1977"/>
                </a:lnTo>
                <a:lnTo>
                  <a:pt x="6801" y="1975"/>
                </a:lnTo>
                <a:lnTo>
                  <a:pt x="6799" y="1973"/>
                </a:lnTo>
                <a:lnTo>
                  <a:pt x="6796" y="1969"/>
                </a:lnTo>
                <a:lnTo>
                  <a:pt x="6793" y="1963"/>
                </a:lnTo>
                <a:lnTo>
                  <a:pt x="6792" y="1961"/>
                </a:lnTo>
                <a:lnTo>
                  <a:pt x="6792" y="1958"/>
                </a:lnTo>
                <a:lnTo>
                  <a:pt x="6791" y="1950"/>
                </a:lnTo>
                <a:lnTo>
                  <a:pt x="6791" y="1947"/>
                </a:lnTo>
                <a:lnTo>
                  <a:pt x="6792" y="1945"/>
                </a:lnTo>
                <a:lnTo>
                  <a:pt x="6793" y="1940"/>
                </a:lnTo>
                <a:lnTo>
                  <a:pt x="6794" y="1938"/>
                </a:lnTo>
                <a:lnTo>
                  <a:pt x="6795" y="1936"/>
                </a:lnTo>
                <a:lnTo>
                  <a:pt x="6796" y="1934"/>
                </a:lnTo>
                <a:lnTo>
                  <a:pt x="6798" y="1933"/>
                </a:lnTo>
                <a:lnTo>
                  <a:pt x="6809" y="1931"/>
                </a:lnTo>
                <a:lnTo>
                  <a:pt x="6821" y="1928"/>
                </a:lnTo>
                <a:lnTo>
                  <a:pt x="6831" y="1925"/>
                </a:lnTo>
                <a:lnTo>
                  <a:pt x="6840" y="1921"/>
                </a:lnTo>
                <a:lnTo>
                  <a:pt x="6849" y="1917"/>
                </a:lnTo>
                <a:lnTo>
                  <a:pt x="6858" y="1911"/>
                </a:lnTo>
                <a:lnTo>
                  <a:pt x="6866" y="1906"/>
                </a:lnTo>
                <a:lnTo>
                  <a:pt x="6869" y="1903"/>
                </a:lnTo>
                <a:lnTo>
                  <a:pt x="6874" y="1900"/>
                </a:lnTo>
                <a:lnTo>
                  <a:pt x="6880" y="1894"/>
                </a:lnTo>
                <a:lnTo>
                  <a:pt x="6886" y="1886"/>
                </a:lnTo>
                <a:lnTo>
                  <a:pt x="6891" y="1880"/>
                </a:lnTo>
                <a:lnTo>
                  <a:pt x="6895" y="1873"/>
                </a:lnTo>
                <a:lnTo>
                  <a:pt x="6899" y="1866"/>
                </a:lnTo>
                <a:lnTo>
                  <a:pt x="6901" y="1859"/>
                </a:lnTo>
                <a:lnTo>
                  <a:pt x="6903" y="1852"/>
                </a:lnTo>
                <a:lnTo>
                  <a:pt x="6903" y="1845"/>
                </a:lnTo>
                <a:lnTo>
                  <a:pt x="6902" y="1837"/>
                </a:lnTo>
                <a:lnTo>
                  <a:pt x="6900" y="1828"/>
                </a:lnTo>
                <a:lnTo>
                  <a:pt x="6899" y="1825"/>
                </a:lnTo>
                <a:lnTo>
                  <a:pt x="6897" y="1822"/>
                </a:lnTo>
                <a:lnTo>
                  <a:pt x="6895" y="1819"/>
                </a:lnTo>
                <a:lnTo>
                  <a:pt x="6892" y="1817"/>
                </a:lnTo>
                <a:lnTo>
                  <a:pt x="6887" y="1812"/>
                </a:lnTo>
                <a:lnTo>
                  <a:pt x="6883" y="1811"/>
                </a:lnTo>
                <a:lnTo>
                  <a:pt x="6880" y="1809"/>
                </a:lnTo>
                <a:lnTo>
                  <a:pt x="6872" y="1807"/>
                </a:lnTo>
                <a:lnTo>
                  <a:pt x="6866" y="1807"/>
                </a:lnTo>
                <a:lnTo>
                  <a:pt x="6862" y="1807"/>
                </a:lnTo>
                <a:lnTo>
                  <a:pt x="6853" y="1807"/>
                </a:lnTo>
                <a:lnTo>
                  <a:pt x="6849" y="1808"/>
                </a:lnTo>
                <a:lnTo>
                  <a:pt x="6844" y="1810"/>
                </a:lnTo>
                <a:lnTo>
                  <a:pt x="6840" y="1811"/>
                </a:lnTo>
                <a:lnTo>
                  <a:pt x="6835" y="1813"/>
                </a:lnTo>
                <a:lnTo>
                  <a:pt x="6831" y="1815"/>
                </a:lnTo>
                <a:lnTo>
                  <a:pt x="6827" y="1818"/>
                </a:lnTo>
                <a:lnTo>
                  <a:pt x="6822" y="1821"/>
                </a:lnTo>
                <a:lnTo>
                  <a:pt x="6818" y="1824"/>
                </a:lnTo>
                <a:lnTo>
                  <a:pt x="6809" y="1832"/>
                </a:lnTo>
                <a:lnTo>
                  <a:pt x="6801" y="1840"/>
                </a:lnTo>
                <a:lnTo>
                  <a:pt x="6794" y="1849"/>
                </a:lnTo>
                <a:lnTo>
                  <a:pt x="6790" y="1854"/>
                </a:lnTo>
                <a:lnTo>
                  <a:pt x="6787" y="1859"/>
                </a:lnTo>
                <a:lnTo>
                  <a:pt x="6780" y="1870"/>
                </a:lnTo>
                <a:lnTo>
                  <a:pt x="6775" y="1881"/>
                </a:lnTo>
                <a:lnTo>
                  <a:pt x="6770" y="1894"/>
                </a:lnTo>
                <a:lnTo>
                  <a:pt x="6766" y="1907"/>
                </a:lnTo>
                <a:lnTo>
                  <a:pt x="6764" y="1920"/>
                </a:lnTo>
                <a:lnTo>
                  <a:pt x="6762" y="1934"/>
                </a:lnTo>
                <a:lnTo>
                  <a:pt x="6761" y="1941"/>
                </a:lnTo>
                <a:lnTo>
                  <a:pt x="6761" y="1948"/>
                </a:lnTo>
                <a:lnTo>
                  <a:pt x="6762" y="1962"/>
                </a:lnTo>
                <a:lnTo>
                  <a:pt x="6763" y="1974"/>
                </a:lnTo>
                <a:lnTo>
                  <a:pt x="6765" y="1986"/>
                </a:lnTo>
                <a:lnTo>
                  <a:pt x="6766" y="1991"/>
                </a:lnTo>
                <a:lnTo>
                  <a:pt x="6768" y="1997"/>
                </a:lnTo>
                <a:lnTo>
                  <a:pt x="6772" y="2007"/>
                </a:lnTo>
                <a:lnTo>
                  <a:pt x="6774" y="2013"/>
                </a:lnTo>
                <a:lnTo>
                  <a:pt x="6776" y="2018"/>
                </a:lnTo>
                <a:lnTo>
                  <a:pt x="6779" y="2023"/>
                </a:lnTo>
                <a:lnTo>
                  <a:pt x="6781" y="2027"/>
                </a:lnTo>
                <a:lnTo>
                  <a:pt x="6784" y="2031"/>
                </a:lnTo>
                <a:lnTo>
                  <a:pt x="6787" y="2035"/>
                </a:lnTo>
                <a:lnTo>
                  <a:pt x="6790" y="2039"/>
                </a:lnTo>
                <a:lnTo>
                  <a:pt x="6794" y="2043"/>
                </a:lnTo>
                <a:lnTo>
                  <a:pt x="6801" y="2050"/>
                </a:lnTo>
                <a:lnTo>
                  <a:pt x="6809" y="2055"/>
                </a:lnTo>
                <a:lnTo>
                  <a:pt x="6818" y="2060"/>
                </a:lnTo>
                <a:lnTo>
                  <a:pt x="6828" y="2064"/>
                </a:lnTo>
                <a:lnTo>
                  <a:pt x="6837" y="2067"/>
                </a:lnTo>
                <a:lnTo>
                  <a:pt x="6847" y="2068"/>
                </a:lnTo>
                <a:lnTo>
                  <a:pt x="6853" y="2069"/>
                </a:lnTo>
                <a:lnTo>
                  <a:pt x="6858" y="2069"/>
                </a:lnTo>
                <a:lnTo>
                  <a:pt x="6868" y="2068"/>
                </a:lnTo>
                <a:lnTo>
                  <a:pt x="6880" y="2067"/>
                </a:lnTo>
                <a:lnTo>
                  <a:pt x="6890" y="2064"/>
                </a:lnTo>
                <a:lnTo>
                  <a:pt x="6899" y="2061"/>
                </a:lnTo>
                <a:lnTo>
                  <a:pt x="6908" y="2057"/>
                </a:lnTo>
                <a:lnTo>
                  <a:pt x="6917" y="2052"/>
                </a:lnTo>
                <a:lnTo>
                  <a:pt x="6926" y="2046"/>
                </a:lnTo>
                <a:lnTo>
                  <a:pt x="6935" y="2039"/>
                </a:lnTo>
                <a:lnTo>
                  <a:pt x="6943" y="2032"/>
                </a:lnTo>
                <a:lnTo>
                  <a:pt x="6951" y="2024"/>
                </a:lnTo>
                <a:lnTo>
                  <a:pt x="6958" y="2016"/>
                </a:lnTo>
                <a:lnTo>
                  <a:pt x="6965" y="2006"/>
                </a:lnTo>
                <a:lnTo>
                  <a:pt x="6978" y="1986"/>
                </a:lnTo>
                <a:lnTo>
                  <a:pt x="6984" y="1976"/>
                </a:lnTo>
                <a:lnTo>
                  <a:pt x="6991" y="1965"/>
                </a:lnTo>
                <a:lnTo>
                  <a:pt x="6996" y="1954"/>
                </a:lnTo>
                <a:lnTo>
                  <a:pt x="7001" y="1942"/>
                </a:lnTo>
                <a:lnTo>
                  <a:pt x="7005" y="1930"/>
                </a:lnTo>
                <a:lnTo>
                  <a:pt x="7009" y="1919"/>
                </a:lnTo>
                <a:lnTo>
                  <a:pt x="7013" y="1907"/>
                </a:lnTo>
                <a:lnTo>
                  <a:pt x="7016" y="1895"/>
                </a:lnTo>
                <a:lnTo>
                  <a:pt x="7019" y="1882"/>
                </a:lnTo>
                <a:lnTo>
                  <a:pt x="7022" y="1870"/>
                </a:lnTo>
                <a:lnTo>
                  <a:pt x="7024" y="1858"/>
                </a:lnTo>
                <a:lnTo>
                  <a:pt x="7026" y="1846"/>
                </a:lnTo>
                <a:lnTo>
                  <a:pt x="7028" y="1834"/>
                </a:lnTo>
                <a:lnTo>
                  <a:pt x="7029" y="1822"/>
                </a:lnTo>
                <a:lnTo>
                  <a:pt x="7029" y="1810"/>
                </a:lnTo>
                <a:lnTo>
                  <a:pt x="7030" y="1799"/>
                </a:lnTo>
                <a:lnTo>
                  <a:pt x="7030" y="1788"/>
                </a:lnTo>
                <a:lnTo>
                  <a:pt x="7029" y="1778"/>
                </a:lnTo>
                <a:lnTo>
                  <a:pt x="7030" y="1776"/>
                </a:lnTo>
                <a:lnTo>
                  <a:pt x="7032" y="1773"/>
                </a:lnTo>
                <a:lnTo>
                  <a:pt x="7034" y="1770"/>
                </a:lnTo>
                <a:lnTo>
                  <a:pt x="7037" y="1769"/>
                </a:lnTo>
                <a:lnTo>
                  <a:pt x="7043" y="1766"/>
                </a:lnTo>
                <a:lnTo>
                  <a:pt x="7047" y="1765"/>
                </a:lnTo>
                <a:lnTo>
                  <a:pt x="7052" y="1765"/>
                </a:lnTo>
                <a:lnTo>
                  <a:pt x="7060" y="1765"/>
                </a:lnTo>
                <a:lnTo>
                  <a:pt x="7063" y="1766"/>
                </a:lnTo>
                <a:lnTo>
                  <a:pt x="7066" y="1767"/>
                </a:lnTo>
                <a:lnTo>
                  <a:pt x="7072" y="1770"/>
                </a:lnTo>
                <a:lnTo>
                  <a:pt x="7074" y="1773"/>
                </a:lnTo>
                <a:lnTo>
                  <a:pt x="7077" y="1775"/>
                </a:lnTo>
                <a:lnTo>
                  <a:pt x="7081" y="1781"/>
                </a:lnTo>
                <a:lnTo>
                  <a:pt x="7082" y="1784"/>
                </a:lnTo>
                <a:lnTo>
                  <a:pt x="7084" y="1788"/>
                </a:lnTo>
                <a:lnTo>
                  <a:pt x="7085" y="1793"/>
                </a:lnTo>
                <a:lnTo>
                  <a:pt x="7086" y="1797"/>
                </a:lnTo>
                <a:lnTo>
                  <a:pt x="7086" y="1803"/>
                </a:lnTo>
                <a:lnTo>
                  <a:pt x="7086" y="1809"/>
                </a:lnTo>
                <a:lnTo>
                  <a:pt x="7086" y="1824"/>
                </a:lnTo>
                <a:lnTo>
                  <a:pt x="7085" y="1841"/>
                </a:lnTo>
                <a:lnTo>
                  <a:pt x="7083" y="1856"/>
                </a:lnTo>
                <a:lnTo>
                  <a:pt x="7081" y="1871"/>
                </a:lnTo>
                <a:lnTo>
                  <a:pt x="7079" y="1886"/>
                </a:lnTo>
                <a:lnTo>
                  <a:pt x="7076" y="1902"/>
                </a:lnTo>
                <a:lnTo>
                  <a:pt x="7072" y="1916"/>
                </a:lnTo>
                <a:lnTo>
                  <a:pt x="7068" y="1930"/>
                </a:lnTo>
                <a:lnTo>
                  <a:pt x="7064" y="1944"/>
                </a:lnTo>
                <a:lnTo>
                  <a:pt x="7059" y="1959"/>
                </a:lnTo>
                <a:lnTo>
                  <a:pt x="7054" y="1972"/>
                </a:lnTo>
                <a:lnTo>
                  <a:pt x="7047" y="1985"/>
                </a:lnTo>
                <a:lnTo>
                  <a:pt x="7041" y="1997"/>
                </a:lnTo>
                <a:lnTo>
                  <a:pt x="7034" y="2009"/>
                </a:lnTo>
                <a:lnTo>
                  <a:pt x="7028" y="2022"/>
                </a:lnTo>
                <a:lnTo>
                  <a:pt x="7020" y="2033"/>
                </a:lnTo>
                <a:lnTo>
                  <a:pt x="7013" y="2043"/>
                </a:lnTo>
                <a:lnTo>
                  <a:pt x="7005" y="2054"/>
                </a:lnTo>
                <a:lnTo>
                  <a:pt x="6996" y="2063"/>
                </a:lnTo>
                <a:lnTo>
                  <a:pt x="6987" y="2073"/>
                </a:lnTo>
                <a:lnTo>
                  <a:pt x="6977" y="2082"/>
                </a:lnTo>
                <a:lnTo>
                  <a:pt x="6968" y="2090"/>
                </a:lnTo>
                <a:lnTo>
                  <a:pt x="6958" y="2097"/>
                </a:lnTo>
                <a:lnTo>
                  <a:pt x="6948" y="2103"/>
                </a:lnTo>
                <a:lnTo>
                  <a:pt x="6938" y="2109"/>
                </a:lnTo>
                <a:lnTo>
                  <a:pt x="6926" y="2114"/>
                </a:lnTo>
                <a:lnTo>
                  <a:pt x="6915" y="2119"/>
                </a:lnTo>
                <a:lnTo>
                  <a:pt x="6904" y="2122"/>
                </a:lnTo>
                <a:lnTo>
                  <a:pt x="6893" y="2125"/>
                </a:lnTo>
                <a:lnTo>
                  <a:pt x="6881" y="2127"/>
                </a:lnTo>
                <a:lnTo>
                  <a:pt x="6868" y="2129"/>
                </a:lnTo>
                <a:lnTo>
                  <a:pt x="6856" y="2129"/>
                </a:lnTo>
                <a:close/>
                <a:moveTo>
                  <a:pt x="7244" y="2123"/>
                </a:moveTo>
                <a:lnTo>
                  <a:pt x="7242" y="2123"/>
                </a:lnTo>
                <a:lnTo>
                  <a:pt x="7240" y="2123"/>
                </a:lnTo>
                <a:lnTo>
                  <a:pt x="7234" y="2120"/>
                </a:lnTo>
                <a:lnTo>
                  <a:pt x="7227" y="2116"/>
                </a:lnTo>
                <a:lnTo>
                  <a:pt x="7220" y="2110"/>
                </a:lnTo>
                <a:lnTo>
                  <a:pt x="7207" y="2099"/>
                </a:lnTo>
                <a:lnTo>
                  <a:pt x="7192" y="2085"/>
                </a:lnTo>
                <a:lnTo>
                  <a:pt x="7176" y="2068"/>
                </a:lnTo>
                <a:lnTo>
                  <a:pt x="7158" y="2051"/>
                </a:lnTo>
                <a:lnTo>
                  <a:pt x="7142" y="2034"/>
                </a:lnTo>
                <a:lnTo>
                  <a:pt x="7128" y="2018"/>
                </a:lnTo>
                <a:lnTo>
                  <a:pt x="7117" y="2003"/>
                </a:lnTo>
                <a:lnTo>
                  <a:pt x="7112" y="1997"/>
                </a:lnTo>
                <a:lnTo>
                  <a:pt x="7108" y="1991"/>
                </a:lnTo>
                <a:lnTo>
                  <a:pt x="7103" y="1981"/>
                </a:lnTo>
                <a:lnTo>
                  <a:pt x="7099" y="1971"/>
                </a:lnTo>
                <a:lnTo>
                  <a:pt x="7097" y="1962"/>
                </a:lnTo>
                <a:lnTo>
                  <a:pt x="7096" y="1952"/>
                </a:lnTo>
                <a:lnTo>
                  <a:pt x="7096" y="1945"/>
                </a:lnTo>
                <a:lnTo>
                  <a:pt x="7097" y="1940"/>
                </a:lnTo>
                <a:lnTo>
                  <a:pt x="7098" y="1934"/>
                </a:lnTo>
                <a:lnTo>
                  <a:pt x="7100" y="1928"/>
                </a:lnTo>
                <a:lnTo>
                  <a:pt x="7103" y="1922"/>
                </a:lnTo>
                <a:lnTo>
                  <a:pt x="7106" y="1915"/>
                </a:lnTo>
                <a:lnTo>
                  <a:pt x="7111" y="1909"/>
                </a:lnTo>
                <a:lnTo>
                  <a:pt x="7115" y="1902"/>
                </a:lnTo>
                <a:lnTo>
                  <a:pt x="7124" y="1890"/>
                </a:lnTo>
                <a:lnTo>
                  <a:pt x="7135" y="1876"/>
                </a:lnTo>
                <a:lnTo>
                  <a:pt x="7164" y="1842"/>
                </a:lnTo>
                <a:lnTo>
                  <a:pt x="7200" y="1802"/>
                </a:lnTo>
                <a:lnTo>
                  <a:pt x="7236" y="1761"/>
                </a:lnTo>
                <a:lnTo>
                  <a:pt x="7237" y="1761"/>
                </a:lnTo>
                <a:lnTo>
                  <a:pt x="7241" y="1760"/>
                </a:lnTo>
                <a:lnTo>
                  <a:pt x="7244" y="1761"/>
                </a:lnTo>
                <a:lnTo>
                  <a:pt x="7248" y="1762"/>
                </a:lnTo>
                <a:lnTo>
                  <a:pt x="7253" y="1764"/>
                </a:lnTo>
                <a:lnTo>
                  <a:pt x="7257" y="1766"/>
                </a:lnTo>
                <a:lnTo>
                  <a:pt x="7261" y="1769"/>
                </a:lnTo>
                <a:lnTo>
                  <a:pt x="7265" y="1774"/>
                </a:lnTo>
                <a:lnTo>
                  <a:pt x="7269" y="1778"/>
                </a:lnTo>
                <a:lnTo>
                  <a:pt x="7271" y="1783"/>
                </a:lnTo>
                <a:lnTo>
                  <a:pt x="7273" y="1788"/>
                </a:lnTo>
                <a:lnTo>
                  <a:pt x="7273" y="1793"/>
                </a:lnTo>
                <a:lnTo>
                  <a:pt x="7273" y="1798"/>
                </a:lnTo>
                <a:lnTo>
                  <a:pt x="7271" y="1803"/>
                </a:lnTo>
                <a:lnTo>
                  <a:pt x="7268" y="1809"/>
                </a:lnTo>
                <a:lnTo>
                  <a:pt x="7264" y="1815"/>
                </a:lnTo>
                <a:lnTo>
                  <a:pt x="7256" y="1825"/>
                </a:lnTo>
                <a:lnTo>
                  <a:pt x="7244" y="1840"/>
                </a:lnTo>
                <a:lnTo>
                  <a:pt x="7214" y="1873"/>
                </a:lnTo>
                <a:lnTo>
                  <a:pt x="7185" y="1907"/>
                </a:lnTo>
                <a:lnTo>
                  <a:pt x="7173" y="1921"/>
                </a:lnTo>
                <a:lnTo>
                  <a:pt x="7163" y="1933"/>
                </a:lnTo>
                <a:lnTo>
                  <a:pt x="7160" y="1937"/>
                </a:lnTo>
                <a:lnTo>
                  <a:pt x="7158" y="1940"/>
                </a:lnTo>
                <a:lnTo>
                  <a:pt x="7157" y="1944"/>
                </a:lnTo>
                <a:lnTo>
                  <a:pt x="7157" y="1948"/>
                </a:lnTo>
                <a:lnTo>
                  <a:pt x="7157" y="1953"/>
                </a:lnTo>
                <a:lnTo>
                  <a:pt x="7159" y="1957"/>
                </a:lnTo>
                <a:lnTo>
                  <a:pt x="7161" y="1962"/>
                </a:lnTo>
                <a:lnTo>
                  <a:pt x="7164" y="1967"/>
                </a:lnTo>
                <a:lnTo>
                  <a:pt x="7172" y="1976"/>
                </a:lnTo>
                <a:lnTo>
                  <a:pt x="7183" y="1987"/>
                </a:lnTo>
                <a:lnTo>
                  <a:pt x="7210" y="2017"/>
                </a:lnTo>
                <a:lnTo>
                  <a:pt x="7243" y="2050"/>
                </a:lnTo>
                <a:lnTo>
                  <a:pt x="7274" y="2081"/>
                </a:lnTo>
                <a:lnTo>
                  <a:pt x="7276" y="2083"/>
                </a:lnTo>
                <a:lnTo>
                  <a:pt x="7277" y="2085"/>
                </a:lnTo>
                <a:lnTo>
                  <a:pt x="7278" y="2087"/>
                </a:lnTo>
                <a:lnTo>
                  <a:pt x="7278" y="2090"/>
                </a:lnTo>
                <a:lnTo>
                  <a:pt x="7277" y="2095"/>
                </a:lnTo>
                <a:lnTo>
                  <a:pt x="7276" y="2098"/>
                </a:lnTo>
                <a:lnTo>
                  <a:pt x="7275" y="2101"/>
                </a:lnTo>
                <a:lnTo>
                  <a:pt x="7271" y="2107"/>
                </a:lnTo>
                <a:lnTo>
                  <a:pt x="7269" y="2109"/>
                </a:lnTo>
                <a:lnTo>
                  <a:pt x="7267" y="2112"/>
                </a:lnTo>
                <a:lnTo>
                  <a:pt x="7261" y="2116"/>
                </a:lnTo>
                <a:lnTo>
                  <a:pt x="7259" y="2118"/>
                </a:lnTo>
                <a:lnTo>
                  <a:pt x="7256" y="2120"/>
                </a:lnTo>
                <a:lnTo>
                  <a:pt x="7250" y="2123"/>
                </a:lnTo>
                <a:lnTo>
                  <a:pt x="7247" y="2123"/>
                </a:lnTo>
                <a:lnTo>
                  <a:pt x="7244" y="2123"/>
                </a:lnTo>
                <a:close/>
                <a:moveTo>
                  <a:pt x="6856" y="3095"/>
                </a:moveTo>
                <a:lnTo>
                  <a:pt x="6848" y="3094"/>
                </a:lnTo>
                <a:lnTo>
                  <a:pt x="6841" y="3094"/>
                </a:lnTo>
                <a:lnTo>
                  <a:pt x="6833" y="3093"/>
                </a:lnTo>
                <a:lnTo>
                  <a:pt x="6826" y="3090"/>
                </a:lnTo>
                <a:lnTo>
                  <a:pt x="6819" y="3088"/>
                </a:lnTo>
                <a:lnTo>
                  <a:pt x="6812" y="3086"/>
                </a:lnTo>
                <a:lnTo>
                  <a:pt x="6797" y="3080"/>
                </a:lnTo>
                <a:lnTo>
                  <a:pt x="6784" y="3073"/>
                </a:lnTo>
                <a:lnTo>
                  <a:pt x="6778" y="3069"/>
                </a:lnTo>
                <a:lnTo>
                  <a:pt x="6772" y="3064"/>
                </a:lnTo>
                <a:lnTo>
                  <a:pt x="6766" y="3059"/>
                </a:lnTo>
                <a:lnTo>
                  <a:pt x="6760" y="3054"/>
                </a:lnTo>
                <a:lnTo>
                  <a:pt x="6755" y="3049"/>
                </a:lnTo>
                <a:lnTo>
                  <a:pt x="6748" y="3043"/>
                </a:lnTo>
                <a:lnTo>
                  <a:pt x="6743" y="3037"/>
                </a:lnTo>
                <a:lnTo>
                  <a:pt x="6739" y="3029"/>
                </a:lnTo>
                <a:lnTo>
                  <a:pt x="6734" y="3023"/>
                </a:lnTo>
                <a:lnTo>
                  <a:pt x="6730" y="3016"/>
                </a:lnTo>
                <a:lnTo>
                  <a:pt x="6726" y="3009"/>
                </a:lnTo>
                <a:lnTo>
                  <a:pt x="6723" y="3001"/>
                </a:lnTo>
                <a:lnTo>
                  <a:pt x="6719" y="2994"/>
                </a:lnTo>
                <a:lnTo>
                  <a:pt x="6716" y="2986"/>
                </a:lnTo>
                <a:lnTo>
                  <a:pt x="6714" y="2978"/>
                </a:lnTo>
                <a:lnTo>
                  <a:pt x="6711" y="2969"/>
                </a:lnTo>
                <a:lnTo>
                  <a:pt x="6709" y="2961"/>
                </a:lnTo>
                <a:lnTo>
                  <a:pt x="6708" y="2952"/>
                </a:lnTo>
                <a:lnTo>
                  <a:pt x="6706" y="2943"/>
                </a:lnTo>
                <a:lnTo>
                  <a:pt x="6705" y="2934"/>
                </a:lnTo>
                <a:lnTo>
                  <a:pt x="6705" y="2925"/>
                </a:lnTo>
                <a:lnTo>
                  <a:pt x="6705" y="2916"/>
                </a:lnTo>
                <a:lnTo>
                  <a:pt x="6705" y="2897"/>
                </a:lnTo>
                <a:lnTo>
                  <a:pt x="6706" y="2887"/>
                </a:lnTo>
                <a:lnTo>
                  <a:pt x="6708" y="2878"/>
                </a:lnTo>
                <a:lnTo>
                  <a:pt x="6710" y="2869"/>
                </a:lnTo>
                <a:lnTo>
                  <a:pt x="6712" y="2860"/>
                </a:lnTo>
                <a:lnTo>
                  <a:pt x="6714" y="2852"/>
                </a:lnTo>
                <a:lnTo>
                  <a:pt x="6717" y="2842"/>
                </a:lnTo>
                <a:lnTo>
                  <a:pt x="6720" y="2834"/>
                </a:lnTo>
                <a:lnTo>
                  <a:pt x="6724" y="2825"/>
                </a:lnTo>
                <a:lnTo>
                  <a:pt x="6727" y="2817"/>
                </a:lnTo>
                <a:lnTo>
                  <a:pt x="6731" y="2810"/>
                </a:lnTo>
                <a:lnTo>
                  <a:pt x="6736" y="2802"/>
                </a:lnTo>
                <a:lnTo>
                  <a:pt x="6741" y="2795"/>
                </a:lnTo>
                <a:lnTo>
                  <a:pt x="6752" y="2780"/>
                </a:lnTo>
                <a:lnTo>
                  <a:pt x="6757" y="2773"/>
                </a:lnTo>
                <a:lnTo>
                  <a:pt x="6763" y="2767"/>
                </a:lnTo>
                <a:lnTo>
                  <a:pt x="6775" y="2756"/>
                </a:lnTo>
                <a:lnTo>
                  <a:pt x="6782" y="2751"/>
                </a:lnTo>
                <a:lnTo>
                  <a:pt x="6788" y="2746"/>
                </a:lnTo>
                <a:lnTo>
                  <a:pt x="6795" y="2741"/>
                </a:lnTo>
                <a:lnTo>
                  <a:pt x="6802" y="2737"/>
                </a:lnTo>
                <a:lnTo>
                  <a:pt x="6811" y="2734"/>
                </a:lnTo>
                <a:lnTo>
                  <a:pt x="6818" y="2730"/>
                </a:lnTo>
                <a:lnTo>
                  <a:pt x="6826" y="2727"/>
                </a:lnTo>
                <a:lnTo>
                  <a:pt x="6833" y="2725"/>
                </a:lnTo>
                <a:lnTo>
                  <a:pt x="6841" y="2723"/>
                </a:lnTo>
                <a:lnTo>
                  <a:pt x="6849" y="2721"/>
                </a:lnTo>
                <a:lnTo>
                  <a:pt x="6857" y="2721"/>
                </a:lnTo>
                <a:lnTo>
                  <a:pt x="6866" y="2720"/>
                </a:lnTo>
                <a:lnTo>
                  <a:pt x="6877" y="2721"/>
                </a:lnTo>
                <a:lnTo>
                  <a:pt x="6882" y="2721"/>
                </a:lnTo>
                <a:lnTo>
                  <a:pt x="6886" y="2722"/>
                </a:lnTo>
                <a:lnTo>
                  <a:pt x="6891" y="2723"/>
                </a:lnTo>
                <a:lnTo>
                  <a:pt x="6895" y="2725"/>
                </a:lnTo>
                <a:lnTo>
                  <a:pt x="6904" y="2728"/>
                </a:lnTo>
                <a:lnTo>
                  <a:pt x="6912" y="2733"/>
                </a:lnTo>
                <a:lnTo>
                  <a:pt x="6919" y="2737"/>
                </a:lnTo>
                <a:lnTo>
                  <a:pt x="6926" y="2743"/>
                </a:lnTo>
                <a:lnTo>
                  <a:pt x="6933" y="2749"/>
                </a:lnTo>
                <a:lnTo>
                  <a:pt x="6936" y="2752"/>
                </a:lnTo>
                <a:lnTo>
                  <a:pt x="6938" y="2755"/>
                </a:lnTo>
                <a:lnTo>
                  <a:pt x="6943" y="2762"/>
                </a:lnTo>
                <a:lnTo>
                  <a:pt x="6947" y="2770"/>
                </a:lnTo>
                <a:lnTo>
                  <a:pt x="6950" y="2778"/>
                </a:lnTo>
                <a:lnTo>
                  <a:pt x="6953" y="2787"/>
                </a:lnTo>
                <a:lnTo>
                  <a:pt x="6955" y="2797"/>
                </a:lnTo>
                <a:lnTo>
                  <a:pt x="6956" y="2807"/>
                </a:lnTo>
                <a:lnTo>
                  <a:pt x="6956" y="2817"/>
                </a:lnTo>
                <a:lnTo>
                  <a:pt x="6956" y="2829"/>
                </a:lnTo>
                <a:lnTo>
                  <a:pt x="6955" y="2835"/>
                </a:lnTo>
                <a:lnTo>
                  <a:pt x="6953" y="2842"/>
                </a:lnTo>
                <a:lnTo>
                  <a:pt x="6950" y="2854"/>
                </a:lnTo>
                <a:lnTo>
                  <a:pt x="6945" y="2866"/>
                </a:lnTo>
                <a:lnTo>
                  <a:pt x="6938" y="2877"/>
                </a:lnTo>
                <a:lnTo>
                  <a:pt x="6931" y="2888"/>
                </a:lnTo>
                <a:lnTo>
                  <a:pt x="6926" y="2893"/>
                </a:lnTo>
                <a:lnTo>
                  <a:pt x="6922" y="2898"/>
                </a:lnTo>
                <a:lnTo>
                  <a:pt x="6913" y="2907"/>
                </a:lnTo>
                <a:lnTo>
                  <a:pt x="6903" y="2916"/>
                </a:lnTo>
                <a:lnTo>
                  <a:pt x="6897" y="2920"/>
                </a:lnTo>
                <a:lnTo>
                  <a:pt x="6892" y="2924"/>
                </a:lnTo>
                <a:lnTo>
                  <a:pt x="6881" y="2931"/>
                </a:lnTo>
                <a:lnTo>
                  <a:pt x="6868" y="2936"/>
                </a:lnTo>
                <a:lnTo>
                  <a:pt x="6856" y="2941"/>
                </a:lnTo>
                <a:lnTo>
                  <a:pt x="6850" y="2943"/>
                </a:lnTo>
                <a:lnTo>
                  <a:pt x="6843" y="2944"/>
                </a:lnTo>
                <a:lnTo>
                  <a:pt x="6837" y="2945"/>
                </a:lnTo>
                <a:lnTo>
                  <a:pt x="6831" y="2946"/>
                </a:lnTo>
                <a:lnTo>
                  <a:pt x="6818" y="2947"/>
                </a:lnTo>
                <a:lnTo>
                  <a:pt x="6813" y="2946"/>
                </a:lnTo>
                <a:lnTo>
                  <a:pt x="6807" y="2944"/>
                </a:lnTo>
                <a:lnTo>
                  <a:pt x="6803" y="2942"/>
                </a:lnTo>
                <a:lnTo>
                  <a:pt x="6801" y="2940"/>
                </a:lnTo>
                <a:lnTo>
                  <a:pt x="6799" y="2938"/>
                </a:lnTo>
                <a:lnTo>
                  <a:pt x="6796" y="2933"/>
                </a:lnTo>
                <a:lnTo>
                  <a:pt x="6793" y="2928"/>
                </a:lnTo>
                <a:lnTo>
                  <a:pt x="6792" y="2925"/>
                </a:lnTo>
                <a:lnTo>
                  <a:pt x="6792" y="2922"/>
                </a:lnTo>
                <a:lnTo>
                  <a:pt x="6791" y="2916"/>
                </a:lnTo>
                <a:lnTo>
                  <a:pt x="6791" y="2913"/>
                </a:lnTo>
                <a:lnTo>
                  <a:pt x="6792" y="2909"/>
                </a:lnTo>
                <a:lnTo>
                  <a:pt x="6793" y="2904"/>
                </a:lnTo>
                <a:lnTo>
                  <a:pt x="6794" y="2902"/>
                </a:lnTo>
                <a:lnTo>
                  <a:pt x="6795" y="2900"/>
                </a:lnTo>
                <a:lnTo>
                  <a:pt x="6796" y="2899"/>
                </a:lnTo>
                <a:lnTo>
                  <a:pt x="6798" y="2897"/>
                </a:lnTo>
                <a:lnTo>
                  <a:pt x="6809" y="2896"/>
                </a:lnTo>
                <a:lnTo>
                  <a:pt x="6821" y="2893"/>
                </a:lnTo>
                <a:lnTo>
                  <a:pt x="6831" y="2890"/>
                </a:lnTo>
                <a:lnTo>
                  <a:pt x="6840" y="2886"/>
                </a:lnTo>
                <a:lnTo>
                  <a:pt x="6849" y="2881"/>
                </a:lnTo>
                <a:lnTo>
                  <a:pt x="6858" y="2876"/>
                </a:lnTo>
                <a:lnTo>
                  <a:pt x="6866" y="2870"/>
                </a:lnTo>
                <a:lnTo>
                  <a:pt x="6869" y="2868"/>
                </a:lnTo>
                <a:lnTo>
                  <a:pt x="6874" y="2865"/>
                </a:lnTo>
                <a:lnTo>
                  <a:pt x="6880" y="2858"/>
                </a:lnTo>
                <a:lnTo>
                  <a:pt x="6886" y="2852"/>
                </a:lnTo>
                <a:lnTo>
                  <a:pt x="6891" y="2844"/>
                </a:lnTo>
                <a:lnTo>
                  <a:pt x="6895" y="2837"/>
                </a:lnTo>
                <a:lnTo>
                  <a:pt x="6899" y="2830"/>
                </a:lnTo>
                <a:lnTo>
                  <a:pt x="6901" y="2823"/>
                </a:lnTo>
                <a:lnTo>
                  <a:pt x="6903" y="2816"/>
                </a:lnTo>
                <a:lnTo>
                  <a:pt x="6903" y="2809"/>
                </a:lnTo>
                <a:lnTo>
                  <a:pt x="6902" y="2801"/>
                </a:lnTo>
                <a:lnTo>
                  <a:pt x="6900" y="2794"/>
                </a:lnTo>
                <a:lnTo>
                  <a:pt x="6899" y="2789"/>
                </a:lnTo>
                <a:lnTo>
                  <a:pt x="6897" y="2786"/>
                </a:lnTo>
                <a:lnTo>
                  <a:pt x="6895" y="2784"/>
                </a:lnTo>
                <a:lnTo>
                  <a:pt x="6892" y="2781"/>
                </a:lnTo>
                <a:lnTo>
                  <a:pt x="6887" y="2777"/>
                </a:lnTo>
                <a:lnTo>
                  <a:pt x="6883" y="2775"/>
                </a:lnTo>
                <a:lnTo>
                  <a:pt x="6880" y="2774"/>
                </a:lnTo>
                <a:lnTo>
                  <a:pt x="6872" y="2772"/>
                </a:lnTo>
                <a:lnTo>
                  <a:pt x="6866" y="2771"/>
                </a:lnTo>
                <a:lnTo>
                  <a:pt x="6862" y="2771"/>
                </a:lnTo>
                <a:lnTo>
                  <a:pt x="6853" y="2772"/>
                </a:lnTo>
                <a:lnTo>
                  <a:pt x="6849" y="2773"/>
                </a:lnTo>
                <a:lnTo>
                  <a:pt x="6844" y="2774"/>
                </a:lnTo>
                <a:lnTo>
                  <a:pt x="6840" y="2776"/>
                </a:lnTo>
                <a:lnTo>
                  <a:pt x="6835" y="2777"/>
                </a:lnTo>
                <a:lnTo>
                  <a:pt x="6831" y="2780"/>
                </a:lnTo>
                <a:lnTo>
                  <a:pt x="6827" y="2782"/>
                </a:lnTo>
                <a:lnTo>
                  <a:pt x="6822" y="2785"/>
                </a:lnTo>
                <a:lnTo>
                  <a:pt x="6818" y="2788"/>
                </a:lnTo>
                <a:lnTo>
                  <a:pt x="6809" y="2796"/>
                </a:lnTo>
                <a:lnTo>
                  <a:pt x="6801" y="2804"/>
                </a:lnTo>
                <a:lnTo>
                  <a:pt x="6794" y="2813"/>
                </a:lnTo>
                <a:lnTo>
                  <a:pt x="6790" y="2818"/>
                </a:lnTo>
                <a:lnTo>
                  <a:pt x="6787" y="2823"/>
                </a:lnTo>
                <a:lnTo>
                  <a:pt x="6780" y="2834"/>
                </a:lnTo>
                <a:lnTo>
                  <a:pt x="6775" y="2845"/>
                </a:lnTo>
                <a:lnTo>
                  <a:pt x="6770" y="2859"/>
                </a:lnTo>
                <a:lnTo>
                  <a:pt x="6766" y="2871"/>
                </a:lnTo>
                <a:lnTo>
                  <a:pt x="6764" y="2885"/>
                </a:lnTo>
                <a:lnTo>
                  <a:pt x="6762" y="2899"/>
                </a:lnTo>
                <a:lnTo>
                  <a:pt x="6761" y="2906"/>
                </a:lnTo>
                <a:lnTo>
                  <a:pt x="6761" y="2914"/>
                </a:lnTo>
                <a:lnTo>
                  <a:pt x="6762" y="2926"/>
                </a:lnTo>
                <a:lnTo>
                  <a:pt x="6763" y="2939"/>
                </a:lnTo>
                <a:lnTo>
                  <a:pt x="6765" y="2950"/>
                </a:lnTo>
                <a:lnTo>
                  <a:pt x="6766" y="2956"/>
                </a:lnTo>
                <a:lnTo>
                  <a:pt x="6768" y="2961"/>
                </a:lnTo>
                <a:lnTo>
                  <a:pt x="6772" y="2973"/>
                </a:lnTo>
                <a:lnTo>
                  <a:pt x="6774" y="2978"/>
                </a:lnTo>
                <a:lnTo>
                  <a:pt x="6776" y="2983"/>
                </a:lnTo>
                <a:lnTo>
                  <a:pt x="6779" y="2987"/>
                </a:lnTo>
                <a:lnTo>
                  <a:pt x="6781" y="2992"/>
                </a:lnTo>
                <a:lnTo>
                  <a:pt x="6784" y="2996"/>
                </a:lnTo>
                <a:lnTo>
                  <a:pt x="6787" y="3000"/>
                </a:lnTo>
                <a:lnTo>
                  <a:pt x="6790" y="3004"/>
                </a:lnTo>
                <a:lnTo>
                  <a:pt x="6794" y="3007"/>
                </a:lnTo>
                <a:lnTo>
                  <a:pt x="6801" y="3014"/>
                </a:lnTo>
                <a:lnTo>
                  <a:pt x="6809" y="3020"/>
                </a:lnTo>
                <a:lnTo>
                  <a:pt x="6818" y="3025"/>
                </a:lnTo>
                <a:lnTo>
                  <a:pt x="6828" y="3028"/>
                </a:lnTo>
                <a:lnTo>
                  <a:pt x="6837" y="3032"/>
                </a:lnTo>
                <a:lnTo>
                  <a:pt x="6847" y="3034"/>
                </a:lnTo>
                <a:lnTo>
                  <a:pt x="6853" y="3034"/>
                </a:lnTo>
                <a:lnTo>
                  <a:pt x="6858" y="3034"/>
                </a:lnTo>
                <a:lnTo>
                  <a:pt x="6868" y="3034"/>
                </a:lnTo>
                <a:lnTo>
                  <a:pt x="6880" y="3032"/>
                </a:lnTo>
                <a:lnTo>
                  <a:pt x="6890" y="3029"/>
                </a:lnTo>
                <a:lnTo>
                  <a:pt x="6899" y="3026"/>
                </a:lnTo>
                <a:lnTo>
                  <a:pt x="6908" y="3021"/>
                </a:lnTo>
                <a:lnTo>
                  <a:pt x="6917" y="3016"/>
                </a:lnTo>
                <a:lnTo>
                  <a:pt x="6926" y="3010"/>
                </a:lnTo>
                <a:lnTo>
                  <a:pt x="6935" y="3004"/>
                </a:lnTo>
                <a:lnTo>
                  <a:pt x="6943" y="2997"/>
                </a:lnTo>
                <a:lnTo>
                  <a:pt x="6951" y="2989"/>
                </a:lnTo>
                <a:lnTo>
                  <a:pt x="6958" y="2980"/>
                </a:lnTo>
                <a:lnTo>
                  <a:pt x="6965" y="2970"/>
                </a:lnTo>
                <a:lnTo>
                  <a:pt x="6978" y="2951"/>
                </a:lnTo>
                <a:lnTo>
                  <a:pt x="6984" y="2941"/>
                </a:lnTo>
                <a:lnTo>
                  <a:pt x="6991" y="2930"/>
                </a:lnTo>
                <a:lnTo>
                  <a:pt x="6996" y="2919"/>
                </a:lnTo>
                <a:lnTo>
                  <a:pt x="7001" y="2906"/>
                </a:lnTo>
                <a:lnTo>
                  <a:pt x="7005" y="2895"/>
                </a:lnTo>
                <a:lnTo>
                  <a:pt x="7009" y="2883"/>
                </a:lnTo>
                <a:lnTo>
                  <a:pt x="7013" y="2871"/>
                </a:lnTo>
                <a:lnTo>
                  <a:pt x="7016" y="2859"/>
                </a:lnTo>
                <a:lnTo>
                  <a:pt x="7019" y="2846"/>
                </a:lnTo>
                <a:lnTo>
                  <a:pt x="7022" y="2834"/>
                </a:lnTo>
                <a:lnTo>
                  <a:pt x="7024" y="2822"/>
                </a:lnTo>
                <a:lnTo>
                  <a:pt x="7026" y="2810"/>
                </a:lnTo>
                <a:lnTo>
                  <a:pt x="7028" y="2799"/>
                </a:lnTo>
                <a:lnTo>
                  <a:pt x="7029" y="2786"/>
                </a:lnTo>
                <a:lnTo>
                  <a:pt x="7029" y="2775"/>
                </a:lnTo>
                <a:lnTo>
                  <a:pt x="7030" y="2764"/>
                </a:lnTo>
                <a:lnTo>
                  <a:pt x="7030" y="2753"/>
                </a:lnTo>
                <a:lnTo>
                  <a:pt x="7029" y="2742"/>
                </a:lnTo>
                <a:lnTo>
                  <a:pt x="7030" y="2740"/>
                </a:lnTo>
                <a:lnTo>
                  <a:pt x="7032" y="2738"/>
                </a:lnTo>
                <a:lnTo>
                  <a:pt x="7034" y="2736"/>
                </a:lnTo>
                <a:lnTo>
                  <a:pt x="7037" y="2734"/>
                </a:lnTo>
                <a:lnTo>
                  <a:pt x="7043" y="2730"/>
                </a:lnTo>
                <a:lnTo>
                  <a:pt x="7047" y="2730"/>
                </a:lnTo>
                <a:lnTo>
                  <a:pt x="7052" y="2729"/>
                </a:lnTo>
                <a:lnTo>
                  <a:pt x="7060" y="2730"/>
                </a:lnTo>
                <a:lnTo>
                  <a:pt x="7063" y="2732"/>
                </a:lnTo>
                <a:lnTo>
                  <a:pt x="7066" y="2732"/>
                </a:lnTo>
                <a:lnTo>
                  <a:pt x="7072" y="2735"/>
                </a:lnTo>
                <a:lnTo>
                  <a:pt x="7074" y="2737"/>
                </a:lnTo>
                <a:lnTo>
                  <a:pt x="7077" y="2740"/>
                </a:lnTo>
                <a:lnTo>
                  <a:pt x="7081" y="2745"/>
                </a:lnTo>
                <a:lnTo>
                  <a:pt x="7082" y="2749"/>
                </a:lnTo>
                <a:lnTo>
                  <a:pt x="7084" y="2753"/>
                </a:lnTo>
                <a:lnTo>
                  <a:pt x="7085" y="2757"/>
                </a:lnTo>
                <a:lnTo>
                  <a:pt x="7086" y="2762"/>
                </a:lnTo>
                <a:lnTo>
                  <a:pt x="7086" y="2767"/>
                </a:lnTo>
                <a:lnTo>
                  <a:pt x="7086" y="2773"/>
                </a:lnTo>
                <a:lnTo>
                  <a:pt x="7086" y="2789"/>
                </a:lnTo>
                <a:lnTo>
                  <a:pt x="7085" y="2805"/>
                </a:lnTo>
                <a:lnTo>
                  <a:pt x="7083" y="2820"/>
                </a:lnTo>
                <a:lnTo>
                  <a:pt x="7081" y="2835"/>
                </a:lnTo>
                <a:lnTo>
                  <a:pt x="7079" y="2850"/>
                </a:lnTo>
                <a:lnTo>
                  <a:pt x="7076" y="2866"/>
                </a:lnTo>
                <a:lnTo>
                  <a:pt x="7072" y="2880"/>
                </a:lnTo>
                <a:lnTo>
                  <a:pt x="7068" y="2895"/>
                </a:lnTo>
                <a:lnTo>
                  <a:pt x="7064" y="2908"/>
                </a:lnTo>
                <a:lnTo>
                  <a:pt x="7059" y="2923"/>
                </a:lnTo>
                <a:lnTo>
                  <a:pt x="7054" y="2936"/>
                </a:lnTo>
                <a:lnTo>
                  <a:pt x="7047" y="2949"/>
                </a:lnTo>
                <a:lnTo>
                  <a:pt x="7041" y="2961"/>
                </a:lnTo>
                <a:lnTo>
                  <a:pt x="7034" y="2975"/>
                </a:lnTo>
                <a:lnTo>
                  <a:pt x="7028" y="2986"/>
                </a:lnTo>
                <a:lnTo>
                  <a:pt x="7020" y="2997"/>
                </a:lnTo>
                <a:lnTo>
                  <a:pt x="7013" y="3008"/>
                </a:lnTo>
                <a:lnTo>
                  <a:pt x="7005" y="3018"/>
                </a:lnTo>
                <a:lnTo>
                  <a:pt x="6996" y="3028"/>
                </a:lnTo>
                <a:lnTo>
                  <a:pt x="6987" y="3038"/>
                </a:lnTo>
                <a:lnTo>
                  <a:pt x="6977" y="3046"/>
                </a:lnTo>
                <a:lnTo>
                  <a:pt x="6968" y="3054"/>
                </a:lnTo>
                <a:lnTo>
                  <a:pt x="6958" y="3061"/>
                </a:lnTo>
                <a:lnTo>
                  <a:pt x="6948" y="3068"/>
                </a:lnTo>
                <a:lnTo>
                  <a:pt x="6938" y="3074"/>
                </a:lnTo>
                <a:lnTo>
                  <a:pt x="6926" y="3079"/>
                </a:lnTo>
                <a:lnTo>
                  <a:pt x="6915" y="3083"/>
                </a:lnTo>
                <a:lnTo>
                  <a:pt x="6904" y="3087"/>
                </a:lnTo>
                <a:lnTo>
                  <a:pt x="6893" y="3090"/>
                </a:lnTo>
                <a:lnTo>
                  <a:pt x="6881" y="3093"/>
                </a:lnTo>
                <a:lnTo>
                  <a:pt x="6868" y="3094"/>
                </a:lnTo>
                <a:lnTo>
                  <a:pt x="6856" y="3095"/>
                </a:lnTo>
                <a:close/>
                <a:moveTo>
                  <a:pt x="7244" y="3088"/>
                </a:moveTo>
                <a:lnTo>
                  <a:pt x="7242" y="3088"/>
                </a:lnTo>
                <a:lnTo>
                  <a:pt x="7240" y="3087"/>
                </a:lnTo>
                <a:lnTo>
                  <a:pt x="7234" y="3084"/>
                </a:lnTo>
                <a:lnTo>
                  <a:pt x="7227" y="3080"/>
                </a:lnTo>
                <a:lnTo>
                  <a:pt x="7220" y="3075"/>
                </a:lnTo>
                <a:lnTo>
                  <a:pt x="7207" y="3064"/>
                </a:lnTo>
                <a:lnTo>
                  <a:pt x="7192" y="3050"/>
                </a:lnTo>
                <a:lnTo>
                  <a:pt x="7176" y="3034"/>
                </a:lnTo>
                <a:lnTo>
                  <a:pt x="7158" y="3016"/>
                </a:lnTo>
                <a:lnTo>
                  <a:pt x="7142" y="2999"/>
                </a:lnTo>
                <a:lnTo>
                  <a:pt x="7128" y="2983"/>
                </a:lnTo>
                <a:lnTo>
                  <a:pt x="7117" y="2967"/>
                </a:lnTo>
                <a:lnTo>
                  <a:pt x="7112" y="2961"/>
                </a:lnTo>
                <a:lnTo>
                  <a:pt x="7108" y="2956"/>
                </a:lnTo>
                <a:lnTo>
                  <a:pt x="7103" y="2946"/>
                </a:lnTo>
                <a:lnTo>
                  <a:pt x="7099" y="2936"/>
                </a:lnTo>
                <a:lnTo>
                  <a:pt x="7097" y="2926"/>
                </a:lnTo>
                <a:lnTo>
                  <a:pt x="7096" y="2916"/>
                </a:lnTo>
                <a:lnTo>
                  <a:pt x="7096" y="2910"/>
                </a:lnTo>
                <a:lnTo>
                  <a:pt x="7097" y="2904"/>
                </a:lnTo>
                <a:lnTo>
                  <a:pt x="7098" y="2898"/>
                </a:lnTo>
                <a:lnTo>
                  <a:pt x="7100" y="2892"/>
                </a:lnTo>
                <a:lnTo>
                  <a:pt x="7103" y="2886"/>
                </a:lnTo>
                <a:lnTo>
                  <a:pt x="7106" y="2880"/>
                </a:lnTo>
                <a:lnTo>
                  <a:pt x="7111" y="2873"/>
                </a:lnTo>
                <a:lnTo>
                  <a:pt x="7115" y="2866"/>
                </a:lnTo>
                <a:lnTo>
                  <a:pt x="7124" y="2855"/>
                </a:lnTo>
                <a:lnTo>
                  <a:pt x="7135" y="2841"/>
                </a:lnTo>
                <a:lnTo>
                  <a:pt x="7164" y="2807"/>
                </a:lnTo>
                <a:lnTo>
                  <a:pt x="7200" y="2767"/>
                </a:lnTo>
                <a:lnTo>
                  <a:pt x="7236" y="2726"/>
                </a:lnTo>
                <a:lnTo>
                  <a:pt x="7237" y="2725"/>
                </a:lnTo>
                <a:lnTo>
                  <a:pt x="7241" y="2725"/>
                </a:lnTo>
                <a:lnTo>
                  <a:pt x="7244" y="2725"/>
                </a:lnTo>
                <a:lnTo>
                  <a:pt x="7248" y="2726"/>
                </a:lnTo>
                <a:lnTo>
                  <a:pt x="7253" y="2728"/>
                </a:lnTo>
                <a:lnTo>
                  <a:pt x="7257" y="2732"/>
                </a:lnTo>
                <a:lnTo>
                  <a:pt x="7261" y="2735"/>
                </a:lnTo>
                <a:lnTo>
                  <a:pt x="7265" y="2739"/>
                </a:lnTo>
                <a:lnTo>
                  <a:pt x="7269" y="2743"/>
                </a:lnTo>
                <a:lnTo>
                  <a:pt x="7271" y="2748"/>
                </a:lnTo>
                <a:lnTo>
                  <a:pt x="7273" y="2752"/>
                </a:lnTo>
                <a:lnTo>
                  <a:pt x="7273" y="2757"/>
                </a:lnTo>
                <a:lnTo>
                  <a:pt x="7273" y="2762"/>
                </a:lnTo>
                <a:lnTo>
                  <a:pt x="7271" y="2768"/>
                </a:lnTo>
                <a:lnTo>
                  <a:pt x="7268" y="2773"/>
                </a:lnTo>
                <a:lnTo>
                  <a:pt x="7264" y="2779"/>
                </a:lnTo>
                <a:lnTo>
                  <a:pt x="7256" y="2790"/>
                </a:lnTo>
                <a:lnTo>
                  <a:pt x="7244" y="2804"/>
                </a:lnTo>
                <a:lnTo>
                  <a:pt x="7214" y="2837"/>
                </a:lnTo>
                <a:lnTo>
                  <a:pt x="7185" y="2871"/>
                </a:lnTo>
                <a:lnTo>
                  <a:pt x="7173" y="2886"/>
                </a:lnTo>
                <a:lnTo>
                  <a:pt x="7163" y="2897"/>
                </a:lnTo>
                <a:lnTo>
                  <a:pt x="7160" y="2901"/>
                </a:lnTo>
                <a:lnTo>
                  <a:pt x="7158" y="2905"/>
                </a:lnTo>
                <a:lnTo>
                  <a:pt x="7157" y="2908"/>
                </a:lnTo>
                <a:lnTo>
                  <a:pt x="7157" y="2913"/>
                </a:lnTo>
                <a:lnTo>
                  <a:pt x="7157" y="2917"/>
                </a:lnTo>
                <a:lnTo>
                  <a:pt x="7159" y="2922"/>
                </a:lnTo>
                <a:lnTo>
                  <a:pt x="7161" y="2926"/>
                </a:lnTo>
                <a:lnTo>
                  <a:pt x="7164" y="2931"/>
                </a:lnTo>
                <a:lnTo>
                  <a:pt x="7172" y="2940"/>
                </a:lnTo>
                <a:lnTo>
                  <a:pt x="7183" y="2952"/>
                </a:lnTo>
                <a:lnTo>
                  <a:pt x="7210" y="2982"/>
                </a:lnTo>
                <a:lnTo>
                  <a:pt x="7243" y="3014"/>
                </a:lnTo>
                <a:lnTo>
                  <a:pt x="7274" y="3045"/>
                </a:lnTo>
                <a:lnTo>
                  <a:pt x="7276" y="3047"/>
                </a:lnTo>
                <a:lnTo>
                  <a:pt x="7277" y="3049"/>
                </a:lnTo>
                <a:lnTo>
                  <a:pt x="7278" y="3051"/>
                </a:lnTo>
                <a:lnTo>
                  <a:pt x="7278" y="3054"/>
                </a:lnTo>
                <a:lnTo>
                  <a:pt x="7277" y="3060"/>
                </a:lnTo>
                <a:lnTo>
                  <a:pt x="7276" y="3062"/>
                </a:lnTo>
                <a:lnTo>
                  <a:pt x="7275" y="3065"/>
                </a:lnTo>
                <a:lnTo>
                  <a:pt x="7271" y="3071"/>
                </a:lnTo>
                <a:lnTo>
                  <a:pt x="7269" y="3074"/>
                </a:lnTo>
                <a:lnTo>
                  <a:pt x="7267" y="3076"/>
                </a:lnTo>
                <a:lnTo>
                  <a:pt x="7261" y="3081"/>
                </a:lnTo>
                <a:lnTo>
                  <a:pt x="7259" y="3083"/>
                </a:lnTo>
                <a:lnTo>
                  <a:pt x="7256" y="3085"/>
                </a:lnTo>
                <a:lnTo>
                  <a:pt x="7250" y="3087"/>
                </a:lnTo>
                <a:lnTo>
                  <a:pt x="7247" y="3088"/>
                </a:lnTo>
                <a:lnTo>
                  <a:pt x="7244" y="3088"/>
                </a:lnTo>
                <a:close/>
                <a:moveTo>
                  <a:pt x="7605" y="1136"/>
                </a:moveTo>
                <a:lnTo>
                  <a:pt x="7597" y="1136"/>
                </a:lnTo>
                <a:lnTo>
                  <a:pt x="7588" y="1135"/>
                </a:lnTo>
                <a:lnTo>
                  <a:pt x="7581" y="1134"/>
                </a:lnTo>
                <a:lnTo>
                  <a:pt x="7574" y="1132"/>
                </a:lnTo>
                <a:lnTo>
                  <a:pt x="7566" y="1131"/>
                </a:lnTo>
                <a:lnTo>
                  <a:pt x="7559" y="1128"/>
                </a:lnTo>
                <a:lnTo>
                  <a:pt x="7546" y="1122"/>
                </a:lnTo>
                <a:lnTo>
                  <a:pt x="7533" y="1115"/>
                </a:lnTo>
                <a:lnTo>
                  <a:pt x="7525" y="1110"/>
                </a:lnTo>
                <a:lnTo>
                  <a:pt x="7519" y="1105"/>
                </a:lnTo>
                <a:lnTo>
                  <a:pt x="7513" y="1101"/>
                </a:lnTo>
                <a:lnTo>
                  <a:pt x="7508" y="1095"/>
                </a:lnTo>
                <a:lnTo>
                  <a:pt x="7502" y="1090"/>
                </a:lnTo>
                <a:lnTo>
                  <a:pt x="7497" y="1084"/>
                </a:lnTo>
                <a:lnTo>
                  <a:pt x="7492" y="1078"/>
                </a:lnTo>
                <a:lnTo>
                  <a:pt x="7487" y="1072"/>
                </a:lnTo>
                <a:lnTo>
                  <a:pt x="7483" y="1065"/>
                </a:lnTo>
                <a:lnTo>
                  <a:pt x="7479" y="1058"/>
                </a:lnTo>
                <a:lnTo>
                  <a:pt x="7475" y="1050"/>
                </a:lnTo>
                <a:lnTo>
                  <a:pt x="7471" y="1043"/>
                </a:lnTo>
                <a:lnTo>
                  <a:pt x="7467" y="1035"/>
                </a:lnTo>
                <a:lnTo>
                  <a:pt x="7464" y="1027"/>
                </a:lnTo>
                <a:lnTo>
                  <a:pt x="7461" y="1020"/>
                </a:lnTo>
                <a:lnTo>
                  <a:pt x="7459" y="1011"/>
                </a:lnTo>
                <a:lnTo>
                  <a:pt x="7457" y="1003"/>
                </a:lnTo>
                <a:lnTo>
                  <a:pt x="7455" y="994"/>
                </a:lnTo>
                <a:lnTo>
                  <a:pt x="7454" y="985"/>
                </a:lnTo>
                <a:lnTo>
                  <a:pt x="7453" y="976"/>
                </a:lnTo>
                <a:lnTo>
                  <a:pt x="7452" y="967"/>
                </a:lnTo>
                <a:lnTo>
                  <a:pt x="7452" y="958"/>
                </a:lnTo>
                <a:lnTo>
                  <a:pt x="7453" y="939"/>
                </a:lnTo>
                <a:lnTo>
                  <a:pt x="7454" y="929"/>
                </a:lnTo>
                <a:lnTo>
                  <a:pt x="7455" y="920"/>
                </a:lnTo>
                <a:lnTo>
                  <a:pt x="7457" y="911"/>
                </a:lnTo>
                <a:lnTo>
                  <a:pt x="7459" y="902"/>
                </a:lnTo>
                <a:lnTo>
                  <a:pt x="7462" y="893"/>
                </a:lnTo>
                <a:lnTo>
                  <a:pt x="7465" y="884"/>
                </a:lnTo>
                <a:lnTo>
                  <a:pt x="7468" y="876"/>
                </a:lnTo>
                <a:lnTo>
                  <a:pt x="7472" y="867"/>
                </a:lnTo>
                <a:lnTo>
                  <a:pt x="7476" y="859"/>
                </a:lnTo>
                <a:lnTo>
                  <a:pt x="7480" y="851"/>
                </a:lnTo>
                <a:lnTo>
                  <a:pt x="7485" y="843"/>
                </a:lnTo>
                <a:lnTo>
                  <a:pt x="7489" y="836"/>
                </a:lnTo>
                <a:lnTo>
                  <a:pt x="7499" y="822"/>
                </a:lnTo>
                <a:lnTo>
                  <a:pt x="7505" y="816"/>
                </a:lnTo>
                <a:lnTo>
                  <a:pt x="7511" y="809"/>
                </a:lnTo>
                <a:lnTo>
                  <a:pt x="7523" y="797"/>
                </a:lnTo>
                <a:lnTo>
                  <a:pt x="7529" y="792"/>
                </a:lnTo>
                <a:lnTo>
                  <a:pt x="7537" y="787"/>
                </a:lnTo>
                <a:lnTo>
                  <a:pt x="7544" y="783"/>
                </a:lnTo>
                <a:lnTo>
                  <a:pt x="7551" y="779"/>
                </a:lnTo>
                <a:lnTo>
                  <a:pt x="7558" y="775"/>
                </a:lnTo>
                <a:lnTo>
                  <a:pt x="7566" y="772"/>
                </a:lnTo>
                <a:lnTo>
                  <a:pt x="7573" y="769"/>
                </a:lnTo>
                <a:lnTo>
                  <a:pt x="7581" y="767"/>
                </a:lnTo>
                <a:lnTo>
                  <a:pt x="7589" y="765"/>
                </a:lnTo>
                <a:lnTo>
                  <a:pt x="7598" y="764"/>
                </a:lnTo>
                <a:lnTo>
                  <a:pt x="7606" y="763"/>
                </a:lnTo>
                <a:lnTo>
                  <a:pt x="7614" y="763"/>
                </a:lnTo>
                <a:lnTo>
                  <a:pt x="7625" y="763"/>
                </a:lnTo>
                <a:lnTo>
                  <a:pt x="7630" y="764"/>
                </a:lnTo>
                <a:lnTo>
                  <a:pt x="7635" y="765"/>
                </a:lnTo>
                <a:lnTo>
                  <a:pt x="7644" y="767"/>
                </a:lnTo>
                <a:lnTo>
                  <a:pt x="7653" y="770"/>
                </a:lnTo>
                <a:lnTo>
                  <a:pt x="7662" y="774"/>
                </a:lnTo>
                <a:lnTo>
                  <a:pt x="7669" y="779"/>
                </a:lnTo>
                <a:lnTo>
                  <a:pt x="7676" y="785"/>
                </a:lnTo>
                <a:lnTo>
                  <a:pt x="7679" y="788"/>
                </a:lnTo>
                <a:lnTo>
                  <a:pt x="7682" y="791"/>
                </a:lnTo>
                <a:lnTo>
                  <a:pt x="7682" y="925"/>
                </a:lnTo>
                <a:lnTo>
                  <a:pt x="7677" y="933"/>
                </a:lnTo>
                <a:lnTo>
                  <a:pt x="7671" y="939"/>
                </a:lnTo>
                <a:lnTo>
                  <a:pt x="7665" y="945"/>
                </a:lnTo>
                <a:lnTo>
                  <a:pt x="7659" y="951"/>
                </a:lnTo>
                <a:lnTo>
                  <a:pt x="7653" y="957"/>
                </a:lnTo>
                <a:lnTo>
                  <a:pt x="7645" y="962"/>
                </a:lnTo>
                <a:lnTo>
                  <a:pt x="7638" y="966"/>
                </a:lnTo>
                <a:lnTo>
                  <a:pt x="7631" y="971"/>
                </a:lnTo>
                <a:lnTo>
                  <a:pt x="7623" y="975"/>
                </a:lnTo>
                <a:lnTo>
                  <a:pt x="7615" y="978"/>
                </a:lnTo>
                <a:lnTo>
                  <a:pt x="7608" y="981"/>
                </a:lnTo>
                <a:lnTo>
                  <a:pt x="7600" y="984"/>
                </a:lnTo>
                <a:lnTo>
                  <a:pt x="7591" y="986"/>
                </a:lnTo>
                <a:lnTo>
                  <a:pt x="7582" y="987"/>
                </a:lnTo>
                <a:lnTo>
                  <a:pt x="7574" y="988"/>
                </a:lnTo>
                <a:lnTo>
                  <a:pt x="7566" y="988"/>
                </a:lnTo>
                <a:lnTo>
                  <a:pt x="7561" y="988"/>
                </a:lnTo>
                <a:lnTo>
                  <a:pt x="7556" y="986"/>
                </a:lnTo>
                <a:lnTo>
                  <a:pt x="7551" y="983"/>
                </a:lnTo>
                <a:lnTo>
                  <a:pt x="7549" y="981"/>
                </a:lnTo>
                <a:lnTo>
                  <a:pt x="7547" y="979"/>
                </a:lnTo>
                <a:lnTo>
                  <a:pt x="7544" y="974"/>
                </a:lnTo>
                <a:lnTo>
                  <a:pt x="7542" y="969"/>
                </a:lnTo>
                <a:lnTo>
                  <a:pt x="7541" y="966"/>
                </a:lnTo>
                <a:lnTo>
                  <a:pt x="7540" y="963"/>
                </a:lnTo>
                <a:lnTo>
                  <a:pt x="7540" y="957"/>
                </a:lnTo>
                <a:lnTo>
                  <a:pt x="7540" y="954"/>
                </a:lnTo>
                <a:lnTo>
                  <a:pt x="7540" y="951"/>
                </a:lnTo>
                <a:lnTo>
                  <a:pt x="7541" y="947"/>
                </a:lnTo>
                <a:lnTo>
                  <a:pt x="7542" y="944"/>
                </a:lnTo>
                <a:lnTo>
                  <a:pt x="7544" y="943"/>
                </a:lnTo>
                <a:lnTo>
                  <a:pt x="7545" y="941"/>
                </a:lnTo>
                <a:lnTo>
                  <a:pt x="7547" y="940"/>
                </a:lnTo>
                <a:lnTo>
                  <a:pt x="7558" y="938"/>
                </a:lnTo>
                <a:lnTo>
                  <a:pt x="7568" y="935"/>
                </a:lnTo>
                <a:lnTo>
                  <a:pt x="7578" y="932"/>
                </a:lnTo>
                <a:lnTo>
                  <a:pt x="7588" y="927"/>
                </a:lnTo>
                <a:lnTo>
                  <a:pt x="7598" y="922"/>
                </a:lnTo>
                <a:lnTo>
                  <a:pt x="7606" y="917"/>
                </a:lnTo>
                <a:lnTo>
                  <a:pt x="7614" y="912"/>
                </a:lnTo>
                <a:lnTo>
                  <a:pt x="7618" y="909"/>
                </a:lnTo>
                <a:lnTo>
                  <a:pt x="7622" y="906"/>
                </a:lnTo>
                <a:lnTo>
                  <a:pt x="7628" y="900"/>
                </a:lnTo>
                <a:lnTo>
                  <a:pt x="7634" y="893"/>
                </a:lnTo>
                <a:lnTo>
                  <a:pt x="7639" y="886"/>
                </a:lnTo>
                <a:lnTo>
                  <a:pt x="7643" y="880"/>
                </a:lnTo>
                <a:lnTo>
                  <a:pt x="7646" y="873"/>
                </a:lnTo>
                <a:lnTo>
                  <a:pt x="7649" y="865"/>
                </a:lnTo>
                <a:lnTo>
                  <a:pt x="7651" y="857"/>
                </a:lnTo>
                <a:lnTo>
                  <a:pt x="7652" y="850"/>
                </a:lnTo>
                <a:lnTo>
                  <a:pt x="7651" y="842"/>
                </a:lnTo>
                <a:lnTo>
                  <a:pt x="7648" y="835"/>
                </a:lnTo>
                <a:lnTo>
                  <a:pt x="7646" y="832"/>
                </a:lnTo>
                <a:lnTo>
                  <a:pt x="7645" y="829"/>
                </a:lnTo>
                <a:lnTo>
                  <a:pt x="7642" y="826"/>
                </a:lnTo>
                <a:lnTo>
                  <a:pt x="7640" y="823"/>
                </a:lnTo>
                <a:lnTo>
                  <a:pt x="7634" y="819"/>
                </a:lnTo>
                <a:lnTo>
                  <a:pt x="7631" y="817"/>
                </a:lnTo>
                <a:lnTo>
                  <a:pt x="7627" y="816"/>
                </a:lnTo>
                <a:lnTo>
                  <a:pt x="7619" y="814"/>
                </a:lnTo>
                <a:lnTo>
                  <a:pt x="7615" y="814"/>
                </a:lnTo>
                <a:lnTo>
                  <a:pt x="7610" y="814"/>
                </a:lnTo>
                <a:lnTo>
                  <a:pt x="7602" y="814"/>
                </a:lnTo>
                <a:lnTo>
                  <a:pt x="7597" y="815"/>
                </a:lnTo>
                <a:lnTo>
                  <a:pt x="7593" y="816"/>
                </a:lnTo>
                <a:lnTo>
                  <a:pt x="7587" y="818"/>
                </a:lnTo>
                <a:lnTo>
                  <a:pt x="7583" y="820"/>
                </a:lnTo>
                <a:lnTo>
                  <a:pt x="7579" y="822"/>
                </a:lnTo>
                <a:lnTo>
                  <a:pt x="7574" y="825"/>
                </a:lnTo>
                <a:lnTo>
                  <a:pt x="7570" y="827"/>
                </a:lnTo>
                <a:lnTo>
                  <a:pt x="7566" y="830"/>
                </a:lnTo>
                <a:lnTo>
                  <a:pt x="7557" y="838"/>
                </a:lnTo>
                <a:lnTo>
                  <a:pt x="7550" y="846"/>
                </a:lnTo>
                <a:lnTo>
                  <a:pt x="7542" y="855"/>
                </a:lnTo>
                <a:lnTo>
                  <a:pt x="7539" y="859"/>
                </a:lnTo>
                <a:lnTo>
                  <a:pt x="7535" y="865"/>
                </a:lnTo>
                <a:lnTo>
                  <a:pt x="7528" y="876"/>
                </a:lnTo>
                <a:lnTo>
                  <a:pt x="7523" y="888"/>
                </a:lnTo>
                <a:lnTo>
                  <a:pt x="7518" y="900"/>
                </a:lnTo>
                <a:lnTo>
                  <a:pt x="7514" y="913"/>
                </a:lnTo>
                <a:lnTo>
                  <a:pt x="7511" y="926"/>
                </a:lnTo>
                <a:lnTo>
                  <a:pt x="7509" y="941"/>
                </a:lnTo>
                <a:lnTo>
                  <a:pt x="7509" y="948"/>
                </a:lnTo>
                <a:lnTo>
                  <a:pt x="7509" y="955"/>
                </a:lnTo>
                <a:lnTo>
                  <a:pt x="7509" y="968"/>
                </a:lnTo>
                <a:lnTo>
                  <a:pt x="7511" y="980"/>
                </a:lnTo>
                <a:lnTo>
                  <a:pt x="7513" y="993"/>
                </a:lnTo>
                <a:lnTo>
                  <a:pt x="7514" y="998"/>
                </a:lnTo>
                <a:lnTo>
                  <a:pt x="7516" y="1004"/>
                </a:lnTo>
                <a:lnTo>
                  <a:pt x="7519" y="1014"/>
                </a:lnTo>
                <a:lnTo>
                  <a:pt x="7521" y="1019"/>
                </a:lnTo>
                <a:lnTo>
                  <a:pt x="7524" y="1024"/>
                </a:lnTo>
                <a:lnTo>
                  <a:pt x="7526" y="1029"/>
                </a:lnTo>
                <a:lnTo>
                  <a:pt x="7529" y="1033"/>
                </a:lnTo>
                <a:lnTo>
                  <a:pt x="7533" y="1037"/>
                </a:lnTo>
                <a:lnTo>
                  <a:pt x="7536" y="1041"/>
                </a:lnTo>
                <a:lnTo>
                  <a:pt x="7539" y="1045"/>
                </a:lnTo>
                <a:lnTo>
                  <a:pt x="7542" y="1049"/>
                </a:lnTo>
                <a:lnTo>
                  <a:pt x="7550" y="1056"/>
                </a:lnTo>
                <a:lnTo>
                  <a:pt x="7558" y="1062"/>
                </a:lnTo>
                <a:lnTo>
                  <a:pt x="7566" y="1067"/>
                </a:lnTo>
                <a:lnTo>
                  <a:pt x="7575" y="1071"/>
                </a:lnTo>
                <a:lnTo>
                  <a:pt x="7585" y="1073"/>
                </a:lnTo>
                <a:lnTo>
                  <a:pt x="7596" y="1075"/>
                </a:lnTo>
                <a:lnTo>
                  <a:pt x="7601" y="1076"/>
                </a:lnTo>
                <a:lnTo>
                  <a:pt x="7607" y="1076"/>
                </a:lnTo>
                <a:lnTo>
                  <a:pt x="7617" y="1075"/>
                </a:lnTo>
                <a:lnTo>
                  <a:pt x="7622" y="1075"/>
                </a:lnTo>
                <a:lnTo>
                  <a:pt x="7627" y="1074"/>
                </a:lnTo>
                <a:lnTo>
                  <a:pt x="7637" y="1071"/>
                </a:lnTo>
                <a:lnTo>
                  <a:pt x="7646" y="1068"/>
                </a:lnTo>
                <a:lnTo>
                  <a:pt x="7656" y="1064"/>
                </a:lnTo>
                <a:lnTo>
                  <a:pt x="7661" y="1062"/>
                </a:lnTo>
                <a:lnTo>
                  <a:pt x="7665" y="1059"/>
                </a:lnTo>
                <a:lnTo>
                  <a:pt x="7674" y="1054"/>
                </a:lnTo>
                <a:lnTo>
                  <a:pt x="7682" y="1046"/>
                </a:lnTo>
                <a:lnTo>
                  <a:pt x="7682" y="1118"/>
                </a:lnTo>
                <a:lnTo>
                  <a:pt x="7673" y="1122"/>
                </a:lnTo>
                <a:lnTo>
                  <a:pt x="7664" y="1126"/>
                </a:lnTo>
                <a:lnTo>
                  <a:pt x="7655" y="1129"/>
                </a:lnTo>
                <a:lnTo>
                  <a:pt x="7644" y="1131"/>
                </a:lnTo>
                <a:lnTo>
                  <a:pt x="7635" y="1133"/>
                </a:lnTo>
                <a:lnTo>
                  <a:pt x="7625" y="1135"/>
                </a:lnTo>
                <a:lnTo>
                  <a:pt x="7615" y="1136"/>
                </a:lnTo>
                <a:lnTo>
                  <a:pt x="7605" y="1136"/>
                </a:lnTo>
                <a:close/>
                <a:moveTo>
                  <a:pt x="7605" y="2129"/>
                </a:moveTo>
                <a:lnTo>
                  <a:pt x="7597" y="2129"/>
                </a:lnTo>
                <a:lnTo>
                  <a:pt x="7588" y="2128"/>
                </a:lnTo>
                <a:lnTo>
                  <a:pt x="7581" y="2127"/>
                </a:lnTo>
                <a:lnTo>
                  <a:pt x="7574" y="2126"/>
                </a:lnTo>
                <a:lnTo>
                  <a:pt x="7566" y="2124"/>
                </a:lnTo>
                <a:lnTo>
                  <a:pt x="7559" y="2121"/>
                </a:lnTo>
                <a:lnTo>
                  <a:pt x="7546" y="2116"/>
                </a:lnTo>
                <a:lnTo>
                  <a:pt x="7533" y="2108"/>
                </a:lnTo>
                <a:lnTo>
                  <a:pt x="7525" y="2104"/>
                </a:lnTo>
                <a:lnTo>
                  <a:pt x="7519" y="2100"/>
                </a:lnTo>
                <a:lnTo>
                  <a:pt x="7513" y="2095"/>
                </a:lnTo>
                <a:lnTo>
                  <a:pt x="7508" y="2090"/>
                </a:lnTo>
                <a:lnTo>
                  <a:pt x="7502" y="2084"/>
                </a:lnTo>
                <a:lnTo>
                  <a:pt x="7497" y="2078"/>
                </a:lnTo>
                <a:lnTo>
                  <a:pt x="7492" y="2072"/>
                </a:lnTo>
                <a:lnTo>
                  <a:pt x="7487" y="2065"/>
                </a:lnTo>
                <a:lnTo>
                  <a:pt x="7483" y="2058"/>
                </a:lnTo>
                <a:lnTo>
                  <a:pt x="7479" y="2051"/>
                </a:lnTo>
                <a:lnTo>
                  <a:pt x="7475" y="2044"/>
                </a:lnTo>
                <a:lnTo>
                  <a:pt x="7471" y="2037"/>
                </a:lnTo>
                <a:lnTo>
                  <a:pt x="7467" y="2029"/>
                </a:lnTo>
                <a:lnTo>
                  <a:pt x="7464" y="2022"/>
                </a:lnTo>
                <a:lnTo>
                  <a:pt x="7461" y="2014"/>
                </a:lnTo>
                <a:lnTo>
                  <a:pt x="7459" y="2005"/>
                </a:lnTo>
                <a:lnTo>
                  <a:pt x="7457" y="1996"/>
                </a:lnTo>
                <a:lnTo>
                  <a:pt x="7455" y="1988"/>
                </a:lnTo>
                <a:lnTo>
                  <a:pt x="7454" y="1979"/>
                </a:lnTo>
                <a:lnTo>
                  <a:pt x="7453" y="1970"/>
                </a:lnTo>
                <a:lnTo>
                  <a:pt x="7452" y="1961"/>
                </a:lnTo>
                <a:lnTo>
                  <a:pt x="7452" y="1952"/>
                </a:lnTo>
                <a:lnTo>
                  <a:pt x="7453" y="1932"/>
                </a:lnTo>
                <a:lnTo>
                  <a:pt x="7454" y="1923"/>
                </a:lnTo>
                <a:lnTo>
                  <a:pt x="7455" y="1914"/>
                </a:lnTo>
                <a:lnTo>
                  <a:pt x="7457" y="1905"/>
                </a:lnTo>
                <a:lnTo>
                  <a:pt x="7459" y="1896"/>
                </a:lnTo>
                <a:lnTo>
                  <a:pt x="7462" y="1886"/>
                </a:lnTo>
                <a:lnTo>
                  <a:pt x="7465" y="1878"/>
                </a:lnTo>
                <a:lnTo>
                  <a:pt x="7468" y="1869"/>
                </a:lnTo>
                <a:lnTo>
                  <a:pt x="7472" y="1861"/>
                </a:lnTo>
                <a:lnTo>
                  <a:pt x="7476" y="1853"/>
                </a:lnTo>
                <a:lnTo>
                  <a:pt x="7480" y="1845"/>
                </a:lnTo>
                <a:lnTo>
                  <a:pt x="7485" y="1838"/>
                </a:lnTo>
                <a:lnTo>
                  <a:pt x="7489" y="1829"/>
                </a:lnTo>
                <a:lnTo>
                  <a:pt x="7499" y="1815"/>
                </a:lnTo>
                <a:lnTo>
                  <a:pt x="7505" y="1809"/>
                </a:lnTo>
                <a:lnTo>
                  <a:pt x="7511" y="1803"/>
                </a:lnTo>
                <a:lnTo>
                  <a:pt x="7523" y="1791"/>
                </a:lnTo>
                <a:lnTo>
                  <a:pt x="7529" y="1786"/>
                </a:lnTo>
                <a:lnTo>
                  <a:pt x="7537" y="1781"/>
                </a:lnTo>
                <a:lnTo>
                  <a:pt x="7544" y="1777"/>
                </a:lnTo>
                <a:lnTo>
                  <a:pt x="7551" y="1773"/>
                </a:lnTo>
                <a:lnTo>
                  <a:pt x="7558" y="1768"/>
                </a:lnTo>
                <a:lnTo>
                  <a:pt x="7566" y="1765"/>
                </a:lnTo>
                <a:lnTo>
                  <a:pt x="7573" y="1762"/>
                </a:lnTo>
                <a:lnTo>
                  <a:pt x="7581" y="1760"/>
                </a:lnTo>
                <a:lnTo>
                  <a:pt x="7589" y="1758"/>
                </a:lnTo>
                <a:lnTo>
                  <a:pt x="7598" y="1757"/>
                </a:lnTo>
                <a:lnTo>
                  <a:pt x="7606" y="1756"/>
                </a:lnTo>
                <a:lnTo>
                  <a:pt x="7614" y="1756"/>
                </a:lnTo>
                <a:lnTo>
                  <a:pt x="7625" y="1756"/>
                </a:lnTo>
                <a:lnTo>
                  <a:pt x="7630" y="1757"/>
                </a:lnTo>
                <a:lnTo>
                  <a:pt x="7635" y="1758"/>
                </a:lnTo>
                <a:lnTo>
                  <a:pt x="7644" y="1760"/>
                </a:lnTo>
                <a:lnTo>
                  <a:pt x="7653" y="1764"/>
                </a:lnTo>
                <a:lnTo>
                  <a:pt x="7662" y="1768"/>
                </a:lnTo>
                <a:lnTo>
                  <a:pt x="7669" y="1774"/>
                </a:lnTo>
                <a:lnTo>
                  <a:pt x="7676" y="1779"/>
                </a:lnTo>
                <a:lnTo>
                  <a:pt x="7679" y="1782"/>
                </a:lnTo>
                <a:lnTo>
                  <a:pt x="7682" y="1785"/>
                </a:lnTo>
                <a:lnTo>
                  <a:pt x="7682" y="1919"/>
                </a:lnTo>
                <a:lnTo>
                  <a:pt x="7677" y="1926"/>
                </a:lnTo>
                <a:lnTo>
                  <a:pt x="7671" y="1932"/>
                </a:lnTo>
                <a:lnTo>
                  <a:pt x="7665" y="1938"/>
                </a:lnTo>
                <a:lnTo>
                  <a:pt x="7659" y="1944"/>
                </a:lnTo>
                <a:lnTo>
                  <a:pt x="7653" y="1950"/>
                </a:lnTo>
                <a:lnTo>
                  <a:pt x="7645" y="1956"/>
                </a:lnTo>
                <a:lnTo>
                  <a:pt x="7638" y="1961"/>
                </a:lnTo>
                <a:lnTo>
                  <a:pt x="7631" y="1965"/>
                </a:lnTo>
                <a:lnTo>
                  <a:pt x="7623" y="1969"/>
                </a:lnTo>
                <a:lnTo>
                  <a:pt x="7615" y="1972"/>
                </a:lnTo>
                <a:lnTo>
                  <a:pt x="7608" y="1975"/>
                </a:lnTo>
                <a:lnTo>
                  <a:pt x="7600" y="1978"/>
                </a:lnTo>
                <a:lnTo>
                  <a:pt x="7591" y="1980"/>
                </a:lnTo>
                <a:lnTo>
                  <a:pt x="7582" y="1981"/>
                </a:lnTo>
                <a:lnTo>
                  <a:pt x="7574" y="1982"/>
                </a:lnTo>
                <a:lnTo>
                  <a:pt x="7566" y="1982"/>
                </a:lnTo>
                <a:lnTo>
                  <a:pt x="7561" y="1982"/>
                </a:lnTo>
                <a:lnTo>
                  <a:pt x="7556" y="1980"/>
                </a:lnTo>
                <a:lnTo>
                  <a:pt x="7551" y="1977"/>
                </a:lnTo>
                <a:lnTo>
                  <a:pt x="7549" y="1975"/>
                </a:lnTo>
                <a:lnTo>
                  <a:pt x="7547" y="1973"/>
                </a:lnTo>
                <a:lnTo>
                  <a:pt x="7544" y="1969"/>
                </a:lnTo>
                <a:lnTo>
                  <a:pt x="7542" y="1963"/>
                </a:lnTo>
                <a:lnTo>
                  <a:pt x="7541" y="1961"/>
                </a:lnTo>
                <a:lnTo>
                  <a:pt x="7540" y="1958"/>
                </a:lnTo>
                <a:lnTo>
                  <a:pt x="7540" y="1950"/>
                </a:lnTo>
                <a:lnTo>
                  <a:pt x="7540" y="1947"/>
                </a:lnTo>
                <a:lnTo>
                  <a:pt x="7540" y="1945"/>
                </a:lnTo>
                <a:lnTo>
                  <a:pt x="7541" y="1940"/>
                </a:lnTo>
                <a:lnTo>
                  <a:pt x="7542" y="1938"/>
                </a:lnTo>
                <a:lnTo>
                  <a:pt x="7544" y="1936"/>
                </a:lnTo>
                <a:lnTo>
                  <a:pt x="7545" y="1934"/>
                </a:lnTo>
                <a:lnTo>
                  <a:pt x="7547" y="1933"/>
                </a:lnTo>
                <a:lnTo>
                  <a:pt x="7558" y="1931"/>
                </a:lnTo>
                <a:lnTo>
                  <a:pt x="7568" y="1928"/>
                </a:lnTo>
                <a:lnTo>
                  <a:pt x="7578" y="1925"/>
                </a:lnTo>
                <a:lnTo>
                  <a:pt x="7588" y="1921"/>
                </a:lnTo>
                <a:lnTo>
                  <a:pt x="7598" y="1917"/>
                </a:lnTo>
                <a:lnTo>
                  <a:pt x="7606" y="1911"/>
                </a:lnTo>
                <a:lnTo>
                  <a:pt x="7614" y="1906"/>
                </a:lnTo>
                <a:lnTo>
                  <a:pt x="7618" y="1903"/>
                </a:lnTo>
                <a:lnTo>
                  <a:pt x="7622" y="1900"/>
                </a:lnTo>
                <a:lnTo>
                  <a:pt x="7628" y="1894"/>
                </a:lnTo>
                <a:lnTo>
                  <a:pt x="7634" y="1886"/>
                </a:lnTo>
                <a:lnTo>
                  <a:pt x="7639" y="1880"/>
                </a:lnTo>
                <a:lnTo>
                  <a:pt x="7643" y="1873"/>
                </a:lnTo>
                <a:lnTo>
                  <a:pt x="7646" y="1866"/>
                </a:lnTo>
                <a:lnTo>
                  <a:pt x="7649" y="1859"/>
                </a:lnTo>
                <a:lnTo>
                  <a:pt x="7651" y="1852"/>
                </a:lnTo>
                <a:lnTo>
                  <a:pt x="7652" y="1845"/>
                </a:lnTo>
                <a:lnTo>
                  <a:pt x="7651" y="1837"/>
                </a:lnTo>
                <a:lnTo>
                  <a:pt x="7648" y="1828"/>
                </a:lnTo>
                <a:lnTo>
                  <a:pt x="7646" y="1825"/>
                </a:lnTo>
                <a:lnTo>
                  <a:pt x="7645" y="1822"/>
                </a:lnTo>
                <a:lnTo>
                  <a:pt x="7642" y="1819"/>
                </a:lnTo>
                <a:lnTo>
                  <a:pt x="7640" y="1817"/>
                </a:lnTo>
                <a:lnTo>
                  <a:pt x="7634" y="1812"/>
                </a:lnTo>
                <a:lnTo>
                  <a:pt x="7631" y="1811"/>
                </a:lnTo>
                <a:lnTo>
                  <a:pt x="7627" y="1809"/>
                </a:lnTo>
                <a:lnTo>
                  <a:pt x="7619" y="1807"/>
                </a:lnTo>
                <a:lnTo>
                  <a:pt x="7615" y="1807"/>
                </a:lnTo>
                <a:lnTo>
                  <a:pt x="7610" y="1807"/>
                </a:lnTo>
                <a:lnTo>
                  <a:pt x="7602" y="1807"/>
                </a:lnTo>
                <a:lnTo>
                  <a:pt x="7597" y="1808"/>
                </a:lnTo>
                <a:lnTo>
                  <a:pt x="7593" y="1810"/>
                </a:lnTo>
                <a:lnTo>
                  <a:pt x="7587" y="1811"/>
                </a:lnTo>
                <a:lnTo>
                  <a:pt x="7583" y="1813"/>
                </a:lnTo>
                <a:lnTo>
                  <a:pt x="7579" y="1815"/>
                </a:lnTo>
                <a:lnTo>
                  <a:pt x="7574" y="1818"/>
                </a:lnTo>
                <a:lnTo>
                  <a:pt x="7570" y="1821"/>
                </a:lnTo>
                <a:lnTo>
                  <a:pt x="7566" y="1824"/>
                </a:lnTo>
                <a:lnTo>
                  <a:pt x="7557" y="1832"/>
                </a:lnTo>
                <a:lnTo>
                  <a:pt x="7550" y="1840"/>
                </a:lnTo>
                <a:lnTo>
                  <a:pt x="7542" y="1849"/>
                </a:lnTo>
                <a:lnTo>
                  <a:pt x="7539" y="1854"/>
                </a:lnTo>
                <a:lnTo>
                  <a:pt x="7535" y="1859"/>
                </a:lnTo>
                <a:lnTo>
                  <a:pt x="7528" y="1870"/>
                </a:lnTo>
                <a:lnTo>
                  <a:pt x="7523" y="1881"/>
                </a:lnTo>
                <a:lnTo>
                  <a:pt x="7518" y="1894"/>
                </a:lnTo>
                <a:lnTo>
                  <a:pt x="7514" y="1907"/>
                </a:lnTo>
                <a:lnTo>
                  <a:pt x="7511" y="1920"/>
                </a:lnTo>
                <a:lnTo>
                  <a:pt x="7509" y="1934"/>
                </a:lnTo>
                <a:lnTo>
                  <a:pt x="7509" y="1941"/>
                </a:lnTo>
                <a:lnTo>
                  <a:pt x="7509" y="1948"/>
                </a:lnTo>
                <a:lnTo>
                  <a:pt x="7509" y="1962"/>
                </a:lnTo>
                <a:lnTo>
                  <a:pt x="7511" y="1974"/>
                </a:lnTo>
                <a:lnTo>
                  <a:pt x="7513" y="1986"/>
                </a:lnTo>
                <a:lnTo>
                  <a:pt x="7514" y="1991"/>
                </a:lnTo>
                <a:lnTo>
                  <a:pt x="7516" y="1997"/>
                </a:lnTo>
                <a:lnTo>
                  <a:pt x="7519" y="2007"/>
                </a:lnTo>
                <a:lnTo>
                  <a:pt x="7521" y="2013"/>
                </a:lnTo>
                <a:lnTo>
                  <a:pt x="7524" y="2018"/>
                </a:lnTo>
                <a:lnTo>
                  <a:pt x="7526" y="2023"/>
                </a:lnTo>
                <a:lnTo>
                  <a:pt x="7529" y="2027"/>
                </a:lnTo>
                <a:lnTo>
                  <a:pt x="7533" y="2031"/>
                </a:lnTo>
                <a:lnTo>
                  <a:pt x="7536" y="2035"/>
                </a:lnTo>
                <a:lnTo>
                  <a:pt x="7539" y="2039"/>
                </a:lnTo>
                <a:lnTo>
                  <a:pt x="7542" y="2043"/>
                </a:lnTo>
                <a:lnTo>
                  <a:pt x="7550" y="2050"/>
                </a:lnTo>
                <a:lnTo>
                  <a:pt x="7558" y="2055"/>
                </a:lnTo>
                <a:lnTo>
                  <a:pt x="7566" y="2060"/>
                </a:lnTo>
                <a:lnTo>
                  <a:pt x="7575" y="2064"/>
                </a:lnTo>
                <a:lnTo>
                  <a:pt x="7585" y="2067"/>
                </a:lnTo>
                <a:lnTo>
                  <a:pt x="7596" y="2068"/>
                </a:lnTo>
                <a:lnTo>
                  <a:pt x="7601" y="2069"/>
                </a:lnTo>
                <a:lnTo>
                  <a:pt x="7607" y="2069"/>
                </a:lnTo>
                <a:lnTo>
                  <a:pt x="7617" y="2068"/>
                </a:lnTo>
                <a:lnTo>
                  <a:pt x="7622" y="2068"/>
                </a:lnTo>
                <a:lnTo>
                  <a:pt x="7627" y="2067"/>
                </a:lnTo>
                <a:lnTo>
                  <a:pt x="7637" y="2065"/>
                </a:lnTo>
                <a:lnTo>
                  <a:pt x="7646" y="2061"/>
                </a:lnTo>
                <a:lnTo>
                  <a:pt x="7656" y="2057"/>
                </a:lnTo>
                <a:lnTo>
                  <a:pt x="7661" y="2055"/>
                </a:lnTo>
                <a:lnTo>
                  <a:pt x="7665" y="2052"/>
                </a:lnTo>
                <a:lnTo>
                  <a:pt x="7674" y="2047"/>
                </a:lnTo>
                <a:lnTo>
                  <a:pt x="7682" y="2040"/>
                </a:lnTo>
                <a:lnTo>
                  <a:pt x="7682" y="2111"/>
                </a:lnTo>
                <a:lnTo>
                  <a:pt x="7673" y="2115"/>
                </a:lnTo>
                <a:lnTo>
                  <a:pt x="7664" y="2119"/>
                </a:lnTo>
                <a:lnTo>
                  <a:pt x="7655" y="2122"/>
                </a:lnTo>
                <a:lnTo>
                  <a:pt x="7644" y="2125"/>
                </a:lnTo>
                <a:lnTo>
                  <a:pt x="7635" y="2127"/>
                </a:lnTo>
                <a:lnTo>
                  <a:pt x="7625" y="2128"/>
                </a:lnTo>
                <a:lnTo>
                  <a:pt x="7615" y="2129"/>
                </a:lnTo>
                <a:lnTo>
                  <a:pt x="7605" y="2129"/>
                </a:lnTo>
                <a:close/>
                <a:moveTo>
                  <a:pt x="7605" y="3095"/>
                </a:moveTo>
                <a:lnTo>
                  <a:pt x="7597" y="3094"/>
                </a:lnTo>
                <a:lnTo>
                  <a:pt x="7588" y="3094"/>
                </a:lnTo>
                <a:lnTo>
                  <a:pt x="7581" y="3093"/>
                </a:lnTo>
                <a:lnTo>
                  <a:pt x="7574" y="3090"/>
                </a:lnTo>
                <a:lnTo>
                  <a:pt x="7566" y="3088"/>
                </a:lnTo>
                <a:lnTo>
                  <a:pt x="7559" y="3086"/>
                </a:lnTo>
                <a:lnTo>
                  <a:pt x="7546" y="3080"/>
                </a:lnTo>
                <a:lnTo>
                  <a:pt x="7533" y="3073"/>
                </a:lnTo>
                <a:lnTo>
                  <a:pt x="7525" y="3069"/>
                </a:lnTo>
                <a:lnTo>
                  <a:pt x="7519" y="3064"/>
                </a:lnTo>
                <a:lnTo>
                  <a:pt x="7513" y="3059"/>
                </a:lnTo>
                <a:lnTo>
                  <a:pt x="7508" y="3054"/>
                </a:lnTo>
                <a:lnTo>
                  <a:pt x="7502" y="3049"/>
                </a:lnTo>
                <a:lnTo>
                  <a:pt x="7497" y="3043"/>
                </a:lnTo>
                <a:lnTo>
                  <a:pt x="7492" y="3037"/>
                </a:lnTo>
                <a:lnTo>
                  <a:pt x="7487" y="3029"/>
                </a:lnTo>
                <a:lnTo>
                  <a:pt x="7483" y="3023"/>
                </a:lnTo>
                <a:lnTo>
                  <a:pt x="7479" y="3016"/>
                </a:lnTo>
                <a:lnTo>
                  <a:pt x="7475" y="3009"/>
                </a:lnTo>
                <a:lnTo>
                  <a:pt x="7471" y="3001"/>
                </a:lnTo>
                <a:lnTo>
                  <a:pt x="7467" y="2994"/>
                </a:lnTo>
                <a:lnTo>
                  <a:pt x="7464" y="2986"/>
                </a:lnTo>
                <a:lnTo>
                  <a:pt x="7461" y="2978"/>
                </a:lnTo>
                <a:lnTo>
                  <a:pt x="7459" y="2969"/>
                </a:lnTo>
                <a:lnTo>
                  <a:pt x="7457" y="2961"/>
                </a:lnTo>
                <a:lnTo>
                  <a:pt x="7455" y="2952"/>
                </a:lnTo>
                <a:lnTo>
                  <a:pt x="7454" y="2943"/>
                </a:lnTo>
                <a:lnTo>
                  <a:pt x="7453" y="2934"/>
                </a:lnTo>
                <a:lnTo>
                  <a:pt x="7452" y="2925"/>
                </a:lnTo>
                <a:lnTo>
                  <a:pt x="7452" y="2916"/>
                </a:lnTo>
                <a:lnTo>
                  <a:pt x="7453" y="2897"/>
                </a:lnTo>
                <a:lnTo>
                  <a:pt x="7454" y="2887"/>
                </a:lnTo>
                <a:lnTo>
                  <a:pt x="7455" y="2878"/>
                </a:lnTo>
                <a:lnTo>
                  <a:pt x="7457" y="2869"/>
                </a:lnTo>
                <a:lnTo>
                  <a:pt x="7459" y="2860"/>
                </a:lnTo>
                <a:lnTo>
                  <a:pt x="7462" y="2852"/>
                </a:lnTo>
                <a:lnTo>
                  <a:pt x="7465" y="2842"/>
                </a:lnTo>
                <a:lnTo>
                  <a:pt x="7468" y="2834"/>
                </a:lnTo>
                <a:lnTo>
                  <a:pt x="7472" y="2825"/>
                </a:lnTo>
                <a:lnTo>
                  <a:pt x="7476" y="2817"/>
                </a:lnTo>
                <a:lnTo>
                  <a:pt x="7480" y="2810"/>
                </a:lnTo>
                <a:lnTo>
                  <a:pt x="7485" y="2802"/>
                </a:lnTo>
                <a:lnTo>
                  <a:pt x="7489" y="2795"/>
                </a:lnTo>
                <a:lnTo>
                  <a:pt x="7499" y="2780"/>
                </a:lnTo>
                <a:lnTo>
                  <a:pt x="7505" y="2773"/>
                </a:lnTo>
                <a:lnTo>
                  <a:pt x="7511" y="2767"/>
                </a:lnTo>
                <a:lnTo>
                  <a:pt x="7523" y="2756"/>
                </a:lnTo>
                <a:lnTo>
                  <a:pt x="7529" y="2751"/>
                </a:lnTo>
                <a:lnTo>
                  <a:pt x="7537" y="2746"/>
                </a:lnTo>
                <a:lnTo>
                  <a:pt x="7544" y="2741"/>
                </a:lnTo>
                <a:lnTo>
                  <a:pt x="7551" y="2737"/>
                </a:lnTo>
                <a:lnTo>
                  <a:pt x="7558" y="2734"/>
                </a:lnTo>
                <a:lnTo>
                  <a:pt x="7566" y="2730"/>
                </a:lnTo>
                <a:lnTo>
                  <a:pt x="7573" y="2727"/>
                </a:lnTo>
                <a:lnTo>
                  <a:pt x="7581" y="2725"/>
                </a:lnTo>
                <a:lnTo>
                  <a:pt x="7589" y="2723"/>
                </a:lnTo>
                <a:lnTo>
                  <a:pt x="7598" y="2721"/>
                </a:lnTo>
                <a:lnTo>
                  <a:pt x="7606" y="2721"/>
                </a:lnTo>
                <a:lnTo>
                  <a:pt x="7614" y="2720"/>
                </a:lnTo>
                <a:lnTo>
                  <a:pt x="7625" y="2721"/>
                </a:lnTo>
                <a:lnTo>
                  <a:pt x="7630" y="2722"/>
                </a:lnTo>
                <a:lnTo>
                  <a:pt x="7635" y="2722"/>
                </a:lnTo>
                <a:lnTo>
                  <a:pt x="7644" y="2725"/>
                </a:lnTo>
                <a:lnTo>
                  <a:pt x="7653" y="2728"/>
                </a:lnTo>
                <a:lnTo>
                  <a:pt x="7662" y="2733"/>
                </a:lnTo>
                <a:lnTo>
                  <a:pt x="7669" y="2738"/>
                </a:lnTo>
                <a:lnTo>
                  <a:pt x="7676" y="2744"/>
                </a:lnTo>
                <a:lnTo>
                  <a:pt x="7679" y="2747"/>
                </a:lnTo>
                <a:lnTo>
                  <a:pt x="7682" y="2750"/>
                </a:lnTo>
                <a:lnTo>
                  <a:pt x="7682" y="2884"/>
                </a:lnTo>
                <a:lnTo>
                  <a:pt x="7677" y="2890"/>
                </a:lnTo>
                <a:lnTo>
                  <a:pt x="7671" y="2897"/>
                </a:lnTo>
                <a:lnTo>
                  <a:pt x="7665" y="2903"/>
                </a:lnTo>
                <a:lnTo>
                  <a:pt x="7659" y="2909"/>
                </a:lnTo>
                <a:lnTo>
                  <a:pt x="7653" y="2915"/>
                </a:lnTo>
                <a:lnTo>
                  <a:pt x="7645" y="2920"/>
                </a:lnTo>
                <a:lnTo>
                  <a:pt x="7638" y="2925"/>
                </a:lnTo>
                <a:lnTo>
                  <a:pt x="7631" y="2929"/>
                </a:lnTo>
                <a:lnTo>
                  <a:pt x="7623" y="2933"/>
                </a:lnTo>
                <a:lnTo>
                  <a:pt x="7615" y="2937"/>
                </a:lnTo>
                <a:lnTo>
                  <a:pt x="7608" y="2940"/>
                </a:lnTo>
                <a:lnTo>
                  <a:pt x="7600" y="2942"/>
                </a:lnTo>
                <a:lnTo>
                  <a:pt x="7591" y="2944"/>
                </a:lnTo>
                <a:lnTo>
                  <a:pt x="7582" y="2946"/>
                </a:lnTo>
                <a:lnTo>
                  <a:pt x="7574" y="2947"/>
                </a:lnTo>
                <a:lnTo>
                  <a:pt x="7566" y="2947"/>
                </a:lnTo>
                <a:lnTo>
                  <a:pt x="7561" y="2946"/>
                </a:lnTo>
                <a:lnTo>
                  <a:pt x="7556" y="2944"/>
                </a:lnTo>
                <a:lnTo>
                  <a:pt x="7551" y="2942"/>
                </a:lnTo>
                <a:lnTo>
                  <a:pt x="7549" y="2940"/>
                </a:lnTo>
                <a:lnTo>
                  <a:pt x="7547" y="2938"/>
                </a:lnTo>
                <a:lnTo>
                  <a:pt x="7544" y="2933"/>
                </a:lnTo>
                <a:lnTo>
                  <a:pt x="7542" y="2928"/>
                </a:lnTo>
                <a:lnTo>
                  <a:pt x="7541" y="2925"/>
                </a:lnTo>
                <a:lnTo>
                  <a:pt x="7540" y="2922"/>
                </a:lnTo>
                <a:lnTo>
                  <a:pt x="7540" y="2916"/>
                </a:lnTo>
                <a:lnTo>
                  <a:pt x="7540" y="2913"/>
                </a:lnTo>
                <a:lnTo>
                  <a:pt x="7540" y="2909"/>
                </a:lnTo>
                <a:lnTo>
                  <a:pt x="7541" y="2904"/>
                </a:lnTo>
                <a:lnTo>
                  <a:pt x="7542" y="2902"/>
                </a:lnTo>
                <a:lnTo>
                  <a:pt x="7544" y="2900"/>
                </a:lnTo>
                <a:lnTo>
                  <a:pt x="7545" y="2899"/>
                </a:lnTo>
                <a:lnTo>
                  <a:pt x="7547" y="2897"/>
                </a:lnTo>
                <a:lnTo>
                  <a:pt x="7558" y="2896"/>
                </a:lnTo>
                <a:lnTo>
                  <a:pt x="7568" y="2893"/>
                </a:lnTo>
                <a:lnTo>
                  <a:pt x="7578" y="2890"/>
                </a:lnTo>
                <a:lnTo>
                  <a:pt x="7588" y="2886"/>
                </a:lnTo>
                <a:lnTo>
                  <a:pt x="7598" y="2881"/>
                </a:lnTo>
                <a:lnTo>
                  <a:pt x="7606" y="2876"/>
                </a:lnTo>
                <a:lnTo>
                  <a:pt x="7614" y="2870"/>
                </a:lnTo>
                <a:lnTo>
                  <a:pt x="7618" y="2868"/>
                </a:lnTo>
                <a:lnTo>
                  <a:pt x="7622" y="2865"/>
                </a:lnTo>
                <a:lnTo>
                  <a:pt x="7628" y="2858"/>
                </a:lnTo>
                <a:lnTo>
                  <a:pt x="7634" y="2852"/>
                </a:lnTo>
                <a:lnTo>
                  <a:pt x="7639" y="2844"/>
                </a:lnTo>
                <a:lnTo>
                  <a:pt x="7643" y="2837"/>
                </a:lnTo>
                <a:lnTo>
                  <a:pt x="7646" y="2830"/>
                </a:lnTo>
                <a:lnTo>
                  <a:pt x="7649" y="2823"/>
                </a:lnTo>
                <a:lnTo>
                  <a:pt x="7651" y="2816"/>
                </a:lnTo>
                <a:lnTo>
                  <a:pt x="7652" y="2809"/>
                </a:lnTo>
                <a:lnTo>
                  <a:pt x="7651" y="2801"/>
                </a:lnTo>
                <a:lnTo>
                  <a:pt x="7648" y="2794"/>
                </a:lnTo>
                <a:lnTo>
                  <a:pt x="7646" y="2789"/>
                </a:lnTo>
                <a:lnTo>
                  <a:pt x="7645" y="2786"/>
                </a:lnTo>
                <a:lnTo>
                  <a:pt x="7642" y="2784"/>
                </a:lnTo>
                <a:lnTo>
                  <a:pt x="7640" y="2781"/>
                </a:lnTo>
                <a:lnTo>
                  <a:pt x="7634" y="2777"/>
                </a:lnTo>
                <a:lnTo>
                  <a:pt x="7631" y="2775"/>
                </a:lnTo>
                <a:lnTo>
                  <a:pt x="7627" y="2774"/>
                </a:lnTo>
                <a:lnTo>
                  <a:pt x="7619" y="2772"/>
                </a:lnTo>
                <a:lnTo>
                  <a:pt x="7615" y="2771"/>
                </a:lnTo>
                <a:lnTo>
                  <a:pt x="7610" y="2771"/>
                </a:lnTo>
                <a:lnTo>
                  <a:pt x="7602" y="2772"/>
                </a:lnTo>
                <a:lnTo>
                  <a:pt x="7597" y="2773"/>
                </a:lnTo>
                <a:lnTo>
                  <a:pt x="7593" y="2774"/>
                </a:lnTo>
                <a:lnTo>
                  <a:pt x="7587" y="2776"/>
                </a:lnTo>
                <a:lnTo>
                  <a:pt x="7583" y="2777"/>
                </a:lnTo>
                <a:lnTo>
                  <a:pt x="7579" y="2780"/>
                </a:lnTo>
                <a:lnTo>
                  <a:pt x="7574" y="2782"/>
                </a:lnTo>
                <a:lnTo>
                  <a:pt x="7570" y="2785"/>
                </a:lnTo>
                <a:lnTo>
                  <a:pt x="7566" y="2788"/>
                </a:lnTo>
                <a:lnTo>
                  <a:pt x="7557" y="2796"/>
                </a:lnTo>
                <a:lnTo>
                  <a:pt x="7550" y="2804"/>
                </a:lnTo>
                <a:lnTo>
                  <a:pt x="7542" y="2813"/>
                </a:lnTo>
                <a:lnTo>
                  <a:pt x="7539" y="2818"/>
                </a:lnTo>
                <a:lnTo>
                  <a:pt x="7535" y="2823"/>
                </a:lnTo>
                <a:lnTo>
                  <a:pt x="7528" y="2834"/>
                </a:lnTo>
                <a:lnTo>
                  <a:pt x="7523" y="2845"/>
                </a:lnTo>
                <a:lnTo>
                  <a:pt x="7518" y="2859"/>
                </a:lnTo>
                <a:lnTo>
                  <a:pt x="7514" y="2871"/>
                </a:lnTo>
                <a:lnTo>
                  <a:pt x="7511" y="2885"/>
                </a:lnTo>
                <a:lnTo>
                  <a:pt x="7509" y="2899"/>
                </a:lnTo>
                <a:lnTo>
                  <a:pt x="7509" y="2906"/>
                </a:lnTo>
                <a:lnTo>
                  <a:pt x="7509" y="2914"/>
                </a:lnTo>
                <a:lnTo>
                  <a:pt x="7509" y="2926"/>
                </a:lnTo>
                <a:lnTo>
                  <a:pt x="7511" y="2939"/>
                </a:lnTo>
                <a:lnTo>
                  <a:pt x="7513" y="2950"/>
                </a:lnTo>
                <a:lnTo>
                  <a:pt x="7514" y="2956"/>
                </a:lnTo>
                <a:lnTo>
                  <a:pt x="7516" y="2961"/>
                </a:lnTo>
                <a:lnTo>
                  <a:pt x="7519" y="2973"/>
                </a:lnTo>
                <a:lnTo>
                  <a:pt x="7521" y="2978"/>
                </a:lnTo>
                <a:lnTo>
                  <a:pt x="7524" y="2983"/>
                </a:lnTo>
                <a:lnTo>
                  <a:pt x="7526" y="2987"/>
                </a:lnTo>
                <a:lnTo>
                  <a:pt x="7529" y="2992"/>
                </a:lnTo>
                <a:lnTo>
                  <a:pt x="7533" y="2996"/>
                </a:lnTo>
                <a:lnTo>
                  <a:pt x="7536" y="3000"/>
                </a:lnTo>
                <a:lnTo>
                  <a:pt x="7539" y="3004"/>
                </a:lnTo>
                <a:lnTo>
                  <a:pt x="7542" y="3007"/>
                </a:lnTo>
                <a:lnTo>
                  <a:pt x="7550" y="3014"/>
                </a:lnTo>
                <a:lnTo>
                  <a:pt x="7558" y="3020"/>
                </a:lnTo>
                <a:lnTo>
                  <a:pt x="7566" y="3025"/>
                </a:lnTo>
                <a:lnTo>
                  <a:pt x="7575" y="3028"/>
                </a:lnTo>
                <a:lnTo>
                  <a:pt x="7585" y="3032"/>
                </a:lnTo>
                <a:lnTo>
                  <a:pt x="7596" y="3034"/>
                </a:lnTo>
                <a:lnTo>
                  <a:pt x="7601" y="3034"/>
                </a:lnTo>
                <a:lnTo>
                  <a:pt x="7607" y="3034"/>
                </a:lnTo>
                <a:lnTo>
                  <a:pt x="7617" y="3034"/>
                </a:lnTo>
                <a:lnTo>
                  <a:pt x="7622" y="3033"/>
                </a:lnTo>
                <a:lnTo>
                  <a:pt x="7627" y="3032"/>
                </a:lnTo>
                <a:lnTo>
                  <a:pt x="7637" y="3029"/>
                </a:lnTo>
                <a:lnTo>
                  <a:pt x="7646" y="3026"/>
                </a:lnTo>
                <a:lnTo>
                  <a:pt x="7656" y="3022"/>
                </a:lnTo>
                <a:lnTo>
                  <a:pt x="7661" y="3019"/>
                </a:lnTo>
                <a:lnTo>
                  <a:pt x="7665" y="3017"/>
                </a:lnTo>
                <a:lnTo>
                  <a:pt x="7674" y="3011"/>
                </a:lnTo>
                <a:lnTo>
                  <a:pt x="7682" y="3005"/>
                </a:lnTo>
                <a:lnTo>
                  <a:pt x="7682" y="3076"/>
                </a:lnTo>
                <a:lnTo>
                  <a:pt x="7673" y="3080"/>
                </a:lnTo>
                <a:lnTo>
                  <a:pt x="7664" y="3083"/>
                </a:lnTo>
                <a:lnTo>
                  <a:pt x="7655" y="3086"/>
                </a:lnTo>
                <a:lnTo>
                  <a:pt x="7644" y="3089"/>
                </a:lnTo>
                <a:lnTo>
                  <a:pt x="7635" y="3092"/>
                </a:lnTo>
                <a:lnTo>
                  <a:pt x="7625" y="3093"/>
                </a:lnTo>
                <a:lnTo>
                  <a:pt x="7615" y="3094"/>
                </a:lnTo>
                <a:lnTo>
                  <a:pt x="7605" y="3095"/>
                </a:lnTo>
                <a:close/>
                <a:moveTo>
                  <a:pt x="6389" y="639"/>
                </a:moveTo>
                <a:lnTo>
                  <a:pt x="6382" y="639"/>
                </a:lnTo>
                <a:lnTo>
                  <a:pt x="6374" y="639"/>
                </a:lnTo>
                <a:lnTo>
                  <a:pt x="6367" y="637"/>
                </a:lnTo>
                <a:lnTo>
                  <a:pt x="6359" y="636"/>
                </a:lnTo>
                <a:lnTo>
                  <a:pt x="6352" y="634"/>
                </a:lnTo>
                <a:lnTo>
                  <a:pt x="6345" y="632"/>
                </a:lnTo>
                <a:lnTo>
                  <a:pt x="6331" y="625"/>
                </a:lnTo>
                <a:lnTo>
                  <a:pt x="6317" y="618"/>
                </a:lnTo>
                <a:lnTo>
                  <a:pt x="6311" y="613"/>
                </a:lnTo>
                <a:lnTo>
                  <a:pt x="6305" y="609"/>
                </a:lnTo>
                <a:lnTo>
                  <a:pt x="6299" y="604"/>
                </a:lnTo>
                <a:lnTo>
                  <a:pt x="6293" y="599"/>
                </a:lnTo>
                <a:lnTo>
                  <a:pt x="6288" y="593"/>
                </a:lnTo>
                <a:lnTo>
                  <a:pt x="6283" y="588"/>
                </a:lnTo>
                <a:lnTo>
                  <a:pt x="6278" y="582"/>
                </a:lnTo>
                <a:lnTo>
                  <a:pt x="6273" y="575"/>
                </a:lnTo>
                <a:lnTo>
                  <a:pt x="6268" y="568"/>
                </a:lnTo>
                <a:lnTo>
                  <a:pt x="6264" y="561"/>
                </a:lnTo>
                <a:lnTo>
                  <a:pt x="6260" y="554"/>
                </a:lnTo>
                <a:lnTo>
                  <a:pt x="6256" y="546"/>
                </a:lnTo>
                <a:lnTo>
                  <a:pt x="6253" y="539"/>
                </a:lnTo>
                <a:lnTo>
                  <a:pt x="6250" y="531"/>
                </a:lnTo>
                <a:lnTo>
                  <a:pt x="6247" y="523"/>
                </a:lnTo>
                <a:lnTo>
                  <a:pt x="6245" y="515"/>
                </a:lnTo>
                <a:lnTo>
                  <a:pt x="6243" y="505"/>
                </a:lnTo>
                <a:lnTo>
                  <a:pt x="6241" y="497"/>
                </a:lnTo>
                <a:lnTo>
                  <a:pt x="6240" y="488"/>
                </a:lnTo>
                <a:lnTo>
                  <a:pt x="6239" y="479"/>
                </a:lnTo>
                <a:lnTo>
                  <a:pt x="6238" y="470"/>
                </a:lnTo>
                <a:lnTo>
                  <a:pt x="6238" y="461"/>
                </a:lnTo>
                <a:lnTo>
                  <a:pt x="6239" y="441"/>
                </a:lnTo>
                <a:lnTo>
                  <a:pt x="6240" y="432"/>
                </a:lnTo>
                <a:lnTo>
                  <a:pt x="6241" y="423"/>
                </a:lnTo>
                <a:lnTo>
                  <a:pt x="6243" y="414"/>
                </a:lnTo>
                <a:lnTo>
                  <a:pt x="6245" y="405"/>
                </a:lnTo>
                <a:lnTo>
                  <a:pt x="6247" y="396"/>
                </a:lnTo>
                <a:lnTo>
                  <a:pt x="6250" y="387"/>
                </a:lnTo>
                <a:lnTo>
                  <a:pt x="6253" y="378"/>
                </a:lnTo>
                <a:lnTo>
                  <a:pt x="6257" y="370"/>
                </a:lnTo>
                <a:lnTo>
                  <a:pt x="6261" y="362"/>
                </a:lnTo>
                <a:lnTo>
                  <a:pt x="6265" y="354"/>
                </a:lnTo>
                <a:lnTo>
                  <a:pt x="6269" y="347"/>
                </a:lnTo>
                <a:lnTo>
                  <a:pt x="6275" y="339"/>
                </a:lnTo>
                <a:lnTo>
                  <a:pt x="6285" y="325"/>
                </a:lnTo>
                <a:lnTo>
                  <a:pt x="6291" y="318"/>
                </a:lnTo>
                <a:lnTo>
                  <a:pt x="6296" y="312"/>
                </a:lnTo>
                <a:lnTo>
                  <a:pt x="6309" y="301"/>
                </a:lnTo>
                <a:lnTo>
                  <a:pt x="6315" y="295"/>
                </a:lnTo>
                <a:lnTo>
                  <a:pt x="6322" y="291"/>
                </a:lnTo>
                <a:lnTo>
                  <a:pt x="6329" y="286"/>
                </a:lnTo>
                <a:lnTo>
                  <a:pt x="6337" y="282"/>
                </a:lnTo>
                <a:lnTo>
                  <a:pt x="6344" y="278"/>
                </a:lnTo>
                <a:lnTo>
                  <a:pt x="6351" y="275"/>
                </a:lnTo>
                <a:lnTo>
                  <a:pt x="6359" y="273"/>
                </a:lnTo>
                <a:lnTo>
                  <a:pt x="6367" y="269"/>
                </a:lnTo>
                <a:lnTo>
                  <a:pt x="6375" y="268"/>
                </a:lnTo>
                <a:lnTo>
                  <a:pt x="6383" y="266"/>
                </a:lnTo>
                <a:lnTo>
                  <a:pt x="6392" y="265"/>
                </a:lnTo>
                <a:lnTo>
                  <a:pt x="6400" y="265"/>
                </a:lnTo>
                <a:lnTo>
                  <a:pt x="6410" y="266"/>
                </a:lnTo>
                <a:lnTo>
                  <a:pt x="6415" y="266"/>
                </a:lnTo>
                <a:lnTo>
                  <a:pt x="6420" y="267"/>
                </a:lnTo>
                <a:lnTo>
                  <a:pt x="6424" y="268"/>
                </a:lnTo>
                <a:lnTo>
                  <a:pt x="6429" y="269"/>
                </a:lnTo>
                <a:lnTo>
                  <a:pt x="6437" y="273"/>
                </a:lnTo>
                <a:lnTo>
                  <a:pt x="6445" y="277"/>
                </a:lnTo>
                <a:lnTo>
                  <a:pt x="6454" y="282"/>
                </a:lnTo>
                <a:lnTo>
                  <a:pt x="6460" y="287"/>
                </a:lnTo>
                <a:lnTo>
                  <a:pt x="6466" y="293"/>
                </a:lnTo>
                <a:lnTo>
                  <a:pt x="6469" y="297"/>
                </a:lnTo>
                <a:lnTo>
                  <a:pt x="6472" y="300"/>
                </a:lnTo>
                <a:lnTo>
                  <a:pt x="6476" y="307"/>
                </a:lnTo>
                <a:lnTo>
                  <a:pt x="6480" y="315"/>
                </a:lnTo>
                <a:lnTo>
                  <a:pt x="6484" y="323"/>
                </a:lnTo>
                <a:lnTo>
                  <a:pt x="6486" y="333"/>
                </a:lnTo>
                <a:lnTo>
                  <a:pt x="6488" y="342"/>
                </a:lnTo>
                <a:lnTo>
                  <a:pt x="6489" y="352"/>
                </a:lnTo>
                <a:lnTo>
                  <a:pt x="6490" y="362"/>
                </a:lnTo>
                <a:lnTo>
                  <a:pt x="6489" y="374"/>
                </a:lnTo>
                <a:lnTo>
                  <a:pt x="6488" y="380"/>
                </a:lnTo>
                <a:lnTo>
                  <a:pt x="6487" y="386"/>
                </a:lnTo>
                <a:lnTo>
                  <a:pt x="6483" y="399"/>
                </a:lnTo>
                <a:lnTo>
                  <a:pt x="6478" y="411"/>
                </a:lnTo>
                <a:lnTo>
                  <a:pt x="6472" y="422"/>
                </a:lnTo>
                <a:lnTo>
                  <a:pt x="6464" y="433"/>
                </a:lnTo>
                <a:lnTo>
                  <a:pt x="6460" y="438"/>
                </a:lnTo>
                <a:lnTo>
                  <a:pt x="6456" y="442"/>
                </a:lnTo>
                <a:lnTo>
                  <a:pt x="6446" y="453"/>
                </a:lnTo>
                <a:lnTo>
                  <a:pt x="6436" y="461"/>
                </a:lnTo>
                <a:lnTo>
                  <a:pt x="6431" y="465"/>
                </a:lnTo>
                <a:lnTo>
                  <a:pt x="6425" y="469"/>
                </a:lnTo>
                <a:lnTo>
                  <a:pt x="6414" y="475"/>
                </a:lnTo>
                <a:lnTo>
                  <a:pt x="6402" y="481"/>
                </a:lnTo>
                <a:lnTo>
                  <a:pt x="6389" y="486"/>
                </a:lnTo>
                <a:lnTo>
                  <a:pt x="6383" y="487"/>
                </a:lnTo>
                <a:lnTo>
                  <a:pt x="6377" y="489"/>
                </a:lnTo>
                <a:lnTo>
                  <a:pt x="6371" y="490"/>
                </a:lnTo>
                <a:lnTo>
                  <a:pt x="6364" y="491"/>
                </a:lnTo>
                <a:lnTo>
                  <a:pt x="6352" y="492"/>
                </a:lnTo>
                <a:lnTo>
                  <a:pt x="6346" y="491"/>
                </a:lnTo>
                <a:lnTo>
                  <a:pt x="6341" y="489"/>
                </a:lnTo>
                <a:lnTo>
                  <a:pt x="6337" y="486"/>
                </a:lnTo>
                <a:lnTo>
                  <a:pt x="6335" y="485"/>
                </a:lnTo>
                <a:lnTo>
                  <a:pt x="6333" y="483"/>
                </a:lnTo>
                <a:lnTo>
                  <a:pt x="6329" y="478"/>
                </a:lnTo>
                <a:lnTo>
                  <a:pt x="6327" y="473"/>
                </a:lnTo>
                <a:lnTo>
                  <a:pt x="6326" y="470"/>
                </a:lnTo>
                <a:lnTo>
                  <a:pt x="6325" y="467"/>
                </a:lnTo>
                <a:lnTo>
                  <a:pt x="6325" y="460"/>
                </a:lnTo>
                <a:lnTo>
                  <a:pt x="6325" y="458"/>
                </a:lnTo>
                <a:lnTo>
                  <a:pt x="6325" y="455"/>
                </a:lnTo>
                <a:lnTo>
                  <a:pt x="6326" y="449"/>
                </a:lnTo>
                <a:lnTo>
                  <a:pt x="6327" y="447"/>
                </a:lnTo>
                <a:lnTo>
                  <a:pt x="6328" y="445"/>
                </a:lnTo>
                <a:lnTo>
                  <a:pt x="6331" y="443"/>
                </a:lnTo>
                <a:lnTo>
                  <a:pt x="6333" y="442"/>
                </a:lnTo>
                <a:lnTo>
                  <a:pt x="6344" y="440"/>
                </a:lnTo>
                <a:lnTo>
                  <a:pt x="6354" y="438"/>
                </a:lnTo>
                <a:lnTo>
                  <a:pt x="6364" y="434"/>
                </a:lnTo>
                <a:lnTo>
                  <a:pt x="6374" y="430"/>
                </a:lnTo>
                <a:lnTo>
                  <a:pt x="6383" y="426"/>
                </a:lnTo>
                <a:lnTo>
                  <a:pt x="6392" y="421"/>
                </a:lnTo>
                <a:lnTo>
                  <a:pt x="6400" y="415"/>
                </a:lnTo>
                <a:lnTo>
                  <a:pt x="6404" y="412"/>
                </a:lnTo>
                <a:lnTo>
                  <a:pt x="6407" y="409"/>
                </a:lnTo>
                <a:lnTo>
                  <a:pt x="6414" y="403"/>
                </a:lnTo>
                <a:lnTo>
                  <a:pt x="6420" y="397"/>
                </a:lnTo>
                <a:lnTo>
                  <a:pt x="6425" y="389"/>
                </a:lnTo>
                <a:lnTo>
                  <a:pt x="6429" y="382"/>
                </a:lnTo>
                <a:lnTo>
                  <a:pt x="6432" y="375"/>
                </a:lnTo>
                <a:lnTo>
                  <a:pt x="6434" y="368"/>
                </a:lnTo>
                <a:lnTo>
                  <a:pt x="6436" y="361"/>
                </a:lnTo>
                <a:lnTo>
                  <a:pt x="6436" y="354"/>
                </a:lnTo>
                <a:lnTo>
                  <a:pt x="6436" y="346"/>
                </a:lnTo>
                <a:lnTo>
                  <a:pt x="6434" y="338"/>
                </a:lnTo>
                <a:lnTo>
                  <a:pt x="6432" y="335"/>
                </a:lnTo>
                <a:lnTo>
                  <a:pt x="6430" y="332"/>
                </a:lnTo>
                <a:lnTo>
                  <a:pt x="6428" y="328"/>
                </a:lnTo>
                <a:lnTo>
                  <a:pt x="6426" y="326"/>
                </a:lnTo>
                <a:lnTo>
                  <a:pt x="6420" y="322"/>
                </a:lnTo>
                <a:lnTo>
                  <a:pt x="6417" y="320"/>
                </a:lnTo>
                <a:lnTo>
                  <a:pt x="6413" y="318"/>
                </a:lnTo>
                <a:lnTo>
                  <a:pt x="6405" y="317"/>
                </a:lnTo>
                <a:lnTo>
                  <a:pt x="6401" y="316"/>
                </a:lnTo>
                <a:lnTo>
                  <a:pt x="6396" y="316"/>
                </a:lnTo>
                <a:lnTo>
                  <a:pt x="6386" y="317"/>
                </a:lnTo>
                <a:lnTo>
                  <a:pt x="6382" y="318"/>
                </a:lnTo>
                <a:lnTo>
                  <a:pt x="6378" y="319"/>
                </a:lnTo>
                <a:lnTo>
                  <a:pt x="6373" y="320"/>
                </a:lnTo>
                <a:lnTo>
                  <a:pt x="6369" y="322"/>
                </a:lnTo>
                <a:lnTo>
                  <a:pt x="6364" y="324"/>
                </a:lnTo>
                <a:lnTo>
                  <a:pt x="6360" y="327"/>
                </a:lnTo>
                <a:lnTo>
                  <a:pt x="6356" y="330"/>
                </a:lnTo>
                <a:lnTo>
                  <a:pt x="6351" y="334"/>
                </a:lnTo>
                <a:lnTo>
                  <a:pt x="6343" y="341"/>
                </a:lnTo>
                <a:lnTo>
                  <a:pt x="6335" y="349"/>
                </a:lnTo>
                <a:lnTo>
                  <a:pt x="6327" y="358"/>
                </a:lnTo>
                <a:lnTo>
                  <a:pt x="6323" y="363"/>
                </a:lnTo>
                <a:lnTo>
                  <a:pt x="6320" y="368"/>
                </a:lnTo>
                <a:lnTo>
                  <a:pt x="6314" y="379"/>
                </a:lnTo>
                <a:lnTo>
                  <a:pt x="6308" y="390"/>
                </a:lnTo>
                <a:lnTo>
                  <a:pt x="6304" y="403"/>
                </a:lnTo>
                <a:lnTo>
                  <a:pt x="6300" y="416"/>
                </a:lnTo>
                <a:lnTo>
                  <a:pt x="6297" y="430"/>
                </a:lnTo>
                <a:lnTo>
                  <a:pt x="6295" y="443"/>
                </a:lnTo>
                <a:lnTo>
                  <a:pt x="6295" y="450"/>
                </a:lnTo>
                <a:lnTo>
                  <a:pt x="6295" y="459"/>
                </a:lnTo>
                <a:lnTo>
                  <a:pt x="6295" y="471"/>
                </a:lnTo>
                <a:lnTo>
                  <a:pt x="6296" y="483"/>
                </a:lnTo>
                <a:lnTo>
                  <a:pt x="6298" y="495"/>
                </a:lnTo>
                <a:lnTo>
                  <a:pt x="6300" y="501"/>
                </a:lnTo>
                <a:lnTo>
                  <a:pt x="6301" y="506"/>
                </a:lnTo>
                <a:lnTo>
                  <a:pt x="6305" y="518"/>
                </a:lnTo>
                <a:lnTo>
                  <a:pt x="6307" y="523"/>
                </a:lnTo>
                <a:lnTo>
                  <a:pt x="6310" y="527"/>
                </a:lnTo>
                <a:lnTo>
                  <a:pt x="6312" y="532"/>
                </a:lnTo>
                <a:lnTo>
                  <a:pt x="6315" y="536"/>
                </a:lnTo>
                <a:lnTo>
                  <a:pt x="6318" y="541"/>
                </a:lnTo>
                <a:lnTo>
                  <a:pt x="6321" y="545"/>
                </a:lnTo>
                <a:lnTo>
                  <a:pt x="6324" y="548"/>
                </a:lnTo>
                <a:lnTo>
                  <a:pt x="6327" y="552"/>
                </a:lnTo>
                <a:lnTo>
                  <a:pt x="6335" y="559"/>
                </a:lnTo>
                <a:lnTo>
                  <a:pt x="6343" y="564"/>
                </a:lnTo>
                <a:lnTo>
                  <a:pt x="6352" y="569"/>
                </a:lnTo>
                <a:lnTo>
                  <a:pt x="6361" y="574"/>
                </a:lnTo>
                <a:lnTo>
                  <a:pt x="6371" y="577"/>
                </a:lnTo>
                <a:lnTo>
                  <a:pt x="6381" y="579"/>
                </a:lnTo>
                <a:lnTo>
                  <a:pt x="6386" y="579"/>
                </a:lnTo>
                <a:lnTo>
                  <a:pt x="6392" y="579"/>
                </a:lnTo>
                <a:lnTo>
                  <a:pt x="6403" y="579"/>
                </a:lnTo>
                <a:lnTo>
                  <a:pt x="6413" y="577"/>
                </a:lnTo>
                <a:lnTo>
                  <a:pt x="6423" y="575"/>
                </a:lnTo>
                <a:lnTo>
                  <a:pt x="6433" y="570"/>
                </a:lnTo>
                <a:lnTo>
                  <a:pt x="6442" y="566"/>
                </a:lnTo>
                <a:lnTo>
                  <a:pt x="6452" y="561"/>
                </a:lnTo>
                <a:lnTo>
                  <a:pt x="6460" y="555"/>
                </a:lnTo>
                <a:lnTo>
                  <a:pt x="6469" y="549"/>
                </a:lnTo>
                <a:lnTo>
                  <a:pt x="6477" y="541"/>
                </a:lnTo>
                <a:lnTo>
                  <a:pt x="6484" y="534"/>
                </a:lnTo>
                <a:lnTo>
                  <a:pt x="6492" y="525"/>
                </a:lnTo>
                <a:lnTo>
                  <a:pt x="6499" y="516"/>
                </a:lnTo>
                <a:lnTo>
                  <a:pt x="6512" y="496"/>
                </a:lnTo>
                <a:lnTo>
                  <a:pt x="6518" y="485"/>
                </a:lnTo>
                <a:lnTo>
                  <a:pt x="6524" y="475"/>
                </a:lnTo>
                <a:lnTo>
                  <a:pt x="6529" y="464"/>
                </a:lnTo>
                <a:lnTo>
                  <a:pt x="6534" y="452"/>
                </a:lnTo>
                <a:lnTo>
                  <a:pt x="6538" y="440"/>
                </a:lnTo>
                <a:lnTo>
                  <a:pt x="6543" y="428"/>
                </a:lnTo>
                <a:lnTo>
                  <a:pt x="6546" y="416"/>
                </a:lnTo>
                <a:lnTo>
                  <a:pt x="6550" y="404"/>
                </a:lnTo>
                <a:lnTo>
                  <a:pt x="6553" y="392"/>
                </a:lnTo>
                <a:lnTo>
                  <a:pt x="6555" y="379"/>
                </a:lnTo>
                <a:lnTo>
                  <a:pt x="6558" y="367"/>
                </a:lnTo>
                <a:lnTo>
                  <a:pt x="6559" y="355"/>
                </a:lnTo>
                <a:lnTo>
                  <a:pt x="6561" y="343"/>
                </a:lnTo>
                <a:lnTo>
                  <a:pt x="6562" y="332"/>
                </a:lnTo>
                <a:lnTo>
                  <a:pt x="6563" y="320"/>
                </a:lnTo>
                <a:lnTo>
                  <a:pt x="6563" y="308"/>
                </a:lnTo>
                <a:lnTo>
                  <a:pt x="6563" y="298"/>
                </a:lnTo>
                <a:lnTo>
                  <a:pt x="6562" y="287"/>
                </a:lnTo>
                <a:lnTo>
                  <a:pt x="6563" y="285"/>
                </a:lnTo>
                <a:lnTo>
                  <a:pt x="6565" y="283"/>
                </a:lnTo>
                <a:lnTo>
                  <a:pt x="6567" y="281"/>
                </a:lnTo>
                <a:lnTo>
                  <a:pt x="6571" y="279"/>
                </a:lnTo>
                <a:lnTo>
                  <a:pt x="6578" y="276"/>
                </a:lnTo>
                <a:lnTo>
                  <a:pt x="6582" y="275"/>
                </a:lnTo>
                <a:lnTo>
                  <a:pt x="6586" y="275"/>
                </a:lnTo>
                <a:lnTo>
                  <a:pt x="6593" y="276"/>
                </a:lnTo>
                <a:lnTo>
                  <a:pt x="6596" y="276"/>
                </a:lnTo>
                <a:lnTo>
                  <a:pt x="6599" y="277"/>
                </a:lnTo>
                <a:lnTo>
                  <a:pt x="6605" y="280"/>
                </a:lnTo>
                <a:lnTo>
                  <a:pt x="6608" y="282"/>
                </a:lnTo>
                <a:lnTo>
                  <a:pt x="6610" y="284"/>
                </a:lnTo>
                <a:lnTo>
                  <a:pt x="6614" y="290"/>
                </a:lnTo>
                <a:lnTo>
                  <a:pt x="6616" y="294"/>
                </a:lnTo>
                <a:lnTo>
                  <a:pt x="6617" y="297"/>
                </a:lnTo>
                <a:lnTo>
                  <a:pt x="6618" y="302"/>
                </a:lnTo>
                <a:lnTo>
                  <a:pt x="6619" y="307"/>
                </a:lnTo>
                <a:lnTo>
                  <a:pt x="6619" y="312"/>
                </a:lnTo>
                <a:lnTo>
                  <a:pt x="6620" y="318"/>
                </a:lnTo>
                <a:lnTo>
                  <a:pt x="6619" y="334"/>
                </a:lnTo>
                <a:lnTo>
                  <a:pt x="6618" y="350"/>
                </a:lnTo>
                <a:lnTo>
                  <a:pt x="6617" y="365"/>
                </a:lnTo>
                <a:lnTo>
                  <a:pt x="6615" y="380"/>
                </a:lnTo>
                <a:lnTo>
                  <a:pt x="6612" y="396"/>
                </a:lnTo>
                <a:lnTo>
                  <a:pt x="6609" y="411"/>
                </a:lnTo>
                <a:lnTo>
                  <a:pt x="6606" y="425"/>
                </a:lnTo>
                <a:lnTo>
                  <a:pt x="6602" y="439"/>
                </a:lnTo>
                <a:lnTo>
                  <a:pt x="6597" y="454"/>
                </a:lnTo>
                <a:lnTo>
                  <a:pt x="6592" y="468"/>
                </a:lnTo>
                <a:lnTo>
                  <a:pt x="6587" y="481"/>
                </a:lnTo>
                <a:lnTo>
                  <a:pt x="6581" y="494"/>
                </a:lnTo>
                <a:lnTo>
                  <a:pt x="6575" y="506"/>
                </a:lnTo>
                <a:lnTo>
                  <a:pt x="6568" y="519"/>
                </a:lnTo>
                <a:lnTo>
                  <a:pt x="6561" y="531"/>
                </a:lnTo>
                <a:lnTo>
                  <a:pt x="6554" y="542"/>
                </a:lnTo>
                <a:lnTo>
                  <a:pt x="6546" y="553"/>
                </a:lnTo>
                <a:lnTo>
                  <a:pt x="6538" y="563"/>
                </a:lnTo>
                <a:lnTo>
                  <a:pt x="6530" y="573"/>
                </a:lnTo>
                <a:lnTo>
                  <a:pt x="6521" y="582"/>
                </a:lnTo>
                <a:lnTo>
                  <a:pt x="6512" y="591"/>
                </a:lnTo>
                <a:lnTo>
                  <a:pt x="6501" y="599"/>
                </a:lnTo>
                <a:lnTo>
                  <a:pt x="6492" y="606"/>
                </a:lnTo>
                <a:lnTo>
                  <a:pt x="6482" y="612"/>
                </a:lnTo>
                <a:lnTo>
                  <a:pt x="6471" y="618"/>
                </a:lnTo>
                <a:lnTo>
                  <a:pt x="6461" y="624"/>
                </a:lnTo>
                <a:lnTo>
                  <a:pt x="6449" y="628"/>
                </a:lnTo>
                <a:lnTo>
                  <a:pt x="6438" y="633"/>
                </a:lnTo>
                <a:lnTo>
                  <a:pt x="6426" y="636"/>
                </a:lnTo>
                <a:lnTo>
                  <a:pt x="6415" y="638"/>
                </a:lnTo>
                <a:lnTo>
                  <a:pt x="6403" y="639"/>
                </a:lnTo>
                <a:lnTo>
                  <a:pt x="6389" y="639"/>
                </a:lnTo>
                <a:close/>
                <a:moveTo>
                  <a:pt x="6777" y="634"/>
                </a:moveTo>
                <a:lnTo>
                  <a:pt x="6775" y="633"/>
                </a:lnTo>
                <a:lnTo>
                  <a:pt x="6773" y="633"/>
                </a:lnTo>
                <a:lnTo>
                  <a:pt x="6768" y="629"/>
                </a:lnTo>
                <a:lnTo>
                  <a:pt x="6761" y="625"/>
                </a:lnTo>
                <a:lnTo>
                  <a:pt x="6754" y="619"/>
                </a:lnTo>
                <a:lnTo>
                  <a:pt x="6740" y="608"/>
                </a:lnTo>
                <a:lnTo>
                  <a:pt x="6725" y="595"/>
                </a:lnTo>
                <a:lnTo>
                  <a:pt x="6709" y="579"/>
                </a:lnTo>
                <a:lnTo>
                  <a:pt x="6692" y="561"/>
                </a:lnTo>
                <a:lnTo>
                  <a:pt x="6676" y="544"/>
                </a:lnTo>
                <a:lnTo>
                  <a:pt x="6661" y="527"/>
                </a:lnTo>
                <a:lnTo>
                  <a:pt x="6650" y="513"/>
                </a:lnTo>
                <a:lnTo>
                  <a:pt x="6646" y="506"/>
                </a:lnTo>
                <a:lnTo>
                  <a:pt x="6642" y="501"/>
                </a:lnTo>
                <a:lnTo>
                  <a:pt x="6637" y="490"/>
                </a:lnTo>
                <a:lnTo>
                  <a:pt x="6633" y="481"/>
                </a:lnTo>
                <a:lnTo>
                  <a:pt x="6631" y="471"/>
                </a:lnTo>
                <a:lnTo>
                  <a:pt x="6629" y="461"/>
                </a:lnTo>
                <a:lnTo>
                  <a:pt x="6629" y="456"/>
                </a:lnTo>
                <a:lnTo>
                  <a:pt x="6631" y="449"/>
                </a:lnTo>
                <a:lnTo>
                  <a:pt x="6633" y="443"/>
                </a:lnTo>
                <a:lnTo>
                  <a:pt x="6635" y="437"/>
                </a:lnTo>
                <a:lnTo>
                  <a:pt x="6637" y="431"/>
                </a:lnTo>
                <a:lnTo>
                  <a:pt x="6640" y="424"/>
                </a:lnTo>
                <a:lnTo>
                  <a:pt x="6644" y="418"/>
                </a:lnTo>
                <a:lnTo>
                  <a:pt x="6649" y="411"/>
                </a:lnTo>
                <a:lnTo>
                  <a:pt x="6657" y="400"/>
                </a:lnTo>
                <a:lnTo>
                  <a:pt x="6668" y="385"/>
                </a:lnTo>
                <a:lnTo>
                  <a:pt x="6699" y="352"/>
                </a:lnTo>
                <a:lnTo>
                  <a:pt x="6734" y="312"/>
                </a:lnTo>
                <a:lnTo>
                  <a:pt x="6770" y="270"/>
                </a:lnTo>
                <a:lnTo>
                  <a:pt x="6771" y="270"/>
                </a:lnTo>
                <a:lnTo>
                  <a:pt x="6774" y="270"/>
                </a:lnTo>
                <a:lnTo>
                  <a:pt x="6778" y="270"/>
                </a:lnTo>
                <a:lnTo>
                  <a:pt x="6782" y="272"/>
                </a:lnTo>
                <a:lnTo>
                  <a:pt x="6786" y="274"/>
                </a:lnTo>
                <a:lnTo>
                  <a:pt x="6790" y="276"/>
                </a:lnTo>
                <a:lnTo>
                  <a:pt x="6795" y="280"/>
                </a:lnTo>
                <a:lnTo>
                  <a:pt x="6798" y="283"/>
                </a:lnTo>
                <a:lnTo>
                  <a:pt x="6802" y="288"/>
                </a:lnTo>
                <a:lnTo>
                  <a:pt x="6805" y="292"/>
                </a:lnTo>
                <a:lnTo>
                  <a:pt x="6806" y="297"/>
                </a:lnTo>
                <a:lnTo>
                  <a:pt x="6807" y="302"/>
                </a:lnTo>
                <a:lnTo>
                  <a:pt x="6806" y="307"/>
                </a:lnTo>
                <a:lnTo>
                  <a:pt x="6804" y="313"/>
                </a:lnTo>
                <a:lnTo>
                  <a:pt x="6801" y="318"/>
                </a:lnTo>
                <a:lnTo>
                  <a:pt x="6798" y="324"/>
                </a:lnTo>
                <a:lnTo>
                  <a:pt x="6789" y="336"/>
                </a:lnTo>
                <a:lnTo>
                  <a:pt x="6778" y="349"/>
                </a:lnTo>
                <a:lnTo>
                  <a:pt x="6748" y="382"/>
                </a:lnTo>
                <a:lnTo>
                  <a:pt x="6718" y="416"/>
                </a:lnTo>
                <a:lnTo>
                  <a:pt x="6706" y="431"/>
                </a:lnTo>
                <a:lnTo>
                  <a:pt x="6697" y="442"/>
                </a:lnTo>
                <a:lnTo>
                  <a:pt x="6694" y="446"/>
                </a:lnTo>
                <a:lnTo>
                  <a:pt x="6693" y="450"/>
                </a:lnTo>
                <a:lnTo>
                  <a:pt x="6692" y="454"/>
                </a:lnTo>
                <a:lnTo>
                  <a:pt x="6691" y="458"/>
                </a:lnTo>
                <a:lnTo>
                  <a:pt x="6692" y="462"/>
                </a:lnTo>
                <a:lnTo>
                  <a:pt x="6693" y="467"/>
                </a:lnTo>
                <a:lnTo>
                  <a:pt x="6695" y="471"/>
                </a:lnTo>
                <a:lnTo>
                  <a:pt x="6698" y="476"/>
                </a:lnTo>
                <a:lnTo>
                  <a:pt x="6706" y="485"/>
                </a:lnTo>
                <a:lnTo>
                  <a:pt x="6716" y="497"/>
                </a:lnTo>
                <a:lnTo>
                  <a:pt x="6743" y="527"/>
                </a:lnTo>
                <a:lnTo>
                  <a:pt x="6776" y="559"/>
                </a:lnTo>
                <a:lnTo>
                  <a:pt x="6807" y="590"/>
                </a:lnTo>
                <a:lnTo>
                  <a:pt x="6809" y="592"/>
                </a:lnTo>
                <a:lnTo>
                  <a:pt x="6811" y="594"/>
                </a:lnTo>
                <a:lnTo>
                  <a:pt x="6812" y="596"/>
                </a:lnTo>
                <a:lnTo>
                  <a:pt x="6813" y="599"/>
                </a:lnTo>
                <a:lnTo>
                  <a:pt x="6812" y="604"/>
                </a:lnTo>
                <a:lnTo>
                  <a:pt x="6811" y="607"/>
                </a:lnTo>
                <a:lnTo>
                  <a:pt x="6808" y="610"/>
                </a:lnTo>
                <a:lnTo>
                  <a:pt x="6805" y="616"/>
                </a:lnTo>
                <a:lnTo>
                  <a:pt x="6803" y="618"/>
                </a:lnTo>
                <a:lnTo>
                  <a:pt x="6800" y="621"/>
                </a:lnTo>
                <a:lnTo>
                  <a:pt x="6795" y="626"/>
                </a:lnTo>
                <a:lnTo>
                  <a:pt x="6792" y="628"/>
                </a:lnTo>
                <a:lnTo>
                  <a:pt x="6789" y="629"/>
                </a:lnTo>
                <a:lnTo>
                  <a:pt x="6783" y="633"/>
                </a:lnTo>
                <a:lnTo>
                  <a:pt x="6780" y="633"/>
                </a:lnTo>
                <a:lnTo>
                  <a:pt x="6777" y="634"/>
                </a:lnTo>
                <a:close/>
                <a:moveTo>
                  <a:pt x="6389" y="1633"/>
                </a:moveTo>
                <a:lnTo>
                  <a:pt x="6382" y="1632"/>
                </a:lnTo>
                <a:lnTo>
                  <a:pt x="6374" y="1632"/>
                </a:lnTo>
                <a:lnTo>
                  <a:pt x="6367" y="1631"/>
                </a:lnTo>
                <a:lnTo>
                  <a:pt x="6359" y="1629"/>
                </a:lnTo>
                <a:lnTo>
                  <a:pt x="6352" y="1627"/>
                </a:lnTo>
                <a:lnTo>
                  <a:pt x="6345" y="1625"/>
                </a:lnTo>
                <a:lnTo>
                  <a:pt x="6331" y="1619"/>
                </a:lnTo>
                <a:lnTo>
                  <a:pt x="6317" y="1612"/>
                </a:lnTo>
                <a:lnTo>
                  <a:pt x="6311" y="1608"/>
                </a:lnTo>
                <a:lnTo>
                  <a:pt x="6305" y="1603"/>
                </a:lnTo>
                <a:lnTo>
                  <a:pt x="6299" y="1598"/>
                </a:lnTo>
                <a:lnTo>
                  <a:pt x="6293" y="1593"/>
                </a:lnTo>
                <a:lnTo>
                  <a:pt x="6288" y="1587"/>
                </a:lnTo>
                <a:lnTo>
                  <a:pt x="6283" y="1581"/>
                </a:lnTo>
                <a:lnTo>
                  <a:pt x="6278" y="1575"/>
                </a:lnTo>
                <a:lnTo>
                  <a:pt x="6273" y="1568"/>
                </a:lnTo>
                <a:lnTo>
                  <a:pt x="6268" y="1562"/>
                </a:lnTo>
                <a:lnTo>
                  <a:pt x="6264" y="1555"/>
                </a:lnTo>
                <a:lnTo>
                  <a:pt x="6260" y="1548"/>
                </a:lnTo>
                <a:lnTo>
                  <a:pt x="6256" y="1540"/>
                </a:lnTo>
                <a:lnTo>
                  <a:pt x="6253" y="1533"/>
                </a:lnTo>
                <a:lnTo>
                  <a:pt x="6250" y="1524"/>
                </a:lnTo>
                <a:lnTo>
                  <a:pt x="6247" y="1516"/>
                </a:lnTo>
                <a:lnTo>
                  <a:pt x="6245" y="1508"/>
                </a:lnTo>
                <a:lnTo>
                  <a:pt x="6243" y="1500"/>
                </a:lnTo>
                <a:lnTo>
                  <a:pt x="6241" y="1491"/>
                </a:lnTo>
                <a:lnTo>
                  <a:pt x="6240" y="1482"/>
                </a:lnTo>
                <a:lnTo>
                  <a:pt x="6239" y="1473"/>
                </a:lnTo>
                <a:lnTo>
                  <a:pt x="6238" y="1463"/>
                </a:lnTo>
                <a:lnTo>
                  <a:pt x="6238" y="1454"/>
                </a:lnTo>
                <a:lnTo>
                  <a:pt x="6239" y="1436"/>
                </a:lnTo>
                <a:lnTo>
                  <a:pt x="6240" y="1426"/>
                </a:lnTo>
                <a:lnTo>
                  <a:pt x="6241" y="1417"/>
                </a:lnTo>
                <a:lnTo>
                  <a:pt x="6243" y="1407"/>
                </a:lnTo>
                <a:lnTo>
                  <a:pt x="6245" y="1398"/>
                </a:lnTo>
                <a:lnTo>
                  <a:pt x="6247" y="1390"/>
                </a:lnTo>
                <a:lnTo>
                  <a:pt x="6250" y="1381"/>
                </a:lnTo>
                <a:lnTo>
                  <a:pt x="6253" y="1373"/>
                </a:lnTo>
                <a:lnTo>
                  <a:pt x="6257" y="1364"/>
                </a:lnTo>
                <a:lnTo>
                  <a:pt x="6261" y="1356"/>
                </a:lnTo>
                <a:lnTo>
                  <a:pt x="6265" y="1348"/>
                </a:lnTo>
                <a:lnTo>
                  <a:pt x="6269" y="1340"/>
                </a:lnTo>
                <a:lnTo>
                  <a:pt x="6275" y="1333"/>
                </a:lnTo>
                <a:lnTo>
                  <a:pt x="6285" y="1319"/>
                </a:lnTo>
                <a:lnTo>
                  <a:pt x="6291" y="1312"/>
                </a:lnTo>
                <a:lnTo>
                  <a:pt x="6296" y="1306"/>
                </a:lnTo>
                <a:lnTo>
                  <a:pt x="6309" y="1295"/>
                </a:lnTo>
                <a:lnTo>
                  <a:pt x="6315" y="1289"/>
                </a:lnTo>
                <a:lnTo>
                  <a:pt x="6322" y="1284"/>
                </a:lnTo>
                <a:lnTo>
                  <a:pt x="6329" y="1279"/>
                </a:lnTo>
                <a:lnTo>
                  <a:pt x="6337" y="1275"/>
                </a:lnTo>
                <a:lnTo>
                  <a:pt x="6344" y="1272"/>
                </a:lnTo>
                <a:lnTo>
                  <a:pt x="6351" y="1269"/>
                </a:lnTo>
                <a:lnTo>
                  <a:pt x="6359" y="1266"/>
                </a:lnTo>
                <a:lnTo>
                  <a:pt x="6367" y="1264"/>
                </a:lnTo>
                <a:lnTo>
                  <a:pt x="6375" y="1262"/>
                </a:lnTo>
                <a:lnTo>
                  <a:pt x="6383" y="1260"/>
                </a:lnTo>
                <a:lnTo>
                  <a:pt x="6392" y="1260"/>
                </a:lnTo>
                <a:lnTo>
                  <a:pt x="6400" y="1259"/>
                </a:lnTo>
                <a:lnTo>
                  <a:pt x="6410" y="1260"/>
                </a:lnTo>
                <a:lnTo>
                  <a:pt x="6415" y="1260"/>
                </a:lnTo>
                <a:lnTo>
                  <a:pt x="6420" y="1261"/>
                </a:lnTo>
                <a:lnTo>
                  <a:pt x="6424" y="1262"/>
                </a:lnTo>
                <a:lnTo>
                  <a:pt x="6429" y="1263"/>
                </a:lnTo>
                <a:lnTo>
                  <a:pt x="6437" y="1267"/>
                </a:lnTo>
                <a:lnTo>
                  <a:pt x="6445" y="1270"/>
                </a:lnTo>
                <a:lnTo>
                  <a:pt x="6454" y="1275"/>
                </a:lnTo>
                <a:lnTo>
                  <a:pt x="6460" y="1280"/>
                </a:lnTo>
                <a:lnTo>
                  <a:pt x="6466" y="1286"/>
                </a:lnTo>
                <a:lnTo>
                  <a:pt x="6469" y="1290"/>
                </a:lnTo>
                <a:lnTo>
                  <a:pt x="6472" y="1294"/>
                </a:lnTo>
                <a:lnTo>
                  <a:pt x="6476" y="1301"/>
                </a:lnTo>
                <a:lnTo>
                  <a:pt x="6480" y="1309"/>
                </a:lnTo>
                <a:lnTo>
                  <a:pt x="6484" y="1317"/>
                </a:lnTo>
                <a:lnTo>
                  <a:pt x="6486" y="1326"/>
                </a:lnTo>
                <a:lnTo>
                  <a:pt x="6488" y="1335"/>
                </a:lnTo>
                <a:lnTo>
                  <a:pt x="6489" y="1345"/>
                </a:lnTo>
                <a:lnTo>
                  <a:pt x="6490" y="1356"/>
                </a:lnTo>
                <a:lnTo>
                  <a:pt x="6489" y="1368"/>
                </a:lnTo>
                <a:lnTo>
                  <a:pt x="6488" y="1374"/>
                </a:lnTo>
                <a:lnTo>
                  <a:pt x="6487" y="1380"/>
                </a:lnTo>
                <a:lnTo>
                  <a:pt x="6483" y="1392"/>
                </a:lnTo>
                <a:lnTo>
                  <a:pt x="6478" y="1404"/>
                </a:lnTo>
                <a:lnTo>
                  <a:pt x="6472" y="1416"/>
                </a:lnTo>
                <a:lnTo>
                  <a:pt x="6464" y="1427"/>
                </a:lnTo>
                <a:lnTo>
                  <a:pt x="6460" y="1432"/>
                </a:lnTo>
                <a:lnTo>
                  <a:pt x="6456" y="1437"/>
                </a:lnTo>
                <a:lnTo>
                  <a:pt x="6446" y="1446"/>
                </a:lnTo>
                <a:lnTo>
                  <a:pt x="6436" y="1454"/>
                </a:lnTo>
                <a:lnTo>
                  <a:pt x="6431" y="1458"/>
                </a:lnTo>
                <a:lnTo>
                  <a:pt x="6425" y="1462"/>
                </a:lnTo>
                <a:lnTo>
                  <a:pt x="6414" y="1469"/>
                </a:lnTo>
                <a:lnTo>
                  <a:pt x="6402" y="1475"/>
                </a:lnTo>
                <a:lnTo>
                  <a:pt x="6389" y="1480"/>
                </a:lnTo>
                <a:lnTo>
                  <a:pt x="6383" y="1482"/>
                </a:lnTo>
                <a:lnTo>
                  <a:pt x="6377" y="1483"/>
                </a:lnTo>
                <a:lnTo>
                  <a:pt x="6371" y="1484"/>
                </a:lnTo>
                <a:lnTo>
                  <a:pt x="6364" y="1485"/>
                </a:lnTo>
                <a:lnTo>
                  <a:pt x="6352" y="1486"/>
                </a:lnTo>
                <a:lnTo>
                  <a:pt x="6346" y="1485"/>
                </a:lnTo>
                <a:lnTo>
                  <a:pt x="6341" y="1483"/>
                </a:lnTo>
                <a:lnTo>
                  <a:pt x="6337" y="1481"/>
                </a:lnTo>
                <a:lnTo>
                  <a:pt x="6335" y="1479"/>
                </a:lnTo>
                <a:lnTo>
                  <a:pt x="6333" y="1477"/>
                </a:lnTo>
                <a:lnTo>
                  <a:pt x="6329" y="1472"/>
                </a:lnTo>
                <a:lnTo>
                  <a:pt x="6327" y="1466"/>
                </a:lnTo>
                <a:lnTo>
                  <a:pt x="6326" y="1463"/>
                </a:lnTo>
                <a:lnTo>
                  <a:pt x="6325" y="1460"/>
                </a:lnTo>
                <a:lnTo>
                  <a:pt x="6325" y="1454"/>
                </a:lnTo>
                <a:lnTo>
                  <a:pt x="6325" y="1451"/>
                </a:lnTo>
                <a:lnTo>
                  <a:pt x="6325" y="1448"/>
                </a:lnTo>
                <a:lnTo>
                  <a:pt x="6326" y="1443"/>
                </a:lnTo>
                <a:lnTo>
                  <a:pt x="6327" y="1441"/>
                </a:lnTo>
                <a:lnTo>
                  <a:pt x="6328" y="1439"/>
                </a:lnTo>
                <a:lnTo>
                  <a:pt x="6331" y="1438"/>
                </a:lnTo>
                <a:lnTo>
                  <a:pt x="6333" y="1436"/>
                </a:lnTo>
                <a:lnTo>
                  <a:pt x="6344" y="1434"/>
                </a:lnTo>
                <a:lnTo>
                  <a:pt x="6354" y="1432"/>
                </a:lnTo>
                <a:lnTo>
                  <a:pt x="6364" y="1428"/>
                </a:lnTo>
                <a:lnTo>
                  <a:pt x="6374" y="1424"/>
                </a:lnTo>
                <a:lnTo>
                  <a:pt x="6383" y="1420"/>
                </a:lnTo>
                <a:lnTo>
                  <a:pt x="6392" y="1415"/>
                </a:lnTo>
                <a:lnTo>
                  <a:pt x="6400" y="1408"/>
                </a:lnTo>
                <a:lnTo>
                  <a:pt x="6404" y="1406"/>
                </a:lnTo>
                <a:lnTo>
                  <a:pt x="6407" y="1403"/>
                </a:lnTo>
                <a:lnTo>
                  <a:pt x="6414" y="1396"/>
                </a:lnTo>
                <a:lnTo>
                  <a:pt x="6420" y="1390"/>
                </a:lnTo>
                <a:lnTo>
                  <a:pt x="6425" y="1383"/>
                </a:lnTo>
                <a:lnTo>
                  <a:pt x="6429" y="1376"/>
                </a:lnTo>
                <a:lnTo>
                  <a:pt x="6432" y="1369"/>
                </a:lnTo>
                <a:lnTo>
                  <a:pt x="6434" y="1362"/>
                </a:lnTo>
                <a:lnTo>
                  <a:pt x="6436" y="1355"/>
                </a:lnTo>
                <a:lnTo>
                  <a:pt x="6436" y="1347"/>
                </a:lnTo>
                <a:lnTo>
                  <a:pt x="6436" y="1339"/>
                </a:lnTo>
                <a:lnTo>
                  <a:pt x="6434" y="1332"/>
                </a:lnTo>
                <a:lnTo>
                  <a:pt x="6432" y="1328"/>
                </a:lnTo>
                <a:lnTo>
                  <a:pt x="6430" y="1325"/>
                </a:lnTo>
                <a:lnTo>
                  <a:pt x="6428" y="1323"/>
                </a:lnTo>
                <a:lnTo>
                  <a:pt x="6426" y="1320"/>
                </a:lnTo>
                <a:lnTo>
                  <a:pt x="6420" y="1316"/>
                </a:lnTo>
                <a:lnTo>
                  <a:pt x="6417" y="1314"/>
                </a:lnTo>
                <a:lnTo>
                  <a:pt x="6413" y="1313"/>
                </a:lnTo>
                <a:lnTo>
                  <a:pt x="6405" y="1311"/>
                </a:lnTo>
                <a:lnTo>
                  <a:pt x="6401" y="1310"/>
                </a:lnTo>
                <a:lnTo>
                  <a:pt x="6396" y="1310"/>
                </a:lnTo>
                <a:lnTo>
                  <a:pt x="6386" y="1311"/>
                </a:lnTo>
                <a:lnTo>
                  <a:pt x="6382" y="1312"/>
                </a:lnTo>
                <a:lnTo>
                  <a:pt x="6378" y="1313"/>
                </a:lnTo>
                <a:lnTo>
                  <a:pt x="6373" y="1315"/>
                </a:lnTo>
                <a:lnTo>
                  <a:pt x="6369" y="1316"/>
                </a:lnTo>
                <a:lnTo>
                  <a:pt x="6364" y="1319"/>
                </a:lnTo>
                <a:lnTo>
                  <a:pt x="6360" y="1321"/>
                </a:lnTo>
                <a:lnTo>
                  <a:pt x="6356" y="1324"/>
                </a:lnTo>
                <a:lnTo>
                  <a:pt x="6351" y="1327"/>
                </a:lnTo>
                <a:lnTo>
                  <a:pt x="6343" y="1334"/>
                </a:lnTo>
                <a:lnTo>
                  <a:pt x="6335" y="1342"/>
                </a:lnTo>
                <a:lnTo>
                  <a:pt x="6327" y="1352"/>
                </a:lnTo>
                <a:lnTo>
                  <a:pt x="6323" y="1357"/>
                </a:lnTo>
                <a:lnTo>
                  <a:pt x="6320" y="1362"/>
                </a:lnTo>
                <a:lnTo>
                  <a:pt x="6314" y="1373"/>
                </a:lnTo>
                <a:lnTo>
                  <a:pt x="6308" y="1384"/>
                </a:lnTo>
                <a:lnTo>
                  <a:pt x="6304" y="1397"/>
                </a:lnTo>
                <a:lnTo>
                  <a:pt x="6300" y="1409"/>
                </a:lnTo>
                <a:lnTo>
                  <a:pt x="6297" y="1424"/>
                </a:lnTo>
                <a:lnTo>
                  <a:pt x="6295" y="1438"/>
                </a:lnTo>
                <a:lnTo>
                  <a:pt x="6295" y="1445"/>
                </a:lnTo>
                <a:lnTo>
                  <a:pt x="6295" y="1452"/>
                </a:lnTo>
                <a:lnTo>
                  <a:pt x="6295" y="1464"/>
                </a:lnTo>
                <a:lnTo>
                  <a:pt x="6296" y="1478"/>
                </a:lnTo>
                <a:lnTo>
                  <a:pt x="6298" y="1489"/>
                </a:lnTo>
                <a:lnTo>
                  <a:pt x="6300" y="1495"/>
                </a:lnTo>
                <a:lnTo>
                  <a:pt x="6301" y="1500"/>
                </a:lnTo>
                <a:lnTo>
                  <a:pt x="6305" y="1511"/>
                </a:lnTo>
                <a:lnTo>
                  <a:pt x="6307" y="1516"/>
                </a:lnTo>
                <a:lnTo>
                  <a:pt x="6310" y="1521"/>
                </a:lnTo>
                <a:lnTo>
                  <a:pt x="6312" y="1525"/>
                </a:lnTo>
                <a:lnTo>
                  <a:pt x="6315" y="1530"/>
                </a:lnTo>
                <a:lnTo>
                  <a:pt x="6318" y="1535"/>
                </a:lnTo>
                <a:lnTo>
                  <a:pt x="6321" y="1539"/>
                </a:lnTo>
                <a:lnTo>
                  <a:pt x="6324" y="1543"/>
                </a:lnTo>
                <a:lnTo>
                  <a:pt x="6327" y="1546"/>
                </a:lnTo>
                <a:lnTo>
                  <a:pt x="6335" y="1553"/>
                </a:lnTo>
                <a:lnTo>
                  <a:pt x="6343" y="1559"/>
                </a:lnTo>
                <a:lnTo>
                  <a:pt x="6352" y="1563"/>
                </a:lnTo>
                <a:lnTo>
                  <a:pt x="6361" y="1567"/>
                </a:lnTo>
                <a:lnTo>
                  <a:pt x="6371" y="1570"/>
                </a:lnTo>
                <a:lnTo>
                  <a:pt x="6381" y="1572"/>
                </a:lnTo>
                <a:lnTo>
                  <a:pt x="6386" y="1572"/>
                </a:lnTo>
                <a:lnTo>
                  <a:pt x="6392" y="1572"/>
                </a:lnTo>
                <a:lnTo>
                  <a:pt x="6403" y="1572"/>
                </a:lnTo>
                <a:lnTo>
                  <a:pt x="6413" y="1570"/>
                </a:lnTo>
                <a:lnTo>
                  <a:pt x="6423" y="1568"/>
                </a:lnTo>
                <a:lnTo>
                  <a:pt x="6433" y="1564"/>
                </a:lnTo>
                <a:lnTo>
                  <a:pt x="6442" y="1560"/>
                </a:lnTo>
                <a:lnTo>
                  <a:pt x="6452" y="1555"/>
                </a:lnTo>
                <a:lnTo>
                  <a:pt x="6460" y="1549"/>
                </a:lnTo>
                <a:lnTo>
                  <a:pt x="6469" y="1543"/>
                </a:lnTo>
                <a:lnTo>
                  <a:pt x="6477" y="1536"/>
                </a:lnTo>
                <a:lnTo>
                  <a:pt x="6484" y="1527"/>
                </a:lnTo>
                <a:lnTo>
                  <a:pt x="6492" y="1518"/>
                </a:lnTo>
                <a:lnTo>
                  <a:pt x="6499" y="1509"/>
                </a:lnTo>
                <a:lnTo>
                  <a:pt x="6512" y="1490"/>
                </a:lnTo>
                <a:lnTo>
                  <a:pt x="6518" y="1479"/>
                </a:lnTo>
                <a:lnTo>
                  <a:pt x="6524" y="1468"/>
                </a:lnTo>
                <a:lnTo>
                  <a:pt x="6529" y="1457"/>
                </a:lnTo>
                <a:lnTo>
                  <a:pt x="6534" y="1445"/>
                </a:lnTo>
                <a:lnTo>
                  <a:pt x="6538" y="1434"/>
                </a:lnTo>
                <a:lnTo>
                  <a:pt x="6543" y="1422"/>
                </a:lnTo>
                <a:lnTo>
                  <a:pt x="6546" y="1409"/>
                </a:lnTo>
                <a:lnTo>
                  <a:pt x="6550" y="1397"/>
                </a:lnTo>
                <a:lnTo>
                  <a:pt x="6553" y="1385"/>
                </a:lnTo>
                <a:lnTo>
                  <a:pt x="6555" y="1373"/>
                </a:lnTo>
                <a:lnTo>
                  <a:pt x="6558" y="1361"/>
                </a:lnTo>
                <a:lnTo>
                  <a:pt x="6559" y="1348"/>
                </a:lnTo>
                <a:lnTo>
                  <a:pt x="6561" y="1337"/>
                </a:lnTo>
                <a:lnTo>
                  <a:pt x="6562" y="1325"/>
                </a:lnTo>
                <a:lnTo>
                  <a:pt x="6563" y="1314"/>
                </a:lnTo>
                <a:lnTo>
                  <a:pt x="6563" y="1303"/>
                </a:lnTo>
                <a:lnTo>
                  <a:pt x="6563" y="1292"/>
                </a:lnTo>
                <a:lnTo>
                  <a:pt x="6562" y="1280"/>
                </a:lnTo>
                <a:lnTo>
                  <a:pt x="6563" y="1278"/>
                </a:lnTo>
                <a:lnTo>
                  <a:pt x="6565" y="1276"/>
                </a:lnTo>
                <a:lnTo>
                  <a:pt x="6567" y="1274"/>
                </a:lnTo>
                <a:lnTo>
                  <a:pt x="6571" y="1272"/>
                </a:lnTo>
                <a:lnTo>
                  <a:pt x="6578" y="1269"/>
                </a:lnTo>
                <a:lnTo>
                  <a:pt x="6582" y="1269"/>
                </a:lnTo>
                <a:lnTo>
                  <a:pt x="6586" y="1268"/>
                </a:lnTo>
                <a:lnTo>
                  <a:pt x="6593" y="1269"/>
                </a:lnTo>
                <a:lnTo>
                  <a:pt x="6596" y="1269"/>
                </a:lnTo>
                <a:lnTo>
                  <a:pt x="6599" y="1270"/>
                </a:lnTo>
                <a:lnTo>
                  <a:pt x="6605" y="1273"/>
                </a:lnTo>
                <a:lnTo>
                  <a:pt x="6608" y="1275"/>
                </a:lnTo>
                <a:lnTo>
                  <a:pt x="6610" y="1277"/>
                </a:lnTo>
                <a:lnTo>
                  <a:pt x="6614" y="1283"/>
                </a:lnTo>
                <a:lnTo>
                  <a:pt x="6616" y="1287"/>
                </a:lnTo>
                <a:lnTo>
                  <a:pt x="6617" y="1292"/>
                </a:lnTo>
                <a:lnTo>
                  <a:pt x="6618" y="1296"/>
                </a:lnTo>
                <a:lnTo>
                  <a:pt x="6619" y="1301"/>
                </a:lnTo>
                <a:lnTo>
                  <a:pt x="6619" y="1306"/>
                </a:lnTo>
                <a:lnTo>
                  <a:pt x="6620" y="1312"/>
                </a:lnTo>
                <a:lnTo>
                  <a:pt x="6619" y="1328"/>
                </a:lnTo>
                <a:lnTo>
                  <a:pt x="6618" y="1343"/>
                </a:lnTo>
                <a:lnTo>
                  <a:pt x="6617" y="1359"/>
                </a:lnTo>
                <a:lnTo>
                  <a:pt x="6615" y="1374"/>
                </a:lnTo>
                <a:lnTo>
                  <a:pt x="6612" y="1389"/>
                </a:lnTo>
                <a:lnTo>
                  <a:pt x="6609" y="1404"/>
                </a:lnTo>
                <a:lnTo>
                  <a:pt x="6606" y="1419"/>
                </a:lnTo>
                <a:lnTo>
                  <a:pt x="6602" y="1434"/>
                </a:lnTo>
                <a:lnTo>
                  <a:pt x="6597" y="1447"/>
                </a:lnTo>
                <a:lnTo>
                  <a:pt x="6592" y="1461"/>
                </a:lnTo>
                <a:lnTo>
                  <a:pt x="6587" y="1475"/>
                </a:lnTo>
                <a:lnTo>
                  <a:pt x="6581" y="1488"/>
                </a:lnTo>
                <a:lnTo>
                  <a:pt x="6575" y="1500"/>
                </a:lnTo>
                <a:lnTo>
                  <a:pt x="6568" y="1512"/>
                </a:lnTo>
                <a:lnTo>
                  <a:pt x="6561" y="1524"/>
                </a:lnTo>
                <a:lnTo>
                  <a:pt x="6554" y="1536"/>
                </a:lnTo>
                <a:lnTo>
                  <a:pt x="6546" y="1547"/>
                </a:lnTo>
                <a:lnTo>
                  <a:pt x="6538" y="1557"/>
                </a:lnTo>
                <a:lnTo>
                  <a:pt x="6530" y="1567"/>
                </a:lnTo>
                <a:lnTo>
                  <a:pt x="6521" y="1576"/>
                </a:lnTo>
                <a:lnTo>
                  <a:pt x="6512" y="1584"/>
                </a:lnTo>
                <a:lnTo>
                  <a:pt x="6501" y="1593"/>
                </a:lnTo>
                <a:lnTo>
                  <a:pt x="6492" y="1600"/>
                </a:lnTo>
                <a:lnTo>
                  <a:pt x="6482" y="1607"/>
                </a:lnTo>
                <a:lnTo>
                  <a:pt x="6471" y="1613"/>
                </a:lnTo>
                <a:lnTo>
                  <a:pt x="6461" y="1618"/>
                </a:lnTo>
                <a:lnTo>
                  <a:pt x="6449" y="1622"/>
                </a:lnTo>
                <a:lnTo>
                  <a:pt x="6438" y="1626"/>
                </a:lnTo>
                <a:lnTo>
                  <a:pt x="6426" y="1629"/>
                </a:lnTo>
                <a:lnTo>
                  <a:pt x="6415" y="1631"/>
                </a:lnTo>
                <a:lnTo>
                  <a:pt x="6403" y="1632"/>
                </a:lnTo>
                <a:lnTo>
                  <a:pt x="6389" y="1633"/>
                </a:lnTo>
                <a:close/>
                <a:moveTo>
                  <a:pt x="6777" y="1627"/>
                </a:moveTo>
                <a:lnTo>
                  <a:pt x="6775" y="1627"/>
                </a:lnTo>
                <a:lnTo>
                  <a:pt x="6773" y="1626"/>
                </a:lnTo>
                <a:lnTo>
                  <a:pt x="6768" y="1623"/>
                </a:lnTo>
                <a:lnTo>
                  <a:pt x="6761" y="1619"/>
                </a:lnTo>
                <a:lnTo>
                  <a:pt x="6754" y="1613"/>
                </a:lnTo>
                <a:lnTo>
                  <a:pt x="6740" y="1603"/>
                </a:lnTo>
                <a:lnTo>
                  <a:pt x="6725" y="1588"/>
                </a:lnTo>
                <a:lnTo>
                  <a:pt x="6709" y="1572"/>
                </a:lnTo>
                <a:lnTo>
                  <a:pt x="6692" y="1555"/>
                </a:lnTo>
                <a:lnTo>
                  <a:pt x="6676" y="1538"/>
                </a:lnTo>
                <a:lnTo>
                  <a:pt x="6661" y="1521"/>
                </a:lnTo>
                <a:lnTo>
                  <a:pt x="6650" y="1506"/>
                </a:lnTo>
                <a:lnTo>
                  <a:pt x="6646" y="1500"/>
                </a:lnTo>
                <a:lnTo>
                  <a:pt x="6642" y="1495"/>
                </a:lnTo>
                <a:lnTo>
                  <a:pt x="6637" y="1485"/>
                </a:lnTo>
                <a:lnTo>
                  <a:pt x="6633" y="1475"/>
                </a:lnTo>
                <a:lnTo>
                  <a:pt x="6631" y="1464"/>
                </a:lnTo>
                <a:lnTo>
                  <a:pt x="6629" y="1454"/>
                </a:lnTo>
                <a:lnTo>
                  <a:pt x="6629" y="1449"/>
                </a:lnTo>
                <a:lnTo>
                  <a:pt x="6631" y="1443"/>
                </a:lnTo>
                <a:lnTo>
                  <a:pt x="6633" y="1437"/>
                </a:lnTo>
                <a:lnTo>
                  <a:pt x="6635" y="1431"/>
                </a:lnTo>
                <a:lnTo>
                  <a:pt x="6637" y="1425"/>
                </a:lnTo>
                <a:lnTo>
                  <a:pt x="6640" y="1419"/>
                </a:lnTo>
                <a:lnTo>
                  <a:pt x="6644" y="1412"/>
                </a:lnTo>
                <a:lnTo>
                  <a:pt x="6649" y="1404"/>
                </a:lnTo>
                <a:lnTo>
                  <a:pt x="6657" y="1393"/>
                </a:lnTo>
                <a:lnTo>
                  <a:pt x="6668" y="1380"/>
                </a:lnTo>
                <a:lnTo>
                  <a:pt x="6699" y="1345"/>
                </a:lnTo>
                <a:lnTo>
                  <a:pt x="6734" y="1306"/>
                </a:lnTo>
                <a:lnTo>
                  <a:pt x="6770" y="1264"/>
                </a:lnTo>
                <a:lnTo>
                  <a:pt x="6771" y="1264"/>
                </a:lnTo>
                <a:lnTo>
                  <a:pt x="6774" y="1264"/>
                </a:lnTo>
                <a:lnTo>
                  <a:pt x="6778" y="1264"/>
                </a:lnTo>
                <a:lnTo>
                  <a:pt x="6782" y="1265"/>
                </a:lnTo>
                <a:lnTo>
                  <a:pt x="6786" y="1267"/>
                </a:lnTo>
                <a:lnTo>
                  <a:pt x="6790" y="1270"/>
                </a:lnTo>
                <a:lnTo>
                  <a:pt x="6795" y="1273"/>
                </a:lnTo>
                <a:lnTo>
                  <a:pt x="6798" y="1276"/>
                </a:lnTo>
                <a:lnTo>
                  <a:pt x="6802" y="1281"/>
                </a:lnTo>
                <a:lnTo>
                  <a:pt x="6805" y="1286"/>
                </a:lnTo>
                <a:lnTo>
                  <a:pt x="6806" y="1290"/>
                </a:lnTo>
                <a:lnTo>
                  <a:pt x="6807" y="1296"/>
                </a:lnTo>
                <a:lnTo>
                  <a:pt x="6806" y="1301"/>
                </a:lnTo>
                <a:lnTo>
                  <a:pt x="6804" y="1307"/>
                </a:lnTo>
                <a:lnTo>
                  <a:pt x="6801" y="1312"/>
                </a:lnTo>
                <a:lnTo>
                  <a:pt x="6798" y="1318"/>
                </a:lnTo>
                <a:lnTo>
                  <a:pt x="6789" y="1329"/>
                </a:lnTo>
                <a:lnTo>
                  <a:pt x="6778" y="1342"/>
                </a:lnTo>
                <a:lnTo>
                  <a:pt x="6748" y="1376"/>
                </a:lnTo>
                <a:lnTo>
                  <a:pt x="6718" y="1409"/>
                </a:lnTo>
                <a:lnTo>
                  <a:pt x="6706" y="1425"/>
                </a:lnTo>
                <a:lnTo>
                  <a:pt x="6697" y="1436"/>
                </a:lnTo>
                <a:lnTo>
                  <a:pt x="6694" y="1440"/>
                </a:lnTo>
                <a:lnTo>
                  <a:pt x="6693" y="1444"/>
                </a:lnTo>
                <a:lnTo>
                  <a:pt x="6692" y="1447"/>
                </a:lnTo>
                <a:lnTo>
                  <a:pt x="6691" y="1451"/>
                </a:lnTo>
                <a:lnTo>
                  <a:pt x="6692" y="1455"/>
                </a:lnTo>
                <a:lnTo>
                  <a:pt x="6693" y="1460"/>
                </a:lnTo>
                <a:lnTo>
                  <a:pt x="6695" y="1464"/>
                </a:lnTo>
                <a:lnTo>
                  <a:pt x="6698" y="1469"/>
                </a:lnTo>
                <a:lnTo>
                  <a:pt x="6706" y="1479"/>
                </a:lnTo>
                <a:lnTo>
                  <a:pt x="6716" y="1491"/>
                </a:lnTo>
                <a:lnTo>
                  <a:pt x="6743" y="1520"/>
                </a:lnTo>
                <a:lnTo>
                  <a:pt x="6776" y="1553"/>
                </a:lnTo>
                <a:lnTo>
                  <a:pt x="6807" y="1583"/>
                </a:lnTo>
                <a:lnTo>
                  <a:pt x="6809" y="1585"/>
                </a:lnTo>
                <a:lnTo>
                  <a:pt x="6811" y="1587"/>
                </a:lnTo>
                <a:lnTo>
                  <a:pt x="6812" y="1589"/>
                </a:lnTo>
                <a:lnTo>
                  <a:pt x="6813" y="1593"/>
                </a:lnTo>
                <a:lnTo>
                  <a:pt x="6812" y="1599"/>
                </a:lnTo>
                <a:lnTo>
                  <a:pt x="6811" y="1601"/>
                </a:lnTo>
                <a:lnTo>
                  <a:pt x="6808" y="1604"/>
                </a:lnTo>
                <a:lnTo>
                  <a:pt x="6805" y="1610"/>
                </a:lnTo>
                <a:lnTo>
                  <a:pt x="6803" y="1613"/>
                </a:lnTo>
                <a:lnTo>
                  <a:pt x="6800" y="1615"/>
                </a:lnTo>
                <a:lnTo>
                  <a:pt x="6795" y="1620"/>
                </a:lnTo>
                <a:lnTo>
                  <a:pt x="6792" y="1622"/>
                </a:lnTo>
                <a:lnTo>
                  <a:pt x="6789" y="1624"/>
                </a:lnTo>
                <a:lnTo>
                  <a:pt x="6783" y="1626"/>
                </a:lnTo>
                <a:lnTo>
                  <a:pt x="6780" y="1627"/>
                </a:lnTo>
                <a:lnTo>
                  <a:pt x="6777" y="1627"/>
                </a:lnTo>
                <a:close/>
                <a:moveTo>
                  <a:pt x="6389" y="2627"/>
                </a:moveTo>
                <a:lnTo>
                  <a:pt x="6382" y="2627"/>
                </a:lnTo>
                <a:lnTo>
                  <a:pt x="6374" y="2626"/>
                </a:lnTo>
                <a:lnTo>
                  <a:pt x="6367" y="2625"/>
                </a:lnTo>
                <a:lnTo>
                  <a:pt x="6359" y="2623"/>
                </a:lnTo>
                <a:lnTo>
                  <a:pt x="6352" y="2621"/>
                </a:lnTo>
                <a:lnTo>
                  <a:pt x="6345" y="2619"/>
                </a:lnTo>
                <a:lnTo>
                  <a:pt x="6331" y="2613"/>
                </a:lnTo>
                <a:lnTo>
                  <a:pt x="6317" y="2605"/>
                </a:lnTo>
                <a:lnTo>
                  <a:pt x="6311" y="2601"/>
                </a:lnTo>
                <a:lnTo>
                  <a:pt x="6305" y="2596"/>
                </a:lnTo>
                <a:lnTo>
                  <a:pt x="6299" y="2591"/>
                </a:lnTo>
                <a:lnTo>
                  <a:pt x="6293" y="2586"/>
                </a:lnTo>
                <a:lnTo>
                  <a:pt x="6288" y="2581"/>
                </a:lnTo>
                <a:lnTo>
                  <a:pt x="6283" y="2575"/>
                </a:lnTo>
                <a:lnTo>
                  <a:pt x="6278" y="2569"/>
                </a:lnTo>
                <a:lnTo>
                  <a:pt x="6273" y="2563"/>
                </a:lnTo>
                <a:lnTo>
                  <a:pt x="6268" y="2556"/>
                </a:lnTo>
                <a:lnTo>
                  <a:pt x="6264" y="2548"/>
                </a:lnTo>
                <a:lnTo>
                  <a:pt x="6260" y="2541"/>
                </a:lnTo>
                <a:lnTo>
                  <a:pt x="6256" y="2534"/>
                </a:lnTo>
                <a:lnTo>
                  <a:pt x="6253" y="2526"/>
                </a:lnTo>
                <a:lnTo>
                  <a:pt x="6250" y="2518"/>
                </a:lnTo>
                <a:lnTo>
                  <a:pt x="6247" y="2510"/>
                </a:lnTo>
                <a:lnTo>
                  <a:pt x="6245" y="2502"/>
                </a:lnTo>
                <a:lnTo>
                  <a:pt x="6243" y="2494"/>
                </a:lnTo>
                <a:lnTo>
                  <a:pt x="6241" y="2484"/>
                </a:lnTo>
                <a:lnTo>
                  <a:pt x="6240" y="2475"/>
                </a:lnTo>
                <a:lnTo>
                  <a:pt x="6239" y="2467"/>
                </a:lnTo>
                <a:lnTo>
                  <a:pt x="6238" y="2458"/>
                </a:lnTo>
                <a:lnTo>
                  <a:pt x="6238" y="2448"/>
                </a:lnTo>
                <a:lnTo>
                  <a:pt x="6239" y="2429"/>
                </a:lnTo>
                <a:lnTo>
                  <a:pt x="6240" y="2420"/>
                </a:lnTo>
                <a:lnTo>
                  <a:pt x="6241" y="2410"/>
                </a:lnTo>
                <a:lnTo>
                  <a:pt x="6243" y="2401"/>
                </a:lnTo>
                <a:lnTo>
                  <a:pt x="6245" y="2393"/>
                </a:lnTo>
                <a:lnTo>
                  <a:pt x="6247" y="2384"/>
                </a:lnTo>
                <a:lnTo>
                  <a:pt x="6250" y="2375"/>
                </a:lnTo>
                <a:lnTo>
                  <a:pt x="6253" y="2366"/>
                </a:lnTo>
                <a:lnTo>
                  <a:pt x="6257" y="2358"/>
                </a:lnTo>
                <a:lnTo>
                  <a:pt x="6261" y="2350"/>
                </a:lnTo>
                <a:lnTo>
                  <a:pt x="6265" y="2342"/>
                </a:lnTo>
                <a:lnTo>
                  <a:pt x="6269" y="2334"/>
                </a:lnTo>
                <a:lnTo>
                  <a:pt x="6275" y="2327"/>
                </a:lnTo>
                <a:lnTo>
                  <a:pt x="6285" y="2313"/>
                </a:lnTo>
                <a:lnTo>
                  <a:pt x="6291" y="2305"/>
                </a:lnTo>
                <a:lnTo>
                  <a:pt x="6296" y="2299"/>
                </a:lnTo>
                <a:lnTo>
                  <a:pt x="6309" y="2288"/>
                </a:lnTo>
                <a:lnTo>
                  <a:pt x="6315" y="2283"/>
                </a:lnTo>
                <a:lnTo>
                  <a:pt x="6322" y="2278"/>
                </a:lnTo>
                <a:lnTo>
                  <a:pt x="6329" y="2274"/>
                </a:lnTo>
                <a:lnTo>
                  <a:pt x="6337" y="2269"/>
                </a:lnTo>
                <a:lnTo>
                  <a:pt x="6344" y="2266"/>
                </a:lnTo>
                <a:lnTo>
                  <a:pt x="6351" y="2263"/>
                </a:lnTo>
                <a:lnTo>
                  <a:pt x="6359" y="2260"/>
                </a:lnTo>
                <a:lnTo>
                  <a:pt x="6367" y="2258"/>
                </a:lnTo>
                <a:lnTo>
                  <a:pt x="6375" y="2256"/>
                </a:lnTo>
                <a:lnTo>
                  <a:pt x="6383" y="2255"/>
                </a:lnTo>
                <a:lnTo>
                  <a:pt x="6392" y="2254"/>
                </a:lnTo>
                <a:lnTo>
                  <a:pt x="6400" y="2254"/>
                </a:lnTo>
                <a:lnTo>
                  <a:pt x="6410" y="2254"/>
                </a:lnTo>
                <a:lnTo>
                  <a:pt x="6415" y="2255"/>
                </a:lnTo>
                <a:lnTo>
                  <a:pt x="6420" y="2255"/>
                </a:lnTo>
                <a:lnTo>
                  <a:pt x="6424" y="2256"/>
                </a:lnTo>
                <a:lnTo>
                  <a:pt x="6429" y="2258"/>
                </a:lnTo>
                <a:lnTo>
                  <a:pt x="6437" y="2261"/>
                </a:lnTo>
                <a:lnTo>
                  <a:pt x="6445" y="2265"/>
                </a:lnTo>
                <a:lnTo>
                  <a:pt x="6454" y="2269"/>
                </a:lnTo>
                <a:lnTo>
                  <a:pt x="6460" y="2275"/>
                </a:lnTo>
                <a:lnTo>
                  <a:pt x="6466" y="2281"/>
                </a:lnTo>
                <a:lnTo>
                  <a:pt x="6469" y="2284"/>
                </a:lnTo>
                <a:lnTo>
                  <a:pt x="6472" y="2287"/>
                </a:lnTo>
                <a:lnTo>
                  <a:pt x="6476" y="2295"/>
                </a:lnTo>
                <a:lnTo>
                  <a:pt x="6480" y="2302"/>
                </a:lnTo>
                <a:lnTo>
                  <a:pt x="6484" y="2312"/>
                </a:lnTo>
                <a:lnTo>
                  <a:pt x="6486" y="2320"/>
                </a:lnTo>
                <a:lnTo>
                  <a:pt x="6488" y="2329"/>
                </a:lnTo>
                <a:lnTo>
                  <a:pt x="6489" y="2339"/>
                </a:lnTo>
                <a:lnTo>
                  <a:pt x="6490" y="2349"/>
                </a:lnTo>
                <a:lnTo>
                  <a:pt x="6489" y="2361"/>
                </a:lnTo>
                <a:lnTo>
                  <a:pt x="6488" y="2368"/>
                </a:lnTo>
                <a:lnTo>
                  <a:pt x="6487" y="2375"/>
                </a:lnTo>
                <a:lnTo>
                  <a:pt x="6483" y="2387"/>
                </a:lnTo>
                <a:lnTo>
                  <a:pt x="6478" y="2398"/>
                </a:lnTo>
                <a:lnTo>
                  <a:pt x="6472" y="2409"/>
                </a:lnTo>
                <a:lnTo>
                  <a:pt x="6464" y="2420"/>
                </a:lnTo>
                <a:lnTo>
                  <a:pt x="6460" y="2425"/>
                </a:lnTo>
                <a:lnTo>
                  <a:pt x="6456" y="2430"/>
                </a:lnTo>
                <a:lnTo>
                  <a:pt x="6446" y="2440"/>
                </a:lnTo>
                <a:lnTo>
                  <a:pt x="6436" y="2449"/>
                </a:lnTo>
                <a:lnTo>
                  <a:pt x="6431" y="2452"/>
                </a:lnTo>
                <a:lnTo>
                  <a:pt x="6425" y="2456"/>
                </a:lnTo>
                <a:lnTo>
                  <a:pt x="6414" y="2463"/>
                </a:lnTo>
                <a:lnTo>
                  <a:pt x="6402" y="2468"/>
                </a:lnTo>
                <a:lnTo>
                  <a:pt x="6389" y="2473"/>
                </a:lnTo>
                <a:lnTo>
                  <a:pt x="6383" y="2475"/>
                </a:lnTo>
                <a:lnTo>
                  <a:pt x="6377" y="2476"/>
                </a:lnTo>
                <a:lnTo>
                  <a:pt x="6371" y="2478"/>
                </a:lnTo>
                <a:lnTo>
                  <a:pt x="6364" y="2478"/>
                </a:lnTo>
                <a:lnTo>
                  <a:pt x="6352" y="2479"/>
                </a:lnTo>
                <a:lnTo>
                  <a:pt x="6346" y="2478"/>
                </a:lnTo>
                <a:lnTo>
                  <a:pt x="6341" y="2477"/>
                </a:lnTo>
                <a:lnTo>
                  <a:pt x="6337" y="2474"/>
                </a:lnTo>
                <a:lnTo>
                  <a:pt x="6335" y="2472"/>
                </a:lnTo>
                <a:lnTo>
                  <a:pt x="6333" y="2470"/>
                </a:lnTo>
                <a:lnTo>
                  <a:pt x="6329" y="2465"/>
                </a:lnTo>
                <a:lnTo>
                  <a:pt x="6327" y="2460"/>
                </a:lnTo>
                <a:lnTo>
                  <a:pt x="6326" y="2457"/>
                </a:lnTo>
                <a:lnTo>
                  <a:pt x="6325" y="2454"/>
                </a:lnTo>
                <a:lnTo>
                  <a:pt x="6325" y="2448"/>
                </a:lnTo>
                <a:lnTo>
                  <a:pt x="6325" y="2445"/>
                </a:lnTo>
                <a:lnTo>
                  <a:pt x="6325" y="2442"/>
                </a:lnTo>
                <a:lnTo>
                  <a:pt x="6326" y="2437"/>
                </a:lnTo>
                <a:lnTo>
                  <a:pt x="6327" y="2435"/>
                </a:lnTo>
                <a:lnTo>
                  <a:pt x="6328" y="2433"/>
                </a:lnTo>
                <a:lnTo>
                  <a:pt x="6331" y="2432"/>
                </a:lnTo>
                <a:lnTo>
                  <a:pt x="6333" y="2430"/>
                </a:lnTo>
                <a:lnTo>
                  <a:pt x="6344" y="2428"/>
                </a:lnTo>
                <a:lnTo>
                  <a:pt x="6354" y="2425"/>
                </a:lnTo>
                <a:lnTo>
                  <a:pt x="6364" y="2422"/>
                </a:lnTo>
                <a:lnTo>
                  <a:pt x="6374" y="2418"/>
                </a:lnTo>
                <a:lnTo>
                  <a:pt x="6383" y="2413"/>
                </a:lnTo>
                <a:lnTo>
                  <a:pt x="6392" y="2408"/>
                </a:lnTo>
                <a:lnTo>
                  <a:pt x="6400" y="2403"/>
                </a:lnTo>
                <a:lnTo>
                  <a:pt x="6404" y="2400"/>
                </a:lnTo>
                <a:lnTo>
                  <a:pt x="6407" y="2397"/>
                </a:lnTo>
                <a:lnTo>
                  <a:pt x="6414" y="2390"/>
                </a:lnTo>
                <a:lnTo>
                  <a:pt x="6420" y="2384"/>
                </a:lnTo>
                <a:lnTo>
                  <a:pt x="6425" y="2377"/>
                </a:lnTo>
                <a:lnTo>
                  <a:pt x="6429" y="2369"/>
                </a:lnTo>
                <a:lnTo>
                  <a:pt x="6432" y="2362"/>
                </a:lnTo>
                <a:lnTo>
                  <a:pt x="6434" y="2355"/>
                </a:lnTo>
                <a:lnTo>
                  <a:pt x="6436" y="2348"/>
                </a:lnTo>
                <a:lnTo>
                  <a:pt x="6436" y="2341"/>
                </a:lnTo>
                <a:lnTo>
                  <a:pt x="6436" y="2333"/>
                </a:lnTo>
                <a:lnTo>
                  <a:pt x="6434" y="2326"/>
                </a:lnTo>
                <a:lnTo>
                  <a:pt x="6432" y="2323"/>
                </a:lnTo>
                <a:lnTo>
                  <a:pt x="6430" y="2319"/>
                </a:lnTo>
                <a:lnTo>
                  <a:pt x="6428" y="2317"/>
                </a:lnTo>
                <a:lnTo>
                  <a:pt x="6426" y="2314"/>
                </a:lnTo>
                <a:lnTo>
                  <a:pt x="6420" y="2309"/>
                </a:lnTo>
                <a:lnTo>
                  <a:pt x="6417" y="2307"/>
                </a:lnTo>
                <a:lnTo>
                  <a:pt x="6413" y="2306"/>
                </a:lnTo>
                <a:lnTo>
                  <a:pt x="6405" y="2304"/>
                </a:lnTo>
                <a:lnTo>
                  <a:pt x="6401" y="2303"/>
                </a:lnTo>
                <a:lnTo>
                  <a:pt x="6396" y="2303"/>
                </a:lnTo>
                <a:lnTo>
                  <a:pt x="6386" y="2304"/>
                </a:lnTo>
                <a:lnTo>
                  <a:pt x="6382" y="2305"/>
                </a:lnTo>
                <a:lnTo>
                  <a:pt x="6378" y="2306"/>
                </a:lnTo>
                <a:lnTo>
                  <a:pt x="6373" y="2308"/>
                </a:lnTo>
                <a:lnTo>
                  <a:pt x="6369" y="2310"/>
                </a:lnTo>
                <a:lnTo>
                  <a:pt x="6364" y="2313"/>
                </a:lnTo>
                <a:lnTo>
                  <a:pt x="6360" y="2315"/>
                </a:lnTo>
                <a:lnTo>
                  <a:pt x="6356" y="2318"/>
                </a:lnTo>
                <a:lnTo>
                  <a:pt x="6351" y="2321"/>
                </a:lnTo>
                <a:lnTo>
                  <a:pt x="6343" y="2328"/>
                </a:lnTo>
                <a:lnTo>
                  <a:pt x="6335" y="2336"/>
                </a:lnTo>
                <a:lnTo>
                  <a:pt x="6327" y="2345"/>
                </a:lnTo>
                <a:lnTo>
                  <a:pt x="6323" y="2350"/>
                </a:lnTo>
                <a:lnTo>
                  <a:pt x="6320" y="2355"/>
                </a:lnTo>
                <a:lnTo>
                  <a:pt x="6314" y="2366"/>
                </a:lnTo>
                <a:lnTo>
                  <a:pt x="6308" y="2379"/>
                </a:lnTo>
                <a:lnTo>
                  <a:pt x="6304" y="2391"/>
                </a:lnTo>
                <a:lnTo>
                  <a:pt x="6300" y="2404"/>
                </a:lnTo>
                <a:lnTo>
                  <a:pt x="6297" y="2417"/>
                </a:lnTo>
                <a:lnTo>
                  <a:pt x="6295" y="2432"/>
                </a:lnTo>
                <a:lnTo>
                  <a:pt x="6295" y="2439"/>
                </a:lnTo>
                <a:lnTo>
                  <a:pt x="6295" y="2446"/>
                </a:lnTo>
                <a:lnTo>
                  <a:pt x="6295" y="2459"/>
                </a:lnTo>
                <a:lnTo>
                  <a:pt x="6296" y="2471"/>
                </a:lnTo>
                <a:lnTo>
                  <a:pt x="6298" y="2482"/>
                </a:lnTo>
                <a:lnTo>
                  <a:pt x="6300" y="2488"/>
                </a:lnTo>
                <a:lnTo>
                  <a:pt x="6301" y="2494"/>
                </a:lnTo>
                <a:lnTo>
                  <a:pt x="6305" y="2505"/>
                </a:lnTo>
                <a:lnTo>
                  <a:pt x="6307" y="2510"/>
                </a:lnTo>
                <a:lnTo>
                  <a:pt x="6310" y="2515"/>
                </a:lnTo>
                <a:lnTo>
                  <a:pt x="6312" y="2519"/>
                </a:lnTo>
                <a:lnTo>
                  <a:pt x="6315" y="2524"/>
                </a:lnTo>
                <a:lnTo>
                  <a:pt x="6318" y="2528"/>
                </a:lnTo>
                <a:lnTo>
                  <a:pt x="6321" y="2532"/>
                </a:lnTo>
                <a:lnTo>
                  <a:pt x="6324" y="2536"/>
                </a:lnTo>
                <a:lnTo>
                  <a:pt x="6327" y="2540"/>
                </a:lnTo>
                <a:lnTo>
                  <a:pt x="6335" y="2546"/>
                </a:lnTo>
                <a:lnTo>
                  <a:pt x="6343" y="2553"/>
                </a:lnTo>
                <a:lnTo>
                  <a:pt x="6352" y="2558"/>
                </a:lnTo>
                <a:lnTo>
                  <a:pt x="6361" y="2561"/>
                </a:lnTo>
                <a:lnTo>
                  <a:pt x="6371" y="2564"/>
                </a:lnTo>
                <a:lnTo>
                  <a:pt x="6381" y="2566"/>
                </a:lnTo>
                <a:lnTo>
                  <a:pt x="6386" y="2566"/>
                </a:lnTo>
                <a:lnTo>
                  <a:pt x="6392" y="2567"/>
                </a:lnTo>
                <a:lnTo>
                  <a:pt x="6403" y="2566"/>
                </a:lnTo>
                <a:lnTo>
                  <a:pt x="6413" y="2564"/>
                </a:lnTo>
                <a:lnTo>
                  <a:pt x="6423" y="2562"/>
                </a:lnTo>
                <a:lnTo>
                  <a:pt x="6433" y="2559"/>
                </a:lnTo>
                <a:lnTo>
                  <a:pt x="6442" y="2554"/>
                </a:lnTo>
                <a:lnTo>
                  <a:pt x="6452" y="2548"/>
                </a:lnTo>
                <a:lnTo>
                  <a:pt x="6460" y="2543"/>
                </a:lnTo>
                <a:lnTo>
                  <a:pt x="6469" y="2536"/>
                </a:lnTo>
                <a:lnTo>
                  <a:pt x="6477" y="2529"/>
                </a:lnTo>
                <a:lnTo>
                  <a:pt x="6484" y="2521"/>
                </a:lnTo>
                <a:lnTo>
                  <a:pt x="6492" y="2512"/>
                </a:lnTo>
                <a:lnTo>
                  <a:pt x="6499" y="2503"/>
                </a:lnTo>
                <a:lnTo>
                  <a:pt x="6512" y="2483"/>
                </a:lnTo>
                <a:lnTo>
                  <a:pt x="6518" y="2473"/>
                </a:lnTo>
                <a:lnTo>
                  <a:pt x="6524" y="2462"/>
                </a:lnTo>
                <a:lnTo>
                  <a:pt x="6529" y="2451"/>
                </a:lnTo>
                <a:lnTo>
                  <a:pt x="6534" y="2440"/>
                </a:lnTo>
                <a:lnTo>
                  <a:pt x="6538" y="2427"/>
                </a:lnTo>
                <a:lnTo>
                  <a:pt x="6543" y="2415"/>
                </a:lnTo>
                <a:lnTo>
                  <a:pt x="6546" y="2403"/>
                </a:lnTo>
                <a:lnTo>
                  <a:pt x="6550" y="2391"/>
                </a:lnTo>
                <a:lnTo>
                  <a:pt x="6553" y="2379"/>
                </a:lnTo>
                <a:lnTo>
                  <a:pt x="6555" y="2366"/>
                </a:lnTo>
                <a:lnTo>
                  <a:pt x="6558" y="2354"/>
                </a:lnTo>
                <a:lnTo>
                  <a:pt x="6559" y="2343"/>
                </a:lnTo>
                <a:lnTo>
                  <a:pt x="6561" y="2331"/>
                </a:lnTo>
                <a:lnTo>
                  <a:pt x="6562" y="2319"/>
                </a:lnTo>
                <a:lnTo>
                  <a:pt x="6563" y="2307"/>
                </a:lnTo>
                <a:lnTo>
                  <a:pt x="6563" y="2296"/>
                </a:lnTo>
                <a:lnTo>
                  <a:pt x="6563" y="2285"/>
                </a:lnTo>
                <a:lnTo>
                  <a:pt x="6562" y="2275"/>
                </a:lnTo>
                <a:lnTo>
                  <a:pt x="6563" y="2272"/>
                </a:lnTo>
                <a:lnTo>
                  <a:pt x="6565" y="2270"/>
                </a:lnTo>
                <a:lnTo>
                  <a:pt x="6567" y="2268"/>
                </a:lnTo>
                <a:lnTo>
                  <a:pt x="6571" y="2266"/>
                </a:lnTo>
                <a:lnTo>
                  <a:pt x="6578" y="2263"/>
                </a:lnTo>
                <a:lnTo>
                  <a:pt x="6582" y="2263"/>
                </a:lnTo>
                <a:lnTo>
                  <a:pt x="6586" y="2262"/>
                </a:lnTo>
                <a:lnTo>
                  <a:pt x="6593" y="2263"/>
                </a:lnTo>
                <a:lnTo>
                  <a:pt x="6596" y="2264"/>
                </a:lnTo>
                <a:lnTo>
                  <a:pt x="6599" y="2265"/>
                </a:lnTo>
                <a:lnTo>
                  <a:pt x="6605" y="2267"/>
                </a:lnTo>
                <a:lnTo>
                  <a:pt x="6608" y="2269"/>
                </a:lnTo>
                <a:lnTo>
                  <a:pt x="6610" y="2272"/>
                </a:lnTo>
                <a:lnTo>
                  <a:pt x="6614" y="2277"/>
                </a:lnTo>
                <a:lnTo>
                  <a:pt x="6616" y="2281"/>
                </a:lnTo>
                <a:lnTo>
                  <a:pt x="6617" y="2285"/>
                </a:lnTo>
                <a:lnTo>
                  <a:pt x="6618" y="2289"/>
                </a:lnTo>
                <a:lnTo>
                  <a:pt x="6619" y="2294"/>
                </a:lnTo>
                <a:lnTo>
                  <a:pt x="6619" y="2299"/>
                </a:lnTo>
                <a:lnTo>
                  <a:pt x="6620" y="2305"/>
                </a:lnTo>
                <a:lnTo>
                  <a:pt x="6619" y="2322"/>
                </a:lnTo>
                <a:lnTo>
                  <a:pt x="6618" y="2337"/>
                </a:lnTo>
                <a:lnTo>
                  <a:pt x="6617" y="2352"/>
                </a:lnTo>
                <a:lnTo>
                  <a:pt x="6615" y="2368"/>
                </a:lnTo>
                <a:lnTo>
                  <a:pt x="6612" y="2383"/>
                </a:lnTo>
                <a:lnTo>
                  <a:pt x="6609" y="2398"/>
                </a:lnTo>
                <a:lnTo>
                  <a:pt x="6606" y="2413"/>
                </a:lnTo>
                <a:lnTo>
                  <a:pt x="6602" y="2427"/>
                </a:lnTo>
                <a:lnTo>
                  <a:pt x="6597" y="2442"/>
                </a:lnTo>
                <a:lnTo>
                  <a:pt x="6592" y="2455"/>
                </a:lnTo>
                <a:lnTo>
                  <a:pt x="6587" y="2468"/>
                </a:lnTo>
                <a:lnTo>
                  <a:pt x="6581" y="2481"/>
                </a:lnTo>
                <a:lnTo>
                  <a:pt x="6575" y="2495"/>
                </a:lnTo>
                <a:lnTo>
                  <a:pt x="6568" y="2507"/>
                </a:lnTo>
                <a:lnTo>
                  <a:pt x="6561" y="2518"/>
                </a:lnTo>
                <a:lnTo>
                  <a:pt x="6554" y="2529"/>
                </a:lnTo>
                <a:lnTo>
                  <a:pt x="6546" y="2540"/>
                </a:lnTo>
                <a:lnTo>
                  <a:pt x="6538" y="2550"/>
                </a:lnTo>
                <a:lnTo>
                  <a:pt x="6530" y="2561"/>
                </a:lnTo>
                <a:lnTo>
                  <a:pt x="6521" y="2570"/>
                </a:lnTo>
                <a:lnTo>
                  <a:pt x="6512" y="2578"/>
                </a:lnTo>
                <a:lnTo>
                  <a:pt x="6501" y="2586"/>
                </a:lnTo>
                <a:lnTo>
                  <a:pt x="6492" y="2593"/>
                </a:lnTo>
                <a:lnTo>
                  <a:pt x="6482" y="2600"/>
                </a:lnTo>
                <a:lnTo>
                  <a:pt x="6471" y="2606"/>
                </a:lnTo>
                <a:lnTo>
                  <a:pt x="6461" y="2612"/>
                </a:lnTo>
                <a:lnTo>
                  <a:pt x="6449" y="2616"/>
                </a:lnTo>
                <a:lnTo>
                  <a:pt x="6438" y="2620"/>
                </a:lnTo>
                <a:lnTo>
                  <a:pt x="6426" y="2623"/>
                </a:lnTo>
                <a:lnTo>
                  <a:pt x="6415" y="2625"/>
                </a:lnTo>
                <a:lnTo>
                  <a:pt x="6403" y="2626"/>
                </a:lnTo>
                <a:lnTo>
                  <a:pt x="6389" y="2627"/>
                </a:lnTo>
                <a:close/>
                <a:moveTo>
                  <a:pt x="6777" y="2621"/>
                </a:moveTo>
                <a:lnTo>
                  <a:pt x="6775" y="2621"/>
                </a:lnTo>
                <a:lnTo>
                  <a:pt x="6773" y="2620"/>
                </a:lnTo>
                <a:lnTo>
                  <a:pt x="6768" y="2617"/>
                </a:lnTo>
                <a:lnTo>
                  <a:pt x="6761" y="2613"/>
                </a:lnTo>
                <a:lnTo>
                  <a:pt x="6754" y="2607"/>
                </a:lnTo>
                <a:lnTo>
                  <a:pt x="6740" y="2596"/>
                </a:lnTo>
                <a:lnTo>
                  <a:pt x="6725" y="2582"/>
                </a:lnTo>
                <a:lnTo>
                  <a:pt x="6709" y="2566"/>
                </a:lnTo>
                <a:lnTo>
                  <a:pt x="6692" y="2548"/>
                </a:lnTo>
                <a:lnTo>
                  <a:pt x="6676" y="2531"/>
                </a:lnTo>
                <a:lnTo>
                  <a:pt x="6661" y="2515"/>
                </a:lnTo>
                <a:lnTo>
                  <a:pt x="6650" y="2501"/>
                </a:lnTo>
                <a:lnTo>
                  <a:pt x="6646" y="2494"/>
                </a:lnTo>
                <a:lnTo>
                  <a:pt x="6642" y="2488"/>
                </a:lnTo>
                <a:lnTo>
                  <a:pt x="6637" y="2478"/>
                </a:lnTo>
                <a:lnTo>
                  <a:pt x="6633" y="2468"/>
                </a:lnTo>
                <a:lnTo>
                  <a:pt x="6631" y="2458"/>
                </a:lnTo>
                <a:lnTo>
                  <a:pt x="6629" y="2448"/>
                </a:lnTo>
                <a:lnTo>
                  <a:pt x="6629" y="2443"/>
                </a:lnTo>
                <a:lnTo>
                  <a:pt x="6631" y="2437"/>
                </a:lnTo>
                <a:lnTo>
                  <a:pt x="6633" y="2430"/>
                </a:lnTo>
                <a:lnTo>
                  <a:pt x="6635" y="2424"/>
                </a:lnTo>
                <a:lnTo>
                  <a:pt x="6637" y="2418"/>
                </a:lnTo>
                <a:lnTo>
                  <a:pt x="6640" y="2412"/>
                </a:lnTo>
                <a:lnTo>
                  <a:pt x="6644" y="2405"/>
                </a:lnTo>
                <a:lnTo>
                  <a:pt x="6649" y="2398"/>
                </a:lnTo>
                <a:lnTo>
                  <a:pt x="6657" y="2387"/>
                </a:lnTo>
                <a:lnTo>
                  <a:pt x="6668" y="2374"/>
                </a:lnTo>
                <a:lnTo>
                  <a:pt x="6699" y="2339"/>
                </a:lnTo>
                <a:lnTo>
                  <a:pt x="6734" y="2299"/>
                </a:lnTo>
                <a:lnTo>
                  <a:pt x="6770" y="2259"/>
                </a:lnTo>
                <a:lnTo>
                  <a:pt x="6771" y="2258"/>
                </a:lnTo>
                <a:lnTo>
                  <a:pt x="6774" y="2258"/>
                </a:lnTo>
                <a:lnTo>
                  <a:pt x="6778" y="2258"/>
                </a:lnTo>
                <a:lnTo>
                  <a:pt x="6782" y="2260"/>
                </a:lnTo>
                <a:lnTo>
                  <a:pt x="6786" y="2261"/>
                </a:lnTo>
                <a:lnTo>
                  <a:pt x="6790" y="2264"/>
                </a:lnTo>
                <a:lnTo>
                  <a:pt x="6795" y="2267"/>
                </a:lnTo>
                <a:lnTo>
                  <a:pt x="6798" y="2271"/>
                </a:lnTo>
                <a:lnTo>
                  <a:pt x="6802" y="2275"/>
                </a:lnTo>
                <a:lnTo>
                  <a:pt x="6805" y="2280"/>
                </a:lnTo>
                <a:lnTo>
                  <a:pt x="6806" y="2284"/>
                </a:lnTo>
                <a:lnTo>
                  <a:pt x="6807" y="2289"/>
                </a:lnTo>
                <a:lnTo>
                  <a:pt x="6806" y="2295"/>
                </a:lnTo>
                <a:lnTo>
                  <a:pt x="6804" y="2300"/>
                </a:lnTo>
                <a:lnTo>
                  <a:pt x="6801" y="2306"/>
                </a:lnTo>
                <a:lnTo>
                  <a:pt x="6798" y="2313"/>
                </a:lnTo>
                <a:lnTo>
                  <a:pt x="6789" y="2323"/>
                </a:lnTo>
                <a:lnTo>
                  <a:pt x="6778" y="2336"/>
                </a:lnTo>
                <a:lnTo>
                  <a:pt x="6748" y="2369"/>
                </a:lnTo>
                <a:lnTo>
                  <a:pt x="6718" y="2404"/>
                </a:lnTo>
                <a:lnTo>
                  <a:pt x="6706" y="2418"/>
                </a:lnTo>
                <a:lnTo>
                  <a:pt x="6697" y="2430"/>
                </a:lnTo>
                <a:lnTo>
                  <a:pt x="6694" y="2434"/>
                </a:lnTo>
                <a:lnTo>
                  <a:pt x="6693" y="2438"/>
                </a:lnTo>
                <a:lnTo>
                  <a:pt x="6692" y="2442"/>
                </a:lnTo>
                <a:lnTo>
                  <a:pt x="6691" y="2445"/>
                </a:lnTo>
                <a:lnTo>
                  <a:pt x="6692" y="2450"/>
                </a:lnTo>
                <a:lnTo>
                  <a:pt x="6693" y="2454"/>
                </a:lnTo>
                <a:lnTo>
                  <a:pt x="6695" y="2458"/>
                </a:lnTo>
                <a:lnTo>
                  <a:pt x="6698" y="2463"/>
                </a:lnTo>
                <a:lnTo>
                  <a:pt x="6706" y="2472"/>
                </a:lnTo>
                <a:lnTo>
                  <a:pt x="6716" y="2484"/>
                </a:lnTo>
                <a:lnTo>
                  <a:pt x="6743" y="2514"/>
                </a:lnTo>
                <a:lnTo>
                  <a:pt x="6776" y="2546"/>
                </a:lnTo>
                <a:lnTo>
                  <a:pt x="6807" y="2577"/>
                </a:lnTo>
                <a:lnTo>
                  <a:pt x="6809" y="2579"/>
                </a:lnTo>
                <a:lnTo>
                  <a:pt x="6811" y="2581"/>
                </a:lnTo>
                <a:lnTo>
                  <a:pt x="6812" y="2584"/>
                </a:lnTo>
                <a:lnTo>
                  <a:pt x="6813" y="2586"/>
                </a:lnTo>
                <a:lnTo>
                  <a:pt x="6812" y="2592"/>
                </a:lnTo>
                <a:lnTo>
                  <a:pt x="6811" y="2595"/>
                </a:lnTo>
                <a:lnTo>
                  <a:pt x="6808" y="2597"/>
                </a:lnTo>
                <a:lnTo>
                  <a:pt x="6805" y="2603"/>
                </a:lnTo>
                <a:lnTo>
                  <a:pt x="6803" y="2606"/>
                </a:lnTo>
                <a:lnTo>
                  <a:pt x="6800" y="2608"/>
                </a:lnTo>
                <a:lnTo>
                  <a:pt x="6795" y="2614"/>
                </a:lnTo>
                <a:lnTo>
                  <a:pt x="6792" y="2616"/>
                </a:lnTo>
                <a:lnTo>
                  <a:pt x="6789" y="2618"/>
                </a:lnTo>
                <a:lnTo>
                  <a:pt x="6783" y="2620"/>
                </a:lnTo>
                <a:lnTo>
                  <a:pt x="6780" y="2621"/>
                </a:lnTo>
                <a:lnTo>
                  <a:pt x="6777" y="2621"/>
                </a:lnTo>
                <a:close/>
                <a:moveTo>
                  <a:pt x="7160" y="639"/>
                </a:moveTo>
                <a:lnTo>
                  <a:pt x="7152" y="639"/>
                </a:lnTo>
                <a:lnTo>
                  <a:pt x="7144" y="639"/>
                </a:lnTo>
                <a:lnTo>
                  <a:pt x="7137" y="637"/>
                </a:lnTo>
                <a:lnTo>
                  <a:pt x="7130" y="636"/>
                </a:lnTo>
                <a:lnTo>
                  <a:pt x="7122" y="634"/>
                </a:lnTo>
                <a:lnTo>
                  <a:pt x="7115" y="632"/>
                </a:lnTo>
                <a:lnTo>
                  <a:pt x="7101" y="625"/>
                </a:lnTo>
                <a:lnTo>
                  <a:pt x="7087" y="618"/>
                </a:lnTo>
                <a:lnTo>
                  <a:pt x="7081" y="613"/>
                </a:lnTo>
                <a:lnTo>
                  <a:pt x="7075" y="609"/>
                </a:lnTo>
                <a:lnTo>
                  <a:pt x="7069" y="604"/>
                </a:lnTo>
                <a:lnTo>
                  <a:pt x="7064" y="599"/>
                </a:lnTo>
                <a:lnTo>
                  <a:pt x="7058" y="593"/>
                </a:lnTo>
                <a:lnTo>
                  <a:pt x="7053" y="588"/>
                </a:lnTo>
                <a:lnTo>
                  <a:pt x="7047" y="582"/>
                </a:lnTo>
                <a:lnTo>
                  <a:pt x="7042" y="575"/>
                </a:lnTo>
                <a:lnTo>
                  <a:pt x="7038" y="568"/>
                </a:lnTo>
                <a:lnTo>
                  <a:pt x="7034" y="561"/>
                </a:lnTo>
                <a:lnTo>
                  <a:pt x="7030" y="554"/>
                </a:lnTo>
                <a:lnTo>
                  <a:pt x="7026" y="546"/>
                </a:lnTo>
                <a:lnTo>
                  <a:pt x="7023" y="539"/>
                </a:lnTo>
                <a:lnTo>
                  <a:pt x="7020" y="531"/>
                </a:lnTo>
                <a:lnTo>
                  <a:pt x="7017" y="523"/>
                </a:lnTo>
                <a:lnTo>
                  <a:pt x="7015" y="515"/>
                </a:lnTo>
                <a:lnTo>
                  <a:pt x="7013" y="505"/>
                </a:lnTo>
                <a:lnTo>
                  <a:pt x="7011" y="497"/>
                </a:lnTo>
                <a:lnTo>
                  <a:pt x="7010" y="488"/>
                </a:lnTo>
                <a:lnTo>
                  <a:pt x="7009" y="479"/>
                </a:lnTo>
                <a:lnTo>
                  <a:pt x="7008" y="470"/>
                </a:lnTo>
                <a:lnTo>
                  <a:pt x="7008" y="461"/>
                </a:lnTo>
                <a:lnTo>
                  <a:pt x="7009" y="441"/>
                </a:lnTo>
                <a:lnTo>
                  <a:pt x="7010" y="432"/>
                </a:lnTo>
                <a:lnTo>
                  <a:pt x="7011" y="423"/>
                </a:lnTo>
                <a:lnTo>
                  <a:pt x="7013" y="414"/>
                </a:lnTo>
                <a:lnTo>
                  <a:pt x="7015" y="405"/>
                </a:lnTo>
                <a:lnTo>
                  <a:pt x="7018" y="396"/>
                </a:lnTo>
                <a:lnTo>
                  <a:pt x="7021" y="387"/>
                </a:lnTo>
                <a:lnTo>
                  <a:pt x="7024" y="378"/>
                </a:lnTo>
                <a:lnTo>
                  <a:pt x="7027" y="370"/>
                </a:lnTo>
                <a:lnTo>
                  <a:pt x="7031" y="362"/>
                </a:lnTo>
                <a:lnTo>
                  <a:pt x="7035" y="354"/>
                </a:lnTo>
                <a:lnTo>
                  <a:pt x="7039" y="347"/>
                </a:lnTo>
                <a:lnTo>
                  <a:pt x="7044" y="339"/>
                </a:lnTo>
                <a:lnTo>
                  <a:pt x="7055" y="325"/>
                </a:lnTo>
                <a:lnTo>
                  <a:pt x="7061" y="318"/>
                </a:lnTo>
                <a:lnTo>
                  <a:pt x="7067" y="312"/>
                </a:lnTo>
                <a:lnTo>
                  <a:pt x="7079" y="301"/>
                </a:lnTo>
                <a:lnTo>
                  <a:pt x="7085" y="295"/>
                </a:lnTo>
                <a:lnTo>
                  <a:pt x="7092" y="291"/>
                </a:lnTo>
                <a:lnTo>
                  <a:pt x="7099" y="286"/>
                </a:lnTo>
                <a:lnTo>
                  <a:pt x="7106" y="282"/>
                </a:lnTo>
                <a:lnTo>
                  <a:pt x="7114" y="278"/>
                </a:lnTo>
                <a:lnTo>
                  <a:pt x="7122" y="275"/>
                </a:lnTo>
                <a:lnTo>
                  <a:pt x="7129" y="273"/>
                </a:lnTo>
                <a:lnTo>
                  <a:pt x="7137" y="269"/>
                </a:lnTo>
                <a:lnTo>
                  <a:pt x="7145" y="268"/>
                </a:lnTo>
                <a:lnTo>
                  <a:pt x="7153" y="266"/>
                </a:lnTo>
                <a:lnTo>
                  <a:pt x="7161" y="265"/>
                </a:lnTo>
                <a:lnTo>
                  <a:pt x="7169" y="265"/>
                </a:lnTo>
                <a:lnTo>
                  <a:pt x="7180" y="266"/>
                </a:lnTo>
                <a:lnTo>
                  <a:pt x="7185" y="266"/>
                </a:lnTo>
                <a:lnTo>
                  <a:pt x="7190" y="267"/>
                </a:lnTo>
                <a:lnTo>
                  <a:pt x="7195" y="268"/>
                </a:lnTo>
                <a:lnTo>
                  <a:pt x="7199" y="269"/>
                </a:lnTo>
                <a:lnTo>
                  <a:pt x="7208" y="273"/>
                </a:lnTo>
                <a:lnTo>
                  <a:pt x="7215" y="277"/>
                </a:lnTo>
                <a:lnTo>
                  <a:pt x="7223" y="282"/>
                </a:lnTo>
                <a:lnTo>
                  <a:pt x="7229" y="287"/>
                </a:lnTo>
                <a:lnTo>
                  <a:pt x="7236" y="293"/>
                </a:lnTo>
                <a:lnTo>
                  <a:pt x="7239" y="297"/>
                </a:lnTo>
                <a:lnTo>
                  <a:pt x="7242" y="300"/>
                </a:lnTo>
                <a:lnTo>
                  <a:pt x="7247" y="307"/>
                </a:lnTo>
                <a:lnTo>
                  <a:pt x="7251" y="315"/>
                </a:lnTo>
                <a:lnTo>
                  <a:pt x="7254" y="323"/>
                </a:lnTo>
                <a:lnTo>
                  <a:pt x="7257" y="333"/>
                </a:lnTo>
                <a:lnTo>
                  <a:pt x="7258" y="342"/>
                </a:lnTo>
                <a:lnTo>
                  <a:pt x="7260" y="352"/>
                </a:lnTo>
                <a:lnTo>
                  <a:pt x="7260" y="362"/>
                </a:lnTo>
                <a:lnTo>
                  <a:pt x="7259" y="374"/>
                </a:lnTo>
                <a:lnTo>
                  <a:pt x="7258" y="380"/>
                </a:lnTo>
                <a:lnTo>
                  <a:pt x="7257" y="386"/>
                </a:lnTo>
                <a:lnTo>
                  <a:pt x="7253" y="399"/>
                </a:lnTo>
                <a:lnTo>
                  <a:pt x="7248" y="411"/>
                </a:lnTo>
                <a:lnTo>
                  <a:pt x="7242" y="422"/>
                </a:lnTo>
                <a:lnTo>
                  <a:pt x="7235" y="433"/>
                </a:lnTo>
                <a:lnTo>
                  <a:pt x="7231" y="438"/>
                </a:lnTo>
                <a:lnTo>
                  <a:pt x="7225" y="442"/>
                </a:lnTo>
                <a:lnTo>
                  <a:pt x="7216" y="453"/>
                </a:lnTo>
                <a:lnTo>
                  <a:pt x="7206" y="461"/>
                </a:lnTo>
                <a:lnTo>
                  <a:pt x="7201" y="465"/>
                </a:lnTo>
                <a:lnTo>
                  <a:pt x="7195" y="469"/>
                </a:lnTo>
                <a:lnTo>
                  <a:pt x="7184" y="475"/>
                </a:lnTo>
                <a:lnTo>
                  <a:pt x="7172" y="481"/>
                </a:lnTo>
                <a:lnTo>
                  <a:pt x="7159" y="486"/>
                </a:lnTo>
                <a:lnTo>
                  <a:pt x="7153" y="487"/>
                </a:lnTo>
                <a:lnTo>
                  <a:pt x="7147" y="489"/>
                </a:lnTo>
                <a:lnTo>
                  <a:pt x="7141" y="490"/>
                </a:lnTo>
                <a:lnTo>
                  <a:pt x="7135" y="491"/>
                </a:lnTo>
                <a:lnTo>
                  <a:pt x="7122" y="492"/>
                </a:lnTo>
                <a:lnTo>
                  <a:pt x="7117" y="491"/>
                </a:lnTo>
                <a:lnTo>
                  <a:pt x="7112" y="489"/>
                </a:lnTo>
                <a:lnTo>
                  <a:pt x="7106" y="486"/>
                </a:lnTo>
                <a:lnTo>
                  <a:pt x="7104" y="485"/>
                </a:lnTo>
                <a:lnTo>
                  <a:pt x="7102" y="483"/>
                </a:lnTo>
                <a:lnTo>
                  <a:pt x="7099" y="478"/>
                </a:lnTo>
                <a:lnTo>
                  <a:pt x="7097" y="473"/>
                </a:lnTo>
                <a:lnTo>
                  <a:pt x="7096" y="470"/>
                </a:lnTo>
                <a:lnTo>
                  <a:pt x="7095" y="467"/>
                </a:lnTo>
                <a:lnTo>
                  <a:pt x="7095" y="460"/>
                </a:lnTo>
                <a:lnTo>
                  <a:pt x="7095" y="458"/>
                </a:lnTo>
                <a:lnTo>
                  <a:pt x="7095" y="455"/>
                </a:lnTo>
                <a:lnTo>
                  <a:pt x="7096" y="449"/>
                </a:lnTo>
                <a:lnTo>
                  <a:pt x="7097" y="447"/>
                </a:lnTo>
                <a:lnTo>
                  <a:pt x="7099" y="445"/>
                </a:lnTo>
                <a:lnTo>
                  <a:pt x="7100" y="443"/>
                </a:lnTo>
                <a:lnTo>
                  <a:pt x="7102" y="442"/>
                </a:lnTo>
                <a:lnTo>
                  <a:pt x="7114" y="440"/>
                </a:lnTo>
                <a:lnTo>
                  <a:pt x="7124" y="438"/>
                </a:lnTo>
                <a:lnTo>
                  <a:pt x="7134" y="434"/>
                </a:lnTo>
                <a:lnTo>
                  <a:pt x="7144" y="430"/>
                </a:lnTo>
                <a:lnTo>
                  <a:pt x="7153" y="426"/>
                </a:lnTo>
                <a:lnTo>
                  <a:pt x="7161" y="421"/>
                </a:lnTo>
                <a:lnTo>
                  <a:pt x="7169" y="415"/>
                </a:lnTo>
                <a:lnTo>
                  <a:pt x="7174" y="412"/>
                </a:lnTo>
                <a:lnTo>
                  <a:pt x="7177" y="409"/>
                </a:lnTo>
                <a:lnTo>
                  <a:pt x="7184" y="403"/>
                </a:lnTo>
                <a:lnTo>
                  <a:pt x="7190" y="397"/>
                </a:lnTo>
                <a:lnTo>
                  <a:pt x="7195" y="389"/>
                </a:lnTo>
                <a:lnTo>
                  <a:pt x="7199" y="382"/>
                </a:lnTo>
                <a:lnTo>
                  <a:pt x="7202" y="375"/>
                </a:lnTo>
                <a:lnTo>
                  <a:pt x="7205" y="368"/>
                </a:lnTo>
                <a:lnTo>
                  <a:pt x="7206" y="361"/>
                </a:lnTo>
                <a:lnTo>
                  <a:pt x="7207" y="354"/>
                </a:lnTo>
                <a:lnTo>
                  <a:pt x="7206" y="346"/>
                </a:lnTo>
                <a:lnTo>
                  <a:pt x="7204" y="338"/>
                </a:lnTo>
                <a:lnTo>
                  <a:pt x="7202" y="335"/>
                </a:lnTo>
                <a:lnTo>
                  <a:pt x="7200" y="332"/>
                </a:lnTo>
                <a:lnTo>
                  <a:pt x="7198" y="328"/>
                </a:lnTo>
                <a:lnTo>
                  <a:pt x="7196" y="326"/>
                </a:lnTo>
                <a:lnTo>
                  <a:pt x="7190" y="322"/>
                </a:lnTo>
                <a:lnTo>
                  <a:pt x="7187" y="320"/>
                </a:lnTo>
                <a:lnTo>
                  <a:pt x="7183" y="318"/>
                </a:lnTo>
                <a:lnTo>
                  <a:pt x="7175" y="317"/>
                </a:lnTo>
                <a:lnTo>
                  <a:pt x="7171" y="316"/>
                </a:lnTo>
                <a:lnTo>
                  <a:pt x="7165" y="316"/>
                </a:lnTo>
                <a:lnTo>
                  <a:pt x="7157" y="317"/>
                </a:lnTo>
                <a:lnTo>
                  <a:pt x="7152" y="318"/>
                </a:lnTo>
                <a:lnTo>
                  <a:pt x="7148" y="319"/>
                </a:lnTo>
                <a:lnTo>
                  <a:pt x="7143" y="320"/>
                </a:lnTo>
                <a:lnTo>
                  <a:pt x="7139" y="322"/>
                </a:lnTo>
                <a:lnTo>
                  <a:pt x="7134" y="324"/>
                </a:lnTo>
                <a:lnTo>
                  <a:pt x="7130" y="327"/>
                </a:lnTo>
                <a:lnTo>
                  <a:pt x="7126" y="330"/>
                </a:lnTo>
                <a:lnTo>
                  <a:pt x="7122" y="334"/>
                </a:lnTo>
                <a:lnTo>
                  <a:pt x="7113" y="341"/>
                </a:lnTo>
                <a:lnTo>
                  <a:pt x="7104" y="349"/>
                </a:lnTo>
                <a:lnTo>
                  <a:pt x="7097" y="358"/>
                </a:lnTo>
                <a:lnTo>
                  <a:pt x="7094" y="363"/>
                </a:lnTo>
                <a:lnTo>
                  <a:pt x="7090" y="368"/>
                </a:lnTo>
                <a:lnTo>
                  <a:pt x="7084" y="379"/>
                </a:lnTo>
                <a:lnTo>
                  <a:pt x="7078" y="390"/>
                </a:lnTo>
                <a:lnTo>
                  <a:pt x="7074" y="403"/>
                </a:lnTo>
                <a:lnTo>
                  <a:pt x="7070" y="416"/>
                </a:lnTo>
                <a:lnTo>
                  <a:pt x="7067" y="430"/>
                </a:lnTo>
                <a:lnTo>
                  <a:pt x="7065" y="443"/>
                </a:lnTo>
                <a:lnTo>
                  <a:pt x="7065" y="450"/>
                </a:lnTo>
                <a:lnTo>
                  <a:pt x="7065" y="459"/>
                </a:lnTo>
                <a:lnTo>
                  <a:pt x="7065" y="471"/>
                </a:lnTo>
                <a:lnTo>
                  <a:pt x="7066" y="483"/>
                </a:lnTo>
                <a:lnTo>
                  <a:pt x="7069" y="495"/>
                </a:lnTo>
                <a:lnTo>
                  <a:pt x="7070" y="501"/>
                </a:lnTo>
                <a:lnTo>
                  <a:pt x="7072" y="506"/>
                </a:lnTo>
                <a:lnTo>
                  <a:pt x="7075" y="518"/>
                </a:lnTo>
                <a:lnTo>
                  <a:pt x="7077" y="523"/>
                </a:lnTo>
                <a:lnTo>
                  <a:pt x="7080" y="527"/>
                </a:lnTo>
                <a:lnTo>
                  <a:pt x="7082" y="532"/>
                </a:lnTo>
                <a:lnTo>
                  <a:pt x="7085" y="536"/>
                </a:lnTo>
                <a:lnTo>
                  <a:pt x="7088" y="541"/>
                </a:lnTo>
                <a:lnTo>
                  <a:pt x="7091" y="545"/>
                </a:lnTo>
                <a:lnTo>
                  <a:pt x="7094" y="548"/>
                </a:lnTo>
                <a:lnTo>
                  <a:pt x="7097" y="552"/>
                </a:lnTo>
                <a:lnTo>
                  <a:pt x="7105" y="559"/>
                </a:lnTo>
                <a:lnTo>
                  <a:pt x="7114" y="564"/>
                </a:lnTo>
                <a:lnTo>
                  <a:pt x="7122" y="569"/>
                </a:lnTo>
                <a:lnTo>
                  <a:pt x="7131" y="574"/>
                </a:lnTo>
                <a:lnTo>
                  <a:pt x="7141" y="577"/>
                </a:lnTo>
                <a:lnTo>
                  <a:pt x="7151" y="579"/>
                </a:lnTo>
                <a:lnTo>
                  <a:pt x="7156" y="579"/>
                </a:lnTo>
                <a:lnTo>
                  <a:pt x="7162" y="579"/>
                </a:lnTo>
                <a:lnTo>
                  <a:pt x="7173" y="579"/>
                </a:lnTo>
                <a:lnTo>
                  <a:pt x="7183" y="577"/>
                </a:lnTo>
                <a:lnTo>
                  <a:pt x="7193" y="575"/>
                </a:lnTo>
                <a:lnTo>
                  <a:pt x="7203" y="570"/>
                </a:lnTo>
                <a:lnTo>
                  <a:pt x="7212" y="566"/>
                </a:lnTo>
                <a:lnTo>
                  <a:pt x="7221" y="561"/>
                </a:lnTo>
                <a:lnTo>
                  <a:pt x="7231" y="555"/>
                </a:lnTo>
                <a:lnTo>
                  <a:pt x="7239" y="549"/>
                </a:lnTo>
                <a:lnTo>
                  <a:pt x="7247" y="541"/>
                </a:lnTo>
                <a:lnTo>
                  <a:pt x="7254" y="534"/>
                </a:lnTo>
                <a:lnTo>
                  <a:pt x="7262" y="525"/>
                </a:lnTo>
                <a:lnTo>
                  <a:pt x="7269" y="516"/>
                </a:lnTo>
                <a:lnTo>
                  <a:pt x="7282" y="496"/>
                </a:lnTo>
                <a:lnTo>
                  <a:pt x="7288" y="485"/>
                </a:lnTo>
                <a:lnTo>
                  <a:pt x="7294" y="475"/>
                </a:lnTo>
                <a:lnTo>
                  <a:pt x="7299" y="464"/>
                </a:lnTo>
                <a:lnTo>
                  <a:pt x="7304" y="452"/>
                </a:lnTo>
                <a:lnTo>
                  <a:pt x="7309" y="440"/>
                </a:lnTo>
                <a:lnTo>
                  <a:pt x="7313" y="428"/>
                </a:lnTo>
                <a:lnTo>
                  <a:pt x="7317" y="416"/>
                </a:lnTo>
                <a:lnTo>
                  <a:pt x="7320" y="404"/>
                </a:lnTo>
                <a:lnTo>
                  <a:pt x="7323" y="392"/>
                </a:lnTo>
                <a:lnTo>
                  <a:pt x="7326" y="379"/>
                </a:lnTo>
                <a:lnTo>
                  <a:pt x="7328" y="367"/>
                </a:lnTo>
                <a:lnTo>
                  <a:pt x="7330" y="355"/>
                </a:lnTo>
                <a:lnTo>
                  <a:pt x="7331" y="343"/>
                </a:lnTo>
                <a:lnTo>
                  <a:pt x="7332" y="332"/>
                </a:lnTo>
                <a:lnTo>
                  <a:pt x="7333" y="320"/>
                </a:lnTo>
                <a:lnTo>
                  <a:pt x="7333" y="308"/>
                </a:lnTo>
                <a:lnTo>
                  <a:pt x="7333" y="298"/>
                </a:lnTo>
                <a:lnTo>
                  <a:pt x="7333" y="287"/>
                </a:lnTo>
                <a:lnTo>
                  <a:pt x="7334" y="285"/>
                </a:lnTo>
                <a:lnTo>
                  <a:pt x="7335" y="283"/>
                </a:lnTo>
                <a:lnTo>
                  <a:pt x="7337" y="281"/>
                </a:lnTo>
                <a:lnTo>
                  <a:pt x="7340" y="279"/>
                </a:lnTo>
                <a:lnTo>
                  <a:pt x="7347" y="276"/>
                </a:lnTo>
                <a:lnTo>
                  <a:pt x="7352" y="275"/>
                </a:lnTo>
                <a:lnTo>
                  <a:pt x="7356" y="275"/>
                </a:lnTo>
                <a:lnTo>
                  <a:pt x="7363" y="276"/>
                </a:lnTo>
                <a:lnTo>
                  <a:pt x="7366" y="276"/>
                </a:lnTo>
                <a:lnTo>
                  <a:pt x="7370" y="277"/>
                </a:lnTo>
                <a:lnTo>
                  <a:pt x="7375" y="280"/>
                </a:lnTo>
                <a:lnTo>
                  <a:pt x="7378" y="282"/>
                </a:lnTo>
                <a:lnTo>
                  <a:pt x="7380" y="284"/>
                </a:lnTo>
                <a:lnTo>
                  <a:pt x="7384" y="290"/>
                </a:lnTo>
                <a:lnTo>
                  <a:pt x="7386" y="294"/>
                </a:lnTo>
                <a:lnTo>
                  <a:pt x="7387" y="297"/>
                </a:lnTo>
                <a:lnTo>
                  <a:pt x="7388" y="302"/>
                </a:lnTo>
                <a:lnTo>
                  <a:pt x="7389" y="307"/>
                </a:lnTo>
                <a:lnTo>
                  <a:pt x="7390" y="312"/>
                </a:lnTo>
                <a:lnTo>
                  <a:pt x="7390" y="318"/>
                </a:lnTo>
                <a:lnTo>
                  <a:pt x="7389" y="334"/>
                </a:lnTo>
                <a:lnTo>
                  <a:pt x="7388" y="350"/>
                </a:lnTo>
                <a:lnTo>
                  <a:pt x="7387" y="365"/>
                </a:lnTo>
                <a:lnTo>
                  <a:pt x="7385" y="380"/>
                </a:lnTo>
                <a:lnTo>
                  <a:pt x="7382" y="396"/>
                </a:lnTo>
                <a:lnTo>
                  <a:pt x="7379" y="411"/>
                </a:lnTo>
                <a:lnTo>
                  <a:pt x="7376" y="425"/>
                </a:lnTo>
                <a:lnTo>
                  <a:pt x="7372" y="439"/>
                </a:lnTo>
                <a:lnTo>
                  <a:pt x="7367" y="454"/>
                </a:lnTo>
                <a:lnTo>
                  <a:pt x="7363" y="468"/>
                </a:lnTo>
                <a:lnTo>
                  <a:pt x="7357" y="481"/>
                </a:lnTo>
                <a:lnTo>
                  <a:pt x="7352" y="494"/>
                </a:lnTo>
                <a:lnTo>
                  <a:pt x="7345" y="506"/>
                </a:lnTo>
                <a:lnTo>
                  <a:pt x="7338" y="519"/>
                </a:lnTo>
                <a:lnTo>
                  <a:pt x="7331" y="531"/>
                </a:lnTo>
                <a:lnTo>
                  <a:pt x="7324" y="542"/>
                </a:lnTo>
                <a:lnTo>
                  <a:pt x="7316" y="553"/>
                </a:lnTo>
                <a:lnTo>
                  <a:pt x="7308" y="563"/>
                </a:lnTo>
                <a:lnTo>
                  <a:pt x="7300" y="573"/>
                </a:lnTo>
                <a:lnTo>
                  <a:pt x="7291" y="582"/>
                </a:lnTo>
                <a:lnTo>
                  <a:pt x="7281" y="591"/>
                </a:lnTo>
                <a:lnTo>
                  <a:pt x="7272" y="599"/>
                </a:lnTo>
                <a:lnTo>
                  <a:pt x="7262" y="606"/>
                </a:lnTo>
                <a:lnTo>
                  <a:pt x="7252" y="612"/>
                </a:lnTo>
                <a:lnTo>
                  <a:pt x="7242" y="618"/>
                </a:lnTo>
                <a:lnTo>
                  <a:pt x="7231" y="624"/>
                </a:lnTo>
                <a:lnTo>
                  <a:pt x="7219" y="628"/>
                </a:lnTo>
                <a:lnTo>
                  <a:pt x="7208" y="633"/>
                </a:lnTo>
                <a:lnTo>
                  <a:pt x="7196" y="636"/>
                </a:lnTo>
                <a:lnTo>
                  <a:pt x="7185" y="638"/>
                </a:lnTo>
                <a:lnTo>
                  <a:pt x="7173" y="639"/>
                </a:lnTo>
                <a:lnTo>
                  <a:pt x="7160" y="639"/>
                </a:lnTo>
                <a:close/>
                <a:moveTo>
                  <a:pt x="7547" y="634"/>
                </a:moveTo>
                <a:lnTo>
                  <a:pt x="7546" y="633"/>
                </a:lnTo>
                <a:lnTo>
                  <a:pt x="7543" y="633"/>
                </a:lnTo>
                <a:lnTo>
                  <a:pt x="7538" y="629"/>
                </a:lnTo>
                <a:lnTo>
                  <a:pt x="7532" y="625"/>
                </a:lnTo>
                <a:lnTo>
                  <a:pt x="7523" y="619"/>
                </a:lnTo>
                <a:lnTo>
                  <a:pt x="7511" y="608"/>
                </a:lnTo>
                <a:lnTo>
                  <a:pt x="7496" y="595"/>
                </a:lnTo>
                <a:lnTo>
                  <a:pt x="7479" y="579"/>
                </a:lnTo>
                <a:lnTo>
                  <a:pt x="7462" y="561"/>
                </a:lnTo>
                <a:lnTo>
                  <a:pt x="7446" y="544"/>
                </a:lnTo>
                <a:lnTo>
                  <a:pt x="7432" y="527"/>
                </a:lnTo>
                <a:lnTo>
                  <a:pt x="7420" y="513"/>
                </a:lnTo>
                <a:lnTo>
                  <a:pt x="7416" y="506"/>
                </a:lnTo>
                <a:lnTo>
                  <a:pt x="7413" y="501"/>
                </a:lnTo>
                <a:lnTo>
                  <a:pt x="7406" y="490"/>
                </a:lnTo>
                <a:lnTo>
                  <a:pt x="7403" y="481"/>
                </a:lnTo>
                <a:lnTo>
                  <a:pt x="7400" y="471"/>
                </a:lnTo>
                <a:lnTo>
                  <a:pt x="7399" y="461"/>
                </a:lnTo>
                <a:lnTo>
                  <a:pt x="7400" y="456"/>
                </a:lnTo>
                <a:lnTo>
                  <a:pt x="7400" y="449"/>
                </a:lnTo>
                <a:lnTo>
                  <a:pt x="7402" y="443"/>
                </a:lnTo>
                <a:lnTo>
                  <a:pt x="7404" y="437"/>
                </a:lnTo>
                <a:lnTo>
                  <a:pt x="7406" y="431"/>
                </a:lnTo>
                <a:lnTo>
                  <a:pt x="7411" y="424"/>
                </a:lnTo>
                <a:lnTo>
                  <a:pt x="7414" y="418"/>
                </a:lnTo>
                <a:lnTo>
                  <a:pt x="7419" y="411"/>
                </a:lnTo>
                <a:lnTo>
                  <a:pt x="7427" y="400"/>
                </a:lnTo>
                <a:lnTo>
                  <a:pt x="7438" y="385"/>
                </a:lnTo>
                <a:lnTo>
                  <a:pt x="7468" y="352"/>
                </a:lnTo>
                <a:lnTo>
                  <a:pt x="7504" y="312"/>
                </a:lnTo>
                <a:lnTo>
                  <a:pt x="7540" y="270"/>
                </a:lnTo>
                <a:lnTo>
                  <a:pt x="7541" y="270"/>
                </a:lnTo>
                <a:lnTo>
                  <a:pt x="7544" y="270"/>
                </a:lnTo>
                <a:lnTo>
                  <a:pt x="7548" y="270"/>
                </a:lnTo>
                <a:lnTo>
                  <a:pt x="7552" y="272"/>
                </a:lnTo>
                <a:lnTo>
                  <a:pt x="7556" y="274"/>
                </a:lnTo>
                <a:lnTo>
                  <a:pt x="7560" y="276"/>
                </a:lnTo>
                <a:lnTo>
                  <a:pt x="7565" y="280"/>
                </a:lnTo>
                <a:lnTo>
                  <a:pt x="7569" y="283"/>
                </a:lnTo>
                <a:lnTo>
                  <a:pt x="7572" y="288"/>
                </a:lnTo>
                <a:lnTo>
                  <a:pt x="7575" y="292"/>
                </a:lnTo>
                <a:lnTo>
                  <a:pt x="7576" y="297"/>
                </a:lnTo>
                <a:lnTo>
                  <a:pt x="7577" y="302"/>
                </a:lnTo>
                <a:lnTo>
                  <a:pt x="7576" y="307"/>
                </a:lnTo>
                <a:lnTo>
                  <a:pt x="7574" y="313"/>
                </a:lnTo>
                <a:lnTo>
                  <a:pt x="7572" y="318"/>
                </a:lnTo>
                <a:lnTo>
                  <a:pt x="7568" y="324"/>
                </a:lnTo>
                <a:lnTo>
                  <a:pt x="7560" y="336"/>
                </a:lnTo>
                <a:lnTo>
                  <a:pt x="7548" y="349"/>
                </a:lnTo>
                <a:lnTo>
                  <a:pt x="7518" y="382"/>
                </a:lnTo>
                <a:lnTo>
                  <a:pt x="7488" y="416"/>
                </a:lnTo>
                <a:lnTo>
                  <a:pt x="7476" y="431"/>
                </a:lnTo>
                <a:lnTo>
                  <a:pt x="7466" y="442"/>
                </a:lnTo>
                <a:lnTo>
                  <a:pt x="7464" y="446"/>
                </a:lnTo>
                <a:lnTo>
                  <a:pt x="7462" y="450"/>
                </a:lnTo>
                <a:lnTo>
                  <a:pt x="7461" y="454"/>
                </a:lnTo>
                <a:lnTo>
                  <a:pt x="7460" y="458"/>
                </a:lnTo>
                <a:lnTo>
                  <a:pt x="7461" y="462"/>
                </a:lnTo>
                <a:lnTo>
                  <a:pt x="7462" y="467"/>
                </a:lnTo>
                <a:lnTo>
                  <a:pt x="7464" y="471"/>
                </a:lnTo>
                <a:lnTo>
                  <a:pt x="7467" y="476"/>
                </a:lnTo>
                <a:lnTo>
                  <a:pt x="7476" y="485"/>
                </a:lnTo>
                <a:lnTo>
                  <a:pt x="7486" y="497"/>
                </a:lnTo>
                <a:lnTo>
                  <a:pt x="7514" y="527"/>
                </a:lnTo>
                <a:lnTo>
                  <a:pt x="7546" y="559"/>
                </a:lnTo>
                <a:lnTo>
                  <a:pt x="7577" y="590"/>
                </a:lnTo>
                <a:lnTo>
                  <a:pt x="7579" y="592"/>
                </a:lnTo>
                <a:lnTo>
                  <a:pt x="7581" y="594"/>
                </a:lnTo>
                <a:lnTo>
                  <a:pt x="7582" y="596"/>
                </a:lnTo>
                <a:lnTo>
                  <a:pt x="7582" y="599"/>
                </a:lnTo>
                <a:lnTo>
                  <a:pt x="7581" y="604"/>
                </a:lnTo>
                <a:lnTo>
                  <a:pt x="7580" y="607"/>
                </a:lnTo>
                <a:lnTo>
                  <a:pt x="7579" y="610"/>
                </a:lnTo>
                <a:lnTo>
                  <a:pt x="7575" y="616"/>
                </a:lnTo>
                <a:lnTo>
                  <a:pt x="7573" y="618"/>
                </a:lnTo>
                <a:lnTo>
                  <a:pt x="7570" y="621"/>
                </a:lnTo>
                <a:lnTo>
                  <a:pt x="7565" y="626"/>
                </a:lnTo>
                <a:lnTo>
                  <a:pt x="7562" y="628"/>
                </a:lnTo>
                <a:lnTo>
                  <a:pt x="7559" y="629"/>
                </a:lnTo>
                <a:lnTo>
                  <a:pt x="7553" y="633"/>
                </a:lnTo>
                <a:lnTo>
                  <a:pt x="7550" y="633"/>
                </a:lnTo>
                <a:lnTo>
                  <a:pt x="7547" y="634"/>
                </a:lnTo>
                <a:close/>
                <a:moveTo>
                  <a:pt x="7160" y="1633"/>
                </a:moveTo>
                <a:lnTo>
                  <a:pt x="7152" y="1632"/>
                </a:lnTo>
                <a:lnTo>
                  <a:pt x="7144" y="1632"/>
                </a:lnTo>
                <a:lnTo>
                  <a:pt x="7137" y="1631"/>
                </a:lnTo>
                <a:lnTo>
                  <a:pt x="7130" y="1629"/>
                </a:lnTo>
                <a:lnTo>
                  <a:pt x="7122" y="1627"/>
                </a:lnTo>
                <a:lnTo>
                  <a:pt x="7115" y="1625"/>
                </a:lnTo>
                <a:lnTo>
                  <a:pt x="7101" y="1619"/>
                </a:lnTo>
                <a:lnTo>
                  <a:pt x="7087" y="1612"/>
                </a:lnTo>
                <a:lnTo>
                  <a:pt x="7081" y="1608"/>
                </a:lnTo>
                <a:lnTo>
                  <a:pt x="7075" y="1603"/>
                </a:lnTo>
                <a:lnTo>
                  <a:pt x="7069" y="1598"/>
                </a:lnTo>
                <a:lnTo>
                  <a:pt x="7064" y="1593"/>
                </a:lnTo>
                <a:lnTo>
                  <a:pt x="7058" y="1587"/>
                </a:lnTo>
                <a:lnTo>
                  <a:pt x="7053" y="1581"/>
                </a:lnTo>
                <a:lnTo>
                  <a:pt x="7047" y="1575"/>
                </a:lnTo>
                <a:lnTo>
                  <a:pt x="7042" y="1568"/>
                </a:lnTo>
                <a:lnTo>
                  <a:pt x="7038" y="1562"/>
                </a:lnTo>
                <a:lnTo>
                  <a:pt x="7034" y="1555"/>
                </a:lnTo>
                <a:lnTo>
                  <a:pt x="7030" y="1548"/>
                </a:lnTo>
                <a:lnTo>
                  <a:pt x="7026" y="1540"/>
                </a:lnTo>
                <a:lnTo>
                  <a:pt x="7023" y="1533"/>
                </a:lnTo>
                <a:lnTo>
                  <a:pt x="7020" y="1524"/>
                </a:lnTo>
                <a:lnTo>
                  <a:pt x="7017" y="1516"/>
                </a:lnTo>
                <a:lnTo>
                  <a:pt x="7015" y="1508"/>
                </a:lnTo>
                <a:lnTo>
                  <a:pt x="7013" y="1500"/>
                </a:lnTo>
                <a:lnTo>
                  <a:pt x="7011" y="1491"/>
                </a:lnTo>
                <a:lnTo>
                  <a:pt x="7010" y="1482"/>
                </a:lnTo>
                <a:lnTo>
                  <a:pt x="7009" y="1473"/>
                </a:lnTo>
                <a:lnTo>
                  <a:pt x="7008" y="1463"/>
                </a:lnTo>
                <a:lnTo>
                  <a:pt x="7008" y="1454"/>
                </a:lnTo>
                <a:lnTo>
                  <a:pt x="7009" y="1436"/>
                </a:lnTo>
                <a:lnTo>
                  <a:pt x="7010" y="1426"/>
                </a:lnTo>
                <a:lnTo>
                  <a:pt x="7011" y="1417"/>
                </a:lnTo>
                <a:lnTo>
                  <a:pt x="7013" y="1407"/>
                </a:lnTo>
                <a:lnTo>
                  <a:pt x="7015" y="1398"/>
                </a:lnTo>
                <a:lnTo>
                  <a:pt x="7018" y="1390"/>
                </a:lnTo>
                <a:lnTo>
                  <a:pt x="7021" y="1381"/>
                </a:lnTo>
                <a:lnTo>
                  <a:pt x="7024" y="1373"/>
                </a:lnTo>
                <a:lnTo>
                  <a:pt x="7027" y="1364"/>
                </a:lnTo>
                <a:lnTo>
                  <a:pt x="7031" y="1356"/>
                </a:lnTo>
                <a:lnTo>
                  <a:pt x="7035" y="1348"/>
                </a:lnTo>
                <a:lnTo>
                  <a:pt x="7039" y="1340"/>
                </a:lnTo>
                <a:lnTo>
                  <a:pt x="7044" y="1333"/>
                </a:lnTo>
                <a:lnTo>
                  <a:pt x="7055" y="1319"/>
                </a:lnTo>
                <a:lnTo>
                  <a:pt x="7061" y="1312"/>
                </a:lnTo>
                <a:lnTo>
                  <a:pt x="7067" y="1306"/>
                </a:lnTo>
                <a:lnTo>
                  <a:pt x="7079" y="1295"/>
                </a:lnTo>
                <a:lnTo>
                  <a:pt x="7085" y="1289"/>
                </a:lnTo>
                <a:lnTo>
                  <a:pt x="7092" y="1284"/>
                </a:lnTo>
                <a:lnTo>
                  <a:pt x="7099" y="1279"/>
                </a:lnTo>
                <a:lnTo>
                  <a:pt x="7106" y="1275"/>
                </a:lnTo>
                <a:lnTo>
                  <a:pt x="7114" y="1272"/>
                </a:lnTo>
                <a:lnTo>
                  <a:pt x="7122" y="1269"/>
                </a:lnTo>
                <a:lnTo>
                  <a:pt x="7129" y="1266"/>
                </a:lnTo>
                <a:lnTo>
                  <a:pt x="7137" y="1264"/>
                </a:lnTo>
                <a:lnTo>
                  <a:pt x="7145" y="1262"/>
                </a:lnTo>
                <a:lnTo>
                  <a:pt x="7153" y="1260"/>
                </a:lnTo>
                <a:lnTo>
                  <a:pt x="7161" y="1260"/>
                </a:lnTo>
                <a:lnTo>
                  <a:pt x="7169" y="1259"/>
                </a:lnTo>
                <a:lnTo>
                  <a:pt x="7180" y="1260"/>
                </a:lnTo>
                <a:lnTo>
                  <a:pt x="7185" y="1260"/>
                </a:lnTo>
                <a:lnTo>
                  <a:pt x="7190" y="1261"/>
                </a:lnTo>
                <a:lnTo>
                  <a:pt x="7195" y="1262"/>
                </a:lnTo>
                <a:lnTo>
                  <a:pt x="7199" y="1263"/>
                </a:lnTo>
                <a:lnTo>
                  <a:pt x="7208" y="1267"/>
                </a:lnTo>
                <a:lnTo>
                  <a:pt x="7215" y="1270"/>
                </a:lnTo>
                <a:lnTo>
                  <a:pt x="7223" y="1275"/>
                </a:lnTo>
                <a:lnTo>
                  <a:pt x="7229" y="1280"/>
                </a:lnTo>
                <a:lnTo>
                  <a:pt x="7236" y="1286"/>
                </a:lnTo>
                <a:lnTo>
                  <a:pt x="7239" y="1290"/>
                </a:lnTo>
                <a:lnTo>
                  <a:pt x="7242" y="1294"/>
                </a:lnTo>
                <a:lnTo>
                  <a:pt x="7247" y="1301"/>
                </a:lnTo>
                <a:lnTo>
                  <a:pt x="7251" y="1309"/>
                </a:lnTo>
                <a:lnTo>
                  <a:pt x="7254" y="1317"/>
                </a:lnTo>
                <a:lnTo>
                  <a:pt x="7257" y="1326"/>
                </a:lnTo>
                <a:lnTo>
                  <a:pt x="7258" y="1335"/>
                </a:lnTo>
                <a:lnTo>
                  <a:pt x="7260" y="1345"/>
                </a:lnTo>
                <a:lnTo>
                  <a:pt x="7260" y="1356"/>
                </a:lnTo>
                <a:lnTo>
                  <a:pt x="7259" y="1368"/>
                </a:lnTo>
                <a:lnTo>
                  <a:pt x="7258" y="1374"/>
                </a:lnTo>
                <a:lnTo>
                  <a:pt x="7257" y="1380"/>
                </a:lnTo>
                <a:lnTo>
                  <a:pt x="7253" y="1392"/>
                </a:lnTo>
                <a:lnTo>
                  <a:pt x="7248" y="1404"/>
                </a:lnTo>
                <a:lnTo>
                  <a:pt x="7242" y="1416"/>
                </a:lnTo>
                <a:lnTo>
                  <a:pt x="7235" y="1427"/>
                </a:lnTo>
                <a:lnTo>
                  <a:pt x="7231" y="1432"/>
                </a:lnTo>
                <a:lnTo>
                  <a:pt x="7225" y="1437"/>
                </a:lnTo>
                <a:lnTo>
                  <a:pt x="7216" y="1446"/>
                </a:lnTo>
                <a:lnTo>
                  <a:pt x="7206" y="1454"/>
                </a:lnTo>
                <a:lnTo>
                  <a:pt x="7201" y="1458"/>
                </a:lnTo>
                <a:lnTo>
                  <a:pt x="7195" y="1462"/>
                </a:lnTo>
                <a:lnTo>
                  <a:pt x="7184" y="1469"/>
                </a:lnTo>
                <a:lnTo>
                  <a:pt x="7172" y="1475"/>
                </a:lnTo>
                <a:lnTo>
                  <a:pt x="7159" y="1480"/>
                </a:lnTo>
                <a:lnTo>
                  <a:pt x="7153" y="1482"/>
                </a:lnTo>
                <a:lnTo>
                  <a:pt x="7147" y="1483"/>
                </a:lnTo>
                <a:lnTo>
                  <a:pt x="7141" y="1484"/>
                </a:lnTo>
                <a:lnTo>
                  <a:pt x="7135" y="1485"/>
                </a:lnTo>
                <a:lnTo>
                  <a:pt x="7122" y="1486"/>
                </a:lnTo>
                <a:lnTo>
                  <a:pt x="7117" y="1485"/>
                </a:lnTo>
                <a:lnTo>
                  <a:pt x="7112" y="1483"/>
                </a:lnTo>
                <a:lnTo>
                  <a:pt x="7106" y="1481"/>
                </a:lnTo>
                <a:lnTo>
                  <a:pt x="7104" y="1479"/>
                </a:lnTo>
                <a:lnTo>
                  <a:pt x="7102" y="1477"/>
                </a:lnTo>
                <a:lnTo>
                  <a:pt x="7099" y="1472"/>
                </a:lnTo>
                <a:lnTo>
                  <a:pt x="7097" y="1466"/>
                </a:lnTo>
                <a:lnTo>
                  <a:pt x="7096" y="1463"/>
                </a:lnTo>
                <a:lnTo>
                  <a:pt x="7095" y="1460"/>
                </a:lnTo>
                <a:lnTo>
                  <a:pt x="7095" y="1454"/>
                </a:lnTo>
                <a:lnTo>
                  <a:pt x="7095" y="1451"/>
                </a:lnTo>
                <a:lnTo>
                  <a:pt x="7095" y="1448"/>
                </a:lnTo>
                <a:lnTo>
                  <a:pt x="7096" y="1443"/>
                </a:lnTo>
                <a:lnTo>
                  <a:pt x="7097" y="1441"/>
                </a:lnTo>
                <a:lnTo>
                  <a:pt x="7099" y="1439"/>
                </a:lnTo>
                <a:lnTo>
                  <a:pt x="7100" y="1438"/>
                </a:lnTo>
                <a:lnTo>
                  <a:pt x="7102" y="1436"/>
                </a:lnTo>
                <a:lnTo>
                  <a:pt x="7114" y="1434"/>
                </a:lnTo>
                <a:lnTo>
                  <a:pt x="7124" y="1432"/>
                </a:lnTo>
                <a:lnTo>
                  <a:pt x="7134" y="1428"/>
                </a:lnTo>
                <a:lnTo>
                  <a:pt x="7144" y="1424"/>
                </a:lnTo>
                <a:lnTo>
                  <a:pt x="7153" y="1420"/>
                </a:lnTo>
                <a:lnTo>
                  <a:pt x="7161" y="1415"/>
                </a:lnTo>
                <a:lnTo>
                  <a:pt x="7169" y="1408"/>
                </a:lnTo>
                <a:lnTo>
                  <a:pt x="7174" y="1406"/>
                </a:lnTo>
                <a:lnTo>
                  <a:pt x="7177" y="1403"/>
                </a:lnTo>
                <a:lnTo>
                  <a:pt x="7184" y="1396"/>
                </a:lnTo>
                <a:lnTo>
                  <a:pt x="7190" y="1390"/>
                </a:lnTo>
                <a:lnTo>
                  <a:pt x="7195" y="1383"/>
                </a:lnTo>
                <a:lnTo>
                  <a:pt x="7199" y="1376"/>
                </a:lnTo>
                <a:lnTo>
                  <a:pt x="7202" y="1369"/>
                </a:lnTo>
                <a:lnTo>
                  <a:pt x="7205" y="1362"/>
                </a:lnTo>
                <a:lnTo>
                  <a:pt x="7206" y="1355"/>
                </a:lnTo>
                <a:lnTo>
                  <a:pt x="7207" y="1347"/>
                </a:lnTo>
                <a:lnTo>
                  <a:pt x="7206" y="1339"/>
                </a:lnTo>
                <a:lnTo>
                  <a:pt x="7204" y="1332"/>
                </a:lnTo>
                <a:lnTo>
                  <a:pt x="7202" y="1328"/>
                </a:lnTo>
                <a:lnTo>
                  <a:pt x="7200" y="1325"/>
                </a:lnTo>
                <a:lnTo>
                  <a:pt x="7198" y="1323"/>
                </a:lnTo>
                <a:lnTo>
                  <a:pt x="7196" y="1320"/>
                </a:lnTo>
                <a:lnTo>
                  <a:pt x="7190" y="1316"/>
                </a:lnTo>
                <a:lnTo>
                  <a:pt x="7187" y="1314"/>
                </a:lnTo>
                <a:lnTo>
                  <a:pt x="7183" y="1313"/>
                </a:lnTo>
                <a:lnTo>
                  <a:pt x="7175" y="1311"/>
                </a:lnTo>
                <a:lnTo>
                  <a:pt x="7171" y="1310"/>
                </a:lnTo>
                <a:lnTo>
                  <a:pt x="7165" y="1310"/>
                </a:lnTo>
                <a:lnTo>
                  <a:pt x="7157" y="1311"/>
                </a:lnTo>
                <a:lnTo>
                  <a:pt x="7152" y="1312"/>
                </a:lnTo>
                <a:lnTo>
                  <a:pt x="7148" y="1313"/>
                </a:lnTo>
                <a:lnTo>
                  <a:pt x="7143" y="1315"/>
                </a:lnTo>
                <a:lnTo>
                  <a:pt x="7139" y="1316"/>
                </a:lnTo>
                <a:lnTo>
                  <a:pt x="7134" y="1319"/>
                </a:lnTo>
                <a:lnTo>
                  <a:pt x="7130" y="1321"/>
                </a:lnTo>
                <a:lnTo>
                  <a:pt x="7126" y="1324"/>
                </a:lnTo>
                <a:lnTo>
                  <a:pt x="7122" y="1327"/>
                </a:lnTo>
                <a:lnTo>
                  <a:pt x="7113" y="1334"/>
                </a:lnTo>
                <a:lnTo>
                  <a:pt x="7104" y="1342"/>
                </a:lnTo>
                <a:lnTo>
                  <a:pt x="7097" y="1352"/>
                </a:lnTo>
                <a:lnTo>
                  <a:pt x="7094" y="1357"/>
                </a:lnTo>
                <a:lnTo>
                  <a:pt x="7090" y="1362"/>
                </a:lnTo>
                <a:lnTo>
                  <a:pt x="7084" y="1373"/>
                </a:lnTo>
                <a:lnTo>
                  <a:pt x="7078" y="1384"/>
                </a:lnTo>
                <a:lnTo>
                  <a:pt x="7074" y="1397"/>
                </a:lnTo>
                <a:lnTo>
                  <a:pt x="7070" y="1409"/>
                </a:lnTo>
                <a:lnTo>
                  <a:pt x="7067" y="1424"/>
                </a:lnTo>
                <a:lnTo>
                  <a:pt x="7065" y="1438"/>
                </a:lnTo>
                <a:lnTo>
                  <a:pt x="7065" y="1445"/>
                </a:lnTo>
                <a:lnTo>
                  <a:pt x="7065" y="1452"/>
                </a:lnTo>
                <a:lnTo>
                  <a:pt x="7065" y="1464"/>
                </a:lnTo>
                <a:lnTo>
                  <a:pt x="7066" y="1478"/>
                </a:lnTo>
                <a:lnTo>
                  <a:pt x="7069" y="1489"/>
                </a:lnTo>
                <a:lnTo>
                  <a:pt x="7070" y="1495"/>
                </a:lnTo>
                <a:lnTo>
                  <a:pt x="7072" y="1500"/>
                </a:lnTo>
                <a:lnTo>
                  <a:pt x="7075" y="1511"/>
                </a:lnTo>
                <a:lnTo>
                  <a:pt x="7077" y="1516"/>
                </a:lnTo>
                <a:lnTo>
                  <a:pt x="7080" y="1521"/>
                </a:lnTo>
                <a:lnTo>
                  <a:pt x="7082" y="1525"/>
                </a:lnTo>
                <a:lnTo>
                  <a:pt x="7085" y="1530"/>
                </a:lnTo>
                <a:lnTo>
                  <a:pt x="7088" y="1535"/>
                </a:lnTo>
                <a:lnTo>
                  <a:pt x="7091" y="1539"/>
                </a:lnTo>
                <a:lnTo>
                  <a:pt x="7094" y="1543"/>
                </a:lnTo>
                <a:lnTo>
                  <a:pt x="7097" y="1546"/>
                </a:lnTo>
                <a:lnTo>
                  <a:pt x="7105" y="1553"/>
                </a:lnTo>
                <a:lnTo>
                  <a:pt x="7114" y="1559"/>
                </a:lnTo>
                <a:lnTo>
                  <a:pt x="7122" y="1563"/>
                </a:lnTo>
                <a:lnTo>
                  <a:pt x="7131" y="1567"/>
                </a:lnTo>
                <a:lnTo>
                  <a:pt x="7141" y="1570"/>
                </a:lnTo>
                <a:lnTo>
                  <a:pt x="7151" y="1572"/>
                </a:lnTo>
                <a:lnTo>
                  <a:pt x="7156" y="1572"/>
                </a:lnTo>
                <a:lnTo>
                  <a:pt x="7162" y="1572"/>
                </a:lnTo>
                <a:lnTo>
                  <a:pt x="7173" y="1572"/>
                </a:lnTo>
                <a:lnTo>
                  <a:pt x="7183" y="1570"/>
                </a:lnTo>
                <a:lnTo>
                  <a:pt x="7193" y="1568"/>
                </a:lnTo>
                <a:lnTo>
                  <a:pt x="7203" y="1564"/>
                </a:lnTo>
                <a:lnTo>
                  <a:pt x="7212" y="1560"/>
                </a:lnTo>
                <a:lnTo>
                  <a:pt x="7221" y="1555"/>
                </a:lnTo>
                <a:lnTo>
                  <a:pt x="7231" y="1549"/>
                </a:lnTo>
                <a:lnTo>
                  <a:pt x="7239" y="1543"/>
                </a:lnTo>
                <a:lnTo>
                  <a:pt x="7247" y="1536"/>
                </a:lnTo>
                <a:lnTo>
                  <a:pt x="7254" y="1527"/>
                </a:lnTo>
                <a:lnTo>
                  <a:pt x="7262" y="1518"/>
                </a:lnTo>
                <a:lnTo>
                  <a:pt x="7269" y="1509"/>
                </a:lnTo>
                <a:lnTo>
                  <a:pt x="7282" y="1490"/>
                </a:lnTo>
                <a:lnTo>
                  <a:pt x="7288" y="1479"/>
                </a:lnTo>
                <a:lnTo>
                  <a:pt x="7294" y="1468"/>
                </a:lnTo>
                <a:lnTo>
                  <a:pt x="7299" y="1457"/>
                </a:lnTo>
                <a:lnTo>
                  <a:pt x="7304" y="1445"/>
                </a:lnTo>
                <a:lnTo>
                  <a:pt x="7309" y="1434"/>
                </a:lnTo>
                <a:lnTo>
                  <a:pt x="7313" y="1422"/>
                </a:lnTo>
                <a:lnTo>
                  <a:pt x="7317" y="1409"/>
                </a:lnTo>
                <a:lnTo>
                  <a:pt x="7320" y="1397"/>
                </a:lnTo>
                <a:lnTo>
                  <a:pt x="7323" y="1385"/>
                </a:lnTo>
                <a:lnTo>
                  <a:pt x="7326" y="1373"/>
                </a:lnTo>
                <a:lnTo>
                  <a:pt x="7328" y="1361"/>
                </a:lnTo>
                <a:lnTo>
                  <a:pt x="7330" y="1348"/>
                </a:lnTo>
                <a:lnTo>
                  <a:pt x="7331" y="1337"/>
                </a:lnTo>
                <a:lnTo>
                  <a:pt x="7332" y="1325"/>
                </a:lnTo>
                <a:lnTo>
                  <a:pt x="7333" y="1314"/>
                </a:lnTo>
                <a:lnTo>
                  <a:pt x="7333" y="1303"/>
                </a:lnTo>
                <a:lnTo>
                  <a:pt x="7333" y="1292"/>
                </a:lnTo>
                <a:lnTo>
                  <a:pt x="7333" y="1280"/>
                </a:lnTo>
                <a:lnTo>
                  <a:pt x="7334" y="1278"/>
                </a:lnTo>
                <a:lnTo>
                  <a:pt x="7335" y="1276"/>
                </a:lnTo>
                <a:lnTo>
                  <a:pt x="7337" y="1274"/>
                </a:lnTo>
                <a:lnTo>
                  <a:pt x="7340" y="1272"/>
                </a:lnTo>
                <a:lnTo>
                  <a:pt x="7347" y="1269"/>
                </a:lnTo>
                <a:lnTo>
                  <a:pt x="7352" y="1269"/>
                </a:lnTo>
                <a:lnTo>
                  <a:pt x="7356" y="1268"/>
                </a:lnTo>
                <a:lnTo>
                  <a:pt x="7363" y="1269"/>
                </a:lnTo>
                <a:lnTo>
                  <a:pt x="7366" y="1269"/>
                </a:lnTo>
                <a:lnTo>
                  <a:pt x="7370" y="1270"/>
                </a:lnTo>
                <a:lnTo>
                  <a:pt x="7375" y="1273"/>
                </a:lnTo>
                <a:lnTo>
                  <a:pt x="7378" y="1275"/>
                </a:lnTo>
                <a:lnTo>
                  <a:pt x="7380" y="1277"/>
                </a:lnTo>
                <a:lnTo>
                  <a:pt x="7384" y="1283"/>
                </a:lnTo>
                <a:lnTo>
                  <a:pt x="7386" y="1287"/>
                </a:lnTo>
                <a:lnTo>
                  <a:pt x="7387" y="1292"/>
                </a:lnTo>
                <a:lnTo>
                  <a:pt x="7388" y="1296"/>
                </a:lnTo>
                <a:lnTo>
                  <a:pt x="7389" y="1301"/>
                </a:lnTo>
                <a:lnTo>
                  <a:pt x="7390" y="1306"/>
                </a:lnTo>
                <a:lnTo>
                  <a:pt x="7390" y="1312"/>
                </a:lnTo>
                <a:lnTo>
                  <a:pt x="7389" y="1328"/>
                </a:lnTo>
                <a:lnTo>
                  <a:pt x="7388" y="1343"/>
                </a:lnTo>
                <a:lnTo>
                  <a:pt x="7387" y="1359"/>
                </a:lnTo>
                <a:lnTo>
                  <a:pt x="7385" y="1374"/>
                </a:lnTo>
                <a:lnTo>
                  <a:pt x="7382" y="1389"/>
                </a:lnTo>
                <a:lnTo>
                  <a:pt x="7379" y="1404"/>
                </a:lnTo>
                <a:lnTo>
                  <a:pt x="7376" y="1419"/>
                </a:lnTo>
                <a:lnTo>
                  <a:pt x="7372" y="1434"/>
                </a:lnTo>
                <a:lnTo>
                  <a:pt x="7367" y="1447"/>
                </a:lnTo>
                <a:lnTo>
                  <a:pt x="7363" y="1461"/>
                </a:lnTo>
                <a:lnTo>
                  <a:pt x="7357" y="1475"/>
                </a:lnTo>
                <a:lnTo>
                  <a:pt x="7352" y="1488"/>
                </a:lnTo>
                <a:lnTo>
                  <a:pt x="7345" y="1500"/>
                </a:lnTo>
                <a:lnTo>
                  <a:pt x="7338" y="1512"/>
                </a:lnTo>
                <a:lnTo>
                  <a:pt x="7331" y="1524"/>
                </a:lnTo>
                <a:lnTo>
                  <a:pt x="7324" y="1536"/>
                </a:lnTo>
                <a:lnTo>
                  <a:pt x="7316" y="1547"/>
                </a:lnTo>
                <a:lnTo>
                  <a:pt x="7308" y="1557"/>
                </a:lnTo>
                <a:lnTo>
                  <a:pt x="7300" y="1567"/>
                </a:lnTo>
                <a:lnTo>
                  <a:pt x="7291" y="1576"/>
                </a:lnTo>
                <a:lnTo>
                  <a:pt x="7281" y="1584"/>
                </a:lnTo>
                <a:lnTo>
                  <a:pt x="7272" y="1593"/>
                </a:lnTo>
                <a:lnTo>
                  <a:pt x="7262" y="1600"/>
                </a:lnTo>
                <a:lnTo>
                  <a:pt x="7252" y="1607"/>
                </a:lnTo>
                <a:lnTo>
                  <a:pt x="7242" y="1613"/>
                </a:lnTo>
                <a:lnTo>
                  <a:pt x="7231" y="1618"/>
                </a:lnTo>
                <a:lnTo>
                  <a:pt x="7219" y="1622"/>
                </a:lnTo>
                <a:lnTo>
                  <a:pt x="7208" y="1626"/>
                </a:lnTo>
                <a:lnTo>
                  <a:pt x="7196" y="1629"/>
                </a:lnTo>
                <a:lnTo>
                  <a:pt x="7185" y="1631"/>
                </a:lnTo>
                <a:lnTo>
                  <a:pt x="7173" y="1632"/>
                </a:lnTo>
                <a:lnTo>
                  <a:pt x="7160" y="1633"/>
                </a:lnTo>
                <a:close/>
                <a:moveTo>
                  <a:pt x="7547" y="1627"/>
                </a:moveTo>
                <a:lnTo>
                  <a:pt x="7546" y="1627"/>
                </a:lnTo>
                <a:lnTo>
                  <a:pt x="7543" y="1626"/>
                </a:lnTo>
                <a:lnTo>
                  <a:pt x="7538" y="1623"/>
                </a:lnTo>
                <a:lnTo>
                  <a:pt x="7532" y="1619"/>
                </a:lnTo>
                <a:lnTo>
                  <a:pt x="7523" y="1613"/>
                </a:lnTo>
                <a:lnTo>
                  <a:pt x="7511" y="1603"/>
                </a:lnTo>
                <a:lnTo>
                  <a:pt x="7496" y="1588"/>
                </a:lnTo>
                <a:lnTo>
                  <a:pt x="7479" y="1572"/>
                </a:lnTo>
                <a:lnTo>
                  <a:pt x="7462" y="1555"/>
                </a:lnTo>
                <a:lnTo>
                  <a:pt x="7446" y="1538"/>
                </a:lnTo>
                <a:lnTo>
                  <a:pt x="7432" y="1521"/>
                </a:lnTo>
                <a:lnTo>
                  <a:pt x="7420" y="1506"/>
                </a:lnTo>
                <a:lnTo>
                  <a:pt x="7416" y="1500"/>
                </a:lnTo>
                <a:lnTo>
                  <a:pt x="7413" y="1495"/>
                </a:lnTo>
                <a:lnTo>
                  <a:pt x="7406" y="1485"/>
                </a:lnTo>
                <a:lnTo>
                  <a:pt x="7403" y="1475"/>
                </a:lnTo>
                <a:lnTo>
                  <a:pt x="7400" y="1464"/>
                </a:lnTo>
                <a:lnTo>
                  <a:pt x="7399" y="1454"/>
                </a:lnTo>
                <a:lnTo>
                  <a:pt x="7400" y="1449"/>
                </a:lnTo>
                <a:lnTo>
                  <a:pt x="7400" y="1443"/>
                </a:lnTo>
                <a:lnTo>
                  <a:pt x="7402" y="1437"/>
                </a:lnTo>
                <a:lnTo>
                  <a:pt x="7404" y="1431"/>
                </a:lnTo>
                <a:lnTo>
                  <a:pt x="7406" y="1425"/>
                </a:lnTo>
                <a:lnTo>
                  <a:pt x="7411" y="1419"/>
                </a:lnTo>
                <a:lnTo>
                  <a:pt x="7414" y="1412"/>
                </a:lnTo>
                <a:lnTo>
                  <a:pt x="7419" y="1404"/>
                </a:lnTo>
                <a:lnTo>
                  <a:pt x="7427" y="1393"/>
                </a:lnTo>
                <a:lnTo>
                  <a:pt x="7438" y="1380"/>
                </a:lnTo>
                <a:lnTo>
                  <a:pt x="7468" y="1345"/>
                </a:lnTo>
                <a:lnTo>
                  <a:pt x="7504" y="1306"/>
                </a:lnTo>
                <a:lnTo>
                  <a:pt x="7540" y="1264"/>
                </a:lnTo>
                <a:lnTo>
                  <a:pt x="7541" y="1264"/>
                </a:lnTo>
                <a:lnTo>
                  <a:pt x="7544" y="1264"/>
                </a:lnTo>
                <a:lnTo>
                  <a:pt x="7548" y="1264"/>
                </a:lnTo>
                <a:lnTo>
                  <a:pt x="7552" y="1265"/>
                </a:lnTo>
                <a:lnTo>
                  <a:pt x="7556" y="1267"/>
                </a:lnTo>
                <a:lnTo>
                  <a:pt x="7560" y="1270"/>
                </a:lnTo>
                <a:lnTo>
                  <a:pt x="7565" y="1273"/>
                </a:lnTo>
                <a:lnTo>
                  <a:pt x="7569" y="1276"/>
                </a:lnTo>
                <a:lnTo>
                  <a:pt x="7572" y="1281"/>
                </a:lnTo>
                <a:lnTo>
                  <a:pt x="7575" y="1286"/>
                </a:lnTo>
                <a:lnTo>
                  <a:pt x="7576" y="1290"/>
                </a:lnTo>
                <a:lnTo>
                  <a:pt x="7577" y="1296"/>
                </a:lnTo>
                <a:lnTo>
                  <a:pt x="7576" y="1301"/>
                </a:lnTo>
                <a:lnTo>
                  <a:pt x="7574" y="1307"/>
                </a:lnTo>
                <a:lnTo>
                  <a:pt x="7572" y="1312"/>
                </a:lnTo>
                <a:lnTo>
                  <a:pt x="7568" y="1318"/>
                </a:lnTo>
                <a:lnTo>
                  <a:pt x="7560" y="1329"/>
                </a:lnTo>
                <a:lnTo>
                  <a:pt x="7548" y="1342"/>
                </a:lnTo>
                <a:lnTo>
                  <a:pt x="7518" y="1376"/>
                </a:lnTo>
                <a:lnTo>
                  <a:pt x="7488" y="1409"/>
                </a:lnTo>
                <a:lnTo>
                  <a:pt x="7476" y="1425"/>
                </a:lnTo>
                <a:lnTo>
                  <a:pt x="7466" y="1436"/>
                </a:lnTo>
                <a:lnTo>
                  <a:pt x="7464" y="1440"/>
                </a:lnTo>
                <a:lnTo>
                  <a:pt x="7462" y="1444"/>
                </a:lnTo>
                <a:lnTo>
                  <a:pt x="7461" y="1447"/>
                </a:lnTo>
                <a:lnTo>
                  <a:pt x="7460" y="1451"/>
                </a:lnTo>
                <a:lnTo>
                  <a:pt x="7461" y="1455"/>
                </a:lnTo>
                <a:lnTo>
                  <a:pt x="7462" y="1460"/>
                </a:lnTo>
                <a:lnTo>
                  <a:pt x="7464" y="1464"/>
                </a:lnTo>
                <a:lnTo>
                  <a:pt x="7467" y="1469"/>
                </a:lnTo>
                <a:lnTo>
                  <a:pt x="7476" y="1479"/>
                </a:lnTo>
                <a:lnTo>
                  <a:pt x="7486" y="1491"/>
                </a:lnTo>
                <a:lnTo>
                  <a:pt x="7514" y="1520"/>
                </a:lnTo>
                <a:lnTo>
                  <a:pt x="7546" y="1553"/>
                </a:lnTo>
                <a:lnTo>
                  <a:pt x="7577" y="1583"/>
                </a:lnTo>
                <a:lnTo>
                  <a:pt x="7579" y="1585"/>
                </a:lnTo>
                <a:lnTo>
                  <a:pt x="7581" y="1587"/>
                </a:lnTo>
                <a:lnTo>
                  <a:pt x="7582" y="1589"/>
                </a:lnTo>
                <a:lnTo>
                  <a:pt x="7582" y="1593"/>
                </a:lnTo>
                <a:lnTo>
                  <a:pt x="7581" y="1599"/>
                </a:lnTo>
                <a:lnTo>
                  <a:pt x="7580" y="1601"/>
                </a:lnTo>
                <a:lnTo>
                  <a:pt x="7579" y="1604"/>
                </a:lnTo>
                <a:lnTo>
                  <a:pt x="7575" y="1610"/>
                </a:lnTo>
                <a:lnTo>
                  <a:pt x="7573" y="1613"/>
                </a:lnTo>
                <a:lnTo>
                  <a:pt x="7570" y="1615"/>
                </a:lnTo>
                <a:lnTo>
                  <a:pt x="7565" y="1620"/>
                </a:lnTo>
                <a:lnTo>
                  <a:pt x="7562" y="1622"/>
                </a:lnTo>
                <a:lnTo>
                  <a:pt x="7559" y="1624"/>
                </a:lnTo>
                <a:lnTo>
                  <a:pt x="7553" y="1626"/>
                </a:lnTo>
                <a:lnTo>
                  <a:pt x="7550" y="1627"/>
                </a:lnTo>
                <a:lnTo>
                  <a:pt x="7547" y="1627"/>
                </a:lnTo>
                <a:close/>
                <a:moveTo>
                  <a:pt x="7160" y="2627"/>
                </a:moveTo>
                <a:lnTo>
                  <a:pt x="7152" y="2627"/>
                </a:lnTo>
                <a:lnTo>
                  <a:pt x="7144" y="2626"/>
                </a:lnTo>
                <a:lnTo>
                  <a:pt x="7137" y="2625"/>
                </a:lnTo>
                <a:lnTo>
                  <a:pt x="7130" y="2623"/>
                </a:lnTo>
                <a:lnTo>
                  <a:pt x="7122" y="2621"/>
                </a:lnTo>
                <a:lnTo>
                  <a:pt x="7115" y="2619"/>
                </a:lnTo>
                <a:lnTo>
                  <a:pt x="7101" y="2613"/>
                </a:lnTo>
                <a:lnTo>
                  <a:pt x="7087" y="2605"/>
                </a:lnTo>
                <a:lnTo>
                  <a:pt x="7081" y="2601"/>
                </a:lnTo>
                <a:lnTo>
                  <a:pt x="7075" y="2596"/>
                </a:lnTo>
                <a:lnTo>
                  <a:pt x="7069" y="2591"/>
                </a:lnTo>
                <a:lnTo>
                  <a:pt x="7064" y="2586"/>
                </a:lnTo>
                <a:lnTo>
                  <a:pt x="7058" y="2581"/>
                </a:lnTo>
                <a:lnTo>
                  <a:pt x="7053" y="2575"/>
                </a:lnTo>
                <a:lnTo>
                  <a:pt x="7047" y="2569"/>
                </a:lnTo>
                <a:lnTo>
                  <a:pt x="7042" y="2563"/>
                </a:lnTo>
                <a:lnTo>
                  <a:pt x="7038" y="2556"/>
                </a:lnTo>
                <a:lnTo>
                  <a:pt x="7034" y="2548"/>
                </a:lnTo>
                <a:lnTo>
                  <a:pt x="7030" y="2541"/>
                </a:lnTo>
                <a:lnTo>
                  <a:pt x="7026" y="2534"/>
                </a:lnTo>
                <a:lnTo>
                  <a:pt x="7023" y="2526"/>
                </a:lnTo>
                <a:lnTo>
                  <a:pt x="7020" y="2518"/>
                </a:lnTo>
                <a:lnTo>
                  <a:pt x="7017" y="2510"/>
                </a:lnTo>
                <a:lnTo>
                  <a:pt x="7015" y="2502"/>
                </a:lnTo>
                <a:lnTo>
                  <a:pt x="7013" y="2494"/>
                </a:lnTo>
                <a:lnTo>
                  <a:pt x="7011" y="2484"/>
                </a:lnTo>
                <a:lnTo>
                  <a:pt x="7010" y="2475"/>
                </a:lnTo>
                <a:lnTo>
                  <a:pt x="7009" y="2467"/>
                </a:lnTo>
                <a:lnTo>
                  <a:pt x="7008" y="2458"/>
                </a:lnTo>
                <a:lnTo>
                  <a:pt x="7008" y="2448"/>
                </a:lnTo>
                <a:lnTo>
                  <a:pt x="7009" y="2429"/>
                </a:lnTo>
                <a:lnTo>
                  <a:pt x="7010" y="2420"/>
                </a:lnTo>
                <a:lnTo>
                  <a:pt x="7011" y="2410"/>
                </a:lnTo>
                <a:lnTo>
                  <a:pt x="7013" y="2401"/>
                </a:lnTo>
                <a:lnTo>
                  <a:pt x="7015" y="2393"/>
                </a:lnTo>
                <a:lnTo>
                  <a:pt x="7018" y="2384"/>
                </a:lnTo>
                <a:lnTo>
                  <a:pt x="7021" y="2375"/>
                </a:lnTo>
                <a:lnTo>
                  <a:pt x="7024" y="2366"/>
                </a:lnTo>
                <a:lnTo>
                  <a:pt x="7027" y="2358"/>
                </a:lnTo>
                <a:lnTo>
                  <a:pt x="7031" y="2350"/>
                </a:lnTo>
                <a:lnTo>
                  <a:pt x="7035" y="2342"/>
                </a:lnTo>
                <a:lnTo>
                  <a:pt x="7039" y="2334"/>
                </a:lnTo>
                <a:lnTo>
                  <a:pt x="7044" y="2327"/>
                </a:lnTo>
                <a:lnTo>
                  <a:pt x="7055" y="2313"/>
                </a:lnTo>
                <a:lnTo>
                  <a:pt x="7061" y="2305"/>
                </a:lnTo>
                <a:lnTo>
                  <a:pt x="7067" y="2299"/>
                </a:lnTo>
                <a:lnTo>
                  <a:pt x="7079" y="2288"/>
                </a:lnTo>
                <a:lnTo>
                  <a:pt x="7085" y="2283"/>
                </a:lnTo>
                <a:lnTo>
                  <a:pt x="7092" y="2278"/>
                </a:lnTo>
                <a:lnTo>
                  <a:pt x="7099" y="2274"/>
                </a:lnTo>
                <a:lnTo>
                  <a:pt x="7106" y="2269"/>
                </a:lnTo>
                <a:lnTo>
                  <a:pt x="7114" y="2266"/>
                </a:lnTo>
                <a:lnTo>
                  <a:pt x="7122" y="2263"/>
                </a:lnTo>
                <a:lnTo>
                  <a:pt x="7129" y="2260"/>
                </a:lnTo>
                <a:lnTo>
                  <a:pt x="7137" y="2258"/>
                </a:lnTo>
                <a:lnTo>
                  <a:pt x="7145" y="2256"/>
                </a:lnTo>
                <a:lnTo>
                  <a:pt x="7153" y="2255"/>
                </a:lnTo>
                <a:lnTo>
                  <a:pt x="7161" y="2254"/>
                </a:lnTo>
                <a:lnTo>
                  <a:pt x="7169" y="2254"/>
                </a:lnTo>
                <a:lnTo>
                  <a:pt x="7180" y="2254"/>
                </a:lnTo>
                <a:lnTo>
                  <a:pt x="7185" y="2255"/>
                </a:lnTo>
                <a:lnTo>
                  <a:pt x="7190" y="2255"/>
                </a:lnTo>
                <a:lnTo>
                  <a:pt x="7195" y="2256"/>
                </a:lnTo>
                <a:lnTo>
                  <a:pt x="7199" y="2258"/>
                </a:lnTo>
                <a:lnTo>
                  <a:pt x="7208" y="2261"/>
                </a:lnTo>
                <a:lnTo>
                  <a:pt x="7215" y="2265"/>
                </a:lnTo>
                <a:lnTo>
                  <a:pt x="7223" y="2269"/>
                </a:lnTo>
                <a:lnTo>
                  <a:pt x="7229" y="2275"/>
                </a:lnTo>
                <a:lnTo>
                  <a:pt x="7236" y="2281"/>
                </a:lnTo>
                <a:lnTo>
                  <a:pt x="7239" y="2284"/>
                </a:lnTo>
                <a:lnTo>
                  <a:pt x="7242" y="2287"/>
                </a:lnTo>
                <a:lnTo>
                  <a:pt x="7247" y="2295"/>
                </a:lnTo>
                <a:lnTo>
                  <a:pt x="7251" y="2302"/>
                </a:lnTo>
                <a:lnTo>
                  <a:pt x="7254" y="2312"/>
                </a:lnTo>
                <a:lnTo>
                  <a:pt x="7257" y="2320"/>
                </a:lnTo>
                <a:lnTo>
                  <a:pt x="7258" y="2329"/>
                </a:lnTo>
                <a:lnTo>
                  <a:pt x="7260" y="2339"/>
                </a:lnTo>
                <a:lnTo>
                  <a:pt x="7260" y="2349"/>
                </a:lnTo>
                <a:lnTo>
                  <a:pt x="7259" y="2361"/>
                </a:lnTo>
                <a:lnTo>
                  <a:pt x="7258" y="2368"/>
                </a:lnTo>
                <a:lnTo>
                  <a:pt x="7257" y="2375"/>
                </a:lnTo>
                <a:lnTo>
                  <a:pt x="7253" y="2387"/>
                </a:lnTo>
                <a:lnTo>
                  <a:pt x="7248" y="2398"/>
                </a:lnTo>
                <a:lnTo>
                  <a:pt x="7242" y="2409"/>
                </a:lnTo>
                <a:lnTo>
                  <a:pt x="7235" y="2420"/>
                </a:lnTo>
                <a:lnTo>
                  <a:pt x="7231" y="2425"/>
                </a:lnTo>
                <a:lnTo>
                  <a:pt x="7225" y="2430"/>
                </a:lnTo>
                <a:lnTo>
                  <a:pt x="7216" y="2440"/>
                </a:lnTo>
                <a:lnTo>
                  <a:pt x="7206" y="2449"/>
                </a:lnTo>
                <a:lnTo>
                  <a:pt x="7201" y="2452"/>
                </a:lnTo>
                <a:lnTo>
                  <a:pt x="7195" y="2456"/>
                </a:lnTo>
                <a:lnTo>
                  <a:pt x="7184" y="2463"/>
                </a:lnTo>
                <a:lnTo>
                  <a:pt x="7172" y="2468"/>
                </a:lnTo>
                <a:lnTo>
                  <a:pt x="7159" y="2473"/>
                </a:lnTo>
                <a:lnTo>
                  <a:pt x="7153" y="2475"/>
                </a:lnTo>
                <a:lnTo>
                  <a:pt x="7147" y="2476"/>
                </a:lnTo>
                <a:lnTo>
                  <a:pt x="7141" y="2478"/>
                </a:lnTo>
                <a:lnTo>
                  <a:pt x="7135" y="2478"/>
                </a:lnTo>
                <a:lnTo>
                  <a:pt x="7122" y="2479"/>
                </a:lnTo>
                <a:lnTo>
                  <a:pt x="7117" y="2478"/>
                </a:lnTo>
                <a:lnTo>
                  <a:pt x="7112" y="2477"/>
                </a:lnTo>
                <a:lnTo>
                  <a:pt x="7106" y="2474"/>
                </a:lnTo>
                <a:lnTo>
                  <a:pt x="7104" y="2472"/>
                </a:lnTo>
                <a:lnTo>
                  <a:pt x="7102" y="2470"/>
                </a:lnTo>
                <a:lnTo>
                  <a:pt x="7099" y="2465"/>
                </a:lnTo>
                <a:lnTo>
                  <a:pt x="7097" y="2460"/>
                </a:lnTo>
                <a:lnTo>
                  <a:pt x="7096" y="2457"/>
                </a:lnTo>
                <a:lnTo>
                  <a:pt x="7095" y="2454"/>
                </a:lnTo>
                <a:lnTo>
                  <a:pt x="7095" y="2448"/>
                </a:lnTo>
                <a:lnTo>
                  <a:pt x="7095" y="2445"/>
                </a:lnTo>
                <a:lnTo>
                  <a:pt x="7095" y="2442"/>
                </a:lnTo>
                <a:lnTo>
                  <a:pt x="7096" y="2437"/>
                </a:lnTo>
                <a:lnTo>
                  <a:pt x="7097" y="2435"/>
                </a:lnTo>
                <a:lnTo>
                  <a:pt x="7099" y="2433"/>
                </a:lnTo>
                <a:lnTo>
                  <a:pt x="7100" y="2432"/>
                </a:lnTo>
                <a:lnTo>
                  <a:pt x="7102" y="2430"/>
                </a:lnTo>
                <a:lnTo>
                  <a:pt x="7114" y="2428"/>
                </a:lnTo>
                <a:lnTo>
                  <a:pt x="7124" y="2425"/>
                </a:lnTo>
                <a:lnTo>
                  <a:pt x="7134" y="2422"/>
                </a:lnTo>
                <a:lnTo>
                  <a:pt x="7144" y="2418"/>
                </a:lnTo>
                <a:lnTo>
                  <a:pt x="7153" y="2413"/>
                </a:lnTo>
                <a:lnTo>
                  <a:pt x="7161" y="2408"/>
                </a:lnTo>
                <a:lnTo>
                  <a:pt x="7169" y="2403"/>
                </a:lnTo>
                <a:lnTo>
                  <a:pt x="7174" y="2400"/>
                </a:lnTo>
                <a:lnTo>
                  <a:pt x="7177" y="2397"/>
                </a:lnTo>
                <a:lnTo>
                  <a:pt x="7184" y="2390"/>
                </a:lnTo>
                <a:lnTo>
                  <a:pt x="7190" y="2384"/>
                </a:lnTo>
                <a:lnTo>
                  <a:pt x="7195" y="2377"/>
                </a:lnTo>
                <a:lnTo>
                  <a:pt x="7199" y="2369"/>
                </a:lnTo>
                <a:lnTo>
                  <a:pt x="7202" y="2362"/>
                </a:lnTo>
                <a:lnTo>
                  <a:pt x="7205" y="2355"/>
                </a:lnTo>
                <a:lnTo>
                  <a:pt x="7206" y="2348"/>
                </a:lnTo>
                <a:lnTo>
                  <a:pt x="7207" y="2341"/>
                </a:lnTo>
                <a:lnTo>
                  <a:pt x="7206" y="2333"/>
                </a:lnTo>
                <a:lnTo>
                  <a:pt x="7204" y="2326"/>
                </a:lnTo>
                <a:lnTo>
                  <a:pt x="7202" y="2323"/>
                </a:lnTo>
                <a:lnTo>
                  <a:pt x="7200" y="2319"/>
                </a:lnTo>
                <a:lnTo>
                  <a:pt x="7198" y="2317"/>
                </a:lnTo>
                <a:lnTo>
                  <a:pt x="7196" y="2314"/>
                </a:lnTo>
                <a:lnTo>
                  <a:pt x="7190" y="2309"/>
                </a:lnTo>
                <a:lnTo>
                  <a:pt x="7187" y="2307"/>
                </a:lnTo>
                <a:lnTo>
                  <a:pt x="7183" y="2306"/>
                </a:lnTo>
                <a:lnTo>
                  <a:pt x="7175" y="2304"/>
                </a:lnTo>
                <a:lnTo>
                  <a:pt x="7171" y="2303"/>
                </a:lnTo>
                <a:lnTo>
                  <a:pt x="7165" y="2303"/>
                </a:lnTo>
                <a:lnTo>
                  <a:pt x="7157" y="2304"/>
                </a:lnTo>
                <a:lnTo>
                  <a:pt x="7152" y="2305"/>
                </a:lnTo>
                <a:lnTo>
                  <a:pt x="7148" y="2306"/>
                </a:lnTo>
                <a:lnTo>
                  <a:pt x="7143" y="2308"/>
                </a:lnTo>
                <a:lnTo>
                  <a:pt x="7139" y="2310"/>
                </a:lnTo>
                <a:lnTo>
                  <a:pt x="7134" y="2313"/>
                </a:lnTo>
                <a:lnTo>
                  <a:pt x="7130" y="2315"/>
                </a:lnTo>
                <a:lnTo>
                  <a:pt x="7126" y="2318"/>
                </a:lnTo>
                <a:lnTo>
                  <a:pt x="7122" y="2321"/>
                </a:lnTo>
                <a:lnTo>
                  <a:pt x="7113" y="2328"/>
                </a:lnTo>
                <a:lnTo>
                  <a:pt x="7104" y="2336"/>
                </a:lnTo>
                <a:lnTo>
                  <a:pt x="7097" y="2345"/>
                </a:lnTo>
                <a:lnTo>
                  <a:pt x="7094" y="2350"/>
                </a:lnTo>
                <a:lnTo>
                  <a:pt x="7090" y="2355"/>
                </a:lnTo>
                <a:lnTo>
                  <a:pt x="7084" y="2366"/>
                </a:lnTo>
                <a:lnTo>
                  <a:pt x="7078" y="2379"/>
                </a:lnTo>
                <a:lnTo>
                  <a:pt x="7074" y="2391"/>
                </a:lnTo>
                <a:lnTo>
                  <a:pt x="7070" y="2404"/>
                </a:lnTo>
                <a:lnTo>
                  <a:pt x="7067" y="2417"/>
                </a:lnTo>
                <a:lnTo>
                  <a:pt x="7065" y="2432"/>
                </a:lnTo>
                <a:lnTo>
                  <a:pt x="7065" y="2439"/>
                </a:lnTo>
                <a:lnTo>
                  <a:pt x="7065" y="2446"/>
                </a:lnTo>
                <a:lnTo>
                  <a:pt x="7065" y="2459"/>
                </a:lnTo>
                <a:lnTo>
                  <a:pt x="7066" y="2471"/>
                </a:lnTo>
                <a:lnTo>
                  <a:pt x="7069" y="2482"/>
                </a:lnTo>
                <a:lnTo>
                  <a:pt x="7070" y="2488"/>
                </a:lnTo>
                <a:lnTo>
                  <a:pt x="7072" y="2494"/>
                </a:lnTo>
                <a:lnTo>
                  <a:pt x="7075" y="2505"/>
                </a:lnTo>
                <a:lnTo>
                  <a:pt x="7077" y="2510"/>
                </a:lnTo>
                <a:lnTo>
                  <a:pt x="7080" y="2515"/>
                </a:lnTo>
                <a:lnTo>
                  <a:pt x="7082" y="2519"/>
                </a:lnTo>
                <a:lnTo>
                  <a:pt x="7085" y="2524"/>
                </a:lnTo>
                <a:lnTo>
                  <a:pt x="7088" y="2528"/>
                </a:lnTo>
                <a:lnTo>
                  <a:pt x="7091" y="2532"/>
                </a:lnTo>
                <a:lnTo>
                  <a:pt x="7094" y="2536"/>
                </a:lnTo>
                <a:lnTo>
                  <a:pt x="7097" y="2540"/>
                </a:lnTo>
                <a:lnTo>
                  <a:pt x="7105" y="2546"/>
                </a:lnTo>
                <a:lnTo>
                  <a:pt x="7114" y="2553"/>
                </a:lnTo>
                <a:lnTo>
                  <a:pt x="7122" y="2558"/>
                </a:lnTo>
                <a:lnTo>
                  <a:pt x="7131" y="2561"/>
                </a:lnTo>
                <a:lnTo>
                  <a:pt x="7141" y="2564"/>
                </a:lnTo>
                <a:lnTo>
                  <a:pt x="7151" y="2566"/>
                </a:lnTo>
                <a:lnTo>
                  <a:pt x="7156" y="2566"/>
                </a:lnTo>
                <a:lnTo>
                  <a:pt x="7162" y="2567"/>
                </a:lnTo>
                <a:lnTo>
                  <a:pt x="7173" y="2566"/>
                </a:lnTo>
                <a:lnTo>
                  <a:pt x="7183" y="2564"/>
                </a:lnTo>
                <a:lnTo>
                  <a:pt x="7193" y="2562"/>
                </a:lnTo>
                <a:lnTo>
                  <a:pt x="7203" y="2559"/>
                </a:lnTo>
                <a:lnTo>
                  <a:pt x="7212" y="2554"/>
                </a:lnTo>
                <a:lnTo>
                  <a:pt x="7221" y="2548"/>
                </a:lnTo>
                <a:lnTo>
                  <a:pt x="7231" y="2543"/>
                </a:lnTo>
                <a:lnTo>
                  <a:pt x="7239" y="2536"/>
                </a:lnTo>
                <a:lnTo>
                  <a:pt x="7247" y="2529"/>
                </a:lnTo>
                <a:lnTo>
                  <a:pt x="7254" y="2521"/>
                </a:lnTo>
                <a:lnTo>
                  <a:pt x="7262" y="2512"/>
                </a:lnTo>
                <a:lnTo>
                  <a:pt x="7269" y="2503"/>
                </a:lnTo>
                <a:lnTo>
                  <a:pt x="7282" y="2483"/>
                </a:lnTo>
                <a:lnTo>
                  <a:pt x="7288" y="2473"/>
                </a:lnTo>
                <a:lnTo>
                  <a:pt x="7294" y="2462"/>
                </a:lnTo>
                <a:lnTo>
                  <a:pt x="7299" y="2451"/>
                </a:lnTo>
                <a:lnTo>
                  <a:pt x="7304" y="2440"/>
                </a:lnTo>
                <a:lnTo>
                  <a:pt x="7309" y="2427"/>
                </a:lnTo>
                <a:lnTo>
                  <a:pt x="7313" y="2415"/>
                </a:lnTo>
                <a:lnTo>
                  <a:pt x="7317" y="2403"/>
                </a:lnTo>
                <a:lnTo>
                  <a:pt x="7320" y="2391"/>
                </a:lnTo>
                <a:lnTo>
                  <a:pt x="7323" y="2379"/>
                </a:lnTo>
                <a:lnTo>
                  <a:pt x="7326" y="2366"/>
                </a:lnTo>
                <a:lnTo>
                  <a:pt x="7328" y="2354"/>
                </a:lnTo>
                <a:lnTo>
                  <a:pt x="7330" y="2343"/>
                </a:lnTo>
                <a:lnTo>
                  <a:pt x="7331" y="2331"/>
                </a:lnTo>
                <a:lnTo>
                  <a:pt x="7332" y="2319"/>
                </a:lnTo>
                <a:lnTo>
                  <a:pt x="7333" y="2307"/>
                </a:lnTo>
                <a:lnTo>
                  <a:pt x="7333" y="2296"/>
                </a:lnTo>
                <a:lnTo>
                  <a:pt x="7333" y="2285"/>
                </a:lnTo>
                <a:lnTo>
                  <a:pt x="7333" y="2275"/>
                </a:lnTo>
                <a:lnTo>
                  <a:pt x="7334" y="2272"/>
                </a:lnTo>
                <a:lnTo>
                  <a:pt x="7335" y="2270"/>
                </a:lnTo>
                <a:lnTo>
                  <a:pt x="7337" y="2268"/>
                </a:lnTo>
                <a:lnTo>
                  <a:pt x="7340" y="2266"/>
                </a:lnTo>
                <a:lnTo>
                  <a:pt x="7347" y="2263"/>
                </a:lnTo>
                <a:lnTo>
                  <a:pt x="7352" y="2263"/>
                </a:lnTo>
                <a:lnTo>
                  <a:pt x="7356" y="2262"/>
                </a:lnTo>
                <a:lnTo>
                  <a:pt x="7363" y="2263"/>
                </a:lnTo>
                <a:lnTo>
                  <a:pt x="7366" y="2264"/>
                </a:lnTo>
                <a:lnTo>
                  <a:pt x="7370" y="2265"/>
                </a:lnTo>
                <a:lnTo>
                  <a:pt x="7375" y="2267"/>
                </a:lnTo>
                <a:lnTo>
                  <a:pt x="7378" y="2269"/>
                </a:lnTo>
                <a:lnTo>
                  <a:pt x="7380" y="2272"/>
                </a:lnTo>
                <a:lnTo>
                  <a:pt x="7384" y="2277"/>
                </a:lnTo>
                <a:lnTo>
                  <a:pt x="7386" y="2281"/>
                </a:lnTo>
                <a:lnTo>
                  <a:pt x="7387" y="2285"/>
                </a:lnTo>
                <a:lnTo>
                  <a:pt x="7388" y="2289"/>
                </a:lnTo>
                <a:lnTo>
                  <a:pt x="7389" y="2294"/>
                </a:lnTo>
                <a:lnTo>
                  <a:pt x="7390" y="2299"/>
                </a:lnTo>
                <a:lnTo>
                  <a:pt x="7390" y="2305"/>
                </a:lnTo>
                <a:lnTo>
                  <a:pt x="7389" y="2322"/>
                </a:lnTo>
                <a:lnTo>
                  <a:pt x="7388" y="2337"/>
                </a:lnTo>
                <a:lnTo>
                  <a:pt x="7387" y="2352"/>
                </a:lnTo>
                <a:lnTo>
                  <a:pt x="7385" y="2368"/>
                </a:lnTo>
                <a:lnTo>
                  <a:pt x="7382" y="2383"/>
                </a:lnTo>
                <a:lnTo>
                  <a:pt x="7379" y="2398"/>
                </a:lnTo>
                <a:lnTo>
                  <a:pt x="7376" y="2413"/>
                </a:lnTo>
                <a:lnTo>
                  <a:pt x="7372" y="2427"/>
                </a:lnTo>
                <a:lnTo>
                  <a:pt x="7367" y="2442"/>
                </a:lnTo>
                <a:lnTo>
                  <a:pt x="7363" y="2455"/>
                </a:lnTo>
                <a:lnTo>
                  <a:pt x="7357" y="2468"/>
                </a:lnTo>
                <a:lnTo>
                  <a:pt x="7352" y="2481"/>
                </a:lnTo>
                <a:lnTo>
                  <a:pt x="7345" y="2495"/>
                </a:lnTo>
                <a:lnTo>
                  <a:pt x="7338" y="2507"/>
                </a:lnTo>
                <a:lnTo>
                  <a:pt x="7331" y="2518"/>
                </a:lnTo>
                <a:lnTo>
                  <a:pt x="7324" y="2529"/>
                </a:lnTo>
                <a:lnTo>
                  <a:pt x="7316" y="2540"/>
                </a:lnTo>
                <a:lnTo>
                  <a:pt x="7308" y="2550"/>
                </a:lnTo>
                <a:lnTo>
                  <a:pt x="7300" y="2561"/>
                </a:lnTo>
                <a:lnTo>
                  <a:pt x="7291" y="2570"/>
                </a:lnTo>
                <a:lnTo>
                  <a:pt x="7281" y="2578"/>
                </a:lnTo>
                <a:lnTo>
                  <a:pt x="7272" y="2586"/>
                </a:lnTo>
                <a:lnTo>
                  <a:pt x="7262" y="2593"/>
                </a:lnTo>
                <a:lnTo>
                  <a:pt x="7252" y="2600"/>
                </a:lnTo>
                <a:lnTo>
                  <a:pt x="7242" y="2606"/>
                </a:lnTo>
                <a:lnTo>
                  <a:pt x="7231" y="2612"/>
                </a:lnTo>
                <a:lnTo>
                  <a:pt x="7219" y="2616"/>
                </a:lnTo>
                <a:lnTo>
                  <a:pt x="7208" y="2620"/>
                </a:lnTo>
                <a:lnTo>
                  <a:pt x="7196" y="2623"/>
                </a:lnTo>
                <a:lnTo>
                  <a:pt x="7185" y="2625"/>
                </a:lnTo>
                <a:lnTo>
                  <a:pt x="7173" y="2626"/>
                </a:lnTo>
                <a:lnTo>
                  <a:pt x="7160" y="2627"/>
                </a:lnTo>
                <a:close/>
                <a:moveTo>
                  <a:pt x="7547" y="2621"/>
                </a:moveTo>
                <a:lnTo>
                  <a:pt x="7546" y="2621"/>
                </a:lnTo>
                <a:lnTo>
                  <a:pt x="7543" y="2620"/>
                </a:lnTo>
                <a:lnTo>
                  <a:pt x="7538" y="2617"/>
                </a:lnTo>
                <a:lnTo>
                  <a:pt x="7532" y="2613"/>
                </a:lnTo>
                <a:lnTo>
                  <a:pt x="7523" y="2607"/>
                </a:lnTo>
                <a:lnTo>
                  <a:pt x="7511" y="2596"/>
                </a:lnTo>
                <a:lnTo>
                  <a:pt x="7496" y="2582"/>
                </a:lnTo>
                <a:lnTo>
                  <a:pt x="7479" y="2566"/>
                </a:lnTo>
                <a:lnTo>
                  <a:pt x="7462" y="2548"/>
                </a:lnTo>
                <a:lnTo>
                  <a:pt x="7446" y="2531"/>
                </a:lnTo>
                <a:lnTo>
                  <a:pt x="7432" y="2515"/>
                </a:lnTo>
                <a:lnTo>
                  <a:pt x="7420" y="2501"/>
                </a:lnTo>
                <a:lnTo>
                  <a:pt x="7416" y="2494"/>
                </a:lnTo>
                <a:lnTo>
                  <a:pt x="7413" y="2488"/>
                </a:lnTo>
                <a:lnTo>
                  <a:pt x="7406" y="2478"/>
                </a:lnTo>
                <a:lnTo>
                  <a:pt x="7403" y="2468"/>
                </a:lnTo>
                <a:lnTo>
                  <a:pt x="7400" y="2458"/>
                </a:lnTo>
                <a:lnTo>
                  <a:pt x="7399" y="2448"/>
                </a:lnTo>
                <a:lnTo>
                  <a:pt x="7400" y="2443"/>
                </a:lnTo>
                <a:lnTo>
                  <a:pt x="7400" y="2437"/>
                </a:lnTo>
                <a:lnTo>
                  <a:pt x="7402" y="2430"/>
                </a:lnTo>
                <a:lnTo>
                  <a:pt x="7404" y="2424"/>
                </a:lnTo>
                <a:lnTo>
                  <a:pt x="7406" y="2418"/>
                </a:lnTo>
                <a:lnTo>
                  <a:pt x="7411" y="2412"/>
                </a:lnTo>
                <a:lnTo>
                  <a:pt x="7414" y="2405"/>
                </a:lnTo>
                <a:lnTo>
                  <a:pt x="7419" y="2398"/>
                </a:lnTo>
                <a:lnTo>
                  <a:pt x="7427" y="2387"/>
                </a:lnTo>
                <a:lnTo>
                  <a:pt x="7438" y="2374"/>
                </a:lnTo>
                <a:lnTo>
                  <a:pt x="7468" y="2339"/>
                </a:lnTo>
                <a:lnTo>
                  <a:pt x="7504" y="2299"/>
                </a:lnTo>
                <a:lnTo>
                  <a:pt x="7540" y="2259"/>
                </a:lnTo>
                <a:lnTo>
                  <a:pt x="7541" y="2258"/>
                </a:lnTo>
                <a:lnTo>
                  <a:pt x="7544" y="2258"/>
                </a:lnTo>
                <a:lnTo>
                  <a:pt x="7548" y="2258"/>
                </a:lnTo>
                <a:lnTo>
                  <a:pt x="7552" y="2260"/>
                </a:lnTo>
                <a:lnTo>
                  <a:pt x="7556" y="2261"/>
                </a:lnTo>
                <a:lnTo>
                  <a:pt x="7560" y="2264"/>
                </a:lnTo>
                <a:lnTo>
                  <a:pt x="7565" y="2267"/>
                </a:lnTo>
                <a:lnTo>
                  <a:pt x="7569" y="2271"/>
                </a:lnTo>
                <a:lnTo>
                  <a:pt x="7572" y="2275"/>
                </a:lnTo>
                <a:lnTo>
                  <a:pt x="7575" y="2280"/>
                </a:lnTo>
                <a:lnTo>
                  <a:pt x="7576" y="2284"/>
                </a:lnTo>
                <a:lnTo>
                  <a:pt x="7577" y="2289"/>
                </a:lnTo>
                <a:lnTo>
                  <a:pt x="7576" y="2295"/>
                </a:lnTo>
                <a:lnTo>
                  <a:pt x="7574" y="2300"/>
                </a:lnTo>
                <a:lnTo>
                  <a:pt x="7572" y="2306"/>
                </a:lnTo>
                <a:lnTo>
                  <a:pt x="7568" y="2313"/>
                </a:lnTo>
                <a:lnTo>
                  <a:pt x="7560" y="2323"/>
                </a:lnTo>
                <a:lnTo>
                  <a:pt x="7548" y="2336"/>
                </a:lnTo>
                <a:lnTo>
                  <a:pt x="7518" y="2369"/>
                </a:lnTo>
                <a:lnTo>
                  <a:pt x="7488" y="2404"/>
                </a:lnTo>
                <a:lnTo>
                  <a:pt x="7476" y="2418"/>
                </a:lnTo>
                <a:lnTo>
                  <a:pt x="7466" y="2430"/>
                </a:lnTo>
                <a:lnTo>
                  <a:pt x="7464" y="2434"/>
                </a:lnTo>
                <a:lnTo>
                  <a:pt x="7462" y="2438"/>
                </a:lnTo>
                <a:lnTo>
                  <a:pt x="7461" y="2442"/>
                </a:lnTo>
                <a:lnTo>
                  <a:pt x="7460" y="2445"/>
                </a:lnTo>
                <a:lnTo>
                  <a:pt x="7461" y="2450"/>
                </a:lnTo>
                <a:lnTo>
                  <a:pt x="7462" y="2454"/>
                </a:lnTo>
                <a:lnTo>
                  <a:pt x="7464" y="2458"/>
                </a:lnTo>
                <a:lnTo>
                  <a:pt x="7467" y="2463"/>
                </a:lnTo>
                <a:lnTo>
                  <a:pt x="7476" y="2472"/>
                </a:lnTo>
                <a:lnTo>
                  <a:pt x="7486" y="2484"/>
                </a:lnTo>
                <a:lnTo>
                  <a:pt x="7514" y="2514"/>
                </a:lnTo>
                <a:lnTo>
                  <a:pt x="7546" y="2546"/>
                </a:lnTo>
                <a:lnTo>
                  <a:pt x="7577" y="2577"/>
                </a:lnTo>
                <a:lnTo>
                  <a:pt x="7579" y="2579"/>
                </a:lnTo>
                <a:lnTo>
                  <a:pt x="7581" y="2581"/>
                </a:lnTo>
                <a:lnTo>
                  <a:pt x="7582" y="2584"/>
                </a:lnTo>
                <a:lnTo>
                  <a:pt x="7582" y="2586"/>
                </a:lnTo>
                <a:lnTo>
                  <a:pt x="7581" y="2592"/>
                </a:lnTo>
                <a:lnTo>
                  <a:pt x="7580" y="2595"/>
                </a:lnTo>
                <a:lnTo>
                  <a:pt x="7579" y="2597"/>
                </a:lnTo>
                <a:lnTo>
                  <a:pt x="7575" y="2603"/>
                </a:lnTo>
                <a:lnTo>
                  <a:pt x="7573" y="2606"/>
                </a:lnTo>
                <a:lnTo>
                  <a:pt x="7570" y="2608"/>
                </a:lnTo>
                <a:lnTo>
                  <a:pt x="7565" y="2614"/>
                </a:lnTo>
                <a:lnTo>
                  <a:pt x="7562" y="2616"/>
                </a:lnTo>
                <a:lnTo>
                  <a:pt x="7559" y="2618"/>
                </a:lnTo>
                <a:lnTo>
                  <a:pt x="7553" y="2620"/>
                </a:lnTo>
                <a:lnTo>
                  <a:pt x="7550" y="2621"/>
                </a:lnTo>
                <a:lnTo>
                  <a:pt x="7547" y="2621"/>
                </a:lnTo>
                <a:close/>
                <a:moveTo>
                  <a:pt x="5934" y="2916"/>
                </a:moveTo>
                <a:lnTo>
                  <a:pt x="5935" y="2897"/>
                </a:lnTo>
                <a:lnTo>
                  <a:pt x="5936" y="2887"/>
                </a:lnTo>
                <a:lnTo>
                  <a:pt x="5938" y="2878"/>
                </a:lnTo>
                <a:lnTo>
                  <a:pt x="5939" y="2869"/>
                </a:lnTo>
                <a:lnTo>
                  <a:pt x="5941" y="2860"/>
                </a:lnTo>
                <a:lnTo>
                  <a:pt x="5944" y="2850"/>
                </a:lnTo>
                <a:lnTo>
                  <a:pt x="5947" y="2842"/>
                </a:lnTo>
                <a:lnTo>
                  <a:pt x="5950" y="2833"/>
                </a:lnTo>
                <a:lnTo>
                  <a:pt x="5953" y="2825"/>
                </a:lnTo>
                <a:lnTo>
                  <a:pt x="5957" y="2817"/>
                </a:lnTo>
                <a:lnTo>
                  <a:pt x="5961" y="2809"/>
                </a:lnTo>
                <a:lnTo>
                  <a:pt x="5966" y="2802"/>
                </a:lnTo>
                <a:lnTo>
                  <a:pt x="5971" y="2794"/>
                </a:lnTo>
                <a:lnTo>
                  <a:pt x="5982" y="2779"/>
                </a:lnTo>
                <a:lnTo>
                  <a:pt x="5987" y="2773"/>
                </a:lnTo>
                <a:lnTo>
                  <a:pt x="5993" y="2767"/>
                </a:lnTo>
                <a:lnTo>
                  <a:pt x="6005" y="2755"/>
                </a:lnTo>
                <a:lnTo>
                  <a:pt x="6012" y="2750"/>
                </a:lnTo>
                <a:lnTo>
                  <a:pt x="6018" y="2745"/>
                </a:lnTo>
                <a:lnTo>
                  <a:pt x="6025" y="2741"/>
                </a:lnTo>
                <a:lnTo>
                  <a:pt x="6033" y="2737"/>
                </a:lnTo>
                <a:lnTo>
                  <a:pt x="6040" y="2733"/>
                </a:lnTo>
                <a:lnTo>
                  <a:pt x="6048" y="2729"/>
                </a:lnTo>
                <a:lnTo>
                  <a:pt x="6055" y="2726"/>
                </a:lnTo>
                <a:lnTo>
                  <a:pt x="6063" y="2724"/>
                </a:lnTo>
                <a:lnTo>
                  <a:pt x="6071" y="2722"/>
                </a:lnTo>
                <a:lnTo>
                  <a:pt x="6079" y="2721"/>
                </a:lnTo>
                <a:lnTo>
                  <a:pt x="6087" y="2720"/>
                </a:lnTo>
                <a:lnTo>
                  <a:pt x="6096" y="2720"/>
                </a:lnTo>
                <a:lnTo>
                  <a:pt x="6107" y="2720"/>
                </a:lnTo>
                <a:lnTo>
                  <a:pt x="6111" y="2721"/>
                </a:lnTo>
                <a:lnTo>
                  <a:pt x="6116" y="2722"/>
                </a:lnTo>
                <a:lnTo>
                  <a:pt x="6121" y="2723"/>
                </a:lnTo>
                <a:lnTo>
                  <a:pt x="6125" y="2724"/>
                </a:lnTo>
                <a:lnTo>
                  <a:pt x="6134" y="2727"/>
                </a:lnTo>
                <a:lnTo>
                  <a:pt x="6142" y="2732"/>
                </a:lnTo>
                <a:lnTo>
                  <a:pt x="6149" y="2737"/>
                </a:lnTo>
                <a:lnTo>
                  <a:pt x="6157" y="2742"/>
                </a:lnTo>
                <a:lnTo>
                  <a:pt x="6163" y="2748"/>
                </a:lnTo>
                <a:lnTo>
                  <a:pt x="6165" y="2751"/>
                </a:lnTo>
                <a:lnTo>
                  <a:pt x="6168" y="2755"/>
                </a:lnTo>
                <a:lnTo>
                  <a:pt x="6173" y="2762"/>
                </a:lnTo>
                <a:lnTo>
                  <a:pt x="6177" y="2770"/>
                </a:lnTo>
                <a:lnTo>
                  <a:pt x="6180" y="2778"/>
                </a:lnTo>
                <a:lnTo>
                  <a:pt x="6183" y="2787"/>
                </a:lnTo>
                <a:lnTo>
                  <a:pt x="6185" y="2797"/>
                </a:lnTo>
                <a:lnTo>
                  <a:pt x="6186" y="2806"/>
                </a:lnTo>
                <a:lnTo>
                  <a:pt x="6186" y="2816"/>
                </a:lnTo>
                <a:lnTo>
                  <a:pt x="6186" y="2823"/>
                </a:lnTo>
                <a:lnTo>
                  <a:pt x="6185" y="2829"/>
                </a:lnTo>
                <a:lnTo>
                  <a:pt x="6184" y="2835"/>
                </a:lnTo>
                <a:lnTo>
                  <a:pt x="6183" y="2841"/>
                </a:lnTo>
                <a:lnTo>
                  <a:pt x="6179" y="2854"/>
                </a:lnTo>
                <a:lnTo>
                  <a:pt x="6174" y="2866"/>
                </a:lnTo>
                <a:lnTo>
                  <a:pt x="6168" y="2877"/>
                </a:lnTo>
                <a:lnTo>
                  <a:pt x="6165" y="2882"/>
                </a:lnTo>
                <a:lnTo>
                  <a:pt x="6161" y="2888"/>
                </a:lnTo>
                <a:lnTo>
                  <a:pt x="6157" y="2893"/>
                </a:lnTo>
                <a:lnTo>
                  <a:pt x="6153" y="2898"/>
                </a:lnTo>
                <a:lnTo>
                  <a:pt x="6142" y="2907"/>
                </a:lnTo>
                <a:lnTo>
                  <a:pt x="6132" y="2916"/>
                </a:lnTo>
                <a:lnTo>
                  <a:pt x="6127" y="2920"/>
                </a:lnTo>
                <a:lnTo>
                  <a:pt x="6122" y="2924"/>
                </a:lnTo>
                <a:lnTo>
                  <a:pt x="6110" y="2931"/>
                </a:lnTo>
                <a:lnTo>
                  <a:pt x="6099" y="2936"/>
                </a:lnTo>
                <a:lnTo>
                  <a:pt x="6086" y="2941"/>
                </a:lnTo>
                <a:lnTo>
                  <a:pt x="6079" y="2943"/>
                </a:lnTo>
                <a:lnTo>
                  <a:pt x="6073" y="2944"/>
                </a:lnTo>
                <a:lnTo>
                  <a:pt x="6067" y="2945"/>
                </a:lnTo>
                <a:lnTo>
                  <a:pt x="6061" y="2946"/>
                </a:lnTo>
                <a:lnTo>
                  <a:pt x="6048" y="2947"/>
                </a:lnTo>
                <a:lnTo>
                  <a:pt x="6043" y="2946"/>
                </a:lnTo>
                <a:lnTo>
                  <a:pt x="6038" y="2944"/>
                </a:lnTo>
                <a:lnTo>
                  <a:pt x="6033" y="2942"/>
                </a:lnTo>
                <a:lnTo>
                  <a:pt x="6031" y="2940"/>
                </a:lnTo>
                <a:lnTo>
                  <a:pt x="6029" y="2938"/>
                </a:lnTo>
                <a:lnTo>
                  <a:pt x="6025" y="2933"/>
                </a:lnTo>
                <a:lnTo>
                  <a:pt x="6023" y="2928"/>
                </a:lnTo>
                <a:lnTo>
                  <a:pt x="6022" y="2925"/>
                </a:lnTo>
                <a:lnTo>
                  <a:pt x="6022" y="2922"/>
                </a:lnTo>
                <a:lnTo>
                  <a:pt x="6021" y="2916"/>
                </a:lnTo>
                <a:lnTo>
                  <a:pt x="6021" y="2913"/>
                </a:lnTo>
                <a:lnTo>
                  <a:pt x="6021" y="2909"/>
                </a:lnTo>
                <a:lnTo>
                  <a:pt x="6023" y="2904"/>
                </a:lnTo>
                <a:lnTo>
                  <a:pt x="6024" y="2902"/>
                </a:lnTo>
                <a:lnTo>
                  <a:pt x="6025" y="2900"/>
                </a:lnTo>
                <a:lnTo>
                  <a:pt x="6026" y="2898"/>
                </a:lnTo>
                <a:lnTo>
                  <a:pt x="6028" y="2897"/>
                </a:lnTo>
                <a:lnTo>
                  <a:pt x="6040" y="2895"/>
                </a:lnTo>
                <a:lnTo>
                  <a:pt x="6050" y="2892"/>
                </a:lnTo>
                <a:lnTo>
                  <a:pt x="6060" y="2889"/>
                </a:lnTo>
                <a:lnTo>
                  <a:pt x="6070" y="2885"/>
                </a:lnTo>
                <a:lnTo>
                  <a:pt x="6079" y="2881"/>
                </a:lnTo>
                <a:lnTo>
                  <a:pt x="6087" y="2876"/>
                </a:lnTo>
                <a:lnTo>
                  <a:pt x="6096" y="2870"/>
                </a:lnTo>
                <a:lnTo>
                  <a:pt x="6103" y="2864"/>
                </a:lnTo>
                <a:lnTo>
                  <a:pt x="6110" y="2858"/>
                </a:lnTo>
                <a:lnTo>
                  <a:pt x="6116" y="2852"/>
                </a:lnTo>
                <a:lnTo>
                  <a:pt x="6121" y="2844"/>
                </a:lnTo>
                <a:lnTo>
                  <a:pt x="6125" y="2837"/>
                </a:lnTo>
                <a:lnTo>
                  <a:pt x="6128" y="2830"/>
                </a:lnTo>
                <a:lnTo>
                  <a:pt x="6131" y="2823"/>
                </a:lnTo>
                <a:lnTo>
                  <a:pt x="6132" y="2816"/>
                </a:lnTo>
                <a:lnTo>
                  <a:pt x="6133" y="2809"/>
                </a:lnTo>
                <a:lnTo>
                  <a:pt x="6133" y="2805"/>
                </a:lnTo>
                <a:lnTo>
                  <a:pt x="6132" y="2801"/>
                </a:lnTo>
                <a:lnTo>
                  <a:pt x="6130" y="2794"/>
                </a:lnTo>
                <a:lnTo>
                  <a:pt x="6128" y="2789"/>
                </a:lnTo>
                <a:lnTo>
                  <a:pt x="6127" y="2786"/>
                </a:lnTo>
                <a:lnTo>
                  <a:pt x="6124" y="2783"/>
                </a:lnTo>
                <a:lnTo>
                  <a:pt x="6122" y="2781"/>
                </a:lnTo>
                <a:lnTo>
                  <a:pt x="6116" y="2777"/>
                </a:lnTo>
                <a:lnTo>
                  <a:pt x="6113" y="2775"/>
                </a:lnTo>
                <a:lnTo>
                  <a:pt x="6109" y="2774"/>
                </a:lnTo>
                <a:lnTo>
                  <a:pt x="6101" y="2772"/>
                </a:lnTo>
                <a:lnTo>
                  <a:pt x="6093" y="2771"/>
                </a:lnTo>
                <a:lnTo>
                  <a:pt x="6083" y="2772"/>
                </a:lnTo>
                <a:lnTo>
                  <a:pt x="6078" y="2773"/>
                </a:lnTo>
                <a:lnTo>
                  <a:pt x="6074" y="2774"/>
                </a:lnTo>
                <a:lnTo>
                  <a:pt x="6070" y="2776"/>
                </a:lnTo>
                <a:lnTo>
                  <a:pt x="6065" y="2777"/>
                </a:lnTo>
                <a:lnTo>
                  <a:pt x="6061" y="2780"/>
                </a:lnTo>
                <a:lnTo>
                  <a:pt x="6056" y="2782"/>
                </a:lnTo>
                <a:lnTo>
                  <a:pt x="6052" y="2785"/>
                </a:lnTo>
                <a:lnTo>
                  <a:pt x="6048" y="2788"/>
                </a:lnTo>
                <a:lnTo>
                  <a:pt x="6040" y="2796"/>
                </a:lnTo>
                <a:lnTo>
                  <a:pt x="6032" y="2804"/>
                </a:lnTo>
                <a:lnTo>
                  <a:pt x="6023" y="2813"/>
                </a:lnTo>
                <a:lnTo>
                  <a:pt x="6020" y="2818"/>
                </a:lnTo>
                <a:lnTo>
                  <a:pt x="6017" y="2823"/>
                </a:lnTo>
                <a:lnTo>
                  <a:pt x="6010" y="2834"/>
                </a:lnTo>
                <a:lnTo>
                  <a:pt x="6005" y="2845"/>
                </a:lnTo>
                <a:lnTo>
                  <a:pt x="6000" y="2858"/>
                </a:lnTo>
                <a:lnTo>
                  <a:pt x="5996" y="2871"/>
                </a:lnTo>
                <a:lnTo>
                  <a:pt x="5993" y="2884"/>
                </a:lnTo>
                <a:lnTo>
                  <a:pt x="5992" y="2891"/>
                </a:lnTo>
                <a:lnTo>
                  <a:pt x="5992" y="2898"/>
                </a:lnTo>
                <a:lnTo>
                  <a:pt x="5991" y="2905"/>
                </a:lnTo>
                <a:lnTo>
                  <a:pt x="5991" y="2913"/>
                </a:lnTo>
                <a:lnTo>
                  <a:pt x="5991" y="2926"/>
                </a:lnTo>
                <a:lnTo>
                  <a:pt x="5993" y="2938"/>
                </a:lnTo>
                <a:lnTo>
                  <a:pt x="5994" y="2944"/>
                </a:lnTo>
                <a:lnTo>
                  <a:pt x="5995" y="2950"/>
                </a:lnTo>
                <a:lnTo>
                  <a:pt x="5996" y="2956"/>
                </a:lnTo>
                <a:lnTo>
                  <a:pt x="5998" y="2961"/>
                </a:lnTo>
                <a:lnTo>
                  <a:pt x="6002" y="2972"/>
                </a:lnTo>
                <a:lnTo>
                  <a:pt x="6004" y="2977"/>
                </a:lnTo>
                <a:lnTo>
                  <a:pt x="6006" y="2982"/>
                </a:lnTo>
                <a:lnTo>
                  <a:pt x="6009" y="2987"/>
                </a:lnTo>
                <a:lnTo>
                  <a:pt x="6011" y="2991"/>
                </a:lnTo>
                <a:lnTo>
                  <a:pt x="6014" y="2995"/>
                </a:lnTo>
                <a:lnTo>
                  <a:pt x="6017" y="2999"/>
                </a:lnTo>
                <a:lnTo>
                  <a:pt x="6020" y="3003"/>
                </a:lnTo>
                <a:lnTo>
                  <a:pt x="6024" y="3007"/>
                </a:lnTo>
                <a:lnTo>
                  <a:pt x="6032" y="3014"/>
                </a:lnTo>
                <a:lnTo>
                  <a:pt x="6040" y="3019"/>
                </a:lnTo>
                <a:lnTo>
                  <a:pt x="6048" y="3024"/>
                </a:lnTo>
                <a:lnTo>
                  <a:pt x="6057" y="3028"/>
                </a:lnTo>
                <a:lnTo>
                  <a:pt x="6067" y="3032"/>
                </a:lnTo>
                <a:lnTo>
                  <a:pt x="6077" y="3033"/>
                </a:lnTo>
                <a:lnTo>
                  <a:pt x="6082" y="3034"/>
                </a:lnTo>
                <a:lnTo>
                  <a:pt x="6088" y="3034"/>
                </a:lnTo>
                <a:lnTo>
                  <a:pt x="6099" y="3033"/>
                </a:lnTo>
                <a:lnTo>
                  <a:pt x="6108" y="3032"/>
                </a:lnTo>
                <a:lnTo>
                  <a:pt x="6118" y="3029"/>
                </a:lnTo>
                <a:lnTo>
                  <a:pt x="6127" y="3026"/>
                </a:lnTo>
                <a:lnTo>
                  <a:pt x="6136" y="3022"/>
                </a:lnTo>
                <a:lnTo>
                  <a:pt x="6144" y="3018"/>
                </a:lnTo>
                <a:lnTo>
                  <a:pt x="6153" y="3012"/>
                </a:lnTo>
                <a:lnTo>
                  <a:pt x="6161" y="3006"/>
                </a:lnTo>
                <a:lnTo>
                  <a:pt x="6169" y="3000"/>
                </a:lnTo>
                <a:lnTo>
                  <a:pt x="6176" y="2993"/>
                </a:lnTo>
                <a:lnTo>
                  <a:pt x="6184" y="2985"/>
                </a:lnTo>
                <a:lnTo>
                  <a:pt x="6190" y="2977"/>
                </a:lnTo>
                <a:lnTo>
                  <a:pt x="6197" y="2967"/>
                </a:lnTo>
                <a:lnTo>
                  <a:pt x="6203" y="2958"/>
                </a:lnTo>
                <a:lnTo>
                  <a:pt x="6215" y="2939"/>
                </a:lnTo>
                <a:lnTo>
                  <a:pt x="6225" y="2918"/>
                </a:lnTo>
                <a:lnTo>
                  <a:pt x="6230" y="2907"/>
                </a:lnTo>
                <a:lnTo>
                  <a:pt x="6234" y="2896"/>
                </a:lnTo>
                <a:lnTo>
                  <a:pt x="6238" y="2885"/>
                </a:lnTo>
                <a:lnTo>
                  <a:pt x="6242" y="2874"/>
                </a:lnTo>
                <a:lnTo>
                  <a:pt x="6245" y="2862"/>
                </a:lnTo>
                <a:lnTo>
                  <a:pt x="6248" y="2850"/>
                </a:lnTo>
                <a:lnTo>
                  <a:pt x="6253" y="2827"/>
                </a:lnTo>
                <a:lnTo>
                  <a:pt x="6255" y="2816"/>
                </a:lnTo>
                <a:lnTo>
                  <a:pt x="6257" y="2805"/>
                </a:lnTo>
                <a:lnTo>
                  <a:pt x="6259" y="2782"/>
                </a:lnTo>
                <a:lnTo>
                  <a:pt x="6259" y="2761"/>
                </a:lnTo>
                <a:lnTo>
                  <a:pt x="6259" y="2752"/>
                </a:lnTo>
                <a:lnTo>
                  <a:pt x="6259" y="2742"/>
                </a:lnTo>
                <a:lnTo>
                  <a:pt x="6260" y="2740"/>
                </a:lnTo>
                <a:lnTo>
                  <a:pt x="6261" y="2738"/>
                </a:lnTo>
                <a:lnTo>
                  <a:pt x="6264" y="2735"/>
                </a:lnTo>
                <a:lnTo>
                  <a:pt x="6266" y="2734"/>
                </a:lnTo>
                <a:lnTo>
                  <a:pt x="6271" y="2732"/>
                </a:lnTo>
                <a:lnTo>
                  <a:pt x="6274" y="2730"/>
                </a:lnTo>
                <a:lnTo>
                  <a:pt x="6278" y="2729"/>
                </a:lnTo>
                <a:lnTo>
                  <a:pt x="6282" y="2729"/>
                </a:lnTo>
                <a:lnTo>
                  <a:pt x="6289" y="2729"/>
                </a:lnTo>
                <a:lnTo>
                  <a:pt x="6293" y="2730"/>
                </a:lnTo>
                <a:lnTo>
                  <a:pt x="6296" y="2732"/>
                </a:lnTo>
                <a:lnTo>
                  <a:pt x="6302" y="2735"/>
                </a:lnTo>
                <a:lnTo>
                  <a:pt x="6304" y="2737"/>
                </a:lnTo>
                <a:lnTo>
                  <a:pt x="6307" y="2739"/>
                </a:lnTo>
                <a:lnTo>
                  <a:pt x="6311" y="2745"/>
                </a:lnTo>
                <a:lnTo>
                  <a:pt x="6312" y="2748"/>
                </a:lnTo>
                <a:lnTo>
                  <a:pt x="6314" y="2752"/>
                </a:lnTo>
                <a:lnTo>
                  <a:pt x="6315" y="2757"/>
                </a:lnTo>
                <a:lnTo>
                  <a:pt x="6315" y="2761"/>
                </a:lnTo>
                <a:lnTo>
                  <a:pt x="6316" y="2767"/>
                </a:lnTo>
                <a:lnTo>
                  <a:pt x="6316" y="2773"/>
                </a:lnTo>
                <a:lnTo>
                  <a:pt x="6316" y="2788"/>
                </a:lnTo>
                <a:lnTo>
                  <a:pt x="6315" y="2805"/>
                </a:lnTo>
                <a:lnTo>
                  <a:pt x="6313" y="2820"/>
                </a:lnTo>
                <a:lnTo>
                  <a:pt x="6311" y="2835"/>
                </a:lnTo>
                <a:lnTo>
                  <a:pt x="6308" y="2850"/>
                </a:lnTo>
                <a:lnTo>
                  <a:pt x="6305" y="2866"/>
                </a:lnTo>
                <a:lnTo>
                  <a:pt x="6302" y="2880"/>
                </a:lnTo>
                <a:lnTo>
                  <a:pt x="6298" y="2894"/>
                </a:lnTo>
                <a:lnTo>
                  <a:pt x="6294" y="2908"/>
                </a:lnTo>
                <a:lnTo>
                  <a:pt x="6289" y="2923"/>
                </a:lnTo>
                <a:lnTo>
                  <a:pt x="6284" y="2936"/>
                </a:lnTo>
                <a:lnTo>
                  <a:pt x="6278" y="2949"/>
                </a:lnTo>
                <a:lnTo>
                  <a:pt x="6272" y="2961"/>
                </a:lnTo>
                <a:lnTo>
                  <a:pt x="6264" y="2974"/>
                </a:lnTo>
                <a:lnTo>
                  <a:pt x="6257" y="2986"/>
                </a:lnTo>
                <a:lnTo>
                  <a:pt x="6250" y="2997"/>
                </a:lnTo>
                <a:lnTo>
                  <a:pt x="6242" y="3008"/>
                </a:lnTo>
                <a:lnTo>
                  <a:pt x="6234" y="3018"/>
                </a:lnTo>
                <a:lnTo>
                  <a:pt x="6226" y="3028"/>
                </a:lnTo>
                <a:lnTo>
                  <a:pt x="6217" y="3038"/>
                </a:lnTo>
                <a:lnTo>
                  <a:pt x="6207" y="3046"/>
                </a:lnTo>
                <a:lnTo>
                  <a:pt x="6198" y="3054"/>
                </a:lnTo>
                <a:lnTo>
                  <a:pt x="6188" y="3061"/>
                </a:lnTo>
                <a:lnTo>
                  <a:pt x="6178" y="3068"/>
                </a:lnTo>
                <a:lnTo>
                  <a:pt x="6168" y="3074"/>
                </a:lnTo>
                <a:lnTo>
                  <a:pt x="6157" y="3079"/>
                </a:lnTo>
                <a:lnTo>
                  <a:pt x="6145" y="3083"/>
                </a:lnTo>
                <a:lnTo>
                  <a:pt x="6134" y="3087"/>
                </a:lnTo>
                <a:lnTo>
                  <a:pt x="6123" y="3090"/>
                </a:lnTo>
                <a:lnTo>
                  <a:pt x="6111" y="3093"/>
                </a:lnTo>
                <a:lnTo>
                  <a:pt x="6099" y="3094"/>
                </a:lnTo>
                <a:lnTo>
                  <a:pt x="6086" y="3095"/>
                </a:lnTo>
                <a:lnTo>
                  <a:pt x="6078" y="3094"/>
                </a:lnTo>
                <a:lnTo>
                  <a:pt x="6071" y="3094"/>
                </a:lnTo>
                <a:lnTo>
                  <a:pt x="6063" y="3093"/>
                </a:lnTo>
                <a:lnTo>
                  <a:pt x="6056" y="3090"/>
                </a:lnTo>
                <a:lnTo>
                  <a:pt x="6049" y="3088"/>
                </a:lnTo>
                <a:lnTo>
                  <a:pt x="6041" y="3086"/>
                </a:lnTo>
                <a:lnTo>
                  <a:pt x="6027" y="3080"/>
                </a:lnTo>
                <a:lnTo>
                  <a:pt x="6014" y="3073"/>
                </a:lnTo>
                <a:lnTo>
                  <a:pt x="6007" y="3069"/>
                </a:lnTo>
                <a:lnTo>
                  <a:pt x="6001" y="3064"/>
                </a:lnTo>
                <a:lnTo>
                  <a:pt x="5995" y="3059"/>
                </a:lnTo>
                <a:lnTo>
                  <a:pt x="5990" y="3054"/>
                </a:lnTo>
                <a:lnTo>
                  <a:pt x="5984" y="3049"/>
                </a:lnTo>
                <a:lnTo>
                  <a:pt x="5979" y="3043"/>
                </a:lnTo>
                <a:lnTo>
                  <a:pt x="5974" y="3037"/>
                </a:lnTo>
                <a:lnTo>
                  <a:pt x="5969" y="3029"/>
                </a:lnTo>
                <a:lnTo>
                  <a:pt x="5964" y="3023"/>
                </a:lnTo>
                <a:lnTo>
                  <a:pt x="5960" y="3016"/>
                </a:lnTo>
                <a:lnTo>
                  <a:pt x="5956" y="3009"/>
                </a:lnTo>
                <a:lnTo>
                  <a:pt x="5952" y="3001"/>
                </a:lnTo>
                <a:lnTo>
                  <a:pt x="5949" y="2994"/>
                </a:lnTo>
                <a:lnTo>
                  <a:pt x="5946" y="2986"/>
                </a:lnTo>
                <a:lnTo>
                  <a:pt x="5943" y="2978"/>
                </a:lnTo>
                <a:lnTo>
                  <a:pt x="5941" y="2969"/>
                </a:lnTo>
                <a:lnTo>
                  <a:pt x="5939" y="2961"/>
                </a:lnTo>
                <a:lnTo>
                  <a:pt x="5937" y="2952"/>
                </a:lnTo>
                <a:lnTo>
                  <a:pt x="5936" y="2943"/>
                </a:lnTo>
                <a:lnTo>
                  <a:pt x="5935" y="2934"/>
                </a:lnTo>
                <a:lnTo>
                  <a:pt x="5935" y="2925"/>
                </a:lnTo>
                <a:lnTo>
                  <a:pt x="5934" y="2916"/>
                </a:lnTo>
                <a:close/>
                <a:moveTo>
                  <a:pt x="6326" y="2916"/>
                </a:moveTo>
                <a:lnTo>
                  <a:pt x="6326" y="2910"/>
                </a:lnTo>
                <a:lnTo>
                  <a:pt x="6327" y="2904"/>
                </a:lnTo>
                <a:lnTo>
                  <a:pt x="6328" y="2898"/>
                </a:lnTo>
                <a:lnTo>
                  <a:pt x="6331" y="2892"/>
                </a:lnTo>
                <a:lnTo>
                  <a:pt x="6337" y="2879"/>
                </a:lnTo>
                <a:lnTo>
                  <a:pt x="6341" y="2873"/>
                </a:lnTo>
                <a:lnTo>
                  <a:pt x="6345" y="2866"/>
                </a:lnTo>
                <a:lnTo>
                  <a:pt x="6353" y="2855"/>
                </a:lnTo>
                <a:lnTo>
                  <a:pt x="6365" y="2840"/>
                </a:lnTo>
                <a:lnTo>
                  <a:pt x="6395" y="2806"/>
                </a:lnTo>
                <a:lnTo>
                  <a:pt x="6430" y="2766"/>
                </a:lnTo>
                <a:lnTo>
                  <a:pt x="6466" y="2725"/>
                </a:lnTo>
                <a:lnTo>
                  <a:pt x="6467" y="2725"/>
                </a:lnTo>
                <a:lnTo>
                  <a:pt x="6470" y="2724"/>
                </a:lnTo>
                <a:lnTo>
                  <a:pt x="6474" y="2725"/>
                </a:lnTo>
                <a:lnTo>
                  <a:pt x="6478" y="2726"/>
                </a:lnTo>
                <a:lnTo>
                  <a:pt x="6482" y="2728"/>
                </a:lnTo>
                <a:lnTo>
                  <a:pt x="6487" y="2730"/>
                </a:lnTo>
                <a:lnTo>
                  <a:pt x="6491" y="2734"/>
                </a:lnTo>
                <a:lnTo>
                  <a:pt x="6495" y="2738"/>
                </a:lnTo>
                <a:lnTo>
                  <a:pt x="6498" y="2742"/>
                </a:lnTo>
                <a:lnTo>
                  <a:pt x="6501" y="2747"/>
                </a:lnTo>
                <a:lnTo>
                  <a:pt x="6503" y="2752"/>
                </a:lnTo>
                <a:lnTo>
                  <a:pt x="6503" y="2757"/>
                </a:lnTo>
                <a:lnTo>
                  <a:pt x="6502" y="2762"/>
                </a:lnTo>
                <a:lnTo>
                  <a:pt x="6501" y="2768"/>
                </a:lnTo>
                <a:lnTo>
                  <a:pt x="6498" y="2773"/>
                </a:lnTo>
                <a:lnTo>
                  <a:pt x="6494" y="2779"/>
                </a:lnTo>
                <a:lnTo>
                  <a:pt x="6486" y="2790"/>
                </a:lnTo>
                <a:lnTo>
                  <a:pt x="6474" y="2804"/>
                </a:lnTo>
                <a:lnTo>
                  <a:pt x="6444" y="2837"/>
                </a:lnTo>
                <a:lnTo>
                  <a:pt x="6415" y="2871"/>
                </a:lnTo>
                <a:lnTo>
                  <a:pt x="6403" y="2886"/>
                </a:lnTo>
                <a:lnTo>
                  <a:pt x="6393" y="2897"/>
                </a:lnTo>
                <a:lnTo>
                  <a:pt x="6391" y="2901"/>
                </a:lnTo>
                <a:lnTo>
                  <a:pt x="6388" y="2905"/>
                </a:lnTo>
                <a:lnTo>
                  <a:pt x="6387" y="2908"/>
                </a:lnTo>
                <a:lnTo>
                  <a:pt x="6387" y="2913"/>
                </a:lnTo>
                <a:lnTo>
                  <a:pt x="6387" y="2917"/>
                </a:lnTo>
                <a:lnTo>
                  <a:pt x="6389" y="2922"/>
                </a:lnTo>
                <a:lnTo>
                  <a:pt x="6392" y="2926"/>
                </a:lnTo>
                <a:lnTo>
                  <a:pt x="6395" y="2930"/>
                </a:lnTo>
                <a:lnTo>
                  <a:pt x="6402" y="2939"/>
                </a:lnTo>
                <a:lnTo>
                  <a:pt x="6412" y="2951"/>
                </a:lnTo>
                <a:lnTo>
                  <a:pt x="6440" y="2981"/>
                </a:lnTo>
                <a:lnTo>
                  <a:pt x="6473" y="3014"/>
                </a:lnTo>
                <a:lnTo>
                  <a:pt x="6504" y="3045"/>
                </a:lnTo>
                <a:lnTo>
                  <a:pt x="6505" y="3047"/>
                </a:lnTo>
                <a:lnTo>
                  <a:pt x="6507" y="3049"/>
                </a:lnTo>
                <a:lnTo>
                  <a:pt x="6508" y="3051"/>
                </a:lnTo>
                <a:lnTo>
                  <a:pt x="6508" y="3054"/>
                </a:lnTo>
                <a:lnTo>
                  <a:pt x="6507" y="3059"/>
                </a:lnTo>
                <a:lnTo>
                  <a:pt x="6506" y="3062"/>
                </a:lnTo>
                <a:lnTo>
                  <a:pt x="6505" y="3065"/>
                </a:lnTo>
                <a:lnTo>
                  <a:pt x="6503" y="3068"/>
                </a:lnTo>
                <a:lnTo>
                  <a:pt x="6501" y="3071"/>
                </a:lnTo>
                <a:lnTo>
                  <a:pt x="6499" y="3074"/>
                </a:lnTo>
                <a:lnTo>
                  <a:pt x="6497" y="3076"/>
                </a:lnTo>
                <a:lnTo>
                  <a:pt x="6491" y="3081"/>
                </a:lnTo>
                <a:lnTo>
                  <a:pt x="6488" y="3083"/>
                </a:lnTo>
                <a:lnTo>
                  <a:pt x="6485" y="3085"/>
                </a:lnTo>
                <a:lnTo>
                  <a:pt x="6480" y="3087"/>
                </a:lnTo>
                <a:lnTo>
                  <a:pt x="6477" y="3088"/>
                </a:lnTo>
                <a:lnTo>
                  <a:pt x="6474" y="3088"/>
                </a:lnTo>
                <a:lnTo>
                  <a:pt x="6472" y="3088"/>
                </a:lnTo>
                <a:lnTo>
                  <a:pt x="6470" y="3087"/>
                </a:lnTo>
                <a:lnTo>
                  <a:pt x="6464" y="3084"/>
                </a:lnTo>
                <a:lnTo>
                  <a:pt x="6458" y="3080"/>
                </a:lnTo>
                <a:lnTo>
                  <a:pt x="6451" y="3075"/>
                </a:lnTo>
                <a:lnTo>
                  <a:pt x="6437" y="3064"/>
                </a:lnTo>
                <a:lnTo>
                  <a:pt x="6422" y="3050"/>
                </a:lnTo>
                <a:lnTo>
                  <a:pt x="6406" y="3034"/>
                </a:lnTo>
                <a:lnTo>
                  <a:pt x="6388" y="3016"/>
                </a:lnTo>
                <a:lnTo>
                  <a:pt x="6372" y="2999"/>
                </a:lnTo>
                <a:lnTo>
                  <a:pt x="6358" y="2983"/>
                </a:lnTo>
                <a:lnTo>
                  <a:pt x="6346" y="2967"/>
                </a:lnTo>
                <a:lnTo>
                  <a:pt x="6342" y="2961"/>
                </a:lnTo>
                <a:lnTo>
                  <a:pt x="6339" y="2956"/>
                </a:lnTo>
                <a:lnTo>
                  <a:pt x="6334" y="2946"/>
                </a:lnTo>
                <a:lnTo>
                  <a:pt x="6329" y="2936"/>
                </a:lnTo>
                <a:lnTo>
                  <a:pt x="6326" y="2926"/>
                </a:lnTo>
                <a:lnTo>
                  <a:pt x="6326" y="2916"/>
                </a:lnTo>
                <a:close/>
                <a:moveTo>
                  <a:pt x="6086" y="4087"/>
                </a:moveTo>
                <a:lnTo>
                  <a:pt x="6078" y="4087"/>
                </a:lnTo>
                <a:lnTo>
                  <a:pt x="6071" y="4086"/>
                </a:lnTo>
                <a:lnTo>
                  <a:pt x="6063" y="4085"/>
                </a:lnTo>
                <a:lnTo>
                  <a:pt x="6056" y="4084"/>
                </a:lnTo>
                <a:lnTo>
                  <a:pt x="6049" y="4082"/>
                </a:lnTo>
                <a:lnTo>
                  <a:pt x="6041" y="4080"/>
                </a:lnTo>
                <a:lnTo>
                  <a:pt x="6027" y="4074"/>
                </a:lnTo>
                <a:lnTo>
                  <a:pt x="6014" y="4066"/>
                </a:lnTo>
                <a:lnTo>
                  <a:pt x="6007" y="4062"/>
                </a:lnTo>
                <a:lnTo>
                  <a:pt x="6001" y="4058"/>
                </a:lnTo>
                <a:lnTo>
                  <a:pt x="5995" y="4053"/>
                </a:lnTo>
                <a:lnTo>
                  <a:pt x="5990" y="4047"/>
                </a:lnTo>
                <a:lnTo>
                  <a:pt x="5984" y="4041"/>
                </a:lnTo>
                <a:lnTo>
                  <a:pt x="5979" y="4035"/>
                </a:lnTo>
                <a:lnTo>
                  <a:pt x="5974" y="4029"/>
                </a:lnTo>
                <a:lnTo>
                  <a:pt x="5969" y="4023"/>
                </a:lnTo>
                <a:lnTo>
                  <a:pt x="5964" y="4016"/>
                </a:lnTo>
                <a:lnTo>
                  <a:pt x="5960" y="4010"/>
                </a:lnTo>
                <a:lnTo>
                  <a:pt x="5956" y="4003"/>
                </a:lnTo>
                <a:lnTo>
                  <a:pt x="5952" y="3995"/>
                </a:lnTo>
                <a:lnTo>
                  <a:pt x="5949" y="3987"/>
                </a:lnTo>
                <a:lnTo>
                  <a:pt x="5946" y="3979"/>
                </a:lnTo>
                <a:lnTo>
                  <a:pt x="5943" y="3971"/>
                </a:lnTo>
                <a:lnTo>
                  <a:pt x="5941" y="3963"/>
                </a:lnTo>
                <a:lnTo>
                  <a:pt x="5939" y="3954"/>
                </a:lnTo>
                <a:lnTo>
                  <a:pt x="5937" y="3946"/>
                </a:lnTo>
                <a:lnTo>
                  <a:pt x="5936" y="3937"/>
                </a:lnTo>
                <a:lnTo>
                  <a:pt x="5935" y="3927"/>
                </a:lnTo>
                <a:lnTo>
                  <a:pt x="5935" y="3918"/>
                </a:lnTo>
                <a:lnTo>
                  <a:pt x="5934" y="3909"/>
                </a:lnTo>
                <a:lnTo>
                  <a:pt x="5935" y="3890"/>
                </a:lnTo>
                <a:lnTo>
                  <a:pt x="5936" y="3881"/>
                </a:lnTo>
                <a:lnTo>
                  <a:pt x="5938" y="3872"/>
                </a:lnTo>
                <a:lnTo>
                  <a:pt x="5939" y="3862"/>
                </a:lnTo>
                <a:lnTo>
                  <a:pt x="5941" y="3853"/>
                </a:lnTo>
                <a:lnTo>
                  <a:pt x="5944" y="3844"/>
                </a:lnTo>
                <a:lnTo>
                  <a:pt x="5947" y="3836"/>
                </a:lnTo>
                <a:lnTo>
                  <a:pt x="5950" y="3827"/>
                </a:lnTo>
                <a:lnTo>
                  <a:pt x="5953" y="3819"/>
                </a:lnTo>
                <a:lnTo>
                  <a:pt x="5957" y="3810"/>
                </a:lnTo>
                <a:lnTo>
                  <a:pt x="5961" y="3802"/>
                </a:lnTo>
                <a:lnTo>
                  <a:pt x="5966" y="3795"/>
                </a:lnTo>
                <a:lnTo>
                  <a:pt x="5971" y="3787"/>
                </a:lnTo>
                <a:lnTo>
                  <a:pt x="5982" y="3774"/>
                </a:lnTo>
                <a:lnTo>
                  <a:pt x="5987" y="3767"/>
                </a:lnTo>
                <a:lnTo>
                  <a:pt x="5993" y="3761"/>
                </a:lnTo>
                <a:lnTo>
                  <a:pt x="6005" y="3748"/>
                </a:lnTo>
                <a:lnTo>
                  <a:pt x="6012" y="3743"/>
                </a:lnTo>
                <a:lnTo>
                  <a:pt x="6018" y="3738"/>
                </a:lnTo>
                <a:lnTo>
                  <a:pt x="6025" y="3734"/>
                </a:lnTo>
                <a:lnTo>
                  <a:pt x="6033" y="3730"/>
                </a:lnTo>
                <a:lnTo>
                  <a:pt x="6040" y="3726"/>
                </a:lnTo>
                <a:lnTo>
                  <a:pt x="6048" y="3723"/>
                </a:lnTo>
                <a:lnTo>
                  <a:pt x="6055" y="3721"/>
                </a:lnTo>
                <a:lnTo>
                  <a:pt x="6063" y="3718"/>
                </a:lnTo>
                <a:lnTo>
                  <a:pt x="6071" y="3716"/>
                </a:lnTo>
                <a:lnTo>
                  <a:pt x="6079" y="3715"/>
                </a:lnTo>
                <a:lnTo>
                  <a:pt x="6087" y="3714"/>
                </a:lnTo>
                <a:lnTo>
                  <a:pt x="6096" y="3714"/>
                </a:lnTo>
                <a:lnTo>
                  <a:pt x="6107" y="3715"/>
                </a:lnTo>
                <a:lnTo>
                  <a:pt x="6111" y="3715"/>
                </a:lnTo>
                <a:lnTo>
                  <a:pt x="6116" y="3716"/>
                </a:lnTo>
                <a:lnTo>
                  <a:pt x="6121" y="3717"/>
                </a:lnTo>
                <a:lnTo>
                  <a:pt x="6125" y="3718"/>
                </a:lnTo>
                <a:lnTo>
                  <a:pt x="6134" y="3721"/>
                </a:lnTo>
                <a:lnTo>
                  <a:pt x="6142" y="3725"/>
                </a:lnTo>
                <a:lnTo>
                  <a:pt x="6149" y="3730"/>
                </a:lnTo>
                <a:lnTo>
                  <a:pt x="6157" y="3735"/>
                </a:lnTo>
                <a:lnTo>
                  <a:pt x="6163" y="3741"/>
                </a:lnTo>
                <a:lnTo>
                  <a:pt x="6165" y="3744"/>
                </a:lnTo>
                <a:lnTo>
                  <a:pt x="6168" y="3748"/>
                </a:lnTo>
                <a:lnTo>
                  <a:pt x="6173" y="3756"/>
                </a:lnTo>
                <a:lnTo>
                  <a:pt x="6177" y="3764"/>
                </a:lnTo>
                <a:lnTo>
                  <a:pt x="6180" y="3772"/>
                </a:lnTo>
                <a:lnTo>
                  <a:pt x="6183" y="3781"/>
                </a:lnTo>
                <a:lnTo>
                  <a:pt x="6185" y="3790"/>
                </a:lnTo>
                <a:lnTo>
                  <a:pt x="6186" y="3800"/>
                </a:lnTo>
                <a:lnTo>
                  <a:pt x="6186" y="3809"/>
                </a:lnTo>
                <a:lnTo>
                  <a:pt x="6185" y="3823"/>
                </a:lnTo>
                <a:lnTo>
                  <a:pt x="6184" y="3829"/>
                </a:lnTo>
                <a:lnTo>
                  <a:pt x="6183" y="3835"/>
                </a:lnTo>
                <a:lnTo>
                  <a:pt x="6179" y="3847"/>
                </a:lnTo>
                <a:lnTo>
                  <a:pt x="6174" y="3859"/>
                </a:lnTo>
                <a:lnTo>
                  <a:pt x="6168" y="3870"/>
                </a:lnTo>
                <a:lnTo>
                  <a:pt x="6161" y="3881"/>
                </a:lnTo>
                <a:lnTo>
                  <a:pt x="6157" y="3887"/>
                </a:lnTo>
                <a:lnTo>
                  <a:pt x="6153" y="3891"/>
                </a:lnTo>
                <a:lnTo>
                  <a:pt x="6142" y="3901"/>
                </a:lnTo>
                <a:lnTo>
                  <a:pt x="6132" y="3909"/>
                </a:lnTo>
                <a:lnTo>
                  <a:pt x="6127" y="3913"/>
                </a:lnTo>
                <a:lnTo>
                  <a:pt x="6122" y="3917"/>
                </a:lnTo>
                <a:lnTo>
                  <a:pt x="6110" y="3923"/>
                </a:lnTo>
                <a:lnTo>
                  <a:pt x="6099" y="3929"/>
                </a:lnTo>
                <a:lnTo>
                  <a:pt x="6086" y="3935"/>
                </a:lnTo>
                <a:lnTo>
                  <a:pt x="6079" y="3936"/>
                </a:lnTo>
                <a:lnTo>
                  <a:pt x="6073" y="3938"/>
                </a:lnTo>
                <a:lnTo>
                  <a:pt x="6067" y="3939"/>
                </a:lnTo>
                <a:lnTo>
                  <a:pt x="6061" y="3940"/>
                </a:lnTo>
                <a:lnTo>
                  <a:pt x="6048" y="3941"/>
                </a:lnTo>
                <a:lnTo>
                  <a:pt x="6043" y="3940"/>
                </a:lnTo>
                <a:lnTo>
                  <a:pt x="6038" y="3938"/>
                </a:lnTo>
                <a:lnTo>
                  <a:pt x="6033" y="3935"/>
                </a:lnTo>
                <a:lnTo>
                  <a:pt x="6031" y="3933"/>
                </a:lnTo>
                <a:lnTo>
                  <a:pt x="6029" y="3930"/>
                </a:lnTo>
                <a:lnTo>
                  <a:pt x="6025" y="3926"/>
                </a:lnTo>
                <a:lnTo>
                  <a:pt x="6023" y="3921"/>
                </a:lnTo>
                <a:lnTo>
                  <a:pt x="6022" y="3918"/>
                </a:lnTo>
                <a:lnTo>
                  <a:pt x="6022" y="3915"/>
                </a:lnTo>
                <a:lnTo>
                  <a:pt x="6021" y="3908"/>
                </a:lnTo>
                <a:lnTo>
                  <a:pt x="6021" y="3906"/>
                </a:lnTo>
                <a:lnTo>
                  <a:pt x="6021" y="3903"/>
                </a:lnTo>
                <a:lnTo>
                  <a:pt x="6023" y="3898"/>
                </a:lnTo>
                <a:lnTo>
                  <a:pt x="6024" y="3896"/>
                </a:lnTo>
                <a:lnTo>
                  <a:pt x="6025" y="3894"/>
                </a:lnTo>
                <a:lnTo>
                  <a:pt x="6026" y="3892"/>
                </a:lnTo>
                <a:lnTo>
                  <a:pt x="6028" y="3891"/>
                </a:lnTo>
                <a:lnTo>
                  <a:pt x="6040" y="3889"/>
                </a:lnTo>
                <a:lnTo>
                  <a:pt x="6050" y="3887"/>
                </a:lnTo>
                <a:lnTo>
                  <a:pt x="6061" y="3883"/>
                </a:lnTo>
                <a:lnTo>
                  <a:pt x="6070" y="3879"/>
                </a:lnTo>
                <a:lnTo>
                  <a:pt x="6079" y="3875"/>
                </a:lnTo>
                <a:lnTo>
                  <a:pt x="6088" y="3869"/>
                </a:lnTo>
                <a:lnTo>
                  <a:pt x="6097" y="3863"/>
                </a:lnTo>
                <a:lnTo>
                  <a:pt x="6100" y="3860"/>
                </a:lnTo>
                <a:lnTo>
                  <a:pt x="6104" y="3857"/>
                </a:lnTo>
                <a:lnTo>
                  <a:pt x="6110" y="3851"/>
                </a:lnTo>
                <a:lnTo>
                  <a:pt x="6116" y="3845"/>
                </a:lnTo>
                <a:lnTo>
                  <a:pt x="6121" y="3838"/>
                </a:lnTo>
                <a:lnTo>
                  <a:pt x="6125" y="3831"/>
                </a:lnTo>
                <a:lnTo>
                  <a:pt x="6128" y="3824"/>
                </a:lnTo>
                <a:lnTo>
                  <a:pt x="6131" y="3817"/>
                </a:lnTo>
                <a:lnTo>
                  <a:pt x="6132" y="3809"/>
                </a:lnTo>
                <a:lnTo>
                  <a:pt x="6133" y="3802"/>
                </a:lnTo>
                <a:lnTo>
                  <a:pt x="6132" y="3794"/>
                </a:lnTo>
                <a:lnTo>
                  <a:pt x="6130" y="3786"/>
                </a:lnTo>
                <a:lnTo>
                  <a:pt x="6129" y="3783"/>
                </a:lnTo>
                <a:lnTo>
                  <a:pt x="6127" y="3780"/>
                </a:lnTo>
                <a:lnTo>
                  <a:pt x="6125" y="3777"/>
                </a:lnTo>
                <a:lnTo>
                  <a:pt x="6122" y="3775"/>
                </a:lnTo>
                <a:lnTo>
                  <a:pt x="6116" y="3771"/>
                </a:lnTo>
                <a:lnTo>
                  <a:pt x="6113" y="3769"/>
                </a:lnTo>
                <a:lnTo>
                  <a:pt x="6109" y="3767"/>
                </a:lnTo>
                <a:lnTo>
                  <a:pt x="6102" y="3766"/>
                </a:lnTo>
                <a:lnTo>
                  <a:pt x="6097" y="3765"/>
                </a:lnTo>
                <a:lnTo>
                  <a:pt x="6093" y="3765"/>
                </a:lnTo>
                <a:lnTo>
                  <a:pt x="6083" y="3766"/>
                </a:lnTo>
                <a:lnTo>
                  <a:pt x="6078" y="3766"/>
                </a:lnTo>
                <a:lnTo>
                  <a:pt x="6074" y="3768"/>
                </a:lnTo>
                <a:lnTo>
                  <a:pt x="6070" y="3769"/>
                </a:lnTo>
                <a:lnTo>
                  <a:pt x="6065" y="3771"/>
                </a:lnTo>
                <a:lnTo>
                  <a:pt x="6061" y="3773"/>
                </a:lnTo>
                <a:lnTo>
                  <a:pt x="6056" y="3776"/>
                </a:lnTo>
                <a:lnTo>
                  <a:pt x="6052" y="3779"/>
                </a:lnTo>
                <a:lnTo>
                  <a:pt x="6048" y="3782"/>
                </a:lnTo>
                <a:lnTo>
                  <a:pt x="6040" y="3789"/>
                </a:lnTo>
                <a:lnTo>
                  <a:pt x="6032" y="3797"/>
                </a:lnTo>
                <a:lnTo>
                  <a:pt x="6023" y="3806"/>
                </a:lnTo>
                <a:lnTo>
                  <a:pt x="6020" y="3812"/>
                </a:lnTo>
                <a:lnTo>
                  <a:pt x="6016" y="3817"/>
                </a:lnTo>
                <a:lnTo>
                  <a:pt x="6010" y="3828"/>
                </a:lnTo>
                <a:lnTo>
                  <a:pt x="6005" y="3839"/>
                </a:lnTo>
                <a:lnTo>
                  <a:pt x="6000" y="3851"/>
                </a:lnTo>
                <a:lnTo>
                  <a:pt x="5996" y="3864"/>
                </a:lnTo>
                <a:lnTo>
                  <a:pt x="5993" y="3879"/>
                </a:lnTo>
                <a:lnTo>
                  <a:pt x="5992" y="3892"/>
                </a:lnTo>
                <a:lnTo>
                  <a:pt x="5991" y="3899"/>
                </a:lnTo>
                <a:lnTo>
                  <a:pt x="5991" y="3906"/>
                </a:lnTo>
                <a:lnTo>
                  <a:pt x="5991" y="3919"/>
                </a:lnTo>
                <a:lnTo>
                  <a:pt x="5993" y="3932"/>
                </a:lnTo>
                <a:lnTo>
                  <a:pt x="5995" y="3944"/>
                </a:lnTo>
                <a:lnTo>
                  <a:pt x="5996" y="3950"/>
                </a:lnTo>
                <a:lnTo>
                  <a:pt x="5998" y="3955"/>
                </a:lnTo>
                <a:lnTo>
                  <a:pt x="6001" y="3965"/>
                </a:lnTo>
                <a:lnTo>
                  <a:pt x="6004" y="3970"/>
                </a:lnTo>
                <a:lnTo>
                  <a:pt x="6006" y="3975"/>
                </a:lnTo>
                <a:lnTo>
                  <a:pt x="6008" y="3980"/>
                </a:lnTo>
                <a:lnTo>
                  <a:pt x="6011" y="3984"/>
                </a:lnTo>
                <a:lnTo>
                  <a:pt x="6014" y="3989"/>
                </a:lnTo>
                <a:lnTo>
                  <a:pt x="6017" y="3994"/>
                </a:lnTo>
                <a:lnTo>
                  <a:pt x="6020" y="3997"/>
                </a:lnTo>
                <a:lnTo>
                  <a:pt x="6024" y="4001"/>
                </a:lnTo>
                <a:lnTo>
                  <a:pt x="6032" y="4008"/>
                </a:lnTo>
                <a:lnTo>
                  <a:pt x="6040" y="4013"/>
                </a:lnTo>
                <a:lnTo>
                  <a:pt x="6048" y="4018"/>
                </a:lnTo>
                <a:lnTo>
                  <a:pt x="6057" y="4022"/>
                </a:lnTo>
                <a:lnTo>
                  <a:pt x="6067" y="4025"/>
                </a:lnTo>
                <a:lnTo>
                  <a:pt x="6077" y="4026"/>
                </a:lnTo>
                <a:lnTo>
                  <a:pt x="6082" y="4027"/>
                </a:lnTo>
                <a:lnTo>
                  <a:pt x="6088" y="4027"/>
                </a:lnTo>
                <a:lnTo>
                  <a:pt x="6099" y="4027"/>
                </a:lnTo>
                <a:lnTo>
                  <a:pt x="6110" y="4025"/>
                </a:lnTo>
                <a:lnTo>
                  <a:pt x="6119" y="4023"/>
                </a:lnTo>
                <a:lnTo>
                  <a:pt x="6129" y="4019"/>
                </a:lnTo>
                <a:lnTo>
                  <a:pt x="6138" y="4015"/>
                </a:lnTo>
                <a:lnTo>
                  <a:pt x="6147" y="4010"/>
                </a:lnTo>
                <a:lnTo>
                  <a:pt x="6157" y="4004"/>
                </a:lnTo>
                <a:lnTo>
                  <a:pt x="6165" y="3998"/>
                </a:lnTo>
                <a:lnTo>
                  <a:pt x="6173" y="3989"/>
                </a:lnTo>
                <a:lnTo>
                  <a:pt x="6181" y="3981"/>
                </a:lnTo>
                <a:lnTo>
                  <a:pt x="6188" y="3973"/>
                </a:lnTo>
                <a:lnTo>
                  <a:pt x="6195" y="3964"/>
                </a:lnTo>
                <a:lnTo>
                  <a:pt x="6208" y="3945"/>
                </a:lnTo>
                <a:lnTo>
                  <a:pt x="6215" y="3934"/>
                </a:lnTo>
                <a:lnTo>
                  <a:pt x="6220" y="3922"/>
                </a:lnTo>
                <a:lnTo>
                  <a:pt x="6226" y="3911"/>
                </a:lnTo>
                <a:lnTo>
                  <a:pt x="6230" y="3900"/>
                </a:lnTo>
                <a:lnTo>
                  <a:pt x="6235" y="3889"/>
                </a:lnTo>
                <a:lnTo>
                  <a:pt x="6239" y="3877"/>
                </a:lnTo>
                <a:lnTo>
                  <a:pt x="6243" y="3864"/>
                </a:lnTo>
                <a:lnTo>
                  <a:pt x="6246" y="3852"/>
                </a:lnTo>
                <a:lnTo>
                  <a:pt x="6249" y="3840"/>
                </a:lnTo>
                <a:lnTo>
                  <a:pt x="6252" y="3828"/>
                </a:lnTo>
                <a:lnTo>
                  <a:pt x="6254" y="3816"/>
                </a:lnTo>
                <a:lnTo>
                  <a:pt x="6256" y="3803"/>
                </a:lnTo>
                <a:lnTo>
                  <a:pt x="6257" y="3791"/>
                </a:lnTo>
                <a:lnTo>
                  <a:pt x="6258" y="3780"/>
                </a:lnTo>
                <a:lnTo>
                  <a:pt x="6259" y="3768"/>
                </a:lnTo>
                <a:lnTo>
                  <a:pt x="6259" y="3757"/>
                </a:lnTo>
                <a:lnTo>
                  <a:pt x="6259" y="3746"/>
                </a:lnTo>
                <a:lnTo>
                  <a:pt x="6259" y="3735"/>
                </a:lnTo>
                <a:lnTo>
                  <a:pt x="6260" y="3733"/>
                </a:lnTo>
                <a:lnTo>
                  <a:pt x="6261" y="3731"/>
                </a:lnTo>
                <a:lnTo>
                  <a:pt x="6264" y="3729"/>
                </a:lnTo>
                <a:lnTo>
                  <a:pt x="6266" y="3727"/>
                </a:lnTo>
                <a:lnTo>
                  <a:pt x="6274" y="3724"/>
                </a:lnTo>
                <a:lnTo>
                  <a:pt x="6278" y="3723"/>
                </a:lnTo>
                <a:lnTo>
                  <a:pt x="6282" y="3723"/>
                </a:lnTo>
                <a:lnTo>
                  <a:pt x="6289" y="3724"/>
                </a:lnTo>
                <a:lnTo>
                  <a:pt x="6293" y="3724"/>
                </a:lnTo>
                <a:lnTo>
                  <a:pt x="6296" y="3725"/>
                </a:lnTo>
                <a:lnTo>
                  <a:pt x="6302" y="3728"/>
                </a:lnTo>
                <a:lnTo>
                  <a:pt x="6304" y="3730"/>
                </a:lnTo>
                <a:lnTo>
                  <a:pt x="6307" y="3732"/>
                </a:lnTo>
                <a:lnTo>
                  <a:pt x="6311" y="3738"/>
                </a:lnTo>
                <a:lnTo>
                  <a:pt x="6312" y="3741"/>
                </a:lnTo>
                <a:lnTo>
                  <a:pt x="6314" y="3745"/>
                </a:lnTo>
                <a:lnTo>
                  <a:pt x="6315" y="3750"/>
                </a:lnTo>
                <a:lnTo>
                  <a:pt x="6315" y="3756"/>
                </a:lnTo>
                <a:lnTo>
                  <a:pt x="6316" y="3761"/>
                </a:lnTo>
                <a:lnTo>
                  <a:pt x="6316" y="3767"/>
                </a:lnTo>
                <a:lnTo>
                  <a:pt x="6316" y="3782"/>
                </a:lnTo>
                <a:lnTo>
                  <a:pt x="6315" y="3798"/>
                </a:lnTo>
                <a:lnTo>
                  <a:pt x="6313" y="3814"/>
                </a:lnTo>
                <a:lnTo>
                  <a:pt x="6311" y="3829"/>
                </a:lnTo>
                <a:lnTo>
                  <a:pt x="6308" y="3844"/>
                </a:lnTo>
                <a:lnTo>
                  <a:pt x="6305" y="3859"/>
                </a:lnTo>
                <a:lnTo>
                  <a:pt x="6302" y="3874"/>
                </a:lnTo>
                <a:lnTo>
                  <a:pt x="6298" y="3888"/>
                </a:lnTo>
                <a:lnTo>
                  <a:pt x="6294" y="3902"/>
                </a:lnTo>
                <a:lnTo>
                  <a:pt x="6289" y="3916"/>
                </a:lnTo>
                <a:lnTo>
                  <a:pt x="6284" y="3929"/>
                </a:lnTo>
                <a:lnTo>
                  <a:pt x="6278" y="3943"/>
                </a:lnTo>
                <a:lnTo>
                  <a:pt x="6272" y="3955"/>
                </a:lnTo>
                <a:lnTo>
                  <a:pt x="6264" y="3967"/>
                </a:lnTo>
                <a:lnTo>
                  <a:pt x="6257" y="3979"/>
                </a:lnTo>
                <a:lnTo>
                  <a:pt x="6250" y="3990"/>
                </a:lnTo>
                <a:lnTo>
                  <a:pt x="6242" y="4002"/>
                </a:lnTo>
                <a:lnTo>
                  <a:pt x="6234" y="4012"/>
                </a:lnTo>
                <a:lnTo>
                  <a:pt x="6226" y="4021"/>
                </a:lnTo>
                <a:lnTo>
                  <a:pt x="6217" y="4030"/>
                </a:lnTo>
                <a:lnTo>
                  <a:pt x="6207" y="4039"/>
                </a:lnTo>
                <a:lnTo>
                  <a:pt x="6198" y="4047"/>
                </a:lnTo>
                <a:lnTo>
                  <a:pt x="6188" y="4055"/>
                </a:lnTo>
                <a:lnTo>
                  <a:pt x="6178" y="4061"/>
                </a:lnTo>
                <a:lnTo>
                  <a:pt x="6168" y="4067"/>
                </a:lnTo>
                <a:lnTo>
                  <a:pt x="6157" y="4072"/>
                </a:lnTo>
                <a:lnTo>
                  <a:pt x="6145" y="4077"/>
                </a:lnTo>
                <a:lnTo>
                  <a:pt x="6134" y="4081"/>
                </a:lnTo>
                <a:lnTo>
                  <a:pt x="6123" y="4084"/>
                </a:lnTo>
                <a:lnTo>
                  <a:pt x="6111" y="4086"/>
                </a:lnTo>
                <a:lnTo>
                  <a:pt x="6099" y="4087"/>
                </a:lnTo>
                <a:lnTo>
                  <a:pt x="6086" y="4087"/>
                </a:lnTo>
                <a:close/>
                <a:moveTo>
                  <a:pt x="6474" y="4082"/>
                </a:moveTo>
                <a:lnTo>
                  <a:pt x="6472" y="4081"/>
                </a:lnTo>
                <a:lnTo>
                  <a:pt x="6470" y="4081"/>
                </a:lnTo>
                <a:lnTo>
                  <a:pt x="6464" y="4078"/>
                </a:lnTo>
                <a:lnTo>
                  <a:pt x="6458" y="4074"/>
                </a:lnTo>
                <a:lnTo>
                  <a:pt x="6451" y="4068"/>
                </a:lnTo>
                <a:lnTo>
                  <a:pt x="6437" y="4057"/>
                </a:lnTo>
                <a:lnTo>
                  <a:pt x="6422" y="4042"/>
                </a:lnTo>
                <a:lnTo>
                  <a:pt x="6406" y="4027"/>
                </a:lnTo>
                <a:lnTo>
                  <a:pt x="6388" y="4010"/>
                </a:lnTo>
                <a:lnTo>
                  <a:pt x="6372" y="3993"/>
                </a:lnTo>
                <a:lnTo>
                  <a:pt x="6358" y="3975"/>
                </a:lnTo>
                <a:lnTo>
                  <a:pt x="6346" y="3961"/>
                </a:lnTo>
                <a:lnTo>
                  <a:pt x="6342" y="3955"/>
                </a:lnTo>
                <a:lnTo>
                  <a:pt x="6339" y="3950"/>
                </a:lnTo>
                <a:lnTo>
                  <a:pt x="6334" y="3939"/>
                </a:lnTo>
                <a:lnTo>
                  <a:pt x="6329" y="3929"/>
                </a:lnTo>
                <a:lnTo>
                  <a:pt x="6326" y="3919"/>
                </a:lnTo>
                <a:lnTo>
                  <a:pt x="6326" y="3909"/>
                </a:lnTo>
                <a:lnTo>
                  <a:pt x="6326" y="3903"/>
                </a:lnTo>
                <a:lnTo>
                  <a:pt x="6327" y="3898"/>
                </a:lnTo>
                <a:lnTo>
                  <a:pt x="6328" y="3892"/>
                </a:lnTo>
                <a:lnTo>
                  <a:pt x="6331" y="3886"/>
                </a:lnTo>
                <a:lnTo>
                  <a:pt x="6334" y="3880"/>
                </a:lnTo>
                <a:lnTo>
                  <a:pt x="6337" y="3873"/>
                </a:lnTo>
                <a:lnTo>
                  <a:pt x="6341" y="3866"/>
                </a:lnTo>
                <a:lnTo>
                  <a:pt x="6345" y="3859"/>
                </a:lnTo>
                <a:lnTo>
                  <a:pt x="6353" y="3848"/>
                </a:lnTo>
                <a:lnTo>
                  <a:pt x="6365" y="3834"/>
                </a:lnTo>
                <a:lnTo>
                  <a:pt x="6395" y="3800"/>
                </a:lnTo>
                <a:lnTo>
                  <a:pt x="6430" y="3761"/>
                </a:lnTo>
                <a:lnTo>
                  <a:pt x="6466" y="3719"/>
                </a:lnTo>
                <a:lnTo>
                  <a:pt x="6467" y="3719"/>
                </a:lnTo>
                <a:lnTo>
                  <a:pt x="6470" y="3719"/>
                </a:lnTo>
                <a:lnTo>
                  <a:pt x="6474" y="3719"/>
                </a:lnTo>
                <a:lnTo>
                  <a:pt x="6478" y="3720"/>
                </a:lnTo>
                <a:lnTo>
                  <a:pt x="6482" y="3722"/>
                </a:lnTo>
                <a:lnTo>
                  <a:pt x="6487" y="3724"/>
                </a:lnTo>
                <a:lnTo>
                  <a:pt x="6491" y="3728"/>
                </a:lnTo>
                <a:lnTo>
                  <a:pt x="6495" y="3731"/>
                </a:lnTo>
                <a:lnTo>
                  <a:pt x="6498" y="3735"/>
                </a:lnTo>
                <a:lnTo>
                  <a:pt x="6501" y="3740"/>
                </a:lnTo>
                <a:lnTo>
                  <a:pt x="6503" y="3745"/>
                </a:lnTo>
                <a:lnTo>
                  <a:pt x="6503" y="3750"/>
                </a:lnTo>
                <a:lnTo>
                  <a:pt x="6502" y="3756"/>
                </a:lnTo>
                <a:lnTo>
                  <a:pt x="6501" y="3762"/>
                </a:lnTo>
                <a:lnTo>
                  <a:pt x="6498" y="3767"/>
                </a:lnTo>
                <a:lnTo>
                  <a:pt x="6494" y="3773"/>
                </a:lnTo>
                <a:lnTo>
                  <a:pt x="6486" y="3783"/>
                </a:lnTo>
                <a:lnTo>
                  <a:pt x="6474" y="3797"/>
                </a:lnTo>
                <a:lnTo>
                  <a:pt x="6444" y="3831"/>
                </a:lnTo>
                <a:lnTo>
                  <a:pt x="6415" y="3864"/>
                </a:lnTo>
                <a:lnTo>
                  <a:pt x="6403" y="3880"/>
                </a:lnTo>
                <a:lnTo>
                  <a:pt x="6393" y="3891"/>
                </a:lnTo>
                <a:lnTo>
                  <a:pt x="6391" y="3895"/>
                </a:lnTo>
                <a:lnTo>
                  <a:pt x="6388" y="3899"/>
                </a:lnTo>
                <a:lnTo>
                  <a:pt x="6387" y="3902"/>
                </a:lnTo>
                <a:lnTo>
                  <a:pt x="6387" y="3906"/>
                </a:lnTo>
                <a:lnTo>
                  <a:pt x="6387" y="3910"/>
                </a:lnTo>
                <a:lnTo>
                  <a:pt x="6388" y="3915"/>
                </a:lnTo>
                <a:lnTo>
                  <a:pt x="6392" y="3919"/>
                </a:lnTo>
                <a:lnTo>
                  <a:pt x="6395" y="3924"/>
                </a:lnTo>
                <a:lnTo>
                  <a:pt x="6402" y="3934"/>
                </a:lnTo>
                <a:lnTo>
                  <a:pt x="6412" y="3945"/>
                </a:lnTo>
                <a:lnTo>
                  <a:pt x="6440" y="3975"/>
                </a:lnTo>
                <a:lnTo>
                  <a:pt x="6473" y="4008"/>
                </a:lnTo>
                <a:lnTo>
                  <a:pt x="6504" y="4038"/>
                </a:lnTo>
                <a:lnTo>
                  <a:pt x="6505" y="4040"/>
                </a:lnTo>
                <a:lnTo>
                  <a:pt x="6507" y="4042"/>
                </a:lnTo>
                <a:lnTo>
                  <a:pt x="6508" y="4044"/>
                </a:lnTo>
                <a:lnTo>
                  <a:pt x="6508" y="4047"/>
                </a:lnTo>
                <a:lnTo>
                  <a:pt x="6507" y="4053"/>
                </a:lnTo>
                <a:lnTo>
                  <a:pt x="6506" y="4056"/>
                </a:lnTo>
                <a:lnTo>
                  <a:pt x="6505" y="4059"/>
                </a:lnTo>
                <a:lnTo>
                  <a:pt x="6501" y="4065"/>
                </a:lnTo>
                <a:lnTo>
                  <a:pt x="6499" y="4067"/>
                </a:lnTo>
                <a:lnTo>
                  <a:pt x="6497" y="4070"/>
                </a:lnTo>
                <a:lnTo>
                  <a:pt x="6491" y="4075"/>
                </a:lnTo>
                <a:lnTo>
                  <a:pt x="6488" y="4077"/>
                </a:lnTo>
                <a:lnTo>
                  <a:pt x="6485" y="4078"/>
                </a:lnTo>
                <a:lnTo>
                  <a:pt x="6480" y="4081"/>
                </a:lnTo>
                <a:lnTo>
                  <a:pt x="6477" y="4081"/>
                </a:lnTo>
                <a:lnTo>
                  <a:pt x="6474" y="4082"/>
                </a:lnTo>
                <a:close/>
                <a:moveTo>
                  <a:pt x="6856" y="4087"/>
                </a:moveTo>
                <a:lnTo>
                  <a:pt x="6848" y="4087"/>
                </a:lnTo>
                <a:lnTo>
                  <a:pt x="6841" y="4086"/>
                </a:lnTo>
                <a:lnTo>
                  <a:pt x="6833" y="4085"/>
                </a:lnTo>
                <a:lnTo>
                  <a:pt x="6826" y="4084"/>
                </a:lnTo>
                <a:lnTo>
                  <a:pt x="6819" y="4082"/>
                </a:lnTo>
                <a:lnTo>
                  <a:pt x="6812" y="4080"/>
                </a:lnTo>
                <a:lnTo>
                  <a:pt x="6797" y="4074"/>
                </a:lnTo>
                <a:lnTo>
                  <a:pt x="6784" y="4066"/>
                </a:lnTo>
                <a:lnTo>
                  <a:pt x="6778" y="4062"/>
                </a:lnTo>
                <a:lnTo>
                  <a:pt x="6772" y="4058"/>
                </a:lnTo>
                <a:lnTo>
                  <a:pt x="6766" y="4053"/>
                </a:lnTo>
                <a:lnTo>
                  <a:pt x="6760" y="4047"/>
                </a:lnTo>
                <a:lnTo>
                  <a:pt x="6755" y="4041"/>
                </a:lnTo>
                <a:lnTo>
                  <a:pt x="6748" y="4035"/>
                </a:lnTo>
                <a:lnTo>
                  <a:pt x="6743" y="4029"/>
                </a:lnTo>
                <a:lnTo>
                  <a:pt x="6739" y="4023"/>
                </a:lnTo>
                <a:lnTo>
                  <a:pt x="6734" y="4016"/>
                </a:lnTo>
                <a:lnTo>
                  <a:pt x="6730" y="4010"/>
                </a:lnTo>
                <a:lnTo>
                  <a:pt x="6726" y="4003"/>
                </a:lnTo>
                <a:lnTo>
                  <a:pt x="6723" y="3995"/>
                </a:lnTo>
                <a:lnTo>
                  <a:pt x="6719" y="3987"/>
                </a:lnTo>
                <a:lnTo>
                  <a:pt x="6716" y="3979"/>
                </a:lnTo>
                <a:lnTo>
                  <a:pt x="6714" y="3971"/>
                </a:lnTo>
                <a:lnTo>
                  <a:pt x="6711" y="3963"/>
                </a:lnTo>
                <a:lnTo>
                  <a:pt x="6709" y="3954"/>
                </a:lnTo>
                <a:lnTo>
                  <a:pt x="6708" y="3946"/>
                </a:lnTo>
                <a:lnTo>
                  <a:pt x="6706" y="3937"/>
                </a:lnTo>
                <a:lnTo>
                  <a:pt x="6705" y="3927"/>
                </a:lnTo>
                <a:lnTo>
                  <a:pt x="6705" y="3918"/>
                </a:lnTo>
                <a:lnTo>
                  <a:pt x="6705" y="3909"/>
                </a:lnTo>
                <a:lnTo>
                  <a:pt x="6705" y="3890"/>
                </a:lnTo>
                <a:lnTo>
                  <a:pt x="6706" y="3881"/>
                </a:lnTo>
                <a:lnTo>
                  <a:pt x="6708" y="3872"/>
                </a:lnTo>
                <a:lnTo>
                  <a:pt x="6710" y="3862"/>
                </a:lnTo>
                <a:lnTo>
                  <a:pt x="6712" y="3853"/>
                </a:lnTo>
                <a:lnTo>
                  <a:pt x="6714" y="3844"/>
                </a:lnTo>
                <a:lnTo>
                  <a:pt x="6717" y="3836"/>
                </a:lnTo>
                <a:lnTo>
                  <a:pt x="6720" y="3827"/>
                </a:lnTo>
                <a:lnTo>
                  <a:pt x="6724" y="3819"/>
                </a:lnTo>
                <a:lnTo>
                  <a:pt x="6727" y="3810"/>
                </a:lnTo>
                <a:lnTo>
                  <a:pt x="6731" y="3802"/>
                </a:lnTo>
                <a:lnTo>
                  <a:pt x="6736" y="3795"/>
                </a:lnTo>
                <a:lnTo>
                  <a:pt x="6741" y="3787"/>
                </a:lnTo>
                <a:lnTo>
                  <a:pt x="6752" y="3774"/>
                </a:lnTo>
                <a:lnTo>
                  <a:pt x="6757" y="3767"/>
                </a:lnTo>
                <a:lnTo>
                  <a:pt x="6763" y="3761"/>
                </a:lnTo>
                <a:lnTo>
                  <a:pt x="6775" y="3748"/>
                </a:lnTo>
                <a:lnTo>
                  <a:pt x="6782" y="3743"/>
                </a:lnTo>
                <a:lnTo>
                  <a:pt x="6788" y="3738"/>
                </a:lnTo>
                <a:lnTo>
                  <a:pt x="6795" y="3734"/>
                </a:lnTo>
                <a:lnTo>
                  <a:pt x="6802" y="3730"/>
                </a:lnTo>
                <a:lnTo>
                  <a:pt x="6811" y="3726"/>
                </a:lnTo>
                <a:lnTo>
                  <a:pt x="6818" y="3723"/>
                </a:lnTo>
                <a:lnTo>
                  <a:pt x="6826" y="3721"/>
                </a:lnTo>
                <a:lnTo>
                  <a:pt x="6833" y="3718"/>
                </a:lnTo>
                <a:lnTo>
                  <a:pt x="6841" y="3716"/>
                </a:lnTo>
                <a:lnTo>
                  <a:pt x="6849" y="3715"/>
                </a:lnTo>
                <a:lnTo>
                  <a:pt x="6857" y="3714"/>
                </a:lnTo>
                <a:lnTo>
                  <a:pt x="6866" y="3714"/>
                </a:lnTo>
                <a:lnTo>
                  <a:pt x="6877" y="3715"/>
                </a:lnTo>
                <a:lnTo>
                  <a:pt x="6882" y="3715"/>
                </a:lnTo>
                <a:lnTo>
                  <a:pt x="6886" y="3716"/>
                </a:lnTo>
                <a:lnTo>
                  <a:pt x="6891" y="3717"/>
                </a:lnTo>
                <a:lnTo>
                  <a:pt x="6895" y="3718"/>
                </a:lnTo>
                <a:lnTo>
                  <a:pt x="6904" y="3721"/>
                </a:lnTo>
                <a:lnTo>
                  <a:pt x="6912" y="3725"/>
                </a:lnTo>
                <a:lnTo>
                  <a:pt x="6919" y="3730"/>
                </a:lnTo>
                <a:lnTo>
                  <a:pt x="6926" y="3735"/>
                </a:lnTo>
                <a:lnTo>
                  <a:pt x="6933" y="3741"/>
                </a:lnTo>
                <a:lnTo>
                  <a:pt x="6936" y="3744"/>
                </a:lnTo>
                <a:lnTo>
                  <a:pt x="6938" y="3748"/>
                </a:lnTo>
                <a:lnTo>
                  <a:pt x="6943" y="3756"/>
                </a:lnTo>
                <a:lnTo>
                  <a:pt x="6947" y="3764"/>
                </a:lnTo>
                <a:lnTo>
                  <a:pt x="6950" y="3772"/>
                </a:lnTo>
                <a:lnTo>
                  <a:pt x="6953" y="3781"/>
                </a:lnTo>
                <a:lnTo>
                  <a:pt x="6955" y="3790"/>
                </a:lnTo>
                <a:lnTo>
                  <a:pt x="6956" y="3800"/>
                </a:lnTo>
                <a:lnTo>
                  <a:pt x="6956" y="3809"/>
                </a:lnTo>
                <a:lnTo>
                  <a:pt x="6956" y="3823"/>
                </a:lnTo>
                <a:lnTo>
                  <a:pt x="6955" y="3829"/>
                </a:lnTo>
                <a:lnTo>
                  <a:pt x="6953" y="3835"/>
                </a:lnTo>
                <a:lnTo>
                  <a:pt x="6950" y="3847"/>
                </a:lnTo>
                <a:lnTo>
                  <a:pt x="6945" y="3859"/>
                </a:lnTo>
                <a:lnTo>
                  <a:pt x="6938" y="3870"/>
                </a:lnTo>
                <a:lnTo>
                  <a:pt x="6931" y="3881"/>
                </a:lnTo>
                <a:lnTo>
                  <a:pt x="6926" y="3887"/>
                </a:lnTo>
                <a:lnTo>
                  <a:pt x="6922" y="3891"/>
                </a:lnTo>
                <a:lnTo>
                  <a:pt x="6913" y="3901"/>
                </a:lnTo>
                <a:lnTo>
                  <a:pt x="6903" y="3909"/>
                </a:lnTo>
                <a:lnTo>
                  <a:pt x="6897" y="3913"/>
                </a:lnTo>
                <a:lnTo>
                  <a:pt x="6892" y="3917"/>
                </a:lnTo>
                <a:lnTo>
                  <a:pt x="6881" y="3923"/>
                </a:lnTo>
                <a:lnTo>
                  <a:pt x="6868" y="3929"/>
                </a:lnTo>
                <a:lnTo>
                  <a:pt x="6856" y="3935"/>
                </a:lnTo>
                <a:lnTo>
                  <a:pt x="6850" y="3936"/>
                </a:lnTo>
                <a:lnTo>
                  <a:pt x="6843" y="3938"/>
                </a:lnTo>
                <a:lnTo>
                  <a:pt x="6837" y="3939"/>
                </a:lnTo>
                <a:lnTo>
                  <a:pt x="6831" y="3940"/>
                </a:lnTo>
                <a:lnTo>
                  <a:pt x="6818" y="3941"/>
                </a:lnTo>
                <a:lnTo>
                  <a:pt x="6813" y="3940"/>
                </a:lnTo>
                <a:lnTo>
                  <a:pt x="6807" y="3938"/>
                </a:lnTo>
                <a:lnTo>
                  <a:pt x="6803" y="3935"/>
                </a:lnTo>
                <a:lnTo>
                  <a:pt x="6801" y="3933"/>
                </a:lnTo>
                <a:lnTo>
                  <a:pt x="6799" y="3930"/>
                </a:lnTo>
                <a:lnTo>
                  <a:pt x="6796" y="3926"/>
                </a:lnTo>
                <a:lnTo>
                  <a:pt x="6793" y="3921"/>
                </a:lnTo>
                <a:lnTo>
                  <a:pt x="6792" y="3918"/>
                </a:lnTo>
                <a:lnTo>
                  <a:pt x="6792" y="3915"/>
                </a:lnTo>
                <a:lnTo>
                  <a:pt x="6791" y="3908"/>
                </a:lnTo>
                <a:lnTo>
                  <a:pt x="6791" y="3906"/>
                </a:lnTo>
                <a:lnTo>
                  <a:pt x="6792" y="3903"/>
                </a:lnTo>
                <a:lnTo>
                  <a:pt x="6793" y="3898"/>
                </a:lnTo>
                <a:lnTo>
                  <a:pt x="6794" y="3896"/>
                </a:lnTo>
                <a:lnTo>
                  <a:pt x="6795" y="3894"/>
                </a:lnTo>
                <a:lnTo>
                  <a:pt x="6796" y="3892"/>
                </a:lnTo>
                <a:lnTo>
                  <a:pt x="6798" y="3891"/>
                </a:lnTo>
                <a:lnTo>
                  <a:pt x="6809" y="3889"/>
                </a:lnTo>
                <a:lnTo>
                  <a:pt x="6821" y="3887"/>
                </a:lnTo>
                <a:lnTo>
                  <a:pt x="6831" y="3883"/>
                </a:lnTo>
                <a:lnTo>
                  <a:pt x="6840" y="3879"/>
                </a:lnTo>
                <a:lnTo>
                  <a:pt x="6849" y="3875"/>
                </a:lnTo>
                <a:lnTo>
                  <a:pt x="6858" y="3869"/>
                </a:lnTo>
                <a:lnTo>
                  <a:pt x="6866" y="3863"/>
                </a:lnTo>
                <a:lnTo>
                  <a:pt x="6869" y="3860"/>
                </a:lnTo>
                <a:lnTo>
                  <a:pt x="6874" y="3857"/>
                </a:lnTo>
                <a:lnTo>
                  <a:pt x="6880" y="3851"/>
                </a:lnTo>
                <a:lnTo>
                  <a:pt x="6886" y="3845"/>
                </a:lnTo>
                <a:lnTo>
                  <a:pt x="6891" y="3838"/>
                </a:lnTo>
                <a:lnTo>
                  <a:pt x="6895" y="3831"/>
                </a:lnTo>
                <a:lnTo>
                  <a:pt x="6899" y="3824"/>
                </a:lnTo>
                <a:lnTo>
                  <a:pt x="6901" y="3817"/>
                </a:lnTo>
                <a:lnTo>
                  <a:pt x="6903" y="3809"/>
                </a:lnTo>
                <a:lnTo>
                  <a:pt x="6903" y="3802"/>
                </a:lnTo>
                <a:lnTo>
                  <a:pt x="6902" y="3794"/>
                </a:lnTo>
                <a:lnTo>
                  <a:pt x="6900" y="3786"/>
                </a:lnTo>
                <a:lnTo>
                  <a:pt x="6899" y="3783"/>
                </a:lnTo>
                <a:lnTo>
                  <a:pt x="6897" y="3780"/>
                </a:lnTo>
                <a:lnTo>
                  <a:pt x="6895" y="3777"/>
                </a:lnTo>
                <a:lnTo>
                  <a:pt x="6892" y="3775"/>
                </a:lnTo>
                <a:lnTo>
                  <a:pt x="6887" y="3771"/>
                </a:lnTo>
                <a:lnTo>
                  <a:pt x="6883" y="3769"/>
                </a:lnTo>
                <a:lnTo>
                  <a:pt x="6880" y="3767"/>
                </a:lnTo>
                <a:lnTo>
                  <a:pt x="6872" y="3766"/>
                </a:lnTo>
                <a:lnTo>
                  <a:pt x="6866" y="3765"/>
                </a:lnTo>
                <a:lnTo>
                  <a:pt x="6862" y="3765"/>
                </a:lnTo>
                <a:lnTo>
                  <a:pt x="6853" y="3766"/>
                </a:lnTo>
                <a:lnTo>
                  <a:pt x="6849" y="3766"/>
                </a:lnTo>
                <a:lnTo>
                  <a:pt x="6844" y="3768"/>
                </a:lnTo>
                <a:lnTo>
                  <a:pt x="6840" y="3769"/>
                </a:lnTo>
                <a:lnTo>
                  <a:pt x="6835" y="3771"/>
                </a:lnTo>
                <a:lnTo>
                  <a:pt x="6831" y="3773"/>
                </a:lnTo>
                <a:lnTo>
                  <a:pt x="6827" y="3776"/>
                </a:lnTo>
                <a:lnTo>
                  <a:pt x="6822" y="3779"/>
                </a:lnTo>
                <a:lnTo>
                  <a:pt x="6818" y="3782"/>
                </a:lnTo>
                <a:lnTo>
                  <a:pt x="6809" y="3789"/>
                </a:lnTo>
                <a:lnTo>
                  <a:pt x="6801" y="3797"/>
                </a:lnTo>
                <a:lnTo>
                  <a:pt x="6794" y="3806"/>
                </a:lnTo>
                <a:lnTo>
                  <a:pt x="6790" y="3812"/>
                </a:lnTo>
                <a:lnTo>
                  <a:pt x="6787" y="3817"/>
                </a:lnTo>
                <a:lnTo>
                  <a:pt x="6780" y="3828"/>
                </a:lnTo>
                <a:lnTo>
                  <a:pt x="6775" y="3839"/>
                </a:lnTo>
                <a:lnTo>
                  <a:pt x="6770" y="3851"/>
                </a:lnTo>
                <a:lnTo>
                  <a:pt x="6766" y="3864"/>
                </a:lnTo>
                <a:lnTo>
                  <a:pt x="6764" y="3879"/>
                </a:lnTo>
                <a:lnTo>
                  <a:pt x="6762" y="3892"/>
                </a:lnTo>
                <a:lnTo>
                  <a:pt x="6761" y="3899"/>
                </a:lnTo>
                <a:lnTo>
                  <a:pt x="6761" y="3906"/>
                </a:lnTo>
                <a:lnTo>
                  <a:pt x="6762" y="3919"/>
                </a:lnTo>
                <a:lnTo>
                  <a:pt x="6763" y="3932"/>
                </a:lnTo>
                <a:lnTo>
                  <a:pt x="6765" y="3944"/>
                </a:lnTo>
                <a:lnTo>
                  <a:pt x="6766" y="3950"/>
                </a:lnTo>
                <a:lnTo>
                  <a:pt x="6768" y="3955"/>
                </a:lnTo>
                <a:lnTo>
                  <a:pt x="6772" y="3965"/>
                </a:lnTo>
                <a:lnTo>
                  <a:pt x="6774" y="3970"/>
                </a:lnTo>
                <a:lnTo>
                  <a:pt x="6776" y="3975"/>
                </a:lnTo>
                <a:lnTo>
                  <a:pt x="6779" y="3980"/>
                </a:lnTo>
                <a:lnTo>
                  <a:pt x="6781" y="3984"/>
                </a:lnTo>
                <a:lnTo>
                  <a:pt x="6784" y="3989"/>
                </a:lnTo>
                <a:lnTo>
                  <a:pt x="6787" y="3994"/>
                </a:lnTo>
                <a:lnTo>
                  <a:pt x="6790" y="3997"/>
                </a:lnTo>
                <a:lnTo>
                  <a:pt x="6794" y="4001"/>
                </a:lnTo>
                <a:lnTo>
                  <a:pt x="6801" y="4008"/>
                </a:lnTo>
                <a:lnTo>
                  <a:pt x="6809" y="4013"/>
                </a:lnTo>
                <a:lnTo>
                  <a:pt x="6818" y="4018"/>
                </a:lnTo>
                <a:lnTo>
                  <a:pt x="6828" y="4022"/>
                </a:lnTo>
                <a:lnTo>
                  <a:pt x="6837" y="4025"/>
                </a:lnTo>
                <a:lnTo>
                  <a:pt x="6847" y="4026"/>
                </a:lnTo>
                <a:lnTo>
                  <a:pt x="6853" y="4027"/>
                </a:lnTo>
                <a:lnTo>
                  <a:pt x="6858" y="4027"/>
                </a:lnTo>
                <a:lnTo>
                  <a:pt x="6868" y="4027"/>
                </a:lnTo>
                <a:lnTo>
                  <a:pt x="6880" y="4025"/>
                </a:lnTo>
                <a:lnTo>
                  <a:pt x="6890" y="4023"/>
                </a:lnTo>
                <a:lnTo>
                  <a:pt x="6899" y="4019"/>
                </a:lnTo>
                <a:lnTo>
                  <a:pt x="6908" y="4015"/>
                </a:lnTo>
                <a:lnTo>
                  <a:pt x="6917" y="4010"/>
                </a:lnTo>
                <a:lnTo>
                  <a:pt x="6926" y="4004"/>
                </a:lnTo>
                <a:lnTo>
                  <a:pt x="6935" y="3998"/>
                </a:lnTo>
                <a:lnTo>
                  <a:pt x="6943" y="3989"/>
                </a:lnTo>
                <a:lnTo>
                  <a:pt x="6951" y="3981"/>
                </a:lnTo>
                <a:lnTo>
                  <a:pt x="6958" y="3973"/>
                </a:lnTo>
                <a:lnTo>
                  <a:pt x="6965" y="3964"/>
                </a:lnTo>
                <a:lnTo>
                  <a:pt x="6978" y="3945"/>
                </a:lnTo>
                <a:lnTo>
                  <a:pt x="6984" y="3934"/>
                </a:lnTo>
                <a:lnTo>
                  <a:pt x="6991" y="3922"/>
                </a:lnTo>
                <a:lnTo>
                  <a:pt x="6996" y="3911"/>
                </a:lnTo>
                <a:lnTo>
                  <a:pt x="7001" y="3900"/>
                </a:lnTo>
                <a:lnTo>
                  <a:pt x="7005" y="3889"/>
                </a:lnTo>
                <a:lnTo>
                  <a:pt x="7009" y="3877"/>
                </a:lnTo>
                <a:lnTo>
                  <a:pt x="7013" y="3864"/>
                </a:lnTo>
                <a:lnTo>
                  <a:pt x="7016" y="3852"/>
                </a:lnTo>
                <a:lnTo>
                  <a:pt x="7019" y="3840"/>
                </a:lnTo>
                <a:lnTo>
                  <a:pt x="7022" y="3828"/>
                </a:lnTo>
                <a:lnTo>
                  <a:pt x="7024" y="3816"/>
                </a:lnTo>
                <a:lnTo>
                  <a:pt x="7026" y="3803"/>
                </a:lnTo>
                <a:lnTo>
                  <a:pt x="7028" y="3791"/>
                </a:lnTo>
                <a:lnTo>
                  <a:pt x="7029" y="3780"/>
                </a:lnTo>
                <a:lnTo>
                  <a:pt x="7029" y="3768"/>
                </a:lnTo>
                <a:lnTo>
                  <a:pt x="7030" y="3757"/>
                </a:lnTo>
                <a:lnTo>
                  <a:pt x="7030" y="3746"/>
                </a:lnTo>
                <a:lnTo>
                  <a:pt x="7029" y="3735"/>
                </a:lnTo>
                <a:lnTo>
                  <a:pt x="7030" y="3733"/>
                </a:lnTo>
                <a:lnTo>
                  <a:pt x="7032" y="3731"/>
                </a:lnTo>
                <a:lnTo>
                  <a:pt x="7034" y="3729"/>
                </a:lnTo>
                <a:lnTo>
                  <a:pt x="7037" y="3727"/>
                </a:lnTo>
                <a:lnTo>
                  <a:pt x="7043" y="3724"/>
                </a:lnTo>
                <a:lnTo>
                  <a:pt x="7047" y="3723"/>
                </a:lnTo>
                <a:lnTo>
                  <a:pt x="7052" y="3723"/>
                </a:lnTo>
                <a:lnTo>
                  <a:pt x="7060" y="3724"/>
                </a:lnTo>
                <a:lnTo>
                  <a:pt x="7063" y="3724"/>
                </a:lnTo>
                <a:lnTo>
                  <a:pt x="7066" y="3725"/>
                </a:lnTo>
                <a:lnTo>
                  <a:pt x="7072" y="3728"/>
                </a:lnTo>
                <a:lnTo>
                  <a:pt x="7074" y="3730"/>
                </a:lnTo>
                <a:lnTo>
                  <a:pt x="7077" y="3732"/>
                </a:lnTo>
                <a:lnTo>
                  <a:pt x="7081" y="3738"/>
                </a:lnTo>
                <a:lnTo>
                  <a:pt x="7082" y="3741"/>
                </a:lnTo>
                <a:lnTo>
                  <a:pt x="7084" y="3745"/>
                </a:lnTo>
                <a:lnTo>
                  <a:pt x="7085" y="3750"/>
                </a:lnTo>
                <a:lnTo>
                  <a:pt x="7086" y="3756"/>
                </a:lnTo>
                <a:lnTo>
                  <a:pt x="7086" y="3761"/>
                </a:lnTo>
                <a:lnTo>
                  <a:pt x="7086" y="3767"/>
                </a:lnTo>
                <a:lnTo>
                  <a:pt x="7086" y="3782"/>
                </a:lnTo>
                <a:lnTo>
                  <a:pt x="7085" y="3798"/>
                </a:lnTo>
                <a:lnTo>
                  <a:pt x="7083" y="3814"/>
                </a:lnTo>
                <a:lnTo>
                  <a:pt x="7081" y="3829"/>
                </a:lnTo>
                <a:lnTo>
                  <a:pt x="7079" y="3844"/>
                </a:lnTo>
                <a:lnTo>
                  <a:pt x="7076" y="3859"/>
                </a:lnTo>
                <a:lnTo>
                  <a:pt x="7072" y="3874"/>
                </a:lnTo>
                <a:lnTo>
                  <a:pt x="7068" y="3888"/>
                </a:lnTo>
                <a:lnTo>
                  <a:pt x="7064" y="3902"/>
                </a:lnTo>
                <a:lnTo>
                  <a:pt x="7059" y="3916"/>
                </a:lnTo>
                <a:lnTo>
                  <a:pt x="7054" y="3929"/>
                </a:lnTo>
                <a:lnTo>
                  <a:pt x="7047" y="3943"/>
                </a:lnTo>
                <a:lnTo>
                  <a:pt x="7041" y="3955"/>
                </a:lnTo>
                <a:lnTo>
                  <a:pt x="7034" y="3967"/>
                </a:lnTo>
                <a:lnTo>
                  <a:pt x="7028" y="3979"/>
                </a:lnTo>
                <a:lnTo>
                  <a:pt x="7020" y="3990"/>
                </a:lnTo>
                <a:lnTo>
                  <a:pt x="7013" y="4002"/>
                </a:lnTo>
                <a:lnTo>
                  <a:pt x="7005" y="4012"/>
                </a:lnTo>
                <a:lnTo>
                  <a:pt x="6996" y="4021"/>
                </a:lnTo>
                <a:lnTo>
                  <a:pt x="6987" y="4030"/>
                </a:lnTo>
                <a:lnTo>
                  <a:pt x="6977" y="4039"/>
                </a:lnTo>
                <a:lnTo>
                  <a:pt x="6968" y="4047"/>
                </a:lnTo>
                <a:lnTo>
                  <a:pt x="6958" y="4055"/>
                </a:lnTo>
                <a:lnTo>
                  <a:pt x="6948" y="4061"/>
                </a:lnTo>
                <a:lnTo>
                  <a:pt x="6938" y="4067"/>
                </a:lnTo>
                <a:lnTo>
                  <a:pt x="6926" y="4072"/>
                </a:lnTo>
                <a:lnTo>
                  <a:pt x="6915" y="4077"/>
                </a:lnTo>
                <a:lnTo>
                  <a:pt x="6904" y="4081"/>
                </a:lnTo>
                <a:lnTo>
                  <a:pt x="6893" y="4084"/>
                </a:lnTo>
                <a:lnTo>
                  <a:pt x="6881" y="4086"/>
                </a:lnTo>
                <a:lnTo>
                  <a:pt x="6868" y="4087"/>
                </a:lnTo>
                <a:lnTo>
                  <a:pt x="6856" y="4087"/>
                </a:lnTo>
                <a:close/>
                <a:moveTo>
                  <a:pt x="7244" y="4082"/>
                </a:moveTo>
                <a:lnTo>
                  <a:pt x="7242" y="4081"/>
                </a:lnTo>
                <a:lnTo>
                  <a:pt x="7240" y="4081"/>
                </a:lnTo>
                <a:lnTo>
                  <a:pt x="7234" y="4078"/>
                </a:lnTo>
                <a:lnTo>
                  <a:pt x="7227" y="4074"/>
                </a:lnTo>
                <a:lnTo>
                  <a:pt x="7220" y="4068"/>
                </a:lnTo>
                <a:lnTo>
                  <a:pt x="7207" y="4057"/>
                </a:lnTo>
                <a:lnTo>
                  <a:pt x="7192" y="4042"/>
                </a:lnTo>
                <a:lnTo>
                  <a:pt x="7176" y="4027"/>
                </a:lnTo>
                <a:lnTo>
                  <a:pt x="7158" y="4010"/>
                </a:lnTo>
                <a:lnTo>
                  <a:pt x="7142" y="3993"/>
                </a:lnTo>
                <a:lnTo>
                  <a:pt x="7128" y="3975"/>
                </a:lnTo>
                <a:lnTo>
                  <a:pt x="7117" y="3961"/>
                </a:lnTo>
                <a:lnTo>
                  <a:pt x="7112" y="3955"/>
                </a:lnTo>
                <a:lnTo>
                  <a:pt x="7108" y="3950"/>
                </a:lnTo>
                <a:lnTo>
                  <a:pt x="7103" y="3939"/>
                </a:lnTo>
                <a:lnTo>
                  <a:pt x="7099" y="3929"/>
                </a:lnTo>
                <a:lnTo>
                  <a:pt x="7097" y="3919"/>
                </a:lnTo>
                <a:lnTo>
                  <a:pt x="7096" y="3909"/>
                </a:lnTo>
                <a:lnTo>
                  <a:pt x="7096" y="3903"/>
                </a:lnTo>
                <a:lnTo>
                  <a:pt x="7097" y="3898"/>
                </a:lnTo>
                <a:lnTo>
                  <a:pt x="7098" y="3892"/>
                </a:lnTo>
                <a:lnTo>
                  <a:pt x="7100" y="3886"/>
                </a:lnTo>
                <a:lnTo>
                  <a:pt x="7103" y="3880"/>
                </a:lnTo>
                <a:lnTo>
                  <a:pt x="7106" y="3873"/>
                </a:lnTo>
                <a:lnTo>
                  <a:pt x="7111" y="3866"/>
                </a:lnTo>
                <a:lnTo>
                  <a:pt x="7115" y="3859"/>
                </a:lnTo>
                <a:lnTo>
                  <a:pt x="7124" y="3848"/>
                </a:lnTo>
                <a:lnTo>
                  <a:pt x="7135" y="3834"/>
                </a:lnTo>
                <a:lnTo>
                  <a:pt x="7164" y="3800"/>
                </a:lnTo>
                <a:lnTo>
                  <a:pt x="7200" y="3761"/>
                </a:lnTo>
                <a:lnTo>
                  <a:pt x="7236" y="3719"/>
                </a:lnTo>
                <a:lnTo>
                  <a:pt x="7237" y="3719"/>
                </a:lnTo>
                <a:lnTo>
                  <a:pt x="7241" y="3719"/>
                </a:lnTo>
                <a:lnTo>
                  <a:pt x="7244" y="3719"/>
                </a:lnTo>
                <a:lnTo>
                  <a:pt x="7248" y="3720"/>
                </a:lnTo>
                <a:lnTo>
                  <a:pt x="7253" y="3722"/>
                </a:lnTo>
                <a:lnTo>
                  <a:pt x="7257" y="3724"/>
                </a:lnTo>
                <a:lnTo>
                  <a:pt x="7261" y="3728"/>
                </a:lnTo>
                <a:lnTo>
                  <a:pt x="7265" y="3731"/>
                </a:lnTo>
                <a:lnTo>
                  <a:pt x="7269" y="3735"/>
                </a:lnTo>
                <a:lnTo>
                  <a:pt x="7271" y="3740"/>
                </a:lnTo>
                <a:lnTo>
                  <a:pt x="7273" y="3745"/>
                </a:lnTo>
                <a:lnTo>
                  <a:pt x="7273" y="3750"/>
                </a:lnTo>
                <a:lnTo>
                  <a:pt x="7273" y="3756"/>
                </a:lnTo>
                <a:lnTo>
                  <a:pt x="7271" y="3762"/>
                </a:lnTo>
                <a:lnTo>
                  <a:pt x="7268" y="3767"/>
                </a:lnTo>
                <a:lnTo>
                  <a:pt x="7264" y="3773"/>
                </a:lnTo>
                <a:lnTo>
                  <a:pt x="7256" y="3783"/>
                </a:lnTo>
                <a:lnTo>
                  <a:pt x="7244" y="3797"/>
                </a:lnTo>
                <a:lnTo>
                  <a:pt x="7214" y="3831"/>
                </a:lnTo>
                <a:lnTo>
                  <a:pt x="7185" y="3864"/>
                </a:lnTo>
                <a:lnTo>
                  <a:pt x="7173" y="3880"/>
                </a:lnTo>
                <a:lnTo>
                  <a:pt x="7163" y="3891"/>
                </a:lnTo>
                <a:lnTo>
                  <a:pt x="7160" y="3895"/>
                </a:lnTo>
                <a:lnTo>
                  <a:pt x="7158" y="3899"/>
                </a:lnTo>
                <a:lnTo>
                  <a:pt x="7157" y="3902"/>
                </a:lnTo>
                <a:lnTo>
                  <a:pt x="7157" y="3906"/>
                </a:lnTo>
                <a:lnTo>
                  <a:pt x="7157" y="3910"/>
                </a:lnTo>
                <a:lnTo>
                  <a:pt x="7159" y="3915"/>
                </a:lnTo>
                <a:lnTo>
                  <a:pt x="7161" y="3919"/>
                </a:lnTo>
                <a:lnTo>
                  <a:pt x="7164" y="3924"/>
                </a:lnTo>
                <a:lnTo>
                  <a:pt x="7172" y="3934"/>
                </a:lnTo>
                <a:lnTo>
                  <a:pt x="7183" y="3945"/>
                </a:lnTo>
                <a:lnTo>
                  <a:pt x="7210" y="3975"/>
                </a:lnTo>
                <a:lnTo>
                  <a:pt x="7243" y="4008"/>
                </a:lnTo>
                <a:lnTo>
                  <a:pt x="7274" y="4038"/>
                </a:lnTo>
                <a:lnTo>
                  <a:pt x="7276" y="4040"/>
                </a:lnTo>
                <a:lnTo>
                  <a:pt x="7277" y="4042"/>
                </a:lnTo>
                <a:lnTo>
                  <a:pt x="7278" y="4044"/>
                </a:lnTo>
                <a:lnTo>
                  <a:pt x="7278" y="4047"/>
                </a:lnTo>
                <a:lnTo>
                  <a:pt x="7277" y="4053"/>
                </a:lnTo>
                <a:lnTo>
                  <a:pt x="7276" y="4056"/>
                </a:lnTo>
                <a:lnTo>
                  <a:pt x="7275" y="4059"/>
                </a:lnTo>
                <a:lnTo>
                  <a:pt x="7271" y="4065"/>
                </a:lnTo>
                <a:lnTo>
                  <a:pt x="7269" y="4067"/>
                </a:lnTo>
                <a:lnTo>
                  <a:pt x="7267" y="4070"/>
                </a:lnTo>
                <a:lnTo>
                  <a:pt x="7261" y="4075"/>
                </a:lnTo>
                <a:lnTo>
                  <a:pt x="7259" y="4077"/>
                </a:lnTo>
                <a:lnTo>
                  <a:pt x="7256" y="4078"/>
                </a:lnTo>
                <a:lnTo>
                  <a:pt x="7250" y="4081"/>
                </a:lnTo>
                <a:lnTo>
                  <a:pt x="7247" y="4081"/>
                </a:lnTo>
                <a:lnTo>
                  <a:pt x="7244" y="4082"/>
                </a:lnTo>
                <a:close/>
                <a:moveTo>
                  <a:pt x="7605" y="4087"/>
                </a:moveTo>
                <a:lnTo>
                  <a:pt x="7597" y="4087"/>
                </a:lnTo>
                <a:lnTo>
                  <a:pt x="7588" y="4086"/>
                </a:lnTo>
                <a:lnTo>
                  <a:pt x="7581" y="4085"/>
                </a:lnTo>
                <a:lnTo>
                  <a:pt x="7574" y="4084"/>
                </a:lnTo>
                <a:lnTo>
                  <a:pt x="7566" y="4082"/>
                </a:lnTo>
                <a:lnTo>
                  <a:pt x="7559" y="4080"/>
                </a:lnTo>
                <a:lnTo>
                  <a:pt x="7546" y="4074"/>
                </a:lnTo>
                <a:lnTo>
                  <a:pt x="7533" y="4066"/>
                </a:lnTo>
                <a:lnTo>
                  <a:pt x="7525" y="4062"/>
                </a:lnTo>
                <a:lnTo>
                  <a:pt x="7519" y="4058"/>
                </a:lnTo>
                <a:lnTo>
                  <a:pt x="7513" y="4053"/>
                </a:lnTo>
                <a:lnTo>
                  <a:pt x="7508" y="4047"/>
                </a:lnTo>
                <a:lnTo>
                  <a:pt x="7502" y="4041"/>
                </a:lnTo>
                <a:lnTo>
                  <a:pt x="7497" y="4035"/>
                </a:lnTo>
                <a:lnTo>
                  <a:pt x="7492" y="4029"/>
                </a:lnTo>
                <a:lnTo>
                  <a:pt x="7487" y="4023"/>
                </a:lnTo>
                <a:lnTo>
                  <a:pt x="7483" y="4016"/>
                </a:lnTo>
                <a:lnTo>
                  <a:pt x="7479" y="4010"/>
                </a:lnTo>
                <a:lnTo>
                  <a:pt x="7475" y="4003"/>
                </a:lnTo>
                <a:lnTo>
                  <a:pt x="7471" y="3995"/>
                </a:lnTo>
                <a:lnTo>
                  <a:pt x="7467" y="3987"/>
                </a:lnTo>
                <a:lnTo>
                  <a:pt x="7464" y="3979"/>
                </a:lnTo>
                <a:lnTo>
                  <a:pt x="7461" y="3971"/>
                </a:lnTo>
                <a:lnTo>
                  <a:pt x="7459" y="3963"/>
                </a:lnTo>
                <a:lnTo>
                  <a:pt x="7457" y="3954"/>
                </a:lnTo>
                <a:lnTo>
                  <a:pt x="7455" y="3946"/>
                </a:lnTo>
                <a:lnTo>
                  <a:pt x="7454" y="3937"/>
                </a:lnTo>
                <a:lnTo>
                  <a:pt x="7453" y="3927"/>
                </a:lnTo>
                <a:lnTo>
                  <a:pt x="7452" y="3918"/>
                </a:lnTo>
                <a:lnTo>
                  <a:pt x="7452" y="3909"/>
                </a:lnTo>
                <a:lnTo>
                  <a:pt x="7453" y="3890"/>
                </a:lnTo>
                <a:lnTo>
                  <a:pt x="7454" y="3881"/>
                </a:lnTo>
                <a:lnTo>
                  <a:pt x="7455" y="3872"/>
                </a:lnTo>
                <a:lnTo>
                  <a:pt x="7457" y="3862"/>
                </a:lnTo>
                <a:lnTo>
                  <a:pt x="7459" y="3853"/>
                </a:lnTo>
                <a:lnTo>
                  <a:pt x="7462" y="3844"/>
                </a:lnTo>
                <a:lnTo>
                  <a:pt x="7465" y="3836"/>
                </a:lnTo>
                <a:lnTo>
                  <a:pt x="7468" y="3827"/>
                </a:lnTo>
                <a:lnTo>
                  <a:pt x="7472" y="3819"/>
                </a:lnTo>
                <a:lnTo>
                  <a:pt x="7476" y="3810"/>
                </a:lnTo>
                <a:lnTo>
                  <a:pt x="7480" y="3802"/>
                </a:lnTo>
                <a:lnTo>
                  <a:pt x="7485" y="3795"/>
                </a:lnTo>
                <a:lnTo>
                  <a:pt x="7489" y="3787"/>
                </a:lnTo>
                <a:lnTo>
                  <a:pt x="7499" y="3774"/>
                </a:lnTo>
                <a:lnTo>
                  <a:pt x="7505" y="3767"/>
                </a:lnTo>
                <a:lnTo>
                  <a:pt x="7511" y="3761"/>
                </a:lnTo>
                <a:lnTo>
                  <a:pt x="7523" y="3748"/>
                </a:lnTo>
                <a:lnTo>
                  <a:pt x="7529" y="3743"/>
                </a:lnTo>
                <a:lnTo>
                  <a:pt x="7537" y="3738"/>
                </a:lnTo>
                <a:lnTo>
                  <a:pt x="7544" y="3734"/>
                </a:lnTo>
                <a:lnTo>
                  <a:pt x="7551" y="3730"/>
                </a:lnTo>
                <a:lnTo>
                  <a:pt x="7558" y="3726"/>
                </a:lnTo>
                <a:lnTo>
                  <a:pt x="7566" y="3723"/>
                </a:lnTo>
                <a:lnTo>
                  <a:pt x="7573" y="3721"/>
                </a:lnTo>
                <a:lnTo>
                  <a:pt x="7581" y="3718"/>
                </a:lnTo>
                <a:lnTo>
                  <a:pt x="7589" y="3716"/>
                </a:lnTo>
                <a:lnTo>
                  <a:pt x="7598" y="3715"/>
                </a:lnTo>
                <a:lnTo>
                  <a:pt x="7606" y="3714"/>
                </a:lnTo>
                <a:lnTo>
                  <a:pt x="7614" y="3714"/>
                </a:lnTo>
                <a:lnTo>
                  <a:pt x="7625" y="3715"/>
                </a:lnTo>
                <a:lnTo>
                  <a:pt x="7630" y="3715"/>
                </a:lnTo>
                <a:lnTo>
                  <a:pt x="7635" y="3716"/>
                </a:lnTo>
                <a:lnTo>
                  <a:pt x="7644" y="3718"/>
                </a:lnTo>
                <a:lnTo>
                  <a:pt x="7653" y="3722"/>
                </a:lnTo>
                <a:lnTo>
                  <a:pt x="7662" y="3726"/>
                </a:lnTo>
                <a:lnTo>
                  <a:pt x="7669" y="3731"/>
                </a:lnTo>
                <a:lnTo>
                  <a:pt x="7676" y="3736"/>
                </a:lnTo>
                <a:lnTo>
                  <a:pt x="7679" y="3739"/>
                </a:lnTo>
                <a:lnTo>
                  <a:pt x="7682" y="3743"/>
                </a:lnTo>
                <a:lnTo>
                  <a:pt x="7682" y="3877"/>
                </a:lnTo>
                <a:lnTo>
                  <a:pt x="7677" y="3884"/>
                </a:lnTo>
                <a:lnTo>
                  <a:pt x="7671" y="3890"/>
                </a:lnTo>
                <a:lnTo>
                  <a:pt x="7665" y="3897"/>
                </a:lnTo>
                <a:lnTo>
                  <a:pt x="7659" y="3902"/>
                </a:lnTo>
                <a:lnTo>
                  <a:pt x="7653" y="3908"/>
                </a:lnTo>
                <a:lnTo>
                  <a:pt x="7645" y="3913"/>
                </a:lnTo>
                <a:lnTo>
                  <a:pt x="7638" y="3918"/>
                </a:lnTo>
                <a:lnTo>
                  <a:pt x="7631" y="3922"/>
                </a:lnTo>
                <a:lnTo>
                  <a:pt x="7623" y="3926"/>
                </a:lnTo>
                <a:lnTo>
                  <a:pt x="7615" y="3930"/>
                </a:lnTo>
                <a:lnTo>
                  <a:pt x="7608" y="3934"/>
                </a:lnTo>
                <a:lnTo>
                  <a:pt x="7600" y="3936"/>
                </a:lnTo>
                <a:lnTo>
                  <a:pt x="7591" y="3938"/>
                </a:lnTo>
                <a:lnTo>
                  <a:pt x="7582" y="3939"/>
                </a:lnTo>
                <a:lnTo>
                  <a:pt x="7574" y="3940"/>
                </a:lnTo>
                <a:lnTo>
                  <a:pt x="7566" y="3941"/>
                </a:lnTo>
                <a:lnTo>
                  <a:pt x="7561" y="3940"/>
                </a:lnTo>
                <a:lnTo>
                  <a:pt x="7556" y="3938"/>
                </a:lnTo>
                <a:lnTo>
                  <a:pt x="7551" y="3935"/>
                </a:lnTo>
                <a:lnTo>
                  <a:pt x="7549" y="3933"/>
                </a:lnTo>
                <a:lnTo>
                  <a:pt x="7547" y="3930"/>
                </a:lnTo>
                <a:lnTo>
                  <a:pt x="7544" y="3926"/>
                </a:lnTo>
                <a:lnTo>
                  <a:pt x="7542" y="3921"/>
                </a:lnTo>
                <a:lnTo>
                  <a:pt x="7541" y="3918"/>
                </a:lnTo>
                <a:lnTo>
                  <a:pt x="7540" y="3915"/>
                </a:lnTo>
                <a:lnTo>
                  <a:pt x="7540" y="3908"/>
                </a:lnTo>
                <a:lnTo>
                  <a:pt x="7540" y="3906"/>
                </a:lnTo>
                <a:lnTo>
                  <a:pt x="7540" y="3903"/>
                </a:lnTo>
                <a:lnTo>
                  <a:pt x="7541" y="3898"/>
                </a:lnTo>
                <a:lnTo>
                  <a:pt x="7542" y="3896"/>
                </a:lnTo>
                <a:lnTo>
                  <a:pt x="7544" y="3894"/>
                </a:lnTo>
                <a:lnTo>
                  <a:pt x="7545" y="3892"/>
                </a:lnTo>
                <a:lnTo>
                  <a:pt x="7547" y="3891"/>
                </a:lnTo>
                <a:lnTo>
                  <a:pt x="7558" y="3889"/>
                </a:lnTo>
                <a:lnTo>
                  <a:pt x="7568" y="3887"/>
                </a:lnTo>
                <a:lnTo>
                  <a:pt x="7578" y="3883"/>
                </a:lnTo>
                <a:lnTo>
                  <a:pt x="7588" y="3879"/>
                </a:lnTo>
                <a:lnTo>
                  <a:pt x="7598" y="3875"/>
                </a:lnTo>
                <a:lnTo>
                  <a:pt x="7606" y="3869"/>
                </a:lnTo>
                <a:lnTo>
                  <a:pt x="7614" y="3863"/>
                </a:lnTo>
                <a:lnTo>
                  <a:pt x="7618" y="3860"/>
                </a:lnTo>
                <a:lnTo>
                  <a:pt x="7622" y="3857"/>
                </a:lnTo>
                <a:lnTo>
                  <a:pt x="7628" y="3851"/>
                </a:lnTo>
                <a:lnTo>
                  <a:pt x="7634" y="3845"/>
                </a:lnTo>
                <a:lnTo>
                  <a:pt x="7639" y="3838"/>
                </a:lnTo>
                <a:lnTo>
                  <a:pt x="7643" y="3831"/>
                </a:lnTo>
                <a:lnTo>
                  <a:pt x="7646" y="3824"/>
                </a:lnTo>
                <a:lnTo>
                  <a:pt x="7649" y="3817"/>
                </a:lnTo>
                <a:lnTo>
                  <a:pt x="7651" y="3809"/>
                </a:lnTo>
                <a:lnTo>
                  <a:pt x="7652" y="3802"/>
                </a:lnTo>
                <a:lnTo>
                  <a:pt x="7651" y="3794"/>
                </a:lnTo>
                <a:lnTo>
                  <a:pt x="7648" y="3786"/>
                </a:lnTo>
                <a:lnTo>
                  <a:pt x="7646" y="3783"/>
                </a:lnTo>
                <a:lnTo>
                  <a:pt x="7645" y="3780"/>
                </a:lnTo>
                <a:lnTo>
                  <a:pt x="7642" y="3777"/>
                </a:lnTo>
                <a:lnTo>
                  <a:pt x="7640" y="3775"/>
                </a:lnTo>
                <a:lnTo>
                  <a:pt x="7634" y="3771"/>
                </a:lnTo>
                <a:lnTo>
                  <a:pt x="7631" y="3769"/>
                </a:lnTo>
                <a:lnTo>
                  <a:pt x="7627" y="3767"/>
                </a:lnTo>
                <a:lnTo>
                  <a:pt x="7619" y="3766"/>
                </a:lnTo>
                <a:lnTo>
                  <a:pt x="7615" y="3765"/>
                </a:lnTo>
                <a:lnTo>
                  <a:pt x="7610" y="3765"/>
                </a:lnTo>
                <a:lnTo>
                  <a:pt x="7602" y="3766"/>
                </a:lnTo>
                <a:lnTo>
                  <a:pt x="7597" y="3766"/>
                </a:lnTo>
                <a:lnTo>
                  <a:pt x="7593" y="3768"/>
                </a:lnTo>
                <a:lnTo>
                  <a:pt x="7587" y="3769"/>
                </a:lnTo>
                <a:lnTo>
                  <a:pt x="7583" y="3771"/>
                </a:lnTo>
                <a:lnTo>
                  <a:pt x="7579" y="3773"/>
                </a:lnTo>
                <a:lnTo>
                  <a:pt x="7574" y="3776"/>
                </a:lnTo>
                <a:lnTo>
                  <a:pt x="7570" y="3779"/>
                </a:lnTo>
                <a:lnTo>
                  <a:pt x="7566" y="3782"/>
                </a:lnTo>
                <a:lnTo>
                  <a:pt x="7557" y="3789"/>
                </a:lnTo>
                <a:lnTo>
                  <a:pt x="7550" y="3797"/>
                </a:lnTo>
                <a:lnTo>
                  <a:pt x="7542" y="3806"/>
                </a:lnTo>
                <a:lnTo>
                  <a:pt x="7539" y="3812"/>
                </a:lnTo>
                <a:lnTo>
                  <a:pt x="7535" y="3817"/>
                </a:lnTo>
                <a:lnTo>
                  <a:pt x="7528" y="3828"/>
                </a:lnTo>
                <a:lnTo>
                  <a:pt x="7523" y="3839"/>
                </a:lnTo>
                <a:lnTo>
                  <a:pt x="7518" y="3851"/>
                </a:lnTo>
                <a:lnTo>
                  <a:pt x="7514" y="3864"/>
                </a:lnTo>
                <a:lnTo>
                  <a:pt x="7511" y="3879"/>
                </a:lnTo>
                <a:lnTo>
                  <a:pt x="7509" y="3892"/>
                </a:lnTo>
                <a:lnTo>
                  <a:pt x="7509" y="3899"/>
                </a:lnTo>
                <a:lnTo>
                  <a:pt x="7509" y="3906"/>
                </a:lnTo>
                <a:lnTo>
                  <a:pt x="7509" y="3919"/>
                </a:lnTo>
                <a:lnTo>
                  <a:pt x="7511" y="3932"/>
                </a:lnTo>
                <a:lnTo>
                  <a:pt x="7513" y="3944"/>
                </a:lnTo>
                <a:lnTo>
                  <a:pt x="7514" y="3950"/>
                </a:lnTo>
                <a:lnTo>
                  <a:pt x="7516" y="3955"/>
                </a:lnTo>
                <a:lnTo>
                  <a:pt x="7519" y="3965"/>
                </a:lnTo>
                <a:lnTo>
                  <a:pt x="7521" y="3970"/>
                </a:lnTo>
                <a:lnTo>
                  <a:pt x="7524" y="3975"/>
                </a:lnTo>
                <a:lnTo>
                  <a:pt x="7526" y="3980"/>
                </a:lnTo>
                <a:lnTo>
                  <a:pt x="7529" y="3984"/>
                </a:lnTo>
                <a:lnTo>
                  <a:pt x="7533" y="3989"/>
                </a:lnTo>
                <a:lnTo>
                  <a:pt x="7536" y="3994"/>
                </a:lnTo>
                <a:lnTo>
                  <a:pt x="7539" y="3997"/>
                </a:lnTo>
                <a:lnTo>
                  <a:pt x="7542" y="4001"/>
                </a:lnTo>
                <a:lnTo>
                  <a:pt x="7550" y="4008"/>
                </a:lnTo>
                <a:lnTo>
                  <a:pt x="7558" y="4013"/>
                </a:lnTo>
                <a:lnTo>
                  <a:pt x="7566" y="4018"/>
                </a:lnTo>
                <a:lnTo>
                  <a:pt x="7575" y="4022"/>
                </a:lnTo>
                <a:lnTo>
                  <a:pt x="7585" y="4025"/>
                </a:lnTo>
                <a:lnTo>
                  <a:pt x="7596" y="4026"/>
                </a:lnTo>
                <a:lnTo>
                  <a:pt x="7601" y="4027"/>
                </a:lnTo>
                <a:lnTo>
                  <a:pt x="7607" y="4027"/>
                </a:lnTo>
                <a:lnTo>
                  <a:pt x="7617" y="4027"/>
                </a:lnTo>
                <a:lnTo>
                  <a:pt x="7622" y="4026"/>
                </a:lnTo>
                <a:lnTo>
                  <a:pt x="7627" y="4025"/>
                </a:lnTo>
                <a:lnTo>
                  <a:pt x="7637" y="4023"/>
                </a:lnTo>
                <a:lnTo>
                  <a:pt x="7646" y="4019"/>
                </a:lnTo>
                <a:lnTo>
                  <a:pt x="7656" y="4015"/>
                </a:lnTo>
                <a:lnTo>
                  <a:pt x="7661" y="4013"/>
                </a:lnTo>
                <a:lnTo>
                  <a:pt x="7665" y="4011"/>
                </a:lnTo>
                <a:lnTo>
                  <a:pt x="7674" y="4005"/>
                </a:lnTo>
                <a:lnTo>
                  <a:pt x="7682" y="3999"/>
                </a:lnTo>
                <a:lnTo>
                  <a:pt x="7682" y="4069"/>
                </a:lnTo>
                <a:lnTo>
                  <a:pt x="7673" y="4073"/>
                </a:lnTo>
                <a:lnTo>
                  <a:pt x="7664" y="4077"/>
                </a:lnTo>
                <a:lnTo>
                  <a:pt x="7655" y="4080"/>
                </a:lnTo>
                <a:lnTo>
                  <a:pt x="7644" y="4083"/>
                </a:lnTo>
                <a:lnTo>
                  <a:pt x="7635" y="4085"/>
                </a:lnTo>
                <a:lnTo>
                  <a:pt x="7625" y="4086"/>
                </a:lnTo>
                <a:lnTo>
                  <a:pt x="7615" y="4087"/>
                </a:lnTo>
                <a:lnTo>
                  <a:pt x="7605" y="4087"/>
                </a:lnTo>
                <a:close/>
                <a:moveTo>
                  <a:pt x="6389" y="3591"/>
                </a:moveTo>
                <a:lnTo>
                  <a:pt x="6382" y="3591"/>
                </a:lnTo>
                <a:lnTo>
                  <a:pt x="6374" y="3590"/>
                </a:lnTo>
                <a:lnTo>
                  <a:pt x="6367" y="3589"/>
                </a:lnTo>
                <a:lnTo>
                  <a:pt x="6359" y="3587"/>
                </a:lnTo>
                <a:lnTo>
                  <a:pt x="6352" y="3585"/>
                </a:lnTo>
                <a:lnTo>
                  <a:pt x="6345" y="3583"/>
                </a:lnTo>
                <a:lnTo>
                  <a:pt x="6331" y="3577"/>
                </a:lnTo>
                <a:lnTo>
                  <a:pt x="6317" y="3569"/>
                </a:lnTo>
                <a:lnTo>
                  <a:pt x="6311" y="3565"/>
                </a:lnTo>
                <a:lnTo>
                  <a:pt x="6305" y="3560"/>
                </a:lnTo>
                <a:lnTo>
                  <a:pt x="6299" y="3555"/>
                </a:lnTo>
                <a:lnTo>
                  <a:pt x="6293" y="3550"/>
                </a:lnTo>
                <a:lnTo>
                  <a:pt x="6288" y="3545"/>
                </a:lnTo>
                <a:lnTo>
                  <a:pt x="6283" y="3539"/>
                </a:lnTo>
                <a:lnTo>
                  <a:pt x="6278" y="3533"/>
                </a:lnTo>
                <a:lnTo>
                  <a:pt x="6273" y="3527"/>
                </a:lnTo>
                <a:lnTo>
                  <a:pt x="6268" y="3520"/>
                </a:lnTo>
                <a:lnTo>
                  <a:pt x="6264" y="3513"/>
                </a:lnTo>
                <a:lnTo>
                  <a:pt x="6260" y="3505"/>
                </a:lnTo>
                <a:lnTo>
                  <a:pt x="6256" y="3498"/>
                </a:lnTo>
                <a:lnTo>
                  <a:pt x="6253" y="3490"/>
                </a:lnTo>
                <a:lnTo>
                  <a:pt x="6250" y="3482"/>
                </a:lnTo>
                <a:lnTo>
                  <a:pt x="6247" y="3474"/>
                </a:lnTo>
                <a:lnTo>
                  <a:pt x="6245" y="3466"/>
                </a:lnTo>
                <a:lnTo>
                  <a:pt x="6243" y="3458"/>
                </a:lnTo>
                <a:lnTo>
                  <a:pt x="6241" y="3448"/>
                </a:lnTo>
                <a:lnTo>
                  <a:pt x="6240" y="3439"/>
                </a:lnTo>
                <a:lnTo>
                  <a:pt x="6239" y="3431"/>
                </a:lnTo>
                <a:lnTo>
                  <a:pt x="6238" y="3422"/>
                </a:lnTo>
                <a:lnTo>
                  <a:pt x="6238" y="3412"/>
                </a:lnTo>
                <a:lnTo>
                  <a:pt x="6239" y="3394"/>
                </a:lnTo>
                <a:lnTo>
                  <a:pt x="6240" y="3384"/>
                </a:lnTo>
                <a:lnTo>
                  <a:pt x="6241" y="3374"/>
                </a:lnTo>
                <a:lnTo>
                  <a:pt x="6243" y="3365"/>
                </a:lnTo>
                <a:lnTo>
                  <a:pt x="6245" y="3357"/>
                </a:lnTo>
                <a:lnTo>
                  <a:pt x="6247" y="3348"/>
                </a:lnTo>
                <a:lnTo>
                  <a:pt x="6250" y="3339"/>
                </a:lnTo>
                <a:lnTo>
                  <a:pt x="6253" y="3330"/>
                </a:lnTo>
                <a:lnTo>
                  <a:pt x="6257" y="3322"/>
                </a:lnTo>
                <a:lnTo>
                  <a:pt x="6261" y="3314"/>
                </a:lnTo>
                <a:lnTo>
                  <a:pt x="6265" y="3306"/>
                </a:lnTo>
                <a:lnTo>
                  <a:pt x="6269" y="3298"/>
                </a:lnTo>
                <a:lnTo>
                  <a:pt x="6275" y="3291"/>
                </a:lnTo>
                <a:lnTo>
                  <a:pt x="6285" y="3277"/>
                </a:lnTo>
                <a:lnTo>
                  <a:pt x="6291" y="3269"/>
                </a:lnTo>
                <a:lnTo>
                  <a:pt x="6296" y="3263"/>
                </a:lnTo>
                <a:lnTo>
                  <a:pt x="6309" y="3252"/>
                </a:lnTo>
                <a:lnTo>
                  <a:pt x="6315" y="3247"/>
                </a:lnTo>
                <a:lnTo>
                  <a:pt x="6322" y="3242"/>
                </a:lnTo>
                <a:lnTo>
                  <a:pt x="6329" y="3237"/>
                </a:lnTo>
                <a:lnTo>
                  <a:pt x="6337" y="3233"/>
                </a:lnTo>
                <a:lnTo>
                  <a:pt x="6344" y="3230"/>
                </a:lnTo>
                <a:lnTo>
                  <a:pt x="6351" y="3227"/>
                </a:lnTo>
                <a:lnTo>
                  <a:pt x="6359" y="3224"/>
                </a:lnTo>
                <a:lnTo>
                  <a:pt x="6367" y="3222"/>
                </a:lnTo>
                <a:lnTo>
                  <a:pt x="6375" y="3220"/>
                </a:lnTo>
                <a:lnTo>
                  <a:pt x="6383" y="3219"/>
                </a:lnTo>
                <a:lnTo>
                  <a:pt x="6392" y="3218"/>
                </a:lnTo>
                <a:lnTo>
                  <a:pt x="6400" y="3218"/>
                </a:lnTo>
                <a:lnTo>
                  <a:pt x="6410" y="3218"/>
                </a:lnTo>
                <a:lnTo>
                  <a:pt x="6415" y="3219"/>
                </a:lnTo>
                <a:lnTo>
                  <a:pt x="6420" y="3219"/>
                </a:lnTo>
                <a:lnTo>
                  <a:pt x="6424" y="3220"/>
                </a:lnTo>
                <a:lnTo>
                  <a:pt x="6429" y="3222"/>
                </a:lnTo>
                <a:lnTo>
                  <a:pt x="6437" y="3225"/>
                </a:lnTo>
                <a:lnTo>
                  <a:pt x="6445" y="3229"/>
                </a:lnTo>
                <a:lnTo>
                  <a:pt x="6454" y="3233"/>
                </a:lnTo>
                <a:lnTo>
                  <a:pt x="6460" y="3239"/>
                </a:lnTo>
                <a:lnTo>
                  <a:pt x="6466" y="3245"/>
                </a:lnTo>
                <a:lnTo>
                  <a:pt x="6469" y="3248"/>
                </a:lnTo>
                <a:lnTo>
                  <a:pt x="6472" y="3251"/>
                </a:lnTo>
                <a:lnTo>
                  <a:pt x="6476" y="3258"/>
                </a:lnTo>
                <a:lnTo>
                  <a:pt x="6480" y="3266"/>
                </a:lnTo>
                <a:lnTo>
                  <a:pt x="6484" y="3276"/>
                </a:lnTo>
                <a:lnTo>
                  <a:pt x="6486" y="3284"/>
                </a:lnTo>
                <a:lnTo>
                  <a:pt x="6488" y="3293"/>
                </a:lnTo>
                <a:lnTo>
                  <a:pt x="6489" y="3303"/>
                </a:lnTo>
                <a:lnTo>
                  <a:pt x="6490" y="3313"/>
                </a:lnTo>
                <a:lnTo>
                  <a:pt x="6489" y="3325"/>
                </a:lnTo>
                <a:lnTo>
                  <a:pt x="6488" y="3333"/>
                </a:lnTo>
                <a:lnTo>
                  <a:pt x="6487" y="3339"/>
                </a:lnTo>
                <a:lnTo>
                  <a:pt x="6483" y="3351"/>
                </a:lnTo>
                <a:lnTo>
                  <a:pt x="6478" y="3362"/>
                </a:lnTo>
                <a:lnTo>
                  <a:pt x="6472" y="3373"/>
                </a:lnTo>
                <a:lnTo>
                  <a:pt x="6464" y="3384"/>
                </a:lnTo>
                <a:lnTo>
                  <a:pt x="6460" y="3389"/>
                </a:lnTo>
                <a:lnTo>
                  <a:pt x="6456" y="3395"/>
                </a:lnTo>
                <a:lnTo>
                  <a:pt x="6446" y="3404"/>
                </a:lnTo>
                <a:lnTo>
                  <a:pt x="6436" y="3413"/>
                </a:lnTo>
                <a:lnTo>
                  <a:pt x="6431" y="3416"/>
                </a:lnTo>
                <a:lnTo>
                  <a:pt x="6425" y="3420"/>
                </a:lnTo>
                <a:lnTo>
                  <a:pt x="6414" y="3427"/>
                </a:lnTo>
                <a:lnTo>
                  <a:pt x="6402" y="3432"/>
                </a:lnTo>
                <a:lnTo>
                  <a:pt x="6389" y="3437"/>
                </a:lnTo>
                <a:lnTo>
                  <a:pt x="6383" y="3439"/>
                </a:lnTo>
                <a:lnTo>
                  <a:pt x="6377" y="3440"/>
                </a:lnTo>
                <a:lnTo>
                  <a:pt x="6371" y="3441"/>
                </a:lnTo>
                <a:lnTo>
                  <a:pt x="6364" y="3442"/>
                </a:lnTo>
                <a:lnTo>
                  <a:pt x="6352" y="3443"/>
                </a:lnTo>
                <a:lnTo>
                  <a:pt x="6346" y="3442"/>
                </a:lnTo>
                <a:lnTo>
                  <a:pt x="6341" y="3441"/>
                </a:lnTo>
                <a:lnTo>
                  <a:pt x="6337" y="3438"/>
                </a:lnTo>
                <a:lnTo>
                  <a:pt x="6335" y="3436"/>
                </a:lnTo>
                <a:lnTo>
                  <a:pt x="6333" y="3434"/>
                </a:lnTo>
                <a:lnTo>
                  <a:pt x="6329" y="3429"/>
                </a:lnTo>
                <a:lnTo>
                  <a:pt x="6327" y="3424"/>
                </a:lnTo>
                <a:lnTo>
                  <a:pt x="6326" y="3421"/>
                </a:lnTo>
                <a:lnTo>
                  <a:pt x="6325" y="3418"/>
                </a:lnTo>
                <a:lnTo>
                  <a:pt x="6325" y="3412"/>
                </a:lnTo>
                <a:lnTo>
                  <a:pt x="6325" y="3409"/>
                </a:lnTo>
                <a:lnTo>
                  <a:pt x="6325" y="3406"/>
                </a:lnTo>
                <a:lnTo>
                  <a:pt x="6326" y="3401"/>
                </a:lnTo>
                <a:lnTo>
                  <a:pt x="6327" y="3399"/>
                </a:lnTo>
                <a:lnTo>
                  <a:pt x="6328" y="3397"/>
                </a:lnTo>
                <a:lnTo>
                  <a:pt x="6331" y="3396"/>
                </a:lnTo>
                <a:lnTo>
                  <a:pt x="6333" y="3395"/>
                </a:lnTo>
                <a:lnTo>
                  <a:pt x="6344" y="3393"/>
                </a:lnTo>
                <a:lnTo>
                  <a:pt x="6354" y="3389"/>
                </a:lnTo>
                <a:lnTo>
                  <a:pt x="6364" y="3386"/>
                </a:lnTo>
                <a:lnTo>
                  <a:pt x="6374" y="3382"/>
                </a:lnTo>
                <a:lnTo>
                  <a:pt x="6383" y="3377"/>
                </a:lnTo>
                <a:lnTo>
                  <a:pt x="6392" y="3372"/>
                </a:lnTo>
                <a:lnTo>
                  <a:pt x="6400" y="3367"/>
                </a:lnTo>
                <a:lnTo>
                  <a:pt x="6404" y="3364"/>
                </a:lnTo>
                <a:lnTo>
                  <a:pt x="6407" y="3361"/>
                </a:lnTo>
                <a:lnTo>
                  <a:pt x="6414" y="3354"/>
                </a:lnTo>
                <a:lnTo>
                  <a:pt x="6420" y="3348"/>
                </a:lnTo>
                <a:lnTo>
                  <a:pt x="6425" y="3341"/>
                </a:lnTo>
                <a:lnTo>
                  <a:pt x="6429" y="3334"/>
                </a:lnTo>
                <a:lnTo>
                  <a:pt x="6432" y="3326"/>
                </a:lnTo>
                <a:lnTo>
                  <a:pt x="6434" y="3319"/>
                </a:lnTo>
                <a:lnTo>
                  <a:pt x="6436" y="3312"/>
                </a:lnTo>
                <a:lnTo>
                  <a:pt x="6436" y="3305"/>
                </a:lnTo>
                <a:lnTo>
                  <a:pt x="6436" y="3297"/>
                </a:lnTo>
                <a:lnTo>
                  <a:pt x="6434" y="3290"/>
                </a:lnTo>
                <a:lnTo>
                  <a:pt x="6432" y="3286"/>
                </a:lnTo>
                <a:lnTo>
                  <a:pt x="6430" y="3283"/>
                </a:lnTo>
                <a:lnTo>
                  <a:pt x="6428" y="3281"/>
                </a:lnTo>
                <a:lnTo>
                  <a:pt x="6426" y="3278"/>
                </a:lnTo>
                <a:lnTo>
                  <a:pt x="6420" y="3274"/>
                </a:lnTo>
                <a:lnTo>
                  <a:pt x="6417" y="3272"/>
                </a:lnTo>
                <a:lnTo>
                  <a:pt x="6413" y="3270"/>
                </a:lnTo>
                <a:lnTo>
                  <a:pt x="6405" y="3268"/>
                </a:lnTo>
                <a:lnTo>
                  <a:pt x="6401" y="3267"/>
                </a:lnTo>
                <a:lnTo>
                  <a:pt x="6396" y="3267"/>
                </a:lnTo>
                <a:lnTo>
                  <a:pt x="6386" y="3268"/>
                </a:lnTo>
                <a:lnTo>
                  <a:pt x="6382" y="3269"/>
                </a:lnTo>
                <a:lnTo>
                  <a:pt x="6378" y="3270"/>
                </a:lnTo>
                <a:lnTo>
                  <a:pt x="6373" y="3273"/>
                </a:lnTo>
                <a:lnTo>
                  <a:pt x="6369" y="3275"/>
                </a:lnTo>
                <a:lnTo>
                  <a:pt x="6364" y="3277"/>
                </a:lnTo>
                <a:lnTo>
                  <a:pt x="6360" y="3279"/>
                </a:lnTo>
                <a:lnTo>
                  <a:pt x="6356" y="3282"/>
                </a:lnTo>
                <a:lnTo>
                  <a:pt x="6351" y="3285"/>
                </a:lnTo>
                <a:lnTo>
                  <a:pt x="6343" y="3292"/>
                </a:lnTo>
                <a:lnTo>
                  <a:pt x="6335" y="3300"/>
                </a:lnTo>
                <a:lnTo>
                  <a:pt x="6327" y="3309"/>
                </a:lnTo>
                <a:lnTo>
                  <a:pt x="6323" y="3314"/>
                </a:lnTo>
                <a:lnTo>
                  <a:pt x="6320" y="3319"/>
                </a:lnTo>
                <a:lnTo>
                  <a:pt x="6314" y="3330"/>
                </a:lnTo>
                <a:lnTo>
                  <a:pt x="6308" y="3343"/>
                </a:lnTo>
                <a:lnTo>
                  <a:pt x="6304" y="3355"/>
                </a:lnTo>
                <a:lnTo>
                  <a:pt x="6300" y="3368"/>
                </a:lnTo>
                <a:lnTo>
                  <a:pt x="6297" y="3381"/>
                </a:lnTo>
                <a:lnTo>
                  <a:pt x="6295" y="3396"/>
                </a:lnTo>
                <a:lnTo>
                  <a:pt x="6295" y="3403"/>
                </a:lnTo>
                <a:lnTo>
                  <a:pt x="6295" y="3410"/>
                </a:lnTo>
                <a:lnTo>
                  <a:pt x="6295" y="3423"/>
                </a:lnTo>
                <a:lnTo>
                  <a:pt x="6296" y="3435"/>
                </a:lnTo>
                <a:lnTo>
                  <a:pt x="6298" y="3446"/>
                </a:lnTo>
                <a:lnTo>
                  <a:pt x="6300" y="3453"/>
                </a:lnTo>
                <a:lnTo>
                  <a:pt x="6301" y="3458"/>
                </a:lnTo>
                <a:lnTo>
                  <a:pt x="6305" y="3469"/>
                </a:lnTo>
                <a:lnTo>
                  <a:pt x="6307" y="3474"/>
                </a:lnTo>
                <a:lnTo>
                  <a:pt x="6310" y="3479"/>
                </a:lnTo>
                <a:lnTo>
                  <a:pt x="6312" y="3483"/>
                </a:lnTo>
                <a:lnTo>
                  <a:pt x="6315" y="3488"/>
                </a:lnTo>
                <a:lnTo>
                  <a:pt x="6318" y="3492"/>
                </a:lnTo>
                <a:lnTo>
                  <a:pt x="6321" y="3496"/>
                </a:lnTo>
                <a:lnTo>
                  <a:pt x="6324" y="3500"/>
                </a:lnTo>
                <a:lnTo>
                  <a:pt x="6327" y="3503"/>
                </a:lnTo>
                <a:lnTo>
                  <a:pt x="6335" y="3510"/>
                </a:lnTo>
                <a:lnTo>
                  <a:pt x="6343" y="3517"/>
                </a:lnTo>
                <a:lnTo>
                  <a:pt x="6352" y="3522"/>
                </a:lnTo>
                <a:lnTo>
                  <a:pt x="6361" y="3525"/>
                </a:lnTo>
                <a:lnTo>
                  <a:pt x="6371" y="3528"/>
                </a:lnTo>
                <a:lnTo>
                  <a:pt x="6381" y="3530"/>
                </a:lnTo>
                <a:lnTo>
                  <a:pt x="6386" y="3530"/>
                </a:lnTo>
                <a:lnTo>
                  <a:pt x="6392" y="3530"/>
                </a:lnTo>
                <a:lnTo>
                  <a:pt x="6403" y="3530"/>
                </a:lnTo>
                <a:lnTo>
                  <a:pt x="6413" y="3528"/>
                </a:lnTo>
                <a:lnTo>
                  <a:pt x="6423" y="3526"/>
                </a:lnTo>
                <a:lnTo>
                  <a:pt x="6433" y="3523"/>
                </a:lnTo>
                <a:lnTo>
                  <a:pt x="6442" y="3518"/>
                </a:lnTo>
                <a:lnTo>
                  <a:pt x="6452" y="3513"/>
                </a:lnTo>
                <a:lnTo>
                  <a:pt x="6460" y="3507"/>
                </a:lnTo>
                <a:lnTo>
                  <a:pt x="6469" y="3500"/>
                </a:lnTo>
                <a:lnTo>
                  <a:pt x="6477" y="3493"/>
                </a:lnTo>
                <a:lnTo>
                  <a:pt x="6484" y="3485"/>
                </a:lnTo>
                <a:lnTo>
                  <a:pt x="6492" y="3476"/>
                </a:lnTo>
                <a:lnTo>
                  <a:pt x="6499" y="3467"/>
                </a:lnTo>
                <a:lnTo>
                  <a:pt x="6512" y="3447"/>
                </a:lnTo>
                <a:lnTo>
                  <a:pt x="6518" y="3437"/>
                </a:lnTo>
                <a:lnTo>
                  <a:pt x="6524" y="3426"/>
                </a:lnTo>
                <a:lnTo>
                  <a:pt x="6529" y="3415"/>
                </a:lnTo>
                <a:lnTo>
                  <a:pt x="6534" y="3404"/>
                </a:lnTo>
                <a:lnTo>
                  <a:pt x="6538" y="3392"/>
                </a:lnTo>
                <a:lnTo>
                  <a:pt x="6543" y="3379"/>
                </a:lnTo>
                <a:lnTo>
                  <a:pt x="6546" y="3367"/>
                </a:lnTo>
                <a:lnTo>
                  <a:pt x="6550" y="3355"/>
                </a:lnTo>
                <a:lnTo>
                  <a:pt x="6553" y="3343"/>
                </a:lnTo>
                <a:lnTo>
                  <a:pt x="6555" y="3330"/>
                </a:lnTo>
                <a:lnTo>
                  <a:pt x="6558" y="3318"/>
                </a:lnTo>
                <a:lnTo>
                  <a:pt x="6559" y="3307"/>
                </a:lnTo>
                <a:lnTo>
                  <a:pt x="6561" y="3295"/>
                </a:lnTo>
                <a:lnTo>
                  <a:pt x="6562" y="3283"/>
                </a:lnTo>
                <a:lnTo>
                  <a:pt x="6563" y="3272"/>
                </a:lnTo>
                <a:lnTo>
                  <a:pt x="6563" y="3260"/>
                </a:lnTo>
                <a:lnTo>
                  <a:pt x="6563" y="3249"/>
                </a:lnTo>
                <a:lnTo>
                  <a:pt x="6562" y="3239"/>
                </a:lnTo>
                <a:lnTo>
                  <a:pt x="6563" y="3236"/>
                </a:lnTo>
                <a:lnTo>
                  <a:pt x="6565" y="3234"/>
                </a:lnTo>
                <a:lnTo>
                  <a:pt x="6567" y="3232"/>
                </a:lnTo>
                <a:lnTo>
                  <a:pt x="6571" y="3230"/>
                </a:lnTo>
                <a:lnTo>
                  <a:pt x="6578" y="3227"/>
                </a:lnTo>
                <a:lnTo>
                  <a:pt x="6582" y="3227"/>
                </a:lnTo>
                <a:lnTo>
                  <a:pt x="6586" y="3226"/>
                </a:lnTo>
                <a:lnTo>
                  <a:pt x="6593" y="3227"/>
                </a:lnTo>
                <a:lnTo>
                  <a:pt x="6596" y="3228"/>
                </a:lnTo>
                <a:lnTo>
                  <a:pt x="6599" y="3229"/>
                </a:lnTo>
                <a:lnTo>
                  <a:pt x="6605" y="3231"/>
                </a:lnTo>
                <a:lnTo>
                  <a:pt x="6608" y="3233"/>
                </a:lnTo>
                <a:lnTo>
                  <a:pt x="6610" y="3236"/>
                </a:lnTo>
                <a:lnTo>
                  <a:pt x="6614" y="3241"/>
                </a:lnTo>
                <a:lnTo>
                  <a:pt x="6616" y="3245"/>
                </a:lnTo>
                <a:lnTo>
                  <a:pt x="6617" y="3249"/>
                </a:lnTo>
                <a:lnTo>
                  <a:pt x="6618" y="3253"/>
                </a:lnTo>
                <a:lnTo>
                  <a:pt x="6619" y="3258"/>
                </a:lnTo>
                <a:lnTo>
                  <a:pt x="6619" y="3263"/>
                </a:lnTo>
                <a:lnTo>
                  <a:pt x="6620" y="3269"/>
                </a:lnTo>
                <a:lnTo>
                  <a:pt x="6619" y="3286"/>
                </a:lnTo>
                <a:lnTo>
                  <a:pt x="6618" y="3301"/>
                </a:lnTo>
                <a:lnTo>
                  <a:pt x="6617" y="3316"/>
                </a:lnTo>
                <a:lnTo>
                  <a:pt x="6615" y="3333"/>
                </a:lnTo>
                <a:lnTo>
                  <a:pt x="6612" y="3347"/>
                </a:lnTo>
                <a:lnTo>
                  <a:pt x="6609" y="3362"/>
                </a:lnTo>
                <a:lnTo>
                  <a:pt x="6606" y="3377"/>
                </a:lnTo>
                <a:lnTo>
                  <a:pt x="6602" y="3392"/>
                </a:lnTo>
                <a:lnTo>
                  <a:pt x="6597" y="3406"/>
                </a:lnTo>
                <a:lnTo>
                  <a:pt x="6592" y="3419"/>
                </a:lnTo>
                <a:lnTo>
                  <a:pt x="6587" y="3432"/>
                </a:lnTo>
                <a:lnTo>
                  <a:pt x="6581" y="3445"/>
                </a:lnTo>
                <a:lnTo>
                  <a:pt x="6575" y="3459"/>
                </a:lnTo>
                <a:lnTo>
                  <a:pt x="6568" y="3471"/>
                </a:lnTo>
                <a:lnTo>
                  <a:pt x="6561" y="3482"/>
                </a:lnTo>
                <a:lnTo>
                  <a:pt x="6554" y="3493"/>
                </a:lnTo>
                <a:lnTo>
                  <a:pt x="6546" y="3504"/>
                </a:lnTo>
                <a:lnTo>
                  <a:pt x="6538" y="3515"/>
                </a:lnTo>
                <a:lnTo>
                  <a:pt x="6530" y="3525"/>
                </a:lnTo>
                <a:lnTo>
                  <a:pt x="6521" y="3534"/>
                </a:lnTo>
                <a:lnTo>
                  <a:pt x="6512" y="3542"/>
                </a:lnTo>
                <a:lnTo>
                  <a:pt x="6501" y="3550"/>
                </a:lnTo>
                <a:lnTo>
                  <a:pt x="6492" y="3557"/>
                </a:lnTo>
                <a:lnTo>
                  <a:pt x="6482" y="3564"/>
                </a:lnTo>
                <a:lnTo>
                  <a:pt x="6471" y="3570"/>
                </a:lnTo>
                <a:lnTo>
                  <a:pt x="6461" y="3576"/>
                </a:lnTo>
                <a:lnTo>
                  <a:pt x="6449" y="3580"/>
                </a:lnTo>
                <a:lnTo>
                  <a:pt x="6438" y="3584"/>
                </a:lnTo>
                <a:lnTo>
                  <a:pt x="6426" y="3587"/>
                </a:lnTo>
                <a:lnTo>
                  <a:pt x="6415" y="3589"/>
                </a:lnTo>
                <a:lnTo>
                  <a:pt x="6403" y="3590"/>
                </a:lnTo>
                <a:lnTo>
                  <a:pt x="6389" y="3591"/>
                </a:lnTo>
                <a:close/>
                <a:moveTo>
                  <a:pt x="6777" y="3585"/>
                </a:moveTo>
                <a:lnTo>
                  <a:pt x="6775" y="3585"/>
                </a:lnTo>
                <a:lnTo>
                  <a:pt x="6773" y="3584"/>
                </a:lnTo>
                <a:lnTo>
                  <a:pt x="6768" y="3581"/>
                </a:lnTo>
                <a:lnTo>
                  <a:pt x="6761" y="3577"/>
                </a:lnTo>
                <a:lnTo>
                  <a:pt x="6754" y="3572"/>
                </a:lnTo>
                <a:lnTo>
                  <a:pt x="6740" y="3560"/>
                </a:lnTo>
                <a:lnTo>
                  <a:pt x="6725" y="3546"/>
                </a:lnTo>
                <a:lnTo>
                  <a:pt x="6709" y="3530"/>
                </a:lnTo>
                <a:lnTo>
                  <a:pt x="6692" y="3513"/>
                </a:lnTo>
                <a:lnTo>
                  <a:pt x="6676" y="3495"/>
                </a:lnTo>
                <a:lnTo>
                  <a:pt x="6661" y="3479"/>
                </a:lnTo>
                <a:lnTo>
                  <a:pt x="6650" y="3464"/>
                </a:lnTo>
                <a:lnTo>
                  <a:pt x="6646" y="3458"/>
                </a:lnTo>
                <a:lnTo>
                  <a:pt x="6642" y="3453"/>
                </a:lnTo>
                <a:lnTo>
                  <a:pt x="6637" y="3442"/>
                </a:lnTo>
                <a:lnTo>
                  <a:pt x="6633" y="3432"/>
                </a:lnTo>
                <a:lnTo>
                  <a:pt x="6631" y="3422"/>
                </a:lnTo>
                <a:lnTo>
                  <a:pt x="6629" y="3412"/>
                </a:lnTo>
                <a:lnTo>
                  <a:pt x="6629" y="3407"/>
                </a:lnTo>
                <a:lnTo>
                  <a:pt x="6631" y="3401"/>
                </a:lnTo>
                <a:lnTo>
                  <a:pt x="6633" y="3395"/>
                </a:lnTo>
                <a:lnTo>
                  <a:pt x="6635" y="3388"/>
                </a:lnTo>
                <a:lnTo>
                  <a:pt x="6637" y="3382"/>
                </a:lnTo>
                <a:lnTo>
                  <a:pt x="6640" y="3376"/>
                </a:lnTo>
                <a:lnTo>
                  <a:pt x="6644" y="3369"/>
                </a:lnTo>
                <a:lnTo>
                  <a:pt x="6649" y="3362"/>
                </a:lnTo>
                <a:lnTo>
                  <a:pt x="6657" y="3351"/>
                </a:lnTo>
                <a:lnTo>
                  <a:pt x="6668" y="3338"/>
                </a:lnTo>
                <a:lnTo>
                  <a:pt x="6699" y="3303"/>
                </a:lnTo>
                <a:lnTo>
                  <a:pt x="6734" y="3263"/>
                </a:lnTo>
                <a:lnTo>
                  <a:pt x="6770" y="3223"/>
                </a:lnTo>
                <a:lnTo>
                  <a:pt x="6771" y="3222"/>
                </a:lnTo>
                <a:lnTo>
                  <a:pt x="6774" y="3222"/>
                </a:lnTo>
                <a:lnTo>
                  <a:pt x="6778" y="3222"/>
                </a:lnTo>
                <a:lnTo>
                  <a:pt x="6782" y="3223"/>
                </a:lnTo>
                <a:lnTo>
                  <a:pt x="6786" y="3225"/>
                </a:lnTo>
                <a:lnTo>
                  <a:pt x="6790" y="3228"/>
                </a:lnTo>
                <a:lnTo>
                  <a:pt x="6795" y="3231"/>
                </a:lnTo>
                <a:lnTo>
                  <a:pt x="6798" y="3235"/>
                </a:lnTo>
                <a:lnTo>
                  <a:pt x="6802" y="3239"/>
                </a:lnTo>
                <a:lnTo>
                  <a:pt x="6805" y="3244"/>
                </a:lnTo>
                <a:lnTo>
                  <a:pt x="6806" y="3248"/>
                </a:lnTo>
                <a:lnTo>
                  <a:pt x="6807" y="3253"/>
                </a:lnTo>
                <a:lnTo>
                  <a:pt x="6806" y="3259"/>
                </a:lnTo>
                <a:lnTo>
                  <a:pt x="6804" y="3264"/>
                </a:lnTo>
                <a:lnTo>
                  <a:pt x="6801" y="3270"/>
                </a:lnTo>
                <a:lnTo>
                  <a:pt x="6798" y="3277"/>
                </a:lnTo>
                <a:lnTo>
                  <a:pt x="6789" y="3287"/>
                </a:lnTo>
                <a:lnTo>
                  <a:pt x="6778" y="3300"/>
                </a:lnTo>
                <a:lnTo>
                  <a:pt x="6748" y="3334"/>
                </a:lnTo>
                <a:lnTo>
                  <a:pt x="6718" y="3368"/>
                </a:lnTo>
                <a:lnTo>
                  <a:pt x="6706" y="3382"/>
                </a:lnTo>
                <a:lnTo>
                  <a:pt x="6697" y="3395"/>
                </a:lnTo>
                <a:lnTo>
                  <a:pt x="6694" y="3398"/>
                </a:lnTo>
                <a:lnTo>
                  <a:pt x="6693" y="3402"/>
                </a:lnTo>
                <a:lnTo>
                  <a:pt x="6692" y="3406"/>
                </a:lnTo>
                <a:lnTo>
                  <a:pt x="6691" y="3409"/>
                </a:lnTo>
                <a:lnTo>
                  <a:pt x="6692" y="3414"/>
                </a:lnTo>
                <a:lnTo>
                  <a:pt x="6693" y="3418"/>
                </a:lnTo>
                <a:lnTo>
                  <a:pt x="6695" y="3422"/>
                </a:lnTo>
                <a:lnTo>
                  <a:pt x="6698" y="3427"/>
                </a:lnTo>
                <a:lnTo>
                  <a:pt x="6706" y="3436"/>
                </a:lnTo>
                <a:lnTo>
                  <a:pt x="6716" y="3448"/>
                </a:lnTo>
                <a:lnTo>
                  <a:pt x="6743" y="3478"/>
                </a:lnTo>
                <a:lnTo>
                  <a:pt x="6776" y="3510"/>
                </a:lnTo>
                <a:lnTo>
                  <a:pt x="6807" y="3541"/>
                </a:lnTo>
                <a:lnTo>
                  <a:pt x="6809" y="3543"/>
                </a:lnTo>
                <a:lnTo>
                  <a:pt x="6811" y="3545"/>
                </a:lnTo>
                <a:lnTo>
                  <a:pt x="6812" y="3548"/>
                </a:lnTo>
                <a:lnTo>
                  <a:pt x="6813" y="3550"/>
                </a:lnTo>
                <a:lnTo>
                  <a:pt x="6812" y="3556"/>
                </a:lnTo>
                <a:lnTo>
                  <a:pt x="6811" y="3559"/>
                </a:lnTo>
                <a:lnTo>
                  <a:pt x="6808" y="3561"/>
                </a:lnTo>
                <a:lnTo>
                  <a:pt x="6805" y="3567"/>
                </a:lnTo>
                <a:lnTo>
                  <a:pt x="6803" y="3570"/>
                </a:lnTo>
                <a:lnTo>
                  <a:pt x="6800" y="3573"/>
                </a:lnTo>
                <a:lnTo>
                  <a:pt x="6795" y="3578"/>
                </a:lnTo>
                <a:lnTo>
                  <a:pt x="6792" y="3580"/>
                </a:lnTo>
                <a:lnTo>
                  <a:pt x="6789" y="3582"/>
                </a:lnTo>
                <a:lnTo>
                  <a:pt x="6783" y="3584"/>
                </a:lnTo>
                <a:lnTo>
                  <a:pt x="6780" y="3585"/>
                </a:lnTo>
                <a:lnTo>
                  <a:pt x="6777" y="3585"/>
                </a:lnTo>
                <a:close/>
                <a:moveTo>
                  <a:pt x="6556" y="4321"/>
                </a:moveTo>
                <a:lnTo>
                  <a:pt x="6560" y="4298"/>
                </a:lnTo>
                <a:lnTo>
                  <a:pt x="6562" y="4275"/>
                </a:lnTo>
                <a:lnTo>
                  <a:pt x="6563" y="4253"/>
                </a:lnTo>
                <a:lnTo>
                  <a:pt x="6563" y="4243"/>
                </a:lnTo>
                <a:lnTo>
                  <a:pt x="6562" y="4233"/>
                </a:lnTo>
                <a:lnTo>
                  <a:pt x="6563" y="4229"/>
                </a:lnTo>
                <a:lnTo>
                  <a:pt x="6565" y="4227"/>
                </a:lnTo>
                <a:lnTo>
                  <a:pt x="6567" y="4225"/>
                </a:lnTo>
                <a:lnTo>
                  <a:pt x="6571" y="4223"/>
                </a:lnTo>
                <a:lnTo>
                  <a:pt x="6578" y="4221"/>
                </a:lnTo>
                <a:lnTo>
                  <a:pt x="6582" y="4220"/>
                </a:lnTo>
                <a:lnTo>
                  <a:pt x="6586" y="4220"/>
                </a:lnTo>
                <a:lnTo>
                  <a:pt x="6593" y="4220"/>
                </a:lnTo>
                <a:lnTo>
                  <a:pt x="6596" y="4221"/>
                </a:lnTo>
                <a:lnTo>
                  <a:pt x="6599" y="4222"/>
                </a:lnTo>
                <a:lnTo>
                  <a:pt x="6605" y="4225"/>
                </a:lnTo>
                <a:lnTo>
                  <a:pt x="6608" y="4227"/>
                </a:lnTo>
                <a:lnTo>
                  <a:pt x="6610" y="4229"/>
                </a:lnTo>
                <a:lnTo>
                  <a:pt x="6614" y="4236"/>
                </a:lnTo>
                <a:lnTo>
                  <a:pt x="6616" y="4239"/>
                </a:lnTo>
                <a:lnTo>
                  <a:pt x="6617" y="4243"/>
                </a:lnTo>
                <a:lnTo>
                  <a:pt x="6618" y="4247"/>
                </a:lnTo>
                <a:lnTo>
                  <a:pt x="6619" y="4252"/>
                </a:lnTo>
                <a:lnTo>
                  <a:pt x="6619" y="4258"/>
                </a:lnTo>
                <a:lnTo>
                  <a:pt x="6620" y="4263"/>
                </a:lnTo>
                <a:lnTo>
                  <a:pt x="6619" y="4278"/>
                </a:lnTo>
                <a:lnTo>
                  <a:pt x="6618" y="4293"/>
                </a:lnTo>
                <a:lnTo>
                  <a:pt x="6615" y="4321"/>
                </a:lnTo>
                <a:lnTo>
                  <a:pt x="6556" y="4321"/>
                </a:lnTo>
                <a:close/>
                <a:moveTo>
                  <a:pt x="6255" y="4321"/>
                </a:moveTo>
                <a:lnTo>
                  <a:pt x="6257" y="4315"/>
                </a:lnTo>
                <a:lnTo>
                  <a:pt x="6260" y="4310"/>
                </a:lnTo>
                <a:lnTo>
                  <a:pt x="6266" y="4299"/>
                </a:lnTo>
                <a:lnTo>
                  <a:pt x="6273" y="4287"/>
                </a:lnTo>
                <a:lnTo>
                  <a:pt x="6280" y="4277"/>
                </a:lnTo>
                <a:lnTo>
                  <a:pt x="6287" y="4267"/>
                </a:lnTo>
                <a:lnTo>
                  <a:pt x="6296" y="4258"/>
                </a:lnTo>
                <a:lnTo>
                  <a:pt x="6300" y="4254"/>
                </a:lnTo>
                <a:lnTo>
                  <a:pt x="6304" y="4250"/>
                </a:lnTo>
                <a:lnTo>
                  <a:pt x="6313" y="4243"/>
                </a:lnTo>
                <a:lnTo>
                  <a:pt x="6318" y="4239"/>
                </a:lnTo>
                <a:lnTo>
                  <a:pt x="6322" y="4236"/>
                </a:lnTo>
                <a:lnTo>
                  <a:pt x="6333" y="4229"/>
                </a:lnTo>
                <a:lnTo>
                  <a:pt x="6338" y="4226"/>
                </a:lnTo>
                <a:lnTo>
                  <a:pt x="6343" y="4223"/>
                </a:lnTo>
                <a:lnTo>
                  <a:pt x="6354" y="4219"/>
                </a:lnTo>
                <a:lnTo>
                  <a:pt x="6365" y="4215"/>
                </a:lnTo>
                <a:lnTo>
                  <a:pt x="6376" y="4213"/>
                </a:lnTo>
                <a:lnTo>
                  <a:pt x="6382" y="4212"/>
                </a:lnTo>
                <a:lnTo>
                  <a:pt x="6387" y="4211"/>
                </a:lnTo>
                <a:lnTo>
                  <a:pt x="6400" y="4211"/>
                </a:lnTo>
                <a:lnTo>
                  <a:pt x="6410" y="4211"/>
                </a:lnTo>
                <a:lnTo>
                  <a:pt x="6415" y="4212"/>
                </a:lnTo>
                <a:lnTo>
                  <a:pt x="6420" y="4213"/>
                </a:lnTo>
                <a:lnTo>
                  <a:pt x="6424" y="4214"/>
                </a:lnTo>
                <a:lnTo>
                  <a:pt x="6429" y="4215"/>
                </a:lnTo>
                <a:lnTo>
                  <a:pt x="6437" y="4218"/>
                </a:lnTo>
                <a:lnTo>
                  <a:pt x="6445" y="4222"/>
                </a:lnTo>
                <a:lnTo>
                  <a:pt x="6454" y="4226"/>
                </a:lnTo>
                <a:lnTo>
                  <a:pt x="6460" y="4233"/>
                </a:lnTo>
                <a:lnTo>
                  <a:pt x="6466" y="4239"/>
                </a:lnTo>
                <a:lnTo>
                  <a:pt x="6469" y="4242"/>
                </a:lnTo>
                <a:lnTo>
                  <a:pt x="6472" y="4245"/>
                </a:lnTo>
                <a:lnTo>
                  <a:pt x="6476" y="4253"/>
                </a:lnTo>
                <a:lnTo>
                  <a:pt x="6480" y="4260"/>
                </a:lnTo>
                <a:lnTo>
                  <a:pt x="6484" y="4269"/>
                </a:lnTo>
                <a:lnTo>
                  <a:pt x="6486" y="4277"/>
                </a:lnTo>
                <a:lnTo>
                  <a:pt x="6488" y="4287"/>
                </a:lnTo>
                <a:lnTo>
                  <a:pt x="6489" y="4297"/>
                </a:lnTo>
                <a:lnTo>
                  <a:pt x="6490" y="4307"/>
                </a:lnTo>
                <a:lnTo>
                  <a:pt x="6490" y="4314"/>
                </a:lnTo>
                <a:lnTo>
                  <a:pt x="6489" y="4321"/>
                </a:lnTo>
                <a:lnTo>
                  <a:pt x="6432" y="4321"/>
                </a:lnTo>
                <a:lnTo>
                  <a:pt x="6434" y="4316"/>
                </a:lnTo>
                <a:lnTo>
                  <a:pt x="6435" y="4310"/>
                </a:lnTo>
                <a:lnTo>
                  <a:pt x="6436" y="4305"/>
                </a:lnTo>
                <a:lnTo>
                  <a:pt x="6436" y="4299"/>
                </a:lnTo>
                <a:lnTo>
                  <a:pt x="6436" y="4290"/>
                </a:lnTo>
                <a:lnTo>
                  <a:pt x="6434" y="4283"/>
                </a:lnTo>
                <a:lnTo>
                  <a:pt x="6432" y="4280"/>
                </a:lnTo>
                <a:lnTo>
                  <a:pt x="6430" y="4277"/>
                </a:lnTo>
                <a:lnTo>
                  <a:pt x="6428" y="4274"/>
                </a:lnTo>
                <a:lnTo>
                  <a:pt x="6426" y="4271"/>
                </a:lnTo>
                <a:lnTo>
                  <a:pt x="6420" y="4267"/>
                </a:lnTo>
                <a:lnTo>
                  <a:pt x="6417" y="4265"/>
                </a:lnTo>
                <a:lnTo>
                  <a:pt x="6413" y="4264"/>
                </a:lnTo>
                <a:lnTo>
                  <a:pt x="6405" y="4262"/>
                </a:lnTo>
                <a:lnTo>
                  <a:pt x="6401" y="4262"/>
                </a:lnTo>
                <a:lnTo>
                  <a:pt x="6396" y="4261"/>
                </a:lnTo>
                <a:lnTo>
                  <a:pt x="6391" y="4262"/>
                </a:lnTo>
                <a:lnTo>
                  <a:pt x="6384" y="4263"/>
                </a:lnTo>
                <a:lnTo>
                  <a:pt x="6374" y="4266"/>
                </a:lnTo>
                <a:lnTo>
                  <a:pt x="6368" y="4268"/>
                </a:lnTo>
                <a:lnTo>
                  <a:pt x="6363" y="4271"/>
                </a:lnTo>
                <a:lnTo>
                  <a:pt x="6353" y="4278"/>
                </a:lnTo>
                <a:lnTo>
                  <a:pt x="6348" y="4282"/>
                </a:lnTo>
                <a:lnTo>
                  <a:pt x="6343" y="4286"/>
                </a:lnTo>
                <a:lnTo>
                  <a:pt x="6338" y="4292"/>
                </a:lnTo>
                <a:lnTo>
                  <a:pt x="6333" y="4297"/>
                </a:lnTo>
                <a:lnTo>
                  <a:pt x="6323" y="4308"/>
                </a:lnTo>
                <a:lnTo>
                  <a:pt x="6315" y="4321"/>
                </a:lnTo>
                <a:lnTo>
                  <a:pt x="6255" y="4321"/>
                </a:lnTo>
                <a:close/>
                <a:moveTo>
                  <a:pt x="6677" y="4321"/>
                </a:moveTo>
                <a:lnTo>
                  <a:pt x="6721" y="4271"/>
                </a:lnTo>
                <a:lnTo>
                  <a:pt x="6745" y="4244"/>
                </a:lnTo>
                <a:lnTo>
                  <a:pt x="6770" y="4216"/>
                </a:lnTo>
                <a:lnTo>
                  <a:pt x="6771" y="4216"/>
                </a:lnTo>
                <a:lnTo>
                  <a:pt x="6774" y="4215"/>
                </a:lnTo>
                <a:lnTo>
                  <a:pt x="6778" y="4216"/>
                </a:lnTo>
                <a:lnTo>
                  <a:pt x="6782" y="4217"/>
                </a:lnTo>
                <a:lnTo>
                  <a:pt x="6786" y="4219"/>
                </a:lnTo>
                <a:lnTo>
                  <a:pt x="6790" y="4221"/>
                </a:lnTo>
                <a:lnTo>
                  <a:pt x="6795" y="4224"/>
                </a:lnTo>
                <a:lnTo>
                  <a:pt x="6798" y="4228"/>
                </a:lnTo>
                <a:lnTo>
                  <a:pt x="6802" y="4233"/>
                </a:lnTo>
                <a:lnTo>
                  <a:pt x="6805" y="4238"/>
                </a:lnTo>
                <a:lnTo>
                  <a:pt x="6806" y="4243"/>
                </a:lnTo>
                <a:lnTo>
                  <a:pt x="6807" y="4247"/>
                </a:lnTo>
                <a:lnTo>
                  <a:pt x="6806" y="4253"/>
                </a:lnTo>
                <a:lnTo>
                  <a:pt x="6804" y="4258"/>
                </a:lnTo>
                <a:lnTo>
                  <a:pt x="6801" y="4264"/>
                </a:lnTo>
                <a:lnTo>
                  <a:pt x="6798" y="4270"/>
                </a:lnTo>
                <a:lnTo>
                  <a:pt x="6790" y="4279"/>
                </a:lnTo>
                <a:lnTo>
                  <a:pt x="6780" y="4292"/>
                </a:lnTo>
                <a:lnTo>
                  <a:pt x="6754" y="4321"/>
                </a:lnTo>
                <a:lnTo>
                  <a:pt x="6677" y="4321"/>
                </a:lnTo>
                <a:close/>
                <a:moveTo>
                  <a:pt x="7160" y="3591"/>
                </a:moveTo>
                <a:lnTo>
                  <a:pt x="7152" y="3591"/>
                </a:lnTo>
                <a:lnTo>
                  <a:pt x="7144" y="3590"/>
                </a:lnTo>
                <a:lnTo>
                  <a:pt x="7137" y="3589"/>
                </a:lnTo>
                <a:lnTo>
                  <a:pt x="7130" y="3587"/>
                </a:lnTo>
                <a:lnTo>
                  <a:pt x="7122" y="3585"/>
                </a:lnTo>
                <a:lnTo>
                  <a:pt x="7115" y="3583"/>
                </a:lnTo>
                <a:lnTo>
                  <a:pt x="7101" y="3577"/>
                </a:lnTo>
                <a:lnTo>
                  <a:pt x="7087" y="3569"/>
                </a:lnTo>
                <a:lnTo>
                  <a:pt x="7081" y="3565"/>
                </a:lnTo>
                <a:lnTo>
                  <a:pt x="7075" y="3560"/>
                </a:lnTo>
                <a:lnTo>
                  <a:pt x="7069" y="3555"/>
                </a:lnTo>
                <a:lnTo>
                  <a:pt x="7064" y="3550"/>
                </a:lnTo>
                <a:lnTo>
                  <a:pt x="7058" y="3545"/>
                </a:lnTo>
                <a:lnTo>
                  <a:pt x="7053" y="3539"/>
                </a:lnTo>
                <a:lnTo>
                  <a:pt x="7047" y="3533"/>
                </a:lnTo>
                <a:lnTo>
                  <a:pt x="7042" y="3527"/>
                </a:lnTo>
                <a:lnTo>
                  <a:pt x="7038" y="3520"/>
                </a:lnTo>
                <a:lnTo>
                  <a:pt x="7034" y="3513"/>
                </a:lnTo>
                <a:lnTo>
                  <a:pt x="7030" y="3505"/>
                </a:lnTo>
                <a:lnTo>
                  <a:pt x="7026" y="3498"/>
                </a:lnTo>
                <a:lnTo>
                  <a:pt x="7023" y="3490"/>
                </a:lnTo>
                <a:lnTo>
                  <a:pt x="7020" y="3482"/>
                </a:lnTo>
                <a:lnTo>
                  <a:pt x="7017" y="3474"/>
                </a:lnTo>
                <a:lnTo>
                  <a:pt x="7015" y="3466"/>
                </a:lnTo>
                <a:lnTo>
                  <a:pt x="7013" y="3458"/>
                </a:lnTo>
                <a:lnTo>
                  <a:pt x="7011" y="3448"/>
                </a:lnTo>
                <a:lnTo>
                  <a:pt x="7010" y="3439"/>
                </a:lnTo>
                <a:lnTo>
                  <a:pt x="7009" y="3431"/>
                </a:lnTo>
                <a:lnTo>
                  <a:pt x="7008" y="3422"/>
                </a:lnTo>
                <a:lnTo>
                  <a:pt x="7008" y="3412"/>
                </a:lnTo>
                <a:lnTo>
                  <a:pt x="7009" y="3394"/>
                </a:lnTo>
                <a:lnTo>
                  <a:pt x="7010" y="3384"/>
                </a:lnTo>
                <a:lnTo>
                  <a:pt x="7011" y="3374"/>
                </a:lnTo>
                <a:lnTo>
                  <a:pt x="7013" y="3365"/>
                </a:lnTo>
                <a:lnTo>
                  <a:pt x="7015" y="3357"/>
                </a:lnTo>
                <a:lnTo>
                  <a:pt x="7018" y="3348"/>
                </a:lnTo>
                <a:lnTo>
                  <a:pt x="7021" y="3339"/>
                </a:lnTo>
                <a:lnTo>
                  <a:pt x="7024" y="3330"/>
                </a:lnTo>
                <a:lnTo>
                  <a:pt x="7027" y="3322"/>
                </a:lnTo>
                <a:lnTo>
                  <a:pt x="7031" y="3314"/>
                </a:lnTo>
                <a:lnTo>
                  <a:pt x="7035" y="3306"/>
                </a:lnTo>
                <a:lnTo>
                  <a:pt x="7039" y="3298"/>
                </a:lnTo>
                <a:lnTo>
                  <a:pt x="7044" y="3291"/>
                </a:lnTo>
                <a:lnTo>
                  <a:pt x="7055" y="3277"/>
                </a:lnTo>
                <a:lnTo>
                  <a:pt x="7061" y="3269"/>
                </a:lnTo>
                <a:lnTo>
                  <a:pt x="7067" y="3263"/>
                </a:lnTo>
                <a:lnTo>
                  <a:pt x="7079" y="3252"/>
                </a:lnTo>
                <a:lnTo>
                  <a:pt x="7085" y="3247"/>
                </a:lnTo>
                <a:lnTo>
                  <a:pt x="7092" y="3242"/>
                </a:lnTo>
                <a:lnTo>
                  <a:pt x="7099" y="3237"/>
                </a:lnTo>
                <a:lnTo>
                  <a:pt x="7106" y="3233"/>
                </a:lnTo>
                <a:lnTo>
                  <a:pt x="7114" y="3230"/>
                </a:lnTo>
                <a:lnTo>
                  <a:pt x="7122" y="3227"/>
                </a:lnTo>
                <a:lnTo>
                  <a:pt x="7129" y="3224"/>
                </a:lnTo>
                <a:lnTo>
                  <a:pt x="7137" y="3222"/>
                </a:lnTo>
                <a:lnTo>
                  <a:pt x="7145" y="3220"/>
                </a:lnTo>
                <a:lnTo>
                  <a:pt x="7153" y="3219"/>
                </a:lnTo>
                <a:lnTo>
                  <a:pt x="7161" y="3218"/>
                </a:lnTo>
                <a:lnTo>
                  <a:pt x="7169" y="3218"/>
                </a:lnTo>
                <a:lnTo>
                  <a:pt x="7180" y="3218"/>
                </a:lnTo>
                <a:lnTo>
                  <a:pt x="7185" y="3219"/>
                </a:lnTo>
                <a:lnTo>
                  <a:pt x="7190" y="3219"/>
                </a:lnTo>
                <a:lnTo>
                  <a:pt x="7195" y="3220"/>
                </a:lnTo>
                <a:lnTo>
                  <a:pt x="7199" y="3222"/>
                </a:lnTo>
                <a:lnTo>
                  <a:pt x="7208" y="3225"/>
                </a:lnTo>
                <a:lnTo>
                  <a:pt x="7215" y="3229"/>
                </a:lnTo>
                <a:lnTo>
                  <a:pt x="7223" y="3233"/>
                </a:lnTo>
                <a:lnTo>
                  <a:pt x="7229" y="3239"/>
                </a:lnTo>
                <a:lnTo>
                  <a:pt x="7236" y="3245"/>
                </a:lnTo>
                <a:lnTo>
                  <a:pt x="7239" y="3248"/>
                </a:lnTo>
                <a:lnTo>
                  <a:pt x="7242" y="3251"/>
                </a:lnTo>
                <a:lnTo>
                  <a:pt x="7247" y="3258"/>
                </a:lnTo>
                <a:lnTo>
                  <a:pt x="7251" y="3266"/>
                </a:lnTo>
                <a:lnTo>
                  <a:pt x="7254" y="3276"/>
                </a:lnTo>
                <a:lnTo>
                  <a:pt x="7257" y="3284"/>
                </a:lnTo>
                <a:lnTo>
                  <a:pt x="7258" y="3293"/>
                </a:lnTo>
                <a:lnTo>
                  <a:pt x="7260" y="3303"/>
                </a:lnTo>
                <a:lnTo>
                  <a:pt x="7260" y="3313"/>
                </a:lnTo>
                <a:lnTo>
                  <a:pt x="7259" y="3325"/>
                </a:lnTo>
                <a:lnTo>
                  <a:pt x="7258" y="3333"/>
                </a:lnTo>
                <a:lnTo>
                  <a:pt x="7257" y="3339"/>
                </a:lnTo>
                <a:lnTo>
                  <a:pt x="7253" y="3351"/>
                </a:lnTo>
                <a:lnTo>
                  <a:pt x="7248" y="3362"/>
                </a:lnTo>
                <a:lnTo>
                  <a:pt x="7242" y="3373"/>
                </a:lnTo>
                <a:lnTo>
                  <a:pt x="7235" y="3384"/>
                </a:lnTo>
                <a:lnTo>
                  <a:pt x="7231" y="3389"/>
                </a:lnTo>
                <a:lnTo>
                  <a:pt x="7225" y="3395"/>
                </a:lnTo>
                <a:lnTo>
                  <a:pt x="7216" y="3404"/>
                </a:lnTo>
                <a:lnTo>
                  <a:pt x="7206" y="3413"/>
                </a:lnTo>
                <a:lnTo>
                  <a:pt x="7201" y="3416"/>
                </a:lnTo>
                <a:lnTo>
                  <a:pt x="7195" y="3420"/>
                </a:lnTo>
                <a:lnTo>
                  <a:pt x="7184" y="3427"/>
                </a:lnTo>
                <a:lnTo>
                  <a:pt x="7172" y="3432"/>
                </a:lnTo>
                <a:lnTo>
                  <a:pt x="7159" y="3437"/>
                </a:lnTo>
                <a:lnTo>
                  <a:pt x="7153" y="3439"/>
                </a:lnTo>
                <a:lnTo>
                  <a:pt x="7147" y="3440"/>
                </a:lnTo>
                <a:lnTo>
                  <a:pt x="7141" y="3441"/>
                </a:lnTo>
                <a:lnTo>
                  <a:pt x="7135" y="3442"/>
                </a:lnTo>
                <a:lnTo>
                  <a:pt x="7122" y="3443"/>
                </a:lnTo>
                <a:lnTo>
                  <a:pt x="7117" y="3442"/>
                </a:lnTo>
                <a:lnTo>
                  <a:pt x="7112" y="3441"/>
                </a:lnTo>
                <a:lnTo>
                  <a:pt x="7106" y="3438"/>
                </a:lnTo>
                <a:lnTo>
                  <a:pt x="7104" y="3436"/>
                </a:lnTo>
                <a:lnTo>
                  <a:pt x="7102" y="3434"/>
                </a:lnTo>
                <a:lnTo>
                  <a:pt x="7099" y="3429"/>
                </a:lnTo>
                <a:lnTo>
                  <a:pt x="7097" y="3424"/>
                </a:lnTo>
                <a:lnTo>
                  <a:pt x="7096" y="3421"/>
                </a:lnTo>
                <a:lnTo>
                  <a:pt x="7095" y="3418"/>
                </a:lnTo>
                <a:lnTo>
                  <a:pt x="7095" y="3412"/>
                </a:lnTo>
                <a:lnTo>
                  <a:pt x="7095" y="3409"/>
                </a:lnTo>
                <a:lnTo>
                  <a:pt x="7095" y="3406"/>
                </a:lnTo>
                <a:lnTo>
                  <a:pt x="7096" y="3401"/>
                </a:lnTo>
                <a:lnTo>
                  <a:pt x="7097" y="3399"/>
                </a:lnTo>
                <a:lnTo>
                  <a:pt x="7099" y="3397"/>
                </a:lnTo>
                <a:lnTo>
                  <a:pt x="7100" y="3396"/>
                </a:lnTo>
                <a:lnTo>
                  <a:pt x="7102" y="3395"/>
                </a:lnTo>
                <a:lnTo>
                  <a:pt x="7114" y="3393"/>
                </a:lnTo>
                <a:lnTo>
                  <a:pt x="7124" y="3389"/>
                </a:lnTo>
                <a:lnTo>
                  <a:pt x="7134" y="3386"/>
                </a:lnTo>
                <a:lnTo>
                  <a:pt x="7144" y="3382"/>
                </a:lnTo>
                <a:lnTo>
                  <a:pt x="7153" y="3377"/>
                </a:lnTo>
                <a:lnTo>
                  <a:pt x="7161" y="3372"/>
                </a:lnTo>
                <a:lnTo>
                  <a:pt x="7169" y="3367"/>
                </a:lnTo>
                <a:lnTo>
                  <a:pt x="7174" y="3364"/>
                </a:lnTo>
                <a:lnTo>
                  <a:pt x="7177" y="3361"/>
                </a:lnTo>
                <a:lnTo>
                  <a:pt x="7184" y="3354"/>
                </a:lnTo>
                <a:lnTo>
                  <a:pt x="7190" y="3348"/>
                </a:lnTo>
                <a:lnTo>
                  <a:pt x="7195" y="3341"/>
                </a:lnTo>
                <a:lnTo>
                  <a:pt x="7199" y="3334"/>
                </a:lnTo>
                <a:lnTo>
                  <a:pt x="7202" y="3326"/>
                </a:lnTo>
                <a:lnTo>
                  <a:pt x="7205" y="3319"/>
                </a:lnTo>
                <a:lnTo>
                  <a:pt x="7206" y="3312"/>
                </a:lnTo>
                <a:lnTo>
                  <a:pt x="7207" y="3305"/>
                </a:lnTo>
                <a:lnTo>
                  <a:pt x="7206" y="3297"/>
                </a:lnTo>
                <a:lnTo>
                  <a:pt x="7204" y="3290"/>
                </a:lnTo>
                <a:lnTo>
                  <a:pt x="7202" y="3286"/>
                </a:lnTo>
                <a:lnTo>
                  <a:pt x="7200" y="3283"/>
                </a:lnTo>
                <a:lnTo>
                  <a:pt x="7198" y="3281"/>
                </a:lnTo>
                <a:lnTo>
                  <a:pt x="7196" y="3278"/>
                </a:lnTo>
                <a:lnTo>
                  <a:pt x="7190" y="3274"/>
                </a:lnTo>
                <a:lnTo>
                  <a:pt x="7187" y="3272"/>
                </a:lnTo>
                <a:lnTo>
                  <a:pt x="7183" y="3270"/>
                </a:lnTo>
                <a:lnTo>
                  <a:pt x="7175" y="3268"/>
                </a:lnTo>
                <a:lnTo>
                  <a:pt x="7171" y="3267"/>
                </a:lnTo>
                <a:lnTo>
                  <a:pt x="7165" y="3267"/>
                </a:lnTo>
                <a:lnTo>
                  <a:pt x="7157" y="3268"/>
                </a:lnTo>
                <a:lnTo>
                  <a:pt x="7152" y="3269"/>
                </a:lnTo>
                <a:lnTo>
                  <a:pt x="7148" y="3270"/>
                </a:lnTo>
                <a:lnTo>
                  <a:pt x="7143" y="3273"/>
                </a:lnTo>
                <a:lnTo>
                  <a:pt x="7139" y="3275"/>
                </a:lnTo>
                <a:lnTo>
                  <a:pt x="7134" y="3277"/>
                </a:lnTo>
                <a:lnTo>
                  <a:pt x="7130" y="3279"/>
                </a:lnTo>
                <a:lnTo>
                  <a:pt x="7126" y="3282"/>
                </a:lnTo>
                <a:lnTo>
                  <a:pt x="7122" y="3285"/>
                </a:lnTo>
                <a:lnTo>
                  <a:pt x="7113" y="3292"/>
                </a:lnTo>
                <a:lnTo>
                  <a:pt x="7104" y="3300"/>
                </a:lnTo>
                <a:lnTo>
                  <a:pt x="7097" y="3309"/>
                </a:lnTo>
                <a:lnTo>
                  <a:pt x="7094" y="3314"/>
                </a:lnTo>
                <a:lnTo>
                  <a:pt x="7090" y="3319"/>
                </a:lnTo>
                <a:lnTo>
                  <a:pt x="7084" y="3330"/>
                </a:lnTo>
                <a:lnTo>
                  <a:pt x="7078" y="3343"/>
                </a:lnTo>
                <a:lnTo>
                  <a:pt x="7074" y="3355"/>
                </a:lnTo>
                <a:lnTo>
                  <a:pt x="7070" y="3368"/>
                </a:lnTo>
                <a:lnTo>
                  <a:pt x="7067" y="3381"/>
                </a:lnTo>
                <a:lnTo>
                  <a:pt x="7065" y="3396"/>
                </a:lnTo>
                <a:lnTo>
                  <a:pt x="7065" y="3403"/>
                </a:lnTo>
                <a:lnTo>
                  <a:pt x="7065" y="3410"/>
                </a:lnTo>
                <a:lnTo>
                  <a:pt x="7065" y="3423"/>
                </a:lnTo>
                <a:lnTo>
                  <a:pt x="7066" y="3435"/>
                </a:lnTo>
                <a:lnTo>
                  <a:pt x="7069" y="3446"/>
                </a:lnTo>
                <a:lnTo>
                  <a:pt x="7070" y="3453"/>
                </a:lnTo>
                <a:lnTo>
                  <a:pt x="7072" y="3458"/>
                </a:lnTo>
                <a:lnTo>
                  <a:pt x="7075" y="3469"/>
                </a:lnTo>
                <a:lnTo>
                  <a:pt x="7077" y="3474"/>
                </a:lnTo>
                <a:lnTo>
                  <a:pt x="7080" y="3479"/>
                </a:lnTo>
                <a:lnTo>
                  <a:pt x="7082" y="3483"/>
                </a:lnTo>
                <a:lnTo>
                  <a:pt x="7085" y="3488"/>
                </a:lnTo>
                <a:lnTo>
                  <a:pt x="7088" y="3492"/>
                </a:lnTo>
                <a:lnTo>
                  <a:pt x="7091" y="3496"/>
                </a:lnTo>
                <a:lnTo>
                  <a:pt x="7094" y="3500"/>
                </a:lnTo>
                <a:lnTo>
                  <a:pt x="7097" y="3503"/>
                </a:lnTo>
                <a:lnTo>
                  <a:pt x="7105" y="3510"/>
                </a:lnTo>
                <a:lnTo>
                  <a:pt x="7114" y="3517"/>
                </a:lnTo>
                <a:lnTo>
                  <a:pt x="7122" y="3522"/>
                </a:lnTo>
                <a:lnTo>
                  <a:pt x="7131" y="3525"/>
                </a:lnTo>
                <a:lnTo>
                  <a:pt x="7141" y="3528"/>
                </a:lnTo>
                <a:lnTo>
                  <a:pt x="7151" y="3530"/>
                </a:lnTo>
                <a:lnTo>
                  <a:pt x="7156" y="3530"/>
                </a:lnTo>
                <a:lnTo>
                  <a:pt x="7162" y="3530"/>
                </a:lnTo>
                <a:lnTo>
                  <a:pt x="7173" y="3530"/>
                </a:lnTo>
                <a:lnTo>
                  <a:pt x="7183" y="3528"/>
                </a:lnTo>
                <a:lnTo>
                  <a:pt x="7193" y="3526"/>
                </a:lnTo>
                <a:lnTo>
                  <a:pt x="7203" y="3523"/>
                </a:lnTo>
                <a:lnTo>
                  <a:pt x="7212" y="3518"/>
                </a:lnTo>
                <a:lnTo>
                  <a:pt x="7221" y="3513"/>
                </a:lnTo>
                <a:lnTo>
                  <a:pt x="7231" y="3507"/>
                </a:lnTo>
                <a:lnTo>
                  <a:pt x="7239" y="3500"/>
                </a:lnTo>
                <a:lnTo>
                  <a:pt x="7247" y="3493"/>
                </a:lnTo>
                <a:lnTo>
                  <a:pt x="7254" y="3485"/>
                </a:lnTo>
                <a:lnTo>
                  <a:pt x="7262" y="3476"/>
                </a:lnTo>
                <a:lnTo>
                  <a:pt x="7269" y="3467"/>
                </a:lnTo>
                <a:lnTo>
                  <a:pt x="7282" y="3447"/>
                </a:lnTo>
                <a:lnTo>
                  <a:pt x="7288" y="3437"/>
                </a:lnTo>
                <a:lnTo>
                  <a:pt x="7294" y="3426"/>
                </a:lnTo>
                <a:lnTo>
                  <a:pt x="7299" y="3415"/>
                </a:lnTo>
                <a:lnTo>
                  <a:pt x="7304" y="3404"/>
                </a:lnTo>
                <a:lnTo>
                  <a:pt x="7309" y="3392"/>
                </a:lnTo>
                <a:lnTo>
                  <a:pt x="7313" y="3379"/>
                </a:lnTo>
                <a:lnTo>
                  <a:pt x="7317" y="3367"/>
                </a:lnTo>
                <a:lnTo>
                  <a:pt x="7320" y="3355"/>
                </a:lnTo>
                <a:lnTo>
                  <a:pt x="7323" y="3343"/>
                </a:lnTo>
                <a:lnTo>
                  <a:pt x="7326" y="3330"/>
                </a:lnTo>
                <a:lnTo>
                  <a:pt x="7328" y="3318"/>
                </a:lnTo>
                <a:lnTo>
                  <a:pt x="7330" y="3307"/>
                </a:lnTo>
                <a:lnTo>
                  <a:pt x="7331" y="3295"/>
                </a:lnTo>
                <a:lnTo>
                  <a:pt x="7332" y="3283"/>
                </a:lnTo>
                <a:lnTo>
                  <a:pt x="7333" y="3272"/>
                </a:lnTo>
                <a:lnTo>
                  <a:pt x="7333" y="3260"/>
                </a:lnTo>
                <a:lnTo>
                  <a:pt x="7333" y="3249"/>
                </a:lnTo>
                <a:lnTo>
                  <a:pt x="7333" y="3239"/>
                </a:lnTo>
                <a:lnTo>
                  <a:pt x="7334" y="3236"/>
                </a:lnTo>
                <a:lnTo>
                  <a:pt x="7335" y="3234"/>
                </a:lnTo>
                <a:lnTo>
                  <a:pt x="7337" y="3232"/>
                </a:lnTo>
                <a:lnTo>
                  <a:pt x="7340" y="3230"/>
                </a:lnTo>
                <a:lnTo>
                  <a:pt x="7347" y="3227"/>
                </a:lnTo>
                <a:lnTo>
                  <a:pt x="7352" y="3227"/>
                </a:lnTo>
                <a:lnTo>
                  <a:pt x="7356" y="3226"/>
                </a:lnTo>
                <a:lnTo>
                  <a:pt x="7363" y="3227"/>
                </a:lnTo>
                <a:lnTo>
                  <a:pt x="7366" y="3228"/>
                </a:lnTo>
                <a:lnTo>
                  <a:pt x="7370" y="3229"/>
                </a:lnTo>
                <a:lnTo>
                  <a:pt x="7375" y="3231"/>
                </a:lnTo>
                <a:lnTo>
                  <a:pt x="7378" y="3233"/>
                </a:lnTo>
                <a:lnTo>
                  <a:pt x="7380" y="3236"/>
                </a:lnTo>
                <a:lnTo>
                  <a:pt x="7384" y="3241"/>
                </a:lnTo>
                <a:lnTo>
                  <a:pt x="7386" y="3245"/>
                </a:lnTo>
                <a:lnTo>
                  <a:pt x="7387" y="3249"/>
                </a:lnTo>
                <a:lnTo>
                  <a:pt x="7388" y="3253"/>
                </a:lnTo>
                <a:lnTo>
                  <a:pt x="7389" y="3258"/>
                </a:lnTo>
                <a:lnTo>
                  <a:pt x="7390" y="3263"/>
                </a:lnTo>
                <a:lnTo>
                  <a:pt x="7390" y="3269"/>
                </a:lnTo>
                <a:lnTo>
                  <a:pt x="7389" y="3286"/>
                </a:lnTo>
                <a:lnTo>
                  <a:pt x="7388" y="3301"/>
                </a:lnTo>
                <a:lnTo>
                  <a:pt x="7387" y="3316"/>
                </a:lnTo>
                <a:lnTo>
                  <a:pt x="7385" y="3333"/>
                </a:lnTo>
                <a:lnTo>
                  <a:pt x="7382" y="3347"/>
                </a:lnTo>
                <a:lnTo>
                  <a:pt x="7379" y="3362"/>
                </a:lnTo>
                <a:lnTo>
                  <a:pt x="7376" y="3377"/>
                </a:lnTo>
                <a:lnTo>
                  <a:pt x="7372" y="3392"/>
                </a:lnTo>
                <a:lnTo>
                  <a:pt x="7367" y="3406"/>
                </a:lnTo>
                <a:lnTo>
                  <a:pt x="7363" y="3419"/>
                </a:lnTo>
                <a:lnTo>
                  <a:pt x="7357" y="3432"/>
                </a:lnTo>
                <a:lnTo>
                  <a:pt x="7352" y="3445"/>
                </a:lnTo>
                <a:lnTo>
                  <a:pt x="7345" y="3459"/>
                </a:lnTo>
                <a:lnTo>
                  <a:pt x="7338" y="3471"/>
                </a:lnTo>
                <a:lnTo>
                  <a:pt x="7331" y="3482"/>
                </a:lnTo>
                <a:lnTo>
                  <a:pt x="7324" y="3493"/>
                </a:lnTo>
                <a:lnTo>
                  <a:pt x="7316" y="3504"/>
                </a:lnTo>
                <a:lnTo>
                  <a:pt x="7308" y="3515"/>
                </a:lnTo>
                <a:lnTo>
                  <a:pt x="7300" y="3525"/>
                </a:lnTo>
                <a:lnTo>
                  <a:pt x="7291" y="3534"/>
                </a:lnTo>
                <a:lnTo>
                  <a:pt x="7281" y="3542"/>
                </a:lnTo>
                <a:lnTo>
                  <a:pt x="7272" y="3550"/>
                </a:lnTo>
                <a:lnTo>
                  <a:pt x="7262" y="3557"/>
                </a:lnTo>
                <a:lnTo>
                  <a:pt x="7252" y="3564"/>
                </a:lnTo>
                <a:lnTo>
                  <a:pt x="7242" y="3570"/>
                </a:lnTo>
                <a:lnTo>
                  <a:pt x="7231" y="3576"/>
                </a:lnTo>
                <a:lnTo>
                  <a:pt x="7219" y="3580"/>
                </a:lnTo>
                <a:lnTo>
                  <a:pt x="7208" y="3584"/>
                </a:lnTo>
                <a:lnTo>
                  <a:pt x="7196" y="3587"/>
                </a:lnTo>
                <a:lnTo>
                  <a:pt x="7185" y="3589"/>
                </a:lnTo>
                <a:lnTo>
                  <a:pt x="7173" y="3590"/>
                </a:lnTo>
                <a:lnTo>
                  <a:pt x="7160" y="3591"/>
                </a:lnTo>
                <a:close/>
                <a:moveTo>
                  <a:pt x="7547" y="3585"/>
                </a:moveTo>
                <a:lnTo>
                  <a:pt x="7546" y="3585"/>
                </a:lnTo>
                <a:lnTo>
                  <a:pt x="7543" y="3584"/>
                </a:lnTo>
                <a:lnTo>
                  <a:pt x="7538" y="3581"/>
                </a:lnTo>
                <a:lnTo>
                  <a:pt x="7532" y="3577"/>
                </a:lnTo>
                <a:lnTo>
                  <a:pt x="7523" y="3572"/>
                </a:lnTo>
                <a:lnTo>
                  <a:pt x="7511" y="3560"/>
                </a:lnTo>
                <a:lnTo>
                  <a:pt x="7496" y="3546"/>
                </a:lnTo>
                <a:lnTo>
                  <a:pt x="7479" y="3530"/>
                </a:lnTo>
                <a:lnTo>
                  <a:pt x="7462" y="3513"/>
                </a:lnTo>
                <a:lnTo>
                  <a:pt x="7446" y="3495"/>
                </a:lnTo>
                <a:lnTo>
                  <a:pt x="7432" y="3479"/>
                </a:lnTo>
                <a:lnTo>
                  <a:pt x="7420" y="3464"/>
                </a:lnTo>
                <a:lnTo>
                  <a:pt x="7416" y="3458"/>
                </a:lnTo>
                <a:lnTo>
                  <a:pt x="7413" y="3453"/>
                </a:lnTo>
                <a:lnTo>
                  <a:pt x="7406" y="3442"/>
                </a:lnTo>
                <a:lnTo>
                  <a:pt x="7403" y="3432"/>
                </a:lnTo>
                <a:lnTo>
                  <a:pt x="7400" y="3422"/>
                </a:lnTo>
                <a:lnTo>
                  <a:pt x="7399" y="3412"/>
                </a:lnTo>
                <a:lnTo>
                  <a:pt x="7400" y="3407"/>
                </a:lnTo>
                <a:lnTo>
                  <a:pt x="7400" y="3401"/>
                </a:lnTo>
                <a:lnTo>
                  <a:pt x="7402" y="3395"/>
                </a:lnTo>
                <a:lnTo>
                  <a:pt x="7404" y="3388"/>
                </a:lnTo>
                <a:lnTo>
                  <a:pt x="7406" y="3382"/>
                </a:lnTo>
                <a:lnTo>
                  <a:pt x="7411" y="3376"/>
                </a:lnTo>
                <a:lnTo>
                  <a:pt x="7414" y="3369"/>
                </a:lnTo>
                <a:lnTo>
                  <a:pt x="7419" y="3362"/>
                </a:lnTo>
                <a:lnTo>
                  <a:pt x="7427" y="3351"/>
                </a:lnTo>
                <a:lnTo>
                  <a:pt x="7438" y="3338"/>
                </a:lnTo>
                <a:lnTo>
                  <a:pt x="7468" y="3303"/>
                </a:lnTo>
                <a:lnTo>
                  <a:pt x="7504" y="3263"/>
                </a:lnTo>
                <a:lnTo>
                  <a:pt x="7540" y="3223"/>
                </a:lnTo>
                <a:lnTo>
                  <a:pt x="7541" y="3222"/>
                </a:lnTo>
                <a:lnTo>
                  <a:pt x="7544" y="3222"/>
                </a:lnTo>
                <a:lnTo>
                  <a:pt x="7548" y="3222"/>
                </a:lnTo>
                <a:lnTo>
                  <a:pt x="7552" y="3223"/>
                </a:lnTo>
                <a:lnTo>
                  <a:pt x="7556" y="3225"/>
                </a:lnTo>
                <a:lnTo>
                  <a:pt x="7560" y="3228"/>
                </a:lnTo>
                <a:lnTo>
                  <a:pt x="7565" y="3231"/>
                </a:lnTo>
                <a:lnTo>
                  <a:pt x="7569" y="3235"/>
                </a:lnTo>
                <a:lnTo>
                  <a:pt x="7572" y="3239"/>
                </a:lnTo>
                <a:lnTo>
                  <a:pt x="7575" y="3244"/>
                </a:lnTo>
                <a:lnTo>
                  <a:pt x="7576" y="3248"/>
                </a:lnTo>
                <a:lnTo>
                  <a:pt x="7577" y="3253"/>
                </a:lnTo>
                <a:lnTo>
                  <a:pt x="7576" y="3259"/>
                </a:lnTo>
                <a:lnTo>
                  <a:pt x="7574" y="3264"/>
                </a:lnTo>
                <a:lnTo>
                  <a:pt x="7572" y="3270"/>
                </a:lnTo>
                <a:lnTo>
                  <a:pt x="7568" y="3277"/>
                </a:lnTo>
                <a:lnTo>
                  <a:pt x="7560" y="3287"/>
                </a:lnTo>
                <a:lnTo>
                  <a:pt x="7548" y="3300"/>
                </a:lnTo>
                <a:lnTo>
                  <a:pt x="7518" y="3334"/>
                </a:lnTo>
                <a:lnTo>
                  <a:pt x="7488" y="3368"/>
                </a:lnTo>
                <a:lnTo>
                  <a:pt x="7476" y="3382"/>
                </a:lnTo>
                <a:lnTo>
                  <a:pt x="7466" y="3395"/>
                </a:lnTo>
                <a:lnTo>
                  <a:pt x="7464" y="3398"/>
                </a:lnTo>
                <a:lnTo>
                  <a:pt x="7462" y="3402"/>
                </a:lnTo>
                <a:lnTo>
                  <a:pt x="7461" y="3406"/>
                </a:lnTo>
                <a:lnTo>
                  <a:pt x="7460" y="3409"/>
                </a:lnTo>
                <a:lnTo>
                  <a:pt x="7461" y="3414"/>
                </a:lnTo>
                <a:lnTo>
                  <a:pt x="7462" y="3418"/>
                </a:lnTo>
                <a:lnTo>
                  <a:pt x="7464" y="3422"/>
                </a:lnTo>
                <a:lnTo>
                  <a:pt x="7467" y="3427"/>
                </a:lnTo>
                <a:lnTo>
                  <a:pt x="7476" y="3436"/>
                </a:lnTo>
                <a:lnTo>
                  <a:pt x="7486" y="3448"/>
                </a:lnTo>
                <a:lnTo>
                  <a:pt x="7514" y="3478"/>
                </a:lnTo>
                <a:lnTo>
                  <a:pt x="7546" y="3510"/>
                </a:lnTo>
                <a:lnTo>
                  <a:pt x="7577" y="3541"/>
                </a:lnTo>
                <a:lnTo>
                  <a:pt x="7579" y="3543"/>
                </a:lnTo>
                <a:lnTo>
                  <a:pt x="7581" y="3545"/>
                </a:lnTo>
                <a:lnTo>
                  <a:pt x="7582" y="3548"/>
                </a:lnTo>
                <a:lnTo>
                  <a:pt x="7582" y="3550"/>
                </a:lnTo>
                <a:lnTo>
                  <a:pt x="7581" y="3556"/>
                </a:lnTo>
                <a:lnTo>
                  <a:pt x="7580" y="3559"/>
                </a:lnTo>
                <a:lnTo>
                  <a:pt x="7579" y="3561"/>
                </a:lnTo>
                <a:lnTo>
                  <a:pt x="7575" y="3567"/>
                </a:lnTo>
                <a:lnTo>
                  <a:pt x="7573" y="3570"/>
                </a:lnTo>
                <a:lnTo>
                  <a:pt x="7570" y="3573"/>
                </a:lnTo>
                <a:lnTo>
                  <a:pt x="7565" y="3578"/>
                </a:lnTo>
                <a:lnTo>
                  <a:pt x="7562" y="3580"/>
                </a:lnTo>
                <a:lnTo>
                  <a:pt x="7559" y="3582"/>
                </a:lnTo>
                <a:lnTo>
                  <a:pt x="7553" y="3584"/>
                </a:lnTo>
                <a:lnTo>
                  <a:pt x="7550" y="3585"/>
                </a:lnTo>
                <a:lnTo>
                  <a:pt x="7547" y="3585"/>
                </a:lnTo>
                <a:close/>
                <a:moveTo>
                  <a:pt x="7326" y="4321"/>
                </a:moveTo>
                <a:lnTo>
                  <a:pt x="7330" y="4298"/>
                </a:lnTo>
                <a:lnTo>
                  <a:pt x="7332" y="4275"/>
                </a:lnTo>
                <a:lnTo>
                  <a:pt x="7333" y="4253"/>
                </a:lnTo>
                <a:lnTo>
                  <a:pt x="7333" y="4243"/>
                </a:lnTo>
                <a:lnTo>
                  <a:pt x="7333" y="4233"/>
                </a:lnTo>
                <a:lnTo>
                  <a:pt x="7334" y="4229"/>
                </a:lnTo>
                <a:lnTo>
                  <a:pt x="7335" y="4227"/>
                </a:lnTo>
                <a:lnTo>
                  <a:pt x="7337" y="4225"/>
                </a:lnTo>
                <a:lnTo>
                  <a:pt x="7340" y="4223"/>
                </a:lnTo>
                <a:lnTo>
                  <a:pt x="7347" y="4221"/>
                </a:lnTo>
                <a:lnTo>
                  <a:pt x="7352" y="4220"/>
                </a:lnTo>
                <a:lnTo>
                  <a:pt x="7356" y="4220"/>
                </a:lnTo>
                <a:lnTo>
                  <a:pt x="7363" y="4220"/>
                </a:lnTo>
                <a:lnTo>
                  <a:pt x="7366" y="4221"/>
                </a:lnTo>
                <a:lnTo>
                  <a:pt x="7370" y="4222"/>
                </a:lnTo>
                <a:lnTo>
                  <a:pt x="7375" y="4225"/>
                </a:lnTo>
                <a:lnTo>
                  <a:pt x="7378" y="4227"/>
                </a:lnTo>
                <a:lnTo>
                  <a:pt x="7380" y="4229"/>
                </a:lnTo>
                <a:lnTo>
                  <a:pt x="7384" y="4236"/>
                </a:lnTo>
                <a:lnTo>
                  <a:pt x="7386" y="4239"/>
                </a:lnTo>
                <a:lnTo>
                  <a:pt x="7387" y="4243"/>
                </a:lnTo>
                <a:lnTo>
                  <a:pt x="7388" y="4247"/>
                </a:lnTo>
                <a:lnTo>
                  <a:pt x="7389" y="4252"/>
                </a:lnTo>
                <a:lnTo>
                  <a:pt x="7390" y="4258"/>
                </a:lnTo>
                <a:lnTo>
                  <a:pt x="7390" y="4263"/>
                </a:lnTo>
                <a:lnTo>
                  <a:pt x="7389" y="4278"/>
                </a:lnTo>
                <a:lnTo>
                  <a:pt x="7388" y="4293"/>
                </a:lnTo>
                <a:lnTo>
                  <a:pt x="7385" y="4321"/>
                </a:lnTo>
                <a:lnTo>
                  <a:pt x="7326" y="4321"/>
                </a:lnTo>
                <a:close/>
                <a:moveTo>
                  <a:pt x="7025" y="4321"/>
                </a:moveTo>
                <a:lnTo>
                  <a:pt x="7027" y="4315"/>
                </a:lnTo>
                <a:lnTo>
                  <a:pt x="7030" y="4310"/>
                </a:lnTo>
                <a:lnTo>
                  <a:pt x="7036" y="4299"/>
                </a:lnTo>
                <a:lnTo>
                  <a:pt x="7042" y="4287"/>
                </a:lnTo>
                <a:lnTo>
                  <a:pt x="7049" y="4277"/>
                </a:lnTo>
                <a:lnTo>
                  <a:pt x="7058" y="4267"/>
                </a:lnTo>
                <a:lnTo>
                  <a:pt x="7066" y="4258"/>
                </a:lnTo>
                <a:lnTo>
                  <a:pt x="7070" y="4254"/>
                </a:lnTo>
                <a:lnTo>
                  <a:pt x="7074" y="4250"/>
                </a:lnTo>
                <a:lnTo>
                  <a:pt x="7083" y="4243"/>
                </a:lnTo>
                <a:lnTo>
                  <a:pt x="7088" y="4239"/>
                </a:lnTo>
                <a:lnTo>
                  <a:pt x="7093" y="4236"/>
                </a:lnTo>
                <a:lnTo>
                  <a:pt x="7102" y="4229"/>
                </a:lnTo>
                <a:lnTo>
                  <a:pt x="7107" y="4226"/>
                </a:lnTo>
                <a:lnTo>
                  <a:pt x="7114" y="4223"/>
                </a:lnTo>
                <a:lnTo>
                  <a:pt x="7124" y="4219"/>
                </a:lnTo>
                <a:lnTo>
                  <a:pt x="7135" y="4215"/>
                </a:lnTo>
                <a:lnTo>
                  <a:pt x="7146" y="4213"/>
                </a:lnTo>
                <a:lnTo>
                  <a:pt x="7152" y="4212"/>
                </a:lnTo>
                <a:lnTo>
                  <a:pt x="7158" y="4211"/>
                </a:lnTo>
                <a:lnTo>
                  <a:pt x="7169" y="4211"/>
                </a:lnTo>
                <a:lnTo>
                  <a:pt x="7180" y="4211"/>
                </a:lnTo>
                <a:lnTo>
                  <a:pt x="7185" y="4212"/>
                </a:lnTo>
                <a:lnTo>
                  <a:pt x="7190" y="4213"/>
                </a:lnTo>
                <a:lnTo>
                  <a:pt x="7195" y="4214"/>
                </a:lnTo>
                <a:lnTo>
                  <a:pt x="7199" y="4215"/>
                </a:lnTo>
                <a:lnTo>
                  <a:pt x="7208" y="4218"/>
                </a:lnTo>
                <a:lnTo>
                  <a:pt x="7215" y="4222"/>
                </a:lnTo>
                <a:lnTo>
                  <a:pt x="7223" y="4226"/>
                </a:lnTo>
                <a:lnTo>
                  <a:pt x="7229" y="4233"/>
                </a:lnTo>
                <a:lnTo>
                  <a:pt x="7236" y="4239"/>
                </a:lnTo>
                <a:lnTo>
                  <a:pt x="7239" y="4242"/>
                </a:lnTo>
                <a:lnTo>
                  <a:pt x="7242" y="4245"/>
                </a:lnTo>
                <a:lnTo>
                  <a:pt x="7247" y="4253"/>
                </a:lnTo>
                <a:lnTo>
                  <a:pt x="7251" y="4260"/>
                </a:lnTo>
                <a:lnTo>
                  <a:pt x="7254" y="4269"/>
                </a:lnTo>
                <a:lnTo>
                  <a:pt x="7257" y="4277"/>
                </a:lnTo>
                <a:lnTo>
                  <a:pt x="7258" y="4287"/>
                </a:lnTo>
                <a:lnTo>
                  <a:pt x="7260" y="4297"/>
                </a:lnTo>
                <a:lnTo>
                  <a:pt x="7260" y="4307"/>
                </a:lnTo>
                <a:lnTo>
                  <a:pt x="7260" y="4314"/>
                </a:lnTo>
                <a:lnTo>
                  <a:pt x="7259" y="4321"/>
                </a:lnTo>
                <a:lnTo>
                  <a:pt x="7202" y="4321"/>
                </a:lnTo>
                <a:lnTo>
                  <a:pt x="7204" y="4316"/>
                </a:lnTo>
                <a:lnTo>
                  <a:pt x="7205" y="4310"/>
                </a:lnTo>
                <a:lnTo>
                  <a:pt x="7206" y="4305"/>
                </a:lnTo>
                <a:lnTo>
                  <a:pt x="7207" y="4299"/>
                </a:lnTo>
                <a:lnTo>
                  <a:pt x="7206" y="4290"/>
                </a:lnTo>
                <a:lnTo>
                  <a:pt x="7204" y="4283"/>
                </a:lnTo>
                <a:lnTo>
                  <a:pt x="7202" y="4280"/>
                </a:lnTo>
                <a:lnTo>
                  <a:pt x="7200" y="4277"/>
                </a:lnTo>
                <a:lnTo>
                  <a:pt x="7198" y="4274"/>
                </a:lnTo>
                <a:lnTo>
                  <a:pt x="7196" y="4271"/>
                </a:lnTo>
                <a:lnTo>
                  <a:pt x="7190" y="4267"/>
                </a:lnTo>
                <a:lnTo>
                  <a:pt x="7187" y="4265"/>
                </a:lnTo>
                <a:lnTo>
                  <a:pt x="7183" y="4264"/>
                </a:lnTo>
                <a:lnTo>
                  <a:pt x="7175" y="4262"/>
                </a:lnTo>
                <a:lnTo>
                  <a:pt x="7171" y="4262"/>
                </a:lnTo>
                <a:lnTo>
                  <a:pt x="7165" y="4261"/>
                </a:lnTo>
                <a:lnTo>
                  <a:pt x="7160" y="4262"/>
                </a:lnTo>
                <a:lnTo>
                  <a:pt x="7155" y="4263"/>
                </a:lnTo>
                <a:lnTo>
                  <a:pt x="7144" y="4266"/>
                </a:lnTo>
                <a:lnTo>
                  <a:pt x="7139" y="4268"/>
                </a:lnTo>
                <a:lnTo>
                  <a:pt x="7133" y="4271"/>
                </a:lnTo>
                <a:lnTo>
                  <a:pt x="7123" y="4278"/>
                </a:lnTo>
                <a:lnTo>
                  <a:pt x="7118" y="4282"/>
                </a:lnTo>
                <a:lnTo>
                  <a:pt x="7113" y="4286"/>
                </a:lnTo>
                <a:lnTo>
                  <a:pt x="7107" y="4292"/>
                </a:lnTo>
                <a:lnTo>
                  <a:pt x="7102" y="4297"/>
                </a:lnTo>
                <a:lnTo>
                  <a:pt x="7094" y="4308"/>
                </a:lnTo>
                <a:lnTo>
                  <a:pt x="7086" y="4321"/>
                </a:lnTo>
                <a:lnTo>
                  <a:pt x="7025" y="4321"/>
                </a:lnTo>
                <a:close/>
                <a:moveTo>
                  <a:pt x="7447" y="4321"/>
                </a:moveTo>
                <a:lnTo>
                  <a:pt x="7492" y="4271"/>
                </a:lnTo>
                <a:lnTo>
                  <a:pt x="7515" y="4244"/>
                </a:lnTo>
                <a:lnTo>
                  <a:pt x="7540" y="4216"/>
                </a:lnTo>
                <a:lnTo>
                  <a:pt x="7541" y="4216"/>
                </a:lnTo>
                <a:lnTo>
                  <a:pt x="7544" y="4215"/>
                </a:lnTo>
                <a:lnTo>
                  <a:pt x="7548" y="4216"/>
                </a:lnTo>
                <a:lnTo>
                  <a:pt x="7552" y="4217"/>
                </a:lnTo>
                <a:lnTo>
                  <a:pt x="7556" y="4219"/>
                </a:lnTo>
                <a:lnTo>
                  <a:pt x="7560" y="4221"/>
                </a:lnTo>
                <a:lnTo>
                  <a:pt x="7565" y="4224"/>
                </a:lnTo>
                <a:lnTo>
                  <a:pt x="7569" y="4228"/>
                </a:lnTo>
                <a:lnTo>
                  <a:pt x="7572" y="4233"/>
                </a:lnTo>
                <a:lnTo>
                  <a:pt x="7575" y="4238"/>
                </a:lnTo>
                <a:lnTo>
                  <a:pt x="7576" y="4243"/>
                </a:lnTo>
                <a:lnTo>
                  <a:pt x="7577" y="4247"/>
                </a:lnTo>
                <a:lnTo>
                  <a:pt x="7576" y="4253"/>
                </a:lnTo>
                <a:lnTo>
                  <a:pt x="7574" y="4258"/>
                </a:lnTo>
                <a:lnTo>
                  <a:pt x="7572" y="4264"/>
                </a:lnTo>
                <a:lnTo>
                  <a:pt x="7568" y="4270"/>
                </a:lnTo>
                <a:lnTo>
                  <a:pt x="7560" y="4279"/>
                </a:lnTo>
                <a:lnTo>
                  <a:pt x="7550" y="4292"/>
                </a:lnTo>
                <a:lnTo>
                  <a:pt x="7523" y="4321"/>
                </a:lnTo>
                <a:lnTo>
                  <a:pt x="7447" y="432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9EE002-4AE0-4805-839E-2D96EDC76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2478C2-335E-41C7-93F6-3024A826A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A4564-3A5C-4211-839E-79C6DF433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224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" type="titleOnly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2B7123-6566-4518-A016-A0E599497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826B42-9DDE-452B-937C-403F41B2D7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F649C5-43C6-4C48-B3AD-424D059B0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1BCC26-6117-4173-9F8D-7B6692BAFC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5399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9EE002-4AE0-4805-839E-2D96EDC76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2478C2-335E-41C7-93F6-3024A826A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A4564-3A5C-4211-839E-79C6DF433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157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logan Orange" preserve="1" userDrawn="1">
  <p:cSld name="Slogan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9EE002-4AE0-4805-839E-2D96EDC76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2478C2-335E-41C7-93F6-3024A826A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A4564-3A5C-4211-839E-79C6DF433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58E2BBB-5CA7-4E70-BA16-3CB207A92F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83633" y="2708656"/>
            <a:ext cx="2330422" cy="1512432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CB8CFF4-CBC5-414F-BE9F-6D43BB26C7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75920" y="2708275"/>
            <a:ext cx="4680520" cy="1512888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4"/>
                </a:solidFill>
                <a:latin typeface="+mj-lt"/>
              </a:defRPr>
            </a:lvl1pPr>
            <a:lvl2pPr marL="0" indent="0">
              <a:buFontTx/>
              <a:buNone/>
              <a:defRPr sz="3200"/>
            </a:lvl2pPr>
            <a:lvl3pPr marL="0" indent="0">
              <a:buFontTx/>
              <a:buNone/>
              <a:defRPr sz="1200"/>
            </a:lvl3pPr>
            <a:lvl4pPr marL="0" indent="0">
              <a:buFontTx/>
              <a:buNone/>
              <a:defRPr sz="1200"/>
            </a:lvl4pPr>
            <a:lvl5pPr marL="0" indent="0">
              <a:buFontTx/>
              <a:buNone/>
              <a:defRPr sz="1200"/>
            </a:lvl5pPr>
            <a:lvl6pPr marL="0" indent="0">
              <a:buFontTx/>
              <a:buNone/>
              <a:defRPr sz="1200"/>
            </a:lvl6pPr>
            <a:lvl7pPr marL="0" indent="0">
              <a:buFontTx/>
              <a:buNone/>
              <a:defRPr sz="1200"/>
            </a:lvl7pPr>
            <a:lvl8pPr marL="0" indent="0">
              <a:buFontTx/>
              <a:buNone/>
              <a:defRPr sz="1200"/>
            </a:lvl8pPr>
            <a:lvl9pPr marL="0" indent="0">
              <a:buFontTx/>
              <a:buNone/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41831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go Special" type="blank" preserve="1">
  <p:cSld name="Logo Special">
    <p:bg>
      <p:bgPr>
        <a:gradFill>
          <a:gsLst>
            <a:gs pos="0">
              <a:schemeClr val="accent1">
                <a:lumMod val="100000"/>
              </a:schemeClr>
            </a:gs>
            <a:gs pos="100000">
              <a:schemeClr val="accent1">
                <a:lumMod val="9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9EE002-4AE0-4805-839E-2D96EDC76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2478C2-335E-41C7-93F6-3024A826A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A4564-3A5C-4211-839E-79C6DF433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reeform 7"/>
          <p:cNvSpPr>
            <a:spLocks noChangeAspect="1" noEditPoints="1"/>
          </p:cNvSpPr>
          <p:nvPr userDrawn="1"/>
        </p:nvSpPr>
        <p:spPr bwMode="auto">
          <a:xfrm>
            <a:off x="3043240" y="2708920"/>
            <a:ext cx="6105520" cy="1440160"/>
          </a:xfrm>
          <a:custGeom>
            <a:avLst/>
            <a:gdLst>
              <a:gd name="T0" fmla="*/ 11392 w 14503"/>
              <a:gd name="T1" fmla="*/ 2705 h 3419"/>
              <a:gd name="T2" fmla="*/ 10843 w 14503"/>
              <a:gd name="T3" fmla="*/ 2592 h 3419"/>
              <a:gd name="T4" fmla="*/ 9707 w 14503"/>
              <a:gd name="T5" fmla="*/ 2691 h 3419"/>
              <a:gd name="T6" fmla="*/ 9202 w 14503"/>
              <a:gd name="T7" fmla="*/ 2718 h 3419"/>
              <a:gd name="T8" fmla="*/ 9399 w 14503"/>
              <a:gd name="T9" fmla="*/ 2534 h 3419"/>
              <a:gd name="T10" fmla="*/ 9385 w 14503"/>
              <a:gd name="T11" fmla="*/ 2134 h 3419"/>
              <a:gd name="T12" fmla="*/ 9247 w 14503"/>
              <a:gd name="T13" fmla="*/ 2352 h 3419"/>
              <a:gd name="T14" fmla="*/ 8533 w 14503"/>
              <a:gd name="T15" fmla="*/ 2712 h 3419"/>
              <a:gd name="T16" fmla="*/ 8908 w 14503"/>
              <a:gd name="T17" fmla="*/ 2713 h 3419"/>
              <a:gd name="T18" fmla="*/ 7197 w 14503"/>
              <a:gd name="T19" fmla="*/ 2618 h 3419"/>
              <a:gd name="T20" fmla="*/ 7359 w 14503"/>
              <a:gd name="T21" fmla="*/ 2469 h 3419"/>
              <a:gd name="T22" fmla="*/ 7656 w 14503"/>
              <a:gd name="T23" fmla="*/ 2305 h 3419"/>
              <a:gd name="T24" fmla="*/ 7633 w 14503"/>
              <a:gd name="T25" fmla="*/ 2433 h 3419"/>
              <a:gd name="T26" fmla="*/ 6915 w 14503"/>
              <a:gd name="T27" fmla="*/ 2263 h 3419"/>
              <a:gd name="T28" fmla="*/ 6831 w 14503"/>
              <a:gd name="T29" fmla="*/ 2727 h 3419"/>
              <a:gd name="T30" fmla="*/ 6860 w 14503"/>
              <a:gd name="T31" fmla="*/ 2119 h 3419"/>
              <a:gd name="T32" fmla="*/ 14342 w 14503"/>
              <a:gd name="T33" fmla="*/ 1111 h 3419"/>
              <a:gd name="T34" fmla="*/ 14370 w 14503"/>
              <a:gd name="T35" fmla="*/ 961 h 3419"/>
              <a:gd name="T36" fmla="*/ 13472 w 14503"/>
              <a:gd name="T37" fmla="*/ 1376 h 3419"/>
              <a:gd name="T38" fmla="*/ 13655 w 14503"/>
              <a:gd name="T39" fmla="*/ 1536 h 3419"/>
              <a:gd name="T40" fmla="*/ 13703 w 14503"/>
              <a:gd name="T41" fmla="*/ 1130 h 3419"/>
              <a:gd name="T42" fmla="*/ 13709 w 14503"/>
              <a:gd name="T43" fmla="*/ 966 h 3419"/>
              <a:gd name="T44" fmla="*/ 12952 w 14503"/>
              <a:gd name="T45" fmla="*/ 1081 h 3419"/>
              <a:gd name="T46" fmla="*/ 12525 w 14503"/>
              <a:gd name="T47" fmla="*/ 1043 h 3419"/>
              <a:gd name="T48" fmla="*/ 13193 w 14503"/>
              <a:gd name="T49" fmla="*/ 1038 h 3419"/>
              <a:gd name="T50" fmla="*/ 11928 w 14503"/>
              <a:gd name="T51" fmla="*/ 1448 h 3419"/>
              <a:gd name="T52" fmla="*/ 11865 w 14503"/>
              <a:gd name="T53" fmla="*/ 1553 h 3419"/>
              <a:gd name="T54" fmla="*/ 12022 w 14503"/>
              <a:gd name="T55" fmla="*/ 1060 h 3419"/>
              <a:gd name="T56" fmla="*/ 12198 w 14503"/>
              <a:gd name="T57" fmla="*/ 1040 h 3419"/>
              <a:gd name="T58" fmla="*/ 11580 w 14503"/>
              <a:gd name="T59" fmla="*/ 1397 h 3419"/>
              <a:gd name="T60" fmla="*/ 10924 w 14503"/>
              <a:gd name="T61" fmla="*/ 1300 h 3419"/>
              <a:gd name="T62" fmla="*/ 10999 w 14503"/>
              <a:gd name="T63" fmla="*/ 1557 h 3419"/>
              <a:gd name="T64" fmla="*/ 11144 w 14503"/>
              <a:gd name="T65" fmla="*/ 967 h 3419"/>
              <a:gd name="T66" fmla="*/ 10313 w 14503"/>
              <a:gd name="T67" fmla="*/ 1372 h 3419"/>
              <a:gd name="T68" fmla="*/ 10421 w 14503"/>
              <a:gd name="T69" fmla="*/ 1561 h 3419"/>
              <a:gd name="T70" fmla="*/ 10514 w 14503"/>
              <a:gd name="T71" fmla="*/ 967 h 3419"/>
              <a:gd name="T72" fmla="*/ 9776 w 14503"/>
              <a:gd name="T73" fmla="*/ 1082 h 3419"/>
              <a:gd name="T74" fmla="*/ 9989 w 14503"/>
              <a:gd name="T75" fmla="*/ 1025 h 3419"/>
              <a:gd name="T76" fmla="*/ 8701 w 14503"/>
              <a:gd name="T77" fmla="*/ 1199 h 3419"/>
              <a:gd name="T78" fmla="*/ 9009 w 14503"/>
              <a:gd name="T79" fmla="*/ 1500 h 3419"/>
              <a:gd name="T80" fmla="*/ 8681 w 14503"/>
              <a:gd name="T81" fmla="*/ 995 h 3419"/>
              <a:gd name="T82" fmla="*/ 7671 w 14503"/>
              <a:gd name="T83" fmla="*/ 1547 h 3419"/>
              <a:gd name="T84" fmla="*/ 7517 w 14503"/>
              <a:gd name="T85" fmla="*/ 974 h 3419"/>
              <a:gd name="T86" fmla="*/ 6773 w 14503"/>
              <a:gd name="T87" fmla="*/ 1549 h 3419"/>
              <a:gd name="T88" fmla="*/ 6490 w 14503"/>
              <a:gd name="T89" fmla="*/ 1200 h 3419"/>
              <a:gd name="T90" fmla="*/ 11483 w 14503"/>
              <a:gd name="T91" fmla="*/ 2275 h 3419"/>
              <a:gd name="T92" fmla="*/ 11930 w 14503"/>
              <a:gd name="T93" fmla="*/ 2637 h 3419"/>
              <a:gd name="T94" fmla="*/ 11807 w 14503"/>
              <a:gd name="T95" fmla="*/ 2576 h 3419"/>
              <a:gd name="T96" fmla="*/ 3702 w 14503"/>
              <a:gd name="T97" fmla="*/ 2179 h 3419"/>
              <a:gd name="T98" fmla="*/ 5043 w 14503"/>
              <a:gd name="T99" fmla="*/ 96 h 3419"/>
              <a:gd name="T100" fmla="*/ 4150 w 14503"/>
              <a:gd name="T101" fmla="*/ 1837 h 3419"/>
              <a:gd name="T102" fmla="*/ 1316 w 14503"/>
              <a:gd name="T103" fmla="*/ 3417 h 3419"/>
              <a:gd name="T104" fmla="*/ 16 w 14503"/>
              <a:gd name="T105" fmla="*/ 2039 h 3419"/>
              <a:gd name="T106" fmla="*/ 1177 w 14503"/>
              <a:gd name="T107" fmla="*/ 38 h 3419"/>
              <a:gd name="T108" fmla="*/ 2300 w 14503"/>
              <a:gd name="T109" fmla="*/ 878 h 3419"/>
              <a:gd name="T110" fmla="*/ 988 w 14503"/>
              <a:gd name="T111" fmla="*/ 2066 h 3419"/>
              <a:gd name="T112" fmla="*/ 1544 w 14503"/>
              <a:gd name="T113" fmla="*/ 1314 h 3419"/>
              <a:gd name="T114" fmla="*/ 1318 w 14503"/>
              <a:gd name="T115" fmla="*/ 478 h 3419"/>
              <a:gd name="T116" fmla="*/ 552 w 14503"/>
              <a:gd name="T117" fmla="*/ 2103 h 3419"/>
              <a:gd name="T118" fmla="*/ 1821 w 14503"/>
              <a:gd name="T119" fmla="*/ 2775 h 3419"/>
              <a:gd name="T120" fmla="*/ 2969 w 14503"/>
              <a:gd name="T121" fmla="*/ 185 h 3419"/>
              <a:gd name="T122" fmla="*/ 3355 w 14503"/>
              <a:gd name="T123" fmla="*/ 1462 h 3419"/>
              <a:gd name="T124" fmla="*/ 1720 w 14503"/>
              <a:gd name="T125" fmla="*/ 3383 h 34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503" h="3419">
                <a:moveTo>
                  <a:pt x="11272" y="2721"/>
                </a:moveTo>
                <a:lnTo>
                  <a:pt x="11231" y="2717"/>
                </a:lnTo>
                <a:lnTo>
                  <a:pt x="11196" y="2709"/>
                </a:lnTo>
                <a:lnTo>
                  <a:pt x="11180" y="2702"/>
                </a:lnTo>
                <a:lnTo>
                  <a:pt x="11166" y="2693"/>
                </a:lnTo>
                <a:lnTo>
                  <a:pt x="11153" y="2684"/>
                </a:lnTo>
                <a:lnTo>
                  <a:pt x="11141" y="2674"/>
                </a:lnTo>
                <a:lnTo>
                  <a:pt x="11131" y="2661"/>
                </a:lnTo>
                <a:lnTo>
                  <a:pt x="11122" y="2648"/>
                </a:lnTo>
                <a:lnTo>
                  <a:pt x="11108" y="2617"/>
                </a:lnTo>
                <a:lnTo>
                  <a:pt x="11100" y="2581"/>
                </a:lnTo>
                <a:lnTo>
                  <a:pt x="11098" y="2563"/>
                </a:lnTo>
                <a:lnTo>
                  <a:pt x="11097" y="2542"/>
                </a:lnTo>
                <a:lnTo>
                  <a:pt x="11097" y="2247"/>
                </a:lnTo>
                <a:lnTo>
                  <a:pt x="10992" y="2247"/>
                </a:lnTo>
                <a:lnTo>
                  <a:pt x="10992" y="2132"/>
                </a:lnTo>
                <a:lnTo>
                  <a:pt x="11097" y="2132"/>
                </a:lnTo>
                <a:lnTo>
                  <a:pt x="11097" y="1985"/>
                </a:lnTo>
                <a:lnTo>
                  <a:pt x="11236" y="1950"/>
                </a:lnTo>
                <a:lnTo>
                  <a:pt x="11236" y="2132"/>
                </a:lnTo>
                <a:lnTo>
                  <a:pt x="11383" y="2132"/>
                </a:lnTo>
                <a:lnTo>
                  <a:pt x="11383" y="2247"/>
                </a:lnTo>
                <a:lnTo>
                  <a:pt x="11236" y="2247"/>
                </a:lnTo>
                <a:lnTo>
                  <a:pt x="11236" y="2530"/>
                </a:lnTo>
                <a:lnTo>
                  <a:pt x="11237" y="2546"/>
                </a:lnTo>
                <a:lnTo>
                  <a:pt x="11241" y="2559"/>
                </a:lnTo>
                <a:lnTo>
                  <a:pt x="11245" y="2569"/>
                </a:lnTo>
                <a:lnTo>
                  <a:pt x="11253" y="2578"/>
                </a:lnTo>
                <a:lnTo>
                  <a:pt x="11261" y="2585"/>
                </a:lnTo>
                <a:lnTo>
                  <a:pt x="11272" y="2590"/>
                </a:lnTo>
                <a:lnTo>
                  <a:pt x="11286" y="2592"/>
                </a:lnTo>
                <a:lnTo>
                  <a:pt x="11302" y="2593"/>
                </a:lnTo>
                <a:lnTo>
                  <a:pt x="11343" y="2592"/>
                </a:lnTo>
                <a:lnTo>
                  <a:pt x="11392" y="2588"/>
                </a:lnTo>
                <a:lnTo>
                  <a:pt x="11392" y="2705"/>
                </a:lnTo>
                <a:lnTo>
                  <a:pt x="11362" y="2712"/>
                </a:lnTo>
                <a:lnTo>
                  <a:pt x="11333" y="2716"/>
                </a:lnTo>
                <a:lnTo>
                  <a:pt x="11303" y="2720"/>
                </a:lnTo>
                <a:lnTo>
                  <a:pt x="11272" y="2721"/>
                </a:lnTo>
                <a:close/>
                <a:moveTo>
                  <a:pt x="10830" y="2721"/>
                </a:moveTo>
                <a:lnTo>
                  <a:pt x="10789" y="2717"/>
                </a:lnTo>
                <a:lnTo>
                  <a:pt x="10753" y="2709"/>
                </a:lnTo>
                <a:lnTo>
                  <a:pt x="10738" y="2702"/>
                </a:lnTo>
                <a:lnTo>
                  <a:pt x="10722" y="2693"/>
                </a:lnTo>
                <a:lnTo>
                  <a:pt x="10710" y="2684"/>
                </a:lnTo>
                <a:lnTo>
                  <a:pt x="10698" y="2674"/>
                </a:lnTo>
                <a:lnTo>
                  <a:pt x="10688" y="2661"/>
                </a:lnTo>
                <a:lnTo>
                  <a:pt x="10679" y="2648"/>
                </a:lnTo>
                <a:lnTo>
                  <a:pt x="10666" y="2617"/>
                </a:lnTo>
                <a:lnTo>
                  <a:pt x="10657" y="2581"/>
                </a:lnTo>
                <a:lnTo>
                  <a:pt x="10655" y="2563"/>
                </a:lnTo>
                <a:lnTo>
                  <a:pt x="10655" y="2542"/>
                </a:lnTo>
                <a:lnTo>
                  <a:pt x="10655" y="2247"/>
                </a:lnTo>
                <a:lnTo>
                  <a:pt x="10549" y="2247"/>
                </a:lnTo>
                <a:lnTo>
                  <a:pt x="10549" y="2132"/>
                </a:lnTo>
                <a:lnTo>
                  <a:pt x="10655" y="2132"/>
                </a:lnTo>
                <a:lnTo>
                  <a:pt x="10655" y="1985"/>
                </a:lnTo>
                <a:lnTo>
                  <a:pt x="10794" y="1950"/>
                </a:lnTo>
                <a:lnTo>
                  <a:pt x="10794" y="2132"/>
                </a:lnTo>
                <a:lnTo>
                  <a:pt x="10940" y="2132"/>
                </a:lnTo>
                <a:lnTo>
                  <a:pt x="10940" y="2247"/>
                </a:lnTo>
                <a:lnTo>
                  <a:pt x="10794" y="2247"/>
                </a:lnTo>
                <a:lnTo>
                  <a:pt x="10794" y="2530"/>
                </a:lnTo>
                <a:lnTo>
                  <a:pt x="10795" y="2546"/>
                </a:lnTo>
                <a:lnTo>
                  <a:pt x="10798" y="2559"/>
                </a:lnTo>
                <a:lnTo>
                  <a:pt x="10803" y="2569"/>
                </a:lnTo>
                <a:lnTo>
                  <a:pt x="10809" y="2578"/>
                </a:lnTo>
                <a:lnTo>
                  <a:pt x="10819" y="2585"/>
                </a:lnTo>
                <a:lnTo>
                  <a:pt x="10830" y="2590"/>
                </a:lnTo>
                <a:lnTo>
                  <a:pt x="10843" y="2592"/>
                </a:lnTo>
                <a:lnTo>
                  <a:pt x="10859" y="2593"/>
                </a:lnTo>
                <a:lnTo>
                  <a:pt x="10901" y="2592"/>
                </a:lnTo>
                <a:lnTo>
                  <a:pt x="10949" y="2588"/>
                </a:lnTo>
                <a:lnTo>
                  <a:pt x="10949" y="2705"/>
                </a:lnTo>
                <a:lnTo>
                  <a:pt x="10920" y="2712"/>
                </a:lnTo>
                <a:lnTo>
                  <a:pt x="10891" y="2716"/>
                </a:lnTo>
                <a:lnTo>
                  <a:pt x="10860" y="2720"/>
                </a:lnTo>
                <a:lnTo>
                  <a:pt x="10830" y="2721"/>
                </a:lnTo>
                <a:close/>
                <a:moveTo>
                  <a:pt x="10307" y="2713"/>
                </a:moveTo>
                <a:lnTo>
                  <a:pt x="10307" y="2132"/>
                </a:lnTo>
                <a:lnTo>
                  <a:pt x="10450" y="2132"/>
                </a:lnTo>
                <a:lnTo>
                  <a:pt x="10450" y="2713"/>
                </a:lnTo>
                <a:lnTo>
                  <a:pt x="10307" y="2713"/>
                </a:lnTo>
                <a:close/>
                <a:moveTo>
                  <a:pt x="10303" y="2052"/>
                </a:moveTo>
                <a:lnTo>
                  <a:pt x="10303" y="1908"/>
                </a:lnTo>
                <a:lnTo>
                  <a:pt x="10453" y="1908"/>
                </a:lnTo>
                <a:lnTo>
                  <a:pt x="10453" y="2052"/>
                </a:lnTo>
                <a:lnTo>
                  <a:pt x="10303" y="2052"/>
                </a:lnTo>
                <a:close/>
                <a:moveTo>
                  <a:pt x="9992" y="2713"/>
                </a:moveTo>
                <a:lnTo>
                  <a:pt x="9992" y="2132"/>
                </a:lnTo>
                <a:lnTo>
                  <a:pt x="10133" y="2132"/>
                </a:lnTo>
                <a:lnTo>
                  <a:pt x="10133" y="2713"/>
                </a:lnTo>
                <a:lnTo>
                  <a:pt x="9992" y="2713"/>
                </a:lnTo>
                <a:close/>
                <a:moveTo>
                  <a:pt x="9988" y="2052"/>
                </a:moveTo>
                <a:lnTo>
                  <a:pt x="9988" y="1908"/>
                </a:lnTo>
                <a:lnTo>
                  <a:pt x="10137" y="1908"/>
                </a:lnTo>
                <a:lnTo>
                  <a:pt x="10137" y="2052"/>
                </a:lnTo>
                <a:lnTo>
                  <a:pt x="9988" y="2052"/>
                </a:lnTo>
                <a:close/>
                <a:moveTo>
                  <a:pt x="9812" y="2720"/>
                </a:moveTo>
                <a:lnTo>
                  <a:pt x="9777" y="2717"/>
                </a:lnTo>
                <a:lnTo>
                  <a:pt x="9762" y="2715"/>
                </a:lnTo>
                <a:lnTo>
                  <a:pt x="9747" y="2711"/>
                </a:lnTo>
                <a:lnTo>
                  <a:pt x="9732" y="2705"/>
                </a:lnTo>
                <a:lnTo>
                  <a:pt x="9719" y="2699"/>
                </a:lnTo>
                <a:lnTo>
                  <a:pt x="9707" y="2691"/>
                </a:lnTo>
                <a:lnTo>
                  <a:pt x="9697" y="2683"/>
                </a:lnTo>
                <a:lnTo>
                  <a:pt x="9687" y="2673"/>
                </a:lnTo>
                <a:lnTo>
                  <a:pt x="9678" y="2662"/>
                </a:lnTo>
                <a:lnTo>
                  <a:pt x="9671" y="2649"/>
                </a:lnTo>
                <a:lnTo>
                  <a:pt x="9665" y="2635"/>
                </a:lnTo>
                <a:lnTo>
                  <a:pt x="9656" y="2602"/>
                </a:lnTo>
                <a:lnTo>
                  <a:pt x="9654" y="2584"/>
                </a:lnTo>
                <a:lnTo>
                  <a:pt x="9653" y="2563"/>
                </a:lnTo>
                <a:lnTo>
                  <a:pt x="9653" y="1906"/>
                </a:lnTo>
                <a:lnTo>
                  <a:pt x="9793" y="1906"/>
                </a:lnTo>
                <a:lnTo>
                  <a:pt x="9793" y="2540"/>
                </a:lnTo>
                <a:lnTo>
                  <a:pt x="9794" y="2552"/>
                </a:lnTo>
                <a:lnTo>
                  <a:pt x="9796" y="2563"/>
                </a:lnTo>
                <a:lnTo>
                  <a:pt x="9799" y="2573"/>
                </a:lnTo>
                <a:lnTo>
                  <a:pt x="9803" y="2580"/>
                </a:lnTo>
                <a:lnTo>
                  <a:pt x="9811" y="2587"/>
                </a:lnTo>
                <a:lnTo>
                  <a:pt x="9820" y="2591"/>
                </a:lnTo>
                <a:lnTo>
                  <a:pt x="9834" y="2594"/>
                </a:lnTo>
                <a:lnTo>
                  <a:pt x="9850" y="2596"/>
                </a:lnTo>
                <a:lnTo>
                  <a:pt x="9873" y="2594"/>
                </a:lnTo>
                <a:lnTo>
                  <a:pt x="9873" y="2712"/>
                </a:lnTo>
                <a:lnTo>
                  <a:pt x="9842" y="2717"/>
                </a:lnTo>
                <a:lnTo>
                  <a:pt x="9812" y="2720"/>
                </a:lnTo>
                <a:close/>
                <a:moveTo>
                  <a:pt x="9479" y="2661"/>
                </a:moveTo>
                <a:lnTo>
                  <a:pt x="9461" y="2677"/>
                </a:lnTo>
                <a:lnTo>
                  <a:pt x="9439" y="2691"/>
                </a:lnTo>
                <a:lnTo>
                  <a:pt x="9416" y="2702"/>
                </a:lnTo>
                <a:lnTo>
                  <a:pt x="9392" y="2712"/>
                </a:lnTo>
                <a:lnTo>
                  <a:pt x="9366" y="2718"/>
                </a:lnTo>
                <a:lnTo>
                  <a:pt x="9338" y="2724"/>
                </a:lnTo>
                <a:lnTo>
                  <a:pt x="9310" y="2726"/>
                </a:lnTo>
                <a:lnTo>
                  <a:pt x="9280" y="2727"/>
                </a:lnTo>
                <a:lnTo>
                  <a:pt x="9253" y="2726"/>
                </a:lnTo>
                <a:lnTo>
                  <a:pt x="9227" y="2724"/>
                </a:lnTo>
                <a:lnTo>
                  <a:pt x="9202" y="2718"/>
                </a:lnTo>
                <a:lnTo>
                  <a:pt x="9177" y="2711"/>
                </a:lnTo>
                <a:lnTo>
                  <a:pt x="9154" y="2702"/>
                </a:lnTo>
                <a:lnTo>
                  <a:pt x="9133" y="2690"/>
                </a:lnTo>
                <a:lnTo>
                  <a:pt x="9112" y="2676"/>
                </a:lnTo>
                <a:lnTo>
                  <a:pt x="9102" y="2668"/>
                </a:lnTo>
                <a:lnTo>
                  <a:pt x="9094" y="2661"/>
                </a:lnTo>
                <a:lnTo>
                  <a:pt x="9082" y="2648"/>
                </a:lnTo>
                <a:lnTo>
                  <a:pt x="9070" y="2634"/>
                </a:lnTo>
                <a:lnTo>
                  <a:pt x="9059" y="2618"/>
                </a:lnTo>
                <a:lnTo>
                  <a:pt x="9050" y="2601"/>
                </a:lnTo>
                <a:lnTo>
                  <a:pt x="9037" y="2565"/>
                </a:lnTo>
                <a:lnTo>
                  <a:pt x="9033" y="2546"/>
                </a:lnTo>
                <a:lnTo>
                  <a:pt x="9032" y="2526"/>
                </a:lnTo>
                <a:lnTo>
                  <a:pt x="9162" y="2526"/>
                </a:lnTo>
                <a:lnTo>
                  <a:pt x="9165" y="2544"/>
                </a:lnTo>
                <a:lnTo>
                  <a:pt x="9167" y="2554"/>
                </a:lnTo>
                <a:lnTo>
                  <a:pt x="9172" y="2564"/>
                </a:lnTo>
                <a:lnTo>
                  <a:pt x="9182" y="2580"/>
                </a:lnTo>
                <a:lnTo>
                  <a:pt x="9187" y="2588"/>
                </a:lnTo>
                <a:lnTo>
                  <a:pt x="9194" y="2593"/>
                </a:lnTo>
                <a:lnTo>
                  <a:pt x="9211" y="2605"/>
                </a:lnTo>
                <a:lnTo>
                  <a:pt x="9232" y="2613"/>
                </a:lnTo>
                <a:lnTo>
                  <a:pt x="9254" y="2617"/>
                </a:lnTo>
                <a:lnTo>
                  <a:pt x="9282" y="2619"/>
                </a:lnTo>
                <a:lnTo>
                  <a:pt x="9320" y="2616"/>
                </a:lnTo>
                <a:lnTo>
                  <a:pt x="9340" y="2613"/>
                </a:lnTo>
                <a:lnTo>
                  <a:pt x="9359" y="2606"/>
                </a:lnTo>
                <a:lnTo>
                  <a:pt x="9367" y="2602"/>
                </a:lnTo>
                <a:lnTo>
                  <a:pt x="9375" y="2597"/>
                </a:lnTo>
                <a:lnTo>
                  <a:pt x="9382" y="2591"/>
                </a:lnTo>
                <a:lnTo>
                  <a:pt x="9388" y="2584"/>
                </a:lnTo>
                <a:lnTo>
                  <a:pt x="9397" y="2567"/>
                </a:lnTo>
                <a:lnTo>
                  <a:pt x="9399" y="2556"/>
                </a:lnTo>
                <a:lnTo>
                  <a:pt x="9400" y="2546"/>
                </a:lnTo>
                <a:lnTo>
                  <a:pt x="9399" y="2534"/>
                </a:lnTo>
                <a:lnTo>
                  <a:pt x="9396" y="2523"/>
                </a:lnTo>
                <a:lnTo>
                  <a:pt x="9391" y="2513"/>
                </a:lnTo>
                <a:lnTo>
                  <a:pt x="9385" y="2504"/>
                </a:lnTo>
                <a:lnTo>
                  <a:pt x="9376" y="2498"/>
                </a:lnTo>
                <a:lnTo>
                  <a:pt x="9366" y="2491"/>
                </a:lnTo>
                <a:lnTo>
                  <a:pt x="9342" y="2485"/>
                </a:lnTo>
                <a:lnTo>
                  <a:pt x="9302" y="2479"/>
                </a:lnTo>
                <a:lnTo>
                  <a:pt x="9262" y="2474"/>
                </a:lnTo>
                <a:lnTo>
                  <a:pt x="9221" y="2469"/>
                </a:lnTo>
                <a:lnTo>
                  <a:pt x="9182" y="2462"/>
                </a:lnTo>
                <a:lnTo>
                  <a:pt x="9153" y="2453"/>
                </a:lnTo>
                <a:lnTo>
                  <a:pt x="9127" y="2441"/>
                </a:lnTo>
                <a:lnTo>
                  <a:pt x="9104" y="2425"/>
                </a:lnTo>
                <a:lnTo>
                  <a:pt x="9085" y="2405"/>
                </a:lnTo>
                <a:lnTo>
                  <a:pt x="9070" y="2383"/>
                </a:lnTo>
                <a:lnTo>
                  <a:pt x="9059" y="2359"/>
                </a:lnTo>
                <a:lnTo>
                  <a:pt x="9051" y="2333"/>
                </a:lnTo>
                <a:lnTo>
                  <a:pt x="9049" y="2306"/>
                </a:lnTo>
                <a:lnTo>
                  <a:pt x="9050" y="2286"/>
                </a:lnTo>
                <a:lnTo>
                  <a:pt x="9053" y="2265"/>
                </a:lnTo>
                <a:lnTo>
                  <a:pt x="9059" y="2247"/>
                </a:lnTo>
                <a:lnTo>
                  <a:pt x="9065" y="2230"/>
                </a:lnTo>
                <a:lnTo>
                  <a:pt x="9084" y="2201"/>
                </a:lnTo>
                <a:lnTo>
                  <a:pt x="9108" y="2176"/>
                </a:lnTo>
                <a:lnTo>
                  <a:pt x="9144" y="2152"/>
                </a:lnTo>
                <a:lnTo>
                  <a:pt x="9163" y="2141"/>
                </a:lnTo>
                <a:lnTo>
                  <a:pt x="9185" y="2133"/>
                </a:lnTo>
                <a:lnTo>
                  <a:pt x="9208" y="2127"/>
                </a:lnTo>
                <a:lnTo>
                  <a:pt x="9232" y="2121"/>
                </a:lnTo>
                <a:lnTo>
                  <a:pt x="9258" y="2119"/>
                </a:lnTo>
                <a:lnTo>
                  <a:pt x="9284" y="2118"/>
                </a:lnTo>
                <a:lnTo>
                  <a:pt x="9310" y="2119"/>
                </a:lnTo>
                <a:lnTo>
                  <a:pt x="9336" y="2122"/>
                </a:lnTo>
                <a:lnTo>
                  <a:pt x="9361" y="2128"/>
                </a:lnTo>
                <a:lnTo>
                  <a:pt x="9385" y="2134"/>
                </a:lnTo>
                <a:lnTo>
                  <a:pt x="9408" y="2144"/>
                </a:lnTo>
                <a:lnTo>
                  <a:pt x="9429" y="2156"/>
                </a:lnTo>
                <a:lnTo>
                  <a:pt x="9449" y="2170"/>
                </a:lnTo>
                <a:lnTo>
                  <a:pt x="9466" y="2185"/>
                </a:lnTo>
                <a:lnTo>
                  <a:pt x="9477" y="2199"/>
                </a:lnTo>
                <a:lnTo>
                  <a:pt x="9487" y="2213"/>
                </a:lnTo>
                <a:lnTo>
                  <a:pt x="9503" y="2242"/>
                </a:lnTo>
                <a:lnTo>
                  <a:pt x="9514" y="2274"/>
                </a:lnTo>
                <a:lnTo>
                  <a:pt x="9517" y="2305"/>
                </a:lnTo>
                <a:lnTo>
                  <a:pt x="9385" y="2305"/>
                </a:lnTo>
                <a:lnTo>
                  <a:pt x="9383" y="2290"/>
                </a:lnTo>
                <a:lnTo>
                  <a:pt x="9378" y="2275"/>
                </a:lnTo>
                <a:lnTo>
                  <a:pt x="9371" y="2263"/>
                </a:lnTo>
                <a:lnTo>
                  <a:pt x="9361" y="2251"/>
                </a:lnTo>
                <a:lnTo>
                  <a:pt x="9346" y="2240"/>
                </a:lnTo>
                <a:lnTo>
                  <a:pt x="9327" y="2231"/>
                </a:lnTo>
                <a:lnTo>
                  <a:pt x="9307" y="2226"/>
                </a:lnTo>
                <a:lnTo>
                  <a:pt x="9285" y="2224"/>
                </a:lnTo>
                <a:lnTo>
                  <a:pt x="9255" y="2225"/>
                </a:lnTo>
                <a:lnTo>
                  <a:pt x="9240" y="2228"/>
                </a:lnTo>
                <a:lnTo>
                  <a:pt x="9225" y="2233"/>
                </a:lnTo>
                <a:lnTo>
                  <a:pt x="9216" y="2238"/>
                </a:lnTo>
                <a:lnTo>
                  <a:pt x="9208" y="2242"/>
                </a:lnTo>
                <a:lnTo>
                  <a:pt x="9194" y="2256"/>
                </a:lnTo>
                <a:lnTo>
                  <a:pt x="9188" y="2264"/>
                </a:lnTo>
                <a:lnTo>
                  <a:pt x="9184" y="2274"/>
                </a:lnTo>
                <a:lnTo>
                  <a:pt x="9182" y="2283"/>
                </a:lnTo>
                <a:lnTo>
                  <a:pt x="9181" y="2294"/>
                </a:lnTo>
                <a:lnTo>
                  <a:pt x="9182" y="2308"/>
                </a:lnTo>
                <a:lnTo>
                  <a:pt x="9186" y="2320"/>
                </a:lnTo>
                <a:lnTo>
                  <a:pt x="9194" y="2330"/>
                </a:lnTo>
                <a:lnTo>
                  <a:pt x="9202" y="2337"/>
                </a:lnTo>
                <a:lnTo>
                  <a:pt x="9212" y="2343"/>
                </a:lnTo>
                <a:lnTo>
                  <a:pt x="9224" y="2348"/>
                </a:lnTo>
                <a:lnTo>
                  <a:pt x="9247" y="2352"/>
                </a:lnTo>
                <a:lnTo>
                  <a:pt x="9308" y="2359"/>
                </a:lnTo>
                <a:lnTo>
                  <a:pt x="9371" y="2369"/>
                </a:lnTo>
                <a:lnTo>
                  <a:pt x="9404" y="2377"/>
                </a:lnTo>
                <a:lnTo>
                  <a:pt x="9420" y="2381"/>
                </a:lnTo>
                <a:lnTo>
                  <a:pt x="9435" y="2388"/>
                </a:lnTo>
                <a:lnTo>
                  <a:pt x="9461" y="2403"/>
                </a:lnTo>
                <a:lnTo>
                  <a:pt x="9474" y="2413"/>
                </a:lnTo>
                <a:lnTo>
                  <a:pt x="9485" y="2423"/>
                </a:lnTo>
                <a:lnTo>
                  <a:pt x="9495" y="2433"/>
                </a:lnTo>
                <a:lnTo>
                  <a:pt x="9503" y="2444"/>
                </a:lnTo>
                <a:lnTo>
                  <a:pt x="9517" y="2470"/>
                </a:lnTo>
                <a:lnTo>
                  <a:pt x="9523" y="2486"/>
                </a:lnTo>
                <a:lnTo>
                  <a:pt x="9526" y="2501"/>
                </a:lnTo>
                <a:lnTo>
                  <a:pt x="9529" y="2534"/>
                </a:lnTo>
                <a:lnTo>
                  <a:pt x="9528" y="2553"/>
                </a:lnTo>
                <a:lnTo>
                  <a:pt x="9526" y="2573"/>
                </a:lnTo>
                <a:lnTo>
                  <a:pt x="9522" y="2590"/>
                </a:lnTo>
                <a:lnTo>
                  <a:pt x="9515" y="2606"/>
                </a:lnTo>
                <a:lnTo>
                  <a:pt x="9509" y="2622"/>
                </a:lnTo>
                <a:lnTo>
                  <a:pt x="9500" y="2636"/>
                </a:lnTo>
                <a:lnTo>
                  <a:pt x="9479" y="2661"/>
                </a:lnTo>
                <a:close/>
                <a:moveTo>
                  <a:pt x="8793" y="2713"/>
                </a:moveTo>
                <a:lnTo>
                  <a:pt x="8782" y="2637"/>
                </a:lnTo>
                <a:lnTo>
                  <a:pt x="8770" y="2658"/>
                </a:lnTo>
                <a:lnTo>
                  <a:pt x="8755" y="2675"/>
                </a:lnTo>
                <a:lnTo>
                  <a:pt x="8737" y="2690"/>
                </a:lnTo>
                <a:lnTo>
                  <a:pt x="8717" y="2703"/>
                </a:lnTo>
                <a:lnTo>
                  <a:pt x="8694" y="2714"/>
                </a:lnTo>
                <a:lnTo>
                  <a:pt x="8669" y="2722"/>
                </a:lnTo>
                <a:lnTo>
                  <a:pt x="8643" y="2726"/>
                </a:lnTo>
                <a:lnTo>
                  <a:pt x="8615" y="2727"/>
                </a:lnTo>
                <a:lnTo>
                  <a:pt x="8594" y="2726"/>
                </a:lnTo>
                <a:lnTo>
                  <a:pt x="8572" y="2724"/>
                </a:lnTo>
                <a:lnTo>
                  <a:pt x="8551" y="2718"/>
                </a:lnTo>
                <a:lnTo>
                  <a:pt x="8533" y="2712"/>
                </a:lnTo>
                <a:lnTo>
                  <a:pt x="8514" y="2704"/>
                </a:lnTo>
                <a:lnTo>
                  <a:pt x="8498" y="2695"/>
                </a:lnTo>
                <a:lnTo>
                  <a:pt x="8483" y="2683"/>
                </a:lnTo>
                <a:lnTo>
                  <a:pt x="8469" y="2671"/>
                </a:lnTo>
                <a:lnTo>
                  <a:pt x="8457" y="2655"/>
                </a:lnTo>
                <a:lnTo>
                  <a:pt x="8446" y="2640"/>
                </a:lnTo>
                <a:lnTo>
                  <a:pt x="8430" y="2604"/>
                </a:lnTo>
                <a:lnTo>
                  <a:pt x="8419" y="2564"/>
                </a:lnTo>
                <a:lnTo>
                  <a:pt x="8417" y="2542"/>
                </a:lnTo>
                <a:lnTo>
                  <a:pt x="8416" y="2519"/>
                </a:lnTo>
                <a:lnTo>
                  <a:pt x="8416" y="2132"/>
                </a:lnTo>
                <a:lnTo>
                  <a:pt x="8555" y="2132"/>
                </a:lnTo>
                <a:lnTo>
                  <a:pt x="8555" y="2489"/>
                </a:lnTo>
                <a:lnTo>
                  <a:pt x="8556" y="2513"/>
                </a:lnTo>
                <a:lnTo>
                  <a:pt x="8560" y="2535"/>
                </a:lnTo>
                <a:lnTo>
                  <a:pt x="8567" y="2553"/>
                </a:lnTo>
                <a:lnTo>
                  <a:pt x="8577" y="2569"/>
                </a:lnTo>
                <a:lnTo>
                  <a:pt x="8590" y="2582"/>
                </a:lnTo>
                <a:lnTo>
                  <a:pt x="8608" y="2591"/>
                </a:lnTo>
                <a:lnTo>
                  <a:pt x="8630" y="2597"/>
                </a:lnTo>
                <a:lnTo>
                  <a:pt x="8655" y="2599"/>
                </a:lnTo>
                <a:lnTo>
                  <a:pt x="8677" y="2597"/>
                </a:lnTo>
                <a:lnTo>
                  <a:pt x="8697" y="2591"/>
                </a:lnTo>
                <a:lnTo>
                  <a:pt x="8713" y="2581"/>
                </a:lnTo>
                <a:lnTo>
                  <a:pt x="8726" y="2571"/>
                </a:lnTo>
                <a:lnTo>
                  <a:pt x="8738" y="2557"/>
                </a:lnTo>
                <a:lnTo>
                  <a:pt x="8747" y="2543"/>
                </a:lnTo>
                <a:lnTo>
                  <a:pt x="8755" y="2527"/>
                </a:lnTo>
                <a:lnTo>
                  <a:pt x="8760" y="2511"/>
                </a:lnTo>
                <a:lnTo>
                  <a:pt x="8764" y="2493"/>
                </a:lnTo>
                <a:lnTo>
                  <a:pt x="8767" y="2475"/>
                </a:lnTo>
                <a:lnTo>
                  <a:pt x="8769" y="2439"/>
                </a:lnTo>
                <a:lnTo>
                  <a:pt x="8769" y="2132"/>
                </a:lnTo>
                <a:lnTo>
                  <a:pt x="8908" y="2132"/>
                </a:lnTo>
                <a:lnTo>
                  <a:pt x="8908" y="2713"/>
                </a:lnTo>
                <a:lnTo>
                  <a:pt x="8793" y="2713"/>
                </a:lnTo>
                <a:close/>
                <a:moveTo>
                  <a:pt x="8190" y="2713"/>
                </a:moveTo>
                <a:lnTo>
                  <a:pt x="8028" y="2460"/>
                </a:lnTo>
                <a:lnTo>
                  <a:pt x="7934" y="2560"/>
                </a:lnTo>
                <a:lnTo>
                  <a:pt x="7934" y="2713"/>
                </a:lnTo>
                <a:lnTo>
                  <a:pt x="7795" y="2713"/>
                </a:lnTo>
                <a:lnTo>
                  <a:pt x="7795" y="1907"/>
                </a:lnTo>
                <a:lnTo>
                  <a:pt x="7934" y="1907"/>
                </a:lnTo>
                <a:lnTo>
                  <a:pt x="7934" y="2368"/>
                </a:lnTo>
                <a:lnTo>
                  <a:pt x="8155" y="2132"/>
                </a:lnTo>
                <a:lnTo>
                  <a:pt x="8330" y="2132"/>
                </a:lnTo>
                <a:lnTo>
                  <a:pt x="8122" y="2357"/>
                </a:lnTo>
                <a:lnTo>
                  <a:pt x="8351" y="2713"/>
                </a:lnTo>
                <a:lnTo>
                  <a:pt x="8190" y="2713"/>
                </a:lnTo>
                <a:close/>
                <a:moveTo>
                  <a:pt x="7618" y="2661"/>
                </a:moveTo>
                <a:lnTo>
                  <a:pt x="7600" y="2677"/>
                </a:lnTo>
                <a:lnTo>
                  <a:pt x="7578" y="2691"/>
                </a:lnTo>
                <a:lnTo>
                  <a:pt x="7555" y="2702"/>
                </a:lnTo>
                <a:lnTo>
                  <a:pt x="7531" y="2712"/>
                </a:lnTo>
                <a:lnTo>
                  <a:pt x="7505" y="2718"/>
                </a:lnTo>
                <a:lnTo>
                  <a:pt x="7477" y="2724"/>
                </a:lnTo>
                <a:lnTo>
                  <a:pt x="7448" y="2726"/>
                </a:lnTo>
                <a:lnTo>
                  <a:pt x="7419" y="2727"/>
                </a:lnTo>
                <a:lnTo>
                  <a:pt x="7392" y="2726"/>
                </a:lnTo>
                <a:lnTo>
                  <a:pt x="7366" y="2724"/>
                </a:lnTo>
                <a:lnTo>
                  <a:pt x="7340" y="2718"/>
                </a:lnTo>
                <a:lnTo>
                  <a:pt x="7316" y="2711"/>
                </a:lnTo>
                <a:lnTo>
                  <a:pt x="7293" y="2702"/>
                </a:lnTo>
                <a:lnTo>
                  <a:pt x="7271" y="2690"/>
                </a:lnTo>
                <a:lnTo>
                  <a:pt x="7251" y="2676"/>
                </a:lnTo>
                <a:lnTo>
                  <a:pt x="7241" y="2668"/>
                </a:lnTo>
                <a:lnTo>
                  <a:pt x="7232" y="2661"/>
                </a:lnTo>
                <a:lnTo>
                  <a:pt x="7219" y="2648"/>
                </a:lnTo>
                <a:lnTo>
                  <a:pt x="7208" y="2634"/>
                </a:lnTo>
                <a:lnTo>
                  <a:pt x="7197" y="2618"/>
                </a:lnTo>
                <a:lnTo>
                  <a:pt x="7189" y="2601"/>
                </a:lnTo>
                <a:lnTo>
                  <a:pt x="7176" y="2565"/>
                </a:lnTo>
                <a:lnTo>
                  <a:pt x="7171" y="2546"/>
                </a:lnTo>
                <a:lnTo>
                  <a:pt x="7170" y="2526"/>
                </a:lnTo>
                <a:lnTo>
                  <a:pt x="7301" y="2526"/>
                </a:lnTo>
                <a:lnTo>
                  <a:pt x="7304" y="2544"/>
                </a:lnTo>
                <a:lnTo>
                  <a:pt x="7306" y="2554"/>
                </a:lnTo>
                <a:lnTo>
                  <a:pt x="7311" y="2564"/>
                </a:lnTo>
                <a:lnTo>
                  <a:pt x="7320" y="2580"/>
                </a:lnTo>
                <a:lnTo>
                  <a:pt x="7326" y="2588"/>
                </a:lnTo>
                <a:lnTo>
                  <a:pt x="7332" y="2593"/>
                </a:lnTo>
                <a:lnTo>
                  <a:pt x="7350" y="2605"/>
                </a:lnTo>
                <a:lnTo>
                  <a:pt x="7370" y="2613"/>
                </a:lnTo>
                <a:lnTo>
                  <a:pt x="7393" y="2617"/>
                </a:lnTo>
                <a:lnTo>
                  <a:pt x="7420" y="2619"/>
                </a:lnTo>
                <a:lnTo>
                  <a:pt x="7458" y="2616"/>
                </a:lnTo>
                <a:lnTo>
                  <a:pt x="7479" y="2613"/>
                </a:lnTo>
                <a:lnTo>
                  <a:pt x="7497" y="2606"/>
                </a:lnTo>
                <a:lnTo>
                  <a:pt x="7506" y="2602"/>
                </a:lnTo>
                <a:lnTo>
                  <a:pt x="7514" y="2597"/>
                </a:lnTo>
                <a:lnTo>
                  <a:pt x="7520" y="2591"/>
                </a:lnTo>
                <a:lnTo>
                  <a:pt x="7527" y="2584"/>
                </a:lnTo>
                <a:lnTo>
                  <a:pt x="7535" y="2567"/>
                </a:lnTo>
                <a:lnTo>
                  <a:pt x="7538" y="2556"/>
                </a:lnTo>
                <a:lnTo>
                  <a:pt x="7539" y="2546"/>
                </a:lnTo>
                <a:lnTo>
                  <a:pt x="7538" y="2534"/>
                </a:lnTo>
                <a:lnTo>
                  <a:pt x="7534" y="2523"/>
                </a:lnTo>
                <a:lnTo>
                  <a:pt x="7530" y="2513"/>
                </a:lnTo>
                <a:lnTo>
                  <a:pt x="7523" y="2504"/>
                </a:lnTo>
                <a:lnTo>
                  <a:pt x="7515" y="2498"/>
                </a:lnTo>
                <a:lnTo>
                  <a:pt x="7505" y="2491"/>
                </a:lnTo>
                <a:lnTo>
                  <a:pt x="7481" y="2485"/>
                </a:lnTo>
                <a:lnTo>
                  <a:pt x="7441" y="2479"/>
                </a:lnTo>
                <a:lnTo>
                  <a:pt x="7401" y="2474"/>
                </a:lnTo>
                <a:lnTo>
                  <a:pt x="7359" y="2469"/>
                </a:lnTo>
                <a:lnTo>
                  <a:pt x="7320" y="2462"/>
                </a:lnTo>
                <a:lnTo>
                  <a:pt x="7292" y="2453"/>
                </a:lnTo>
                <a:lnTo>
                  <a:pt x="7266" y="2441"/>
                </a:lnTo>
                <a:lnTo>
                  <a:pt x="7243" y="2425"/>
                </a:lnTo>
                <a:lnTo>
                  <a:pt x="7224" y="2405"/>
                </a:lnTo>
                <a:lnTo>
                  <a:pt x="7208" y="2383"/>
                </a:lnTo>
                <a:lnTo>
                  <a:pt x="7197" y="2359"/>
                </a:lnTo>
                <a:lnTo>
                  <a:pt x="7190" y="2333"/>
                </a:lnTo>
                <a:lnTo>
                  <a:pt x="7188" y="2306"/>
                </a:lnTo>
                <a:lnTo>
                  <a:pt x="7189" y="2286"/>
                </a:lnTo>
                <a:lnTo>
                  <a:pt x="7192" y="2265"/>
                </a:lnTo>
                <a:lnTo>
                  <a:pt x="7197" y="2247"/>
                </a:lnTo>
                <a:lnTo>
                  <a:pt x="7204" y="2230"/>
                </a:lnTo>
                <a:lnTo>
                  <a:pt x="7222" y="2201"/>
                </a:lnTo>
                <a:lnTo>
                  <a:pt x="7246" y="2176"/>
                </a:lnTo>
                <a:lnTo>
                  <a:pt x="7281" y="2152"/>
                </a:lnTo>
                <a:lnTo>
                  <a:pt x="7302" y="2141"/>
                </a:lnTo>
                <a:lnTo>
                  <a:pt x="7324" y="2133"/>
                </a:lnTo>
                <a:lnTo>
                  <a:pt x="7346" y="2127"/>
                </a:lnTo>
                <a:lnTo>
                  <a:pt x="7370" y="2121"/>
                </a:lnTo>
                <a:lnTo>
                  <a:pt x="7396" y="2119"/>
                </a:lnTo>
                <a:lnTo>
                  <a:pt x="7422" y="2118"/>
                </a:lnTo>
                <a:lnTo>
                  <a:pt x="7448" y="2119"/>
                </a:lnTo>
                <a:lnTo>
                  <a:pt x="7475" y="2122"/>
                </a:lnTo>
                <a:lnTo>
                  <a:pt x="7500" y="2128"/>
                </a:lnTo>
                <a:lnTo>
                  <a:pt x="7523" y="2134"/>
                </a:lnTo>
                <a:lnTo>
                  <a:pt x="7546" y="2144"/>
                </a:lnTo>
                <a:lnTo>
                  <a:pt x="7568" y="2156"/>
                </a:lnTo>
                <a:lnTo>
                  <a:pt x="7588" y="2170"/>
                </a:lnTo>
                <a:lnTo>
                  <a:pt x="7605" y="2185"/>
                </a:lnTo>
                <a:lnTo>
                  <a:pt x="7626" y="2213"/>
                </a:lnTo>
                <a:lnTo>
                  <a:pt x="7642" y="2242"/>
                </a:lnTo>
                <a:lnTo>
                  <a:pt x="7647" y="2258"/>
                </a:lnTo>
                <a:lnTo>
                  <a:pt x="7652" y="2274"/>
                </a:lnTo>
                <a:lnTo>
                  <a:pt x="7656" y="2305"/>
                </a:lnTo>
                <a:lnTo>
                  <a:pt x="7523" y="2305"/>
                </a:lnTo>
                <a:lnTo>
                  <a:pt x="7521" y="2290"/>
                </a:lnTo>
                <a:lnTo>
                  <a:pt x="7516" y="2275"/>
                </a:lnTo>
                <a:lnTo>
                  <a:pt x="7509" y="2263"/>
                </a:lnTo>
                <a:lnTo>
                  <a:pt x="7500" y="2251"/>
                </a:lnTo>
                <a:lnTo>
                  <a:pt x="7484" y="2240"/>
                </a:lnTo>
                <a:lnTo>
                  <a:pt x="7466" y="2231"/>
                </a:lnTo>
                <a:lnTo>
                  <a:pt x="7445" y="2226"/>
                </a:lnTo>
                <a:lnTo>
                  <a:pt x="7424" y="2224"/>
                </a:lnTo>
                <a:lnTo>
                  <a:pt x="7394" y="2225"/>
                </a:lnTo>
                <a:lnTo>
                  <a:pt x="7379" y="2228"/>
                </a:lnTo>
                <a:lnTo>
                  <a:pt x="7364" y="2233"/>
                </a:lnTo>
                <a:lnTo>
                  <a:pt x="7355" y="2238"/>
                </a:lnTo>
                <a:lnTo>
                  <a:pt x="7346" y="2242"/>
                </a:lnTo>
                <a:lnTo>
                  <a:pt x="7332" y="2256"/>
                </a:lnTo>
                <a:lnTo>
                  <a:pt x="7327" y="2264"/>
                </a:lnTo>
                <a:lnTo>
                  <a:pt x="7322" y="2274"/>
                </a:lnTo>
                <a:lnTo>
                  <a:pt x="7320" y="2283"/>
                </a:lnTo>
                <a:lnTo>
                  <a:pt x="7319" y="2294"/>
                </a:lnTo>
                <a:lnTo>
                  <a:pt x="7320" y="2308"/>
                </a:lnTo>
                <a:lnTo>
                  <a:pt x="7325" y="2320"/>
                </a:lnTo>
                <a:lnTo>
                  <a:pt x="7332" y="2330"/>
                </a:lnTo>
                <a:lnTo>
                  <a:pt x="7341" y="2337"/>
                </a:lnTo>
                <a:lnTo>
                  <a:pt x="7351" y="2343"/>
                </a:lnTo>
                <a:lnTo>
                  <a:pt x="7363" y="2348"/>
                </a:lnTo>
                <a:lnTo>
                  <a:pt x="7385" y="2352"/>
                </a:lnTo>
                <a:lnTo>
                  <a:pt x="7446" y="2359"/>
                </a:lnTo>
                <a:lnTo>
                  <a:pt x="7509" y="2369"/>
                </a:lnTo>
                <a:lnTo>
                  <a:pt x="7543" y="2377"/>
                </a:lnTo>
                <a:lnTo>
                  <a:pt x="7558" y="2381"/>
                </a:lnTo>
                <a:lnTo>
                  <a:pt x="7573" y="2388"/>
                </a:lnTo>
                <a:lnTo>
                  <a:pt x="7600" y="2403"/>
                </a:lnTo>
                <a:lnTo>
                  <a:pt x="7613" y="2413"/>
                </a:lnTo>
                <a:lnTo>
                  <a:pt x="7623" y="2423"/>
                </a:lnTo>
                <a:lnTo>
                  <a:pt x="7633" y="2433"/>
                </a:lnTo>
                <a:lnTo>
                  <a:pt x="7642" y="2444"/>
                </a:lnTo>
                <a:lnTo>
                  <a:pt x="7656" y="2470"/>
                </a:lnTo>
                <a:lnTo>
                  <a:pt x="7661" y="2486"/>
                </a:lnTo>
                <a:lnTo>
                  <a:pt x="7665" y="2501"/>
                </a:lnTo>
                <a:lnTo>
                  <a:pt x="7668" y="2534"/>
                </a:lnTo>
                <a:lnTo>
                  <a:pt x="7667" y="2553"/>
                </a:lnTo>
                <a:lnTo>
                  <a:pt x="7665" y="2573"/>
                </a:lnTo>
                <a:lnTo>
                  <a:pt x="7660" y="2590"/>
                </a:lnTo>
                <a:lnTo>
                  <a:pt x="7654" y="2606"/>
                </a:lnTo>
                <a:lnTo>
                  <a:pt x="7647" y="2622"/>
                </a:lnTo>
                <a:lnTo>
                  <a:pt x="7639" y="2636"/>
                </a:lnTo>
                <a:lnTo>
                  <a:pt x="7618" y="2661"/>
                </a:lnTo>
                <a:close/>
                <a:moveTo>
                  <a:pt x="6915" y="2263"/>
                </a:moveTo>
                <a:lnTo>
                  <a:pt x="6907" y="2256"/>
                </a:lnTo>
                <a:lnTo>
                  <a:pt x="6899" y="2250"/>
                </a:lnTo>
                <a:lnTo>
                  <a:pt x="6879" y="2239"/>
                </a:lnTo>
                <a:lnTo>
                  <a:pt x="6867" y="2234"/>
                </a:lnTo>
                <a:lnTo>
                  <a:pt x="6855" y="2232"/>
                </a:lnTo>
                <a:lnTo>
                  <a:pt x="6827" y="2229"/>
                </a:lnTo>
                <a:lnTo>
                  <a:pt x="6797" y="2232"/>
                </a:lnTo>
                <a:lnTo>
                  <a:pt x="6770" y="2242"/>
                </a:lnTo>
                <a:lnTo>
                  <a:pt x="6748" y="2256"/>
                </a:lnTo>
                <a:lnTo>
                  <a:pt x="6738" y="2265"/>
                </a:lnTo>
                <a:lnTo>
                  <a:pt x="6730" y="2275"/>
                </a:lnTo>
                <a:lnTo>
                  <a:pt x="6717" y="2294"/>
                </a:lnTo>
                <a:lnTo>
                  <a:pt x="6707" y="2315"/>
                </a:lnTo>
                <a:lnTo>
                  <a:pt x="6702" y="2338"/>
                </a:lnTo>
                <a:lnTo>
                  <a:pt x="6700" y="2365"/>
                </a:lnTo>
                <a:lnTo>
                  <a:pt x="6951" y="2365"/>
                </a:lnTo>
                <a:lnTo>
                  <a:pt x="6950" y="2349"/>
                </a:lnTo>
                <a:lnTo>
                  <a:pt x="6948" y="2333"/>
                </a:lnTo>
                <a:lnTo>
                  <a:pt x="6941" y="2306"/>
                </a:lnTo>
                <a:lnTo>
                  <a:pt x="6930" y="2283"/>
                </a:lnTo>
                <a:lnTo>
                  <a:pt x="6924" y="2272"/>
                </a:lnTo>
                <a:lnTo>
                  <a:pt x="6915" y="2263"/>
                </a:lnTo>
                <a:close/>
                <a:moveTo>
                  <a:pt x="7089" y="2466"/>
                </a:moveTo>
                <a:lnTo>
                  <a:pt x="6701" y="2466"/>
                </a:lnTo>
                <a:lnTo>
                  <a:pt x="6702" y="2482"/>
                </a:lnTo>
                <a:lnTo>
                  <a:pt x="6703" y="2499"/>
                </a:lnTo>
                <a:lnTo>
                  <a:pt x="6712" y="2530"/>
                </a:lnTo>
                <a:lnTo>
                  <a:pt x="6717" y="2544"/>
                </a:lnTo>
                <a:lnTo>
                  <a:pt x="6725" y="2557"/>
                </a:lnTo>
                <a:lnTo>
                  <a:pt x="6734" y="2569"/>
                </a:lnTo>
                <a:lnTo>
                  <a:pt x="6743" y="2580"/>
                </a:lnTo>
                <a:lnTo>
                  <a:pt x="6760" y="2593"/>
                </a:lnTo>
                <a:lnTo>
                  <a:pt x="6780" y="2605"/>
                </a:lnTo>
                <a:lnTo>
                  <a:pt x="6803" y="2613"/>
                </a:lnTo>
                <a:lnTo>
                  <a:pt x="6829" y="2616"/>
                </a:lnTo>
                <a:lnTo>
                  <a:pt x="6856" y="2614"/>
                </a:lnTo>
                <a:lnTo>
                  <a:pt x="6879" y="2610"/>
                </a:lnTo>
                <a:lnTo>
                  <a:pt x="6898" y="2601"/>
                </a:lnTo>
                <a:lnTo>
                  <a:pt x="6914" y="2588"/>
                </a:lnTo>
                <a:lnTo>
                  <a:pt x="6923" y="2578"/>
                </a:lnTo>
                <a:lnTo>
                  <a:pt x="6930" y="2566"/>
                </a:lnTo>
                <a:lnTo>
                  <a:pt x="6937" y="2554"/>
                </a:lnTo>
                <a:lnTo>
                  <a:pt x="6942" y="2539"/>
                </a:lnTo>
                <a:lnTo>
                  <a:pt x="7076" y="2539"/>
                </a:lnTo>
                <a:lnTo>
                  <a:pt x="7070" y="2566"/>
                </a:lnTo>
                <a:lnTo>
                  <a:pt x="7065" y="2580"/>
                </a:lnTo>
                <a:lnTo>
                  <a:pt x="7058" y="2596"/>
                </a:lnTo>
                <a:lnTo>
                  <a:pt x="7043" y="2623"/>
                </a:lnTo>
                <a:lnTo>
                  <a:pt x="7027" y="2646"/>
                </a:lnTo>
                <a:lnTo>
                  <a:pt x="7007" y="2666"/>
                </a:lnTo>
                <a:lnTo>
                  <a:pt x="6986" y="2684"/>
                </a:lnTo>
                <a:lnTo>
                  <a:pt x="6963" y="2698"/>
                </a:lnTo>
                <a:lnTo>
                  <a:pt x="6939" y="2709"/>
                </a:lnTo>
                <a:lnTo>
                  <a:pt x="6913" y="2717"/>
                </a:lnTo>
                <a:lnTo>
                  <a:pt x="6887" y="2723"/>
                </a:lnTo>
                <a:lnTo>
                  <a:pt x="6860" y="2726"/>
                </a:lnTo>
                <a:lnTo>
                  <a:pt x="6831" y="2727"/>
                </a:lnTo>
                <a:lnTo>
                  <a:pt x="6803" y="2726"/>
                </a:lnTo>
                <a:lnTo>
                  <a:pt x="6776" y="2723"/>
                </a:lnTo>
                <a:lnTo>
                  <a:pt x="6763" y="2720"/>
                </a:lnTo>
                <a:lnTo>
                  <a:pt x="6751" y="2716"/>
                </a:lnTo>
                <a:lnTo>
                  <a:pt x="6728" y="2708"/>
                </a:lnTo>
                <a:lnTo>
                  <a:pt x="6705" y="2698"/>
                </a:lnTo>
                <a:lnTo>
                  <a:pt x="6686" y="2686"/>
                </a:lnTo>
                <a:lnTo>
                  <a:pt x="6666" y="2672"/>
                </a:lnTo>
                <a:lnTo>
                  <a:pt x="6649" y="2656"/>
                </a:lnTo>
                <a:lnTo>
                  <a:pt x="6628" y="2634"/>
                </a:lnTo>
                <a:lnTo>
                  <a:pt x="6611" y="2610"/>
                </a:lnTo>
                <a:lnTo>
                  <a:pt x="6596" y="2584"/>
                </a:lnTo>
                <a:lnTo>
                  <a:pt x="6582" y="2554"/>
                </a:lnTo>
                <a:lnTo>
                  <a:pt x="6577" y="2540"/>
                </a:lnTo>
                <a:lnTo>
                  <a:pt x="6573" y="2524"/>
                </a:lnTo>
                <a:lnTo>
                  <a:pt x="6565" y="2492"/>
                </a:lnTo>
                <a:lnTo>
                  <a:pt x="6561" y="2458"/>
                </a:lnTo>
                <a:lnTo>
                  <a:pt x="6560" y="2424"/>
                </a:lnTo>
                <a:lnTo>
                  <a:pt x="6561" y="2390"/>
                </a:lnTo>
                <a:lnTo>
                  <a:pt x="6565" y="2356"/>
                </a:lnTo>
                <a:lnTo>
                  <a:pt x="6572" y="2325"/>
                </a:lnTo>
                <a:lnTo>
                  <a:pt x="6580" y="2294"/>
                </a:lnTo>
                <a:lnTo>
                  <a:pt x="6592" y="2266"/>
                </a:lnTo>
                <a:lnTo>
                  <a:pt x="6606" y="2239"/>
                </a:lnTo>
                <a:lnTo>
                  <a:pt x="6624" y="2214"/>
                </a:lnTo>
                <a:lnTo>
                  <a:pt x="6643" y="2192"/>
                </a:lnTo>
                <a:lnTo>
                  <a:pt x="6661" y="2176"/>
                </a:lnTo>
                <a:lnTo>
                  <a:pt x="6679" y="2162"/>
                </a:lnTo>
                <a:lnTo>
                  <a:pt x="6700" y="2148"/>
                </a:lnTo>
                <a:lnTo>
                  <a:pt x="6723" y="2138"/>
                </a:lnTo>
                <a:lnTo>
                  <a:pt x="6747" y="2129"/>
                </a:lnTo>
                <a:lnTo>
                  <a:pt x="6772" y="2123"/>
                </a:lnTo>
                <a:lnTo>
                  <a:pt x="6800" y="2119"/>
                </a:lnTo>
                <a:lnTo>
                  <a:pt x="6828" y="2118"/>
                </a:lnTo>
                <a:lnTo>
                  <a:pt x="6860" y="2119"/>
                </a:lnTo>
                <a:lnTo>
                  <a:pt x="6891" y="2125"/>
                </a:lnTo>
                <a:lnTo>
                  <a:pt x="6920" y="2132"/>
                </a:lnTo>
                <a:lnTo>
                  <a:pt x="6949" y="2144"/>
                </a:lnTo>
                <a:lnTo>
                  <a:pt x="6975" y="2159"/>
                </a:lnTo>
                <a:lnTo>
                  <a:pt x="6999" y="2178"/>
                </a:lnTo>
                <a:lnTo>
                  <a:pt x="7020" y="2200"/>
                </a:lnTo>
                <a:lnTo>
                  <a:pt x="7040" y="2225"/>
                </a:lnTo>
                <a:lnTo>
                  <a:pt x="7055" y="2249"/>
                </a:lnTo>
                <a:lnTo>
                  <a:pt x="7066" y="2274"/>
                </a:lnTo>
                <a:lnTo>
                  <a:pt x="7082" y="2323"/>
                </a:lnTo>
                <a:lnTo>
                  <a:pt x="7087" y="2348"/>
                </a:lnTo>
                <a:lnTo>
                  <a:pt x="7090" y="2374"/>
                </a:lnTo>
                <a:lnTo>
                  <a:pt x="7090" y="2427"/>
                </a:lnTo>
                <a:lnTo>
                  <a:pt x="7089" y="2466"/>
                </a:lnTo>
                <a:close/>
                <a:moveTo>
                  <a:pt x="6372" y="2713"/>
                </a:moveTo>
                <a:lnTo>
                  <a:pt x="6209" y="2460"/>
                </a:lnTo>
                <a:lnTo>
                  <a:pt x="6116" y="2560"/>
                </a:lnTo>
                <a:lnTo>
                  <a:pt x="6116" y="2713"/>
                </a:lnTo>
                <a:lnTo>
                  <a:pt x="5977" y="2713"/>
                </a:lnTo>
                <a:lnTo>
                  <a:pt x="5977" y="1907"/>
                </a:lnTo>
                <a:lnTo>
                  <a:pt x="6116" y="1907"/>
                </a:lnTo>
                <a:lnTo>
                  <a:pt x="6116" y="2368"/>
                </a:lnTo>
                <a:lnTo>
                  <a:pt x="6336" y="2132"/>
                </a:lnTo>
                <a:lnTo>
                  <a:pt x="6511" y="2132"/>
                </a:lnTo>
                <a:lnTo>
                  <a:pt x="6303" y="2357"/>
                </a:lnTo>
                <a:lnTo>
                  <a:pt x="6534" y="2713"/>
                </a:lnTo>
                <a:lnTo>
                  <a:pt x="6372" y="2713"/>
                </a:lnTo>
                <a:close/>
                <a:moveTo>
                  <a:pt x="14362" y="1547"/>
                </a:moveTo>
                <a:lnTo>
                  <a:pt x="14362" y="1191"/>
                </a:lnTo>
                <a:lnTo>
                  <a:pt x="14361" y="1166"/>
                </a:lnTo>
                <a:lnTo>
                  <a:pt x="14358" y="1146"/>
                </a:lnTo>
                <a:lnTo>
                  <a:pt x="14355" y="1136"/>
                </a:lnTo>
                <a:lnTo>
                  <a:pt x="14352" y="1126"/>
                </a:lnTo>
                <a:lnTo>
                  <a:pt x="14347" y="1118"/>
                </a:lnTo>
                <a:lnTo>
                  <a:pt x="14342" y="1111"/>
                </a:lnTo>
                <a:lnTo>
                  <a:pt x="14336" y="1104"/>
                </a:lnTo>
                <a:lnTo>
                  <a:pt x="14330" y="1098"/>
                </a:lnTo>
                <a:lnTo>
                  <a:pt x="14312" y="1089"/>
                </a:lnTo>
                <a:lnTo>
                  <a:pt x="14292" y="1084"/>
                </a:lnTo>
                <a:lnTo>
                  <a:pt x="14267" y="1081"/>
                </a:lnTo>
                <a:lnTo>
                  <a:pt x="14249" y="1082"/>
                </a:lnTo>
                <a:lnTo>
                  <a:pt x="14233" y="1087"/>
                </a:lnTo>
                <a:lnTo>
                  <a:pt x="14218" y="1093"/>
                </a:lnTo>
                <a:lnTo>
                  <a:pt x="14205" y="1102"/>
                </a:lnTo>
                <a:lnTo>
                  <a:pt x="14194" y="1113"/>
                </a:lnTo>
                <a:lnTo>
                  <a:pt x="14183" y="1126"/>
                </a:lnTo>
                <a:lnTo>
                  <a:pt x="14174" y="1140"/>
                </a:lnTo>
                <a:lnTo>
                  <a:pt x="14167" y="1155"/>
                </a:lnTo>
                <a:lnTo>
                  <a:pt x="14159" y="1173"/>
                </a:lnTo>
                <a:lnTo>
                  <a:pt x="14155" y="1192"/>
                </a:lnTo>
                <a:lnTo>
                  <a:pt x="14152" y="1212"/>
                </a:lnTo>
                <a:lnTo>
                  <a:pt x="14149" y="1231"/>
                </a:lnTo>
                <a:lnTo>
                  <a:pt x="14147" y="1272"/>
                </a:lnTo>
                <a:lnTo>
                  <a:pt x="14147" y="1311"/>
                </a:lnTo>
                <a:lnTo>
                  <a:pt x="14147" y="1547"/>
                </a:lnTo>
                <a:lnTo>
                  <a:pt x="14008" y="1547"/>
                </a:lnTo>
                <a:lnTo>
                  <a:pt x="14008" y="966"/>
                </a:lnTo>
                <a:lnTo>
                  <a:pt x="14126" y="966"/>
                </a:lnTo>
                <a:lnTo>
                  <a:pt x="14135" y="1041"/>
                </a:lnTo>
                <a:lnTo>
                  <a:pt x="14149" y="1019"/>
                </a:lnTo>
                <a:lnTo>
                  <a:pt x="14167" y="1001"/>
                </a:lnTo>
                <a:lnTo>
                  <a:pt x="14186" y="986"/>
                </a:lnTo>
                <a:lnTo>
                  <a:pt x="14208" y="974"/>
                </a:lnTo>
                <a:lnTo>
                  <a:pt x="14231" y="964"/>
                </a:lnTo>
                <a:lnTo>
                  <a:pt x="14256" y="957"/>
                </a:lnTo>
                <a:lnTo>
                  <a:pt x="14281" y="953"/>
                </a:lnTo>
                <a:lnTo>
                  <a:pt x="14306" y="952"/>
                </a:lnTo>
                <a:lnTo>
                  <a:pt x="14329" y="953"/>
                </a:lnTo>
                <a:lnTo>
                  <a:pt x="14349" y="956"/>
                </a:lnTo>
                <a:lnTo>
                  <a:pt x="14370" y="961"/>
                </a:lnTo>
                <a:lnTo>
                  <a:pt x="14388" y="967"/>
                </a:lnTo>
                <a:lnTo>
                  <a:pt x="14406" y="976"/>
                </a:lnTo>
                <a:lnTo>
                  <a:pt x="14422" y="986"/>
                </a:lnTo>
                <a:lnTo>
                  <a:pt x="14437" y="998"/>
                </a:lnTo>
                <a:lnTo>
                  <a:pt x="14450" y="1011"/>
                </a:lnTo>
                <a:lnTo>
                  <a:pt x="14462" y="1025"/>
                </a:lnTo>
                <a:lnTo>
                  <a:pt x="14472" y="1041"/>
                </a:lnTo>
                <a:lnTo>
                  <a:pt x="14482" y="1059"/>
                </a:lnTo>
                <a:lnTo>
                  <a:pt x="14488" y="1076"/>
                </a:lnTo>
                <a:lnTo>
                  <a:pt x="14495" y="1095"/>
                </a:lnTo>
                <a:lnTo>
                  <a:pt x="14498" y="1116"/>
                </a:lnTo>
                <a:lnTo>
                  <a:pt x="14501" y="1138"/>
                </a:lnTo>
                <a:lnTo>
                  <a:pt x="14503" y="1160"/>
                </a:lnTo>
                <a:lnTo>
                  <a:pt x="14503" y="1547"/>
                </a:lnTo>
                <a:lnTo>
                  <a:pt x="14362" y="1547"/>
                </a:lnTo>
                <a:close/>
                <a:moveTo>
                  <a:pt x="13660" y="876"/>
                </a:moveTo>
                <a:lnTo>
                  <a:pt x="13660" y="741"/>
                </a:lnTo>
                <a:lnTo>
                  <a:pt x="13791" y="741"/>
                </a:lnTo>
                <a:lnTo>
                  <a:pt x="13791" y="876"/>
                </a:lnTo>
                <a:lnTo>
                  <a:pt x="13660" y="876"/>
                </a:lnTo>
                <a:close/>
                <a:moveTo>
                  <a:pt x="13430" y="876"/>
                </a:moveTo>
                <a:lnTo>
                  <a:pt x="13430" y="741"/>
                </a:lnTo>
                <a:lnTo>
                  <a:pt x="13561" y="741"/>
                </a:lnTo>
                <a:lnTo>
                  <a:pt x="13561" y="876"/>
                </a:lnTo>
                <a:lnTo>
                  <a:pt x="13430" y="876"/>
                </a:lnTo>
                <a:close/>
                <a:moveTo>
                  <a:pt x="13704" y="1289"/>
                </a:moveTo>
                <a:lnTo>
                  <a:pt x="13556" y="1300"/>
                </a:lnTo>
                <a:lnTo>
                  <a:pt x="13541" y="1302"/>
                </a:lnTo>
                <a:lnTo>
                  <a:pt x="13526" y="1307"/>
                </a:lnTo>
                <a:lnTo>
                  <a:pt x="13512" y="1313"/>
                </a:lnTo>
                <a:lnTo>
                  <a:pt x="13499" y="1322"/>
                </a:lnTo>
                <a:lnTo>
                  <a:pt x="13488" y="1333"/>
                </a:lnTo>
                <a:lnTo>
                  <a:pt x="13480" y="1345"/>
                </a:lnTo>
                <a:lnTo>
                  <a:pt x="13475" y="1360"/>
                </a:lnTo>
                <a:lnTo>
                  <a:pt x="13472" y="1376"/>
                </a:lnTo>
                <a:lnTo>
                  <a:pt x="13475" y="1392"/>
                </a:lnTo>
                <a:lnTo>
                  <a:pt x="13479" y="1407"/>
                </a:lnTo>
                <a:lnTo>
                  <a:pt x="13488" y="1419"/>
                </a:lnTo>
                <a:lnTo>
                  <a:pt x="13497" y="1429"/>
                </a:lnTo>
                <a:lnTo>
                  <a:pt x="13509" y="1438"/>
                </a:lnTo>
                <a:lnTo>
                  <a:pt x="13524" y="1444"/>
                </a:lnTo>
                <a:lnTo>
                  <a:pt x="13539" y="1448"/>
                </a:lnTo>
                <a:lnTo>
                  <a:pt x="13555" y="1449"/>
                </a:lnTo>
                <a:lnTo>
                  <a:pt x="13587" y="1447"/>
                </a:lnTo>
                <a:lnTo>
                  <a:pt x="13601" y="1444"/>
                </a:lnTo>
                <a:lnTo>
                  <a:pt x="13615" y="1440"/>
                </a:lnTo>
                <a:lnTo>
                  <a:pt x="13640" y="1429"/>
                </a:lnTo>
                <a:lnTo>
                  <a:pt x="13652" y="1423"/>
                </a:lnTo>
                <a:lnTo>
                  <a:pt x="13662" y="1414"/>
                </a:lnTo>
                <a:lnTo>
                  <a:pt x="13680" y="1396"/>
                </a:lnTo>
                <a:lnTo>
                  <a:pt x="13687" y="1385"/>
                </a:lnTo>
                <a:lnTo>
                  <a:pt x="13693" y="1373"/>
                </a:lnTo>
                <a:lnTo>
                  <a:pt x="13697" y="1360"/>
                </a:lnTo>
                <a:lnTo>
                  <a:pt x="13701" y="1347"/>
                </a:lnTo>
                <a:lnTo>
                  <a:pt x="13703" y="1332"/>
                </a:lnTo>
                <a:lnTo>
                  <a:pt x="13704" y="1316"/>
                </a:lnTo>
                <a:lnTo>
                  <a:pt x="13704" y="1289"/>
                </a:lnTo>
                <a:close/>
                <a:moveTo>
                  <a:pt x="13820" y="1556"/>
                </a:moveTo>
                <a:lnTo>
                  <a:pt x="13800" y="1555"/>
                </a:lnTo>
                <a:lnTo>
                  <a:pt x="13780" y="1549"/>
                </a:lnTo>
                <a:lnTo>
                  <a:pt x="13765" y="1541"/>
                </a:lnTo>
                <a:lnTo>
                  <a:pt x="13751" y="1532"/>
                </a:lnTo>
                <a:lnTo>
                  <a:pt x="13740" y="1520"/>
                </a:lnTo>
                <a:lnTo>
                  <a:pt x="13731" y="1506"/>
                </a:lnTo>
                <a:lnTo>
                  <a:pt x="13726" y="1490"/>
                </a:lnTo>
                <a:lnTo>
                  <a:pt x="13722" y="1474"/>
                </a:lnTo>
                <a:lnTo>
                  <a:pt x="13710" y="1491"/>
                </a:lnTo>
                <a:lnTo>
                  <a:pt x="13695" y="1508"/>
                </a:lnTo>
                <a:lnTo>
                  <a:pt x="13677" y="1523"/>
                </a:lnTo>
                <a:lnTo>
                  <a:pt x="13655" y="1536"/>
                </a:lnTo>
                <a:lnTo>
                  <a:pt x="13631" y="1547"/>
                </a:lnTo>
                <a:lnTo>
                  <a:pt x="13605" y="1555"/>
                </a:lnTo>
                <a:lnTo>
                  <a:pt x="13577" y="1560"/>
                </a:lnTo>
                <a:lnTo>
                  <a:pt x="13546" y="1561"/>
                </a:lnTo>
                <a:lnTo>
                  <a:pt x="13521" y="1561"/>
                </a:lnTo>
                <a:lnTo>
                  <a:pt x="13497" y="1558"/>
                </a:lnTo>
                <a:lnTo>
                  <a:pt x="13476" y="1553"/>
                </a:lnTo>
                <a:lnTo>
                  <a:pt x="13455" y="1547"/>
                </a:lnTo>
                <a:lnTo>
                  <a:pt x="13437" y="1538"/>
                </a:lnTo>
                <a:lnTo>
                  <a:pt x="13419" y="1530"/>
                </a:lnTo>
                <a:lnTo>
                  <a:pt x="13403" y="1519"/>
                </a:lnTo>
                <a:lnTo>
                  <a:pt x="13390" y="1507"/>
                </a:lnTo>
                <a:lnTo>
                  <a:pt x="13377" y="1493"/>
                </a:lnTo>
                <a:lnTo>
                  <a:pt x="13366" y="1478"/>
                </a:lnTo>
                <a:lnTo>
                  <a:pt x="13357" y="1464"/>
                </a:lnTo>
                <a:lnTo>
                  <a:pt x="13350" y="1448"/>
                </a:lnTo>
                <a:lnTo>
                  <a:pt x="13344" y="1432"/>
                </a:lnTo>
                <a:lnTo>
                  <a:pt x="13340" y="1414"/>
                </a:lnTo>
                <a:lnTo>
                  <a:pt x="13337" y="1379"/>
                </a:lnTo>
                <a:lnTo>
                  <a:pt x="13338" y="1360"/>
                </a:lnTo>
                <a:lnTo>
                  <a:pt x="13340" y="1340"/>
                </a:lnTo>
                <a:lnTo>
                  <a:pt x="13345" y="1323"/>
                </a:lnTo>
                <a:lnTo>
                  <a:pt x="13352" y="1305"/>
                </a:lnTo>
                <a:lnTo>
                  <a:pt x="13359" y="1290"/>
                </a:lnTo>
                <a:lnTo>
                  <a:pt x="13369" y="1275"/>
                </a:lnTo>
                <a:lnTo>
                  <a:pt x="13381" y="1262"/>
                </a:lnTo>
                <a:lnTo>
                  <a:pt x="13393" y="1250"/>
                </a:lnTo>
                <a:lnTo>
                  <a:pt x="13423" y="1229"/>
                </a:lnTo>
                <a:lnTo>
                  <a:pt x="13439" y="1221"/>
                </a:lnTo>
                <a:lnTo>
                  <a:pt x="13455" y="1214"/>
                </a:lnTo>
                <a:lnTo>
                  <a:pt x="13493" y="1203"/>
                </a:lnTo>
                <a:lnTo>
                  <a:pt x="13533" y="1198"/>
                </a:lnTo>
                <a:lnTo>
                  <a:pt x="13704" y="1186"/>
                </a:lnTo>
                <a:lnTo>
                  <a:pt x="13704" y="1150"/>
                </a:lnTo>
                <a:lnTo>
                  <a:pt x="13703" y="1130"/>
                </a:lnTo>
                <a:lnTo>
                  <a:pt x="13700" y="1112"/>
                </a:lnTo>
                <a:lnTo>
                  <a:pt x="13693" y="1097"/>
                </a:lnTo>
                <a:lnTo>
                  <a:pt x="13684" y="1084"/>
                </a:lnTo>
                <a:lnTo>
                  <a:pt x="13678" y="1078"/>
                </a:lnTo>
                <a:lnTo>
                  <a:pt x="13671" y="1073"/>
                </a:lnTo>
                <a:lnTo>
                  <a:pt x="13654" y="1065"/>
                </a:lnTo>
                <a:lnTo>
                  <a:pt x="13632" y="1060"/>
                </a:lnTo>
                <a:lnTo>
                  <a:pt x="13605" y="1059"/>
                </a:lnTo>
                <a:lnTo>
                  <a:pt x="13582" y="1060"/>
                </a:lnTo>
                <a:lnTo>
                  <a:pt x="13562" y="1063"/>
                </a:lnTo>
                <a:lnTo>
                  <a:pt x="13544" y="1070"/>
                </a:lnTo>
                <a:lnTo>
                  <a:pt x="13529" y="1079"/>
                </a:lnTo>
                <a:lnTo>
                  <a:pt x="13517" y="1091"/>
                </a:lnTo>
                <a:lnTo>
                  <a:pt x="13508" y="1105"/>
                </a:lnTo>
                <a:lnTo>
                  <a:pt x="13502" y="1122"/>
                </a:lnTo>
                <a:lnTo>
                  <a:pt x="13500" y="1140"/>
                </a:lnTo>
                <a:lnTo>
                  <a:pt x="13365" y="1140"/>
                </a:lnTo>
                <a:lnTo>
                  <a:pt x="13367" y="1117"/>
                </a:lnTo>
                <a:lnTo>
                  <a:pt x="13371" y="1095"/>
                </a:lnTo>
                <a:lnTo>
                  <a:pt x="13378" y="1075"/>
                </a:lnTo>
                <a:lnTo>
                  <a:pt x="13387" y="1056"/>
                </a:lnTo>
                <a:lnTo>
                  <a:pt x="13398" y="1039"/>
                </a:lnTo>
                <a:lnTo>
                  <a:pt x="13409" y="1024"/>
                </a:lnTo>
                <a:lnTo>
                  <a:pt x="13424" y="1010"/>
                </a:lnTo>
                <a:lnTo>
                  <a:pt x="13439" y="998"/>
                </a:lnTo>
                <a:lnTo>
                  <a:pt x="13456" y="987"/>
                </a:lnTo>
                <a:lnTo>
                  <a:pt x="13475" y="977"/>
                </a:lnTo>
                <a:lnTo>
                  <a:pt x="13494" y="969"/>
                </a:lnTo>
                <a:lnTo>
                  <a:pt x="13514" y="963"/>
                </a:lnTo>
                <a:lnTo>
                  <a:pt x="13558" y="955"/>
                </a:lnTo>
                <a:lnTo>
                  <a:pt x="13605" y="952"/>
                </a:lnTo>
                <a:lnTo>
                  <a:pt x="13642" y="953"/>
                </a:lnTo>
                <a:lnTo>
                  <a:pt x="13677" y="958"/>
                </a:lnTo>
                <a:lnTo>
                  <a:pt x="13693" y="962"/>
                </a:lnTo>
                <a:lnTo>
                  <a:pt x="13709" y="966"/>
                </a:lnTo>
                <a:lnTo>
                  <a:pt x="13739" y="978"/>
                </a:lnTo>
                <a:lnTo>
                  <a:pt x="13753" y="986"/>
                </a:lnTo>
                <a:lnTo>
                  <a:pt x="13766" y="994"/>
                </a:lnTo>
                <a:lnTo>
                  <a:pt x="13778" y="1004"/>
                </a:lnTo>
                <a:lnTo>
                  <a:pt x="13789" y="1015"/>
                </a:lnTo>
                <a:lnTo>
                  <a:pt x="13798" y="1027"/>
                </a:lnTo>
                <a:lnTo>
                  <a:pt x="13808" y="1040"/>
                </a:lnTo>
                <a:lnTo>
                  <a:pt x="13822" y="1070"/>
                </a:lnTo>
                <a:lnTo>
                  <a:pt x="13831" y="1099"/>
                </a:lnTo>
                <a:lnTo>
                  <a:pt x="13836" y="1128"/>
                </a:lnTo>
                <a:lnTo>
                  <a:pt x="13840" y="1188"/>
                </a:lnTo>
                <a:lnTo>
                  <a:pt x="13840" y="1403"/>
                </a:lnTo>
                <a:lnTo>
                  <a:pt x="13841" y="1420"/>
                </a:lnTo>
                <a:lnTo>
                  <a:pt x="13847" y="1432"/>
                </a:lnTo>
                <a:lnTo>
                  <a:pt x="13852" y="1435"/>
                </a:lnTo>
                <a:lnTo>
                  <a:pt x="13857" y="1438"/>
                </a:lnTo>
                <a:lnTo>
                  <a:pt x="13872" y="1440"/>
                </a:lnTo>
                <a:lnTo>
                  <a:pt x="13890" y="1438"/>
                </a:lnTo>
                <a:lnTo>
                  <a:pt x="13890" y="1540"/>
                </a:lnTo>
                <a:lnTo>
                  <a:pt x="13859" y="1552"/>
                </a:lnTo>
                <a:lnTo>
                  <a:pt x="13842" y="1555"/>
                </a:lnTo>
                <a:lnTo>
                  <a:pt x="13820" y="1556"/>
                </a:lnTo>
                <a:close/>
                <a:moveTo>
                  <a:pt x="13081" y="1547"/>
                </a:moveTo>
                <a:lnTo>
                  <a:pt x="13081" y="1187"/>
                </a:lnTo>
                <a:lnTo>
                  <a:pt x="13080" y="1161"/>
                </a:lnTo>
                <a:lnTo>
                  <a:pt x="13077" y="1139"/>
                </a:lnTo>
                <a:lnTo>
                  <a:pt x="13072" y="1119"/>
                </a:lnTo>
                <a:lnTo>
                  <a:pt x="13063" y="1103"/>
                </a:lnTo>
                <a:lnTo>
                  <a:pt x="13051" y="1090"/>
                </a:lnTo>
                <a:lnTo>
                  <a:pt x="13036" y="1081"/>
                </a:lnTo>
                <a:lnTo>
                  <a:pt x="13016" y="1076"/>
                </a:lnTo>
                <a:lnTo>
                  <a:pt x="12992" y="1074"/>
                </a:lnTo>
                <a:lnTo>
                  <a:pt x="12978" y="1075"/>
                </a:lnTo>
                <a:lnTo>
                  <a:pt x="12965" y="1077"/>
                </a:lnTo>
                <a:lnTo>
                  <a:pt x="12952" y="1081"/>
                </a:lnTo>
                <a:lnTo>
                  <a:pt x="12941" y="1088"/>
                </a:lnTo>
                <a:lnTo>
                  <a:pt x="12930" y="1095"/>
                </a:lnTo>
                <a:lnTo>
                  <a:pt x="12922" y="1104"/>
                </a:lnTo>
                <a:lnTo>
                  <a:pt x="12905" y="1125"/>
                </a:lnTo>
                <a:lnTo>
                  <a:pt x="12893" y="1149"/>
                </a:lnTo>
                <a:lnTo>
                  <a:pt x="12885" y="1175"/>
                </a:lnTo>
                <a:lnTo>
                  <a:pt x="12880" y="1202"/>
                </a:lnTo>
                <a:lnTo>
                  <a:pt x="12878" y="1230"/>
                </a:lnTo>
                <a:lnTo>
                  <a:pt x="12878" y="1547"/>
                </a:lnTo>
                <a:lnTo>
                  <a:pt x="12740" y="1547"/>
                </a:lnTo>
                <a:lnTo>
                  <a:pt x="12740" y="1187"/>
                </a:lnTo>
                <a:lnTo>
                  <a:pt x="12739" y="1161"/>
                </a:lnTo>
                <a:lnTo>
                  <a:pt x="12736" y="1139"/>
                </a:lnTo>
                <a:lnTo>
                  <a:pt x="12730" y="1119"/>
                </a:lnTo>
                <a:lnTo>
                  <a:pt x="12722" y="1103"/>
                </a:lnTo>
                <a:lnTo>
                  <a:pt x="12710" y="1090"/>
                </a:lnTo>
                <a:lnTo>
                  <a:pt x="12695" y="1081"/>
                </a:lnTo>
                <a:lnTo>
                  <a:pt x="12675" y="1076"/>
                </a:lnTo>
                <a:lnTo>
                  <a:pt x="12651" y="1074"/>
                </a:lnTo>
                <a:lnTo>
                  <a:pt x="12637" y="1075"/>
                </a:lnTo>
                <a:lnTo>
                  <a:pt x="12623" y="1077"/>
                </a:lnTo>
                <a:lnTo>
                  <a:pt x="12611" y="1081"/>
                </a:lnTo>
                <a:lnTo>
                  <a:pt x="12600" y="1088"/>
                </a:lnTo>
                <a:lnTo>
                  <a:pt x="12589" y="1095"/>
                </a:lnTo>
                <a:lnTo>
                  <a:pt x="12579" y="1104"/>
                </a:lnTo>
                <a:lnTo>
                  <a:pt x="12564" y="1125"/>
                </a:lnTo>
                <a:lnTo>
                  <a:pt x="12551" y="1149"/>
                </a:lnTo>
                <a:lnTo>
                  <a:pt x="12542" y="1175"/>
                </a:lnTo>
                <a:lnTo>
                  <a:pt x="12538" y="1202"/>
                </a:lnTo>
                <a:lnTo>
                  <a:pt x="12536" y="1230"/>
                </a:lnTo>
                <a:lnTo>
                  <a:pt x="12536" y="1547"/>
                </a:lnTo>
                <a:lnTo>
                  <a:pt x="12398" y="1547"/>
                </a:lnTo>
                <a:lnTo>
                  <a:pt x="12398" y="966"/>
                </a:lnTo>
                <a:lnTo>
                  <a:pt x="12514" y="966"/>
                </a:lnTo>
                <a:lnTo>
                  <a:pt x="12525" y="1043"/>
                </a:lnTo>
                <a:lnTo>
                  <a:pt x="12538" y="1024"/>
                </a:lnTo>
                <a:lnTo>
                  <a:pt x="12553" y="1006"/>
                </a:lnTo>
                <a:lnTo>
                  <a:pt x="12571" y="991"/>
                </a:lnTo>
                <a:lnTo>
                  <a:pt x="12590" y="978"/>
                </a:lnTo>
                <a:lnTo>
                  <a:pt x="12612" y="967"/>
                </a:lnTo>
                <a:lnTo>
                  <a:pt x="12636" y="958"/>
                </a:lnTo>
                <a:lnTo>
                  <a:pt x="12662" y="954"/>
                </a:lnTo>
                <a:lnTo>
                  <a:pt x="12690" y="952"/>
                </a:lnTo>
                <a:lnTo>
                  <a:pt x="12719" y="954"/>
                </a:lnTo>
                <a:lnTo>
                  <a:pt x="12747" y="958"/>
                </a:lnTo>
                <a:lnTo>
                  <a:pt x="12771" y="966"/>
                </a:lnTo>
                <a:lnTo>
                  <a:pt x="12792" y="977"/>
                </a:lnTo>
                <a:lnTo>
                  <a:pt x="12812" y="991"/>
                </a:lnTo>
                <a:lnTo>
                  <a:pt x="12829" y="1007"/>
                </a:lnTo>
                <a:lnTo>
                  <a:pt x="12844" y="1026"/>
                </a:lnTo>
                <a:lnTo>
                  <a:pt x="12856" y="1047"/>
                </a:lnTo>
                <a:lnTo>
                  <a:pt x="12871" y="1026"/>
                </a:lnTo>
                <a:lnTo>
                  <a:pt x="12887" y="1006"/>
                </a:lnTo>
                <a:lnTo>
                  <a:pt x="12906" y="990"/>
                </a:lnTo>
                <a:lnTo>
                  <a:pt x="12916" y="983"/>
                </a:lnTo>
                <a:lnTo>
                  <a:pt x="12927" y="977"/>
                </a:lnTo>
                <a:lnTo>
                  <a:pt x="12951" y="966"/>
                </a:lnTo>
                <a:lnTo>
                  <a:pt x="12976" y="958"/>
                </a:lnTo>
                <a:lnTo>
                  <a:pt x="13003" y="953"/>
                </a:lnTo>
                <a:lnTo>
                  <a:pt x="13031" y="952"/>
                </a:lnTo>
                <a:lnTo>
                  <a:pt x="13054" y="953"/>
                </a:lnTo>
                <a:lnTo>
                  <a:pt x="13075" y="955"/>
                </a:lnTo>
                <a:lnTo>
                  <a:pt x="13094" y="961"/>
                </a:lnTo>
                <a:lnTo>
                  <a:pt x="13113" y="967"/>
                </a:lnTo>
                <a:lnTo>
                  <a:pt x="13130" y="975"/>
                </a:lnTo>
                <a:lnTo>
                  <a:pt x="13145" y="985"/>
                </a:lnTo>
                <a:lnTo>
                  <a:pt x="13160" y="995"/>
                </a:lnTo>
                <a:lnTo>
                  <a:pt x="13172" y="1008"/>
                </a:lnTo>
                <a:lnTo>
                  <a:pt x="13183" y="1023"/>
                </a:lnTo>
                <a:lnTo>
                  <a:pt x="13193" y="1038"/>
                </a:lnTo>
                <a:lnTo>
                  <a:pt x="13207" y="1073"/>
                </a:lnTo>
                <a:lnTo>
                  <a:pt x="13213" y="1091"/>
                </a:lnTo>
                <a:lnTo>
                  <a:pt x="13215" y="1102"/>
                </a:lnTo>
                <a:lnTo>
                  <a:pt x="13217" y="1112"/>
                </a:lnTo>
                <a:lnTo>
                  <a:pt x="13219" y="1132"/>
                </a:lnTo>
                <a:lnTo>
                  <a:pt x="13219" y="1155"/>
                </a:lnTo>
                <a:lnTo>
                  <a:pt x="13219" y="1547"/>
                </a:lnTo>
                <a:lnTo>
                  <a:pt x="13081" y="1547"/>
                </a:lnTo>
                <a:close/>
                <a:moveTo>
                  <a:pt x="12050" y="876"/>
                </a:moveTo>
                <a:lnTo>
                  <a:pt x="12050" y="741"/>
                </a:lnTo>
                <a:lnTo>
                  <a:pt x="12181" y="741"/>
                </a:lnTo>
                <a:lnTo>
                  <a:pt x="12181" y="876"/>
                </a:lnTo>
                <a:lnTo>
                  <a:pt x="12050" y="876"/>
                </a:lnTo>
                <a:close/>
                <a:moveTo>
                  <a:pt x="11820" y="876"/>
                </a:moveTo>
                <a:lnTo>
                  <a:pt x="11820" y="741"/>
                </a:lnTo>
                <a:lnTo>
                  <a:pt x="11950" y="741"/>
                </a:lnTo>
                <a:lnTo>
                  <a:pt x="11950" y="876"/>
                </a:lnTo>
                <a:lnTo>
                  <a:pt x="11820" y="876"/>
                </a:lnTo>
                <a:close/>
                <a:moveTo>
                  <a:pt x="12094" y="1289"/>
                </a:moveTo>
                <a:lnTo>
                  <a:pt x="11946" y="1300"/>
                </a:lnTo>
                <a:lnTo>
                  <a:pt x="11931" y="1302"/>
                </a:lnTo>
                <a:lnTo>
                  <a:pt x="11915" y="1307"/>
                </a:lnTo>
                <a:lnTo>
                  <a:pt x="11901" y="1313"/>
                </a:lnTo>
                <a:lnTo>
                  <a:pt x="11888" y="1322"/>
                </a:lnTo>
                <a:lnTo>
                  <a:pt x="11877" y="1333"/>
                </a:lnTo>
                <a:lnTo>
                  <a:pt x="11870" y="1345"/>
                </a:lnTo>
                <a:lnTo>
                  <a:pt x="11864" y="1360"/>
                </a:lnTo>
                <a:lnTo>
                  <a:pt x="11862" y="1376"/>
                </a:lnTo>
                <a:lnTo>
                  <a:pt x="11864" y="1392"/>
                </a:lnTo>
                <a:lnTo>
                  <a:pt x="11869" y="1407"/>
                </a:lnTo>
                <a:lnTo>
                  <a:pt x="11877" y="1419"/>
                </a:lnTo>
                <a:lnTo>
                  <a:pt x="11887" y="1429"/>
                </a:lnTo>
                <a:lnTo>
                  <a:pt x="11900" y="1438"/>
                </a:lnTo>
                <a:lnTo>
                  <a:pt x="11913" y="1444"/>
                </a:lnTo>
                <a:lnTo>
                  <a:pt x="11928" y="1448"/>
                </a:lnTo>
                <a:lnTo>
                  <a:pt x="11945" y="1449"/>
                </a:lnTo>
                <a:lnTo>
                  <a:pt x="11976" y="1447"/>
                </a:lnTo>
                <a:lnTo>
                  <a:pt x="11990" y="1444"/>
                </a:lnTo>
                <a:lnTo>
                  <a:pt x="12005" y="1440"/>
                </a:lnTo>
                <a:lnTo>
                  <a:pt x="12031" y="1429"/>
                </a:lnTo>
                <a:lnTo>
                  <a:pt x="12041" y="1423"/>
                </a:lnTo>
                <a:lnTo>
                  <a:pt x="12051" y="1414"/>
                </a:lnTo>
                <a:lnTo>
                  <a:pt x="12070" y="1396"/>
                </a:lnTo>
                <a:lnTo>
                  <a:pt x="12076" y="1385"/>
                </a:lnTo>
                <a:lnTo>
                  <a:pt x="12083" y="1373"/>
                </a:lnTo>
                <a:lnTo>
                  <a:pt x="12087" y="1360"/>
                </a:lnTo>
                <a:lnTo>
                  <a:pt x="12090" y="1347"/>
                </a:lnTo>
                <a:lnTo>
                  <a:pt x="12093" y="1332"/>
                </a:lnTo>
                <a:lnTo>
                  <a:pt x="12094" y="1316"/>
                </a:lnTo>
                <a:lnTo>
                  <a:pt x="12094" y="1289"/>
                </a:lnTo>
                <a:close/>
                <a:moveTo>
                  <a:pt x="12210" y="1556"/>
                </a:moveTo>
                <a:lnTo>
                  <a:pt x="12189" y="1555"/>
                </a:lnTo>
                <a:lnTo>
                  <a:pt x="12171" y="1549"/>
                </a:lnTo>
                <a:lnTo>
                  <a:pt x="12154" y="1541"/>
                </a:lnTo>
                <a:lnTo>
                  <a:pt x="12140" y="1532"/>
                </a:lnTo>
                <a:lnTo>
                  <a:pt x="12129" y="1520"/>
                </a:lnTo>
                <a:lnTo>
                  <a:pt x="12121" y="1506"/>
                </a:lnTo>
                <a:lnTo>
                  <a:pt x="12115" y="1490"/>
                </a:lnTo>
                <a:lnTo>
                  <a:pt x="12112" y="1474"/>
                </a:lnTo>
                <a:lnTo>
                  <a:pt x="12100" y="1491"/>
                </a:lnTo>
                <a:lnTo>
                  <a:pt x="12085" y="1508"/>
                </a:lnTo>
                <a:lnTo>
                  <a:pt x="12066" y="1523"/>
                </a:lnTo>
                <a:lnTo>
                  <a:pt x="12045" y="1536"/>
                </a:lnTo>
                <a:lnTo>
                  <a:pt x="12021" y="1547"/>
                </a:lnTo>
                <a:lnTo>
                  <a:pt x="11995" y="1555"/>
                </a:lnTo>
                <a:lnTo>
                  <a:pt x="11966" y="1560"/>
                </a:lnTo>
                <a:lnTo>
                  <a:pt x="11936" y="1561"/>
                </a:lnTo>
                <a:lnTo>
                  <a:pt x="11911" y="1561"/>
                </a:lnTo>
                <a:lnTo>
                  <a:pt x="11887" y="1558"/>
                </a:lnTo>
                <a:lnTo>
                  <a:pt x="11865" y="1553"/>
                </a:lnTo>
                <a:lnTo>
                  <a:pt x="11845" y="1547"/>
                </a:lnTo>
                <a:lnTo>
                  <a:pt x="11826" y="1538"/>
                </a:lnTo>
                <a:lnTo>
                  <a:pt x="11809" y="1530"/>
                </a:lnTo>
                <a:lnTo>
                  <a:pt x="11794" y="1519"/>
                </a:lnTo>
                <a:lnTo>
                  <a:pt x="11780" y="1507"/>
                </a:lnTo>
                <a:lnTo>
                  <a:pt x="11767" y="1493"/>
                </a:lnTo>
                <a:lnTo>
                  <a:pt x="11756" y="1478"/>
                </a:lnTo>
                <a:lnTo>
                  <a:pt x="11747" y="1464"/>
                </a:lnTo>
                <a:lnTo>
                  <a:pt x="11739" y="1448"/>
                </a:lnTo>
                <a:lnTo>
                  <a:pt x="11734" y="1432"/>
                </a:lnTo>
                <a:lnTo>
                  <a:pt x="11730" y="1414"/>
                </a:lnTo>
                <a:lnTo>
                  <a:pt x="11726" y="1379"/>
                </a:lnTo>
                <a:lnTo>
                  <a:pt x="11727" y="1360"/>
                </a:lnTo>
                <a:lnTo>
                  <a:pt x="11731" y="1340"/>
                </a:lnTo>
                <a:lnTo>
                  <a:pt x="11735" y="1323"/>
                </a:lnTo>
                <a:lnTo>
                  <a:pt x="11742" y="1305"/>
                </a:lnTo>
                <a:lnTo>
                  <a:pt x="11749" y="1290"/>
                </a:lnTo>
                <a:lnTo>
                  <a:pt x="11759" y="1275"/>
                </a:lnTo>
                <a:lnTo>
                  <a:pt x="11771" y="1262"/>
                </a:lnTo>
                <a:lnTo>
                  <a:pt x="11783" y="1250"/>
                </a:lnTo>
                <a:lnTo>
                  <a:pt x="11812" y="1229"/>
                </a:lnTo>
                <a:lnTo>
                  <a:pt x="11828" y="1221"/>
                </a:lnTo>
                <a:lnTo>
                  <a:pt x="11846" y="1214"/>
                </a:lnTo>
                <a:lnTo>
                  <a:pt x="11883" y="1203"/>
                </a:lnTo>
                <a:lnTo>
                  <a:pt x="11923" y="1198"/>
                </a:lnTo>
                <a:lnTo>
                  <a:pt x="12094" y="1186"/>
                </a:lnTo>
                <a:lnTo>
                  <a:pt x="12094" y="1150"/>
                </a:lnTo>
                <a:lnTo>
                  <a:pt x="12093" y="1130"/>
                </a:lnTo>
                <a:lnTo>
                  <a:pt x="12089" y="1112"/>
                </a:lnTo>
                <a:lnTo>
                  <a:pt x="12083" y="1097"/>
                </a:lnTo>
                <a:lnTo>
                  <a:pt x="12074" y="1084"/>
                </a:lnTo>
                <a:lnTo>
                  <a:pt x="12068" y="1078"/>
                </a:lnTo>
                <a:lnTo>
                  <a:pt x="12061" y="1073"/>
                </a:lnTo>
                <a:lnTo>
                  <a:pt x="12044" y="1065"/>
                </a:lnTo>
                <a:lnTo>
                  <a:pt x="12022" y="1060"/>
                </a:lnTo>
                <a:lnTo>
                  <a:pt x="11995" y="1059"/>
                </a:lnTo>
                <a:lnTo>
                  <a:pt x="11972" y="1060"/>
                </a:lnTo>
                <a:lnTo>
                  <a:pt x="11951" y="1063"/>
                </a:lnTo>
                <a:lnTo>
                  <a:pt x="11934" y="1070"/>
                </a:lnTo>
                <a:lnTo>
                  <a:pt x="11919" y="1079"/>
                </a:lnTo>
                <a:lnTo>
                  <a:pt x="11907" y="1091"/>
                </a:lnTo>
                <a:lnTo>
                  <a:pt x="11898" y="1105"/>
                </a:lnTo>
                <a:lnTo>
                  <a:pt x="11892" y="1122"/>
                </a:lnTo>
                <a:lnTo>
                  <a:pt x="11889" y="1140"/>
                </a:lnTo>
                <a:lnTo>
                  <a:pt x="11755" y="1140"/>
                </a:lnTo>
                <a:lnTo>
                  <a:pt x="11757" y="1117"/>
                </a:lnTo>
                <a:lnTo>
                  <a:pt x="11761" y="1095"/>
                </a:lnTo>
                <a:lnTo>
                  <a:pt x="11769" y="1075"/>
                </a:lnTo>
                <a:lnTo>
                  <a:pt x="11777" y="1056"/>
                </a:lnTo>
                <a:lnTo>
                  <a:pt x="11787" y="1039"/>
                </a:lnTo>
                <a:lnTo>
                  <a:pt x="11800" y="1024"/>
                </a:lnTo>
                <a:lnTo>
                  <a:pt x="11813" y="1010"/>
                </a:lnTo>
                <a:lnTo>
                  <a:pt x="11830" y="998"/>
                </a:lnTo>
                <a:lnTo>
                  <a:pt x="11846" y="987"/>
                </a:lnTo>
                <a:lnTo>
                  <a:pt x="11864" y="977"/>
                </a:lnTo>
                <a:lnTo>
                  <a:pt x="11884" y="969"/>
                </a:lnTo>
                <a:lnTo>
                  <a:pt x="11903" y="963"/>
                </a:lnTo>
                <a:lnTo>
                  <a:pt x="11948" y="955"/>
                </a:lnTo>
                <a:lnTo>
                  <a:pt x="11995" y="952"/>
                </a:lnTo>
                <a:lnTo>
                  <a:pt x="12032" y="953"/>
                </a:lnTo>
                <a:lnTo>
                  <a:pt x="12066" y="958"/>
                </a:lnTo>
                <a:lnTo>
                  <a:pt x="12083" y="962"/>
                </a:lnTo>
                <a:lnTo>
                  <a:pt x="12099" y="966"/>
                </a:lnTo>
                <a:lnTo>
                  <a:pt x="12128" y="978"/>
                </a:lnTo>
                <a:lnTo>
                  <a:pt x="12143" y="986"/>
                </a:lnTo>
                <a:lnTo>
                  <a:pt x="12156" y="994"/>
                </a:lnTo>
                <a:lnTo>
                  <a:pt x="12168" y="1004"/>
                </a:lnTo>
                <a:lnTo>
                  <a:pt x="12178" y="1015"/>
                </a:lnTo>
                <a:lnTo>
                  <a:pt x="12188" y="1027"/>
                </a:lnTo>
                <a:lnTo>
                  <a:pt x="12198" y="1040"/>
                </a:lnTo>
                <a:lnTo>
                  <a:pt x="12213" y="1070"/>
                </a:lnTo>
                <a:lnTo>
                  <a:pt x="12222" y="1099"/>
                </a:lnTo>
                <a:lnTo>
                  <a:pt x="12226" y="1128"/>
                </a:lnTo>
                <a:lnTo>
                  <a:pt x="12229" y="1188"/>
                </a:lnTo>
                <a:lnTo>
                  <a:pt x="12229" y="1403"/>
                </a:lnTo>
                <a:lnTo>
                  <a:pt x="12232" y="1420"/>
                </a:lnTo>
                <a:lnTo>
                  <a:pt x="12237" y="1432"/>
                </a:lnTo>
                <a:lnTo>
                  <a:pt x="12241" y="1435"/>
                </a:lnTo>
                <a:lnTo>
                  <a:pt x="12247" y="1438"/>
                </a:lnTo>
                <a:lnTo>
                  <a:pt x="12262" y="1440"/>
                </a:lnTo>
                <a:lnTo>
                  <a:pt x="12279" y="1438"/>
                </a:lnTo>
                <a:lnTo>
                  <a:pt x="12279" y="1540"/>
                </a:lnTo>
                <a:lnTo>
                  <a:pt x="12249" y="1552"/>
                </a:lnTo>
                <a:lnTo>
                  <a:pt x="12232" y="1555"/>
                </a:lnTo>
                <a:lnTo>
                  <a:pt x="12210" y="1556"/>
                </a:lnTo>
                <a:close/>
                <a:moveTo>
                  <a:pt x="11596" y="1553"/>
                </a:moveTo>
                <a:lnTo>
                  <a:pt x="11562" y="1551"/>
                </a:lnTo>
                <a:lnTo>
                  <a:pt x="11546" y="1549"/>
                </a:lnTo>
                <a:lnTo>
                  <a:pt x="11531" y="1545"/>
                </a:lnTo>
                <a:lnTo>
                  <a:pt x="11517" y="1539"/>
                </a:lnTo>
                <a:lnTo>
                  <a:pt x="11504" y="1534"/>
                </a:lnTo>
                <a:lnTo>
                  <a:pt x="11492" y="1526"/>
                </a:lnTo>
                <a:lnTo>
                  <a:pt x="11481" y="1518"/>
                </a:lnTo>
                <a:lnTo>
                  <a:pt x="11471" y="1507"/>
                </a:lnTo>
                <a:lnTo>
                  <a:pt x="11462" y="1496"/>
                </a:lnTo>
                <a:lnTo>
                  <a:pt x="11455" y="1483"/>
                </a:lnTo>
                <a:lnTo>
                  <a:pt x="11449" y="1469"/>
                </a:lnTo>
                <a:lnTo>
                  <a:pt x="11441" y="1436"/>
                </a:lnTo>
                <a:lnTo>
                  <a:pt x="11438" y="1417"/>
                </a:lnTo>
                <a:lnTo>
                  <a:pt x="11437" y="1398"/>
                </a:lnTo>
                <a:lnTo>
                  <a:pt x="11437" y="740"/>
                </a:lnTo>
                <a:lnTo>
                  <a:pt x="11577" y="740"/>
                </a:lnTo>
                <a:lnTo>
                  <a:pt x="11577" y="1374"/>
                </a:lnTo>
                <a:lnTo>
                  <a:pt x="11579" y="1386"/>
                </a:lnTo>
                <a:lnTo>
                  <a:pt x="11580" y="1397"/>
                </a:lnTo>
                <a:lnTo>
                  <a:pt x="11583" y="1407"/>
                </a:lnTo>
                <a:lnTo>
                  <a:pt x="11588" y="1414"/>
                </a:lnTo>
                <a:lnTo>
                  <a:pt x="11595" y="1421"/>
                </a:lnTo>
                <a:lnTo>
                  <a:pt x="11605" y="1426"/>
                </a:lnTo>
                <a:lnTo>
                  <a:pt x="11618" y="1428"/>
                </a:lnTo>
                <a:lnTo>
                  <a:pt x="11634" y="1429"/>
                </a:lnTo>
                <a:lnTo>
                  <a:pt x="11657" y="1428"/>
                </a:lnTo>
                <a:lnTo>
                  <a:pt x="11657" y="1546"/>
                </a:lnTo>
                <a:lnTo>
                  <a:pt x="11626" y="1552"/>
                </a:lnTo>
                <a:lnTo>
                  <a:pt x="11596" y="1553"/>
                </a:lnTo>
                <a:close/>
                <a:moveTo>
                  <a:pt x="11139" y="1097"/>
                </a:moveTo>
                <a:lnTo>
                  <a:pt x="11131" y="1090"/>
                </a:lnTo>
                <a:lnTo>
                  <a:pt x="11122" y="1084"/>
                </a:lnTo>
                <a:lnTo>
                  <a:pt x="11103" y="1073"/>
                </a:lnTo>
                <a:lnTo>
                  <a:pt x="11091" y="1069"/>
                </a:lnTo>
                <a:lnTo>
                  <a:pt x="11079" y="1066"/>
                </a:lnTo>
                <a:lnTo>
                  <a:pt x="11051" y="1064"/>
                </a:lnTo>
                <a:lnTo>
                  <a:pt x="11020" y="1067"/>
                </a:lnTo>
                <a:lnTo>
                  <a:pt x="10994" y="1076"/>
                </a:lnTo>
                <a:lnTo>
                  <a:pt x="10971" y="1090"/>
                </a:lnTo>
                <a:lnTo>
                  <a:pt x="10961" y="1099"/>
                </a:lnTo>
                <a:lnTo>
                  <a:pt x="10954" y="1109"/>
                </a:lnTo>
                <a:lnTo>
                  <a:pt x="10941" y="1128"/>
                </a:lnTo>
                <a:lnTo>
                  <a:pt x="10931" y="1149"/>
                </a:lnTo>
                <a:lnTo>
                  <a:pt x="10926" y="1172"/>
                </a:lnTo>
                <a:lnTo>
                  <a:pt x="10923" y="1199"/>
                </a:lnTo>
                <a:lnTo>
                  <a:pt x="11174" y="1199"/>
                </a:lnTo>
                <a:lnTo>
                  <a:pt x="11173" y="1183"/>
                </a:lnTo>
                <a:lnTo>
                  <a:pt x="11171" y="1168"/>
                </a:lnTo>
                <a:lnTo>
                  <a:pt x="11165" y="1141"/>
                </a:lnTo>
                <a:lnTo>
                  <a:pt x="11154" y="1117"/>
                </a:lnTo>
                <a:lnTo>
                  <a:pt x="11146" y="1106"/>
                </a:lnTo>
                <a:lnTo>
                  <a:pt x="11139" y="1097"/>
                </a:lnTo>
                <a:close/>
                <a:moveTo>
                  <a:pt x="11312" y="1300"/>
                </a:moveTo>
                <a:lnTo>
                  <a:pt x="10924" y="1300"/>
                </a:lnTo>
                <a:lnTo>
                  <a:pt x="10924" y="1317"/>
                </a:lnTo>
                <a:lnTo>
                  <a:pt x="10927" y="1333"/>
                </a:lnTo>
                <a:lnTo>
                  <a:pt x="10935" y="1364"/>
                </a:lnTo>
                <a:lnTo>
                  <a:pt x="10941" y="1378"/>
                </a:lnTo>
                <a:lnTo>
                  <a:pt x="10948" y="1391"/>
                </a:lnTo>
                <a:lnTo>
                  <a:pt x="10957" y="1403"/>
                </a:lnTo>
                <a:lnTo>
                  <a:pt x="10967" y="1414"/>
                </a:lnTo>
                <a:lnTo>
                  <a:pt x="10983" y="1427"/>
                </a:lnTo>
                <a:lnTo>
                  <a:pt x="11003" y="1439"/>
                </a:lnTo>
                <a:lnTo>
                  <a:pt x="11027" y="1447"/>
                </a:lnTo>
                <a:lnTo>
                  <a:pt x="11053" y="1450"/>
                </a:lnTo>
                <a:lnTo>
                  <a:pt x="11080" y="1448"/>
                </a:lnTo>
                <a:lnTo>
                  <a:pt x="11103" y="1444"/>
                </a:lnTo>
                <a:lnTo>
                  <a:pt x="11121" y="1435"/>
                </a:lnTo>
                <a:lnTo>
                  <a:pt x="11137" y="1422"/>
                </a:lnTo>
                <a:lnTo>
                  <a:pt x="11146" y="1412"/>
                </a:lnTo>
                <a:lnTo>
                  <a:pt x="11154" y="1401"/>
                </a:lnTo>
                <a:lnTo>
                  <a:pt x="11160" y="1388"/>
                </a:lnTo>
                <a:lnTo>
                  <a:pt x="11166" y="1373"/>
                </a:lnTo>
                <a:lnTo>
                  <a:pt x="11299" y="1373"/>
                </a:lnTo>
                <a:lnTo>
                  <a:pt x="11293" y="1400"/>
                </a:lnTo>
                <a:lnTo>
                  <a:pt x="11288" y="1415"/>
                </a:lnTo>
                <a:lnTo>
                  <a:pt x="11282" y="1429"/>
                </a:lnTo>
                <a:lnTo>
                  <a:pt x="11267" y="1457"/>
                </a:lnTo>
                <a:lnTo>
                  <a:pt x="11250" y="1481"/>
                </a:lnTo>
                <a:lnTo>
                  <a:pt x="11231" y="1500"/>
                </a:lnTo>
                <a:lnTo>
                  <a:pt x="11209" y="1518"/>
                </a:lnTo>
                <a:lnTo>
                  <a:pt x="11186" y="1532"/>
                </a:lnTo>
                <a:lnTo>
                  <a:pt x="11161" y="1543"/>
                </a:lnTo>
                <a:lnTo>
                  <a:pt x="11136" y="1551"/>
                </a:lnTo>
                <a:lnTo>
                  <a:pt x="11109" y="1557"/>
                </a:lnTo>
                <a:lnTo>
                  <a:pt x="11082" y="1560"/>
                </a:lnTo>
                <a:lnTo>
                  <a:pt x="11055" y="1561"/>
                </a:lnTo>
                <a:lnTo>
                  <a:pt x="11027" y="1560"/>
                </a:lnTo>
                <a:lnTo>
                  <a:pt x="10999" y="1557"/>
                </a:lnTo>
                <a:lnTo>
                  <a:pt x="10986" y="1553"/>
                </a:lnTo>
                <a:lnTo>
                  <a:pt x="10974" y="1550"/>
                </a:lnTo>
                <a:lnTo>
                  <a:pt x="10951" y="1543"/>
                </a:lnTo>
                <a:lnTo>
                  <a:pt x="10929" y="1532"/>
                </a:lnTo>
                <a:lnTo>
                  <a:pt x="10909" y="1520"/>
                </a:lnTo>
                <a:lnTo>
                  <a:pt x="10890" y="1506"/>
                </a:lnTo>
                <a:lnTo>
                  <a:pt x="10872" y="1490"/>
                </a:lnTo>
                <a:lnTo>
                  <a:pt x="10852" y="1468"/>
                </a:lnTo>
                <a:lnTo>
                  <a:pt x="10833" y="1444"/>
                </a:lnTo>
                <a:lnTo>
                  <a:pt x="10818" y="1417"/>
                </a:lnTo>
                <a:lnTo>
                  <a:pt x="10806" y="1388"/>
                </a:lnTo>
                <a:lnTo>
                  <a:pt x="10801" y="1374"/>
                </a:lnTo>
                <a:lnTo>
                  <a:pt x="10796" y="1359"/>
                </a:lnTo>
                <a:lnTo>
                  <a:pt x="10789" y="1326"/>
                </a:lnTo>
                <a:lnTo>
                  <a:pt x="10784" y="1292"/>
                </a:lnTo>
                <a:lnTo>
                  <a:pt x="10783" y="1258"/>
                </a:lnTo>
                <a:lnTo>
                  <a:pt x="10784" y="1224"/>
                </a:lnTo>
                <a:lnTo>
                  <a:pt x="10788" y="1190"/>
                </a:lnTo>
                <a:lnTo>
                  <a:pt x="10794" y="1159"/>
                </a:lnTo>
                <a:lnTo>
                  <a:pt x="10804" y="1128"/>
                </a:lnTo>
                <a:lnTo>
                  <a:pt x="10816" y="1100"/>
                </a:lnTo>
                <a:lnTo>
                  <a:pt x="10830" y="1073"/>
                </a:lnTo>
                <a:lnTo>
                  <a:pt x="10847" y="1048"/>
                </a:lnTo>
                <a:lnTo>
                  <a:pt x="10867" y="1026"/>
                </a:lnTo>
                <a:lnTo>
                  <a:pt x="10883" y="1010"/>
                </a:lnTo>
                <a:lnTo>
                  <a:pt x="10903" y="995"/>
                </a:lnTo>
                <a:lnTo>
                  <a:pt x="10923" y="982"/>
                </a:lnTo>
                <a:lnTo>
                  <a:pt x="10946" y="971"/>
                </a:lnTo>
                <a:lnTo>
                  <a:pt x="10970" y="964"/>
                </a:lnTo>
                <a:lnTo>
                  <a:pt x="10995" y="957"/>
                </a:lnTo>
                <a:lnTo>
                  <a:pt x="11022" y="953"/>
                </a:lnTo>
                <a:lnTo>
                  <a:pt x="11052" y="952"/>
                </a:lnTo>
                <a:lnTo>
                  <a:pt x="11083" y="954"/>
                </a:lnTo>
                <a:lnTo>
                  <a:pt x="11115" y="958"/>
                </a:lnTo>
                <a:lnTo>
                  <a:pt x="11144" y="967"/>
                </a:lnTo>
                <a:lnTo>
                  <a:pt x="11172" y="978"/>
                </a:lnTo>
                <a:lnTo>
                  <a:pt x="11198" y="993"/>
                </a:lnTo>
                <a:lnTo>
                  <a:pt x="11222" y="1012"/>
                </a:lnTo>
                <a:lnTo>
                  <a:pt x="11244" y="1033"/>
                </a:lnTo>
                <a:lnTo>
                  <a:pt x="11263" y="1060"/>
                </a:lnTo>
                <a:lnTo>
                  <a:pt x="11278" y="1084"/>
                </a:lnTo>
                <a:lnTo>
                  <a:pt x="11290" y="1107"/>
                </a:lnTo>
                <a:lnTo>
                  <a:pt x="11306" y="1156"/>
                </a:lnTo>
                <a:lnTo>
                  <a:pt x="11310" y="1183"/>
                </a:lnTo>
                <a:lnTo>
                  <a:pt x="11312" y="1208"/>
                </a:lnTo>
                <a:lnTo>
                  <a:pt x="11313" y="1261"/>
                </a:lnTo>
                <a:lnTo>
                  <a:pt x="11312" y="1300"/>
                </a:lnTo>
                <a:close/>
                <a:moveTo>
                  <a:pt x="10509" y="1111"/>
                </a:moveTo>
                <a:lnTo>
                  <a:pt x="10502" y="1103"/>
                </a:lnTo>
                <a:lnTo>
                  <a:pt x="10493" y="1097"/>
                </a:lnTo>
                <a:lnTo>
                  <a:pt x="10472" y="1085"/>
                </a:lnTo>
                <a:lnTo>
                  <a:pt x="10462" y="1080"/>
                </a:lnTo>
                <a:lnTo>
                  <a:pt x="10449" y="1077"/>
                </a:lnTo>
                <a:lnTo>
                  <a:pt x="10421" y="1074"/>
                </a:lnTo>
                <a:lnTo>
                  <a:pt x="10394" y="1077"/>
                </a:lnTo>
                <a:lnTo>
                  <a:pt x="10370" y="1085"/>
                </a:lnTo>
                <a:lnTo>
                  <a:pt x="10350" y="1097"/>
                </a:lnTo>
                <a:lnTo>
                  <a:pt x="10341" y="1103"/>
                </a:lnTo>
                <a:lnTo>
                  <a:pt x="10333" y="1111"/>
                </a:lnTo>
                <a:lnTo>
                  <a:pt x="10322" y="1125"/>
                </a:lnTo>
                <a:lnTo>
                  <a:pt x="10313" y="1141"/>
                </a:lnTo>
                <a:lnTo>
                  <a:pt x="10306" y="1159"/>
                </a:lnTo>
                <a:lnTo>
                  <a:pt x="10301" y="1177"/>
                </a:lnTo>
                <a:lnTo>
                  <a:pt x="10294" y="1216"/>
                </a:lnTo>
                <a:lnTo>
                  <a:pt x="10292" y="1256"/>
                </a:lnTo>
                <a:lnTo>
                  <a:pt x="10292" y="1277"/>
                </a:lnTo>
                <a:lnTo>
                  <a:pt x="10294" y="1298"/>
                </a:lnTo>
                <a:lnTo>
                  <a:pt x="10301" y="1337"/>
                </a:lnTo>
                <a:lnTo>
                  <a:pt x="10306" y="1355"/>
                </a:lnTo>
                <a:lnTo>
                  <a:pt x="10313" y="1372"/>
                </a:lnTo>
                <a:lnTo>
                  <a:pt x="10322" y="1388"/>
                </a:lnTo>
                <a:lnTo>
                  <a:pt x="10333" y="1403"/>
                </a:lnTo>
                <a:lnTo>
                  <a:pt x="10341" y="1410"/>
                </a:lnTo>
                <a:lnTo>
                  <a:pt x="10350" y="1417"/>
                </a:lnTo>
                <a:lnTo>
                  <a:pt x="10370" y="1429"/>
                </a:lnTo>
                <a:lnTo>
                  <a:pt x="10382" y="1434"/>
                </a:lnTo>
                <a:lnTo>
                  <a:pt x="10394" y="1437"/>
                </a:lnTo>
                <a:lnTo>
                  <a:pt x="10421" y="1440"/>
                </a:lnTo>
                <a:lnTo>
                  <a:pt x="10449" y="1437"/>
                </a:lnTo>
                <a:lnTo>
                  <a:pt x="10472" y="1429"/>
                </a:lnTo>
                <a:lnTo>
                  <a:pt x="10493" y="1417"/>
                </a:lnTo>
                <a:lnTo>
                  <a:pt x="10502" y="1410"/>
                </a:lnTo>
                <a:lnTo>
                  <a:pt x="10509" y="1403"/>
                </a:lnTo>
                <a:lnTo>
                  <a:pt x="10521" y="1388"/>
                </a:lnTo>
                <a:lnTo>
                  <a:pt x="10530" y="1372"/>
                </a:lnTo>
                <a:lnTo>
                  <a:pt x="10538" y="1355"/>
                </a:lnTo>
                <a:lnTo>
                  <a:pt x="10543" y="1337"/>
                </a:lnTo>
                <a:lnTo>
                  <a:pt x="10550" y="1298"/>
                </a:lnTo>
                <a:lnTo>
                  <a:pt x="10551" y="1256"/>
                </a:lnTo>
                <a:lnTo>
                  <a:pt x="10551" y="1236"/>
                </a:lnTo>
                <a:lnTo>
                  <a:pt x="10550" y="1216"/>
                </a:lnTo>
                <a:lnTo>
                  <a:pt x="10543" y="1177"/>
                </a:lnTo>
                <a:lnTo>
                  <a:pt x="10538" y="1159"/>
                </a:lnTo>
                <a:lnTo>
                  <a:pt x="10530" y="1141"/>
                </a:lnTo>
                <a:lnTo>
                  <a:pt x="10521" y="1125"/>
                </a:lnTo>
                <a:lnTo>
                  <a:pt x="10509" y="1111"/>
                </a:lnTo>
                <a:close/>
                <a:moveTo>
                  <a:pt x="10625" y="1471"/>
                </a:moveTo>
                <a:lnTo>
                  <a:pt x="10608" y="1489"/>
                </a:lnTo>
                <a:lnTo>
                  <a:pt x="10589" y="1506"/>
                </a:lnTo>
                <a:lnTo>
                  <a:pt x="10566" y="1521"/>
                </a:lnTo>
                <a:lnTo>
                  <a:pt x="10541" y="1535"/>
                </a:lnTo>
                <a:lnTo>
                  <a:pt x="10514" y="1546"/>
                </a:lnTo>
                <a:lnTo>
                  <a:pt x="10484" y="1555"/>
                </a:lnTo>
                <a:lnTo>
                  <a:pt x="10454" y="1560"/>
                </a:lnTo>
                <a:lnTo>
                  <a:pt x="10421" y="1561"/>
                </a:lnTo>
                <a:lnTo>
                  <a:pt x="10389" y="1560"/>
                </a:lnTo>
                <a:lnTo>
                  <a:pt x="10358" y="1555"/>
                </a:lnTo>
                <a:lnTo>
                  <a:pt x="10329" y="1546"/>
                </a:lnTo>
                <a:lnTo>
                  <a:pt x="10302" y="1535"/>
                </a:lnTo>
                <a:lnTo>
                  <a:pt x="10277" y="1521"/>
                </a:lnTo>
                <a:lnTo>
                  <a:pt x="10255" y="1506"/>
                </a:lnTo>
                <a:lnTo>
                  <a:pt x="10236" y="1489"/>
                </a:lnTo>
                <a:lnTo>
                  <a:pt x="10227" y="1481"/>
                </a:lnTo>
                <a:lnTo>
                  <a:pt x="10218" y="1471"/>
                </a:lnTo>
                <a:lnTo>
                  <a:pt x="10190" y="1428"/>
                </a:lnTo>
                <a:lnTo>
                  <a:pt x="10178" y="1406"/>
                </a:lnTo>
                <a:lnTo>
                  <a:pt x="10168" y="1380"/>
                </a:lnTo>
                <a:lnTo>
                  <a:pt x="10161" y="1353"/>
                </a:lnTo>
                <a:lnTo>
                  <a:pt x="10155" y="1324"/>
                </a:lnTo>
                <a:lnTo>
                  <a:pt x="10152" y="1292"/>
                </a:lnTo>
                <a:lnTo>
                  <a:pt x="10151" y="1256"/>
                </a:lnTo>
                <a:lnTo>
                  <a:pt x="10152" y="1222"/>
                </a:lnTo>
                <a:lnTo>
                  <a:pt x="10155" y="1189"/>
                </a:lnTo>
                <a:lnTo>
                  <a:pt x="10161" y="1160"/>
                </a:lnTo>
                <a:lnTo>
                  <a:pt x="10168" y="1134"/>
                </a:lnTo>
                <a:lnTo>
                  <a:pt x="10178" y="1109"/>
                </a:lnTo>
                <a:lnTo>
                  <a:pt x="10190" y="1085"/>
                </a:lnTo>
                <a:lnTo>
                  <a:pt x="10203" y="1063"/>
                </a:lnTo>
                <a:lnTo>
                  <a:pt x="10218" y="1042"/>
                </a:lnTo>
                <a:lnTo>
                  <a:pt x="10236" y="1025"/>
                </a:lnTo>
                <a:lnTo>
                  <a:pt x="10255" y="1007"/>
                </a:lnTo>
                <a:lnTo>
                  <a:pt x="10277" y="992"/>
                </a:lnTo>
                <a:lnTo>
                  <a:pt x="10302" y="979"/>
                </a:lnTo>
                <a:lnTo>
                  <a:pt x="10329" y="967"/>
                </a:lnTo>
                <a:lnTo>
                  <a:pt x="10358" y="960"/>
                </a:lnTo>
                <a:lnTo>
                  <a:pt x="10389" y="954"/>
                </a:lnTo>
                <a:lnTo>
                  <a:pt x="10421" y="952"/>
                </a:lnTo>
                <a:lnTo>
                  <a:pt x="10454" y="954"/>
                </a:lnTo>
                <a:lnTo>
                  <a:pt x="10484" y="960"/>
                </a:lnTo>
                <a:lnTo>
                  <a:pt x="10514" y="967"/>
                </a:lnTo>
                <a:lnTo>
                  <a:pt x="10541" y="979"/>
                </a:lnTo>
                <a:lnTo>
                  <a:pt x="10566" y="992"/>
                </a:lnTo>
                <a:lnTo>
                  <a:pt x="10589" y="1007"/>
                </a:lnTo>
                <a:lnTo>
                  <a:pt x="10608" y="1025"/>
                </a:lnTo>
                <a:lnTo>
                  <a:pt x="10617" y="1033"/>
                </a:lnTo>
                <a:lnTo>
                  <a:pt x="10625" y="1042"/>
                </a:lnTo>
                <a:lnTo>
                  <a:pt x="10654" y="1085"/>
                </a:lnTo>
                <a:lnTo>
                  <a:pt x="10665" y="1109"/>
                </a:lnTo>
                <a:lnTo>
                  <a:pt x="10675" y="1134"/>
                </a:lnTo>
                <a:lnTo>
                  <a:pt x="10682" y="1160"/>
                </a:lnTo>
                <a:lnTo>
                  <a:pt x="10688" y="1189"/>
                </a:lnTo>
                <a:lnTo>
                  <a:pt x="10692" y="1222"/>
                </a:lnTo>
                <a:lnTo>
                  <a:pt x="10693" y="1256"/>
                </a:lnTo>
                <a:lnTo>
                  <a:pt x="10692" y="1292"/>
                </a:lnTo>
                <a:lnTo>
                  <a:pt x="10688" y="1324"/>
                </a:lnTo>
                <a:lnTo>
                  <a:pt x="10682" y="1353"/>
                </a:lnTo>
                <a:lnTo>
                  <a:pt x="10675" y="1380"/>
                </a:lnTo>
                <a:lnTo>
                  <a:pt x="10665" y="1406"/>
                </a:lnTo>
                <a:lnTo>
                  <a:pt x="10654" y="1428"/>
                </a:lnTo>
                <a:lnTo>
                  <a:pt x="10640" y="1450"/>
                </a:lnTo>
                <a:lnTo>
                  <a:pt x="10625" y="1471"/>
                </a:lnTo>
                <a:close/>
                <a:moveTo>
                  <a:pt x="9890" y="1547"/>
                </a:moveTo>
                <a:lnTo>
                  <a:pt x="9890" y="1191"/>
                </a:lnTo>
                <a:lnTo>
                  <a:pt x="9889" y="1166"/>
                </a:lnTo>
                <a:lnTo>
                  <a:pt x="9885" y="1146"/>
                </a:lnTo>
                <a:lnTo>
                  <a:pt x="9882" y="1136"/>
                </a:lnTo>
                <a:lnTo>
                  <a:pt x="9879" y="1126"/>
                </a:lnTo>
                <a:lnTo>
                  <a:pt x="9875" y="1118"/>
                </a:lnTo>
                <a:lnTo>
                  <a:pt x="9869" y="1111"/>
                </a:lnTo>
                <a:lnTo>
                  <a:pt x="9863" y="1104"/>
                </a:lnTo>
                <a:lnTo>
                  <a:pt x="9856" y="1098"/>
                </a:lnTo>
                <a:lnTo>
                  <a:pt x="9840" y="1089"/>
                </a:lnTo>
                <a:lnTo>
                  <a:pt x="9819" y="1084"/>
                </a:lnTo>
                <a:lnTo>
                  <a:pt x="9793" y="1081"/>
                </a:lnTo>
                <a:lnTo>
                  <a:pt x="9776" y="1082"/>
                </a:lnTo>
                <a:lnTo>
                  <a:pt x="9760" y="1087"/>
                </a:lnTo>
                <a:lnTo>
                  <a:pt x="9746" y="1093"/>
                </a:lnTo>
                <a:lnTo>
                  <a:pt x="9732" y="1102"/>
                </a:lnTo>
                <a:lnTo>
                  <a:pt x="9721" y="1113"/>
                </a:lnTo>
                <a:lnTo>
                  <a:pt x="9710" y="1126"/>
                </a:lnTo>
                <a:lnTo>
                  <a:pt x="9701" y="1140"/>
                </a:lnTo>
                <a:lnTo>
                  <a:pt x="9693" y="1155"/>
                </a:lnTo>
                <a:lnTo>
                  <a:pt x="9687" y="1173"/>
                </a:lnTo>
                <a:lnTo>
                  <a:pt x="9681" y="1192"/>
                </a:lnTo>
                <a:lnTo>
                  <a:pt x="9678" y="1212"/>
                </a:lnTo>
                <a:lnTo>
                  <a:pt x="9676" y="1231"/>
                </a:lnTo>
                <a:lnTo>
                  <a:pt x="9675" y="1272"/>
                </a:lnTo>
                <a:lnTo>
                  <a:pt x="9674" y="1311"/>
                </a:lnTo>
                <a:lnTo>
                  <a:pt x="9674" y="1547"/>
                </a:lnTo>
                <a:lnTo>
                  <a:pt x="9535" y="1547"/>
                </a:lnTo>
                <a:lnTo>
                  <a:pt x="9535" y="966"/>
                </a:lnTo>
                <a:lnTo>
                  <a:pt x="9652" y="966"/>
                </a:lnTo>
                <a:lnTo>
                  <a:pt x="9662" y="1041"/>
                </a:lnTo>
                <a:lnTo>
                  <a:pt x="9677" y="1019"/>
                </a:lnTo>
                <a:lnTo>
                  <a:pt x="9693" y="1001"/>
                </a:lnTo>
                <a:lnTo>
                  <a:pt x="9714" y="986"/>
                </a:lnTo>
                <a:lnTo>
                  <a:pt x="9736" y="974"/>
                </a:lnTo>
                <a:lnTo>
                  <a:pt x="9759" y="964"/>
                </a:lnTo>
                <a:lnTo>
                  <a:pt x="9782" y="957"/>
                </a:lnTo>
                <a:lnTo>
                  <a:pt x="9807" y="953"/>
                </a:lnTo>
                <a:lnTo>
                  <a:pt x="9832" y="952"/>
                </a:lnTo>
                <a:lnTo>
                  <a:pt x="9855" y="953"/>
                </a:lnTo>
                <a:lnTo>
                  <a:pt x="9877" y="956"/>
                </a:lnTo>
                <a:lnTo>
                  <a:pt x="9897" y="961"/>
                </a:lnTo>
                <a:lnTo>
                  <a:pt x="9916" y="967"/>
                </a:lnTo>
                <a:lnTo>
                  <a:pt x="9934" y="976"/>
                </a:lnTo>
                <a:lnTo>
                  <a:pt x="9949" y="986"/>
                </a:lnTo>
                <a:lnTo>
                  <a:pt x="9964" y="998"/>
                </a:lnTo>
                <a:lnTo>
                  <a:pt x="9977" y="1011"/>
                </a:lnTo>
                <a:lnTo>
                  <a:pt x="9989" y="1025"/>
                </a:lnTo>
                <a:lnTo>
                  <a:pt x="10000" y="1041"/>
                </a:lnTo>
                <a:lnTo>
                  <a:pt x="10008" y="1059"/>
                </a:lnTo>
                <a:lnTo>
                  <a:pt x="10016" y="1076"/>
                </a:lnTo>
                <a:lnTo>
                  <a:pt x="10022" y="1095"/>
                </a:lnTo>
                <a:lnTo>
                  <a:pt x="10026" y="1116"/>
                </a:lnTo>
                <a:lnTo>
                  <a:pt x="10028" y="1138"/>
                </a:lnTo>
                <a:lnTo>
                  <a:pt x="10029" y="1160"/>
                </a:lnTo>
                <a:lnTo>
                  <a:pt x="10029" y="1547"/>
                </a:lnTo>
                <a:lnTo>
                  <a:pt x="9890" y="1547"/>
                </a:lnTo>
                <a:close/>
                <a:moveTo>
                  <a:pt x="9222" y="1547"/>
                </a:moveTo>
                <a:lnTo>
                  <a:pt x="9222" y="966"/>
                </a:lnTo>
                <a:lnTo>
                  <a:pt x="9363" y="966"/>
                </a:lnTo>
                <a:lnTo>
                  <a:pt x="9363" y="1547"/>
                </a:lnTo>
                <a:lnTo>
                  <a:pt x="9222" y="1547"/>
                </a:lnTo>
                <a:close/>
                <a:moveTo>
                  <a:pt x="9217" y="886"/>
                </a:moveTo>
                <a:lnTo>
                  <a:pt x="9217" y="742"/>
                </a:lnTo>
                <a:lnTo>
                  <a:pt x="9366" y="742"/>
                </a:lnTo>
                <a:lnTo>
                  <a:pt x="9366" y="886"/>
                </a:lnTo>
                <a:lnTo>
                  <a:pt x="9217" y="886"/>
                </a:lnTo>
                <a:close/>
                <a:moveTo>
                  <a:pt x="8918" y="1097"/>
                </a:moveTo>
                <a:lnTo>
                  <a:pt x="8910" y="1090"/>
                </a:lnTo>
                <a:lnTo>
                  <a:pt x="8901" y="1084"/>
                </a:lnTo>
                <a:lnTo>
                  <a:pt x="8881" y="1073"/>
                </a:lnTo>
                <a:lnTo>
                  <a:pt x="8870" y="1069"/>
                </a:lnTo>
                <a:lnTo>
                  <a:pt x="8857" y="1066"/>
                </a:lnTo>
                <a:lnTo>
                  <a:pt x="8830" y="1064"/>
                </a:lnTo>
                <a:lnTo>
                  <a:pt x="8799" y="1067"/>
                </a:lnTo>
                <a:lnTo>
                  <a:pt x="8772" y="1076"/>
                </a:lnTo>
                <a:lnTo>
                  <a:pt x="8749" y="1090"/>
                </a:lnTo>
                <a:lnTo>
                  <a:pt x="8740" y="1099"/>
                </a:lnTo>
                <a:lnTo>
                  <a:pt x="8732" y="1109"/>
                </a:lnTo>
                <a:lnTo>
                  <a:pt x="8719" y="1128"/>
                </a:lnTo>
                <a:lnTo>
                  <a:pt x="8710" y="1149"/>
                </a:lnTo>
                <a:lnTo>
                  <a:pt x="8705" y="1172"/>
                </a:lnTo>
                <a:lnTo>
                  <a:pt x="8701" y="1199"/>
                </a:lnTo>
                <a:lnTo>
                  <a:pt x="8952" y="1199"/>
                </a:lnTo>
                <a:lnTo>
                  <a:pt x="8952" y="1183"/>
                </a:lnTo>
                <a:lnTo>
                  <a:pt x="8950" y="1168"/>
                </a:lnTo>
                <a:lnTo>
                  <a:pt x="8943" y="1141"/>
                </a:lnTo>
                <a:lnTo>
                  <a:pt x="8932" y="1117"/>
                </a:lnTo>
                <a:lnTo>
                  <a:pt x="8925" y="1106"/>
                </a:lnTo>
                <a:lnTo>
                  <a:pt x="8918" y="1097"/>
                </a:lnTo>
                <a:close/>
                <a:moveTo>
                  <a:pt x="9091" y="1300"/>
                </a:moveTo>
                <a:lnTo>
                  <a:pt x="8703" y="1300"/>
                </a:lnTo>
                <a:lnTo>
                  <a:pt x="8703" y="1317"/>
                </a:lnTo>
                <a:lnTo>
                  <a:pt x="8706" y="1333"/>
                </a:lnTo>
                <a:lnTo>
                  <a:pt x="8713" y="1364"/>
                </a:lnTo>
                <a:lnTo>
                  <a:pt x="8720" y="1378"/>
                </a:lnTo>
                <a:lnTo>
                  <a:pt x="8726" y="1391"/>
                </a:lnTo>
                <a:lnTo>
                  <a:pt x="8735" y="1403"/>
                </a:lnTo>
                <a:lnTo>
                  <a:pt x="8746" y="1414"/>
                </a:lnTo>
                <a:lnTo>
                  <a:pt x="8762" y="1427"/>
                </a:lnTo>
                <a:lnTo>
                  <a:pt x="8782" y="1439"/>
                </a:lnTo>
                <a:lnTo>
                  <a:pt x="8805" y="1447"/>
                </a:lnTo>
                <a:lnTo>
                  <a:pt x="8832" y="1450"/>
                </a:lnTo>
                <a:lnTo>
                  <a:pt x="8859" y="1448"/>
                </a:lnTo>
                <a:lnTo>
                  <a:pt x="8881" y="1444"/>
                </a:lnTo>
                <a:lnTo>
                  <a:pt x="8900" y="1435"/>
                </a:lnTo>
                <a:lnTo>
                  <a:pt x="8916" y="1422"/>
                </a:lnTo>
                <a:lnTo>
                  <a:pt x="8925" y="1412"/>
                </a:lnTo>
                <a:lnTo>
                  <a:pt x="8933" y="1401"/>
                </a:lnTo>
                <a:lnTo>
                  <a:pt x="8939" y="1388"/>
                </a:lnTo>
                <a:lnTo>
                  <a:pt x="8944" y="1373"/>
                </a:lnTo>
                <a:lnTo>
                  <a:pt x="9077" y="1373"/>
                </a:lnTo>
                <a:lnTo>
                  <a:pt x="9072" y="1400"/>
                </a:lnTo>
                <a:lnTo>
                  <a:pt x="9066" y="1415"/>
                </a:lnTo>
                <a:lnTo>
                  <a:pt x="9060" y="1429"/>
                </a:lnTo>
                <a:lnTo>
                  <a:pt x="9046" y="1457"/>
                </a:lnTo>
                <a:lnTo>
                  <a:pt x="9028" y="1481"/>
                </a:lnTo>
                <a:lnTo>
                  <a:pt x="9009" y="1500"/>
                </a:lnTo>
                <a:lnTo>
                  <a:pt x="8988" y="1518"/>
                </a:lnTo>
                <a:lnTo>
                  <a:pt x="8964" y="1532"/>
                </a:lnTo>
                <a:lnTo>
                  <a:pt x="8940" y="1543"/>
                </a:lnTo>
                <a:lnTo>
                  <a:pt x="8914" y="1551"/>
                </a:lnTo>
                <a:lnTo>
                  <a:pt x="8888" y="1557"/>
                </a:lnTo>
                <a:lnTo>
                  <a:pt x="8861" y="1560"/>
                </a:lnTo>
                <a:lnTo>
                  <a:pt x="8834" y="1561"/>
                </a:lnTo>
                <a:lnTo>
                  <a:pt x="8805" y="1560"/>
                </a:lnTo>
                <a:lnTo>
                  <a:pt x="8777" y="1557"/>
                </a:lnTo>
                <a:lnTo>
                  <a:pt x="8765" y="1553"/>
                </a:lnTo>
                <a:lnTo>
                  <a:pt x="8752" y="1550"/>
                </a:lnTo>
                <a:lnTo>
                  <a:pt x="8730" y="1543"/>
                </a:lnTo>
                <a:lnTo>
                  <a:pt x="8708" y="1532"/>
                </a:lnTo>
                <a:lnTo>
                  <a:pt x="8687" y="1520"/>
                </a:lnTo>
                <a:lnTo>
                  <a:pt x="8669" y="1506"/>
                </a:lnTo>
                <a:lnTo>
                  <a:pt x="8650" y="1490"/>
                </a:lnTo>
                <a:lnTo>
                  <a:pt x="8630" y="1468"/>
                </a:lnTo>
                <a:lnTo>
                  <a:pt x="8612" y="1444"/>
                </a:lnTo>
                <a:lnTo>
                  <a:pt x="8597" y="1417"/>
                </a:lnTo>
                <a:lnTo>
                  <a:pt x="8584" y="1388"/>
                </a:lnTo>
                <a:lnTo>
                  <a:pt x="8579" y="1374"/>
                </a:lnTo>
                <a:lnTo>
                  <a:pt x="8574" y="1359"/>
                </a:lnTo>
                <a:lnTo>
                  <a:pt x="8567" y="1326"/>
                </a:lnTo>
                <a:lnTo>
                  <a:pt x="8562" y="1292"/>
                </a:lnTo>
                <a:lnTo>
                  <a:pt x="8561" y="1258"/>
                </a:lnTo>
                <a:lnTo>
                  <a:pt x="8562" y="1224"/>
                </a:lnTo>
                <a:lnTo>
                  <a:pt x="8567" y="1190"/>
                </a:lnTo>
                <a:lnTo>
                  <a:pt x="8573" y="1159"/>
                </a:lnTo>
                <a:lnTo>
                  <a:pt x="8582" y="1128"/>
                </a:lnTo>
                <a:lnTo>
                  <a:pt x="8594" y="1100"/>
                </a:lnTo>
                <a:lnTo>
                  <a:pt x="8608" y="1073"/>
                </a:lnTo>
                <a:lnTo>
                  <a:pt x="8625" y="1048"/>
                </a:lnTo>
                <a:lnTo>
                  <a:pt x="8645" y="1026"/>
                </a:lnTo>
                <a:lnTo>
                  <a:pt x="8662" y="1010"/>
                </a:lnTo>
                <a:lnTo>
                  <a:pt x="8681" y="995"/>
                </a:lnTo>
                <a:lnTo>
                  <a:pt x="8701" y="982"/>
                </a:lnTo>
                <a:lnTo>
                  <a:pt x="8724" y="971"/>
                </a:lnTo>
                <a:lnTo>
                  <a:pt x="8748" y="964"/>
                </a:lnTo>
                <a:lnTo>
                  <a:pt x="8774" y="957"/>
                </a:lnTo>
                <a:lnTo>
                  <a:pt x="8801" y="953"/>
                </a:lnTo>
                <a:lnTo>
                  <a:pt x="8831" y="952"/>
                </a:lnTo>
                <a:lnTo>
                  <a:pt x="8862" y="954"/>
                </a:lnTo>
                <a:lnTo>
                  <a:pt x="8893" y="958"/>
                </a:lnTo>
                <a:lnTo>
                  <a:pt x="8922" y="967"/>
                </a:lnTo>
                <a:lnTo>
                  <a:pt x="8950" y="978"/>
                </a:lnTo>
                <a:lnTo>
                  <a:pt x="8976" y="993"/>
                </a:lnTo>
                <a:lnTo>
                  <a:pt x="9001" y="1012"/>
                </a:lnTo>
                <a:lnTo>
                  <a:pt x="9023" y="1033"/>
                </a:lnTo>
                <a:lnTo>
                  <a:pt x="9043" y="1060"/>
                </a:lnTo>
                <a:lnTo>
                  <a:pt x="9057" y="1084"/>
                </a:lnTo>
                <a:lnTo>
                  <a:pt x="9069" y="1107"/>
                </a:lnTo>
                <a:lnTo>
                  <a:pt x="9084" y="1156"/>
                </a:lnTo>
                <a:lnTo>
                  <a:pt x="9088" y="1183"/>
                </a:lnTo>
                <a:lnTo>
                  <a:pt x="9091" y="1208"/>
                </a:lnTo>
                <a:lnTo>
                  <a:pt x="9092" y="1261"/>
                </a:lnTo>
                <a:lnTo>
                  <a:pt x="9091" y="1300"/>
                </a:lnTo>
                <a:close/>
                <a:moveTo>
                  <a:pt x="8368" y="1547"/>
                </a:moveTo>
                <a:lnTo>
                  <a:pt x="8205" y="1293"/>
                </a:lnTo>
                <a:lnTo>
                  <a:pt x="8112" y="1395"/>
                </a:lnTo>
                <a:lnTo>
                  <a:pt x="8112" y="1547"/>
                </a:lnTo>
                <a:lnTo>
                  <a:pt x="7972" y="1547"/>
                </a:lnTo>
                <a:lnTo>
                  <a:pt x="7972" y="741"/>
                </a:lnTo>
                <a:lnTo>
                  <a:pt x="8112" y="741"/>
                </a:lnTo>
                <a:lnTo>
                  <a:pt x="8112" y="1202"/>
                </a:lnTo>
                <a:lnTo>
                  <a:pt x="8332" y="966"/>
                </a:lnTo>
                <a:lnTo>
                  <a:pt x="8507" y="966"/>
                </a:lnTo>
                <a:lnTo>
                  <a:pt x="8299" y="1191"/>
                </a:lnTo>
                <a:lnTo>
                  <a:pt x="8529" y="1547"/>
                </a:lnTo>
                <a:lnTo>
                  <a:pt x="8368" y="1547"/>
                </a:lnTo>
                <a:close/>
                <a:moveTo>
                  <a:pt x="7671" y="1547"/>
                </a:moveTo>
                <a:lnTo>
                  <a:pt x="7671" y="1191"/>
                </a:lnTo>
                <a:lnTo>
                  <a:pt x="7670" y="1166"/>
                </a:lnTo>
                <a:lnTo>
                  <a:pt x="7667" y="1146"/>
                </a:lnTo>
                <a:lnTo>
                  <a:pt x="7664" y="1136"/>
                </a:lnTo>
                <a:lnTo>
                  <a:pt x="7660" y="1126"/>
                </a:lnTo>
                <a:lnTo>
                  <a:pt x="7656" y="1118"/>
                </a:lnTo>
                <a:lnTo>
                  <a:pt x="7651" y="1111"/>
                </a:lnTo>
                <a:lnTo>
                  <a:pt x="7645" y="1104"/>
                </a:lnTo>
                <a:lnTo>
                  <a:pt x="7639" y="1098"/>
                </a:lnTo>
                <a:lnTo>
                  <a:pt x="7621" y="1089"/>
                </a:lnTo>
                <a:lnTo>
                  <a:pt x="7601" y="1084"/>
                </a:lnTo>
                <a:lnTo>
                  <a:pt x="7576" y="1081"/>
                </a:lnTo>
                <a:lnTo>
                  <a:pt x="7558" y="1082"/>
                </a:lnTo>
                <a:lnTo>
                  <a:pt x="7542" y="1087"/>
                </a:lnTo>
                <a:lnTo>
                  <a:pt x="7527" y="1093"/>
                </a:lnTo>
                <a:lnTo>
                  <a:pt x="7514" y="1102"/>
                </a:lnTo>
                <a:lnTo>
                  <a:pt x="7502" y="1113"/>
                </a:lnTo>
                <a:lnTo>
                  <a:pt x="7492" y="1126"/>
                </a:lnTo>
                <a:lnTo>
                  <a:pt x="7483" y="1140"/>
                </a:lnTo>
                <a:lnTo>
                  <a:pt x="7475" y="1155"/>
                </a:lnTo>
                <a:lnTo>
                  <a:pt x="7468" y="1173"/>
                </a:lnTo>
                <a:lnTo>
                  <a:pt x="7464" y="1192"/>
                </a:lnTo>
                <a:lnTo>
                  <a:pt x="7460" y="1212"/>
                </a:lnTo>
                <a:lnTo>
                  <a:pt x="7458" y="1231"/>
                </a:lnTo>
                <a:lnTo>
                  <a:pt x="7456" y="1272"/>
                </a:lnTo>
                <a:lnTo>
                  <a:pt x="7456" y="1311"/>
                </a:lnTo>
                <a:lnTo>
                  <a:pt x="7456" y="1547"/>
                </a:lnTo>
                <a:lnTo>
                  <a:pt x="7317" y="1547"/>
                </a:lnTo>
                <a:lnTo>
                  <a:pt x="7317" y="966"/>
                </a:lnTo>
                <a:lnTo>
                  <a:pt x="7434" y="966"/>
                </a:lnTo>
                <a:lnTo>
                  <a:pt x="7444" y="1041"/>
                </a:lnTo>
                <a:lnTo>
                  <a:pt x="7458" y="1019"/>
                </a:lnTo>
                <a:lnTo>
                  <a:pt x="7476" y="1001"/>
                </a:lnTo>
                <a:lnTo>
                  <a:pt x="7495" y="986"/>
                </a:lnTo>
                <a:lnTo>
                  <a:pt x="7517" y="974"/>
                </a:lnTo>
                <a:lnTo>
                  <a:pt x="7540" y="964"/>
                </a:lnTo>
                <a:lnTo>
                  <a:pt x="7565" y="957"/>
                </a:lnTo>
                <a:lnTo>
                  <a:pt x="7590" y="953"/>
                </a:lnTo>
                <a:lnTo>
                  <a:pt x="7615" y="952"/>
                </a:lnTo>
                <a:lnTo>
                  <a:pt x="7638" y="953"/>
                </a:lnTo>
                <a:lnTo>
                  <a:pt x="7658" y="956"/>
                </a:lnTo>
                <a:lnTo>
                  <a:pt x="7679" y="961"/>
                </a:lnTo>
                <a:lnTo>
                  <a:pt x="7697" y="967"/>
                </a:lnTo>
                <a:lnTo>
                  <a:pt x="7715" y="976"/>
                </a:lnTo>
                <a:lnTo>
                  <a:pt x="7731" y="986"/>
                </a:lnTo>
                <a:lnTo>
                  <a:pt x="7746" y="998"/>
                </a:lnTo>
                <a:lnTo>
                  <a:pt x="7759" y="1011"/>
                </a:lnTo>
                <a:lnTo>
                  <a:pt x="7771" y="1025"/>
                </a:lnTo>
                <a:lnTo>
                  <a:pt x="7781" y="1041"/>
                </a:lnTo>
                <a:lnTo>
                  <a:pt x="7790" y="1059"/>
                </a:lnTo>
                <a:lnTo>
                  <a:pt x="7797" y="1076"/>
                </a:lnTo>
                <a:lnTo>
                  <a:pt x="7804" y="1095"/>
                </a:lnTo>
                <a:lnTo>
                  <a:pt x="7807" y="1116"/>
                </a:lnTo>
                <a:lnTo>
                  <a:pt x="7810" y="1138"/>
                </a:lnTo>
                <a:lnTo>
                  <a:pt x="7810" y="1160"/>
                </a:lnTo>
                <a:lnTo>
                  <a:pt x="7810" y="1547"/>
                </a:lnTo>
                <a:lnTo>
                  <a:pt x="7671" y="1547"/>
                </a:lnTo>
                <a:close/>
                <a:moveTo>
                  <a:pt x="7012" y="1547"/>
                </a:moveTo>
                <a:lnTo>
                  <a:pt x="7012" y="966"/>
                </a:lnTo>
                <a:lnTo>
                  <a:pt x="7153" y="966"/>
                </a:lnTo>
                <a:lnTo>
                  <a:pt x="7153" y="1547"/>
                </a:lnTo>
                <a:lnTo>
                  <a:pt x="7012" y="1547"/>
                </a:lnTo>
                <a:close/>
                <a:moveTo>
                  <a:pt x="7006" y="886"/>
                </a:moveTo>
                <a:lnTo>
                  <a:pt x="7006" y="742"/>
                </a:lnTo>
                <a:lnTo>
                  <a:pt x="7156" y="742"/>
                </a:lnTo>
                <a:lnTo>
                  <a:pt x="7156" y="886"/>
                </a:lnTo>
                <a:lnTo>
                  <a:pt x="7006" y="886"/>
                </a:lnTo>
                <a:close/>
                <a:moveTo>
                  <a:pt x="6823" y="1553"/>
                </a:moveTo>
                <a:lnTo>
                  <a:pt x="6789" y="1551"/>
                </a:lnTo>
                <a:lnTo>
                  <a:pt x="6773" y="1549"/>
                </a:lnTo>
                <a:lnTo>
                  <a:pt x="6757" y="1545"/>
                </a:lnTo>
                <a:lnTo>
                  <a:pt x="6744" y="1539"/>
                </a:lnTo>
                <a:lnTo>
                  <a:pt x="6731" y="1534"/>
                </a:lnTo>
                <a:lnTo>
                  <a:pt x="6719" y="1526"/>
                </a:lnTo>
                <a:lnTo>
                  <a:pt x="6707" y="1518"/>
                </a:lnTo>
                <a:lnTo>
                  <a:pt x="6698" y="1507"/>
                </a:lnTo>
                <a:lnTo>
                  <a:pt x="6689" y="1496"/>
                </a:lnTo>
                <a:lnTo>
                  <a:pt x="6682" y="1483"/>
                </a:lnTo>
                <a:lnTo>
                  <a:pt x="6676" y="1469"/>
                </a:lnTo>
                <a:lnTo>
                  <a:pt x="6667" y="1436"/>
                </a:lnTo>
                <a:lnTo>
                  <a:pt x="6665" y="1417"/>
                </a:lnTo>
                <a:lnTo>
                  <a:pt x="6664" y="1398"/>
                </a:lnTo>
                <a:lnTo>
                  <a:pt x="6664" y="740"/>
                </a:lnTo>
                <a:lnTo>
                  <a:pt x="6805" y="740"/>
                </a:lnTo>
                <a:lnTo>
                  <a:pt x="6805" y="1374"/>
                </a:lnTo>
                <a:lnTo>
                  <a:pt x="6805" y="1386"/>
                </a:lnTo>
                <a:lnTo>
                  <a:pt x="6806" y="1397"/>
                </a:lnTo>
                <a:lnTo>
                  <a:pt x="6810" y="1407"/>
                </a:lnTo>
                <a:lnTo>
                  <a:pt x="6815" y="1414"/>
                </a:lnTo>
                <a:lnTo>
                  <a:pt x="6822" y="1421"/>
                </a:lnTo>
                <a:lnTo>
                  <a:pt x="6831" y="1426"/>
                </a:lnTo>
                <a:lnTo>
                  <a:pt x="6844" y="1428"/>
                </a:lnTo>
                <a:lnTo>
                  <a:pt x="6861" y="1429"/>
                </a:lnTo>
                <a:lnTo>
                  <a:pt x="6885" y="1428"/>
                </a:lnTo>
                <a:lnTo>
                  <a:pt x="6885" y="1546"/>
                </a:lnTo>
                <a:lnTo>
                  <a:pt x="6853" y="1552"/>
                </a:lnTo>
                <a:lnTo>
                  <a:pt x="6823" y="1553"/>
                </a:lnTo>
                <a:close/>
                <a:moveTo>
                  <a:pt x="5977" y="1547"/>
                </a:moveTo>
                <a:lnTo>
                  <a:pt x="5977" y="755"/>
                </a:lnTo>
                <a:lnTo>
                  <a:pt x="6540" y="755"/>
                </a:lnTo>
                <a:lnTo>
                  <a:pt x="6540" y="886"/>
                </a:lnTo>
                <a:lnTo>
                  <a:pt x="6121" y="886"/>
                </a:lnTo>
                <a:lnTo>
                  <a:pt x="6121" y="1070"/>
                </a:lnTo>
                <a:lnTo>
                  <a:pt x="6490" y="1070"/>
                </a:lnTo>
                <a:lnTo>
                  <a:pt x="6490" y="1200"/>
                </a:lnTo>
                <a:lnTo>
                  <a:pt x="6121" y="1200"/>
                </a:lnTo>
                <a:lnTo>
                  <a:pt x="6121" y="1416"/>
                </a:lnTo>
                <a:lnTo>
                  <a:pt x="6540" y="1416"/>
                </a:lnTo>
                <a:lnTo>
                  <a:pt x="6540" y="1547"/>
                </a:lnTo>
                <a:lnTo>
                  <a:pt x="5977" y="1547"/>
                </a:lnTo>
                <a:close/>
                <a:moveTo>
                  <a:pt x="11930" y="2637"/>
                </a:moveTo>
                <a:lnTo>
                  <a:pt x="11913" y="2655"/>
                </a:lnTo>
                <a:lnTo>
                  <a:pt x="11894" y="2672"/>
                </a:lnTo>
                <a:lnTo>
                  <a:pt x="11871" y="2687"/>
                </a:lnTo>
                <a:lnTo>
                  <a:pt x="11846" y="2701"/>
                </a:lnTo>
                <a:lnTo>
                  <a:pt x="11819" y="2712"/>
                </a:lnTo>
                <a:lnTo>
                  <a:pt x="11789" y="2721"/>
                </a:lnTo>
                <a:lnTo>
                  <a:pt x="11759" y="2726"/>
                </a:lnTo>
                <a:lnTo>
                  <a:pt x="11726" y="2727"/>
                </a:lnTo>
                <a:lnTo>
                  <a:pt x="11694" y="2726"/>
                </a:lnTo>
                <a:lnTo>
                  <a:pt x="11663" y="2721"/>
                </a:lnTo>
                <a:lnTo>
                  <a:pt x="11634" y="2712"/>
                </a:lnTo>
                <a:lnTo>
                  <a:pt x="11607" y="2701"/>
                </a:lnTo>
                <a:lnTo>
                  <a:pt x="11582" y="2687"/>
                </a:lnTo>
                <a:lnTo>
                  <a:pt x="11560" y="2672"/>
                </a:lnTo>
                <a:lnTo>
                  <a:pt x="11541" y="2655"/>
                </a:lnTo>
                <a:lnTo>
                  <a:pt x="11532" y="2647"/>
                </a:lnTo>
                <a:lnTo>
                  <a:pt x="11523" y="2637"/>
                </a:lnTo>
                <a:lnTo>
                  <a:pt x="11495" y="2594"/>
                </a:lnTo>
                <a:lnTo>
                  <a:pt x="11483" y="2572"/>
                </a:lnTo>
                <a:lnTo>
                  <a:pt x="11473" y="2547"/>
                </a:lnTo>
                <a:lnTo>
                  <a:pt x="11466" y="2519"/>
                </a:lnTo>
                <a:lnTo>
                  <a:pt x="11460" y="2490"/>
                </a:lnTo>
                <a:lnTo>
                  <a:pt x="11457" y="2457"/>
                </a:lnTo>
                <a:lnTo>
                  <a:pt x="11456" y="2423"/>
                </a:lnTo>
                <a:lnTo>
                  <a:pt x="11457" y="2388"/>
                </a:lnTo>
                <a:lnTo>
                  <a:pt x="11460" y="2355"/>
                </a:lnTo>
                <a:lnTo>
                  <a:pt x="11466" y="2326"/>
                </a:lnTo>
                <a:lnTo>
                  <a:pt x="11473" y="2300"/>
                </a:lnTo>
                <a:lnTo>
                  <a:pt x="11483" y="2275"/>
                </a:lnTo>
                <a:lnTo>
                  <a:pt x="11495" y="2251"/>
                </a:lnTo>
                <a:lnTo>
                  <a:pt x="11508" y="2229"/>
                </a:lnTo>
                <a:lnTo>
                  <a:pt x="11523" y="2208"/>
                </a:lnTo>
                <a:lnTo>
                  <a:pt x="11541" y="2190"/>
                </a:lnTo>
                <a:lnTo>
                  <a:pt x="11560" y="2173"/>
                </a:lnTo>
                <a:lnTo>
                  <a:pt x="11582" y="2158"/>
                </a:lnTo>
                <a:lnTo>
                  <a:pt x="11607" y="2144"/>
                </a:lnTo>
                <a:lnTo>
                  <a:pt x="11634" y="2133"/>
                </a:lnTo>
                <a:lnTo>
                  <a:pt x="11663" y="2125"/>
                </a:lnTo>
                <a:lnTo>
                  <a:pt x="11694" y="2120"/>
                </a:lnTo>
                <a:lnTo>
                  <a:pt x="11726" y="2118"/>
                </a:lnTo>
                <a:lnTo>
                  <a:pt x="11759" y="2120"/>
                </a:lnTo>
                <a:lnTo>
                  <a:pt x="11789" y="2125"/>
                </a:lnTo>
                <a:lnTo>
                  <a:pt x="11819" y="2133"/>
                </a:lnTo>
                <a:lnTo>
                  <a:pt x="11846" y="2144"/>
                </a:lnTo>
                <a:lnTo>
                  <a:pt x="11871" y="2158"/>
                </a:lnTo>
                <a:lnTo>
                  <a:pt x="11894" y="2173"/>
                </a:lnTo>
                <a:lnTo>
                  <a:pt x="11913" y="2190"/>
                </a:lnTo>
                <a:lnTo>
                  <a:pt x="11922" y="2200"/>
                </a:lnTo>
                <a:lnTo>
                  <a:pt x="11930" y="2208"/>
                </a:lnTo>
                <a:lnTo>
                  <a:pt x="11959" y="2251"/>
                </a:lnTo>
                <a:lnTo>
                  <a:pt x="11970" y="2275"/>
                </a:lnTo>
                <a:lnTo>
                  <a:pt x="11980" y="2300"/>
                </a:lnTo>
                <a:lnTo>
                  <a:pt x="11987" y="2326"/>
                </a:lnTo>
                <a:lnTo>
                  <a:pt x="11993" y="2355"/>
                </a:lnTo>
                <a:lnTo>
                  <a:pt x="11996" y="2388"/>
                </a:lnTo>
                <a:lnTo>
                  <a:pt x="11997" y="2423"/>
                </a:lnTo>
                <a:lnTo>
                  <a:pt x="11996" y="2457"/>
                </a:lnTo>
                <a:lnTo>
                  <a:pt x="11993" y="2490"/>
                </a:lnTo>
                <a:lnTo>
                  <a:pt x="11987" y="2519"/>
                </a:lnTo>
                <a:lnTo>
                  <a:pt x="11980" y="2547"/>
                </a:lnTo>
                <a:lnTo>
                  <a:pt x="11970" y="2572"/>
                </a:lnTo>
                <a:lnTo>
                  <a:pt x="11959" y="2594"/>
                </a:lnTo>
                <a:lnTo>
                  <a:pt x="11945" y="2616"/>
                </a:lnTo>
                <a:lnTo>
                  <a:pt x="11930" y="2637"/>
                </a:lnTo>
                <a:close/>
                <a:moveTo>
                  <a:pt x="11814" y="2277"/>
                </a:moveTo>
                <a:lnTo>
                  <a:pt x="11807" y="2269"/>
                </a:lnTo>
                <a:lnTo>
                  <a:pt x="11798" y="2263"/>
                </a:lnTo>
                <a:lnTo>
                  <a:pt x="11777" y="2251"/>
                </a:lnTo>
                <a:lnTo>
                  <a:pt x="11765" y="2246"/>
                </a:lnTo>
                <a:lnTo>
                  <a:pt x="11754" y="2242"/>
                </a:lnTo>
                <a:lnTo>
                  <a:pt x="11726" y="2240"/>
                </a:lnTo>
                <a:lnTo>
                  <a:pt x="11699" y="2242"/>
                </a:lnTo>
                <a:lnTo>
                  <a:pt x="11675" y="2251"/>
                </a:lnTo>
                <a:lnTo>
                  <a:pt x="11655" y="2263"/>
                </a:lnTo>
                <a:lnTo>
                  <a:pt x="11646" y="2269"/>
                </a:lnTo>
                <a:lnTo>
                  <a:pt x="11638" y="2277"/>
                </a:lnTo>
                <a:lnTo>
                  <a:pt x="11627" y="2291"/>
                </a:lnTo>
                <a:lnTo>
                  <a:pt x="11618" y="2307"/>
                </a:lnTo>
                <a:lnTo>
                  <a:pt x="11610" y="2325"/>
                </a:lnTo>
                <a:lnTo>
                  <a:pt x="11605" y="2343"/>
                </a:lnTo>
                <a:lnTo>
                  <a:pt x="11599" y="2382"/>
                </a:lnTo>
                <a:lnTo>
                  <a:pt x="11597" y="2423"/>
                </a:lnTo>
                <a:lnTo>
                  <a:pt x="11597" y="2443"/>
                </a:lnTo>
                <a:lnTo>
                  <a:pt x="11599" y="2464"/>
                </a:lnTo>
                <a:lnTo>
                  <a:pt x="11605" y="2502"/>
                </a:lnTo>
                <a:lnTo>
                  <a:pt x="11610" y="2520"/>
                </a:lnTo>
                <a:lnTo>
                  <a:pt x="11618" y="2538"/>
                </a:lnTo>
                <a:lnTo>
                  <a:pt x="11627" y="2554"/>
                </a:lnTo>
                <a:lnTo>
                  <a:pt x="11638" y="2569"/>
                </a:lnTo>
                <a:lnTo>
                  <a:pt x="11646" y="2576"/>
                </a:lnTo>
                <a:lnTo>
                  <a:pt x="11655" y="2584"/>
                </a:lnTo>
                <a:lnTo>
                  <a:pt x="11675" y="2594"/>
                </a:lnTo>
                <a:lnTo>
                  <a:pt x="11687" y="2600"/>
                </a:lnTo>
                <a:lnTo>
                  <a:pt x="11699" y="2603"/>
                </a:lnTo>
                <a:lnTo>
                  <a:pt x="11726" y="2605"/>
                </a:lnTo>
                <a:lnTo>
                  <a:pt x="11754" y="2603"/>
                </a:lnTo>
                <a:lnTo>
                  <a:pt x="11777" y="2594"/>
                </a:lnTo>
                <a:lnTo>
                  <a:pt x="11798" y="2584"/>
                </a:lnTo>
                <a:lnTo>
                  <a:pt x="11807" y="2576"/>
                </a:lnTo>
                <a:lnTo>
                  <a:pt x="11814" y="2569"/>
                </a:lnTo>
                <a:lnTo>
                  <a:pt x="11826" y="2554"/>
                </a:lnTo>
                <a:lnTo>
                  <a:pt x="11835" y="2538"/>
                </a:lnTo>
                <a:lnTo>
                  <a:pt x="11843" y="2520"/>
                </a:lnTo>
                <a:lnTo>
                  <a:pt x="11848" y="2502"/>
                </a:lnTo>
                <a:lnTo>
                  <a:pt x="11855" y="2464"/>
                </a:lnTo>
                <a:lnTo>
                  <a:pt x="11856" y="2423"/>
                </a:lnTo>
                <a:lnTo>
                  <a:pt x="11856" y="2402"/>
                </a:lnTo>
                <a:lnTo>
                  <a:pt x="11855" y="2382"/>
                </a:lnTo>
                <a:lnTo>
                  <a:pt x="11848" y="2343"/>
                </a:lnTo>
                <a:lnTo>
                  <a:pt x="11843" y="2325"/>
                </a:lnTo>
                <a:lnTo>
                  <a:pt x="11835" y="2307"/>
                </a:lnTo>
                <a:lnTo>
                  <a:pt x="11826" y="2291"/>
                </a:lnTo>
                <a:lnTo>
                  <a:pt x="11814" y="2277"/>
                </a:lnTo>
                <a:close/>
                <a:moveTo>
                  <a:pt x="4921" y="3366"/>
                </a:moveTo>
                <a:lnTo>
                  <a:pt x="4904" y="3364"/>
                </a:lnTo>
                <a:lnTo>
                  <a:pt x="4884" y="3357"/>
                </a:lnTo>
                <a:lnTo>
                  <a:pt x="4860" y="3346"/>
                </a:lnTo>
                <a:lnTo>
                  <a:pt x="4834" y="3332"/>
                </a:lnTo>
                <a:lnTo>
                  <a:pt x="4776" y="3293"/>
                </a:lnTo>
                <a:lnTo>
                  <a:pt x="4743" y="3269"/>
                </a:lnTo>
                <a:lnTo>
                  <a:pt x="4708" y="3241"/>
                </a:lnTo>
                <a:lnTo>
                  <a:pt x="4652" y="3194"/>
                </a:lnTo>
                <a:lnTo>
                  <a:pt x="4590" y="3139"/>
                </a:lnTo>
                <a:lnTo>
                  <a:pt x="4451" y="3010"/>
                </a:lnTo>
                <a:lnTo>
                  <a:pt x="4299" y="2862"/>
                </a:lnTo>
                <a:lnTo>
                  <a:pt x="4144" y="2704"/>
                </a:lnTo>
                <a:lnTo>
                  <a:pt x="3998" y="2546"/>
                </a:lnTo>
                <a:lnTo>
                  <a:pt x="3929" y="2469"/>
                </a:lnTo>
                <a:lnTo>
                  <a:pt x="3866" y="2395"/>
                </a:lnTo>
                <a:lnTo>
                  <a:pt x="3808" y="2326"/>
                </a:lnTo>
                <a:lnTo>
                  <a:pt x="3783" y="2293"/>
                </a:lnTo>
                <a:lnTo>
                  <a:pt x="3760" y="2262"/>
                </a:lnTo>
                <a:lnTo>
                  <a:pt x="3719" y="2204"/>
                </a:lnTo>
                <a:lnTo>
                  <a:pt x="3702" y="2179"/>
                </a:lnTo>
                <a:lnTo>
                  <a:pt x="3688" y="2155"/>
                </a:lnTo>
                <a:lnTo>
                  <a:pt x="3640" y="2059"/>
                </a:lnTo>
                <a:lnTo>
                  <a:pt x="3622" y="2014"/>
                </a:lnTo>
                <a:lnTo>
                  <a:pt x="3605" y="1968"/>
                </a:lnTo>
                <a:lnTo>
                  <a:pt x="3592" y="1923"/>
                </a:lnTo>
                <a:lnTo>
                  <a:pt x="3582" y="1879"/>
                </a:lnTo>
                <a:lnTo>
                  <a:pt x="3577" y="1833"/>
                </a:lnTo>
                <a:lnTo>
                  <a:pt x="3575" y="1786"/>
                </a:lnTo>
                <a:lnTo>
                  <a:pt x="3578" y="1735"/>
                </a:lnTo>
                <a:lnTo>
                  <a:pt x="3586" y="1682"/>
                </a:lnTo>
                <a:lnTo>
                  <a:pt x="3599" y="1627"/>
                </a:lnTo>
                <a:lnTo>
                  <a:pt x="3607" y="1599"/>
                </a:lnTo>
                <a:lnTo>
                  <a:pt x="3617" y="1572"/>
                </a:lnTo>
                <a:lnTo>
                  <a:pt x="3641" y="1514"/>
                </a:lnTo>
                <a:lnTo>
                  <a:pt x="3670" y="1454"/>
                </a:lnTo>
                <a:lnTo>
                  <a:pt x="3706" y="1394"/>
                </a:lnTo>
                <a:lnTo>
                  <a:pt x="3726" y="1362"/>
                </a:lnTo>
                <a:lnTo>
                  <a:pt x="3748" y="1329"/>
                </a:lnTo>
                <a:lnTo>
                  <a:pt x="3781" y="1283"/>
                </a:lnTo>
                <a:lnTo>
                  <a:pt x="3824" y="1228"/>
                </a:lnTo>
                <a:lnTo>
                  <a:pt x="3929" y="1101"/>
                </a:lnTo>
                <a:lnTo>
                  <a:pt x="4057" y="952"/>
                </a:lnTo>
                <a:lnTo>
                  <a:pt x="4203" y="787"/>
                </a:lnTo>
                <a:lnTo>
                  <a:pt x="4526" y="423"/>
                </a:lnTo>
                <a:lnTo>
                  <a:pt x="4690" y="234"/>
                </a:lnTo>
                <a:lnTo>
                  <a:pt x="4850" y="47"/>
                </a:lnTo>
                <a:lnTo>
                  <a:pt x="4860" y="45"/>
                </a:lnTo>
                <a:lnTo>
                  <a:pt x="4872" y="43"/>
                </a:lnTo>
                <a:lnTo>
                  <a:pt x="4892" y="41"/>
                </a:lnTo>
                <a:lnTo>
                  <a:pt x="4925" y="45"/>
                </a:lnTo>
                <a:lnTo>
                  <a:pt x="4944" y="49"/>
                </a:lnTo>
                <a:lnTo>
                  <a:pt x="4962" y="56"/>
                </a:lnTo>
                <a:lnTo>
                  <a:pt x="4983" y="63"/>
                </a:lnTo>
                <a:lnTo>
                  <a:pt x="5003" y="73"/>
                </a:lnTo>
                <a:lnTo>
                  <a:pt x="5043" y="96"/>
                </a:lnTo>
                <a:lnTo>
                  <a:pt x="5082" y="125"/>
                </a:lnTo>
                <a:lnTo>
                  <a:pt x="5100" y="142"/>
                </a:lnTo>
                <a:lnTo>
                  <a:pt x="5119" y="159"/>
                </a:lnTo>
                <a:lnTo>
                  <a:pt x="5135" y="178"/>
                </a:lnTo>
                <a:lnTo>
                  <a:pt x="5150" y="199"/>
                </a:lnTo>
                <a:lnTo>
                  <a:pt x="5165" y="221"/>
                </a:lnTo>
                <a:lnTo>
                  <a:pt x="5176" y="244"/>
                </a:lnTo>
                <a:lnTo>
                  <a:pt x="5184" y="266"/>
                </a:lnTo>
                <a:lnTo>
                  <a:pt x="5190" y="287"/>
                </a:lnTo>
                <a:lnTo>
                  <a:pt x="5193" y="310"/>
                </a:lnTo>
                <a:lnTo>
                  <a:pt x="5194" y="332"/>
                </a:lnTo>
                <a:lnTo>
                  <a:pt x="5193" y="357"/>
                </a:lnTo>
                <a:lnTo>
                  <a:pt x="5188" y="382"/>
                </a:lnTo>
                <a:lnTo>
                  <a:pt x="5182" y="407"/>
                </a:lnTo>
                <a:lnTo>
                  <a:pt x="5172" y="432"/>
                </a:lnTo>
                <a:lnTo>
                  <a:pt x="5161" y="458"/>
                </a:lnTo>
                <a:lnTo>
                  <a:pt x="5146" y="484"/>
                </a:lnTo>
                <a:lnTo>
                  <a:pt x="5130" y="511"/>
                </a:lnTo>
                <a:lnTo>
                  <a:pt x="5111" y="540"/>
                </a:lnTo>
                <a:lnTo>
                  <a:pt x="5078" y="584"/>
                </a:lnTo>
                <a:lnTo>
                  <a:pt x="5034" y="636"/>
                </a:lnTo>
                <a:lnTo>
                  <a:pt x="4927" y="763"/>
                </a:lnTo>
                <a:lnTo>
                  <a:pt x="4657" y="1067"/>
                </a:lnTo>
                <a:lnTo>
                  <a:pt x="4384" y="1378"/>
                </a:lnTo>
                <a:lnTo>
                  <a:pt x="4270" y="1512"/>
                </a:lnTo>
                <a:lnTo>
                  <a:pt x="4187" y="1621"/>
                </a:lnTo>
                <a:lnTo>
                  <a:pt x="4163" y="1655"/>
                </a:lnTo>
                <a:lnTo>
                  <a:pt x="4146" y="1688"/>
                </a:lnTo>
                <a:lnTo>
                  <a:pt x="4140" y="1706"/>
                </a:lnTo>
                <a:lnTo>
                  <a:pt x="4137" y="1722"/>
                </a:lnTo>
                <a:lnTo>
                  <a:pt x="4133" y="1739"/>
                </a:lnTo>
                <a:lnTo>
                  <a:pt x="4132" y="1757"/>
                </a:lnTo>
                <a:lnTo>
                  <a:pt x="4133" y="1778"/>
                </a:lnTo>
                <a:lnTo>
                  <a:pt x="4137" y="1797"/>
                </a:lnTo>
                <a:lnTo>
                  <a:pt x="4150" y="1837"/>
                </a:lnTo>
                <a:lnTo>
                  <a:pt x="4159" y="1858"/>
                </a:lnTo>
                <a:lnTo>
                  <a:pt x="4170" y="1880"/>
                </a:lnTo>
                <a:lnTo>
                  <a:pt x="4197" y="1923"/>
                </a:lnTo>
                <a:lnTo>
                  <a:pt x="4266" y="2007"/>
                </a:lnTo>
                <a:lnTo>
                  <a:pt x="4362" y="2117"/>
                </a:lnTo>
                <a:lnTo>
                  <a:pt x="4481" y="2245"/>
                </a:lnTo>
                <a:lnTo>
                  <a:pt x="4617" y="2388"/>
                </a:lnTo>
                <a:lnTo>
                  <a:pt x="4762" y="2537"/>
                </a:lnTo>
                <a:lnTo>
                  <a:pt x="4912" y="2688"/>
                </a:lnTo>
                <a:lnTo>
                  <a:pt x="5060" y="2834"/>
                </a:lnTo>
                <a:lnTo>
                  <a:pt x="5200" y="2968"/>
                </a:lnTo>
                <a:lnTo>
                  <a:pt x="5217" y="2986"/>
                </a:lnTo>
                <a:lnTo>
                  <a:pt x="5223" y="2995"/>
                </a:lnTo>
                <a:lnTo>
                  <a:pt x="5230" y="3005"/>
                </a:lnTo>
                <a:lnTo>
                  <a:pt x="5238" y="3026"/>
                </a:lnTo>
                <a:lnTo>
                  <a:pt x="5241" y="3038"/>
                </a:lnTo>
                <a:lnTo>
                  <a:pt x="5242" y="3051"/>
                </a:lnTo>
                <a:lnTo>
                  <a:pt x="5239" y="3076"/>
                </a:lnTo>
                <a:lnTo>
                  <a:pt x="5234" y="3102"/>
                </a:lnTo>
                <a:lnTo>
                  <a:pt x="5224" y="3129"/>
                </a:lnTo>
                <a:lnTo>
                  <a:pt x="5211" y="3156"/>
                </a:lnTo>
                <a:lnTo>
                  <a:pt x="5196" y="3182"/>
                </a:lnTo>
                <a:lnTo>
                  <a:pt x="5178" y="3208"/>
                </a:lnTo>
                <a:lnTo>
                  <a:pt x="5157" y="3233"/>
                </a:lnTo>
                <a:lnTo>
                  <a:pt x="5135" y="3257"/>
                </a:lnTo>
                <a:lnTo>
                  <a:pt x="5110" y="3280"/>
                </a:lnTo>
                <a:lnTo>
                  <a:pt x="5085" y="3300"/>
                </a:lnTo>
                <a:lnTo>
                  <a:pt x="5059" y="3319"/>
                </a:lnTo>
                <a:lnTo>
                  <a:pt x="5032" y="3335"/>
                </a:lnTo>
                <a:lnTo>
                  <a:pt x="5004" y="3347"/>
                </a:lnTo>
                <a:lnTo>
                  <a:pt x="4975" y="3357"/>
                </a:lnTo>
                <a:lnTo>
                  <a:pt x="4948" y="3364"/>
                </a:lnTo>
                <a:lnTo>
                  <a:pt x="4921" y="3366"/>
                </a:lnTo>
                <a:close/>
                <a:moveTo>
                  <a:pt x="1388" y="3419"/>
                </a:moveTo>
                <a:lnTo>
                  <a:pt x="1316" y="3417"/>
                </a:lnTo>
                <a:lnTo>
                  <a:pt x="1246" y="3410"/>
                </a:lnTo>
                <a:lnTo>
                  <a:pt x="1177" y="3401"/>
                </a:lnTo>
                <a:lnTo>
                  <a:pt x="1108" y="3386"/>
                </a:lnTo>
                <a:lnTo>
                  <a:pt x="1075" y="3378"/>
                </a:lnTo>
                <a:lnTo>
                  <a:pt x="1041" y="3368"/>
                </a:lnTo>
                <a:lnTo>
                  <a:pt x="976" y="3347"/>
                </a:lnTo>
                <a:lnTo>
                  <a:pt x="911" y="3321"/>
                </a:lnTo>
                <a:lnTo>
                  <a:pt x="879" y="3307"/>
                </a:lnTo>
                <a:lnTo>
                  <a:pt x="848" y="3293"/>
                </a:lnTo>
                <a:lnTo>
                  <a:pt x="787" y="3260"/>
                </a:lnTo>
                <a:lnTo>
                  <a:pt x="756" y="3243"/>
                </a:lnTo>
                <a:lnTo>
                  <a:pt x="727" y="3224"/>
                </a:lnTo>
                <a:lnTo>
                  <a:pt x="698" y="3206"/>
                </a:lnTo>
                <a:lnTo>
                  <a:pt x="668" y="3185"/>
                </a:lnTo>
                <a:lnTo>
                  <a:pt x="640" y="3164"/>
                </a:lnTo>
                <a:lnTo>
                  <a:pt x="613" y="3144"/>
                </a:lnTo>
                <a:lnTo>
                  <a:pt x="557" y="3098"/>
                </a:lnTo>
                <a:lnTo>
                  <a:pt x="505" y="3050"/>
                </a:lnTo>
                <a:lnTo>
                  <a:pt x="455" y="2999"/>
                </a:lnTo>
                <a:lnTo>
                  <a:pt x="406" y="2946"/>
                </a:lnTo>
                <a:lnTo>
                  <a:pt x="384" y="2918"/>
                </a:lnTo>
                <a:lnTo>
                  <a:pt x="361" y="2889"/>
                </a:lnTo>
                <a:lnTo>
                  <a:pt x="317" y="2831"/>
                </a:lnTo>
                <a:lnTo>
                  <a:pt x="276" y="2769"/>
                </a:lnTo>
                <a:lnTo>
                  <a:pt x="237" y="2704"/>
                </a:lnTo>
                <a:lnTo>
                  <a:pt x="218" y="2672"/>
                </a:lnTo>
                <a:lnTo>
                  <a:pt x="201" y="2639"/>
                </a:lnTo>
                <a:lnTo>
                  <a:pt x="167" y="2571"/>
                </a:lnTo>
                <a:lnTo>
                  <a:pt x="137" y="2500"/>
                </a:lnTo>
                <a:lnTo>
                  <a:pt x="110" y="2427"/>
                </a:lnTo>
                <a:lnTo>
                  <a:pt x="85" y="2353"/>
                </a:lnTo>
                <a:lnTo>
                  <a:pt x="63" y="2277"/>
                </a:lnTo>
                <a:lnTo>
                  <a:pt x="43" y="2199"/>
                </a:lnTo>
                <a:lnTo>
                  <a:pt x="28" y="2119"/>
                </a:lnTo>
                <a:lnTo>
                  <a:pt x="16" y="2039"/>
                </a:lnTo>
                <a:lnTo>
                  <a:pt x="8" y="1956"/>
                </a:lnTo>
                <a:lnTo>
                  <a:pt x="2" y="1872"/>
                </a:lnTo>
                <a:lnTo>
                  <a:pt x="0" y="1786"/>
                </a:lnTo>
                <a:lnTo>
                  <a:pt x="2" y="1699"/>
                </a:lnTo>
                <a:lnTo>
                  <a:pt x="8" y="1613"/>
                </a:lnTo>
                <a:lnTo>
                  <a:pt x="16" y="1527"/>
                </a:lnTo>
                <a:lnTo>
                  <a:pt x="29" y="1442"/>
                </a:lnTo>
                <a:lnTo>
                  <a:pt x="37" y="1400"/>
                </a:lnTo>
                <a:lnTo>
                  <a:pt x="46" y="1359"/>
                </a:lnTo>
                <a:lnTo>
                  <a:pt x="65" y="1276"/>
                </a:lnTo>
                <a:lnTo>
                  <a:pt x="89" y="1194"/>
                </a:lnTo>
                <a:lnTo>
                  <a:pt x="115" y="1114"/>
                </a:lnTo>
                <a:lnTo>
                  <a:pt x="145" y="1036"/>
                </a:lnTo>
                <a:lnTo>
                  <a:pt x="160" y="998"/>
                </a:lnTo>
                <a:lnTo>
                  <a:pt x="176" y="960"/>
                </a:lnTo>
                <a:lnTo>
                  <a:pt x="212" y="884"/>
                </a:lnTo>
                <a:lnTo>
                  <a:pt x="250" y="812"/>
                </a:lnTo>
                <a:lnTo>
                  <a:pt x="291" y="741"/>
                </a:lnTo>
                <a:lnTo>
                  <a:pt x="335" y="672"/>
                </a:lnTo>
                <a:lnTo>
                  <a:pt x="380" y="607"/>
                </a:lnTo>
                <a:lnTo>
                  <a:pt x="429" y="544"/>
                </a:lnTo>
                <a:lnTo>
                  <a:pt x="480" y="483"/>
                </a:lnTo>
                <a:lnTo>
                  <a:pt x="534" y="425"/>
                </a:lnTo>
                <a:lnTo>
                  <a:pt x="589" y="371"/>
                </a:lnTo>
                <a:lnTo>
                  <a:pt x="648" y="320"/>
                </a:lnTo>
                <a:lnTo>
                  <a:pt x="707" y="271"/>
                </a:lnTo>
                <a:lnTo>
                  <a:pt x="769" y="226"/>
                </a:lnTo>
                <a:lnTo>
                  <a:pt x="832" y="185"/>
                </a:lnTo>
                <a:lnTo>
                  <a:pt x="865" y="167"/>
                </a:lnTo>
                <a:lnTo>
                  <a:pt x="898" y="148"/>
                </a:lnTo>
                <a:lnTo>
                  <a:pt x="965" y="114"/>
                </a:lnTo>
                <a:lnTo>
                  <a:pt x="1034" y="85"/>
                </a:lnTo>
                <a:lnTo>
                  <a:pt x="1104" y="60"/>
                </a:lnTo>
                <a:lnTo>
                  <a:pt x="1140" y="48"/>
                </a:lnTo>
                <a:lnTo>
                  <a:pt x="1177" y="38"/>
                </a:lnTo>
                <a:lnTo>
                  <a:pt x="1250" y="22"/>
                </a:lnTo>
                <a:lnTo>
                  <a:pt x="1325" y="10"/>
                </a:lnTo>
                <a:lnTo>
                  <a:pt x="1400" y="2"/>
                </a:lnTo>
                <a:lnTo>
                  <a:pt x="1438" y="0"/>
                </a:lnTo>
                <a:lnTo>
                  <a:pt x="1477" y="0"/>
                </a:lnTo>
                <a:lnTo>
                  <a:pt x="1524" y="1"/>
                </a:lnTo>
                <a:lnTo>
                  <a:pt x="1571" y="4"/>
                </a:lnTo>
                <a:lnTo>
                  <a:pt x="1616" y="10"/>
                </a:lnTo>
                <a:lnTo>
                  <a:pt x="1660" y="17"/>
                </a:lnTo>
                <a:lnTo>
                  <a:pt x="1703" y="27"/>
                </a:lnTo>
                <a:lnTo>
                  <a:pt x="1744" y="38"/>
                </a:lnTo>
                <a:lnTo>
                  <a:pt x="1823" y="68"/>
                </a:lnTo>
                <a:lnTo>
                  <a:pt x="1860" y="84"/>
                </a:lnTo>
                <a:lnTo>
                  <a:pt x="1896" y="103"/>
                </a:lnTo>
                <a:lnTo>
                  <a:pt x="1931" y="124"/>
                </a:lnTo>
                <a:lnTo>
                  <a:pt x="1963" y="147"/>
                </a:lnTo>
                <a:lnTo>
                  <a:pt x="1996" y="171"/>
                </a:lnTo>
                <a:lnTo>
                  <a:pt x="2025" y="196"/>
                </a:lnTo>
                <a:lnTo>
                  <a:pt x="2055" y="223"/>
                </a:lnTo>
                <a:lnTo>
                  <a:pt x="2082" y="252"/>
                </a:lnTo>
                <a:lnTo>
                  <a:pt x="2108" y="283"/>
                </a:lnTo>
                <a:lnTo>
                  <a:pt x="2132" y="314"/>
                </a:lnTo>
                <a:lnTo>
                  <a:pt x="2155" y="347"/>
                </a:lnTo>
                <a:lnTo>
                  <a:pt x="2175" y="381"/>
                </a:lnTo>
                <a:lnTo>
                  <a:pt x="2213" y="454"/>
                </a:lnTo>
                <a:lnTo>
                  <a:pt x="2230" y="492"/>
                </a:lnTo>
                <a:lnTo>
                  <a:pt x="2245" y="531"/>
                </a:lnTo>
                <a:lnTo>
                  <a:pt x="2258" y="571"/>
                </a:lnTo>
                <a:lnTo>
                  <a:pt x="2269" y="613"/>
                </a:lnTo>
                <a:lnTo>
                  <a:pt x="2279" y="655"/>
                </a:lnTo>
                <a:lnTo>
                  <a:pt x="2286" y="697"/>
                </a:lnTo>
                <a:lnTo>
                  <a:pt x="2293" y="742"/>
                </a:lnTo>
                <a:lnTo>
                  <a:pt x="2297" y="787"/>
                </a:lnTo>
                <a:lnTo>
                  <a:pt x="2299" y="832"/>
                </a:lnTo>
                <a:lnTo>
                  <a:pt x="2300" y="878"/>
                </a:lnTo>
                <a:lnTo>
                  <a:pt x="2299" y="937"/>
                </a:lnTo>
                <a:lnTo>
                  <a:pt x="2294" y="994"/>
                </a:lnTo>
                <a:lnTo>
                  <a:pt x="2284" y="1052"/>
                </a:lnTo>
                <a:lnTo>
                  <a:pt x="2272" y="1109"/>
                </a:lnTo>
                <a:lnTo>
                  <a:pt x="2256" y="1165"/>
                </a:lnTo>
                <a:lnTo>
                  <a:pt x="2237" y="1219"/>
                </a:lnTo>
                <a:lnTo>
                  <a:pt x="2216" y="1274"/>
                </a:lnTo>
                <a:lnTo>
                  <a:pt x="2191" y="1328"/>
                </a:lnTo>
                <a:lnTo>
                  <a:pt x="2163" y="1380"/>
                </a:lnTo>
                <a:lnTo>
                  <a:pt x="2133" y="1432"/>
                </a:lnTo>
                <a:lnTo>
                  <a:pt x="2100" y="1482"/>
                </a:lnTo>
                <a:lnTo>
                  <a:pt x="2066" y="1530"/>
                </a:lnTo>
                <a:lnTo>
                  <a:pt x="2028" y="1577"/>
                </a:lnTo>
                <a:lnTo>
                  <a:pt x="1988" y="1623"/>
                </a:lnTo>
                <a:lnTo>
                  <a:pt x="1946" y="1667"/>
                </a:lnTo>
                <a:lnTo>
                  <a:pt x="1903" y="1709"/>
                </a:lnTo>
                <a:lnTo>
                  <a:pt x="1857" y="1749"/>
                </a:lnTo>
                <a:lnTo>
                  <a:pt x="1810" y="1787"/>
                </a:lnTo>
                <a:lnTo>
                  <a:pt x="1761" y="1824"/>
                </a:lnTo>
                <a:lnTo>
                  <a:pt x="1711" y="1858"/>
                </a:lnTo>
                <a:lnTo>
                  <a:pt x="1659" y="1891"/>
                </a:lnTo>
                <a:lnTo>
                  <a:pt x="1633" y="1906"/>
                </a:lnTo>
                <a:lnTo>
                  <a:pt x="1606" y="1920"/>
                </a:lnTo>
                <a:lnTo>
                  <a:pt x="1553" y="1948"/>
                </a:lnTo>
                <a:lnTo>
                  <a:pt x="1497" y="1972"/>
                </a:lnTo>
                <a:lnTo>
                  <a:pt x="1442" y="1995"/>
                </a:lnTo>
                <a:lnTo>
                  <a:pt x="1385" y="2015"/>
                </a:lnTo>
                <a:lnTo>
                  <a:pt x="1328" y="2032"/>
                </a:lnTo>
                <a:lnTo>
                  <a:pt x="1270" y="2046"/>
                </a:lnTo>
                <a:lnTo>
                  <a:pt x="1213" y="2057"/>
                </a:lnTo>
                <a:lnTo>
                  <a:pt x="1154" y="2065"/>
                </a:lnTo>
                <a:lnTo>
                  <a:pt x="1096" y="2070"/>
                </a:lnTo>
                <a:lnTo>
                  <a:pt x="1038" y="2071"/>
                </a:lnTo>
                <a:lnTo>
                  <a:pt x="1013" y="2070"/>
                </a:lnTo>
                <a:lnTo>
                  <a:pt x="988" y="2066"/>
                </a:lnTo>
                <a:lnTo>
                  <a:pt x="965" y="2058"/>
                </a:lnTo>
                <a:lnTo>
                  <a:pt x="942" y="2048"/>
                </a:lnTo>
                <a:lnTo>
                  <a:pt x="920" y="2036"/>
                </a:lnTo>
                <a:lnTo>
                  <a:pt x="901" y="2022"/>
                </a:lnTo>
                <a:lnTo>
                  <a:pt x="882" y="2005"/>
                </a:lnTo>
                <a:lnTo>
                  <a:pt x="865" y="1986"/>
                </a:lnTo>
                <a:lnTo>
                  <a:pt x="850" y="1966"/>
                </a:lnTo>
                <a:lnTo>
                  <a:pt x="836" y="1943"/>
                </a:lnTo>
                <a:lnTo>
                  <a:pt x="824" y="1919"/>
                </a:lnTo>
                <a:lnTo>
                  <a:pt x="814" y="1894"/>
                </a:lnTo>
                <a:lnTo>
                  <a:pt x="805" y="1867"/>
                </a:lnTo>
                <a:lnTo>
                  <a:pt x="800" y="1840"/>
                </a:lnTo>
                <a:lnTo>
                  <a:pt x="795" y="1810"/>
                </a:lnTo>
                <a:lnTo>
                  <a:pt x="794" y="1781"/>
                </a:lnTo>
                <a:lnTo>
                  <a:pt x="798" y="1729"/>
                </a:lnTo>
                <a:lnTo>
                  <a:pt x="803" y="1705"/>
                </a:lnTo>
                <a:lnTo>
                  <a:pt x="810" y="1683"/>
                </a:lnTo>
                <a:lnTo>
                  <a:pt x="818" y="1663"/>
                </a:lnTo>
                <a:lnTo>
                  <a:pt x="829" y="1646"/>
                </a:lnTo>
                <a:lnTo>
                  <a:pt x="843" y="1631"/>
                </a:lnTo>
                <a:lnTo>
                  <a:pt x="859" y="1621"/>
                </a:lnTo>
                <a:lnTo>
                  <a:pt x="911" y="1612"/>
                </a:lnTo>
                <a:lnTo>
                  <a:pt x="962" y="1602"/>
                </a:lnTo>
                <a:lnTo>
                  <a:pt x="1011" y="1590"/>
                </a:lnTo>
                <a:lnTo>
                  <a:pt x="1059" y="1577"/>
                </a:lnTo>
                <a:lnTo>
                  <a:pt x="1106" y="1562"/>
                </a:lnTo>
                <a:lnTo>
                  <a:pt x="1153" y="1546"/>
                </a:lnTo>
                <a:lnTo>
                  <a:pt x="1197" y="1528"/>
                </a:lnTo>
                <a:lnTo>
                  <a:pt x="1242" y="1509"/>
                </a:lnTo>
                <a:lnTo>
                  <a:pt x="1284" y="1488"/>
                </a:lnTo>
                <a:lnTo>
                  <a:pt x="1326" y="1466"/>
                </a:lnTo>
                <a:lnTo>
                  <a:pt x="1404" y="1420"/>
                </a:lnTo>
                <a:lnTo>
                  <a:pt x="1477" y="1369"/>
                </a:lnTo>
                <a:lnTo>
                  <a:pt x="1511" y="1341"/>
                </a:lnTo>
                <a:lnTo>
                  <a:pt x="1544" y="1314"/>
                </a:lnTo>
                <a:lnTo>
                  <a:pt x="1574" y="1286"/>
                </a:lnTo>
                <a:lnTo>
                  <a:pt x="1604" y="1256"/>
                </a:lnTo>
                <a:lnTo>
                  <a:pt x="1632" y="1226"/>
                </a:lnTo>
                <a:lnTo>
                  <a:pt x="1658" y="1196"/>
                </a:lnTo>
                <a:lnTo>
                  <a:pt x="1682" y="1164"/>
                </a:lnTo>
                <a:lnTo>
                  <a:pt x="1704" y="1132"/>
                </a:lnTo>
                <a:lnTo>
                  <a:pt x="1724" y="1101"/>
                </a:lnTo>
                <a:lnTo>
                  <a:pt x="1743" y="1068"/>
                </a:lnTo>
                <a:lnTo>
                  <a:pt x="1759" y="1036"/>
                </a:lnTo>
                <a:lnTo>
                  <a:pt x="1773" y="1003"/>
                </a:lnTo>
                <a:lnTo>
                  <a:pt x="1796" y="938"/>
                </a:lnTo>
                <a:lnTo>
                  <a:pt x="1804" y="905"/>
                </a:lnTo>
                <a:lnTo>
                  <a:pt x="1810" y="872"/>
                </a:lnTo>
                <a:lnTo>
                  <a:pt x="1814" y="840"/>
                </a:lnTo>
                <a:lnTo>
                  <a:pt x="1815" y="807"/>
                </a:lnTo>
                <a:lnTo>
                  <a:pt x="1812" y="768"/>
                </a:lnTo>
                <a:lnTo>
                  <a:pt x="1808" y="731"/>
                </a:lnTo>
                <a:lnTo>
                  <a:pt x="1799" y="696"/>
                </a:lnTo>
                <a:lnTo>
                  <a:pt x="1789" y="664"/>
                </a:lnTo>
                <a:lnTo>
                  <a:pt x="1774" y="633"/>
                </a:lnTo>
                <a:lnTo>
                  <a:pt x="1757" y="605"/>
                </a:lnTo>
                <a:lnTo>
                  <a:pt x="1737" y="579"/>
                </a:lnTo>
                <a:lnTo>
                  <a:pt x="1715" y="555"/>
                </a:lnTo>
                <a:lnTo>
                  <a:pt x="1689" y="534"/>
                </a:lnTo>
                <a:lnTo>
                  <a:pt x="1660" y="516"/>
                </a:lnTo>
                <a:lnTo>
                  <a:pt x="1630" y="499"/>
                </a:lnTo>
                <a:lnTo>
                  <a:pt x="1597" y="486"/>
                </a:lnTo>
                <a:lnTo>
                  <a:pt x="1579" y="481"/>
                </a:lnTo>
                <a:lnTo>
                  <a:pt x="1561" y="477"/>
                </a:lnTo>
                <a:lnTo>
                  <a:pt x="1523" y="469"/>
                </a:lnTo>
                <a:lnTo>
                  <a:pt x="1483" y="465"/>
                </a:lnTo>
                <a:lnTo>
                  <a:pt x="1441" y="462"/>
                </a:lnTo>
                <a:lnTo>
                  <a:pt x="1401" y="465"/>
                </a:lnTo>
                <a:lnTo>
                  <a:pt x="1359" y="470"/>
                </a:lnTo>
                <a:lnTo>
                  <a:pt x="1318" y="478"/>
                </a:lnTo>
                <a:lnTo>
                  <a:pt x="1277" y="490"/>
                </a:lnTo>
                <a:lnTo>
                  <a:pt x="1235" y="504"/>
                </a:lnTo>
                <a:lnTo>
                  <a:pt x="1195" y="522"/>
                </a:lnTo>
                <a:lnTo>
                  <a:pt x="1154" y="543"/>
                </a:lnTo>
                <a:lnTo>
                  <a:pt x="1114" y="566"/>
                </a:lnTo>
                <a:lnTo>
                  <a:pt x="1074" y="592"/>
                </a:lnTo>
                <a:lnTo>
                  <a:pt x="1034" y="621"/>
                </a:lnTo>
                <a:lnTo>
                  <a:pt x="995" y="653"/>
                </a:lnTo>
                <a:lnTo>
                  <a:pt x="958" y="686"/>
                </a:lnTo>
                <a:lnTo>
                  <a:pt x="921" y="722"/>
                </a:lnTo>
                <a:lnTo>
                  <a:pt x="884" y="762"/>
                </a:lnTo>
                <a:lnTo>
                  <a:pt x="850" y="803"/>
                </a:lnTo>
                <a:lnTo>
                  <a:pt x="816" y="845"/>
                </a:lnTo>
                <a:lnTo>
                  <a:pt x="752" y="939"/>
                </a:lnTo>
                <a:lnTo>
                  <a:pt x="723" y="988"/>
                </a:lnTo>
                <a:lnTo>
                  <a:pt x="694" y="1039"/>
                </a:lnTo>
                <a:lnTo>
                  <a:pt x="681" y="1065"/>
                </a:lnTo>
                <a:lnTo>
                  <a:pt x="668" y="1091"/>
                </a:lnTo>
                <a:lnTo>
                  <a:pt x="643" y="1146"/>
                </a:lnTo>
                <a:lnTo>
                  <a:pt x="620" y="1202"/>
                </a:lnTo>
                <a:lnTo>
                  <a:pt x="600" y="1260"/>
                </a:lnTo>
                <a:lnTo>
                  <a:pt x="580" y="1318"/>
                </a:lnTo>
                <a:lnTo>
                  <a:pt x="564" y="1378"/>
                </a:lnTo>
                <a:lnTo>
                  <a:pt x="550" y="1440"/>
                </a:lnTo>
                <a:lnTo>
                  <a:pt x="538" y="1502"/>
                </a:lnTo>
                <a:lnTo>
                  <a:pt x="528" y="1567"/>
                </a:lnTo>
                <a:lnTo>
                  <a:pt x="522" y="1631"/>
                </a:lnTo>
                <a:lnTo>
                  <a:pt x="517" y="1696"/>
                </a:lnTo>
                <a:lnTo>
                  <a:pt x="516" y="1763"/>
                </a:lnTo>
                <a:lnTo>
                  <a:pt x="517" y="1822"/>
                </a:lnTo>
                <a:lnTo>
                  <a:pt x="519" y="1881"/>
                </a:lnTo>
                <a:lnTo>
                  <a:pt x="525" y="1939"/>
                </a:lnTo>
                <a:lnTo>
                  <a:pt x="532" y="1994"/>
                </a:lnTo>
                <a:lnTo>
                  <a:pt x="541" y="2049"/>
                </a:lnTo>
                <a:lnTo>
                  <a:pt x="552" y="2103"/>
                </a:lnTo>
                <a:lnTo>
                  <a:pt x="564" y="2155"/>
                </a:lnTo>
                <a:lnTo>
                  <a:pt x="579" y="2206"/>
                </a:lnTo>
                <a:lnTo>
                  <a:pt x="595" y="2255"/>
                </a:lnTo>
                <a:lnTo>
                  <a:pt x="614" y="2303"/>
                </a:lnTo>
                <a:lnTo>
                  <a:pt x="633" y="2350"/>
                </a:lnTo>
                <a:lnTo>
                  <a:pt x="655" y="2394"/>
                </a:lnTo>
                <a:lnTo>
                  <a:pt x="678" y="2437"/>
                </a:lnTo>
                <a:lnTo>
                  <a:pt x="703" y="2478"/>
                </a:lnTo>
                <a:lnTo>
                  <a:pt x="730" y="2517"/>
                </a:lnTo>
                <a:lnTo>
                  <a:pt x="758" y="2555"/>
                </a:lnTo>
                <a:lnTo>
                  <a:pt x="788" y="2591"/>
                </a:lnTo>
                <a:lnTo>
                  <a:pt x="819" y="2625"/>
                </a:lnTo>
                <a:lnTo>
                  <a:pt x="852" y="2656"/>
                </a:lnTo>
                <a:lnTo>
                  <a:pt x="887" y="2687"/>
                </a:lnTo>
                <a:lnTo>
                  <a:pt x="923" y="2714"/>
                </a:lnTo>
                <a:lnTo>
                  <a:pt x="959" y="2740"/>
                </a:lnTo>
                <a:lnTo>
                  <a:pt x="999" y="2763"/>
                </a:lnTo>
                <a:lnTo>
                  <a:pt x="1039" y="2785"/>
                </a:lnTo>
                <a:lnTo>
                  <a:pt x="1080" y="2803"/>
                </a:lnTo>
                <a:lnTo>
                  <a:pt x="1122" y="2820"/>
                </a:lnTo>
                <a:lnTo>
                  <a:pt x="1167" y="2834"/>
                </a:lnTo>
                <a:lnTo>
                  <a:pt x="1213" y="2846"/>
                </a:lnTo>
                <a:lnTo>
                  <a:pt x="1258" y="2856"/>
                </a:lnTo>
                <a:lnTo>
                  <a:pt x="1306" y="2862"/>
                </a:lnTo>
                <a:lnTo>
                  <a:pt x="1355" y="2865"/>
                </a:lnTo>
                <a:lnTo>
                  <a:pt x="1405" y="2867"/>
                </a:lnTo>
                <a:lnTo>
                  <a:pt x="1454" y="2865"/>
                </a:lnTo>
                <a:lnTo>
                  <a:pt x="1503" y="2862"/>
                </a:lnTo>
                <a:lnTo>
                  <a:pt x="1551" y="2857"/>
                </a:lnTo>
                <a:lnTo>
                  <a:pt x="1597" y="2848"/>
                </a:lnTo>
                <a:lnTo>
                  <a:pt x="1644" y="2838"/>
                </a:lnTo>
                <a:lnTo>
                  <a:pt x="1690" y="2825"/>
                </a:lnTo>
                <a:lnTo>
                  <a:pt x="1734" y="2811"/>
                </a:lnTo>
                <a:lnTo>
                  <a:pt x="1779" y="2794"/>
                </a:lnTo>
                <a:lnTo>
                  <a:pt x="1821" y="2775"/>
                </a:lnTo>
                <a:lnTo>
                  <a:pt x="1865" y="2754"/>
                </a:lnTo>
                <a:lnTo>
                  <a:pt x="1906" y="2732"/>
                </a:lnTo>
                <a:lnTo>
                  <a:pt x="1947" y="2708"/>
                </a:lnTo>
                <a:lnTo>
                  <a:pt x="1987" y="2681"/>
                </a:lnTo>
                <a:lnTo>
                  <a:pt x="2028" y="2653"/>
                </a:lnTo>
                <a:lnTo>
                  <a:pt x="2066" y="2624"/>
                </a:lnTo>
                <a:lnTo>
                  <a:pt x="2105" y="2592"/>
                </a:lnTo>
                <a:lnTo>
                  <a:pt x="2142" y="2560"/>
                </a:lnTo>
                <a:lnTo>
                  <a:pt x="2179" y="2525"/>
                </a:lnTo>
                <a:lnTo>
                  <a:pt x="2249" y="2452"/>
                </a:lnTo>
                <a:lnTo>
                  <a:pt x="2283" y="2413"/>
                </a:lnTo>
                <a:lnTo>
                  <a:pt x="2317" y="2374"/>
                </a:lnTo>
                <a:lnTo>
                  <a:pt x="2381" y="2290"/>
                </a:lnTo>
                <a:lnTo>
                  <a:pt x="2443" y="2201"/>
                </a:lnTo>
                <a:lnTo>
                  <a:pt x="2501" y="2108"/>
                </a:lnTo>
                <a:lnTo>
                  <a:pt x="2556" y="2011"/>
                </a:lnTo>
                <a:lnTo>
                  <a:pt x="2608" y="1912"/>
                </a:lnTo>
                <a:lnTo>
                  <a:pt x="2656" y="1809"/>
                </a:lnTo>
                <a:lnTo>
                  <a:pt x="2701" y="1704"/>
                </a:lnTo>
                <a:lnTo>
                  <a:pt x="2743" y="1596"/>
                </a:lnTo>
                <a:lnTo>
                  <a:pt x="2781" y="1487"/>
                </a:lnTo>
                <a:lnTo>
                  <a:pt x="2815" y="1376"/>
                </a:lnTo>
                <a:lnTo>
                  <a:pt x="2847" y="1265"/>
                </a:lnTo>
                <a:lnTo>
                  <a:pt x="2875" y="1153"/>
                </a:lnTo>
                <a:lnTo>
                  <a:pt x="2888" y="1098"/>
                </a:lnTo>
                <a:lnTo>
                  <a:pt x="2899" y="1041"/>
                </a:lnTo>
                <a:lnTo>
                  <a:pt x="2921" y="930"/>
                </a:lnTo>
                <a:lnTo>
                  <a:pt x="2938" y="819"/>
                </a:lnTo>
                <a:lnTo>
                  <a:pt x="2951" y="709"/>
                </a:lnTo>
                <a:lnTo>
                  <a:pt x="2961" y="602"/>
                </a:lnTo>
                <a:lnTo>
                  <a:pt x="2967" y="496"/>
                </a:lnTo>
                <a:lnTo>
                  <a:pt x="2971" y="393"/>
                </a:lnTo>
                <a:lnTo>
                  <a:pt x="2970" y="293"/>
                </a:lnTo>
                <a:lnTo>
                  <a:pt x="2964" y="196"/>
                </a:lnTo>
                <a:lnTo>
                  <a:pt x="2969" y="185"/>
                </a:lnTo>
                <a:lnTo>
                  <a:pt x="2974" y="174"/>
                </a:lnTo>
                <a:lnTo>
                  <a:pt x="2989" y="153"/>
                </a:lnTo>
                <a:lnTo>
                  <a:pt x="3010" y="134"/>
                </a:lnTo>
                <a:lnTo>
                  <a:pt x="3035" y="118"/>
                </a:lnTo>
                <a:lnTo>
                  <a:pt x="3064" y="103"/>
                </a:lnTo>
                <a:lnTo>
                  <a:pt x="3097" y="93"/>
                </a:lnTo>
                <a:lnTo>
                  <a:pt x="3134" y="85"/>
                </a:lnTo>
                <a:lnTo>
                  <a:pt x="3172" y="83"/>
                </a:lnTo>
                <a:lnTo>
                  <a:pt x="3206" y="84"/>
                </a:lnTo>
                <a:lnTo>
                  <a:pt x="3238" y="88"/>
                </a:lnTo>
                <a:lnTo>
                  <a:pt x="3270" y="94"/>
                </a:lnTo>
                <a:lnTo>
                  <a:pt x="3299" y="102"/>
                </a:lnTo>
                <a:lnTo>
                  <a:pt x="3326" y="114"/>
                </a:lnTo>
                <a:lnTo>
                  <a:pt x="3352" y="130"/>
                </a:lnTo>
                <a:lnTo>
                  <a:pt x="3376" y="147"/>
                </a:lnTo>
                <a:lnTo>
                  <a:pt x="3398" y="169"/>
                </a:lnTo>
                <a:lnTo>
                  <a:pt x="3418" y="194"/>
                </a:lnTo>
                <a:lnTo>
                  <a:pt x="3436" y="222"/>
                </a:lnTo>
                <a:lnTo>
                  <a:pt x="3451" y="255"/>
                </a:lnTo>
                <a:lnTo>
                  <a:pt x="3463" y="291"/>
                </a:lnTo>
                <a:lnTo>
                  <a:pt x="3468" y="311"/>
                </a:lnTo>
                <a:lnTo>
                  <a:pt x="3473" y="332"/>
                </a:lnTo>
                <a:lnTo>
                  <a:pt x="3480" y="376"/>
                </a:lnTo>
                <a:lnTo>
                  <a:pt x="3485" y="427"/>
                </a:lnTo>
                <a:lnTo>
                  <a:pt x="3487" y="481"/>
                </a:lnTo>
                <a:lnTo>
                  <a:pt x="3481" y="626"/>
                </a:lnTo>
                <a:lnTo>
                  <a:pt x="3473" y="769"/>
                </a:lnTo>
                <a:lnTo>
                  <a:pt x="3459" y="912"/>
                </a:lnTo>
                <a:lnTo>
                  <a:pt x="3439" y="1052"/>
                </a:lnTo>
                <a:lnTo>
                  <a:pt x="3428" y="1122"/>
                </a:lnTo>
                <a:lnTo>
                  <a:pt x="3416" y="1190"/>
                </a:lnTo>
                <a:lnTo>
                  <a:pt x="3402" y="1259"/>
                </a:lnTo>
                <a:lnTo>
                  <a:pt x="3388" y="1327"/>
                </a:lnTo>
                <a:lnTo>
                  <a:pt x="3373" y="1395"/>
                </a:lnTo>
                <a:lnTo>
                  <a:pt x="3355" y="1462"/>
                </a:lnTo>
                <a:lnTo>
                  <a:pt x="3319" y="1594"/>
                </a:lnTo>
                <a:lnTo>
                  <a:pt x="3278" y="1722"/>
                </a:lnTo>
                <a:lnTo>
                  <a:pt x="3234" y="1848"/>
                </a:lnTo>
                <a:lnTo>
                  <a:pt x="3210" y="1910"/>
                </a:lnTo>
                <a:lnTo>
                  <a:pt x="3185" y="1971"/>
                </a:lnTo>
                <a:lnTo>
                  <a:pt x="3133" y="2091"/>
                </a:lnTo>
                <a:lnTo>
                  <a:pt x="3076" y="2207"/>
                </a:lnTo>
                <a:lnTo>
                  <a:pt x="3046" y="2264"/>
                </a:lnTo>
                <a:lnTo>
                  <a:pt x="3015" y="2319"/>
                </a:lnTo>
                <a:lnTo>
                  <a:pt x="2951" y="2427"/>
                </a:lnTo>
                <a:lnTo>
                  <a:pt x="2884" y="2531"/>
                </a:lnTo>
                <a:lnTo>
                  <a:pt x="2813" y="2630"/>
                </a:lnTo>
                <a:lnTo>
                  <a:pt x="2776" y="2678"/>
                </a:lnTo>
                <a:lnTo>
                  <a:pt x="2738" y="2724"/>
                </a:lnTo>
                <a:lnTo>
                  <a:pt x="2700" y="2770"/>
                </a:lnTo>
                <a:lnTo>
                  <a:pt x="2661" y="2814"/>
                </a:lnTo>
                <a:lnTo>
                  <a:pt x="2621" y="2857"/>
                </a:lnTo>
                <a:lnTo>
                  <a:pt x="2580" y="2898"/>
                </a:lnTo>
                <a:lnTo>
                  <a:pt x="2538" y="2938"/>
                </a:lnTo>
                <a:lnTo>
                  <a:pt x="2496" y="2976"/>
                </a:lnTo>
                <a:lnTo>
                  <a:pt x="2452" y="3013"/>
                </a:lnTo>
                <a:lnTo>
                  <a:pt x="2408" y="3049"/>
                </a:lnTo>
                <a:lnTo>
                  <a:pt x="2318" y="3117"/>
                </a:lnTo>
                <a:lnTo>
                  <a:pt x="2272" y="3148"/>
                </a:lnTo>
                <a:lnTo>
                  <a:pt x="2225" y="3178"/>
                </a:lnTo>
                <a:lnTo>
                  <a:pt x="2178" y="3206"/>
                </a:lnTo>
                <a:lnTo>
                  <a:pt x="2129" y="3233"/>
                </a:lnTo>
                <a:lnTo>
                  <a:pt x="2080" y="3257"/>
                </a:lnTo>
                <a:lnTo>
                  <a:pt x="2031" y="3281"/>
                </a:lnTo>
                <a:lnTo>
                  <a:pt x="1980" y="3303"/>
                </a:lnTo>
                <a:lnTo>
                  <a:pt x="1930" y="3322"/>
                </a:lnTo>
                <a:lnTo>
                  <a:pt x="1878" y="3340"/>
                </a:lnTo>
                <a:lnTo>
                  <a:pt x="1825" y="3356"/>
                </a:lnTo>
                <a:lnTo>
                  <a:pt x="1773" y="3371"/>
                </a:lnTo>
                <a:lnTo>
                  <a:pt x="1720" y="3383"/>
                </a:lnTo>
                <a:lnTo>
                  <a:pt x="1666" y="3394"/>
                </a:lnTo>
                <a:lnTo>
                  <a:pt x="1611" y="3403"/>
                </a:lnTo>
                <a:lnTo>
                  <a:pt x="1556" y="3410"/>
                </a:lnTo>
                <a:lnTo>
                  <a:pt x="1501" y="3415"/>
                </a:lnTo>
                <a:lnTo>
                  <a:pt x="1444" y="3418"/>
                </a:lnTo>
                <a:lnTo>
                  <a:pt x="1388" y="34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1385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go Back 3" preserve="1" userDrawn="1">
  <p:cSld name="Logo Back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9EE002-4AE0-4805-839E-2D96EDC76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2478C2-335E-41C7-93F6-3024A826A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A4564-3A5C-4211-839E-79C6DF433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09E5A31-E67C-4A9A-9668-3D05EBE733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7408" y="2708275"/>
            <a:ext cx="10657184" cy="1512888"/>
          </a:xfrm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bg1"/>
                </a:solidFill>
                <a:latin typeface="+mj-lt"/>
              </a:defRPr>
            </a:lvl1pPr>
            <a:lvl2pPr marL="0" indent="0">
              <a:buFontTx/>
              <a:buNone/>
              <a:defRPr sz="3200"/>
            </a:lvl2pPr>
            <a:lvl3pPr marL="0" indent="0">
              <a:buFontTx/>
              <a:buNone/>
              <a:defRPr sz="1200"/>
            </a:lvl3pPr>
            <a:lvl4pPr marL="0" indent="0">
              <a:buFontTx/>
              <a:buNone/>
              <a:defRPr sz="1200"/>
            </a:lvl4pPr>
            <a:lvl5pPr marL="0" indent="0">
              <a:buFontTx/>
              <a:buNone/>
              <a:defRPr sz="1200"/>
            </a:lvl5pPr>
            <a:lvl6pPr marL="0" indent="0">
              <a:buFontTx/>
              <a:buNone/>
              <a:defRPr sz="1200"/>
            </a:lvl6pPr>
            <a:lvl7pPr marL="0" indent="0">
              <a:buFontTx/>
              <a:buNone/>
              <a:defRPr sz="1200"/>
            </a:lvl7pPr>
            <a:lvl8pPr marL="0" indent="0">
              <a:buFontTx/>
              <a:buNone/>
              <a:defRPr sz="1200"/>
            </a:lvl8pPr>
            <a:lvl9pPr marL="0" indent="0">
              <a:buFontTx/>
              <a:buNone/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414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Tex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pic>
        <p:nvPicPr>
          <p:cNvPr id="7" name="Graphic 16">
            <a:extLst>
              <a:ext uri="{FF2B5EF4-FFF2-40B4-BE49-F238E27FC236}">
                <a16:creationId xmlns:a16="http://schemas.microsoft.com/office/drawing/2014/main" id="{03EAE80C-F45E-42D5-9241-422FCC39AC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11096582" y="5762582"/>
            <a:ext cx="817216" cy="1373620"/>
          </a:xfrm>
          <a:prstGeom prst="rect">
            <a:avLst/>
          </a:prstGeom>
        </p:spPr>
      </p:pic>
      <p:pic>
        <p:nvPicPr>
          <p:cNvPr id="9" name="Graphic 29">
            <a:extLst>
              <a:ext uri="{FF2B5EF4-FFF2-40B4-BE49-F238E27FC236}">
                <a16:creationId xmlns:a16="http://schemas.microsoft.com/office/drawing/2014/main" id="{ECFBBF20-CCFC-4FCB-A1D0-A285CC01AD0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76595" y="6307893"/>
            <a:ext cx="967656" cy="434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888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and Picture 4" preserve="1" userDrawn="1">
  <p:cSld name="slide_3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896225" cy="6021388"/>
          </a:xfrm>
          <a:custGeom>
            <a:avLst/>
            <a:gdLst/>
            <a:ahLst/>
            <a:cxnLst/>
            <a:rect l="l" t="t" r="r" b="b"/>
            <a:pathLst>
              <a:path w="7896225" h="6021388">
                <a:moveTo>
                  <a:pt x="0" y="0"/>
                </a:moveTo>
                <a:lnTo>
                  <a:pt x="7896225" y="0"/>
                </a:lnTo>
                <a:lnTo>
                  <a:pt x="7826613" y="475076"/>
                </a:lnTo>
                <a:lnTo>
                  <a:pt x="7757002" y="951177"/>
                </a:lnTo>
                <a:lnTo>
                  <a:pt x="7686367" y="1426253"/>
                </a:lnTo>
                <a:lnTo>
                  <a:pt x="7615732" y="1902353"/>
                </a:lnTo>
                <a:lnTo>
                  <a:pt x="7546120" y="2377430"/>
                </a:lnTo>
                <a:lnTo>
                  <a:pt x="7476509" y="2853530"/>
                </a:lnTo>
                <a:lnTo>
                  <a:pt x="7405874" y="3328606"/>
                </a:lnTo>
                <a:lnTo>
                  <a:pt x="7335239" y="3803683"/>
                </a:lnTo>
                <a:lnTo>
                  <a:pt x="7295314" y="4003338"/>
                </a:lnTo>
                <a:lnTo>
                  <a:pt x="7255390" y="4175348"/>
                </a:lnTo>
                <a:lnTo>
                  <a:pt x="7216490" y="4323809"/>
                </a:lnTo>
                <a:lnTo>
                  <a:pt x="7178613" y="4451793"/>
                </a:lnTo>
                <a:lnTo>
                  <a:pt x="7159163" y="4509130"/>
                </a:lnTo>
                <a:lnTo>
                  <a:pt x="7138689" y="4564419"/>
                </a:lnTo>
                <a:lnTo>
                  <a:pt x="7118215" y="4615613"/>
                </a:lnTo>
                <a:lnTo>
                  <a:pt x="7096717" y="4664759"/>
                </a:lnTo>
                <a:lnTo>
                  <a:pt x="7050651" y="4759979"/>
                </a:lnTo>
                <a:lnTo>
                  <a:pt x="7026082" y="4805029"/>
                </a:lnTo>
                <a:lnTo>
                  <a:pt x="7000490" y="4851103"/>
                </a:lnTo>
                <a:lnTo>
                  <a:pt x="6919617" y="4980111"/>
                </a:lnTo>
                <a:lnTo>
                  <a:pt x="6872527" y="5050758"/>
                </a:lnTo>
                <a:lnTo>
                  <a:pt x="6820319" y="5123453"/>
                </a:lnTo>
                <a:lnTo>
                  <a:pt x="6760944" y="5199220"/>
                </a:lnTo>
                <a:lnTo>
                  <a:pt x="6694404" y="5279081"/>
                </a:lnTo>
                <a:lnTo>
                  <a:pt x="6620698" y="5363039"/>
                </a:lnTo>
                <a:lnTo>
                  <a:pt x="6537778" y="5450068"/>
                </a:lnTo>
                <a:lnTo>
                  <a:pt x="6509115" y="5479760"/>
                </a:lnTo>
                <a:lnTo>
                  <a:pt x="6477380" y="5508429"/>
                </a:lnTo>
                <a:lnTo>
                  <a:pt x="6416982" y="5564742"/>
                </a:lnTo>
                <a:lnTo>
                  <a:pt x="6353513" y="5614911"/>
                </a:lnTo>
                <a:lnTo>
                  <a:pt x="6287996" y="5662009"/>
                </a:lnTo>
                <a:lnTo>
                  <a:pt x="6222480" y="5706036"/>
                </a:lnTo>
                <a:lnTo>
                  <a:pt x="6155939" y="5746991"/>
                </a:lnTo>
                <a:lnTo>
                  <a:pt x="6086328" y="5783850"/>
                </a:lnTo>
                <a:lnTo>
                  <a:pt x="6016716" y="5818662"/>
                </a:lnTo>
                <a:lnTo>
                  <a:pt x="5947105" y="5848354"/>
                </a:lnTo>
                <a:lnTo>
                  <a:pt x="5875446" y="5875999"/>
                </a:lnTo>
                <a:lnTo>
                  <a:pt x="5802764" y="5901595"/>
                </a:lnTo>
                <a:lnTo>
                  <a:pt x="5730081" y="5923097"/>
                </a:lnTo>
                <a:lnTo>
                  <a:pt x="5655351" y="5942550"/>
                </a:lnTo>
                <a:lnTo>
                  <a:pt x="5580621" y="5958932"/>
                </a:lnTo>
                <a:lnTo>
                  <a:pt x="5505891" y="5974290"/>
                </a:lnTo>
                <a:lnTo>
                  <a:pt x="5431162" y="5986577"/>
                </a:lnTo>
                <a:lnTo>
                  <a:pt x="5327768" y="5999887"/>
                </a:lnTo>
                <a:lnTo>
                  <a:pt x="5225398" y="6010126"/>
                </a:lnTo>
                <a:lnTo>
                  <a:pt x="5120981" y="6015245"/>
                </a:lnTo>
                <a:lnTo>
                  <a:pt x="5018612" y="6019341"/>
                </a:lnTo>
                <a:lnTo>
                  <a:pt x="4916242" y="6021388"/>
                </a:lnTo>
                <a:lnTo>
                  <a:pt x="4815919" y="6021388"/>
                </a:lnTo>
                <a:lnTo>
                  <a:pt x="4619370" y="6019341"/>
                </a:lnTo>
                <a:lnTo>
                  <a:pt x="3766630" y="6019341"/>
                </a:lnTo>
                <a:lnTo>
                  <a:pt x="2913890" y="6019341"/>
                </a:lnTo>
                <a:lnTo>
                  <a:pt x="2060126" y="6019341"/>
                </a:lnTo>
                <a:lnTo>
                  <a:pt x="1207386" y="6019341"/>
                </a:lnTo>
                <a:lnTo>
                  <a:pt x="354646" y="6019341"/>
                </a:lnTo>
                <a:lnTo>
                  <a:pt x="0" y="601934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56240" y="620713"/>
            <a:ext cx="3168998" cy="1655762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56240" y="2492895"/>
            <a:ext cx="3168998" cy="3744391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9" name="Freeform 8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0540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and Picture 5" preserve="1" userDrawn="1">
  <p:cSld name="slide_3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620713"/>
            <a:ext cx="7705501" cy="1080095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3" y="1916113"/>
            <a:ext cx="7705501" cy="432117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8616950" y="0"/>
            <a:ext cx="3575050" cy="6021388"/>
          </a:xfrm>
          <a:custGeom>
            <a:avLst/>
            <a:gdLst/>
            <a:ahLst/>
            <a:cxnLst/>
            <a:rect l="l" t="t" r="r" b="b"/>
            <a:pathLst>
              <a:path w="3575050" h="6021388">
                <a:moveTo>
                  <a:pt x="0" y="0"/>
                </a:moveTo>
                <a:lnTo>
                  <a:pt x="3575050" y="0"/>
                </a:lnTo>
                <a:lnTo>
                  <a:pt x="3575050" y="6019341"/>
                </a:lnTo>
                <a:lnTo>
                  <a:pt x="3276855" y="6019341"/>
                </a:lnTo>
                <a:lnTo>
                  <a:pt x="3080306" y="6021388"/>
                </a:lnTo>
                <a:lnTo>
                  <a:pt x="2979983" y="6021388"/>
                </a:lnTo>
                <a:lnTo>
                  <a:pt x="2877613" y="6019341"/>
                </a:lnTo>
                <a:lnTo>
                  <a:pt x="2775244" y="6015245"/>
                </a:lnTo>
                <a:lnTo>
                  <a:pt x="2670827" y="6010126"/>
                </a:lnTo>
                <a:lnTo>
                  <a:pt x="2568457" y="5999887"/>
                </a:lnTo>
                <a:lnTo>
                  <a:pt x="2465063" y="5986577"/>
                </a:lnTo>
                <a:lnTo>
                  <a:pt x="2390334" y="5974290"/>
                </a:lnTo>
                <a:lnTo>
                  <a:pt x="2315604" y="5958932"/>
                </a:lnTo>
                <a:lnTo>
                  <a:pt x="2240874" y="5942550"/>
                </a:lnTo>
                <a:lnTo>
                  <a:pt x="2166144" y="5923097"/>
                </a:lnTo>
                <a:lnTo>
                  <a:pt x="2093461" y="5901595"/>
                </a:lnTo>
                <a:lnTo>
                  <a:pt x="2020779" y="5875999"/>
                </a:lnTo>
                <a:lnTo>
                  <a:pt x="1949120" y="5848354"/>
                </a:lnTo>
                <a:lnTo>
                  <a:pt x="1879509" y="5818662"/>
                </a:lnTo>
                <a:lnTo>
                  <a:pt x="1809897" y="5783850"/>
                </a:lnTo>
                <a:lnTo>
                  <a:pt x="1740286" y="5746991"/>
                </a:lnTo>
                <a:lnTo>
                  <a:pt x="1673745" y="5706036"/>
                </a:lnTo>
                <a:lnTo>
                  <a:pt x="1608229" y="5662009"/>
                </a:lnTo>
                <a:lnTo>
                  <a:pt x="1542712" y="5614911"/>
                </a:lnTo>
                <a:lnTo>
                  <a:pt x="1479243" y="5564742"/>
                </a:lnTo>
                <a:lnTo>
                  <a:pt x="1418845" y="5508429"/>
                </a:lnTo>
                <a:lnTo>
                  <a:pt x="1387110" y="5479760"/>
                </a:lnTo>
                <a:lnTo>
                  <a:pt x="1358447" y="5450068"/>
                </a:lnTo>
                <a:lnTo>
                  <a:pt x="1275527" y="5363039"/>
                </a:lnTo>
                <a:lnTo>
                  <a:pt x="1201821" y="5279081"/>
                </a:lnTo>
                <a:lnTo>
                  <a:pt x="1135281" y="5199220"/>
                </a:lnTo>
                <a:lnTo>
                  <a:pt x="1075906" y="5123453"/>
                </a:lnTo>
                <a:lnTo>
                  <a:pt x="1023698" y="5050758"/>
                </a:lnTo>
                <a:lnTo>
                  <a:pt x="976608" y="4980111"/>
                </a:lnTo>
                <a:lnTo>
                  <a:pt x="895735" y="4851103"/>
                </a:lnTo>
                <a:lnTo>
                  <a:pt x="870143" y="4805029"/>
                </a:lnTo>
                <a:lnTo>
                  <a:pt x="845574" y="4759979"/>
                </a:lnTo>
                <a:lnTo>
                  <a:pt x="799508" y="4664759"/>
                </a:lnTo>
                <a:lnTo>
                  <a:pt x="778010" y="4615613"/>
                </a:lnTo>
                <a:lnTo>
                  <a:pt x="757536" y="4564419"/>
                </a:lnTo>
                <a:lnTo>
                  <a:pt x="737062" y="4509130"/>
                </a:lnTo>
                <a:lnTo>
                  <a:pt x="717612" y="4451793"/>
                </a:lnTo>
                <a:lnTo>
                  <a:pt x="679735" y="4323809"/>
                </a:lnTo>
                <a:lnTo>
                  <a:pt x="640835" y="4175348"/>
                </a:lnTo>
                <a:lnTo>
                  <a:pt x="600911" y="4003338"/>
                </a:lnTo>
                <a:lnTo>
                  <a:pt x="560986" y="3803683"/>
                </a:lnTo>
                <a:lnTo>
                  <a:pt x="490351" y="3328606"/>
                </a:lnTo>
                <a:lnTo>
                  <a:pt x="419716" y="2853530"/>
                </a:lnTo>
                <a:lnTo>
                  <a:pt x="350105" y="2377430"/>
                </a:lnTo>
                <a:lnTo>
                  <a:pt x="280493" y="1902353"/>
                </a:lnTo>
                <a:lnTo>
                  <a:pt x="209858" y="1426253"/>
                </a:lnTo>
                <a:lnTo>
                  <a:pt x="139223" y="951177"/>
                </a:lnTo>
                <a:lnTo>
                  <a:pt x="69612" y="47507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16795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and Picture 6" preserve="1" userDrawn="1">
  <p:cSld name="slide_3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5760" y="620713"/>
            <a:ext cx="7489478" cy="1080095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35760" y="1916113"/>
            <a:ext cx="7489478" cy="432117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575720" cy="6021388"/>
          </a:xfrm>
          <a:custGeom>
            <a:avLst/>
            <a:gdLst/>
            <a:ahLst/>
            <a:cxnLst/>
            <a:rect l="l" t="t" r="r" b="b"/>
            <a:pathLst>
              <a:path w="3575720" h="6021388">
                <a:moveTo>
                  <a:pt x="0" y="0"/>
                </a:moveTo>
                <a:lnTo>
                  <a:pt x="3575720" y="0"/>
                </a:lnTo>
                <a:lnTo>
                  <a:pt x="3506108" y="475076"/>
                </a:lnTo>
                <a:lnTo>
                  <a:pt x="3436497" y="951177"/>
                </a:lnTo>
                <a:lnTo>
                  <a:pt x="3365862" y="1426253"/>
                </a:lnTo>
                <a:lnTo>
                  <a:pt x="3295227" y="1902353"/>
                </a:lnTo>
                <a:lnTo>
                  <a:pt x="3225615" y="2377430"/>
                </a:lnTo>
                <a:lnTo>
                  <a:pt x="3156004" y="2853530"/>
                </a:lnTo>
                <a:lnTo>
                  <a:pt x="3085369" y="3328606"/>
                </a:lnTo>
                <a:lnTo>
                  <a:pt x="3014734" y="3803683"/>
                </a:lnTo>
                <a:lnTo>
                  <a:pt x="2974809" y="4003338"/>
                </a:lnTo>
                <a:lnTo>
                  <a:pt x="2934885" y="4175348"/>
                </a:lnTo>
                <a:lnTo>
                  <a:pt x="2895985" y="4323809"/>
                </a:lnTo>
                <a:lnTo>
                  <a:pt x="2858108" y="4451793"/>
                </a:lnTo>
                <a:lnTo>
                  <a:pt x="2838658" y="4509130"/>
                </a:lnTo>
                <a:lnTo>
                  <a:pt x="2818184" y="4564419"/>
                </a:lnTo>
                <a:lnTo>
                  <a:pt x="2797710" y="4615613"/>
                </a:lnTo>
                <a:lnTo>
                  <a:pt x="2776212" y="4664759"/>
                </a:lnTo>
                <a:lnTo>
                  <a:pt x="2730146" y="4759979"/>
                </a:lnTo>
                <a:lnTo>
                  <a:pt x="2705577" y="4805029"/>
                </a:lnTo>
                <a:lnTo>
                  <a:pt x="2679985" y="4851103"/>
                </a:lnTo>
                <a:lnTo>
                  <a:pt x="2599112" y="4980111"/>
                </a:lnTo>
                <a:lnTo>
                  <a:pt x="2552022" y="5050758"/>
                </a:lnTo>
                <a:lnTo>
                  <a:pt x="2499814" y="5123453"/>
                </a:lnTo>
                <a:lnTo>
                  <a:pt x="2440439" y="5199220"/>
                </a:lnTo>
                <a:lnTo>
                  <a:pt x="2373899" y="5279081"/>
                </a:lnTo>
                <a:lnTo>
                  <a:pt x="2300193" y="5363039"/>
                </a:lnTo>
                <a:lnTo>
                  <a:pt x="2217273" y="5450068"/>
                </a:lnTo>
                <a:lnTo>
                  <a:pt x="2188610" y="5479760"/>
                </a:lnTo>
                <a:lnTo>
                  <a:pt x="2156875" y="5508429"/>
                </a:lnTo>
                <a:lnTo>
                  <a:pt x="2096477" y="5564742"/>
                </a:lnTo>
                <a:lnTo>
                  <a:pt x="2033008" y="5614911"/>
                </a:lnTo>
                <a:lnTo>
                  <a:pt x="1967491" y="5662009"/>
                </a:lnTo>
                <a:lnTo>
                  <a:pt x="1901975" y="5706036"/>
                </a:lnTo>
                <a:lnTo>
                  <a:pt x="1835434" y="5746991"/>
                </a:lnTo>
                <a:lnTo>
                  <a:pt x="1765823" y="5783850"/>
                </a:lnTo>
                <a:lnTo>
                  <a:pt x="1696211" y="5818662"/>
                </a:lnTo>
                <a:lnTo>
                  <a:pt x="1626600" y="5848354"/>
                </a:lnTo>
                <a:lnTo>
                  <a:pt x="1554941" y="5875999"/>
                </a:lnTo>
                <a:lnTo>
                  <a:pt x="1482259" y="5901595"/>
                </a:lnTo>
                <a:lnTo>
                  <a:pt x="1409576" y="5923097"/>
                </a:lnTo>
                <a:lnTo>
                  <a:pt x="1334846" y="5942550"/>
                </a:lnTo>
                <a:lnTo>
                  <a:pt x="1260116" y="5958932"/>
                </a:lnTo>
                <a:lnTo>
                  <a:pt x="1185386" y="5974290"/>
                </a:lnTo>
                <a:lnTo>
                  <a:pt x="1110657" y="5986577"/>
                </a:lnTo>
                <a:lnTo>
                  <a:pt x="1007263" y="5999887"/>
                </a:lnTo>
                <a:lnTo>
                  <a:pt x="904893" y="6010126"/>
                </a:lnTo>
                <a:lnTo>
                  <a:pt x="800476" y="6015245"/>
                </a:lnTo>
                <a:lnTo>
                  <a:pt x="698107" y="6019341"/>
                </a:lnTo>
                <a:lnTo>
                  <a:pt x="595737" y="6021388"/>
                </a:lnTo>
                <a:lnTo>
                  <a:pt x="495414" y="6021388"/>
                </a:lnTo>
                <a:lnTo>
                  <a:pt x="298865" y="6019341"/>
                </a:lnTo>
                <a:lnTo>
                  <a:pt x="0" y="601934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9" name="Freeform 8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9915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and Picture 7" preserve="1" userDrawn="1">
  <p:cSld name="slide_4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933056"/>
            <a:ext cx="3385021" cy="2304232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9816" y="3933056"/>
            <a:ext cx="6985422" cy="230423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2"/>
            <a:ext cx="11405557" cy="3428999"/>
          </a:xfrm>
          <a:custGeom>
            <a:avLst/>
            <a:gdLst/>
            <a:ahLst/>
            <a:cxnLst/>
            <a:rect l="l" t="t" r="r" b="b"/>
            <a:pathLst>
              <a:path w="11405557" h="3428999">
                <a:moveTo>
                  <a:pt x="0" y="0"/>
                </a:moveTo>
                <a:lnTo>
                  <a:pt x="11405557" y="0"/>
                </a:lnTo>
                <a:lnTo>
                  <a:pt x="11365915" y="270541"/>
                </a:lnTo>
                <a:lnTo>
                  <a:pt x="11326274" y="541666"/>
                </a:lnTo>
                <a:lnTo>
                  <a:pt x="11286049" y="812207"/>
                </a:lnTo>
                <a:lnTo>
                  <a:pt x="11245825" y="1083332"/>
                </a:lnTo>
                <a:lnTo>
                  <a:pt x="11206183" y="1353874"/>
                </a:lnTo>
                <a:lnTo>
                  <a:pt x="11166541" y="1624999"/>
                </a:lnTo>
                <a:lnTo>
                  <a:pt x="11126317" y="1895540"/>
                </a:lnTo>
                <a:lnTo>
                  <a:pt x="11086092" y="2166082"/>
                </a:lnTo>
                <a:lnTo>
                  <a:pt x="11063357" y="2279780"/>
                </a:lnTo>
                <a:lnTo>
                  <a:pt x="11040621" y="2377734"/>
                </a:lnTo>
                <a:lnTo>
                  <a:pt x="11018468" y="2462279"/>
                </a:lnTo>
                <a:lnTo>
                  <a:pt x="10996899" y="2535162"/>
                </a:lnTo>
                <a:lnTo>
                  <a:pt x="10985822" y="2567813"/>
                </a:lnTo>
                <a:lnTo>
                  <a:pt x="10974163" y="2599299"/>
                </a:lnTo>
                <a:lnTo>
                  <a:pt x="10962504" y="2628452"/>
                </a:lnTo>
                <a:lnTo>
                  <a:pt x="10950261" y="2656439"/>
                </a:lnTo>
                <a:lnTo>
                  <a:pt x="10924028" y="2710664"/>
                </a:lnTo>
                <a:lnTo>
                  <a:pt x="10910037" y="2736319"/>
                </a:lnTo>
                <a:lnTo>
                  <a:pt x="10895463" y="2762557"/>
                </a:lnTo>
                <a:lnTo>
                  <a:pt x="10849408" y="2836023"/>
                </a:lnTo>
                <a:lnTo>
                  <a:pt x="10822592" y="2876254"/>
                </a:lnTo>
                <a:lnTo>
                  <a:pt x="10792861" y="2917652"/>
                </a:lnTo>
                <a:lnTo>
                  <a:pt x="10759049" y="2960799"/>
                </a:lnTo>
                <a:lnTo>
                  <a:pt x="10721156" y="3006278"/>
                </a:lnTo>
                <a:lnTo>
                  <a:pt x="10679183" y="3054089"/>
                </a:lnTo>
                <a:lnTo>
                  <a:pt x="10631962" y="3103649"/>
                </a:lnTo>
                <a:lnTo>
                  <a:pt x="10615640" y="3120558"/>
                </a:lnTo>
                <a:lnTo>
                  <a:pt x="10597568" y="3136884"/>
                </a:lnTo>
                <a:lnTo>
                  <a:pt x="10563173" y="3168952"/>
                </a:lnTo>
                <a:lnTo>
                  <a:pt x="10527029" y="3197523"/>
                </a:lnTo>
                <a:lnTo>
                  <a:pt x="10489719" y="3224344"/>
                </a:lnTo>
                <a:lnTo>
                  <a:pt x="10452409" y="3249415"/>
                </a:lnTo>
                <a:lnTo>
                  <a:pt x="10414517" y="3272738"/>
                </a:lnTo>
                <a:lnTo>
                  <a:pt x="10374875" y="3293728"/>
                </a:lnTo>
                <a:lnTo>
                  <a:pt x="10335233" y="3313552"/>
                </a:lnTo>
                <a:lnTo>
                  <a:pt x="10295592" y="3330461"/>
                </a:lnTo>
                <a:lnTo>
                  <a:pt x="10254784" y="3346204"/>
                </a:lnTo>
                <a:lnTo>
                  <a:pt x="10213394" y="3360781"/>
                </a:lnTo>
                <a:lnTo>
                  <a:pt x="10172003" y="3373025"/>
                </a:lnTo>
                <a:lnTo>
                  <a:pt x="10129447" y="3384103"/>
                </a:lnTo>
                <a:lnTo>
                  <a:pt x="10086890" y="3393432"/>
                </a:lnTo>
                <a:lnTo>
                  <a:pt x="10044334" y="3402178"/>
                </a:lnTo>
                <a:lnTo>
                  <a:pt x="10001777" y="3409175"/>
                </a:lnTo>
                <a:lnTo>
                  <a:pt x="9942898" y="3416755"/>
                </a:lnTo>
                <a:lnTo>
                  <a:pt x="9884601" y="3422585"/>
                </a:lnTo>
                <a:lnTo>
                  <a:pt x="9825139" y="3425501"/>
                </a:lnTo>
                <a:lnTo>
                  <a:pt x="9766842" y="3427833"/>
                </a:lnTo>
                <a:lnTo>
                  <a:pt x="9708546" y="3428999"/>
                </a:lnTo>
                <a:lnTo>
                  <a:pt x="9651415" y="3428999"/>
                </a:lnTo>
                <a:lnTo>
                  <a:pt x="9539486" y="3427833"/>
                </a:lnTo>
                <a:lnTo>
                  <a:pt x="9053876" y="3427833"/>
                </a:lnTo>
                <a:lnTo>
                  <a:pt x="8568266" y="3427833"/>
                </a:lnTo>
                <a:lnTo>
                  <a:pt x="8082074" y="3427833"/>
                </a:lnTo>
                <a:lnTo>
                  <a:pt x="7596464" y="3427833"/>
                </a:lnTo>
                <a:lnTo>
                  <a:pt x="7110854" y="3427833"/>
                </a:lnTo>
                <a:lnTo>
                  <a:pt x="6625245" y="3427833"/>
                </a:lnTo>
                <a:lnTo>
                  <a:pt x="6456363" y="3427833"/>
                </a:lnTo>
                <a:lnTo>
                  <a:pt x="6456363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0059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" type="twoObj" preserve="1">
  <p:cSld name="slide_4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5F704C-10DE-4AED-A14D-ABB6130AE4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1BAF1D-3EDA-49AD-A421-3CB24B7FE5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6763" y="1916112"/>
            <a:ext cx="5185221" cy="43211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0AE588-E075-4CD5-8E19-82779BE61C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0016" y="1916112"/>
            <a:ext cx="5185222" cy="43211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B7A4CC-C829-497A-987A-FFF939D257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CFD274-627C-4647-8AA7-B44437219E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F40165-81FB-4C4D-A006-CC2B26D018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885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" preserve="1" userDrawn="1">
  <p:cSld name="slide_4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5F704C-10DE-4AED-A14D-ABB6130AE4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1BAF1D-3EDA-49AD-A421-3CB24B7FE5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6763" y="1916112"/>
            <a:ext cx="3385021" cy="43211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0AE588-E075-4CD5-8E19-82779BE61C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39816" y="1916112"/>
            <a:ext cx="3312344" cy="43211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B7A4CC-C829-497A-987A-FFF939D257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CFD274-627C-4647-8AA7-B44437219E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F40165-81FB-4C4D-A006-CC2B26D018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8040216" y="1916113"/>
            <a:ext cx="3385022" cy="43211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2844859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 " preserve="1" userDrawn="1">
  <p:cSld name="slide_4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20DEED-EAB8-426F-889C-7C6756447A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4" y="1916112"/>
            <a:ext cx="5185220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CC0235-AC07-4386-A461-A44FCC73A2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6764" y="2564904"/>
            <a:ext cx="5185220" cy="367238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DB2B8F-08C6-4B45-8AFD-B0B3D921FA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0016" y="1916112"/>
            <a:ext cx="5185222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53E308-0B00-4786-879A-D318C963DBD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40016" y="2564903"/>
            <a:ext cx="5185222" cy="367238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59620D-52FD-455E-9032-D1FBA76E6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74B0A51-BEB2-4F22-8EF3-352F4DD9AB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65C751-1946-4019-A5F4-49D9F2A29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3802764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Subheader" preserve="1" userDrawn="1">
  <p:cSld name="slide_4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20DEED-EAB8-426F-889C-7C6756447A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4" y="1916112"/>
            <a:ext cx="10658474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CC0235-AC07-4386-A461-A44FCC73A2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6764" y="2564904"/>
            <a:ext cx="10658474" cy="367238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59620D-52FD-455E-9032-D1FBA76E6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74B0A51-BEB2-4F22-8EF3-352F4DD9AB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65C751-1946-4019-A5F4-49D9F2A29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3477116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mparison" preserve="1" userDrawn="1">
  <p:cSld name="slide_4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20DEED-EAB8-426F-889C-7C6756447A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4" y="1916112"/>
            <a:ext cx="3385020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CC0235-AC07-4386-A461-A44FCC73A2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6764" y="2564904"/>
            <a:ext cx="3385020" cy="367238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DB2B8F-08C6-4B45-8AFD-B0B3D921FA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39816" y="1916112"/>
            <a:ext cx="3312368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53E308-0B00-4786-879A-D318C963DBD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39816" y="2564903"/>
            <a:ext cx="3312368" cy="367238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59620D-52FD-455E-9032-D1FBA76E6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74B0A51-BEB2-4F22-8EF3-352F4DD9AB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65C751-1946-4019-A5F4-49D9F2A29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ADB2B8F-08C6-4B45-8AFD-B0B3D921FA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40216" y="1916112"/>
            <a:ext cx="3385022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4"/>
          </p:nvPr>
        </p:nvSpPr>
        <p:spPr>
          <a:xfrm>
            <a:off x="8040216" y="2564904"/>
            <a:ext cx="3385022" cy="367238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944427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- Luottamus" type="secHead" preserve="1">
  <p:cSld name="slide_16">
    <p:bg>
      <p:bgPr>
        <a:gradFill>
          <a:gsLst>
            <a:gs pos="0">
              <a:schemeClr val="accent1"/>
            </a:gs>
            <a:gs pos="100000">
              <a:schemeClr val="accent1">
                <a:alpha val="9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2AE4CD2-FF2B-481A-BD1B-6461D82DC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4" y="836712"/>
            <a:ext cx="7993062" cy="3169072"/>
          </a:xfrm>
        </p:spPr>
        <p:txBody>
          <a:bodyPr anchor="t" anchorCtr="0"/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4FF0EC-24DB-4A3B-8AA6-004F9170BE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4" y="4221088"/>
            <a:ext cx="7993062" cy="86407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B46E24-653A-4FF9-9521-1C6FB86597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0D632E-720A-4E57-8F18-FB9A91500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479C78-A5F2-40DD-9834-030D8B177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reeform 7"/>
          <p:cNvSpPr>
            <a:spLocks noChangeAspect="1" noEditPoints="1"/>
          </p:cNvSpPr>
          <p:nvPr userDrawn="1"/>
        </p:nvSpPr>
        <p:spPr bwMode="auto">
          <a:xfrm>
            <a:off x="761996" y="5589240"/>
            <a:ext cx="1831656" cy="432048"/>
          </a:xfrm>
          <a:custGeom>
            <a:avLst/>
            <a:gdLst>
              <a:gd name="T0" fmla="*/ 11392 w 14503"/>
              <a:gd name="T1" fmla="*/ 2705 h 3419"/>
              <a:gd name="T2" fmla="*/ 10843 w 14503"/>
              <a:gd name="T3" fmla="*/ 2592 h 3419"/>
              <a:gd name="T4" fmla="*/ 9707 w 14503"/>
              <a:gd name="T5" fmla="*/ 2691 h 3419"/>
              <a:gd name="T6" fmla="*/ 9202 w 14503"/>
              <a:gd name="T7" fmla="*/ 2718 h 3419"/>
              <a:gd name="T8" fmla="*/ 9399 w 14503"/>
              <a:gd name="T9" fmla="*/ 2534 h 3419"/>
              <a:gd name="T10" fmla="*/ 9385 w 14503"/>
              <a:gd name="T11" fmla="*/ 2134 h 3419"/>
              <a:gd name="T12" fmla="*/ 9247 w 14503"/>
              <a:gd name="T13" fmla="*/ 2352 h 3419"/>
              <a:gd name="T14" fmla="*/ 8533 w 14503"/>
              <a:gd name="T15" fmla="*/ 2712 h 3419"/>
              <a:gd name="T16" fmla="*/ 8908 w 14503"/>
              <a:gd name="T17" fmla="*/ 2713 h 3419"/>
              <a:gd name="T18" fmla="*/ 7197 w 14503"/>
              <a:gd name="T19" fmla="*/ 2618 h 3419"/>
              <a:gd name="T20" fmla="*/ 7359 w 14503"/>
              <a:gd name="T21" fmla="*/ 2469 h 3419"/>
              <a:gd name="T22" fmla="*/ 7656 w 14503"/>
              <a:gd name="T23" fmla="*/ 2305 h 3419"/>
              <a:gd name="T24" fmla="*/ 7633 w 14503"/>
              <a:gd name="T25" fmla="*/ 2433 h 3419"/>
              <a:gd name="T26" fmla="*/ 6915 w 14503"/>
              <a:gd name="T27" fmla="*/ 2263 h 3419"/>
              <a:gd name="T28" fmla="*/ 6831 w 14503"/>
              <a:gd name="T29" fmla="*/ 2727 h 3419"/>
              <a:gd name="T30" fmla="*/ 6860 w 14503"/>
              <a:gd name="T31" fmla="*/ 2119 h 3419"/>
              <a:gd name="T32" fmla="*/ 14342 w 14503"/>
              <a:gd name="T33" fmla="*/ 1111 h 3419"/>
              <a:gd name="T34" fmla="*/ 14370 w 14503"/>
              <a:gd name="T35" fmla="*/ 961 h 3419"/>
              <a:gd name="T36" fmla="*/ 13472 w 14503"/>
              <a:gd name="T37" fmla="*/ 1376 h 3419"/>
              <a:gd name="T38" fmla="*/ 13655 w 14503"/>
              <a:gd name="T39" fmla="*/ 1536 h 3419"/>
              <a:gd name="T40" fmla="*/ 13703 w 14503"/>
              <a:gd name="T41" fmla="*/ 1130 h 3419"/>
              <a:gd name="T42" fmla="*/ 13709 w 14503"/>
              <a:gd name="T43" fmla="*/ 966 h 3419"/>
              <a:gd name="T44" fmla="*/ 12952 w 14503"/>
              <a:gd name="T45" fmla="*/ 1081 h 3419"/>
              <a:gd name="T46" fmla="*/ 12525 w 14503"/>
              <a:gd name="T47" fmla="*/ 1043 h 3419"/>
              <a:gd name="T48" fmla="*/ 13193 w 14503"/>
              <a:gd name="T49" fmla="*/ 1038 h 3419"/>
              <a:gd name="T50" fmla="*/ 11928 w 14503"/>
              <a:gd name="T51" fmla="*/ 1448 h 3419"/>
              <a:gd name="T52" fmla="*/ 11865 w 14503"/>
              <a:gd name="T53" fmla="*/ 1553 h 3419"/>
              <a:gd name="T54" fmla="*/ 12022 w 14503"/>
              <a:gd name="T55" fmla="*/ 1060 h 3419"/>
              <a:gd name="T56" fmla="*/ 12198 w 14503"/>
              <a:gd name="T57" fmla="*/ 1040 h 3419"/>
              <a:gd name="T58" fmla="*/ 11580 w 14503"/>
              <a:gd name="T59" fmla="*/ 1397 h 3419"/>
              <a:gd name="T60" fmla="*/ 10924 w 14503"/>
              <a:gd name="T61" fmla="*/ 1300 h 3419"/>
              <a:gd name="T62" fmla="*/ 10999 w 14503"/>
              <a:gd name="T63" fmla="*/ 1557 h 3419"/>
              <a:gd name="T64" fmla="*/ 11144 w 14503"/>
              <a:gd name="T65" fmla="*/ 967 h 3419"/>
              <a:gd name="T66" fmla="*/ 10313 w 14503"/>
              <a:gd name="T67" fmla="*/ 1372 h 3419"/>
              <a:gd name="T68" fmla="*/ 10421 w 14503"/>
              <a:gd name="T69" fmla="*/ 1561 h 3419"/>
              <a:gd name="T70" fmla="*/ 10514 w 14503"/>
              <a:gd name="T71" fmla="*/ 967 h 3419"/>
              <a:gd name="T72" fmla="*/ 9776 w 14503"/>
              <a:gd name="T73" fmla="*/ 1082 h 3419"/>
              <a:gd name="T74" fmla="*/ 9989 w 14503"/>
              <a:gd name="T75" fmla="*/ 1025 h 3419"/>
              <a:gd name="T76" fmla="*/ 8701 w 14503"/>
              <a:gd name="T77" fmla="*/ 1199 h 3419"/>
              <a:gd name="T78" fmla="*/ 9009 w 14503"/>
              <a:gd name="T79" fmla="*/ 1500 h 3419"/>
              <a:gd name="T80" fmla="*/ 8681 w 14503"/>
              <a:gd name="T81" fmla="*/ 995 h 3419"/>
              <a:gd name="T82" fmla="*/ 7671 w 14503"/>
              <a:gd name="T83" fmla="*/ 1547 h 3419"/>
              <a:gd name="T84" fmla="*/ 7517 w 14503"/>
              <a:gd name="T85" fmla="*/ 974 h 3419"/>
              <a:gd name="T86" fmla="*/ 6773 w 14503"/>
              <a:gd name="T87" fmla="*/ 1549 h 3419"/>
              <a:gd name="T88" fmla="*/ 6490 w 14503"/>
              <a:gd name="T89" fmla="*/ 1200 h 3419"/>
              <a:gd name="T90" fmla="*/ 11483 w 14503"/>
              <a:gd name="T91" fmla="*/ 2275 h 3419"/>
              <a:gd name="T92" fmla="*/ 11930 w 14503"/>
              <a:gd name="T93" fmla="*/ 2637 h 3419"/>
              <a:gd name="T94" fmla="*/ 11807 w 14503"/>
              <a:gd name="T95" fmla="*/ 2576 h 3419"/>
              <a:gd name="T96" fmla="*/ 3702 w 14503"/>
              <a:gd name="T97" fmla="*/ 2179 h 3419"/>
              <a:gd name="T98" fmla="*/ 5043 w 14503"/>
              <a:gd name="T99" fmla="*/ 96 h 3419"/>
              <a:gd name="T100" fmla="*/ 4150 w 14503"/>
              <a:gd name="T101" fmla="*/ 1837 h 3419"/>
              <a:gd name="T102" fmla="*/ 1316 w 14503"/>
              <a:gd name="T103" fmla="*/ 3417 h 3419"/>
              <a:gd name="T104" fmla="*/ 16 w 14503"/>
              <a:gd name="T105" fmla="*/ 2039 h 3419"/>
              <a:gd name="T106" fmla="*/ 1177 w 14503"/>
              <a:gd name="T107" fmla="*/ 38 h 3419"/>
              <a:gd name="T108" fmla="*/ 2300 w 14503"/>
              <a:gd name="T109" fmla="*/ 878 h 3419"/>
              <a:gd name="T110" fmla="*/ 988 w 14503"/>
              <a:gd name="T111" fmla="*/ 2066 h 3419"/>
              <a:gd name="T112" fmla="*/ 1544 w 14503"/>
              <a:gd name="T113" fmla="*/ 1314 h 3419"/>
              <a:gd name="T114" fmla="*/ 1318 w 14503"/>
              <a:gd name="T115" fmla="*/ 478 h 3419"/>
              <a:gd name="T116" fmla="*/ 552 w 14503"/>
              <a:gd name="T117" fmla="*/ 2103 h 3419"/>
              <a:gd name="T118" fmla="*/ 1821 w 14503"/>
              <a:gd name="T119" fmla="*/ 2775 h 3419"/>
              <a:gd name="T120" fmla="*/ 2969 w 14503"/>
              <a:gd name="T121" fmla="*/ 185 h 3419"/>
              <a:gd name="T122" fmla="*/ 3355 w 14503"/>
              <a:gd name="T123" fmla="*/ 1462 h 3419"/>
              <a:gd name="T124" fmla="*/ 1720 w 14503"/>
              <a:gd name="T125" fmla="*/ 3383 h 34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503" h="3419">
                <a:moveTo>
                  <a:pt x="11272" y="2721"/>
                </a:moveTo>
                <a:lnTo>
                  <a:pt x="11231" y="2717"/>
                </a:lnTo>
                <a:lnTo>
                  <a:pt x="11196" y="2709"/>
                </a:lnTo>
                <a:lnTo>
                  <a:pt x="11180" y="2702"/>
                </a:lnTo>
                <a:lnTo>
                  <a:pt x="11166" y="2693"/>
                </a:lnTo>
                <a:lnTo>
                  <a:pt x="11153" y="2684"/>
                </a:lnTo>
                <a:lnTo>
                  <a:pt x="11141" y="2674"/>
                </a:lnTo>
                <a:lnTo>
                  <a:pt x="11131" y="2661"/>
                </a:lnTo>
                <a:lnTo>
                  <a:pt x="11122" y="2648"/>
                </a:lnTo>
                <a:lnTo>
                  <a:pt x="11108" y="2617"/>
                </a:lnTo>
                <a:lnTo>
                  <a:pt x="11100" y="2581"/>
                </a:lnTo>
                <a:lnTo>
                  <a:pt x="11098" y="2563"/>
                </a:lnTo>
                <a:lnTo>
                  <a:pt x="11097" y="2542"/>
                </a:lnTo>
                <a:lnTo>
                  <a:pt x="11097" y="2247"/>
                </a:lnTo>
                <a:lnTo>
                  <a:pt x="10992" y="2247"/>
                </a:lnTo>
                <a:lnTo>
                  <a:pt x="10992" y="2132"/>
                </a:lnTo>
                <a:lnTo>
                  <a:pt x="11097" y="2132"/>
                </a:lnTo>
                <a:lnTo>
                  <a:pt x="11097" y="1985"/>
                </a:lnTo>
                <a:lnTo>
                  <a:pt x="11236" y="1950"/>
                </a:lnTo>
                <a:lnTo>
                  <a:pt x="11236" y="2132"/>
                </a:lnTo>
                <a:lnTo>
                  <a:pt x="11383" y="2132"/>
                </a:lnTo>
                <a:lnTo>
                  <a:pt x="11383" y="2247"/>
                </a:lnTo>
                <a:lnTo>
                  <a:pt x="11236" y="2247"/>
                </a:lnTo>
                <a:lnTo>
                  <a:pt x="11236" y="2530"/>
                </a:lnTo>
                <a:lnTo>
                  <a:pt x="11237" y="2546"/>
                </a:lnTo>
                <a:lnTo>
                  <a:pt x="11241" y="2559"/>
                </a:lnTo>
                <a:lnTo>
                  <a:pt x="11245" y="2569"/>
                </a:lnTo>
                <a:lnTo>
                  <a:pt x="11253" y="2578"/>
                </a:lnTo>
                <a:lnTo>
                  <a:pt x="11261" y="2585"/>
                </a:lnTo>
                <a:lnTo>
                  <a:pt x="11272" y="2590"/>
                </a:lnTo>
                <a:lnTo>
                  <a:pt x="11286" y="2592"/>
                </a:lnTo>
                <a:lnTo>
                  <a:pt x="11302" y="2593"/>
                </a:lnTo>
                <a:lnTo>
                  <a:pt x="11343" y="2592"/>
                </a:lnTo>
                <a:lnTo>
                  <a:pt x="11392" y="2588"/>
                </a:lnTo>
                <a:lnTo>
                  <a:pt x="11392" y="2705"/>
                </a:lnTo>
                <a:lnTo>
                  <a:pt x="11362" y="2712"/>
                </a:lnTo>
                <a:lnTo>
                  <a:pt x="11333" y="2716"/>
                </a:lnTo>
                <a:lnTo>
                  <a:pt x="11303" y="2720"/>
                </a:lnTo>
                <a:lnTo>
                  <a:pt x="11272" y="2721"/>
                </a:lnTo>
                <a:close/>
                <a:moveTo>
                  <a:pt x="10830" y="2721"/>
                </a:moveTo>
                <a:lnTo>
                  <a:pt x="10789" y="2717"/>
                </a:lnTo>
                <a:lnTo>
                  <a:pt x="10753" y="2709"/>
                </a:lnTo>
                <a:lnTo>
                  <a:pt x="10738" y="2702"/>
                </a:lnTo>
                <a:lnTo>
                  <a:pt x="10722" y="2693"/>
                </a:lnTo>
                <a:lnTo>
                  <a:pt x="10710" y="2684"/>
                </a:lnTo>
                <a:lnTo>
                  <a:pt x="10698" y="2674"/>
                </a:lnTo>
                <a:lnTo>
                  <a:pt x="10688" y="2661"/>
                </a:lnTo>
                <a:lnTo>
                  <a:pt x="10679" y="2648"/>
                </a:lnTo>
                <a:lnTo>
                  <a:pt x="10666" y="2617"/>
                </a:lnTo>
                <a:lnTo>
                  <a:pt x="10657" y="2581"/>
                </a:lnTo>
                <a:lnTo>
                  <a:pt x="10655" y="2563"/>
                </a:lnTo>
                <a:lnTo>
                  <a:pt x="10655" y="2542"/>
                </a:lnTo>
                <a:lnTo>
                  <a:pt x="10655" y="2247"/>
                </a:lnTo>
                <a:lnTo>
                  <a:pt x="10549" y="2247"/>
                </a:lnTo>
                <a:lnTo>
                  <a:pt x="10549" y="2132"/>
                </a:lnTo>
                <a:lnTo>
                  <a:pt x="10655" y="2132"/>
                </a:lnTo>
                <a:lnTo>
                  <a:pt x="10655" y="1985"/>
                </a:lnTo>
                <a:lnTo>
                  <a:pt x="10794" y="1950"/>
                </a:lnTo>
                <a:lnTo>
                  <a:pt x="10794" y="2132"/>
                </a:lnTo>
                <a:lnTo>
                  <a:pt x="10940" y="2132"/>
                </a:lnTo>
                <a:lnTo>
                  <a:pt x="10940" y="2247"/>
                </a:lnTo>
                <a:lnTo>
                  <a:pt x="10794" y="2247"/>
                </a:lnTo>
                <a:lnTo>
                  <a:pt x="10794" y="2530"/>
                </a:lnTo>
                <a:lnTo>
                  <a:pt x="10795" y="2546"/>
                </a:lnTo>
                <a:lnTo>
                  <a:pt x="10798" y="2559"/>
                </a:lnTo>
                <a:lnTo>
                  <a:pt x="10803" y="2569"/>
                </a:lnTo>
                <a:lnTo>
                  <a:pt x="10809" y="2578"/>
                </a:lnTo>
                <a:lnTo>
                  <a:pt x="10819" y="2585"/>
                </a:lnTo>
                <a:lnTo>
                  <a:pt x="10830" y="2590"/>
                </a:lnTo>
                <a:lnTo>
                  <a:pt x="10843" y="2592"/>
                </a:lnTo>
                <a:lnTo>
                  <a:pt x="10859" y="2593"/>
                </a:lnTo>
                <a:lnTo>
                  <a:pt x="10901" y="2592"/>
                </a:lnTo>
                <a:lnTo>
                  <a:pt x="10949" y="2588"/>
                </a:lnTo>
                <a:lnTo>
                  <a:pt x="10949" y="2705"/>
                </a:lnTo>
                <a:lnTo>
                  <a:pt x="10920" y="2712"/>
                </a:lnTo>
                <a:lnTo>
                  <a:pt x="10891" y="2716"/>
                </a:lnTo>
                <a:lnTo>
                  <a:pt x="10860" y="2720"/>
                </a:lnTo>
                <a:lnTo>
                  <a:pt x="10830" y="2721"/>
                </a:lnTo>
                <a:close/>
                <a:moveTo>
                  <a:pt x="10307" y="2713"/>
                </a:moveTo>
                <a:lnTo>
                  <a:pt x="10307" y="2132"/>
                </a:lnTo>
                <a:lnTo>
                  <a:pt x="10450" y="2132"/>
                </a:lnTo>
                <a:lnTo>
                  <a:pt x="10450" y="2713"/>
                </a:lnTo>
                <a:lnTo>
                  <a:pt x="10307" y="2713"/>
                </a:lnTo>
                <a:close/>
                <a:moveTo>
                  <a:pt x="10303" y="2052"/>
                </a:moveTo>
                <a:lnTo>
                  <a:pt x="10303" y="1908"/>
                </a:lnTo>
                <a:lnTo>
                  <a:pt x="10453" y="1908"/>
                </a:lnTo>
                <a:lnTo>
                  <a:pt x="10453" y="2052"/>
                </a:lnTo>
                <a:lnTo>
                  <a:pt x="10303" y="2052"/>
                </a:lnTo>
                <a:close/>
                <a:moveTo>
                  <a:pt x="9992" y="2713"/>
                </a:moveTo>
                <a:lnTo>
                  <a:pt x="9992" y="2132"/>
                </a:lnTo>
                <a:lnTo>
                  <a:pt x="10133" y="2132"/>
                </a:lnTo>
                <a:lnTo>
                  <a:pt x="10133" y="2713"/>
                </a:lnTo>
                <a:lnTo>
                  <a:pt x="9992" y="2713"/>
                </a:lnTo>
                <a:close/>
                <a:moveTo>
                  <a:pt x="9988" y="2052"/>
                </a:moveTo>
                <a:lnTo>
                  <a:pt x="9988" y="1908"/>
                </a:lnTo>
                <a:lnTo>
                  <a:pt x="10137" y="1908"/>
                </a:lnTo>
                <a:lnTo>
                  <a:pt x="10137" y="2052"/>
                </a:lnTo>
                <a:lnTo>
                  <a:pt x="9988" y="2052"/>
                </a:lnTo>
                <a:close/>
                <a:moveTo>
                  <a:pt x="9812" y="2720"/>
                </a:moveTo>
                <a:lnTo>
                  <a:pt x="9777" y="2717"/>
                </a:lnTo>
                <a:lnTo>
                  <a:pt x="9762" y="2715"/>
                </a:lnTo>
                <a:lnTo>
                  <a:pt x="9747" y="2711"/>
                </a:lnTo>
                <a:lnTo>
                  <a:pt x="9732" y="2705"/>
                </a:lnTo>
                <a:lnTo>
                  <a:pt x="9719" y="2699"/>
                </a:lnTo>
                <a:lnTo>
                  <a:pt x="9707" y="2691"/>
                </a:lnTo>
                <a:lnTo>
                  <a:pt x="9697" y="2683"/>
                </a:lnTo>
                <a:lnTo>
                  <a:pt x="9687" y="2673"/>
                </a:lnTo>
                <a:lnTo>
                  <a:pt x="9678" y="2662"/>
                </a:lnTo>
                <a:lnTo>
                  <a:pt x="9671" y="2649"/>
                </a:lnTo>
                <a:lnTo>
                  <a:pt x="9665" y="2635"/>
                </a:lnTo>
                <a:lnTo>
                  <a:pt x="9656" y="2602"/>
                </a:lnTo>
                <a:lnTo>
                  <a:pt x="9654" y="2584"/>
                </a:lnTo>
                <a:lnTo>
                  <a:pt x="9653" y="2563"/>
                </a:lnTo>
                <a:lnTo>
                  <a:pt x="9653" y="1906"/>
                </a:lnTo>
                <a:lnTo>
                  <a:pt x="9793" y="1906"/>
                </a:lnTo>
                <a:lnTo>
                  <a:pt x="9793" y="2540"/>
                </a:lnTo>
                <a:lnTo>
                  <a:pt x="9794" y="2552"/>
                </a:lnTo>
                <a:lnTo>
                  <a:pt x="9796" y="2563"/>
                </a:lnTo>
                <a:lnTo>
                  <a:pt x="9799" y="2573"/>
                </a:lnTo>
                <a:lnTo>
                  <a:pt x="9803" y="2580"/>
                </a:lnTo>
                <a:lnTo>
                  <a:pt x="9811" y="2587"/>
                </a:lnTo>
                <a:lnTo>
                  <a:pt x="9820" y="2591"/>
                </a:lnTo>
                <a:lnTo>
                  <a:pt x="9834" y="2594"/>
                </a:lnTo>
                <a:lnTo>
                  <a:pt x="9850" y="2596"/>
                </a:lnTo>
                <a:lnTo>
                  <a:pt x="9873" y="2594"/>
                </a:lnTo>
                <a:lnTo>
                  <a:pt x="9873" y="2712"/>
                </a:lnTo>
                <a:lnTo>
                  <a:pt x="9842" y="2717"/>
                </a:lnTo>
                <a:lnTo>
                  <a:pt x="9812" y="2720"/>
                </a:lnTo>
                <a:close/>
                <a:moveTo>
                  <a:pt x="9479" y="2661"/>
                </a:moveTo>
                <a:lnTo>
                  <a:pt x="9461" y="2677"/>
                </a:lnTo>
                <a:lnTo>
                  <a:pt x="9439" y="2691"/>
                </a:lnTo>
                <a:lnTo>
                  <a:pt x="9416" y="2702"/>
                </a:lnTo>
                <a:lnTo>
                  <a:pt x="9392" y="2712"/>
                </a:lnTo>
                <a:lnTo>
                  <a:pt x="9366" y="2718"/>
                </a:lnTo>
                <a:lnTo>
                  <a:pt x="9338" y="2724"/>
                </a:lnTo>
                <a:lnTo>
                  <a:pt x="9310" y="2726"/>
                </a:lnTo>
                <a:lnTo>
                  <a:pt x="9280" y="2727"/>
                </a:lnTo>
                <a:lnTo>
                  <a:pt x="9253" y="2726"/>
                </a:lnTo>
                <a:lnTo>
                  <a:pt x="9227" y="2724"/>
                </a:lnTo>
                <a:lnTo>
                  <a:pt x="9202" y="2718"/>
                </a:lnTo>
                <a:lnTo>
                  <a:pt x="9177" y="2711"/>
                </a:lnTo>
                <a:lnTo>
                  <a:pt x="9154" y="2702"/>
                </a:lnTo>
                <a:lnTo>
                  <a:pt x="9133" y="2690"/>
                </a:lnTo>
                <a:lnTo>
                  <a:pt x="9112" y="2676"/>
                </a:lnTo>
                <a:lnTo>
                  <a:pt x="9102" y="2668"/>
                </a:lnTo>
                <a:lnTo>
                  <a:pt x="9094" y="2661"/>
                </a:lnTo>
                <a:lnTo>
                  <a:pt x="9082" y="2648"/>
                </a:lnTo>
                <a:lnTo>
                  <a:pt x="9070" y="2634"/>
                </a:lnTo>
                <a:lnTo>
                  <a:pt x="9059" y="2618"/>
                </a:lnTo>
                <a:lnTo>
                  <a:pt x="9050" y="2601"/>
                </a:lnTo>
                <a:lnTo>
                  <a:pt x="9037" y="2565"/>
                </a:lnTo>
                <a:lnTo>
                  <a:pt x="9033" y="2546"/>
                </a:lnTo>
                <a:lnTo>
                  <a:pt x="9032" y="2526"/>
                </a:lnTo>
                <a:lnTo>
                  <a:pt x="9162" y="2526"/>
                </a:lnTo>
                <a:lnTo>
                  <a:pt x="9165" y="2544"/>
                </a:lnTo>
                <a:lnTo>
                  <a:pt x="9167" y="2554"/>
                </a:lnTo>
                <a:lnTo>
                  <a:pt x="9172" y="2564"/>
                </a:lnTo>
                <a:lnTo>
                  <a:pt x="9182" y="2580"/>
                </a:lnTo>
                <a:lnTo>
                  <a:pt x="9187" y="2588"/>
                </a:lnTo>
                <a:lnTo>
                  <a:pt x="9194" y="2593"/>
                </a:lnTo>
                <a:lnTo>
                  <a:pt x="9211" y="2605"/>
                </a:lnTo>
                <a:lnTo>
                  <a:pt x="9232" y="2613"/>
                </a:lnTo>
                <a:lnTo>
                  <a:pt x="9254" y="2617"/>
                </a:lnTo>
                <a:lnTo>
                  <a:pt x="9282" y="2619"/>
                </a:lnTo>
                <a:lnTo>
                  <a:pt x="9320" y="2616"/>
                </a:lnTo>
                <a:lnTo>
                  <a:pt x="9340" y="2613"/>
                </a:lnTo>
                <a:lnTo>
                  <a:pt x="9359" y="2606"/>
                </a:lnTo>
                <a:lnTo>
                  <a:pt x="9367" y="2602"/>
                </a:lnTo>
                <a:lnTo>
                  <a:pt x="9375" y="2597"/>
                </a:lnTo>
                <a:lnTo>
                  <a:pt x="9382" y="2591"/>
                </a:lnTo>
                <a:lnTo>
                  <a:pt x="9388" y="2584"/>
                </a:lnTo>
                <a:lnTo>
                  <a:pt x="9397" y="2567"/>
                </a:lnTo>
                <a:lnTo>
                  <a:pt x="9399" y="2556"/>
                </a:lnTo>
                <a:lnTo>
                  <a:pt x="9400" y="2546"/>
                </a:lnTo>
                <a:lnTo>
                  <a:pt x="9399" y="2534"/>
                </a:lnTo>
                <a:lnTo>
                  <a:pt x="9396" y="2523"/>
                </a:lnTo>
                <a:lnTo>
                  <a:pt x="9391" y="2513"/>
                </a:lnTo>
                <a:lnTo>
                  <a:pt x="9385" y="2504"/>
                </a:lnTo>
                <a:lnTo>
                  <a:pt x="9376" y="2498"/>
                </a:lnTo>
                <a:lnTo>
                  <a:pt x="9366" y="2491"/>
                </a:lnTo>
                <a:lnTo>
                  <a:pt x="9342" y="2485"/>
                </a:lnTo>
                <a:lnTo>
                  <a:pt x="9302" y="2479"/>
                </a:lnTo>
                <a:lnTo>
                  <a:pt x="9262" y="2474"/>
                </a:lnTo>
                <a:lnTo>
                  <a:pt x="9221" y="2469"/>
                </a:lnTo>
                <a:lnTo>
                  <a:pt x="9182" y="2462"/>
                </a:lnTo>
                <a:lnTo>
                  <a:pt x="9153" y="2453"/>
                </a:lnTo>
                <a:lnTo>
                  <a:pt x="9127" y="2441"/>
                </a:lnTo>
                <a:lnTo>
                  <a:pt x="9104" y="2425"/>
                </a:lnTo>
                <a:lnTo>
                  <a:pt x="9085" y="2405"/>
                </a:lnTo>
                <a:lnTo>
                  <a:pt x="9070" y="2383"/>
                </a:lnTo>
                <a:lnTo>
                  <a:pt x="9059" y="2359"/>
                </a:lnTo>
                <a:lnTo>
                  <a:pt x="9051" y="2333"/>
                </a:lnTo>
                <a:lnTo>
                  <a:pt x="9049" y="2306"/>
                </a:lnTo>
                <a:lnTo>
                  <a:pt x="9050" y="2286"/>
                </a:lnTo>
                <a:lnTo>
                  <a:pt x="9053" y="2265"/>
                </a:lnTo>
                <a:lnTo>
                  <a:pt x="9059" y="2247"/>
                </a:lnTo>
                <a:lnTo>
                  <a:pt x="9065" y="2230"/>
                </a:lnTo>
                <a:lnTo>
                  <a:pt x="9084" y="2201"/>
                </a:lnTo>
                <a:lnTo>
                  <a:pt x="9108" y="2176"/>
                </a:lnTo>
                <a:lnTo>
                  <a:pt x="9144" y="2152"/>
                </a:lnTo>
                <a:lnTo>
                  <a:pt x="9163" y="2141"/>
                </a:lnTo>
                <a:lnTo>
                  <a:pt x="9185" y="2133"/>
                </a:lnTo>
                <a:lnTo>
                  <a:pt x="9208" y="2127"/>
                </a:lnTo>
                <a:lnTo>
                  <a:pt x="9232" y="2121"/>
                </a:lnTo>
                <a:lnTo>
                  <a:pt x="9258" y="2119"/>
                </a:lnTo>
                <a:lnTo>
                  <a:pt x="9284" y="2118"/>
                </a:lnTo>
                <a:lnTo>
                  <a:pt x="9310" y="2119"/>
                </a:lnTo>
                <a:lnTo>
                  <a:pt x="9336" y="2122"/>
                </a:lnTo>
                <a:lnTo>
                  <a:pt x="9361" y="2128"/>
                </a:lnTo>
                <a:lnTo>
                  <a:pt x="9385" y="2134"/>
                </a:lnTo>
                <a:lnTo>
                  <a:pt x="9408" y="2144"/>
                </a:lnTo>
                <a:lnTo>
                  <a:pt x="9429" y="2156"/>
                </a:lnTo>
                <a:lnTo>
                  <a:pt x="9449" y="2170"/>
                </a:lnTo>
                <a:lnTo>
                  <a:pt x="9466" y="2185"/>
                </a:lnTo>
                <a:lnTo>
                  <a:pt x="9477" y="2199"/>
                </a:lnTo>
                <a:lnTo>
                  <a:pt x="9487" y="2213"/>
                </a:lnTo>
                <a:lnTo>
                  <a:pt x="9503" y="2242"/>
                </a:lnTo>
                <a:lnTo>
                  <a:pt x="9514" y="2274"/>
                </a:lnTo>
                <a:lnTo>
                  <a:pt x="9517" y="2305"/>
                </a:lnTo>
                <a:lnTo>
                  <a:pt x="9385" y="2305"/>
                </a:lnTo>
                <a:lnTo>
                  <a:pt x="9383" y="2290"/>
                </a:lnTo>
                <a:lnTo>
                  <a:pt x="9378" y="2275"/>
                </a:lnTo>
                <a:lnTo>
                  <a:pt x="9371" y="2263"/>
                </a:lnTo>
                <a:lnTo>
                  <a:pt x="9361" y="2251"/>
                </a:lnTo>
                <a:lnTo>
                  <a:pt x="9346" y="2240"/>
                </a:lnTo>
                <a:lnTo>
                  <a:pt x="9327" y="2231"/>
                </a:lnTo>
                <a:lnTo>
                  <a:pt x="9307" y="2226"/>
                </a:lnTo>
                <a:lnTo>
                  <a:pt x="9285" y="2224"/>
                </a:lnTo>
                <a:lnTo>
                  <a:pt x="9255" y="2225"/>
                </a:lnTo>
                <a:lnTo>
                  <a:pt x="9240" y="2228"/>
                </a:lnTo>
                <a:lnTo>
                  <a:pt x="9225" y="2233"/>
                </a:lnTo>
                <a:lnTo>
                  <a:pt x="9216" y="2238"/>
                </a:lnTo>
                <a:lnTo>
                  <a:pt x="9208" y="2242"/>
                </a:lnTo>
                <a:lnTo>
                  <a:pt x="9194" y="2256"/>
                </a:lnTo>
                <a:lnTo>
                  <a:pt x="9188" y="2264"/>
                </a:lnTo>
                <a:lnTo>
                  <a:pt x="9184" y="2274"/>
                </a:lnTo>
                <a:lnTo>
                  <a:pt x="9182" y="2283"/>
                </a:lnTo>
                <a:lnTo>
                  <a:pt x="9181" y="2294"/>
                </a:lnTo>
                <a:lnTo>
                  <a:pt x="9182" y="2308"/>
                </a:lnTo>
                <a:lnTo>
                  <a:pt x="9186" y="2320"/>
                </a:lnTo>
                <a:lnTo>
                  <a:pt x="9194" y="2330"/>
                </a:lnTo>
                <a:lnTo>
                  <a:pt x="9202" y="2337"/>
                </a:lnTo>
                <a:lnTo>
                  <a:pt x="9212" y="2343"/>
                </a:lnTo>
                <a:lnTo>
                  <a:pt x="9224" y="2348"/>
                </a:lnTo>
                <a:lnTo>
                  <a:pt x="9247" y="2352"/>
                </a:lnTo>
                <a:lnTo>
                  <a:pt x="9308" y="2359"/>
                </a:lnTo>
                <a:lnTo>
                  <a:pt x="9371" y="2369"/>
                </a:lnTo>
                <a:lnTo>
                  <a:pt x="9404" y="2377"/>
                </a:lnTo>
                <a:lnTo>
                  <a:pt x="9420" y="2381"/>
                </a:lnTo>
                <a:lnTo>
                  <a:pt x="9435" y="2388"/>
                </a:lnTo>
                <a:lnTo>
                  <a:pt x="9461" y="2403"/>
                </a:lnTo>
                <a:lnTo>
                  <a:pt x="9474" y="2413"/>
                </a:lnTo>
                <a:lnTo>
                  <a:pt x="9485" y="2423"/>
                </a:lnTo>
                <a:lnTo>
                  <a:pt x="9495" y="2433"/>
                </a:lnTo>
                <a:lnTo>
                  <a:pt x="9503" y="2444"/>
                </a:lnTo>
                <a:lnTo>
                  <a:pt x="9517" y="2470"/>
                </a:lnTo>
                <a:lnTo>
                  <a:pt x="9523" y="2486"/>
                </a:lnTo>
                <a:lnTo>
                  <a:pt x="9526" y="2501"/>
                </a:lnTo>
                <a:lnTo>
                  <a:pt x="9529" y="2534"/>
                </a:lnTo>
                <a:lnTo>
                  <a:pt x="9528" y="2553"/>
                </a:lnTo>
                <a:lnTo>
                  <a:pt x="9526" y="2573"/>
                </a:lnTo>
                <a:lnTo>
                  <a:pt x="9522" y="2590"/>
                </a:lnTo>
                <a:lnTo>
                  <a:pt x="9515" y="2606"/>
                </a:lnTo>
                <a:lnTo>
                  <a:pt x="9509" y="2622"/>
                </a:lnTo>
                <a:lnTo>
                  <a:pt x="9500" y="2636"/>
                </a:lnTo>
                <a:lnTo>
                  <a:pt x="9479" y="2661"/>
                </a:lnTo>
                <a:close/>
                <a:moveTo>
                  <a:pt x="8793" y="2713"/>
                </a:moveTo>
                <a:lnTo>
                  <a:pt x="8782" y="2637"/>
                </a:lnTo>
                <a:lnTo>
                  <a:pt x="8770" y="2658"/>
                </a:lnTo>
                <a:lnTo>
                  <a:pt x="8755" y="2675"/>
                </a:lnTo>
                <a:lnTo>
                  <a:pt x="8737" y="2690"/>
                </a:lnTo>
                <a:lnTo>
                  <a:pt x="8717" y="2703"/>
                </a:lnTo>
                <a:lnTo>
                  <a:pt x="8694" y="2714"/>
                </a:lnTo>
                <a:lnTo>
                  <a:pt x="8669" y="2722"/>
                </a:lnTo>
                <a:lnTo>
                  <a:pt x="8643" y="2726"/>
                </a:lnTo>
                <a:lnTo>
                  <a:pt x="8615" y="2727"/>
                </a:lnTo>
                <a:lnTo>
                  <a:pt x="8594" y="2726"/>
                </a:lnTo>
                <a:lnTo>
                  <a:pt x="8572" y="2724"/>
                </a:lnTo>
                <a:lnTo>
                  <a:pt x="8551" y="2718"/>
                </a:lnTo>
                <a:lnTo>
                  <a:pt x="8533" y="2712"/>
                </a:lnTo>
                <a:lnTo>
                  <a:pt x="8514" y="2704"/>
                </a:lnTo>
                <a:lnTo>
                  <a:pt x="8498" y="2695"/>
                </a:lnTo>
                <a:lnTo>
                  <a:pt x="8483" y="2683"/>
                </a:lnTo>
                <a:lnTo>
                  <a:pt x="8469" y="2671"/>
                </a:lnTo>
                <a:lnTo>
                  <a:pt x="8457" y="2655"/>
                </a:lnTo>
                <a:lnTo>
                  <a:pt x="8446" y="2640"/>
                </a:lnTo>
                <a:lnTo>
                  <a:pt x="8430" y="2604"/>
                </a:lnTo>
                <a:lnTo>
                  <a:pt x="8419" y="2564"/>
                </a:lnTo>
                <a:lnTo>
                  <a:pt x="8417" y="2542"/>
                </a:lnTo>
                <a:lnTo>
                  <a:pt x="8416" y="2519"/>
                </a:lnTo>
                <a:lnTo>
                  <a:pt x="8416" y="2132"/>
                </a:lnTo>
                <a:lnTo>
                  <a:pt x="8555" y="2132"/>
                </a:lnTo>
                <a:lnTo>
                  <a:pt x="8555" y="2489"/>
                </a:lnTo>
                <a:lnTo>
                  <a:pt x="8556" y="2513"/>
                </a:lnTo>
                <a:lnTo>
                  <a:pt x="8560" y="2535"/>
                </a:lnTo>
                <a:lnTo>
                  <a:pt x="8567" y="2553"/>
                </a:lnTo>
                <a:lnTo>
                  <a:pt x="8577" y="2569"/>
                </a:lnTo>
                <a:lnTo>
                  <a:pt x="8590" y="2582"/>
                </a:lnTo>
                <a:lnTo>
                  <a:pt x="8608" y="2591"/>
                </a:lnTo>
                <a:lnTo>
                  <a:pt x="8630" y="2597"/>
                </a:lnTo>
                <a:lnTo>
                  <a:pt x="8655" y="2599"/>
                </a:lnTo>
                <a:lnTo>
                  <a:pt x="8677" y="2597"/>
                </a:lnTo>
                <a:lnTo>
                  <a:pt x="8697" y="2591"/>
                </a:lnTo>
                <a:lnTo>
                  <a:pt x="8713" y="2581"/>
                </a:lnTo>
                <a:lnTo>
                  <a:pt x="8726" y="2571"/>
                </a:lnTo>
                <a:lnTo>
                  <a:pt x="8738" y="2557"/>
                </a:lnTo>
                <a:lnTo>
                  <a:pt x="8747" y="2543"/>
                </a:lnTo>
                <a:lnTo>
                  <a:pt x="8755" y="2527"/>
                </a:lnTo>
                <a:lnTo>
                  <a:pt x="8760" y="2511"/>
                </a:lnTo>
                <a:lnTo>
                  <a:pt x="8764" y="2493"/>
                </a:lnTo>
                <a:lnTo>
                  <a:pt x="8767" y="2475"/>
                </a:lnTo>
                <a:lnTo>
                  <a:pt x="8769" y="2439"/>
                </a:lnTo>
                <a:lnTo>
                  <a:pt x="8769" y="2132"/>
                </a:lnTo>
                <a:lnTo>
                  <a:pt x="8908" y="2132"/>
                </a:lnTo>
                <a:lnTo>
                  <a:pt x="8908" y="2713"/>
                </a:lnTo>
                <a:lnTo>
                  <a:pt x="8793" y="2713"/>
                </a:lnTo>
                <a:close/>
                <a:moveTo>
                  <a:pt x="8190" y="2713"/>
                </a:moveTo>
                <a:lnTo>
                  <a:pt x="8028" y="2460"/>
                </a:lnTo>
                <a:lnTo>
                  <a:pt x="7934" y="2560"/>
                </a:lnTo>
                <a:lnTo>
                  <a:pt x="7934" y="2713"/>
                </a:lnTo>
                <a:lnTo>
                  <a:pt x="7795" y="2713"/>
                </a:lnTo>
                <a:lnTo>
                  <a:pt x="7795" y="1907"/>
                </a:lnTo>
                <a:lnTo>
                  <a:pt x="7934" y="1907"/>
                </a:lnTo>
                <a:lnTo>
                  <a:pt x="7934" y="2368"/>
                </a:lnTo>
                <a:lnTo>
                  <a:pt x="8155" y="2132"/>
                </a:lnTo>
                <a:lnTo>
                  <a:pt x="8330" y="2132"/>
                </a:lnTo>
                <a:lnTo>
                  <a:pt x="8122" y="2357"/>
                </a:lnTo>
                <a:lnTo>
                  <a:pt x="8351" y="2713"/>
                </a:lnTo>
                <a:lnTo>
                  <a:pt x="8190" y="2713"/>
                </a:lnTo>
                <a:close/>
                <a:moveTo>
                  <a:pt x="7618" y="2661"/>
                </a:moveTo>
                <a:lnTo>
                  <a:pt x="7600" y="2677"/>
                </a:lnTo>
                <a:lnTo>
                  <a:pt x="7578" y="2691"/>
                </a:lnTo>
                <a:lnTo>
                  <a:pt x="7555" y="2702"/>
                </a:lnTo>
                <a:lnTo>
                  <a:pt x="7531" y="2712"/>
                </a:lnTo>
                <a:lnTo>
                  <a:pt x="7505" y="2718"/>
                </a:lnTo>
                <a:lnTo>
                  <a:pt x="7477" y="2724"/>
                </a:lnTo>
                <a:lnTo>
                  <a:pt x="7448" y="2726"/>
                </a:lnTo>
                <a:lnTo>
                  <a:pt x="7419" y="2727"/>
                </a:lnTo>
                <a:lnTo>
                  <a:pt x="7392" y="2726"/>
                </a:lnTo>
                <a:lnTo>
                  <a:pt x="7366" y="2724"/>
                </a:lnTo>
                <a:lnTo>
                  <a:pt x="7340" y="2718"/>
                </a:lnTo>
                <a:lnTo>
                  <a:pt x="7316" y="2711"/>
                </a:lnTo>
                <a:lnTo>
                  <a:pt x="7293" y="2702"/>
                </a:lnTo>
                <a:lnTo>
                  <a:pt x="7271" y="2690"/>
                </a:lnTo>
                <a:lnTo>
                  <a:pt x="7251" y="2676"/>
                </a:lnTo>
                <a:lnTo>
                  <a:pt x="7241" y="2668"/>
                </a:lnTo>
                <a:lnTo>
                  <a:pt x="7232" y="2661"/>
                </a:lnTo>
                <a:lnTo>
                  <a:pt x="7219" y="2648"/>
                </a:lnTo>
                <a:lnTo>
                  <a:pt x="7208" y="2634"/>
                </a:lnTo>
                <a:lnTo>
                  <a:pt x="7197" y="2618"/>
                </a:lnTo>
                <a:lnTo>
                  <a:pt x="7189" y="2601"/>
                </a:lnTo>
                <a:lnTo>
                  <a:pt x="7176" y="2565"/>
                </a:lnTo>
                <a:lnTo>
                  <a:pt x="7171" y="2546"/>
                </a:lnTo>
                <a:lnTo>
                  <a:pt x="7170" y="2526"/>
                </a:lnTo>
                <a:lnTo>
                  <a:pt x="7301" y="2526"/>
                </a:lnTo>
                <a:lnTo>
                  <a:pt x="7304" y="2544"/>
                </a:lnTo>
                <a:lnTo>
                  <a:pt x="7306" y="2554"/>
                </a:lnTo>
                <a:lnTo>
                  <a:pt x="7311" y="2564"/>
                </a:lnTo>
                <a:lnTo>
                  <a:pt x="7320" y="2580"/>
                </a:lnTo>
                <a:lnTo>
                  <a:pt x="7326" y="2588"/>
                </a:lnTo>
                <a:lnTo>
                  <a:pt x="7332" y="2593"/>
                </a:lnTo>
                <a:lnTo>
                  <a:pt x="7350" y="2605"/>
                </a:lnTo>
                <a:lnTo>
                  <a:pt x="7370" y="2613"/>
                </a:lnTo>
                <a:lnTo>
                  <a:pt x="7393" y="2617"/>
                </a:lnTo>
                <a:lnTo>
                  <a:pt x="7420" y="2619"/>
                </a:lnTo>
                <a:lnTo>
                  <a:pt x="7458" y="2616"/>
                </a:lnTo>
                <a:lnTo>
                  <a:pt x="7479" y="2613"/>
                </a:lnTo>
                <a:lnTo>
                  <a:pt x="7497" y="2606"/>
                </a:lnTo>
                <a:lnTo>
                  <a:pt x="7506" y="2602"/>
                </a:lnTo>
                <a:lnTo>
                  <a:pt x="7514" y="2597"/>
                </a:lnTo>
                <a:lnTo>
                  <a:pt x="7520" y="2591"/>
                </a:lnTo>
                <a:lnTo>
                  <a:pt x="7527" y="2584"/>
                </a:lnTo>
                <a:lnTo>
                  <a:pt x="7535" y="2567"/>
                </a:lnTo>
                <a:lnTo>
                  <a:pt x="7538" y="2556"/>
                </a:lnTo>
                <a:lnTo>
                  <a:pt x="7539" y="2546"/>
                </a:lnTo>
                <a:lnTo>
                  <a:pt x="7538" y="2534"/>
                </a:lnTo>
                <a:lnTo>
                  <a:pt x="7534" y="2523"/>
                </a:lnTo>
                <a:lnTo>
                  <a:pt x="7530" y="2513"/>
                </a:lnTo>
                <a:lnTo>
                  <a:pt x="7523" y="2504"/>
                </a:lnTo>
                <a:lnTo>
                  <a:pt x="7515" y="2498"/>
                </a:lnTo>
                <a:lnTo>
                  <a:pt x="7505" y="2491"/>
                </a:lnTo>
                <a:lnTo>
                  <a:pt x="7481" y="2485"/>
                </a:lnTo>
                <a:lnTo>
                  <a:pt x="7441" y="2479"/>
                </a:lnTo>
                <a:lnTo>
                  <a:pt x="7401" y="2474"/>
                </a:lnTo>
                <a:lnTo>
                  <a:pt x="7359" y="2469"/>
                </a:lnTo>
                <a:lnTo>
                  <a:pt x="7320" y="2462"/>
                </a:lnTo>
                <a:lnTo>
                  <a:pt x="7292" y="2453"/>
                </a:lnTo>
                <a:lnTo>
                  <a:pt x="7266" y="2441"/>
                </a:lnTo>
                <a:lnTo>
                  <a:pt x="7243" y="2425"/>
                </a:lnTo>
                <a:lnTo>
                  <a:pt x="7224" y="2405"/>
                </a:lnTo>
                <a:lnTo>
                  <a:pt x="7208" y="2383"/>
                </a:lnTo>
                <a:lnTo>
                  <a:pt x="7197" y="2359"/>
                </a:lnTo>
                <a:lnTo>
                  <a:pt x="7190" y="2333"/>
                </a:lnTo>
                <a:lnTo>
                  <a:pt x="7188" y="2306"/>
                </a:lnTo>
                <a:lnTo>
                  <a:pt x="7189" y="2286"/>
                </a:lnTo>
                <a:lnTo>
                  <a:pt x="7192" y="2265"/>
                </a:lnTo>
                <a:lnTo>
                  <a:pt x="7197" y="2247"/>
                </a:lnTo>
                <a:lnTo>
                  <a:pt x="7204" y="2230"/>
                </a:lnTo>
                <a:lnTo>
                  <a:pt x="7222" y="2201"/>
                </a:lnTo>
                <a:lnTo>
                  <a:pt x="7246" y="2176"/>
                </a:lnTo>
                <a:lnTo>
                  <a:pt x="7281" y="2152"/>
                </a:lnTo>
                <a:lnTo>
                  <a:pt x="7302" y="2141"/>
                </a:lnTo>
                <a:lnTo>
                  <a:pt x="7324" y="2133"/>
                </a:lnTo>
                <a:lnTo>
                  <a:pt x="7346" y="2127"/>
                </a:lnTo>
                <a:lnTo>
                  <a:pt x="7370" y="2121"/>
                </a:lnTo>
                <a:lnTo>
                  <a:pt x="7396" y="2119"/>
                </a:lnTo>
                <a:lnTo>
                  <a:pt x="7422" y="2118"/>
                </a:lnTo>
                <a:lnTo>
                  <a:pt x="7448" y="2119"/>
                </a:lnTo>
                <a:lnTo>
                  <a:pt x="7475" y="2122"/>
                </a:lnTo>
                <a:lnTo>
                  <a:pt x="7500" y="2128"/>
                </a:lnTo>
                <a:lnTo>
                  <a:pt x="7523" y="2134"/>
                </a:lnTo>
                <a:lnTo>
                  <a:pt x="7546" y="2144"/>
                </a:lnTo>
                <a:lnTo>
                  <a:pt x="7568" y="2156"/>
                </a:lnTo>
                <a:lnTo>
                  <a:pt x="7588" y="2170"/>
                </a:lnTo>
                <a:lnTo>
                  <a:pt x="7605" y="2185"/>
                </a:lnTo>
                <a:lnTo>
                  <a:pt x="7626" y="2213"/>
                </a:lnTo>
                <a:lnTo>
                  <a:pt x="7642" y="2242"/>
                </a:lnTo>
                <a:lnTo>
                  <a:pt x="7647" y="2258"/>
                </a:lnTo>
                <a:lnTo>
                  <a:pt x="7652" y="2274"/>
                </a:lnTo>
                <a:lnTo>
                  <a:pt x="7656" y="2305"/>
                </a:lnTo>
                <a:lnTo>
                  <a:pt x="7523" y="2305"/>
                </a:lnTo>
                <a:lnTo>
                  <a:pt x="7521" y="2290"/>
                </a:lnTo>
                <a:lnTo>
                  <a:pt x="7516" y="2275"/>
                </a:lnTo>
                <a:lnTo>
                  <a:pt x="7509" y="2263"/>
                </a:lnTo>
                <a:lnTo>
                  <a:pt x="7500" y="2251"/>
                </a:lnTo>
                <a:lnTo>
                  <a:pt x="7484" y="2240"/>
                </a:lnTo>
                <a:lnTo>
                  <a:pt x="7466" y="2231"/>
                </a:lnTo>
                <a:lnTo>
                  <a:pt x="7445" y="2226"/>
                </a:lnTo>
                <a:lnTo>
                  <a:pt x="7424" y="2224"/>
                </a:lnTo>
                <a:lnTo>
                  <a:pt x="7394" y="2225"/>
                </a:lnTo>
                <a:lnTo>
                  <a:pt x="7379" y="2228"/>
                </a:lnTo>
                <a:lnTo>
                  <a:pt x="7364" y="2233"/>
                </a:lnTo>
                <a:lnTo>
                  <a:pt x="7355" y="2238"/>
                </a:lnTo>
                <a:lnTo>
                  <a:pt x="7346" y="2242"/>
                </a:lnTo>
                <a:lnTo>
                  <a:pt x="7332" y="2256"/>
                </a:lnTo>
                <a:lnTo>
                  <a:pt x="7327" y="2264"/>
                </a:lnTo>
                <a:lnTo>
                  <a:pt x="7322" y="2274"/>
                </a:lnTo>
                <a:lnTo>
                  <a:pt x="7320" y="2283"/>
                </a:lnTo>
                <a:lnTo>
                  <a:pt x="7319" y="2294"/>
                </a:lnTo>
                <a:lnTo>
                  <a:pt x="7320" y="2308"/>
                </a:lnTo>
                <a:lnTo>
                  <a:pt x="7325" y="2320"/>
                </a:lnTo>
                <a:lnTo>
                  <a:pt x="7332" y="2330"/>
                </a:lnTo>
                <a:lnTo>
                  <a:pt x="7341" y="2337"/>
                </a:lnTo>
                <a:lnTo>
                  <a:pt x="7351" y="2343"/>
                </a:lnTo>
                <a:lnTo>
                  <a:pt x="7363" y="2348"/>
                </a:lnTo>
                <a:lnTo>
                  <a:pt x="7385" y="2352"/>
                </a:lnTo>
                <a:lnTo>
                  <a:pt x="7446" y="2359"/>
                </a:lnTo>
                <a:lnTo>
                  <a:pt x="7509" y="2369"/>
                </a:lnTo>
                <a:lnTo>
                  <a:pt x="7543" y="2377"/>
                </a:lnTo>
                <a:lnTo>
                  <a:pt x="7558" y="2381"/>
                </a:lnTo>
                <a:lnTo>
                  <a:pt x="7573" y="2388"/>
                </a:lnTo>
                <a:lnTo>
                  <a:pt x="7600" y="2403"/>
                </a:lnTo>
                <a:lnTo>
                  <a:pt x="7613" y="2413"/>
                </a:lnTo>
                <a:lnTo>
                  <a:pt x="7623" y="2423"/>
                </a:lnTo>
                <a:lnTo>
                  <a:pt x="7633" y="2433"/>
                </a:lnTo>
                <a:lnTo>
                  <a:pt x="7642" y="2444"/>
                </a:lnTo>
                <a:lnTo>
                  <a:pt x="7656" y="2470"/>
                </a:lnTo>
                <a:lnTo>
                  <a:pt x="7661" y="2486"/>
                </a:lnTo>
                <a:lnTo>
                  <a:pt x="7665" y="2501"/>
                </a:lnTo>
                <a:lnTo>
                  <a:pt x="7668" y="2534"/>
                </a:lnTo>
                <a:lnTo>
                  <a:pt x="7667" y="2553"/>
                </a:lnTo>
                <a:lnTo>
                  <a:pt x="7665" y="2573"/>
                </a:lnTo>
                <a:lnTo>
                  <a:pt x="7660" y="2590"/>
                </a:lnTo>
                <a:lnTo>
                  <a:pt x="7654" y="2606"/>
                </a:lnTo>
                <a:lnTo>
                  <a:pt x="7647" y="2622"/>
                </a:lnTo>
                <a:lnTo>
                  <a:pt x="7639" y="2636"/>
                </a:lnTo>
                <a:lnTo>
                  <a:pt x="7618" y="2661"/>
                </a:lnTo>
                <a:close/>
                <a:moveTo>
                  <a:pt x="6915" y="2263"/>
                </a:moveTo>
                <a:lnTo>
                  <a:pt x="6907" y="2256"/>
                </a:lnTo>
                <a:lnTo>
                  <a:pt x="6899" y="2250"/>
                </a:lnTo>
                <a:lnTo>
                  <a:pt x="6879" y="2239"/>
                </a:lnTo>
                <a:lnTo>
                  <a:pt x="6867" y="2234"/>
                </a:lnTo>
                <a:lnTo>
                  <a:pt x="6855" y="2232"/>
                </a:lnTo>
                <a:lnTo>
                  <a:pt x="6827" y="2229"/>
                </a:lnTo>
                <a:lnTo>
                  <a:pt x="6797" y="2232"/>
                </a:lnTo>
                <a:lnTo>
                  <a:pt x="6770" y="2242"/>
                </a:lnTo>
                <a:lnTo>
                  <a:pt x="6748" y="2256"/>
                </a:lnTo>
                <a:lnTo>
                  <a:pt x="6738" y="2265"/>
                </a:lnTo>
                <a:lnTo>
                  <a:pt x="6730" y="2275"/>
                </a:lnTo>
                <a:lnTo>
                  <a:pt x="6717" y="2294"/>
                </a:lnTo>
                <a:lnTo>
                  <a:pt x="6707" y="2315"/>
                </a:lnTo>
                <a:lnTo>
                  <a:pt x="6702" y="2338"/>
                </a:lnTo>
                <a:lnTo>
                  <a:pt x="6700" y="2365"/>
                </a:lnTo>
                <a:lnTo>
                  <a:pt x="6951" y="2365"/>
                </a:lnTo>
                <a:lnTo>
                  <a:pt x="6950" y="2349"/>
                </a:lnTo>
                <a:lnTo>
                  <a:pt x="6948" y="2333"/>
                </a:lnTo>
                <a:lnTo>
                  <a:pt x="6941" y="2306"/>
                </a:lnTo>
                <a:lnTo>
                  <a:pt x="6930" y="2283"/>
                </a:lnTo>
                <a:lnTo>
                  <a:pt x="6924" y="2272"/>
                </a:lnTo>
                <a:lnTo>
                  <a:pt x="6915" y="2263"/>
                </a:lnTo>
                <a:close/>
                <a:moveTo>
                  <a:pt x="7089" y="2466"/>
                </a:moveTo>
                <a:lnTo>
                  <a:pt x="6701" y="2466"/>
                </a:lnTo>
                <a:lnTo>
                  <a:pt x="6702" y="2482"/>
                </a:lnTo>
                <a:lnTo>
                  <a:pt x="6703" y="2499"/>
                </a:lnTo>
                <a:lnTo>
                  <a:pt x="6712" y="2530"/>
                </a:lnTo>
                <a:lnTo>
                  <a:pt x="6717" y="2544"/>
                </a:lnTo>
                <a:lnTo>
                  <a:pt x="6725" y="2557"/>
                </a:lnTo>
                <a:lnTo>
                  <a:pt x="6734" y="2569"/>
                </a:lnTo>
                <a:lnTo>
                  <a:pt x="6743" y="2580"/>
                </a:lnTo>
                <a:lnTo>
                  <a:pt x="6760" y="2593"/>
                </a:lnTo>
                <a:lnTo>
                  <a:pt x="6780" y="2605"/>
                </a:lnTo>
                <a:lnTo>
                  <a:pt x="6803" y="2613"/>
                </a:lnTo>
                <a:lnTo>
                  <a:pt x="6829" y="2616"/>
                </a:lnTo>
                <a:lnTo>
                  <a:pt x="6856" y="2614"/>
                </a:lnTo>
                <a:lnTo>
                  <a:pt x="6879" y="2610"/>
                </a:lnTo>
                <a:lnTo>
                  <a:pt x="6898" y="2601"/>
                </a:lnTo>
                <a:lnTo>
                  <a:pt x="6914" y="2588"/>
                </a:lnTo>
                <a:lnTo>
                  <a:pt x="6923" y="2578"/>
                </a:lnTo>
                <a:lnTo>
                  <a:pt x="6930" y="2566"/>
                </a:lnTo>
                <a:lnTo>
                  <a:pt x="6937" y="2554"/>
                </a:lnTo>
                <a:lnTo>
                  <a:pt x="6942" y="2539"/>
                </a:lnTo>
                <a:lnTo>
                  <a:pt x="7076" y="2539"/>
                </a:lnTo>
                <a:lnTo>
                  <a:pt x="7070" y="2566"/>
                </a:lnTo>
                <a:lnTo>
                  <a:pt x="7065" y="2580"/>
                </a:lnTo>
                <a:lnTo>
                  <a:pt x="7058" y="2596"/>
                </a:lnTo>
                <a:lnTo>
                  <a:pt x="7043" y="2623"/>
                </a:lnTo>
                <a:lnTo>
                  <a:pt x="7027" y="2646"/>
                </a:lnTo>
                <a:lnTo>
                  <a:pt x="7007" y="2666"/>
                </a:lnTo>
                <a:lnTo>
                  <a:pt x="6986" y="2684"/>
                </a:lnTo>
                <a:lnTo>
                  <a:pt x="6963" y="2698"/>
                </a:lnTo>
                <a:lnTo>
                  <a:pt x="6939" y="2709"/>
                </a:lnTo>
                <a:lnTo>
                  <a:pt x="6913" y="2717"/>
                </a:lnTo>
                <a:lnTo>
                  <a:pt x="6887" y="2723"/>
                </a:lnTo>
                <a:lnTo>
                  <a:pt x="6860" y="2726"/>
                </a:lnTo>
                <a:lnTo>
                  <a:pt x="6831" y="2727"/>
                </a:lnTo>
                <a:lnTo>
                  <a:pt x="6803" y="2726"/>
                </a:lnTo>
                <a:lnTo>
                  <a:pt x="6776" y="2723"/>
                </a:lnTo>
                <a:lnTo>
                  <a:pt x="6763" y="2720"/>
                </a:lnTo>
                <a:lnTo>
                  <a:pt x="6751" y="2716"/>
                </a:lnTo>
                <a:lnTo>
                  <a:pt x="6728" y="2708"/>
                </a:lnTo>
                <a:lnTo>
                  <a:pt x="6705" y="2698"/>
                </a:lnTo>
                <a:lnTo>
                  <a:pt x="6686" y="2686"/>
                </a:lnTo>
                <a:lnTo>
                  <a:pt x="6666" y="2672"/>
                </a:lnTo>
                <a:lnTo>
                  <a:pt x="6649" y="2656"/>
                </a:lnTo>
                <a:lnTo>
                  <a:pt x="6628" y="2634"/>
                </a:lnTo>
                <a:lnTo>
                  <a:pt x="6611" y="2610"/>
                </a:lnTo>
                <a:lnTo>
                  <a:pt x="6596" y="2584"/>
                </a:lnTo>
                <a:lnTo>
                  <a:pt x="6582" y="2554"/>
                </a:lnTo>
                <a:lnTo>
                  <a:pt x="6577" y="2540"/>
                </a:lnTo>
                <a:lnTo>
                  <a:pt x="6573" y="2524"/>
                </a:lnTo>
                <a:lnTo>
                  <a:pt x="6565" y="2492"/>
                </a:lnTo>
                <a:lnTo>
                  <a:pt x="6561" y="2458"/>
                </a:lnTo>
                <a:lnTo>
                  <a:pt x="6560" y="2424"/>
                </a:lnTo>
                <a:lnTo>
                  <a:pt x="6561" y="2390"/>
                </a:lnTo>
                <a:lnTo>
                  <a:pt x="6565" y="2356"/>
                </a:lnTo>
                <a:lnTo>
                  <a:pt x="6572" y="2325"/>
                </a:lnTo>
                <a:lnTo>
                  <a:pt x="6580" y="2294"/>
                </a:lnTo>
                <a:lnTo>
                  <a:pt x="6592" y="2266"/>
                </a:lnTo>
                <a:lnTo>
                  <a:pt x="6606" y="2239"/>
                </a:lnTo>
                <a:lnTo>
                  <a:pt x="6624" y="2214"/>
                </a:lnTo>
                <a:lnTo>
                  <a:pt x="6643" y="2192"/>
                </a:lnTo>
                <a:lnTo>
                  <a:pt x="6661" y="2176"/>
                </a:lnTo>
                <a:lnTo>
                  <a:pt x="6679" y="2162"/>
                </a:lnTo>
                <a:lnTo>
                  <a:pt x="6700" y="2148"/>
                </a:lnTo>
                <a:lnTo>
                  <a:pt x="6723" y="2138"/>
                </a:lnTo>
                <a:lnTo>
                  <a:pt x="6747" y="2129"/>
                </a:lnTo>
                <a:lnTo>
                  <a:pt x="6772" y="2123"/>
                </a:lnTo>
                <a:lnTo>
                  <a:pt x="6800" y="2119"/>
                </a:lnTo>
                <a:lnTo>
                  <a:pt x="6828" y="2118"/>
                </a:lnTo>
                <a:lnTo>
                  <a:pt x="6860" y="2119"/>
                </a:lnTo>
                <a:lnTo>
                  <a:pt x="6891" y="2125"/>
                </a:lnTo>
                <a:lnTo>
                  <a:pt x="6920" y="2132"/>
                </a:lnTo>
                <a:lnTo>
                  <a:pt x="6949" y="2144"/>
                </a:lnTo>
                <a:lnTo>
                  <a:pt x="6975" y="2159"/>
                </a:lnTo>
                <a:lnTo>
                  <a:pt x="6999" y="2178"/>
                </a:lnTo>
                <a:lnTo>
                  <a:pt x="7020" y="2200"/>
                </a:lnTo>
                <a:lnTo>
                  <a:pt x="7040" y="2225"/>
                </a:lnTo>
                <a:lnTo>
                  <a:pt x="7055" y="2249"/>
                </a:lnTo>
                <a:lnTo>
                  <a:pt x="7066" y="2274"/>
                </a:lnTo>
                <a:lnTo>
                  <a:pt x="7082" y="2323"/>
                </a:lnTo>
                <a:lnTo>
                  <a:pt x="7087" y="2348"/>
                </a:lnTo>
                <a:lnTo>
                  <a:pt x="7090" y="2374"/>
                </a:lnTo>
                <a:lnTo>
                  <a:pt x="7090" y="2427"/>
                </a:lnTo>
                <a:lnTo>
                  <a:pt x="7089" y="2466"/>
                </a:lnTo>
                <a:close/>
                <a:moveTo>
                  <a:pt x="6372" y="2713"/>
                </a:moveTo>
                <a:lnTo>
                  <a:pt x="6209" y="2460"/>
                </a:lnTo>
                <a:lnTo>
                  <a:pt x="6116" y="2560"/>
                </a:lnTo>
                <a:lnTo>
                  <a:pt x="6116" y="2713"/>
                </a:lnTo>
                <a:lnTo>
                  <a:pt x="5977" y="2713"/>
                </a:lnTo>
                <a:lnTo>
                  <a:pt x="5977" y="1907"/>
                </a:lnTo>
                <a:lnTo>
                  <a:pt x="6116" y="1907"/>
                </a:lnTo>
                <a:lnTo>
                  <a:pt x="6116" y="2368"/>
                </a:lnTo>
                <a:lnTo>
                  <a:pt x="6336" y="2132"/>
                </a:lnTo>
                <a:lnTo>
                  <a:pt x="6511" y="2132"/>
                </a:lnTo>
                <a:lnTo>
                  <a:pt x="6303" y="2357"/>
                </a:lnTo>
                <a:lnTo>
                  <a:pt x="6534" y="2713"/>
                </a:lnTo>
                <a:lnTo>
                  <a:pt x="6372" y="2713"/>
                </a:lnTo>
                <a:close/>
                <a:moveTo>
                  <a:pt x="14362" y="1547"/>
                </a:moveTo>
                <a:lnTo>
                  <a:pt x="14362" y="1191"/>
                </a:lnTo>
                <a:lnTo>
                  <a:pt x="14361" y="1166"/>
                </a:lnTo>
                <a:lnTo>
                  <a:pt x="14358" y="1146"/>
                </a:lnTo>
                <a:lnTo>
                  <a:pt x="14355" y="1136"/>
                </a:lnTo>
                <a:lnTo>
                  <a:pt x="14352" y="1126"/>
                </a:lnTo>
                <a:lnTo>
                  <a:pt x="14347" y="1118"/>
                </a:lnTo>
                <a:lnTo>
                  <a:pt x="14342" y="1111"/>
                </a:lnTo>
                <a:lnTo>
                  <a:pt x="14336" y="1104"/>
                </a:lnTo>
                <a:lnTo>
                  <a:pt x="14330" y="1098"/>
                </a:lnTo>
                <a:lnTo>
                  <a:pt x="14312" y="1089"/>
                </a:lnTo>
                <a:lnTo>
                  <a:pt x="14292" y="1084"/>
                </a:lnTo>
                <a:lnTo>
                  <a:pt x="14267" y="1081"/>
                </a:lnTo>
                <a:lnTo>
                  <a:pt x="14249" y="1082"/>
                </a:lnTo>
                <a:lnTo>
                  <a:pt x="14233" y="1087"/>
                </a:lnTo>
                <a:lnTo>
                  <a:pt x="14218" y="1093"/>
                </a:lnTo>
                <a:lnTo>
                  <a:pt x="14205" y="1102"/>
                </a:lnTo>
                <a:lnTo>
                  <a:pt x="14194" y="1113"/>
                </a:lnTo>
                <a:lnTo>
                  <a:pt x="14183" y="1126"/>
                </a:lnTo>
                <a:lnTo>
                  <a:pt x="14174" y="1140"/>
                </a:lnTo>
                <a:lnTo>
                  <a:pt x="14167" y="1155"/>
                </a:lnTo>
                <a:lnTo>
                  <a:pt x="14159" y="1173"/>
                </a:lnTo>
                <a:lnTo>
                  <a:pt x="14155" y="1192"/>
                </a:lnTo>
                <a:lnTo>
                  <a:pt x="14152" y="1212"/>
                </a:lnTo>
                <a:lnTo>
                  <a:pt x="14149" y="1231"/>
                </a:lnTo>
                <a:lnTo>
                  <a:pt x="14147" y="1272"/>
                </a:lnTo>
                <a:lnTo>
                  <a:pt x="14147" y="1311"/>
                </a:lnTo>
                <a:lnTo>
                  <a:pt x="14147" y="1547"/>
                </a:lnTo>
                <a:lnTo>
                  <a:pt x="14008" y="1547"/>
                </a:lnTo>
                <a:lnTo>
                  <a:pt x="14008" y="966"/>
                </a:lnTo>
                <a:lnTo>
                  <a:pt x="14126" y="966"/>
                </a:lnTo>
                <a:lnTo>
                  <a:pt x="14135" y="1041"/>
                </a:lnTo>
                <a:lnTo>
                  <a:pt x="14149" y="1019"/>
                </a:lnTo>
                <a:lnTo>
                  <a:pt x="14167" y="1001"/>
                </a:lnTo>
                <a:lnTo>
                  <a:pt x="14186" y="986"/>
                </a:lnTo>
                <a:lnTo>
                  <a:pt x="14208" y="974"/>
                </a:lnTo>
                <a:lnTo>
                  <a:pt x="14231" y="964"/>
                </a:lnTo>
                <a:lnTo>
                  <a:pt x="14256" y="957"/>
                </a:lnTo>
                <a:lnTo>
                  <a:pt x="14281" y="953"/>
                </a:lnTo>
                <a:lnTo>
                  <a:pt x="14306" y="952"/>
                </a:lnTo>
                <a:lnTo>
                  <a:pt x="14329" y="953"/>
                </a:lnTo>
                <a:lnTo>
                  <a:pt x="14349" y="956"/>
                </a:lnTo>
                <a:lnTo>
                  <a:pt x="14370" y="961"/>
                </a:lnTo>
                <a:lnTo>
                  <a:pt x="14388" y="967"/>
                </a:lnTo>
                <a:lnTo>
                  <a:pt x="14406" y="976"/>
                </a:lnTo>
                <a:lnTo>
                  <a:pt x="14422" y="986"/>
                </a:lnTo>
                <a:lnTo>
                  <a:pt x="14437" y="998"/>
                </a:lnTo>
                <a:lnTo>
                  <a:pt x="14450" y="1011"/>
                </a:lnTo>
                <a:lnTo>
                  <a:pt x="14462" y="1025"/>
                </a:lnTo>
                <a:lnTo>
                  <a:pt x="14472" y="1041"/>
                </a:lnTo>
                <a:lnTo>
                  <a:pt x="14482" y="1059"/>
                </a:lnTo>
                <a:lnTo>
                  <a:pt x="14488" y="1076"/>
                </a:lnTo>
                <a:lnTo>
                  <a:pt x="14495" y="1095"/>
                </a:lnTo>
                <a:lnTo>
                  <a:pt x="14498" y="1116"/>
                </a:lnTo>
                <a:lnTo>
                  <a:pt x="14501" y="1138"/>
                </a:lnTo>
                <a:lnTo>
                  <a:pt x="14503" y="1160"/>
                </a:lnTo>
                <a:lnTo>
                  <a:pt x="14503" y="1547"/>
                </a:lnTo>
                <a:lnTo>
                  <a:pt x="14362" y="1547"/>
                </a:lnTo>
                <a:close/>
                <a:moveTo>
                  <a:pt x="13660" y="876"/>
                </a:moveTo>
                <a:lnTo>
                  <a:pt x="13660" y="741"/>
                </a:lnTo>
                <a:lnTo>
                  <a:pt x="13791" y="741"/>
                </a:lnTo>
                <a:lnTo>
                  <a:pt x="13791" y="876"/>
                </a:lnTo>
                <a:lnTo>
                  <a:pt x="13660" y="876"/>
                </a:lnTo>
                <a:close/>
                <a:moveTo>
                  <a:pt x="13430" y="876"/>
                </a:moveTo>
                <a:lnTo>
                  <a:pt x="13430" y="741"/>
                </a:lnTo>
                <a:lnTo>
                  <a:pt x="13561" y="741"/>
                </a:lnTo>
                <a:lnTo>
                  <a:pt x="13561" y="876"/>
                </a:lnTo>
                <a:lnTo>
                  <a:pt x="13430" y="876"/>
                </a:lnTo>
                <a:close/>
                <a:moveTo>
                  <a:pt x="13704" y="1289"/>
                </a:moveTo>
                <a:lnTo>
                  <a:pt x="13556" y="1300"/>
                </a:lnTo>
                <a:lnTo>
                  <a:pt x="13541" y="1302"/>
                </a:lnTo>
                <a:lnTo>
                  <a:pt x="13526" y="1307"/>
                </a:lnTo>
                <a:lnTo>
                  <a:pt x="13512" y="1313"/>
                </a:lnTo>
                <a:lnTo>
                  <a:pt x="13499" y="1322"/>
                </a:lnTo>
                <a:lnTo>
                  <a:pt x="13488" y="1333"/>
                </a:lnTo>
                <a:lnTo>
                  <a:pt x="13480" y="1345"/>
                </a:lnTo>
                <a:lnTo>
                  <a:pt x="13475" y="1360"/>
                </a:lnTo>
                <a:lnTo>
                  <a:pt x="13472" y="1376"/>
                </a:lnTo>
                <a:lnTo>
                  <a:pt x="13475" y="1392"/>
                </a:lnTo>
                <a:lnTo>
                  <a:pt x="13479" y="1407"/>
                </a:lnTo>
                <a:lnTo>
                  <a:pt x="13488" y="1419"/>
                </a:lnTo>
                <a:lnTo>
                  <a:pt x="13497" y="1429"/>
                </a:lnTo>
                <a:lnTo>
                  <a:pt x="13509" y="1438"/>
                </a:lnTo>
                <a:lnTo>
                  <a:pt x="13524" y="1444"/>
                </a:lnTo>
                <a:lnTo>
                  <a:pt x="13539" y="1448"/>
                </a:lnTo>
                <a:lnTo>
                  <a:pt x="13555" y="1449"/>
                </a:lnTo>
                <a:lnTo>
                  <a:pt x="13587" y="1447"/>
                </a:lnTo>
                <a:lnTo>
                  <a:pt x="13601" y="1444"/>
                </a:lnTo>
                <a:lnTo>
                  <a:pt x="13615" y="1440"/>
                </a:lnTo>
                <a:lnTo>
                  <a:pt x="13640" y="1429"/>
                </a:lnTo>
                <a:lnTo>
                  <a:pt x="13652" y="1423"/>
                </a:lnTo>
                <a:lnTo>
                  <a:pt x="13662" y="1414"/>
                </a:lnTo>
                <a:lnTo>
                  <a:pt x="13680" y="1396"/>
                </a:lnTo>
                <a:lnTo>
                  <a:pt x="13687" y="1385"/>
                </a:lnTo>
                <a:lnTo>
                  <a:pt x="13693" y="1373"/>
                </a:lnTo>
                <a:lnTo>
                  <a:pt x="13697" y="1360"/>
                </a:lnTo>
                <a:lnTo>
                  <a:pt x="13701" y="1347"/>
                </a:lnTo>
                <a:lnTo>
                  <a:pt x="13703" y="1332"/>
                </a:lnTo>
                <a:lnTo>
                  <a:pt x="13704" y="1316"/>
                </a:lnTo>
                <a:lnTo>
                  <a:pt x="13704" y="1289"/>
                </a:lnTo>
                <a:close/>
                <a:moveTo>
                  <a:pt x="13820" y="1556"/>
                </a:moveTo>
                <a:lnTo>
                  <a:pt x="13800" y="1555"/>
                </a:lnTo>
                <a:lnTo>
                  <a:pt x="13780" y="1549"/>
                </a:lnTo>
                <a:lnTo>
                  <a:pt x="13765" y="1541"/>
                </a:lnTo>
                <a:lnTo>
                  <a:pt x="13751" y="1532"/>
                </a:lnTo>
                <a:lnTo>
                  <a:pt x="13740" y="1520"/>
                </a:lnTo>
                <a:lnTo>
                  <a:pt x="13731" y="1506"/>
                </a:lnTo>
                <a:lnTo>
                  <a:pt x="13726" y="1490"/>
                </a:lnTo>
                <a:lnTo>
                  <a:pt x="13722" y="1474"/>
                </a:lnTo>
                <a:lnTo>
                  <a:pt x="13710" y="1491"/>
                </a:lnTo>
                <a:lnTo>
                  <a:pt x="13695" y="1508"/>
                </a:lnTo>
                <a:lnTo>
                  <a:pt x="13677" y="1523"/>
                </a:lnTo>
                <a:lnTo>
                  <a:pt x="13655" y="1536"/>
                </a:lnTo>
                <a:lnTo>
                  <a:pt x="13631" y="1547"/>
                </a:lnTo>
                <a:lnTo>
                  <a:pt x="13605" y="1555"/>
                </a:lnTo>
                <a:lnTo>
                  <a:pt x="13577" y="1560"/>
                </a:lnTo>
                <a:lnTo>
                  <a:pt x="13546" y="1561"/>
                </a:lnTo>
                <a:lnTo>
                  <a:pt x="13521" y="1561"/>
                </a:lnTo>
                <a:lnTo>
                  <a:pt x="13497" y="1558"/>
                </a:lnTo>
                <a:lnTo>
                  <a:pt x="13476" y="1553"/>
                </a:lnTo>
                <a:lnTo>
                  <a:pt x="13455" y="1547"/>
                </a:lnTo>
                <a:lnTo>
                  <a:pt x="13437" y="1538"/>
                </a:lnTo>
                <a:lnTo>
                  <a:pt x="13419" y="1530"/>
                </a:lnTo>
                <a:lnTo>
                  <a:pt x="13403" y="1519"/>
                </a:lnTo>
                <a:lnTo>
                  <a:pt x="13390" y="1507"/>
                </a:lnTo>
                <a:lnTo>
                  <a:pt x="13377" y="1493"/>
                </a:lnTo>
                <a:lnTo>
                  <a:pt x="13366" y="1478"/>
                </a:lnTo>
                <a:lnTo>
                  <a:pt x="13357" y="1464"/>
                </a:lnTo>
                <a:lnTo>
                  <a:pt x="13350" y="1448"/>
                </a:lnTo>
                <a:lnTo>
                  <a:pt x="13344" y="1432"/>
                </a:lnTo>
                <a:lnTo>
                  <a:pt x="13340" y="1414"/>
                </a:lnTo>
                <a:lnTo>
                  <a:pt x="13337" y="1379"/>
                </a:lnTo>
                <a:lnTo>
                  <a:pt x="13338" y="1360"/>
                </a:lnTo>
                <a:lnTo>
                  <a:pt x="13340" y="1340"/>
                </a:lnTo>
                <a:lnTo>
                  <a:pt x="13345" y="1323"/>
                </a:lnTo>
                <a:lnTo>
                  <a:pt x="13352" y="1305"/>
                </a:lnTo>
                <a:lnTo>
                  <a:pt x="13359" y="1290"/>
                </a:lnTo>
                <a:lnTo>
                  <a:pt x="13369" y="1275"/>
                </a:lnTo>
                <a:lnTo>
                  <a:pt x="13381" y="1262"/>
                </a:lnTo>
                <a:lnTo>
                  <a:pt x="13393" y="1250"/>
                </a:lnTo>
                <a:lnTo>
                  <a:pt x="13423" y="1229"/>
                </a:lnTo>
                <a:lnTo>
                  <a:pt x="13439" y="1221"/>
                </a:lnTo>
                <a:lnTo>
                  <a:pt x="13455" y="1214"/>
                </a:lnTo>
                <a:lnTo>
                  <a:pt x="13493" y="1203"/>
                </a:lnTo>
                <a:lnTo>
                  <a:pt x="13533" y="1198"/>
                </a:lnTo>
                <a:lnTo>
                  <a:pt x="13704" y="1186"/>
                </a:lnTo>
                <a:lnTo>
                  <a:pt x="13704" y="1150"/>
                </a:lnTo>
                <a:lnTo>
                  <a:pt x="13703" y="1130"/>
                </a:lnTo>
                <a:lnTo>
                  <a:pt x="13700" y="1112"/>
                </a:lnTo>
                <a:lnTo>
                  <a:pt x="13693" y="1097"/>
                </a:lnTo>
                <a:lnTo>
                  <a:pt x="13684" y="1084"/>
                </a:lnTo>
                <a:lnTo>
                  <a:pt x="13678" y="1078"/>
                </a:lnTo>
                <a:lnTo>
                  <a:pt x="13671" y="1073"/>
                </a:lnTo>
                <a:lnTo>
                  <a:pt x="13654" y="1065"/>
                </a:lnTo>
                <a:lnTo>
                  <a:pt x="13632" y="1060"/>
                </a:lnTo>
                <a:lnTo>
                  <a:pt x="13605" y="1059"/>
                </a:lnTo>
                <a:lnTo>
                  <a:pt x="13582" y="1060"/>
                </a:lnTo>
                <a:lnTo>
                  <a:pt x="13562" y="1063"/>
                </a:lnTo>
                <a:lnTo>
                  <a:pt x="13544" y="1070"/>
                </a:lnTo>
                <a:lnTo>
                  <a:pt x="13529" y="1079"/>
                </a:lnTo>
                <a:lnTo>
                  <a:pt x="13517" y="1091"/>
                </a:lnTo>
                <a:lnTo>
                  <a:pt x="13508" y="1105"/>
                </a:lnTo>
                <a:lnTo>
                  <a:pt x="13502" y="1122"/>
                </a:lnTo>
                <a:lnTo>
                  <a:pt x="13500" y="1140"/>
                </a:lnTo>
                <a:lnTo>
                  <a:pt x="13365" y="1140"/>
                </a:lnTo>
                <a:lnTo>
                  <a:pt x="13367" y="1117"/>
                </a:lnTo>
                <a:lnTo>
                  <a:pt x="13371" y="1095"/>
                </a:lnTo>
                <a:lnTo>
                  <a:pt x="13378" y="1075"/>
                </a:lnTo>
                <a:lnTo>
                  <a:pt x="13387" y="1056"/>
                </a:lnTo>
                <a:lnTo>
                  <a:pt x="13398" y="1039"/>
                </a:lnTo>
                <a:lnTo>
                  <a:pt x="13409" y="1024"/>
                </a:lnTo>
                <a:lnTo>
                  <a:pt x="13424" y="1010"/>
                </a:lnTo>
                <a:lnTo>
                  <a:pt x="13439" y="998"/>
                </a:lnTo>
                <a:lnTo>
                  <a:pt x="13456" y="987"/>
                </a:lnTo>
                <a:lnTo>
                  <a:pt x="13475" y="977"/>
                </a:lnTo>
                <a:lnTo>
                  <a:pt x="13494" y="969"/>
                </a:lnTo>
                <a:lnTo>
                  <a:pt x="13514" y="963"/>
                </a:lnTo>
                <a:lnTo>
                  <a:pt x="13558" y="955"/>
                </a:lnTo>
                <a:lnTo>
                  <a:pt x="13605" y="952"/>
                </a:lnTo>
                <a:lnTo>
                  <a:pt x="13642" y="953"/>
                </a:lnTo>
                <a:lnTo>
                  <a:pt x="13677" y="958"/>
                </a:lnTo>
                <a:lnTo>
                  <a:pt x="13693" y="962"/>
                </a:lnTo>
                <a:lnTo>
                  <a:pt x="13709" y="966"/>
                </a:lnTo>
                <a:lnTo>
                  <a:pt x="13739" y="978"/>
                </a:lnTo>
                <a:lnTo>
                  <a:pt x="13753" y="986"/>
                </a:lnTo>
                <a:lnTo>
                  <a:pt x="13766" y="994"/>
                </a:lnTo>
                <a:lnTo>
                  <a:pt x="13778" y="1004"/>
                </a:lnTo>
                <a:lnTo>
                  <a:pt x="13789" y="1015"/>
                </a:lnTo>
                <a:lnTo>
                  <a:pt x="13798" y="1027"/>
                </a:lnTo>
                <a:lnTo>
                  <a:pt x="13808" y="1040"/>
                </a:lnTo>
                <a:lnTo>
                  <a:pt x="13822" y="1070"/>
                </a:lnTo>
                <a:lnTo>
                  <a:pt x="13831" y="1099"/>
                </a:lnTo>
                <a:lnTo>
                  <a:pt x="13836" y="1128"/>
                </a:lnTo>
                <a:lnTo>
                  <a:pt x="13840" y="1188"/>
                </a:lnTo>
                <a:lnTo>
                  <a:pt x="13840" y="1403"/>
                </a:lnTo>
                <a:lnTo>
                  <a:pt x="13841" y="1420"/>
                </a:lnTo>
                <a:lnTo>
                  <a:pt x="13847" y="1432"/>
                </a:lnTo>
                <a:lnTo>
                  <a:pt x="13852" y="1435"/>
                </a:lnTo>
                <a:lnTo>
                  <a:pt x="13857" y="1438"/>
                </a:lnTo>
                <a:lnTo>
                  <a:pt x="13872" y="1440"/>
                </a:lnTo>
                <a:lnTo>
                  <a:pt x="13890" y="1438"/>
                </a:lnTo>
                <a:lnTo>
                  <a:pt x="13890" y="1540"/>
                </a:lnTo>
                <a:lnTo>
                  <a:pt x="13859" y="1552"/>
                </a:lnTo>
                <a:lnTo>
                  <a:pt x="13842" y="1555"/>
                </a:lnTo>
                <a:lnTo>
                  <a:pt x="13820" y="1556"/>
                </a:lnTo>
                <a:close/>
                <a:moveTo>
                  <a:pt x="13081" y="1547"/>
                </a:moveTo>
                <a:lnTo>
                  <a:pt x="13081" y="1187"/>
                </a:lnTo>
                <a:lnTo>
                  <a:pt x="13080" y="1161"/>
                </a:lnTo>
                <a:lnTo>
                  <a:pt x="13077" y="1139"/>
                </a:lnTo>
                <a:lnTo>
                  <a:pt x="13072" y="1119"/>
                </a:lnTo>
                <a:lnTo>
                  <a:pt x="13063" y="1103"/>
                </a:lnTo>
                <a:lnTo>
                  <a:pt x="13051" y="1090"/>
                </a:lnTo>
                <a:lnTo>
                  <a:pt x="13036" y="1081"/>
                </a:lnTo>
                <a:lnTo>
                  <a:pt x="13016" y="1076"/>
                </a:lnTo>
                <a:lnTo>
                  <a:pt x="12992" y="1074"/>
                </a:lnTo>
                <a:lnTo>
                  <a:pt x="12978" y="1075"/>
                </a:lnTo>
                <a:lnTo>
                  <a:pt x="12965" y="1077"/>
                </a:lnTo>
                <a:lnTo>
                  <a:pt x="12952" y="1081"/>
                </a:lnTo>
                <a:lnTo>
                  <a:pt x="12941" y="1088"/>
                </a:lnTo>
                <a:lnTo>
                  <a:pt x="12930" y="1095"/>
                </a:lnTo>
                <a:lnTo>
                  <a:pt x="12922" y="1104"/>
                </a:lnTo>
                <a:lnTo>
                  <a:pt x="12905" y="1125"/>
                </a:lnTo>
                <a:lnTo>
                  <a:pt x="12893" y="1149"/>
                </a:lnTo>
                <a:lnTo>
                  <a:pt x="12885" y="1175"/>
                </a:lnTo>
                <a:lnTo>
                  <a:pt x="12880" y="1202"/>
                </a:lnTo>
                <a:lnTo>
                  <a:pt x="12878" y="1230"/>
                </a:lnTo>
                <a:lnTo>
                  <a:pt x="12878" y="1547"/>
                </a:lnTo>
                <a:lnTo>
                  <a:pt x="12740" y="1547"/>
                </a:lnTo>
                <a:lnTo>
                  <a:pt x="12740" y="1187"/>
                </a:lnTo>
                <a:lnTo>
                  <a:pt x="12739" y="1161"/>
                </a:lnTo>
                <a:lnTo>
                  <a:pt x="12736" y="1139"/>
                </a:lnTo>
                <a:lnTo>
                  <a:pt x="12730" y="1119"/>
                </a:lnTo>
                <a:lnTo>
                  <a:pt x="12722" y="1103"/>
                </a:lnTo>
                <a:lnTo>
                  <a:pt x="12710" y="1090"/>
                </a:lnTo>
                <a:lnTo>
                  <a:pt x="12695" y="1081"/>
                </a:lnTo>
                <a:lnTo>
                  <a:pt x="12675" y="1076"/>
                </a:lnTo>
                <a:lnTo>
                  <a:pt x="12651" y="1074"/>
                </a:lnTo>
                <a:lnTo>
                  <a:pt x="12637" y="1075"/>
                </a:lnTo>
                <a:lnTo>
                  <a:pt x="12623" y="1077"/>
                </a:lnTo>
                <a:lnTo>
                  <a:pt x="12611" y="1081"/>
                </a:lnTo>
                <a:lnTo>
                  <a:pt x="12600" y="1088"/>
                </a:lnTo>
                <a:lnTo>
                  <a:pt x="12589" y="1095"/>
                </a:lnTo>
                <a:lnTo>
                  <a:pt x="12579" y="1104"/>
                </a:lnTo>
                <a:lnTo>
                  <a:pt x="12564" y="1125"/>
                </a:lnTo>
                <a:lnTo>
                  <a:pt x="12551" y="1149"/>
                </a:lnTo>
                <a:lnTo>
                  <a:pt x="12542" y="1175"/>
                </a:lnTo>
                <a:lnTo>
                  <a:pt x="12538" y="1202"/>
                </a:lnTo>
                <a:lnTo>
                  <a:pt x="12536" y="1230"/>
                </a:lnTo>
                <a:lnTo>
                  <a:pt x="12536" y="1547"/>
                </a:lnTo>
                <a:lnTo>
                  <a:pt x="12398" y="1547"/>
                </a:lnTo>
                <a:lnTo>
                  <a:pt x="12398" y="966"/>
                </a:lnTo>
                <a:lnTo>
                  <a:pt x="12514" y="966"/>
                </a:lnTo>
                <a:lnTo>
                  <a:pt x="12525" y="1043"/>
                </a:lnTo>
                <a:lnTo>
                  <a:pt x="12538" y="1024"/>
                </a:lnTo>
                <a:lnTo>
                  <a:pt x="12553" y="1006"/>
                </a:lnTo>
                <a:lnTo>
                  <a:pt x="12571" y="991"/>
                </a:lnTo>
                <a:lnTo>
                  <a:pt x="12590" y="978"/>
                </a:lnTo>
                <a:lnTo>
                  <a:pt x="12612" y="967"/>
                </a:lnTo>
                <a:lnTo>
                  <a:pt x="12636" y="958"/>
                </a:lnTo>
                <a:lnTo>
                  <a:pt x="12662" y="954"/>
                </a:lnTo>
                <a:lnTo>
                  <a:pt x="12690" y="952"/>
                </a:lnTo>
                <a:lnTo>
                  <a:pt x="12719" y="954"/>
                </a:lnTo>
                <a:lnTo>
                  <a:pt x="12747" y="958"/>
                </a:lnTo>
                <a:lnTo>
                  <a:pt x="12771" y="966"/>
                </a:lnTo>
                <a:lnTo>
                  <a:pt x="12792" y="977"/>
                </a:lnTo>
                <a:lnTo>
                  <a:pt x="12812" y="991"/>
                </a:lnTo>
                <a:lnTo>
                  <a:pt x="12829" y="1007"/>
                </a:lnTo>
                <a:lnTo>
                  <a:pt x="12844" y="1026"/>
                </a:lnTo>
                <a:lnTo>
                  <a:pt x="12856" y="1047"/>
                </a:lnTo>
                <a:lnTo>
                  <a:pt x="12871" y="1026"/>
                </a:lnTo>
                <a:lnTo>
                  <a:pt x="12887" y="1006"/>
                </a:lnTo>
                <a:lnTo>
                  <a:pt x="12906" y="990"/>
                </a:lnTo>
                <a:lnTo>
                  <a:pt x="12916" y="983"/>
                </a:lnTo>
                <a:lnTo>
                  <a:pt x="12927" y="977"/>
                </a:lnTo>
                <a:lnTo>
                  <a:pt x="12951" y="966"/>
                </a:lnTo>
                <a:lnTo>
                  <a:pt x="12976" y="958"/>
                </a:lnTo>
                <a:lnTo>
                  <a:pt x="13003" y="953"/>
                </a:lnTo>
                <a:lnTo>
                  <a:pt x="13031" y="952"/>
                </a:lnTo>
                <a:lnTo>
                  <a:pt x="13054" y="953"/>
                </a:lnTo>
                <a:lnTo>
                  <a:pt x="13075" y="955"/>
                </a:lnTo>
                <a:lnTo>
                  <a:pt x="13094" y="961"/>
                </a:lnTo>
                <a:lnTo>
                  <a:pt x="13113" y="967"/>
                </a:lnTo>
                <a:lnTo>
                  <a:pt x="13130" y="975"/>
                </a:lnTo>
                <a:lnTo>
                  <a:pt x="13145" y="985"/>
                </a:lnTo>
                <a:lnTo>
                  <a:pt x="13160" y="995"/>
                </a:lnTo>
                <a:lnTo>
                  <a:pt x="13172" y="1008"/>
                </a:lnTo>
                <a:lnTo>
                  <a:pt x="13183" y="1023"/>
                </a:lnTo>
                <a:lnTo>
                  <a:pt x="13193" y="1038"/>
                </a:lnTo>
                <a:lnTo>
                  <a:pt x="13207" y="1073"/>
                </a:lnTo>
                <a:lnTo>
                  <a:pt x="13213" y="1091"/>
                </a:lnTo>
                <a:lnTo>
                  <a:pt x="13215" y="1102"/>
                </a:lnTo>
                <a:lnTo>
                  <a:pt x="13217" y="1112"/>
                </a:lnTo>
                <a:lnTo>
                  <a:pt x="13219" y="1132"/>
                </a:lnTo>
                <a:lnTo>
                  <a:pt x="13219" y="1155"/>
                </a:lnTo>
                <a:lnTo>
                  <a:pt x="13219" y="1547"/>
                </a:lnTo>
                <a:lnTo>
                  <a:pt x="13081" y="1547"/>
                </a:lnTo>
                <a:close/>
                <a:moveTo>
                  <a:pt x="12050" y="876"/>
                </a:moveTo>
                <a:lnTo>
                  <a:pt x="12050" y="741"/>
                </a:lnTo>
                <a:lnTo>
                  <a:pt x="12181" y="741"/>
                </a:lnTo>
                <a:lnTo>
                  <a:pt x="12181" y="876"/>
                </a:lnTo>
                <a:lnTo>
                  <a:pt x="12050" y="876"/>
                </a:lnTo>
                <a:close/>
                <a:moveTo>
                  <a:pt x="11820" y="876"/>
                </a:moveTo>
                <a:lnTo>
                  <a:pt x="11820" y="741"/>
                </a:lnTo>
                <a:lnTo>
                  <a:pt x="11950" y="741"/>
                </a:lnTo>
                <a:lnTo>
                  <a:pt x="11950" y="876"/>
                </a:lnTo>
                <a:lnTo>
                  <a:pt x="11820" y="876"/>
                </a:lnTo>
                <a:close/>
                <a:moveTo>
                  <a:pt x="12094" y="1289"/>
                </a:moveTo>
                <a:lnTo>
                  <a:pt x="11946" y="1300"/>
                </a:lnTo>
                <a:lnTo>
                  <a:pt x="11931" y="1302"/>
                </a:lnTo>
                <a:lnTo>
                  <a:pt x="11915" y="1307"/>
                </a:lnTo>
                <a:lnTo>
                  <a:pt x="11901" y="1313"/>
                </a:lnTo>
                <a:lnTo>
                  <a:pt x="11888" y="1322"/>
                </a:lnTo>
                <a:lnTo>
                  <a:pt x="11877" y="1333"/>
                </a:lnTo>
                <a:lnTo>
                  <a:pt x="11870" y="1345"/>
                </a:lnTo>
                <a:lnTo>
                  <a:pt x="11864" y="1360"/>
                </a:lnTo>
                <a:lnTo>
                  <a:pt x="11862" y="1376"/>
                </a:lnTo>
                <a:lnTo>
                  <a:pt x="11864" y="1392"/>
                </a:lnTo>
                <a:lnTo>
                  <a:pt x="11869" y="1407"/>
                </a:lnTo>
                <a:lnTo>
                  <a:pt x="11877" y="1419"/>
                </a:lnTo>
                <a:lnTo>
                  <a:pt x="11887" y="1429"/>
                </a:lnTo>
                <a:lnTo>
                  <a:pt x="11900" y="1438"/>
                </a:lnTo>
                <a:lnTo>
                  <a:pt x="11913" y="1444"/>
                </a:lnTo>
                <a:lnTo>
                  <a:pt x="11928" y="1448"/>
                </a:lnTo>
                <a:lnTo>
                  <a:pt x="11945" y="1449"/>
                </a:lnTo>
                <a:lnTo>
                  <a:pt x="11976" y="1447"/>
                </a:lnTo>
                <a:lnTo>
                  <a:pt x="11990" y="1444"/>
                </a:lnTo>
                <a:lnTo>
                  <a:pt x="12005" y="1440"/>
                </a:lnTo>
                <a:lnTo>
                  <a:pt x="12031" y="1429"/>
                </a:lnTo>
                <a:lnTo>
                  <a:pt x="12041" y="1423"/>
                </a:lnTo>
                <a:lnTo>
                  <a:pt x="12051" y="1414"/>
                </a:lnTo>
                <a:lnTo>
                  <a:pt x="12070" y="1396"/>
                </a:lnTo>
                <a:lnTo>
                  <a:pt x="12076" y="1385"/>
                </a:lnTo>
                <a:lnTo>
                  <a:pt x="12083" y="1373"/>
                </a:lnTo>
                <a:lnTo>
                  <a:pt x="12087" y="1360"/>
                </a:lnTo>
                <a:lnTo>
                  <a:pt x="12090" y="1347"/>
                </a:lnTo>
                <a:lnTo>
                  <a:pt x="12093" y="1332"/>
                </a:lnTo>
                <a:lnTo>
                  <a:pt x="12094" y="1316"/>
                </a:lnTo>
                <a:lnTo>
                  <a:pt x="12094" y="1289"/>
                </a:lnTo>
                <a:close/>
                <a:moveTo>
                  <a:pt x="12210" y="1556"/>
                </a:moveTo>
                <a:lnTo>
                  <a:pt x="12189" y="1555"/>
                </a:lnTo>
                <a:lnTo>
                  <a:pt x="12171" y="1549"/>
                </a:lnTo>
                <a:lnTo>
                  <a:pt x="12154" y="1541"/>
                </a:lnTo>
                <a:lnTo>
                  <a:pt x="12140" y="1532"/>
                </a:lnTo>
                <a:lnTo>
                  <a:pt x="12129" y="1520"/>
                </a:lnTo>
                <a:lnTo>
                  <a:pt x="12121" y="1506"/>
                </a:lnTo>
                <a:lnTo>
                  <a:pt x="12115" y="1490"/>
                </a:lnTo>
                <a:lnTo>
                  <a:pt x="12112" y="1474"/>
                </a:lnTo>
                <a:lnTo>
                  <a:pt x="12100" y="1491"/>
                </a:lnTo>
                <a:lnTo>
                  <a:pt x="12085" y="1508"/>
                </a:lnTo>
                <a:lnTo>
                  <a:pt x="12066" y="1523"/>
                </a:lnTo>
                <a:lnTo>
                  <a:pt x="12045" y="1536"/>
                </a:lnTo>
                <a:lnTo>
                  <a:pt x="12021" y="1547"/>
                </a:lnTo>
                <a:lnTo>
                  <a:pt x="11995" y="1555"/>
                </a:lnTo>
                <a:lnTo>
                  <a:pt x="11966" y="1560"/>
                </a:lnTo>
                <a:lnTo>
                  <a:pt x="11936" y="1561"/>
                </a:lnTo>
                <a:lnTo>
                  <a:pt x="11911" y="1561"/>
                </a:lnTo>
                <a:lnTo>
                  <a:pt x="11887" y="1558"/>
                </a:lnTo>
                <a:lnTo>
                  <a:pt x="11865" y="1553"/>
                </a:lnTo>
                <a:lnTo>
                  <a:pt x="11845" y="1547"/>
                </a:lnTo>
                <a:lnTo>
                  <a:pt x="11826" y="1538"/>
                </a:lnTo>
                <a:lnTo>
                  <a:pt x="11809" y="1530"/>
                </a:lnTo>
                <a:lnTo>
                  <a:pt x="11794" y="1519"/>
                </a:lnTo>
                <a:lnTo>
                  <a:pt x="11780" y="1507"/>
                </a:lnTo>
                <a:lnTo>
                  <a:pt x="11767" y="1493"/>
                </a:lnTo>
                <a:lnTo>
                  <a:pt x="11756" y="1478"/>
                </a:lnTo>
                <a:lnTo>
                  <a:pt x="11747" y="1464"/>
                </a:lnTo>
                <a:lnTo>
                  <a:pt x="11739" y="1448"/>
                </a:lnTo>
                <a:lnTo>
                  <a:pt x="11734" y="1432"/>
                </a:lnTo>
                <a:lnTo>
                  <a:pt x="11730" y="1414"/>
                </a:lnTo>
                <a:lnTo>
                  <a:pt x="11726" y="1379"/>
                </a:lnTo>
                <a:lnTo>
                  <a:pt x="11727" y="1360"/>
                </a:lnTo>
                <a:lnTo>
                  <a:pt x="11731" y="1340"/>
                </a:lnTo>
                <a:lnTo>
                  <a:pt x="11735" y="1323"/>
                </a:lnTo>
                <a:lnTo>
                  <a:pt x="11742" y="1305"/>
                </a:lnTo>
                <a:lnTo>
                  <a:pt x="11749" y="1290"/>
                </a:lnTo>
                <a:lnTo>
                  <a:pt x="11759" y="1275"/>
                </a:lnTo>
                <a:lnTo>
                  <a:pt x="11771" y="1262"/>
                </a:lnTo>
                <a:lnTo>
                  <a:pt x="11783" y="1250"/>
                </a:lnTo>
                <a:lnTo>
                  <a:pt x="11812" y="1229"/>
                </a:lnTo>
                <a:lnTo>
                  <a:pt x="11828" y="1221"/>
                </a:lnTo>
                <a:lnTo>
                  <a:pt x="11846" y="1214"/>
                </a:lnTo>
                <a:lnTo>
                  <a:pt x="11883" y="1203"/>
                </a:lnTo>
                <a:lnTo>
                  <a:pt x="11923" y="1198"/>
                </a:lnTo>
                <a:lnTo>
                  <a:pt x="12094" y="1186"/>
                </a:lnTo>
                <a:lnTo>
                  <a:pt x="12094" y="1150"/>
                </a:lnTo>
                <a:lnTo>
                  <a:pt x="12093" y="1130"/>
                </a:lnTo>
                <a:lnTo>
                  <a:pt x="12089" y="1112"/>
                </a:lnTo>
                <a:lnTo>
                  <a:pt x="12083" y="1097"/>
                </a:lnTo>
                <a:lnTo>
                  <a:pt x="12074" y="1084"/>
                </a:lnTo>
                <a:lnTo>
                  <a:pt x="12068" y="1078"/>
                </a:lnTo>
                <a:lnTo>
                  <a:pt x="12061" y="1073"/>
                </a:lnTo>
                <a:lnTo>
                  <a:pt x="12044" y="1065"/>
                </a:lnTo>
                <a:lnTo>
                  <a:pt x="12022" y="1060"/>
                </a:lnTo>
                <a:lnTo>
                  <a:pt x="11995" y="1059"/>
                </a:lnTo>
                <a:lnTo>
                  <a:pt x="11972" y="1060"/>
                </a:lnTo>
                <a:lnTo>
                  <a:pt x="11951" y="1063"/>
                </a:lnTo>
                <a:lnTo>
                  <a:pt x="11934" y="1070"/>
                </a:lnTo>
                <a:lnTo>
                  <a:pt x="11919" y="1079"/>
                </a:lnTo>
                <a:lnTo>
                  <a:pt x="11907" y="1091"/>
                </a:lnTo>
                <a:lnTo>
                  <a:pt x="11898" y="1105"/>
                </a:lnTo>
                <a:lnTo>
                  <a:pt x="11892" y="1122"/>
                </a:lnTo>
                <a:lnTo>
                  <a:pt x="11889" y="1140"/>
                </a:lnTo>
                <a:lnTo>
                  <a:pt x="11755" y="1140"/>
                </a:lnTo>
                <a:lnTo>
                  <a:pt x="11757" y="1117"/>
                </a:lnTo>
                <a:lnTo>
                  <a:pt x="11761" y="1095"/>
                </a:lnTo>
                <a:lnTo>
                  <a:pt x="11769" y="1075"/>
                </a:lnTo>
                <a:lnTo>
                  <a:pt x="11777" y="1056"/>
                </a:lnTo>
                <a:lnTo>
                  <a:pt x="11787" y="1039"/>
                </a:lnTo>
                <a:lnTo>
                  <a:pt x="11800" y="1024"/>
                </a:lnTo>
                <a:lnTo>
                  <a:pt x="11813" y="1010"/>
                </a:lnTo>
                <a:lnTo>
                  <a:pt x="11830" y="998"/>
                </a:lnTo>
                <a:lnTo>
                  <a:pt x="11846" y="987"/>
                </a:lnTo>
                <a:lnTo>
                  <a:pt x="11864" y="977"/>
                </a:lnTo>
                <a:lnTo>
                  <a:pt x="11884" y="969"/>
                </a:lnTo>
                <a:lnTo>
                  <a:pt x="11903" y="963"/>
                </a:lnTo>
                <a:lnTo>
                  <a:pt x="11948" y="955"/>
                </a:lnTo>
                <a:lnTo>
                  <a:pt x="11995" y="952"/>
                </a:lnTo>
                <a:lnTo>
                  <a:pt x="12032" y="953"/>
                </a:lnTo>
                <a:lnTo>
                  <a:pt x="12066" y="958"/>
                </a:lnTo>
                <a:lnTo>
                  <a:pt x="12083" y="962"/>
                </a:lnTo>
                <a:lnTo>
                  <a:pt x="12099" y="966"/>
                </a:lnTo>
                <a:lnTo>
                  <a:pt x="12128" y="978"/>
                </a:lnTo>
                <a:lnTo>
                  <a:pt x="12143" y="986"/>
                </a:lnTo>
                <a:lnTo>
                  <a:pt x="12156" y="994"/>
                </a:lnTo>
                <a:lnTo>
                  <a:pt x="12168" y="1004"/>
                </a:lnTo>
                <a:lnTo>
                  <a:pt x="12178" y="1015"/>
                </a:lnTo>
                <a:lnTo>
                  <a:pt x="12188" y="1027"/>
                </a:lnTo>
                <a:lnTo>
                  <a:pt x="12198" y="1040"/>
                </a:lnTo>
                <a:lnTo>
                  <a:pt x="12213" y="1070"/>
                </a:lnTo>
                <a:lnTo>
                  <a:pt x="12222" y="1099"/>
                </a:lnTo>
                <a:lnTo>
                  <a:pt x="12226" y="1128"/>
                </a:lnTo>
                <a:lnTo>
                  <a:pt x="12229" y="1188"/>
                </a:lnTo>
                <a:lnTo>
                  <a:pt x="12229" y="1403"/>
                </a:lnTo>
                <a:lnTo>
                  <a:pt x="12232" y="1420"/>
                </a:lnTo>
                <a:lnTo>
                  <a:pt x="12237" y="1432"/>
                </a:lnTo>
                <a:lnTo>
                  <a:pt x="12241" y="1435"/>
                </a:lnTo>
                <a:lnTo>
                  <a:pt x="12247" y="1438"/>
                </a:lnTo>
                <a:lnTo>
                  <a:pt x="12262" y="1440"/>
                </a:lnTo>
                <a:lnTo>
                  <a:pt x="12279" y="1438"/>
                </a:lnTo>
                <a:lnTo>
                  <a:pt x="12279" y="1540"/>
                </a:lnTo>
                <a:lnTo>
                  <a:pt x="12249" y="1552"/>
                </a:lnTo>
                <a:lnTo>
                  <a:pt x="12232" y="1555"/>
                </a:lnTo>
                <a:lnTo>
                  <a:pt x="12210" y="1556"/>
                </a:lnTo>
                <a:close/>
                <a:moveTo>
                  <a:pt x="11596" y="1553"/>
                </a:moveTo>
                <a:lnTo>
                  <a:pt x="11562" y="1551"/>
                </a:lnTo>
                <a:lnTo>
                  <a:pt x="11546" y="1549"/>
                </a:lnTo>
                <a:lnTo>
                  <a:pt x="11531" y="1545"/>
                </a:lnTo>
                <a:lnTo>
                  <a:pt x="11517" y="1539"/>
                </a:lnTo>
                <a:lnTo>
                  <a:pt x="11504" y="1534"/>
                </a:lnTo>
                <a:lnTo>
                  <a:pt x="11492" y="1526"/>
                </a:lnTo>
                <a:lnTo>
                  <a:pt x="11481" y="1518"/>
                </a:lnTo>
                <a:lnTo>
                  <a:pt x="11471" y="1507"/>
                </a:lnTo>
                <a:lnTo>
                  <a:pt x="11462" y="1496"/>
                </a:lnTo>
                <a:lnTo>
                  <a:pt x="11455" y="1483"/>
                </a:lnTo>
                <a:lnTo>
                  <a:pt x="11449" y="1469"/>
                </a:lnTo>
                <a:lnTo>
                  <a:pt x="11441" y="1436"/>
                </a:lnTo>
                <a:lnTo>
                  <a:pt x="11438" y="1417"/>
                </a:lnTo>
                <a:lnTo>
                  <a:pt x="11437" y="1398"/>
                </a:lnTo>
                <a:lnTo>
                  <a:pt x="11437" y="740"/>
                </a:lnTo>
                <a:lnTo>
                  <a:pt x="11577" y="740"/>
                </a:lnTo>
                <a:lnTo>
                  <a:pt x="11577" y="1374"/>
                </a:lnTo>
                <a:lnTo>
                  <a:pt x="11579" y="1386"/>
                </a:lnTo>
                <a:lnTo>
                  <a:pt x="11580" y="1397"/>
                </a:lnTo>
                <a:lnTo>
                  <a:pt x="11583" y="1407"/>
                </a:lnTo>
                <a:lnTo>
                  <a:pt x="11588" y="1414"/>
                </a:lnTo>
                <a:lnTo>
                  <a:pt x="11595" y="1421"/>
                </a:lnTo>
                <a:lnTo>
                  <a:pt x="11605" y="1426"/>
                </a:lnTo>
                <a:lnTo>
                  <a:pt x="11618" y="1428"/>
                </a:lnTo>
                <a:lnTo>
                  <a:pt x="11634" y="1429"/>
                </a:lnTo>
                <a:lnTo>
                  <a:pt x="11657" y="1428"/>
                </a:lnTo>
                <a:lnTo>
                  <a:pt x="11657" y="1546"/>
                </a:lnTo>
                <a:lnTo>
                  <a:pt x="11626" y="1552"/>
                </a:lnTo>
                <a:lnTo>
                  <a:pt x="11596" y="1553"/>
                </a:lnTo>
                <a:close/>
                <a:moveTo>
                  <a:pt x="11139" y="1097"/>
                </a:moveTo>
                <a:lnTo>
                  <a:pt x="11131" y="1090"/>
                </a:lnTo>
                <a:lnTo>
                  <a:pt x="11122" y="1084"/>
                </a:lnTo>
                <a:lnTo>
                  <a:pt x="11103" y="1073"/>
                </a:lnTo>
                <a:lnTo>
                  <a:pt x="11091" y="1069"/>
                </a:lnTo>
                <a:lnTo>
                  <a:pt x="11079" y="1066"/>
                </a:lnTo>
                <a:lnTo>
                  <a:pt x="11051" y="1064"/>
                </a:lnTo>
                <a:lnTo>
                  <a:pt x="11020" y="1067"/>
                </a:lnTo>
                <a:lnTo>
                  <a:pt x="10994" y="1076"/>
                </a:lnTo>
                <a:lnTo>
                  <a:pt x="10971" y="1090"/>
                </a:lnTo>
                <a:lnTo>
                  <a:pt x="10961" y="1099"/>
                </a:lnTo>
                <a:lnTo>
                  <a:pt x="10954" y="1109"/>
                </a:lnTo>
                <a:lnTo>
                  <a:pt x="10941" y="1128"/>
                </a:lnTo>
                <a:lnTo>
                  <a:pt x="10931" y="1149"/>
                </a:lnTo>
                <a:lnTo>
                  <a:pt x="10926" y="1172"/>
                </a:lnTo>
                <a:lnTo>
                  <a:pt x="10923" y="1199"/>
                </a:lnTo>
                <a:lnTo>
                  <a:pt x="11174" y="1199"/>
                </a:lnTo>
                <a:lnTo>
                  <a:pt x="11173" y="1183"/>
                </a:lnTo>
                <a:lnTo>
                  <a:pt x="11171" y="1168"/>
                </a:lnTo>
                <a:lnTo>
                  <a:pt x="11165" y="1141"/>
                </a:lnTo>
                <a:lnTo>
                  <a:pt x="11154" y="1117"/>
                </a:lnTo>
                <a:lnTo>
                  <a:pt x="11146" y="1106"/>
                </a:lnTo>
                <a:lnTo>
                  <a:pt x="11139" y="1097"/>
                </a:lnTo>
                <a:close/>
                <a:moveTo>
                  <a:pt x="11312" y="1300"/>
                </a:moveTo>
                <a:lnTo>
                  <a:pt x="10924" y="1300"/>
                </a:lnTo>
                <a:lnTo>
                  <a:pt x="10924" y="1317"/>
                </a:lnTo>
                <a:lnTo>
                  <a:pt x="10927" y="1333"/>
                </a:lnTo>
                <a:lnTo>
                  <a:pt x="10935" y="1364"/>
                </a:lnTo>
                <a:lnTo>
                  <a:pt x="10941" y="1378"/>
                </a:lnTo>
                <a:lnTo>
                  <a:pt x="10948" y="1391"/>
                </a:lnTo>
                <a:lnTo>
                  <a:pt x="10957" y="1403"/>
                </a:lnTo>
                <a:lnTo>
                  <a:pt x="10967" y="1414"/>
                </a:lnTo>
                <a:lnTo>
                  <a:pt x="10983" y="1427"/>
                </a:lnTo>
                <a:lnTo>
                  <a:pt x="11003" y="1439"/>
                </a:lnTo>
                <a:lnTo>
                  <a:pt x="11027" y="1447"/>
                </a:lnTo>
                <a:lnTo>
                  <a:pt x="11053" y="1450"/>
                </a:lnTo>
                <a:lnTo>
                  <a:pt x="11080" y="1448"/>
                </a:lnTo>
                <a:lnTo>
                  <a:pt x="11103" y="1444"/>
                </a:lnTo>
                <a:lnTo>
                  <a:pt x="11121" y="1435"/>
                </a:lnTo>
                <a:lnTo>
                  <a:pt x="11137" y="1422"/>
                </a:lnTo>
                <a:lnTo>
                  <a:pt x="11146" y="1412"/>
                </a:lnTo>
                <a:lnTo>
                  <a:pt x="11154" y="1401"/>
                </a:lnTo>
                <a:lnTo>
                  <a:pt x="11160" y="1388"/>
                </a:lnTo>
                <a:lnTo>
                  <a:pt x="11166" y="1373"/>
                </a:lnTo>
                <a:lnTo>
                  <a:pt x="11299" y="1373"/>
                </a:lnTo>
                <a:lnTo>
                  <a:pt x="11293" y="1400"/>
                </a:lnTo>
                <a:lnTo>
                  <a:pt x="11288" y="1415"/>
                </a:lnTo>
                <a:lnTo>
                  <a:pt x="11282" y="1429"/>
                </a:lnTo>
                <a:lnTo>
                  <a:pt x="11267" y="1457"/>
                </a:lnTo>
                <a:lnTo>
                  <a:pt x="11250" y="1481"/>
                </a:lnTo>
                <a:lnTo>
                  <a:pt x="11231" y="1500"/>
                </a:lnTo>
                <a:lnTo>
                  <a:pt x="11209" y="1518"/>
                </a:lnTo>
                <a:lnTo>
                  <a:pt x="11186" y="1532"/>
                </a:lnTo>
                <a:lnTo>
                  <a:pt x="11161" y="1543"/>
                </a:lnTo>
                <a:lnTo>
                  <a:pt x="11136" y="1551"/>
                </a:lnTo>
                <a:lnTo>
                  <a:pt x="11109" y="1557"/>
                </a:lnTo>
                <a:lnTo>
                  <a:pt x="11082" y="1560"/>
                </a:lnTo>
                <a:lnTo>
                  <a:pt x="11055" y="1561"/>
                </a:lnTo>
                <a:lnTo>
                  <a:pt x="11027" y="1560"/>
                </a:lnTo>
                <a:lnTo>
                  <a:pt x="10999" y="1557"/>
                </a:lnTo>
                <a:lnTo>
                  <a:pt x="10986" y="1553"/>
                </a:lnTo>
                <a:lnTo>
                  <a:pt x="10974" y="1550"/>
                </a:lnTo>
                <a:lnTo>
                  <a:pt x="10951" y="1543"/>
                </a:lnTo>
                <a:lnTo>
                  <a:pt x="10929" y="1532"/>
                </a:lnTo>
                <a:lnTo>
                  <a:pt x="10909" y="1520"/>
                </a:lnTo>
                <a:lnTo>
                  <a:pt x="10890" y="1506"/>
                </a:lnTo>
                <a:lnTo>
                  <a:pt x="10872" y="1490"/>
                </a:lnTo>
                <a:lnTo>
                  <a:pt x="10852" y="1468"/>
                </a:lnTo>
                <a:lnTo>
                  <a:pt x="10833" y="1444"/>
                </a:lnTo>
                <a:lnTo>
                  <a:pt x="10818" y="1417"/>
                </a:lnTo>
                <a:lnTo>
                  <a:pt x="10806" y="1388"/>
                </a:lnTo>
                <a:lnTo>
                  <a:pt x="10801" y="1374"/>
                </a:lnTo>
                <a:lnTo>
                  <a:pt x="10796" y="1359"/>
                </a:lnTo>
                <a:lnTo>
                  <a:pt x="10789" y="1326"/>
                </a:lnTo>
                <a:lnTo>
                  <a:pt x="10784" y="1292"/>
                </a:lnTo>
                <a:lnTo>
                  <a:pt x="10783" y="1258"/>
                </a:lnTo>
                <a:lnTo>
                  <a:pt x="10784" y="1224"/>
                </a:lnTo>
                <a:lnTo>
                  <a:pt x="10788" y="1190"/>
                </a:lnTo>
                <a:lnTo>
                  <a:pt x="10794" y="1159"/>
                </a:lnTo>
                <a:lnTo>
                  <a:pt x="10804" y="1128"/>
                </a:lnTo>
                <a:lnTo>
                  <a:pt x="10816" y="1100"/>
                </a:lnTo>
                <a:lnTo>
                  <a:pt x="10830" y="1073"/>
                </a:lnTo>
                <a:lnTo>
                  <a:pt x="10847" y="1048"/>
                </a:lnTo>
                <a:lnTo>
                  <a:pt x="10867" y="1026"/>
                </a:lnTo>
                <a:lnTo>
                  <a:pt x="10883" y="1010"/>
                </a:lnTo>
                <a:lnTo>
                  <a:pt x="10903" y="995"/>
                </a:lnTo>
                <a:lnTo>
                  <a:pt x="10923" y="982"/>
                </a:lnTo>
                <a:lnTo>
                  <a:pt x="10946" y="971"/>
                </a:lnTo>
                <a:lnTo>
                  <a:pt x="10970" y="964"/>
                </a:lnTo>
                <a:lnTo>
                  <a:pt x="10995" y="957"/>
                </a:lnTo>
                <a:lnTo>
                  <a:pt x="11022" y="953"/>
                </a:lnTo>
                <a:lnTo>
                  <a:pt x="11052" y="952"/>
                </a:lnTo>
                <a:lnTo>
                  <a:pt x="11083" y="954"/>
                </a:lnTo>
                <a:lnTo>
                  <a:pt x="11115" y="958"/>
                </a:lnTo>
                <a:lnTo>
                  <a:pt x="11144" y="967"/>
                </a:lnTo>
                <a:lnTo>
                  <a:pt x="11172" y="978"/>
                </a:lnTo>
                <a:lnTo>
                  <a:pt x="11198" y="993"/>
                </a:lnTo>
                <a:lnTo>
                  <a:pt x="11222" y="1012"/>
                </a:lnTo>
                <a:lnTo>
                  <a:pt x="11244" y="1033"/>
                </a:lnTo>
                <a:lnTo>
                  <a:pt x="11263" y="1060"/>
                </a:lnTo>
                <a:lnTo>
                  <a:pt x="11278" y="1084"/>
                </a:lnTo>
                <a:lnTo>
                  <a:pt x="11290" y="1107"/>
                </a:lnTo>
                <a:lnTo>
                  <a:pt x="11306" y="1156"/>
                </a:lnTo>
                <a:lnTo>
                  <a:pt x="11310" y="1183"/>
                </a:lnTo>
                <a:lnTo>
                  <a:pt x="11312" y="1208"/>
                </a:lnTo>
                <a:lnTo>
                  <a:pt x="11313" y="1261"/>
                </a:lnTo>
                <a:lnTo>
                  <a:pt x="11312" y="1300"/>
                </a:lnTo>
                <a:close/>
                <a:moveTo>
                  <a:pt x="10509" y="1111"/>
                </a:moveTo>
                <a:lnTo>
                  <a:pt x="10502" y="1103"/>
                </a:lnTo>
                <a:lnTo>
                  <a:pt x="10493" y="1097"/>
                </a:lnTo>
                <a:lnTo>
                  <a:pt x="10472" y="1085"/>
                </a:lnTo>
                <a:lnTo>
                  <a:pt x="10462" y="1080"/>
                </a:lnTo>
                <a:lnTo>
                  <a:pt x="10449" y="1077"/>
                </a:lnTo>
                <a:lnTo>
                  <a:pt x="10421" y="1074"/>
                </a:lnTo>
                <a:lnTo>
                  <a:pt x="10394" y="1077"/>
                </a:lnTo>
                <a:lnTo>
                  <a:pt x="10370" y="1085"/>
                </a:lnTo>
                <a:lnTo>
                  <a:pt x="10350" y="1097"/>
                </a:lnTo>
                <a:lnTo>
                  <a:pt x="10341" y="1103"/>
                </a:lnTo>
                <a:lnTo>
                  <a:pt x="10333" y="1111"/>
                </a:lnTo>
                <a:lnTo>
                  <a:pt x="10322" y="1125"/>
                </a:lnTo>
                <a:lnTo>
                  <a:pt x="10313" y="1141"/>
                </a:lnTo>
                <a:lnTo>
                  <a:pt x="10306" y="1159"/>
                </a:lnTo>
                <a:lnTo>
                  <a:pt x="10301" y="1177"/>
                </a:lnTo>
                <a:lnTo>
                  <a:pt x="10294" y="1216"/>
                </a:lnTo>
                <a:lnTo>
                  <a:pt x="10292" y="1256"/>
                </a:lnTo>
                <a:lnTo>
                  <a:pt x="10292" y="1277"/>
                </a:lnTo>
                <a:lnTo>
                  <a:pt x="10294" y="1298"/>
                </a:lnTo>
                <a:lnTo>
                  <a:pt x="10301" y="1337"/>
                </a:lnTo>
                <a:lnTo>
                  <a:pt x="10306" y="1355"/>
                </a:lnTo>
                <a:lnTo>
                  <a:pt x="10313" y="1372"/>
                </a:lnTo>
                <a:lnTo>
                  <a:pt x="10322" y="1388"/>
                </a:lnTo>
                <a:lnTo>
                  <a:pt x="10333" y="1403"/>
                </a:lnTo>
                <a:lnTo>
                  <a:pt x="10341" y="1410"/>
                </a:lnTo>
                <a:lnTo>
                  <a:pt x="10350" y="1417"/>
                </a:lnTo>
                <a:lnTo>
                  <a:pt x="10370" y="1429"/>
                </a:lnTo>
                <a:lnTo>
                  <a:pt x="10382" y="1434"/>
                </a:lnTo>
                <a:lnTo>
                  <a:pt x="10394" y="1437"/>
                </a:lnTo>
                <a:lnTo>
                  <a:pt x="10421" y="1440"/>
                </a:lnTo>
                <a:lnTo>
                  <a:pt x="10449" y="1437"/>
                </a:lnTo>
                <a:lnTo>
                  <a:pt x="10472" y="1429"/>
                </a:lnTo>
                <a:lnTo>
                  <a:pt x="10493" y="1417"/>
                </a:lnTo>
                <a:lnTo>
                  <a:pt x="10502" y="1410"/>
                </a:lnTo>
                <a:lnTo>
                  <a:pt x="10509" y="1403"/>
                </a:lnTo>
                <a:lnTo>
                  <a:pt x="10521" y="1388"/>
                </a:lnTo>
                <a:lnTo>
                  <a:pt x="10530" y="1372"/>
                </a:lnTo>
                <a:lnTo>
                  <a:pt x="10538" y="1355"/>
                </a:lnTo>
                <a:lnTo>
                  <a:pt x="10543" y="1337"/>
                </a:lnTo>
                <a:lnTo>
                  <a:pt x="10550" y="1298"/>
                </a:lnTo>
                <a:lnTo>
                  <a:pt x="10551" y="1256"/>
                </a:lnTo>
                <a:lnTo>
                  <a:pt x="10551" y="1236"/>
                </a:lnTo>
                <a:lnTo>
                  <a:pt x="10550" y="1216"/>
                </a:lnTo>
                <a:lnTo>
                  <a:pt x="10543" y="1177"/>
                </a:lnTo>
                <a:lnTo>
                  <a:pt x="10538" y="1159"/>
                </a:lnTo>
                <a:lnTo>
                  <a:pt x="10530" y="1141"/>
                </a:lnTo>
                <a:lnTo>
                  <a:pt x="10521" y="1125"/>
                </a:lnTo>
                <a:lnTo>
                  <a:pt x="10509" y="1111"/>
                </a:lnTo>
                <a:close/>
                <a:moveTo>
                  <a:pt x="10625" y="1471"/>
                </a:moveTo>
                <a:lnTo>
                  <a:pt x="10608" y="1489"/>
                </a:lnTo>
                <a:lnTo>
                  <a:pt x="10589" y="1506"/>
                </a:lnTo>
                <a:lnTo>
                  <a:pt x="10566" y="1521"/>
                </a:lnTo>
                <a:lnTo>
                  <a:pt x="10541" y="1535"/>
                </a:lnTo>
                <a:lnTo>
                  <a:pt x="10514" y="1546"/>
                </a:lnTo>
                <a:lnTo>
                  <a:pt x="10484" y="1555"/>
                </a:lnTo>
                <a:lnTo>
                  <a:pt x="10454" y="1560"/>
                </a:lnTo>
                <a:lnTo>
                  <a:pt x="10421" y="1561"/>
                </a:lnTo>
                <a:lnTo>
                  <a:pt x="10389" y="1560"/>
                </a:lnTo>
                <a:lnTo>
                  <a:pt x="10358" y="1555"/>
                </a:lnTo>
                <a:lnTo>
                  <a:pt x="10329" y="1546"/>
                </a:lnTo>
                <a:lnTo>
                  <a:pt x="10302" y="1535"/>
                </a:lnTo>
                <a:lnTo>
                  <a:pt x="10277" y="1521"/>
                </a:lnTo>
                <a:lnTo>
                  <a:pt x="10255" y="1506"/>
                </a:lnTo>
                <a:lnTo>
                  <a:pt x="10236" y="1489"/>
                </a:lnTo>
                <a:lnTo>
                  <a:pt x="10227" y="1481"/>
                </a:lnTo>
                <a:lnTo>
                  <a:pt x="10218" y="1471"/>
                </a:lnTo>
                <a:lnTo>
                  <a:pt x="10190" y="1428"/>
                </a:lnTo>
                <a:lnTo>
                  <a:pt x="10178" y="1406"/>
                </a:lnTo>
                <a:lnTo>
                  <a:pt x="10168" y="1380"/>
                </a:lnTo>
                <a:lnTo>
                  <a:pt x="10161" y="1353"/>
                </a:lnTo>
                <a:lnTo>
                  <a:pt x="10155" y="1324"/>
                </a:lnTo>
                <a:lnTo>
                  <a:pt x="10152" y="1292"/>
                </a:lnTo>
                <a:lnTo>
                  <a:pt x="10151" y="1256"/>
                </a:lnTo>
                <a:lnTo>
                  <a:pt x="10152" y="1222"/>
                </a:lnTo>
                <a:lnTo>
                  <a:pt x="10155" y="1189"/>
                </a:lnTo>
                <a:lnTo>
                  <a:pt x="10161" y="1160"/>
                </a:lnTo>
                <a:lnTo>
                  <a:pt x="10168" y="1134"/>
                </a:lnTo>
                <a:lnTo>
                  <a:pt x="10178" y="1109"/>
                </a:lnTo>
                <a:lnTo>
                  <a:pt x="10190" y="1085"/>
                </a:lnTo>
                <a:lnTo>
                  <a:pt x="10203" y="1063"/>
                </a:lnTo>
                <a:lnTo>
                  <a:pt x="10218" y="1042"/>
                </a:lnTo>
                <a:lnTo>
                  <a:pt x="10236" y="1025"/>
                </a:lnTo>
                <a:lnTo>
                  <a:pt x="10255" y="1007"/>
                </a:lnTo>
                <a:lnTo>
                  <a:pt x="10277" y="992"/>
                </a:lnTo>
                <a:lnTo>
                  <a:pt x="10302" y="979"/>
                </a:lnTo>
                <a:lnTo>
                  <a:pt x="10329" y="967"/>
                </a:lnTo>
                <a:lnTo>
                  <a:pt x="10358" y="960"/>
                </a:lnTo>
                <a:lnTo>
                  <a:pt x="10389" y="954"/>
                </a:lnTo>
                <a:lnTo>
                  <a:pt x="10421" y="952"/>
                </a:lnTo>
                <a:lnTo>
                  <a:pt x="10454" y="954"/>
                </a:lnTo>
                <a:lnTo>
                  <a:pt x="10484" y="960"/>
                </a:lnTo>
                <a:lnTo>
                  <a:pt x="10514" y="967"/>
                </a:lnTo>
                <a:lnTo>
                  <a:pt x="10541" y="979"/>
                </a:lnTo>
                <a:lnTo>
                  <a:pt x="10566" y="992"/>
                </a:lnTo>
                <a:lnTo>
                  <a:pt x="10589" y="1007"/>
                </a:lnTo>
                <a:lnTo>
                  <a:pt x="10608" y="1025"/>
                </a:lnTo>
                <a:lnTo>
                  <a:pt x="10617" y="1033"/>
                </a:lnTo>
                <a:lnTo>
                  <a:pt x="10625" y="1042"/>
                </a:lnTo>
                <a:lnTo>
                  <a:pt x="10654" y="1085"/>
                </a:lnTo>
                <a:lnTo>
                  <a:pt x="10665" y="1109"/>
                </a:lnTo>
                <a:lnTo>
                  <a:pt x="10675" y="1134"/>
                </a:lnTo>
                <a:lnTo>
                  <a:pt x="10682" y="1160"/>
                </a:lnTo>
                <a:lnTo>
                  <a:pt x="10688" y="1189"/>
                </a:lnTo>
                <a:lnTo>
                  <a:pt x="10692" y="1222"/>
                </a:lnTo>
                <a:lnTo>
                  <a:pt x="10693" y="1256"/>
                </a:lnTo>
                <a:lnTo>
                  <a:pt x="10692" y="1292"/>
                </a:lnTo>
                <a:lnTo>
                  <a:pt x="10688" y="1324"/>
                </a:lnTo>
                <a:lnTo>
                  <a:pt x="10682" y="1353"/>
                </a:lnTo>
                <a:lnTo>
                  <a:pt x="10675" y="1380"/>
                </a:lnTo>
                <a:lnTo>
                  <a:pt x="10665" y="1406"/>
                </a:lnTo>
                <a:lnTo>
                  <a:pt x="10654" y="1428"/>
                </a:lnTo>
                <a:lnTo>
                  <a:pt x="10640" y="1450"/>
                </a:lnTo>
                <a:lnTo>
                  <a:pt x="10625" y="1471"/>
                </a:lnTo>
                <a:close/>
                <a:moveTo>
                  <a:pt x="9890" y="1547"/>
                </a:moveTo>
                <a:lnTo>
                  <a:pt x="9890" y="1191"/>
                </a:lnTo>
                <a:lnTo>
                  <a:pt x="9889" y="1166"/>
                </a:lnTo>
                <a:lnTo>
                  <a:pt x="9885" y="1146"/>
                </a:lnTo>
                <a:lnTo>
                  <a:pt x="9882" y="1136"/>
                </a:lnTo>
                <a:lnTo>
                  <a:pt x="9879" y="1126"/>
                </a:lnTo>
                <a:lnTo>
                  <a:pt x="9875" y="1118"/>
                </a:lnTo>
                <a:lnTo>
                  <a:pt x="9869" y="1111"/>
                </a:lnTo>
                <a:lnTo>
                  <a:pt x="9863" y="1104"/>
                </a:lnTo>
                <a:lnTo>
                  <a:pt x="9856" y="1098"/>
                </a:lnTo>
                <a:lnTo>
                  <a:pt x="9840" y="1089"/>
                </a:lnTo>
                <a:lnTo>
                  <a:pt x="9819" y="1084"/>
                </a:lnTo>
                <a:lnTo>
                  <a:pt x="9793" y="1081"/>
                </a:lnTo>
                <a:lnTo>
                  <a:pt x="9776" y="1082"/>
                </a:lnTo>
                <a:lnTo>
                  <a:pt x="9760" y="1087"/>
                </a:lnTo>
                <a:lnTo>
                  <a:pt x="9746" y="1093"/>
                </a:lnTo>
                <a:lnTo>
                  <a:pt x="9732" y="1102"/>
                </a:lnTo>
                <a:lnTo>
                  <a:pt x="9721" y="1113"/>
                </a:lnTo>
                <a:lnTo>
                  <a:pt x="9710" y="1126"/>
                </a:lnTo>
                <a:lnTo>
                  <a:pt x="9701" y="1140"/>
                </a:lnTo>
                <a:lnTo>
                  <a:pt x="9693" y="1155"/>
                </a:lnTo>
                <a:lnTo>
                  <a:pt x="9687" y="1173"/>
                </a:lnTo>
                <a:lnTo>
                  <a:pt x="9681" y="1192"/>
                </a:lnTo>
                <a:lnTo>
                  <a:pt x="9678" y="1212"/>
                </a:lnTo>
                <a:lnTo>
                  <a:pt x="9676" y="1231"/>
                </a:lnTo>
                <a:lnTo>
                  <a:pt x="9675" y="1272"/>
                </a:lnTo>
                <a:lnTo>
                  <a:pt x="9674" y="1311"/>
                </a:lnTo>
                <a:lnTo>
                  <a:pt x="9674" y="1547"/>
                </a:lnTo>
                <a:lnTo>
                  <a:pt x="9535" y="1547"/>
                </a:lnTo>
                <a:lnTo>
                  <a:pt x="9535" y="966"/>
                </a:lnTo>
                <a:lnTo>
                  <a:pt x="9652" y="966"/>
                </a:lnTo>
                <a:lnTo>
                  <a:pt x="9662" y="1041"/>
                </a:lnTo>
                <a:lnTo>
                  <a:pt x="9677" y="1019"/>
                </a:lnTo>
                <a:lnTo>
                  <a:pt x="9693" y="1001"/>
                </a:lnTo>
                <a:lnTo>
                  <a:pt x="9714" y="986"/>
                </a:lnTo>
                <a:lnTo>
                  <a:pt x="9736" y="974"/>
                </a:lnTo>
                <a:lnTo>
                  <a:pt x="9759" y="964"/>
                </a:lnTo>
                <a:lnTo>
                  <a:pt x="9782" y="957"/>
                </a:lnTo>
                <a:lnTo>
                  <a:pt x="9807" y="953"/>
                </a:lnTo>
                <a:lnTo>
                  <a:pt x="9832" y="952"/>
                </a:lnTo>
                <a:lnTo>
                  <a:pt x="9855" y="953"/>
                </a:lnTo>
                <a:lnTo>
                  <a:pt x="9877" y="956"/>
                </a:lnTo>
                <a:lnTo>
                  <a:pt x="9897" y="961"/>
                </a:lnTo>
                <a:lnTo>
                  <a:pt x="9916" y="967"/>
                </a:lnTo>
                <a:lnTo>
                  <a:pt x="9934" y="976"/>
                </a:lnTo>
                <a:lnTo>
                  <a:pt x="9949" y="986"/>
                </a:lnTo>
                <a:lnTo>
                  <a:pt x="9964" y="998"/>
                </a:lnTo>
                <a:lnTo>
                  <a:pt x="9977" y="1011"/>
                </a:lnTo>
                <a:lnTo>
                  <a:pt x="9989" y="1025"/>
                </a:lnTo>
                <a:lnTo>
                  <a:pt x="10000" y="1041"/>
                </a:lnTo>
                <a:lnTo>
                  <a:pt x="10008" y="1059"/>
                </a:lnTo>
                <a:lnTo>
                  <a:pt x="10016" y="1076"/>
                </a:lnTo>
                <a:lnTo>
                  <a:pt x="10022" y="1095"/>
                </a:lnTo>
                <a:lnTo>
                  <a:pt x="10026" y="1116"/>
                </a:lnTo>
                <a:lnTo>
                  <a:pt x="10028" y="1138"/>
                </a:lnTo>
                <a:lnTo>
                  <a:pt x="10029" y="1160"/>
                </a:lnTo>
                <a:lnTo>
                  <a:pt x="10029" y="1547"/>
                </a:lnTo>
                <a:lnTo>
                  <a:pt x="9890" y="1547"/>
                </a:lnTo>
                <a:close/>
                <a:moveTo>
                  <a:pt x="9222" y="1547"/>
                </a:moveTo>
                <a:lnTo>
                  <a:pt x="9222" y="966"/>
                </a:lnTo>
                <a:lnTo>
                  <a:pt x="9363" y="966"/>
                </a:lnTo>
                <a:lnTo>
                  <a:pt x="9363" y="1547"/>
                </a:lnTo>
                <a:lnTo>
                  <a:pt x="9222" y="1547"/>
                </a:lnTo>
                <a:close/>
                <a:moveTo>
                  <a:pt x="9217" y="886"/>
                </a:moveTo>
                <a:lnTo>
                  <a:pt x="9217" y="742"/>
                </a:lnTo>
                <a:lnTo>
                  <a:pt x="9366" y="742"/>
                </a:lnTo>
                <a:lnTo>
                  <a:pt x="9366" y="886"/>
                </a:lnTo>
                <a:lnTo>
                  <a:pt x="9217" y="886"/>
                </a:lnTo>
                <a:close/>
                <a:moveTo>
                  <a:pt x="8918" y="1097"/>
                </a:moveTo>
                <a:lnTo>
                  <a:pt x="8910" y="1090"/>
                </a:lnTo>
                <a:lnTo>
                  <a:pt x="8901" y="1084"/>
                </a:lnTo>
                <a:lnTo>
                  <a:pt x="8881" y="1073"/>
                </a:lnTo>
                <a:lnTo>
                  <a:pt x="8870" y="1069"/>
                </a:lnTo>
                <a:lnTo>
                  <a:pt x="8857" y="1066"/>
                </a:lnTo>
                <a:lnTo>
                  <a:pt x="8830" y="1064"/>
                </a:lnTo>
                <a:lnTo>
                  <a:pt x="8799" y="1067"/>
                </a:lnTo>
                <a:lnTo>
                  <a:pt x="8772" y="1076"/>
                </a:lnTo>
                <a:lnTo>
                  <a:pt x="8749" y="1090"/>
                </a:lnTo>
                <a:lnTo>
                  <a:pt x="8740" y="1099"/>
                </a:lnTo>
                <a:lnTo>
                  <a:pt x="8732" y="1109"/>
                </a:lnTo>
                <a:lnTo>
                  <a:pt x="8719" y="1128"/>
                </a:lnTo>
                <a:lnTo>
                  <a:pt x="8710" y="1149"/>
                </a:lnTo>
                <a:lnTo>
                  <a:pt x="8705" y="1172"/>
                </a:lnTo>
                <a:lnTo>
                  <a:pt x="8701" y="1199"/>
                </a:lnTo>
                <a:lnTo>
                  <a:pt x="8952" y="1199"/>
                </a:lnTo>
                <a:lnTo>
                  <a:pt x="8952" y="1183"/>
                </a:lnTo>
                <a:lnTo>
                  <a:pt x="8950" y="1168"/>
                </a:lnTo>
                <a:lnTo>
                  <a:pt x="8943" y="1141"/>
                </a:lnTo>
                <a:lnTo>
                  <a:pt x="8932" y="1117"/>
                </a:lnTo>
                <a:lnTo>
                  <a:pt x="8925" y="1106"/>
                </a:lnTo>
                <a:lnTo>
                  <a:pt x="8918" y="1097"/>
                </a:lnTo>
                <a:close/>
                <a:moveTo>
                  <a:pt x="9091" y="1300"/>
                </a:moveTo>
                <a:lnTo>
                  <a:pt x="8703" y="1300"/>
                </a:lnTo>
                <a:lnTo>
                  <a:pt x="8703" y="1317"/>
                </a:lnTo>
                <a:lnTo>
                  <a:pt x="8706" y="1333"/>
                </a:lnTo>
                <a:lnTo>
                  <a:pt x="8713" y="1364"/>
                </a:lnTo>
                <a:lnTo>
                  <a:pt x="8720" y="1378"/>
                </a:lnTo>
                <a:lnTo>
                  <a:pt x="8726" y="1391"/>
                </a:lnTo>
                <a:lnTo>
                  <a:pt x="8735" y="1403"/>
                </a:lnTo>
                <a:lnTo>
                  <a:pt x="8746" y="1414"/>
                </a:lnTo>
                <a:lnTo>
                  <a:pt x="8762" y="1427"/>
                </a:lnTo>
                <a:lnTo>
                  <a:pt x="8782" y="1439"/>
                </a:lnTo>
                <a:lnTo>
                  <a:pt x="8805" y="1447"/>
                </a:lnTo>
                <a:lnTo>
                  <a:pt x="8832" y="1450"/>
                </a:lnTo>
                <a:lnTo>
                  <a:pt x="8859" y="1448"/>
                </a:lnTo>
                <a:lnTo>
                  <a:pt x="8881" y="1444"/>
                </a:lnTo>
                <a:lnTo>
                  <a:pt x="8900" y="1435"/>
                </a:lnTo>
                <a:lnTo>
                  <a:pt x="8916" y="1422"/>
                </a:lnTo>
                <a:lnTo>
                  <a:pt x="8925" y="1412"/>
                </a:lnTo>
                <a:lnTo>
                  <a:pt x="8933" y="1401"/>
                </a:lnTo>
                <a:lnTo>
                  <a:pt x="8939" y="1388"/>
                </a:lnTo>
                <a:lnTo>
                  <a:pt x="8944" y="1373"/>
                </a:lnTo>
                <a:lnTo>
                  <a:pt x="9077" y="1373"/>
                </a:lnTo>
                <a:lnTo>
                  <a:pt x="9072" y="1400"/>
                </a:lnTo>
                <a:lnTo>
                  <a:pt x="9066" y="1415"/>
                </a:lnTo>
                <a:lnTo>
                  <a:pt x="9060" y="1429"/>
                </a:lnTo>
                <a:lnTo>
                  <a:pt x="9046" y="1457"/>
                </a:lnTo>
                <a:lnTo>
                  <a:pt x="9028" y="1481"/>
                </a:lnTo>
                <a:lnTo>
                  <a:pt x="9009" y="1500"/>
                </a:lnTo>
                <a:lnTo>
                  <a:pt x="8988" y="1518"/>
                </a:lnTo>
                <a:lnTo>
                  <a:pt x="8964" y="1532"/>
                </a:lnTo>
                <a:lnTo>
                  <a:pt x="8940" y="1543"/>
                </a:lnTo>
                <a:lnTo>
                  <a:pt x="8914" y="1551"/>
                </a:lnTo>
                <a:lnTo>
                  <a:pt x="8888" y="1557"/>
                </a:lnTo>
                <a:lnTo>
                  <a:pt x="8861" y="1560"/>
                </a:lnTo>
                <a:lnTo>
                  <a:pt x="8834" y="1561"/>
                </a:lnTo>
                <a:lnTo>
                  <a:pt x="8805" y="1560"/>
                </a:lnTo>
                <a:lnTo>
                  <a:pt x="8777" y="1557"/>
                </a:lnTo>
                <a:lnTo>
                  <a:pt x="8765" y="1553"/>
                </a:lnTo>
                <a:lnTo>
                  <a:pt x="8752" y="1550"/>
                </a:lnTo>
                <a:lnTo>
                  <a:pt x="8730" y="1543"/>
                </a:lnTo>
                <a:lnTo>
                  <a:pt x="8708" y="1532"/>
                </a:lnTo>
                <a:lnTo>
                  <a:pt x="8687" y="1520"/>
                </a:lnTo>
                <a:lnTo>
                  <a:pt x="8669" y="1506"/>
                </a:lnTo>
                <a:lnTo>
                  <a:pt x="8650" y="1490"/>
                </a:lnTo>
                <a:lnTo>
                  <a:pt x="8630" y="1468"/>
                </a:lnTo>
                <a:lnTo>
                  <a:pt x="8612" y="1444"/>
                </a:lnTo>
                <a:lnTo>
                  <a:pt x="8597" y="1417"/>
                </a:lnTo>
                <a:lnTo>
                  <a:pt x="8584" y="1388"/>
                </a:lnTo>
                <a:lnTo>
                  <a:pt x="8579" y="1374"/>
                </a:lnTo>
                <a:lnTo>
                  <a:pt x="8574" y="1359"/>
                </a:lnTo>
                <a:lnTo>
                  <a:pt x="8567" y="1326"/>
                </a:lnTo>
                <a:lnTo>
                  <a:pt x="8562" y="1292"/>
                </a:lnTo>
                <a:lnTo>
                  <a:pt x="8561" y="1258"/>
                </a:lnTo>
                <a:lnTo>
                  <a:pt x="8562" y="1224"/>
                </a:lnTo>
                <a:lnTo>
                  <a:pt x="8567" y="1190"/>
                </a:lnTo>
                <a:lnTo>
                  <a:pt x="8573" y="1159"/>
                </a:lnTo>
                <a:lnTo>
                  <a:pt x="8582" y="1128"/>
                </a:lnTo>
                <a:lnTo>
                  <a:pt x="8594" y="1100"/>
                </a:lnTo>
                <a:lnTo>
                  <a:pt x="8608" y="1073"/>
                </a:lnTo>
                <a:lnTo>
                  <a:pt x="8625" y="1048"/>
                </a:lnTo>
                <a:lnTo>
                  <a:pt x="8645" y="1026"/>
                </a:lnTo>
                <a:lnTo>
                  <a:pt x="8662" y="1010"/>
                </a:lnTo>
                <a:lnTo>
                  <a:pt x="8681" y="995"/>
                </a:lnTo>
                <a:lnTo>
                  <a:pt x="8701" y="982"/>
                </a:lnTo>
                <a:lnTo>
                  <a:pt x="8724" y="971"/>
                </a:lnTo>
                <a:lnTo>
                  <a:pt x="8748" y="964"/>
                </a:lnTo>
                <a:lnTo>
                  <a:pt x="8774" y="957"/>
                </a:lnTo>
                <a:lnTo>
                  <a:pt x="8801" y="953"/>
                </a:lnTo>
                <a:lnTo>
                  <a:pt x="8831" y="952"/>
                </a:lnTo>
                <a:lnTo>
                  <a:pt x="8862" y="954"/>
                </a:lnTo>
                <a:lnTo>
                  <a:pt x="8893" y="958"/>
                </a:lnTo>
                <a:lnTo>
                  <a:pt x="8922" y="967"/>
                </a:lnTo>
                <a:lnTo>
                  <a:pt x="8950" y="978"/>
                </a:lnTo>
                <a:lnTo>
                  <a:pt x="8976" y="993"/>
                </a:lnTo>
                <a:lnTo>
                  <a:pt x="9001" y="1012"/>
                </a:lnTo>
                <a:lnTo>
                  <a:pt x="9023" y="1033"/>
                </a:lnTo>
                <a:lnTo>
                  <a:pt x="9043" y="1060"/>
                </a:lnTo>
                <a:lnTo>
                  <a:pt x="9057" y="1084"/>
                </a:lnTo>
                <a:lnTo>
                  <a:pt x="9069" y="1107"/>
                </a:lnTo>
                <a:lnTo>
                  <a:pt x="9084" y="1156"/>
                </a:lnTo>
                <a:lnTo>
                  <a:pt x="9088" y="1183"/>
                </a:lnTo>
                <a:lnTo>
                  <a:pt x="9091" y="1208"/>
                </a:lnTo>
                <a:lnTo>
                  <a:pt x="9092" y="1261"/>
                </a:lnTo>
                <a:lnTo>
                  <a:pt x="9091" y="1300"/>
                </a:lnTo>
                <a:close/>
                <a:moveTo>
                  <a:pt x="8368" y="1547"/>
                </a:moveTo>
                <a:lnTo>
                  <a:pt x="8205" y="1293"/>
                </a:lnTo>
                <a:lnTo>
                  <a:pt x="8112" y="1395"/>
                </a:lnTo>
                <a:lnTo>
                  <a:pt x="8112" y="1547"/>
                </a:lnTo>
                <a:lnTo>
                  <a:pt x="7972" y="1547"/>
                </a:lnTo>
                <a:lnTo>
                  <a:pt x="7972" y="741"/>
                </a:lnTo>
                <a:lnTo>
                  <a:pt x="8112" y="741"/>
                </a:lnTo>
                <a:lnTo>
                  <a:pt x="8112" y="1202"/>
                </a:lnTo>
                <a:lnTo>
                  <a:pt x="8332" y="966"/>
                </a:lnTo>
                <a:lnTo>
                  <a:pt x="8507" y="966"/>
                </a:lnTo>
                <a:lnTo>
                  <a:pt x="8299" y="1191"/>
                </a:lnTo>
                <a:lnTo>
                  <a:pt x="8529" y="1547"/>
                </a:lnTo>
                <a:lnTo>
                  <a:pt x="8368" y="1547"/>
                </a:lnTo>
                <a:close/>
                <a:moveTo>
                  <a:pt x="7671" y="1547"/>
                </a:moveTo>
                <a:lnTo>
                  <a:pt x="7671" y="1191"/>
                </a:lnTo>
                <a:lnTo>
                  <a:pt x="7670" y="1166"/>
                </a:lnTo>
                <a:lnTo>
                  <a:pt x="7667" y="1146"/>
                </a:lnTo>
                <a:lnTo>
                  <a:pt x="7664" y="1136"/>
                </a:lnTo>
                <a:lnTo>
                  <a:pt x="7660" y="1126"/>
                </a:lnTo>
                <a:lnTo>
                  <a:pt x="7656" y="1118"/>
                </a:lnTo>
                <a:lnTo>
                  <a:pt x="7651" y="1111"/>
                </a:lnTo>
                <a:lnTo>
                  <a:pt x="7645" y="1104"/>
                </a:lnTo>
                <a:lnTo>
                  <a:pt x="7639" y="1098"/>
                </a:lnTo>
                <a:lnTo>
                  <a:pt x="7621" y="1089"/>
                </a:lnTo>
                <a:lnTo>
                  <a:pt x="7601" y="1084"/>
                </a:lnTo>
                <a:lnTo>
                  <a:pt x="7576" y="1081"/>
                </a:lnTo>
                <a:lnTo>
                  <a:pt x="7558" y="1082"/>
                </a:lnTo>
                <a:lnTo>
                  <a:pt x="7542" y="1087"/>
                </a:lnTo>
                <a:lnTo>
                  <a:pt x="7527" y="1093"/>
                </a:lnTo>
                <a:lnTo>
                  <a:pt x="7514" y="1102"/>
                </a:lnTo>
                <a:lnTo>
                  <a:pt x="7502" y="1113"/>
                </a:lnTo>
                <a:lnTo>
                  <a:pt x="7492" y="1126"/>
                </a:lnTo>
                <a:lnTo>
                  <a:pt x="7483" y="1140"/>
                </a:lnTo>
                <a:lnTo>
                  <a:pt x="7475" y="1155"/>
                </a:lnTo>
                <a:lnTo>
                  <a:pt x="7468" y="1173"/>
                </a:lnTo>
                <a:lnTo>
                  <a:pt x="7464" y="1192"/>
                </a:lnTo>
                <a:lnTo>
                  <a:pt x="7460" y="1212"/>
                </a:lnTo>
                <a:lnTo>
                  <a:pt x="7458" y="1231"/>
                </a:lnTo>
                <a:lnTo>
                  <a:pt x="7456" y="1272"/>
                </a:lnTo>
                <a:lnTo>
                  <a:pt x="7456" y="1311"/>
                </a:lnTo>
                <a:lnTo>
                  <a:pt x="7456" y="1547"/>
                </a:lnTo>
                <a:lnTo>
                  <a:pt x="7317" y="1547"/>
                </a:lnTo>
                <a:lnTo>
                  <a:pt x="7317" y="966"/>
                </a:lnTo>
                <a:lnTo>
                  <a:pt x="7434" y="966"/>
                </a:lnTo>
                <a:lnTo>
                  <a:pt x="7444" y="1041"/>
                </a:lnTo>
                <a:lnTo>
                  <a:pt x="7458" y="1019"/>
                </a:lnTo>
                <a:lnTo>
                  <a:pt x="7476" y="1001"/>
                </a:lnTo>
                <a:lnTo>
                  <a:pt x="7495" y="986"/>
                </a:lnTo>
                <a:lnTo>
                  <a:pt x="7517" y="974"/>
                </a:lnTo>
                <a:lnTo>
                  <a:pt x="7540" y="964"/>
                </a:lnTo>
                <a:lnTo>
                  <a:pt x="7565" y="957"/>
                </a:lnTo>
                <a:lnTo>
                  <a:pt x="7590" y="953"/>
                </a:lnTo>
                <a:lnTo>
                  <a:pt x="7615" y="952"/>
                </a:lnTo>
                <a:lnTo>
                  <a:pt x="7638" y="953"/>
                </a:lnTo>
                <a:lnTo>
                  <a:pt x="7658" y="956"/>
                </a:lnTo>
                <a:lnTo>
                  <a:pt x="7679" y="961"/>
                </a:lnTo>
                <a:lnTo>
                  <a:pt x="7697" y="967"/>
                </a:lnTo>
                <a:lnTo>
                  <a:pt x="7715" y="976"/>
                </a:lnTo>
                <a:lnTo>
                  <a:pt x="7731" y="986"/>
                </a:lnTo>
                <a:lnTo>
                  <a:pt x="7746" y="998"/>
                </a:lnTo>
                <a:lnTo>
                  <a:pt x="7759" y="1011"/>
                </a:lnTo>
                <a:lnTo>
                  <a:pt x="7771" y="1025"/>
                </a:lnTo>
                <a:lnTo>
                  <a:pt x="7781" y="1041"/>
                </a:lnTo>
                <a:lnTo>
                  <a:pt x="7790" y="1059"/>
                </a:lnTo>
                <a:lnTo>
                  <a:pt x="7797" y="1076"/>
                </a:lnTo>
                <a:lnTo>
                  <a:pt x="7804" y="1095"/>
                </a:lnTo>
                <a:lnTo>
                  <a:pt x="7807" y="1116"/>
                </a:lnTo>
                <a:lnTo>
                  <a:pt x="7810" y="1138"/>
                </a:lnTo>
                <a:lnTo>
                  <a:pt x="7810" y="1160"/>
                </a:lnTo>
                <a:lnTo>
                  <a:pt x="7810" y="1547"/>
                </a:lnTo>
                <a:lnTo>
                  <a:pt x="7671" y="1547"/>
                </a:lnTo>
                <a:close/>
                <a:moveTo>
                  <a:pt x="7012" y="1547"/>
                </a:moveTo>
                <a:lnTo>
                  <a:pt x="7012" y="966"/>
                </a:lnTo>
                <a:lnTo>
                  <a:pt x="7153" y="966"/>
                </a:lnTo>
                <a:lnTo>
                  <a:pt x="7153" y="1547"/>
                </a:lnTo>
                <a:lnTo>
                  <a:pt x="7012" y="1547"/>
                </a:lnTo>
                <a:close/>
                <a:moveTo>
                  <a:pt x="7006" y="886"/>
                </a:moveTo>
                <a:lnTo>
                  <a:pt x="7006" y="742"/>
                </a:lnTo>
                <a:lnTo>
                  <a:pt x="7156" y="742"/>
                </a:lnTo>
                <a:lnTo>
                  <a:pt x="7156" y="886"/>
                </a:lnTo>
                <a:lnTo>
                  <a:pt x="7006" y="886"/>
                </a:lnTo>
                <a:close/>
                <a:moveTo>
                  <a:pt x="6823" y="1553"/>
                </a:moveTo>
                <a:lnTo>
                  <a:pt x="6789" y="1551"/>
                </a:lnTo>
                <a:lnTo>
                  <a:pt x="6773" y="1549"/>
                </a:lnTo>
                <a:lnTo>
                  <a:pt x="6757" y="1545"/>
                </a:lnTo>
                <a:lnTo>
                  <a:pt x="6744" y="1539"/>
                </a:lnTo>
                <a:lnTo>
                  <a:pt x="6731" y="1534"/>
                </a:lnTo>
                <a:lnTo>
                  <a:pt x="6719" y="1526"/>
                </a:lnTo>
                <a:lnTo>
                  <a:pt x="6707" y="1518"/>
                </a:lnTo>
                <a:lnTo>
                  <a:pt x="6698" y="1507"/>
                </a:lnTo>
                <a:lnTo>
                  <a:pt x="6689" y="1496"/>
                </a:lnTo>
                <a:lnTo>
                  <a:pt x="6682" y="1483"/>
                </a:lnTo>
                <a:lnTo>
                  <a:pt x="6676" y="1469"/>
                </a:lnTo>
                <a:lnTo>
                  <a:pt x="6667" y="1436"/>
                </a:lnTo>
                <a:lnTo>
                  <a:pt x="6665" y="1417"/>
                </a:lnTo>
                <a:lnTo>
                  <a:pt x="6664" y="1398"/>
                </a:lnTo>
                <a:lnTo>
                  <a:pt x="6664" y="740"/>
                </a:lnTo>
                <a:lnTo>
                  <a:pt x="6805" y="740"/>
                </a:lnTo>
                <a:lnTo>
                  <a:pt x="6805" y="1374"/>
                </a:lnTo>
                <a:lnTo>
                  <a:pt x="6805" y="1386"/>
                </a:lnTo>
                <a:lnTo>
                  <a:pt x="6806" y="1397"/>
                </a:lnTo>
                <a:lnTo>
                  <a:pt x="6810" y="1407"/>
                </a:lnTo>
                <a:lnTo>
                  <a:pt x="6815" y="1414"/>
                </a:lnTo>
                <a:lnTo>
                  <a:pt x="6822" y="1421"/>
                </a:lnTo>
                <a:lnTo>
                  <a:pt x="6831" y="1426"/>
                </a:lnTo>
                <a:lnTo>
                  <a:pt x="6844" y="1428"/>
                </a:lnTo>
                <a:lnTo>
                  <a:pt x="6861" y="1429"/>
                </a:lnTo>
                <a:lnTo>
                  <a:pt x="6885" y="1428"/>
                </a:lnTo>
                <a:lnTo>
                  <a:pt x="6885" y="1546"/>
                </a:lnTo>
                <a:lnTo>
                  <a:pt x="6853" y="1552"/>
                </a:lnTo>
                <a:lnTo>
                  <a:pt x="6823" y="1553"/>
                </a:lnTo>
                <a:close/>
                <a:moveTo>
                  <a:pt x="5977" y="1547"/>
                </a:moveTo>
                <a:lnTo>
                  <a:pt x="5977" y="755"/>
                </a:lnTo>
                <a:lnTo>
                  <a:pt x="6540" y="755"/>
                </a:lnTo>
                <a:lnTo>
                  <a:pt x="6540" y="886"/>
                </a:lnTo>
                <a:lnTo>
                  <a:pt x="6121" y="886"/>
                </a:lnTo>
                <a:lnTo>
                  <a:pt x="6121" y="1070"/>
                </a:lnTo>
                <a:lnTo>
                  <a:pt x="6490" y="1070"/>
                </a:lnTo>
                <a:lnTo>
                  <a:pt x="6490" y="1200"/>
                </a:lnTo>
                <a:lnTo>
                  <a:pt x="6121" y="1200"/>
                </a:lnTo>
                <a:lnTo>
                  <a:pt x="6121" y="1416"/>
                </a:lnTo>
                <a:lnTo>
                  <a:pt x="6540" y="1416"/>
                </a:lnTo>
                <a:lnTo>
                  <a:pt x="6540" y="1547"/>
                </a:lnTo>
                <a:lnTo>
                  <a:pt x="5977" y="1547"/>
                </a:lnTo>
                <a:close/>
                <a:moveTo>
                  <a:pt x="11930" y="2637"/>
                </a:moveTo>
                <a:lnTo>
                  <a:pt x="11913" y="2655"/>
                </a:lnTo>
                <a:lnTo>
                  <a:pt x="11894" y="2672"/>
                </a:lnTo>
                <a:lnTo>
                  <a:pt x="11871" y="2687"/>
                </a:lnTo>
                <a:lnTo>
                  <a:pt x="11846" y="2701"/>
                </a:lnTo>
                <a:lnTo>
                  <a:pt x="11819" y="2712"/>
                </a:lnTo>
                <a:lnTo>
                  <a:pt x="11789" y="2721"/>
                </a:lnTo>
                <a:lnTo>
                  <a:pt x="11759" y="2726"/>
                </a:lnTo>
                <a:lnTo>
                  <a:pt x="11726" y="2727"/>
                </a:lnTo>
                <a:lnTo>
                  <a:pt x="11694" y="2726"/>
                </a:lnTo>
                <a:lnTo>
                  <a:pt x="11663" y="2721"/>
                </a:lnTo>
                <a:lnTo>
                  <a:pt x="11634" y="2712"/>
                </a:lnTo>
                <a:lnTo>
                  <a:pt x="11607" y="2701"/>
                </a:lnTo>
                <a:lnTo>
                  <a:pt x="11582" y="2687"/>
                </a:lnTo>
                <a:lnTo>
                  <a:pt x="11560" y="2672"/>
                </a:lnTo>
                <a:lnTo>
                  <a:pt x="11541" y="2655"/>
                </a:lnTo>
                <a:lnTo>
                  <a:pt x="11532" y="2647"/>
                </a:lnTo>
                <a:lnTo>
                  <a:pt x="11523" y="2637"/>
                </a:lnTo>
                <a:lnTo>
                  <a:pt x="11495" y="2594"/>
                </a:lnTo>
                <a:lnTo>
                  <a:pt x="11483" y="2572"/>
                </a:lnTo>
                <a:lnTo>
                  <a:pt x="11473" y="2547"/>
                </a:lnTo>
                <a:lnTo>
                  <a:pt x="11466" y="2519"/>
                </a:lnTo>
                <a:lnTo>
                  <a:pt x="11460" y="2490"/>
                </a:lnTo>
                <a:lnTo>
                  <a:pt x="11457" y="2457"/>
                </a:lnTo>
                <a:lnTo>
                  <a:pt x="11456" y="2423"/>
                </a:lnTo>
                <a:lnTo>
                  <a:pt x="11457" y="2388"/>
                </a:lnTo>
                <a:lnTo>
                  <a:pt x="11460" y="2355"/>
                </a:lnTo>
                <a:lnTo>
                  <a:pt x="11466" y="2326"/>
                </a:lnTo>
                <a:lnTo>
                  <a:pt x="11473" y="2300"/>
                </a:lnTo>
                <a:lnTo>
                  <a:pt x="11483" y="2275"/>
                </a:lnTo>
                <a:lnTo>
                  <a:pt x="11495" y="2251"/>
                </a:lnTo>
                <a:lnTo>
                  <a:pt x="11508" y="2229"/>
                </a:lnTo>
                <a:lnTo>
                  <a:pt x="11523" y="2208"/>
                </a:lnTo>
                <a:lnTo>
                  <a:pt x="11541" y="2190"/>
                </a:lnTo>
                <a:lnTo>
                  <a:pt x="11560" y="2173"/>
                </a:lnTo>
                <a:lnTo>
                  <a:pt x="11582" y="2158"/>
                </a:lnTo>
                <a:lnTo>
                  <a:pt x="11607" y="2144"/>
                </a:lnTo>
                <a:lnTo>
                  <a:pt x="11634" y="2133"/>
                </a:lnTo>
                <a:lnTo>
                  <a:pt x="11663" y="2125"/>
                </a:lnTo>
                <a:lnTo>
                  <a:pt x="11694" y="2120"/>
                </a:lnTo>
                <a:lnTo>
                  <a:pt x="11726" y="2118"/>
                </a:lnTo>
                <a:lnTo>
                  <a:pt x="11759" y="2120"/>
                </a:lnTo>
                <a:lnTo>
                  <a:pt x="11789" y="2125"/>
                </a:lnTo>
                <a:lnTo>
                  <a:pt x="11819" y="2133"/>
                </a:lnTo>
                <a:lnTo>
                  <a:pt x="11846" y="2144"/>
                </a:lnTo>
                <a:lnTo>
                  <a:pt x="11871" y="2158"/>
                </a:lnTo>
                <a:lnTo>
                  <a:pt x="11894" y="2173"/>
                </a:lnTo>
                <a:lnTo>
                  <a:pt x="11913" y="2190"/>
                </a:lnTo>
                <a:lnTo>
                  <a:pt x="11922" y="2200"/>
                </a:lnTo>
                <a:lnTo>
                  <a:pt x="11930" y="2208"/>
                </a:lnTo>
                <a:lnTo>
                  <a:pt x="11959" y="2251"/>
                </a:lnTo>
                <a:lnTo>
                  <a:pt x="11970" y="2275"/>
                </a:lnTo>
                <a:lnTo>
                  <a:pt x="11980" y="2300"/>
                </a:lnTo>
                <a:lnTo>
                  <a:pt x="11987" y="2326"/>
                </a:lnTo>
                <a:lnTo>
                  <a:pt x="11993" y="2355"/>
                </a:lnTo>
                <a:lnTo>
                  <a:pt x="11996" y="2388"/>
                </a:lnTo>
                <a:lnTo>
                  <a:pt x="11997" y="2423"/>
                </a:lnTo>
                <a:lnTo>
                  <a:pt x="11996" y="2457"/>
                </a:lnTo>
                <a:lnTo>
                  <a:pt x="11993" y="2490"/>
                </a:lnTo>
                <a:lnTo>
                  <a:pt x="11987" y="2519"/>
                </a:lnTo>
                <a:lnTo>
                  <a:pt x="11980" y="2547"/>
                </a:lnTo>
                <a:lnTo>
                  <a:pt x="11970" y="2572"/>
                </a:lnTo>
                <a:lnTo>
                  <a:pt x="11959" y="2594"/>
                </a:lnTo>
                <a:lnTo>
                  <a:pt x="11945" y="2616"/>
                </a:lnTo>
                <a:lnTo>
                  <a:pt x="11930" y="2637"/>
                </a:lnTo>
                <a:close/>
                <a:moveTo>
                  <a:pt x="11814" y="2277"/>
                </a:moveTo>
                <a:lnTo>
                  <a:pt x="11807" y="2269"/>
                </a:lnTo>
                <a:lnTo>
                  <a:pt x="11798" y="2263"/>
                </a:lnTo>
                <a:lnTo>
                  <a:pt x="11777" y="2251"/>
                </a:lnTo>
                <a:lnTo>
                  <a:pt x="11765" y="2246"/>
                </a:lnTo>
                <a:lnTo>
                  <a:pt x="11754" y="2242"/>
                </a:lnTo>
                <a:lnTo>
                  <a:pt x="11726" y="2240"/>
                </a:lnTo>
                <a:lnTo>
                  <a:pt x="11699" y="2242"/>
                </a:lnTo>
                <a:lnTo>
                  <a:pt x="11675" y="2251"/>
                </a:lnTo>
                <a:lnTo>
                  <a:pt x="11655" y="2263"/>
                </a:lnTo>
                <a:lnTo>
                  <a:pt x="11646" y="2269"/>
                </a:lnTo>
                <a:lnTo>
                  <a:pt x="11638" y="2277"/>
                </a:lnTo>
                <a:lnTo>
                  <a:pt x="11627" y="2291"/>
                </a:lnTo>
                <a:lnTo>
                  <a:pt x="11618" y="2307"/>
                </a:lnTo>
                <a:lnTo>
                  <a:pt x="11610" y="2325"/>
                </a:lnTo>
                <a:lnTo>
                  <a:pt x="11605" y="2343"/>
                </a:lnTo>
                <a:lnTo>
                  <a:pt x="11599" y="2382"/>
                </a:lnTo>
                <a:lnTo>
                  <a:pt x="11597" y="2423"/>
                </a:lnTo>
                <a:lnTo>
                  <a:pt x="11597" y="2443"/>
                </a:lnTo>
                <a:lnTo>
                  <a:pt x="11599" y="2464"/>
                </a:lnTo>
                <a:lnTo>
                  <a:pt x="11605" y="2502"/>
                </a:lnTo>
                <a:lnTo>
                  <a:pt x="11610" y="2520"/>
                </a:lnTo>
                <a:lnTo>
                  <a:pt x="11618" y="2538"/>
                </a:lnTo>
                <a:lnTo>
                  <a:pt x="11627" y="2554"/>
                </a:lnTo>
                <a:lnTo>
                  <a:pt x="11638" y="2569"/>
                </a:lnTo>
                <a:lnTo>
                  <a:pt x="11646" y="2576"/>
                </a:lnTo>
                <a:lnTo>
                  <a:pt x="11655" y="2584"/>
                </a:lnTo>
                <a:lnTo>
                  <a:pt x="11675" y="2594"/>
                </a:lnTo>
                <a:lnTo>
                  <a:pt x="11687" y="2600"/>
                </a:lnTo>
                <a:lnTo>
                  <a:pt x="11699" y="2603"/>
                </a:lnTo>
                <a:lnTo>
                  <a:pt x="11726" y="2605"/>
                </a:lnTo>
                <a:lnTo>
                  <a:pt x="11754" y="2603"/>
                </a:lnTo>
                <a:lnTo>
                  <a:pt x="11777" y="2594"/>
                </a:lnTo>
                <a:lnTo>
                  <a:pt x="11798" y="2584"/>
                </a:lnTo>
                <a:lnTo>
                  <a:pt x="11807" y="2576"/>
                </a:lnTo>
                <a:lnTo>
                  <a:pt x="11814" y="2569"/>
                </a:lnTo>
                <a:lnTo>
                  <a:pt x="11826" y="2554"/>
                </a:lnTo>
                <a:lnTo>
                  <a:pt x="11835" y="2538"/>
                </a:lnTo>
                <a:lnTo>
                  <a:pt x="11843" y="2520"/>
                </a:lnTo>
                <a:lnTo>
                  <a:pt x="11848" y="2502"/>
                </a:lnTo>
                <a:lnTo>
                  <a:pt x="11855" y="2464"/>
                </a:lnTo>
                <a:lnTo>
                  <a:pt x="11856" y="2423"/>
                </a:lnTo>
                <a:lnTo>
                  <a:pt x="11856" y="2402"/>
                </a:lnTo>
                <a:lnTo>
                  <a:pt x="11855" y="2382"/>
                </a:lnTo>
                <a:lnTo>
                  <a:pt x="11848" y="2343"/>
                </a:lnTo>
                <a:lnTo>
                  <a:pt x="11843" y="2325"/>
                </a:lnTo>
                <a:lnTo>
                  <a:pt x="11835" y="2307"/>
                </a:lnTo>
                <a:lnTo>
                  <a:pt x="11826" y="2291"/>
                </a:lnTo>
                <a:lnTo>
                  <a:pt x="11814" y="2277"/>
                </a:lnTo>
                <a:close/>
                <a:moveTo>
                  <a:pt x="4921" y="3366"/>
                </a:moveTo>
                <a:lnTo>
                  <a:pt x="4904" y="3364"/>
                </a:lnTo>
                <a:lnTo>
                  <a:pt x="4884" y="3357"/>
                </a:lnTo>
                <a:lnTo>
                  <a:pt x="4860" y="3346"/>
                </a:lnTo>
                <a:lnTo>
                  <a:pt x="4834" y="3332"/>
                </a:lnTo>
                <a:lnTo>
                  <a:pt x="4776" y="3293"/>
                </a:lnTo>
                <a:lnTo>
                  <a:pt x="4743" y="3269"/>
                </a:lnTo>
                <a:lnTo>
                  <a:pt x="4708" y="3241"/>
                </a:lnTo>
                <a:lnTo>
                  <a:pt x="4652" y="3194"/>
                </a:lnTo>
                <a:lnTo>
                  <a:pt x="4590" y="3139"/>
                </a:lnTo>
                <a:lnTo>
                  <a:pt x="4451" y="3010"/>
                </a:lnTo>
                <a:lnTo>
                  <a:pt x="4299" y="2862"/>
                </a:lnTo>
                <a:lnTo>
                  <a:pt x="4144" y="2704"/>
                </a:lnTo>
                <a:lnTo>
                  <a:pt x="3998" y="2546"/>
                </a:lnTo>
                <a:lnTo>
                  <a:pt x="3929" y="2469"/>
                </a:lnTo>
                <a:lnTo>
                  <a:pt x="3866" y="2395"/>
                </a:lnTo>
                <a:lnTo>
                  <a:pt x="3808" y="2326"/>
                </a:lnTo>
                <a:lnTo>
                  <a:pt x="3783" y="2293"/>
                </a:lnTo>
                <a:lnTo>
                  <a:pt x="3760" y="2262"/>
                </a:lnTo>
                <a:lnTo>
                  <a:pt x="3719" y="2204"/>
                </a:lnTo>
                <a:lnTo>
                  <a:pt x="3702" y="2179"/>
                </a:lnTo>
                <a:lnTo>
                  <a:pt x="3688" y="2155"/>
                </a:lnTo>
                <a:lnTo>
                  <a:pt x="3640" y="2059"/>
                </a:lnTo>
                <a:lnTo>
                  <a:pt x="3622" y="2014"/>
                </a:lnTo>
                <a:lnTo>
                  <a:pt x="3605" y="1968"/>
                </a:lnTo>
                <a:lnTo>
                  <a:pt x="3592" y="1923"/>
                </a:lnTo>
                <a:lnTo>
                  <a:pt x="3582" y="1879"/>
                </a:lnTo>
                <a:lnTo>
                  <a:pt x="3577" y="1833"/>
                </a:lnTo>
                <a:lnTo>
                  <a:pt x="3575" y="1786"/>
                </a:lnTo>
                <a:lnTo>
                  <a:pt x="3578" y="1735"/>
                </a:lnTo>
                <a:lnTo>
                  <a:pt x="3586" y="1682"/>
                </a:lnTo>
                <a:lnTo>
                  <a:pt x="3599" y="1627"/>
                </a:lnTo>
                <a:lnTo>
                  <a:pt x="3607" y="1599"/>
                </a:lnTo>
                <a:lnTo>
                  <a:pt x="3617" y="1572"/>
                </a:lnTo>
                <a:lnTo>
                  <a:pt x="3641" y="1514"/>
                </a:lnTo>
                <a:lnTo>
                  <a:pt x="3670" y="1454"/>
                </a:lnTo>
                <a:lnTo>
                  <a:pt x="3706" y="1394"/>
                </a:lnTo>
                <a:lnTo>
                  <a:pt x="3726" y="1362"/>
                </a:lnTo>
                <a:lnTo>
                  <a:pt x="3748" y="1329"/>
                </a:lnTo>
                <a:lnTo>
                  <a:pt x="3781" y="1283"/>
                </a:lnTo>
                <a:lnTo>
                  <a:pt x="3824" y="1228"/>
                </a:lnTo>
                <a:lnTo>
                  <a:pt x="3929" y="1101"/>
                </a:lnTo>
                <a:lnTo>
                  <a:pt x="4057" y="952"/>
                </a:lnTo>
                <a:lnTo>
                  <a:pt x="4203" y="787"/>
                </a:lnTo>
                <a:lnTo>
                  <a:pt x="4526" y="423"/>
                </a:lnTo>
                <a:lnTo>
                  <a:pt x="4690" y="234"/>
                </a:lnTo>
                <a:lnTo>
                  <a:pt x="4850" y="47"/>
                </a:lnTo>
                <a:lnTo>
                  <a:pt x="4860" y="45"/>
                </a:lnTo>
                <a:lnTo>
                  <a:pt x="4872" y="43"/>
                </a:lnTo>
                <a:lnTo>
                  <a:pt x="4892" y="41"/>
                </a:lnTo>
                <a:lnTo>
                  <a:pt x="4925" y="45"/>
                </a:lnTo>
                <a:lnTo>
                  <a:pt x="4944" y="49"/>
                </a:lnTo>
                <a:lnTo>
                  <a:pt x="4962" y="56"/>
                </a:lnTo>
                <a:lnTo>
                  <a:pt x="4983" y="63"/>
                </a:lnTo>
                <a:lnTo>
                  <a:pt x="5003" y="73"/>
                </a:lnTo>
                <a:lnTo>
                  <a:pt x="5043" y="96"/>
                </a:lnTo>
                <a:lnTo>
                  <a:pt x="5082" y="125"/>
                </a:lnTo>
                <a:lnTo>
                  <a:pt x="5100" y="142"/>
                </a:lnTo>
                <a:lnTo>
                  <a:pt x="5119" y="159"/>
                </a:lnTo>
                <a:lnTo>
                  <a:pt x="5135" y="178"/>
                </a:lnTo>
                <a:lnTo>
                  <a:pt x="5150" y="199"/>
                </a:lnTo>
                <a:lnTo>
                  <a:pt x="5165" y="221"/>
                </a:lnTo>
                <a:lnTo>
                  <a:pt x="5176" y="244"/>
                </a:lnTo>
                <a:lnTo>
                  <a:pt x="5184" y="266"/>
                </a:lnTo>
                <a:lnTo>
                  <a:pt x="5190" y="287"/>
                </a:lnTo>
                <a:lnTo>
                  <a:pt x="5193" y="310"/>
                </a:lnTo>
                <a:lnTo>
                  <a:pt x="5194" y="332"/>
                </a:lnTo>
                <a:lnTo>
                  <a:pt x="5193" y="357"/>
                </a:lnTo>
                <a:lnTo>
                  <a:pt x="5188" y="382"/>
                </a:lnTo>
                <a:lnTo>
                  <a:pt x="5182" y="407"/>
                </a:lnTo>
                <a:lnTo>
                  <a:pt x="5172" y="432"/>
                </a:lnTo>
                <a:lnTo>
                  <a:pt x="5161" y="458"/>
                </a:lnTo>
                <a:lnTo>
                  <a:pt x="5146" y="484"/>
                </a:lnTo>
                <a:lnTo>
                  <a:pt x="5130" y="511"/>
                </a:lnTo>
                <a:lnTo>
                  <a:pt x="5111" y="540"/>
                </a:lnTo>
                <a:lnTo>
                  <a:pt x="5078" y="584"/>
                </a:lnTo>
                <a:lnTo>
                  <a:pt x="5034" y="636"/>
                </a:lnTo>
                <a:lnTo>
                  <a:pt x="4927" y="763"/>
                </a:lnTo>
                <a:lnTo>
                  <a:pt x="4657" y="1067"/>
                </a:lnTo>
                <a:lnTo>
                  <a:pt x="4384" y="1378"/>
                </a:lnTo>
                <a:lnTo>
                  <a:pt x="4270" y="1512"/>
                </a:lnTo>
                <a:lnTo>
                  <a:pt x="4187" y="1621"/>
                </a:lnTo>
                <a:lnTo>
                  <a:pt x="4163" y="1655"/>
                </a:lnTo>
                <a:lnTo>
                  <a:pt x="4146" y="1688"/>
                </a:lnTo>
                <a:lnTo>
                  <a:pt x="4140" y="1706"/>
                </a:lnTo>
                <a:lnTo>
                  <a:pt x="4137" y="1722"/>
                </a:lnTo>
                <a:lnTo>
                  <a:pt x="4133" y="1739"/>
                </a:lnTo>
                <a:lnTo>
                  <a:pt x="4132" y="1757"/>
                </a:lnTo>
                <a:lnTo>
                  <a:pt x="4133" y="1778"/>
                </a:lnTo>
                <a:lnTo>
                  <a:pt x="4137" y="1797"/>
                </a:lnTo>
                <a:lnTo>
                  <a:pt x="4150" y="1837"/>
                </a:lnTo>
                <a:lnTo>
                  <a:pt x="4159" y="1858"/>
                </a:lnTo>
                <a:lnTo>
                  <a:pt x="4170" y="1880"/>
                </a:lnTo>
                <a:lnTo>
                  <a:pt x="4197" y="1923"/>
                </a:lnTo>
                <a:lnTo>
                  <a:pt x="4266" y="2007"/>
                </a:lnTo>
                <a:lnTo>
                  <a:pt x="4362" y="2117"/>
                </a:lnTo>
                <a:lnTo>
                  <a:pt x="4481" y="2245"/>
                </a:lnTo>
                <a:lnTo>
                  <a:pt x="4617" y="2388"/>
                </a:lnTo>
                <a:lnTo>
                  <a:pt x="4762" y="2537"/>
                </a:lnTo>
                <a:lnTo>
                  <a:pt x="4912" y="2688"/>
                </a:lnTo>
                <a:lnTo>
                  <a:pt x="5060" y="2834"/>
                </a:lnTo>
                <a:lnTo>
                  <a:pt x="5200" y="2968"/>
                </a:lnTo>
                <a:lnTo>
                  <a:pt x="5217" y="2986"/>
                </a:lnTo>
                <a:lnTo>
                  <a:pt x="5223" y="2995"/>
                </a:lnTo>
                <a:lnTo>
                  <a:pt x="5230" y="3005"/>
                </a:lnTo>
                <a:lnTo>
                  <a:pt x="5238" y="3026"/>
                </a:lnTo>
                <a:lnTo>
                  <a:pt x="5241" y="3038"/>
                </a:lnTo>
                <a:lnTo>
                  <a:pt x="5242" y="3051"/>
                </a:lnTo>
                <a:lnTo>
                  <a:pt x="5239" y="3076"/>
                </a:lnTo>
                <a:lnTo>
                  <a:pt x="5234" y="3102"/>
                </a:lnTo>
                <a:lnTo>
                  <a:pt x="5224" y="3129"/>
                </a:lnTo>
                <a:lnTo>
                  <a:pt x="5211" y="3156"/>
                </a:lnTo>
                <a:lnTo>
                  <a:pt x="5196" y="3182"/>
                </a:lnTo>
                <a:lnTo>
                  <a:pt x="5178" y="3208"/>
                </a:lnTo>
                <a:lnTo>
                  <a:pt x="5157" y="3233"/>
                </a:lnTo>
                <a:lnTo>
                  <a:pt x="5135" y="3257"/>
                </a:lnTo>
                <a:lnTo>
                  <a:pt x="5110" y="3280"/>
                </a:lnTo>
                <a:lnTo>
                  <a:pt x="5085" y="3300"/>
                </a:lnTo>
                <a:lnTo>
                  <a:pt x="5059" y="3319"/>
                </a:lnTo>
                <a:lnTo>
                  <a:pt x="5032" y="3335"/>
                </a:lnTo>
                <a:lnTo>
                  <a:pt x="5004" y="3347"/>
                </a:lnTo>
                <a:lnTo>
                  <a:pt x="4975" y="3357"/>
                </a:lnTo>
                <a:lnTo>
                  <a:pt x="4948" y="3364"/>
                </a:lnTo>
                <a:lnTo>
                  <a:pt x="4921" y="3366"/>
                </a:lnTo>
                <a:close/>
                <a:moveTo>
                  <a:pt x="1388" y="3419"/>
                </a:moveTo>
                <a:lnTo>
                  <a:pt x="1316" y="3417"/>
                </a:lnTo>
                <a:lnTo>
                  <a:pt x="1246" y="3410"/>
                </a:lnTo>
                <a:lnTo>
                  <a:pt x="1177" y="3401"/>
                </a:lnTo>
                <a:lnTo>
                  <a:pt x="1108" y="3386"/>
                </a:lnTo>
                <a:lnTo>
                  <a:pt x="1075" y="3378"/>
                </a:lnTo>
                <a:lnTo>
                  <a:pt x="1041" y="3368"/>
                </a:lnTo>
                <a:lnTo>
                  <a:pt x="976" y="3347"/>
                </a:lnTo>
                <a:lnTo>
                  <a:pt x="911" y="3321"/>
                </a:lnTo>
                <a:lnTo>
                  <a:pt x="879" y="3307"/>
                </a:lnTo>
                <a:lnTo>
                  <a:pt x="848" y="3293"/>
                </a:lnTo>
                <a:lnTo>
                  <a:pt x="787" y="3260"/>
                </a:lnTo>
                <a:lnTo>
                  <a:pt x="756" y="3243"/>
                </a:lnTo>
                <a:lnTo>
                  <a:pt x="727" y="3224"/>
                </a:lnTo>
                <a:lnTo>
                  <a:pt x="698" y="3206"/>
                </a:lnTo>
                <a:lnTo>
                  <a:pt x="668" y="3185"/>
                </a:lnTo>
                <a:lnTo>
                  <a:pt x="640" y="3164"/>
                </a:lnTo>
                <a:lnTo>
                  <a:pt x="613" y="3144"/>
                </a:lnTo>
                <a:lnTo>
                  <a:pt x="557" y="3098"/>
                </a:lnTo>
                <a:lnTo>
                  <a:pt x="505" y="3050"/>
                </a:lnTo>
                <a:lnTo>
                  <a:pt x="455" y="2999"/>
                </a:lnTo>
                <a:lnTo>
                  <a:pt x="406" y="2946"/>
                </a:lnTo>
                <a:lnTo>
                  <a:pt x="384" y="2918"/>
                </a:lnTo>
                <a:lnTo>
                  <a:pt x="361" y="2889"/>
                </a:lnTo>
                <a:lnTo>
                  <a:pt x="317" y="2831"/>
                </a:lnTo>
                <a:lnTo>
                  <a:pt x="276" y="2769"/>
                </a:lnTo>
                <a:lnTo>
                  <a:pt x="237" y="2704"/>
                </a:lnTo>
                <a:lnTo>
                  <a:pt x="218" y="2672"/>
                </a:lnTo>
                <a:lnTo>
                  <a:pt x="201" y="2639"/>
                </a:lnTo>
                <a:lnTo>
                  <a:pt x="167" y="2571"/>
                </a:lnTo>
                <a:lnTo>
                  <a:pt x="137" y="2500"/>
                </a:lnTo>
                <a:lnTo>
                  <a:pt x="110" y="2427"/>
                </a:lnTo>
                <a:lnTo>
                  <a:pt x="85" y="2353"/>
                </a:lnTo>
                <a:lnTo>
                  <a:pt x="63" y="2277"/>
                </a:lnTo>
                <a:lnTo>
                  <a:pt x="43" y="2199"/>
                </a:lnTo>
                <a:lnTo>
                  <a:pt x="28" y="2119"/>
                </a:lnTo>
                <a:lnTo>
                  <a:pt x="16" y="2039"/>
                </a:lnTo>
                <a:lnTo>
                  <a:pt x="8" y="1956"/>
                </a:lnTo>
                <a:lnTo>
                  <a:pt x="2" y="1872"/>
                </a:lnTo>
                <a:lnTo>
                  <a:pt x="0" y="1786"/>
                </a:lnTo>
                <a:lnTo>
                  <a:pt x="2" y="1699"/>
                </a:lnTo>
                <a:lnTo>
                  <a:pt x="8" y="1613"/>
                </a:lnTo>
                <a:lnTo>
                  <a:pt x="16" y="1527"/>
                </a:lnTo>
                <a:lnTo>
                  <a:pt x="29" y="1442"/>
                </a:lnTo>
                <a:lnTo>
                  <a:pt x="37" y="1400"/>
                </a:lnTo>
                <a:lnTo>
                  <a:pt x="46" y="1359"/>
                </a:lnTo>
                <a:lnTo>
                  <a:pt x="65" y="1276"/>
                </a:lnTo>
                <a:lnTo>
                  <a:pt x="89" y="1194"/>
                </a:lnTo>
                <a:lnTo>
                  <a:pt x="115" y="1114"/>
                </a:lnTo>
                <a:lnTo>
                  <a:pt x="145" y="1036"/>
                </a:lnTo>
                <a:lnTo>
                  <a:pt x="160" y="998"/>
                </a:lnTo>
                <a:lnTo>
                  <a:pt x="176" y="960"/>
                </a:lnTo>
                <a:lnTo>
                  <a:pt x="212" y="884"/>
                </a:lnTo>
                <a:lnTo>
                  <a:pt x="250" y="812"/>
                </a:lnTo>
                <a:lnTo>
                  <a:pt x="291" y="741"/>
                </a:lnTo>
                <a:lnTo>
                  <a:pt x="335" y="672"/>
                </a:lnTo>
                <a:lnTo>
                  <a:pt x="380" y="607"/>
                </a:lnTo>
                <a:lnTo>
                  <a:pt x="429" y="544"/>
                </a:lnTo>
                <a:lnTo>
                  <a:pt x="480" y="483"/>
                </a:lnTo>
                <a:lnTo>
                  <a:pt x="534" y="425"/>
                </a:lnTo>
                <a:lnTo>
                  <a:pt x="589" y="371"/>
                </a:lnTo>
                <a:lnTo>
                  <a:pt x="648" y="320"/>
                </a:lnTo>
                <a:lnTo>
                  <a:pt x="707" y="271"/>
                </a:lnTo>
                <a:lnTo>
                  <a:pt x="769" y="226"/>
                </a:lnTo>
                <a:lnTo>
                  <a:pt x="832" y="185"/>
                </a:lnTo>
                <a:lnTo>
                  <a:pt x="865" y="167"/>
                </a:lnTo>
                <a:lnTo>
                  <a:pt x="898" y="148"/>
                </a:lnTo>
                <a:lnTo>
                  <a:pt x="965" y="114"/>
                </a:lnTo>
                <a:lnTo>
                  <a:pt x="1034" y="85"/>
                </a:lnTo>
                <a:lnTo>
                  <a:pt x="1104" y="60"/>
                </a:lnTo>
                <a:lnTo>
                  <a:pt x="1140" y="48"/>
                </a:lnTo>
                <a:lnTo>
                  <a:pt x="1177" y="38"/>
                </a:lnTo>
                <a:lnTo>
                  <a:pt x="1250" y="22"/>
                </a:lnTo>
                <a:lnTo>
                  <a:pt x="1325" y="10"/>
                </a:lnTo>
                <a:lnTo>
                  <a:pt x="1400" y="2"/>
                </a:lnTo>
                <a:lnTo>
                  <a:pt x="1438" y="0"/>
                </a:lnTo>
                <a:lnTo>
                  <a:pt x="1477" y="0"/>
                </a:lnTo>
                <a:lnTo>
                  <a:pt x="1524" y="1"/>
                </a:lnTo>
                <a:lnTo>
                  <a:pt x="1571" y="4"/>
                </a:lnTo>
                <a:lnTo>
                  <a:pt x="1616" y="10"/>
                </a:lnTo>
                <a:lnTo>
                  <a:pt x="1660" y="17"/>
                </a:lnTo>
                <a:lnTo>
                  <a:pt x="1703" y="27"/>
                </a:lnTo>
                <a:lnTo>
                  <a:pt x="1744" y="38"/>
                </a:lnTo>
                <a:lnTo>
                  <a:pt x="1823" y="68"/>
                </a:lnTo>
                <a:lnTo>
                  <a:pt x="1860" y="84"/>
                </a:lnTo>
                <a:lnTo>
                  <a:pt x="1896" y="103"/>
                </a:lnTo>
                <a:lnTo>
                  <a:pt x="1931" y="124"/>
                </a:lnTo>
                <a:lnTo>
                  <a:pt x="1963" y="147"/>
                </a:lnTo>
                <a:lnTo>
                  <a:pt x="1996" y="171"/>
                </a:lnTo>
                <a:lnTo>
                  <a:pt x="2025" y="196"/>
                </a:lnTo>
                <a:lnTo>
                  <a:pt x="2055" y="223"/>
                </a:lnTo>
                <a:lnTo>
                  <a:pt x="2082" y="252"/>
                </a:lnTo>
                <a:lnTo>
                  <a:pt x="2108" y="283"/>
                </a:lnTo>
                <a:lnTo>
                  <a:pt x="2132" y="314"/>
                </a:lnTo>
                <a:lnTo>
                  <a:pt x="2155" y="347"/>
                </a:lnTo>
                <a:lnTo>
                  <a:pt x="2175" y="381"/>
                </a:lnTo>
                <a:lnTo>
                  <a:pt x="2213" y="454"/>
                </a:lnTo>
                <a:lnTo>
                  <a:pt x="2230" y="492"/>
                </a:lnTo>
                <a:lnTo>
                  <a:pt x="2245" y="531"/>
                </a:lnTo>
                <a:lnTo>
                  <a:pt x="2258" y="571"/>
                </a:lnTo>
                <a:lnTo>
                  <a:pt x="2269" y="613"/>
                </a:lnTo>
                <a:lnTo>
                  <a:pt x="2279" y="655"/>
                </a:lnTo>
                <a:lnTo>
                  <a:pt x="2286" y="697"/>
                </a:lnTo>
                <a:lnTo>
                  <a:pt x="2293" y="742"/>
                </a:lnTo>
                <a:lnTo>
                  <a:pt x="2297" y="787"/>
                </a:lnTo>
                <a:lnTo>
                  <a:pt x="2299" y="832"/>
                </a:lnTo>
                <a:lnTo>
                  <a:pt x="2300" y="878"/>
                </a:lnTo>
                <a:lnTo>
                  <a:pt x="2299" y="937"/>
                </a:lnTo>
                <a:lnTo>
                  <a:pt x="2294" y="994"/>
                </a:lnTo>
                <a:lnTo>
                  <a:pt x="2284" y="1052"/>
                </a:lnTo>
                <a:lnTo>
                  <a:pt x="2272" y="1109"/>
                </a:lnTo>
                <a:lnTo>
                  <a:pt x="2256" y="1165"/>
                </a:lnTo>
                <a:lnTo>
                  <a:pt x="2237" y="1219"/>
                </a:lnTo>
                <a:lnTo>
                  <a:pt x="2216" y="1274"/>
                </a:lnTo>
                <a:lnTo>
                  <a:pt x="2191" y="1328"/>
                </a:lnTo>
                <a:lnTo>
                  <a:pt x="2163" y="1380"/>
                </a:lnTo>
                <a:lnTo>
                  <a:pt x="2133" y="1432"/>
                </a:lnTo>
                <a:lnTo>
                  <a:pt x="2100" y="1482"/>
                </a:lnTo>
                <a:lnTo>
                  <a:pt x="2066" y="1530"/>
                </a:lnTo>
                <a:lnTo>
                  <a:pt x="2028" y="1577"/>
                </a:lnTo>
                <a:lnTo>
                  <a:pt x="1988" y="1623"/>
                </a:lnTo>
                <a:lnTo>
                  <a:pt x="1946" y="1667"/>
                </a:lnTo>
                <a:lnTo>
                  <a:pt x="1903" y="1709"/>
                </a:lnTo>
                <a:lnTo>
                  <a:pt x="1857" y="1749"/>
                </a:lnTo>
                <a:lnTo>
                  <a:pt x="1810" y="1787"/>
                </a:lnTo>
                <a:lnTo>
                  <a:pt x="1761" y="1824"/>
                </a:lnTo>
                <a:lnTo>
                  <a:pt x="1711" y="1858"/>
                </a:lnTo>
                <a:lnTo>
                  <a:pt x="1659" y="1891"/>
                </a:lnTo>
                <a:lnTo>
                  <a:pt x="1633" y="1906"/>
                </a:lnTo>
                <a:lnTo>
                  <a:pt x="1606" y="1920"/>
                </a:lnTo>
                <a:lnTo>
                  <a:pt x="1553" y="1948"/>
                </a:lnTo>
                <a:lnTo>
                  <a:pt x="1497" y="1972"/>
                </a:lnTo>
                <a:lnTo>
                  <a:pt x="1442" y="1995"/>
                </a:lnTo>
                <a:lnTo>
                  <a:pt x="1385" y="2015"/>
                </a:lnTo>
                <a:lnTo>
                  <a:pt x="1328" y="2032"/>
                </a:lnTo>
                <a:lnTo>
                  <a:pt x="1270" y="2046"/>
                </a:lnTo>
                <a:lnTo>
                  <a:pt x="1213" y="2057"/>
                </a:lnTo>
                <a:lnTo>
                  <a:pt x="1154" y="2065"/>
                </a:lnTo>
                <a:lnTo>
                  <a:pt x="1096" y="2070"/>
                </a:lnTo>
                <a:lnTo>
                  <a:pt x="1038" y="2071"/>
                </a:lnTo>
                <a:lnTo>
                  <a:pt x="1013" y="2070"/>
                </a:lnTo>
                <a:lnTo>
                  <a:pt x="988" y="2066"/>
                </a:lnTo>
                <a:lnTo>
                  <a:pt x="965" y="2058"/>
                </a:lnTo>
                <a:lnTo>
                  <a:pt x="942" y="2048"/>
                </a:lnTo>
                <a:lnTo>
                  <a:pt x="920" y="2036"/>
                </a:lnTo>
                <a:lnTo>
                  <a:pt x="901" y="2022"/>
                </a:lnTo>
                <a:lnTo>
                  <a:pt x="882" y="2005"/>
                </a:lnTo>
                <a:lnTo>
                  <a:pt x="865" y="1986"/>
                </a:lnTo>
                <a:lnTo>
                  <a:pt x="850" y="1966"/>
                </a:lnTo>
                <a:lnTo>
                  <a:pt x="836" y="1943"/>
                </a:lnTo>
                <a:lnTo>
                  <a:pt x="824" y="1919"/>
                </a:lnTo>
                <a:lnTo>
                  <a:pt x="814" y="1894"/>
                </a:lnTo>
                <a:lnTo>
                  <a:pt x="805" y="1867"/>
                </a:lnTo>
                <a:lnTo>
                  <a:pt x="800" y="1840"/>
                </a:lnTo>
                <a:lnTo>
                  <a:pt x="795" y="1810"/>
                </a:lnTo>
                <a:lnTo>
                  <a:pt x="794" y="1781"/>
                </a:lnTo>
                <a:lnTo>
                  <a:pt x="798" y="1729"/>
                </a:lnTo>
                <a:lnTo>
                  <a:pt x="803" y="1705"/>
                </a:lnTo>
                <a:lnTo>
                  <a:pt x="810" y="1683"/>
                </a:lnTo>
                <a:lnTo>
                  <a:pt x="818" y="1663"/>
                </a:lnTo>
                <a:lnTo>
                  <a:pt x="829" y="1646"/>
                </a:lnTo>
                <a:lnTo>
                  <a:pt x="843" y="1631"/>
                </a:lnTo>
                <a:lnTo>
                  <a:pt x="859" y="1621"/>
                </a:lnTo>
                <a:lnTo>
                  <a:pt x="911" y="1612"/>
                </a:lnTo>
                <a:lnTo>
                  <a:pt x="962" y="1602"/>
                </a:lnTo>
                <a:lnTo>
                  <a:pt x="1011" y="1590"/>
                </a:lnTo>
                <a:lnTo>
                  <a:pt x="1059" y="1577"/>
                </a:lnTo>
                <a:lnTo>
                  <a:pt x="1106" y="1562"/>
                </a:lnTo>
                <a:lnTo>
                  <a:pt x="1153" y="1546"/>
                </a:lnTo>
                <a:lnTo>
                  <a:pt x="1197" y="1528"/>
                </a:lnTo>
                <a:lnTo>
                  <a:pt x="1242" y="1509"/>
                </a:lnTo>
                <a:lnTo>
                  <a:pt x="1284" y="1488"/>
                </a:lnTo>
                <a:lnTo>
                  <a:pt x="1326" y="1466"/>
                </a:lnTo>
                <a:lnTo>
                  <a:pt x="1404" y="1420"/>
                </a:lnTo>
                <a:lnTo>
                  <a:pt x="1477" y="1369"/>
                </a:lnTo>
                <a:lnTo>
                  <a:pt x="1511" y="1341"/>
                </a:lnTo>
                <a:lnTo>
                  <a:pt x="1544" y="1314"/>
                </a:lnTo>
                <a:lnTo>
                  <a:pt x="1574" y="1286"/>
                </a:lnTo>
                <a:lnTo>
                  <a:pt x="1604" y="1256"/>
                </a:lnTo>
                <a:lnTo>
                  <a:pt x="1632" y="1226"/>
                </a:lnTo>
                <a:lnTo>
                  <a:pt x="1658" y="1196"/>
                </a:lnTo>
                <a:lnTo>
                  <a:pt x="1682" y="1164"/>
                </a:lnTo>
                <a:lnTo>
                  <a:pt x="1704" y="1132"/>
                </a:lnTo>
                <a:lnTo>
                  <a:pt x="1724" y="1101"/>
                </a:lnTo>
                <a:lnTo>
                  <a:pt x="1743" y="1068"/>
                </a:lnTo>
                <a:lnTo>
                  <a:pt x="1759" y="1036"/>
                </a:lnTo>
                <a:lnTo>
                  <a:pt x="1773" y="1003"/>
                </a:lnTo>
                <a:lnTo>
                  <a:pt x="1796" y="938"/>
                </a:lnTo>
                <a:lnTo>
                  <a:pt x="1804" y="905"/>
                </a:lnTo>
                <a:lnTo>
                  <a:pt x="1810" y="872"/>
                </a:lnTo>
                <a:lnTo>
                  <a:pt x="1814" y="840"/>
                </a:lnTo>
                <a:lnTo>
                  <a:pt x="1815" y="807"/>
                </a:lnTo>
                <a:lnTo>
                  <a:pt x="1812" y="768"/>
                </a:lnTo>
                <a:lnTo>
                  <a:pt x="1808" y="731"/>
                </a:lnTo>
                <a:lnTo>
                  <a:pt x="1799" y="696"/>
                </a:lnTo>
                <a:lnTo>
                  <a:pt x="1789" y="664"/>
                </a:lnTo>
                <a:lnTo>
                  <a:pt x="1774" y="633"/>
                </a:lnTo>
                <a:lnTo>
                  <a:pt x="1757" y="605"/>
                </a:lnTo>
                <a:lnTo>
                  <a:pt x="1737" y="579"/>
                </a:lnTo>
                <a:lnTo>
                  <a:pt x="1715" y="555"/>
                </a:lnTo>
                <a:lnTo>
                  <a:pt x="1689" y="534"/>
                </a:lnTo>
                <a:lnTo>
                  <a:pt x="1660" y="516"/>
                </a:lnTo>
                <a:lnTo>
                  <a:pt x="1630" y="499"/>
                </a:lnTo>
                <a:lnTo>
                  <a:pt x="1597" y="486"/>
                </a:lnTo>
                <a:lnTo>
                  <a:pt x="1579" y="481"/>
                </a:lnTo>
                <a:lnTo>
                  <a:pt x="1561" y="477"/>
                </a:lnTo>
                <a:lnTo>
                  <a:pt x="1523" y="469"/>
                </a:lnTo>
                <a:lnTo>
                  <a:pt x="1483" y="465"/>
                </a:lnTo>
                <a:lnTo>
                  <a:pt x="1441" y="462"/>
                </a:lnTo>
                <a:lnTo>
                  <a:pt x="1401" y="465"/>
                </a:lnTo>
                <a:lnTo>
                  <a:pt x="1359" y="470"/>
                </a:lnTo>
                <a:lnTo>
                  <a:pt x="1318" y="478"/>
                </a:lnTo>
                <a:lnTo>
                  <a:pt x="1277" y="490"/>
                </a:lnTo>
                <a:lnTo>
                  <a:pt x="1235" y="504"/>
                </a:lnTo>
                <a:lnTo>
                  <a:pt x="1195" y="522"/>
                </a:lnTo>
                <a:lnTo>
                  <a:pt x="1154" y="543"/>
                </a:lnTo>
                <a:lnTo>
                  <a:pt x="1114" y="566"/>
                </a:lnTo>
                <a:lnTo>
                  <a:pt x="1074" y="592"/>
                </a:lnTo>
                <a:lnTo>
                  <a:pt x="1034" y="621"/>
                </a:lnTo>
                <a:lnTo>
                  <a:pt x="995" y="653"/>
                </a:lnTo>
                <a:lnTo>
                  <a:pt x="958" y="686"/>
                </a:lnTo>
                <a:lnTo>
                  <a:pt x="921" y="722"/>
                </a:lnTo>
                <a:lnTo>
                  <a:pt x="884" y="762"/>
                </a:lnTo>
                <a:lnTo>
                  <a:pt x="850" y="803"/>
                </a:lnTo>
                <a:lnTo>
                  <a:pt x="816" y="845"/>
                </a:lnTo>
                <a:lnTo>
                  <a:pt x="752" y="939"/>
                </a:lnTo>
                <a:lnTo>
                  <a:pt x="723" y="988"/>
                </a:lnTo>
                <a:lnTo>
                  <a:pt x="694" y="1039"/>
                </a:lnTo>
                <a:lnTo>
                  <a:pt x="681" y="1065"/>
                </a:lnTo>
                <a:lnTo>
                  <a:pt x="668" y="1091"/>
                </a:lnTo>
                <a:lnTo>
                  <a:pt x="643" y="1146"/>
                </a:lnTo>
                <a:lnTo>
                  <a:pt x="620" y="1202"/>
                </a:lnTo>
                <a:lnTo>
                  <a:pt x="600" y="1260"/>
                </a:lnTo>
                <a:lnTo>
                  <a:pt x="580" y="1318"/>
                </a:lnTo>
                <a:lnTo>
                  <a:pt x="564" y="1378"/>
                </a:lnTo>
                <a:lnTo>
                  <a:pt x="550" y="1440"/>
                </a:lnTo>
                <a:lnTo>
                  <a:pt x="538" y="1502"/>
                </a:lnTo>
                <a:lnTo>
                  <a:pt x="528" y="1567"/>
                </a:lnTo>
                <a:lnTo>
                  <a:pt x="522" y="1631"/>
                </a:lnTo>
                <a:lnTo>
                  <a:pt x="517" y="1696"/>
                </a:lnTo>
                <a:lnTo>
                  <a:pt x="516" y="1763"/>
                </a:lnTo>
                <a:lnTo>
                  <a:pt x="517" y="1822"/>
                </a:lnTo>
                <a:lnTo>
                  <a:pt x="519" y="1881"/>
                </a:lnTo>
                <a:lnTo>
                  <a:pt x="525" y="1939"/>
                </a:lnTo>
                <a:lnTo>
                  <a:pt x="532" y="1994"/>
                </a:lnTo>
                <a:lnTo>
                  <a:pt x="541" y="2049"/>
                </a:lnTo>
                <a:lnTo>
                  <a:pt x="552" y="2103"/>
                </a:lnTo>
                <a:lnTo>
                  <a:pt x="564" y="2155"/>
                </a:lnTo>
                <a:lnTo>
                  <a:pt x="579" y="2206"/>
                </a:lnTo>
                <a:lnTo>
                  <a:pt x="595" y="2255"/>
                </a:lnTo>
                <a:lnTo>
                  <a:pt x="614" y="2303"/>
                </a:lnTo>
                <a:lnTo>
                  <a:pt x="633" y="2350"/>
                </a:lnTo>
                <a:lnTo>
                  <a:pt x="655" y="2394"/>
                </a:lnTo>
                <a:lnTo>
                  <a:pt x="678" y="2437"/>
                </a:lnTo>
                <a:lnTo>
                  <a:pt x="703" y="2478"/>
                </a:lnTo>
                <a:lnTo>
                  <a:pt x="730" y="2517"/>
                </a:lnTo>
                <a:lnTo>
                  <a:pt x="758" y="2555"/>
                </a:lnTo>
                <a:lnTo>
                  <a:pt x="788" y="2591"/>
                </a:lnTo>
                <a:lnTo>
                  <a:pt x="819" y="2625"/>
                </a:lnTo>
                <a:lnTo>
                  <a:pt x="852" y="2656"/>
                </a:lnTo>
                <a:lnTo>
                  <a:pt x="887" y="2687"/>
                </a:lnTo>
                <a:lnTo>
                  <a:pt x="923" y="2714"/>
                </a:lnTo>
                <a:lnTo>
                  <a:pt x="959" y="2740"/>
                </a:lnTo>
                <a:lnTo>
                  <a:pt x="999" y="2763"/>
                </a:lnTo>
                <a:lnTo>
                  <a:pt x="1039" y="2785"/>
                </a:lnTo>
                <a:lnTo>
                  <a:pt x="1080" y="2803"/>
                </a:lnTo>
                <a:lnTo>
                  <a:pt x="1122" y="2820"/>
                </a:lnTo>
                <a:lnTo>
                  <a:pt x="1167" y="2834"/>
                </a:lnTo>
                <a:lnTo>
                  <a:pt x="1213" y="2846"/>
                </a:lnTo>
                <a:lnTo>
                  <a:pt x="1258" y="2856"/>
                </a:lnTo>
                <a:lnTo>
                  <a:pt x="1306" y="2862"/>
                </a:lnTo>
                <a:lnTo>
                  <a:pt x="1355" y="2865"/>
                </a:lnTo>
                <a:lnTo>
                  <a:pt x="1405" y="2867"/>
                </a:lnTo>
                <a:lnTo>
                  <a:pt x="1454" y="2865"/>
                </a:lnTo>
                <a:lnTo>
                  <a:pt x="1503" y="2862"/>
                </a:lnTo>
                <a:lnTo>
                  <a:pt x="1551" y="2857"/>
                </a:lnTo>
                <a:lnTo>
                  <a:pt x="1597" y="2848"/>
                </a:lnTo>
                <a:lnTo>
                  <a:pt x="1644" y="2838"/>
                </a:lnTo>
                <a:lnTo>
                  <a:pt x="1690" y="2825"/>
                </a:lnTo>
                <a:lnTo>
                  <a:pt x="1734" y="2811"/>
                </a:lnTo>
                <a:lnTo>
                  <a:pt x="1779" y="2794"/>
                </a:lnTo>
                <a:lnTo>
                  <a:pt x="1821" y="2775"/>
                </a:lnTo>
                <a:lnTo>
                  <a:pt x="1865" y="2754"/>
                </a:lnTo>
                <a:lnTo>
                  <a:pt x="1906" y="2732"/>
                </a:lnTo>
                <a:lnTo>
                  <a:pt x="1947" y="2708"/>
                </a:lnTo>
                <a:lnTo>
                  <a:pt x="1987" y="2681"/>
                </a:lnTo>
                <a:lnTo>
                  <a:pt x="2028" y="2653"/>
                </a:lnTo>
                <a:lnTo>
                  <a:pt x="2066" y="2624"/>
                </a:lnTo>
                <a:lnTo>
                  <a:pt x="2105" y="2592"/>
                </a:lnTo>
                <a:lnTo>
                  <a:pt x="2142" y="2560"/>
                </a:lnTo>
                <a:lnTo>
                  <a:pt x="2179" y="2525"/>
                </a:lnTo>
                <a:lnTo>
                  <a:pt x="2249" y="2452"/>
                </a:lnTo>
                <a:lnTo>
                  <a:pt x="2283" y="2413"/>
                </a:lnTo>
                <a:lnTo>
                  <a:pt x="2317" y="2374"/>
                </a:lnTo>
                <a:lnTo>
                  <a:pt x="2381" y="2290"/>
                </a:lnTo>
                <a:lnTo>
                  <a:pt x="2443" y="2201"/>
                </a:lnTo>
                <a:lnTo>
                  <a:pt x="2501" y="2108"/>
                </a:lnTo>
                <a:lnTo>
                  <a:pt x="2556" y="2011"/>
                </a:lnTo>
                <a:lnTo>
                  <a:pt x="2608" y="1912"/>
                </a:lnTo>
                <a:lnTo>
                  <a:pt x="2656" y="1809"/>
                </a:lnTo>
                <a:lnTo>
                  <a:pt x="2701" y="1704"/>
                </a:lnTo>
                <a:lnTo>
                  <a:pt x="2743" y="1596"/>
                </a:lnTo>
                <a:lnTo>
                  <a:pt x="2781" y="1487"/>
                </a:lnTo>
                <a:lnTo>
                  <a:pt x="2815" y="1376"/>
                </a:lnTo>
                <a:lnTo>
                  <a:pt x="2847" y="1265"/>
                </a:lnTo>
                <a:lnTo>
                  <a:pt x="2875" y="1153"/>
                </a:lnTo>
                <a:lnTo>
                  <a:pt x="2888" y="1098"/>
                </a:lnTo>
                <a:lnTo>
                  <a:pt x="2899" y="1041"/>
                </a:lnTo>
                <a:lnTo>
                  <a:pt x="2921" y="930"/>
                </a:lnTo>
                <a:lnTo>
                  <a:pt x="2938" y="819"/>
                </a:lnTo>
                <a:lnTo>
                  <a:pt x="2951" y="709"/>
                </a:lnTo>
                <a:lnTo>
                  <a:pt x="2961" y="602"/>
                </a:lnTo>
                <a:lnTo>
                  <a:pt x="2967" y="496"/>
                </a:lnTo>
                <a:lnTo>
                  <a:pt x="2971" y="393"/>
                </a:lnTo>
                <a:lnTo>
                  <a:pt x="2970" y="293"/>
                </a:lnTo>
                <a:lnTo>
                  <a:pt x="2964" y="196"/>
                </a:lnTo>
                <a:lnTo>
                  <a:pt x="2969" y="185"/>
                </a:lnTo>
                <a:lnTo>
                  <a:pt x="2974" y="174"/>
                </a:lnTo>
                <a:lnTo>
                  <a:pt x="2989" y="153"/>
                </a:lnTo>
                <a:lnTo>
                  <a:pt x="3010" y="134"/>
                </a:lnTo>
                <a:lnTo>
                  <a:pt x="3035" y="118"/>
                </a:lnTo>
                <a:lnTo>
                  <a:pt x="3064" y="103"/>
                </a:lnTo>
                <a:lnTo>
                  <a:pt x="3097" y="93"/>
                </a:lnTo>
                <a:lnTo>
                  <a:pt x="3134" y="85"/>
                </a:lnTo>
                <a:lnTo>
                  <a:pt x="3172" y="83"/>
                </a:lnTo>
                <a:lnTo>
                  <a:pt x="3206" y="84"/>
                </a:lnTo>
                <a:lnTo>
                  <a:pt x="3238" y="88"/>
                </a:lnTo>
                <a:lnTo>
                  <a:pt x="3270" y="94"/>
                </a:lnTo>
                <a:lnTo>
                  <a:pt x="3299" y="102"/>
                </a:lnTo>
                <a:lnTo>
                  <a:pt x="3326" y="114"/>
                </a:lnTo>
                <a:lnTo>
                  <a:pt x="3352" y="130"/>
                </a:lnTo>
                <a:lnTo>
                  <a:pt x="3376" y="147"/>
                </a:lnTo>
                <a:lnTo>
                  <a:pt x="3398" y="169"/>
                </a:lnTo>
                <a:lnTo>
                  <a:pt x="3418" y="194"/>
                </a:lnTo>
                <a:lnTo>
                  <a:pt x="3436" y="222"/>
                </a:lnTo>
                <a:lnTo>
                  <a:pt x="3451" y="255"/>
                </a:lnTo>
                <a:lnTo>
                  <a:pt x="3463" y="291"/>
                </a:lnTo>
                <a:lnTo>
                  <a:pt x="3468" y="311"/>
                </a:lnTo>
                <a:lnTo>
                  <a:pt x="3473" y="332"/>
                </a:lnTo>
                <a:lnTo>
                  <a:pt x="3480" y="376"/>
                </a:lnTo>
                <a:lnTo>
                  <a:pt x="3485" y="427"/>
                </a:lnTo>
                <a:lnTo>
                  <a:pt x="3487" y="481"/>
                </a:lnTo>
                <a:lnTo>
                  <a:pt x="3481" y="626"/>
                </a:lnTo>
                <a:lnTo>
                  <a:pt x="3473" y="769"/>
                </a:lnTo>
                <a:lnTo>
                  <a:pt x="3459" y="912"/>
                </a:lnTo>
                <a:lnTo>
                  <a:pt x="3439" y="1052"/>
                </a:lnTo>
                <a:lnTo>
                  <a:pt x="3428" y="1122"/>
                </a:lnTo>
                <a:lnTo>
                  <a:pt x="3416" y="1190"/>
                </a:lnTo>
                <a:lnTo>
                  <a:pt x="3402" y="1259"/>
                </a:lnTo>
                <a:lnTo>
                  <a:pt x="3388" y="1327"/>
                </a:lnTo>
                <a:lnTo>
                  <a:pt x="3373" y="1395"/>
                </a:lnTo>
                <a:lnTo>
                  <a:pt x="3355" y="1462"/>
                </a:lnTo>
                <a:lnTo>
                  <a:pt x="3319" y="1594"/>
                </a:lnTo>
                <a:lnTo>
                  <a:pt x="3278" y="1722"/>
                </a:lnTo>
                <a:lnTo>
                  <a:pt x="3234" y="1848"/>
                </a:lnTo>
                <a:lnTo>
                  <a:pt x="3210" y="1910"/>
                </a:lnTo>
                <a:lnTo>
                  <a:pt x="3185" y="1971"/>
                </a:lnTo>
                <a:lnTo>
                  <a:pt x="3133" y="2091"/>
                </a:lnTo>
                <a:lnTo>
                  <a:pt x="3076" y="2207"/>
                </a:lnTo>
                <a:lnTo>
                  <a:pt x="3046" y="2264"/>
                </a:lnTo>
                <a:lnTo>
                  <a:pt x="3015" y="2319"/>
                </a:lnTo>
                <a:lnTo>
                  <a:pt x="2951" y="2427"/>
                </a:lnTo>
                <a:lnTo>
                  <a:pt x="2884" y="2531"/>
                </a:lnTo>
                <a:lnTo>
                  <a:pt x="2813" y="2630"/>
                </a:lnTo>
                <a:lnTo>
                  <a:pt x="2776" y="2678"/>
                </a:lnTo>
                <a:lnTo>
                  <a:pt x="2738" y="2724"/>
                </a:lnTo>
                <a:lnTo>
                  <a:pt x="2700" y="2770"/>
                </a:lnTo>
                <a:lnTo>
                  <a:pt x="2661" y="2814"/>
                </a:lnTo>
                <a:lnTo>
                  <a:pt x="2621" y="2857"/>
                </a:lnTo>
                <a:lnTo>
                  <a:pt x="2580" y="2898"/>
                </a:lnTo>
                <a:lnTo>
                  <a:pt x="2538" y="2938"/>
                </a:lnTo>
                <a:lnTo>
                  <a:pt x="2496" y="2976"/>
                </a:lnTo>
                <a:lnTo>
                  <a:pt x="2452" y="3013"/>
                </a:lnTo>
                <a:lnTo>
                  <a:pt x="2408" y="3049"/>
                </a:lnTo>
                <a:lnTo>
                  <a:pt x="2318" y="3117"/>
                </a:lnTo>
                <a:lnTo>
                  <a:pt x="2272" y="3148"/>
                </a:lnTo>
                <a:lnTo>
                  <a:pt x="2225" y="3178"/>
                </a:lnTo>
                <a:lnTo>
                  <a:pt x="2178" y="3206"/>
                </a:lnTo>
                <a:lnTo>
                  <a:pt x="2129" y="3233"/>
                </a:lnTo>
                <a:lnTo>
                  <a:pt x="2080" y="3257"/>
                </a:lnTo>
                <a:lnTo>
                  <a:pt x="2031" y="3281"/>
                </a:lnTo>
                <a:lnTo>
                  <a:pt x="1980" y="3303"/>
                </a:lnTo>
                <a:lnTo>
                  <a:pt x="1930" y="3322"/>
                </a:lnTo>
                <a:lnTo>
                  <a:pt x="1878" y="3340"/>
                </a:lnTo>
                <a:lnTo>
                  <a:pt x="1825" y="3356"/>
                </a:lnTo>
                <a:lnTo>
                  <a:pt x="1773" y="3371"/>
                </a:lnTo>
                <a:lnTo>
                  <a:pt x="1720" y="3383"/>
                </a:lnTo>
                <a:lnTo>
                  <a:pt x="1666" y="3394"/>
                </a:lnTo>
                <a:lnTo>
                  <a:pt x="1611" y="3403"/>
                </a:lnTo>
                <a:lnTo>
                  <a:pt x="1556" y="3410"/>
                </a:lnTo>
                <a:lnTo>
                  <a:pt x="1501" y="3415"/>
                </a:lnTo>
                <a:lnTo>
                  <a:pt x="1444" y="3418"/>
                </a:lnTo>
                <a:lnTo>
                  <a:pt x="1388" y="34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4995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cess" preserve="1" userDrawn="1">
  <p:cSld name="slide_4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6763" y="1916112"/>
            <a:ext cx="10658475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F34E1-4A03-4647-AD6A-109BB455893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66762" y="2564904"/>
            <a:ext cx="3385021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wrap="square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4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#1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439816" y="2566964"/>
            <a:ext cx="3312368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wrap="square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4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#2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040216" y="2575276"/>
            <a:ext cx="3385022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wrap="square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4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#3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766763" y="3429000"/>
            <a:ext cx="3384550" cy="2808287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800"/>
            </a:lvl1pPr>
            <a:lvl2pPr marL="266700" indent="-266700">
              <a:spcBef>
                <a:spcPts val="200"/>
              </a:spcBef>
              <a:buFont typeface="Arial" panose="020B0604020202020204" pitchFamily="34" charset="0"/>
              <a:buChar char="•"/>
              <a:defRPr sz="1800"/>
            </a:lvl2pPr>
            <a:lvl3pPr marL="539750" indent="-273050">
              <a:spcBef>
                <a:spcPts val="200"/>
              </a:spcBef>
              <a:defRPr sz="1600"/>
            </a:lvl3pPr>
            <a:lvl4pPr marL="806450" indent="-266700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4pPr>
            <a:lvl5pPr marL="1071563" indent="-265113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4439816" y="3429000"/>
            <a:ext cx="3312368" cy="2808287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800"/>
            </a:lvl1pPr>
            <a:lvl2pPr marL="266700" indent="-266700">
              <a:spcBef>
                <a:spcPts val="200"/>
              </a:spcBef>
              <a:buFont typeface="Arial" panose="020B0604020202020204" pitchFamily="34" charset="0"/>
              <a:buChar char="•"/>
              <a:defRPr sz="1800"/>
            </a:lvl2pPr>
            <a:lvl3pPr marL="539750" indent="-273050">
              <a:spcBef>
                <a:spcPts val="200"/>
              </a:spcBef>
              <a:defRPr sz="1600"/>
            </a:lvl3pPr>
            <a:lvl4pPr marL="806450" indent="-266700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4pPr>
            <a:lvl5pPr marL="1071563" indent="-265113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8040216" y="3429000"/>
            <a:ext cx="3385022" cy="2808287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800"/>
            </a:lvl1pPr>
            <a:lvl2pPr marL="266700" indent="-266700">
              <a:spcBef>
                <a:spcPts val="200"/>
              </a:spcBef>
              <a:buFont typeface="Arial" panose="020B0604020202020204" pitchFamily="34" charset="0"/>
              <a:buChar char="•"/>
              <a:defRPr sz="1800"/>
            </a:lvl2pPr>
            <a:lvl3pPr marL="539750" indent="-273050">
              <a:spcBef>
                <a:spcPts val="200"/>
              </a:spcBef>
              <a:defRPr sz="1600"/>
            </a:lvl3pPr>
            <a:lvl4pPr marL="806450" indent="-266700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4pPr>
            <a:lvl5pPr marL="1071563" indent="-265113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5161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cess 2nd" preserve="1" userDrawn="1">
  <p:cSld name="slide_4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F34E1-4A03-4647-AD6A-109BB455893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8832304" y="3429000"/>
            <a:ext cx="2592934" cy="2808288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800"/>
            </a:lvl1pPr>
            <a:lvl2pPr marL="266700" indent="-266700">
              <a:spcBef>
                <a:spcPts val="200"/>
              </a:spcBef>
              <a:buFont typeface="Arial" panose="020B0604020202020204" pitchFamily="34" charset="0"/>
              <a:buChar char="•"/>
              <a:defRPr sz="1800"/>
            </a:lvl2pPr>
            <a:lvl3pPr marL="539750" indent="-273050">
              <a:spcBef>
                <a:spcPts val="200"/>
              </a:spcBef>
              <a:defRPr sz="1600"/>
            </a:lvl3pPr>
            <a:lvl4pPr marL="806450" indent="-266700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4pPr>
            <a:lvl5pPr marL="1071563" indent="-265113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766763" y="1916112"/>
            <a:ext cx="10658475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2564904"/>
            <a:ext cx="2593294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wrap="square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4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#1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3503712" y="2566964"/>
            <a:ext cx="2520280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wrap="square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4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#2</a:t>
            </a:r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6168008" y="2575276"/>
            <a:ext cx="2520280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wrap="square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4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#3</a:t>
            </a: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766763" y="3429000"/>
            <a:ext cx="2592933" cy="2808287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800"/>
            </a:lvl1pPr>
            <a:lvl2pPr marL="266700" indent="-266700">
              <a:spcBef>
                <a:spcPts val="200"/>
              </a:spcBef>
              <a:buFont typeface="Arial" panose="020B0604020202020204" pitchFamily="34" charset="0"/>
              <a:buChar char="•"/>
              <a:defRPr sz="1800"/>
            </a:lvl2pPr>
            <a:lvl3pPr marL="539750" indent="-273050">
              <a:spcBef>
                <a:spcPts val="200"/>
              </a:spcBef>
              <a:defRPr sz="1600"/>
            </a:lvl3pPr>
            <a:lvl4pPr marL="806450" indent="-266700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4pPr>
            <a:lvl5pPr marL="1071563" indent="-265113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3503712" y="3429000"/>
            <a:ext cx="2520280" cy="2808287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800"/>
            </a:lvl1pPr>
            <a:lvl2pPr marL="266700" indent="-266700">
              <a:spcBef>
                <a:spcPts val="200"/>
              </a:spcBef>
              <a:buFont typeface="Arial" panose="020B0604020202020204" pitchFamily="34" charset="0"/>
              <a:buChar char="•"/>
              <a:defRPr sz="1800"/>
            </a:lvl2pPr>
            <a:lvl3pPr marL="539750" indent="-273050">
              <a:spcBef>
                <a:spcPts val="200"/>
              </a:spcBef>
              <a:defRPr sz="1600"/>
            </a:lvl3pPr>
            <a:lvl4pPr marL="806450" indent="-266700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4pPr>
            <a:lvl5pPr marL="1071563" indent="-265113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6168008" y="3429000"/>
            <a:ext cx="2520280" cy="2808287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800"/>
            </a:lvl1pPr>
            <a:lvl2pPr marL="266700" indent="-266700">
              <a:spcBef>
                <a:spcPts val="200"/>
              </a:spcBef>
              <a:buFont typeface="Arial" panose="020B0604020202020204" pitchFamily="34" charset="0"/>
              <a:buChar char="•"/>
              <a:defRPr sz="1800"/>
            </a:lvl2pPr>
            <a:lvl3pPr marL="539750" indent="-273050">
              <a:spcBef>
                <a:spcPts val="200"/>
              </a:spcBef>
              <a:defRPr sz="1600"/>
            </a:lvl3pPr>
            <a:lvl4pPr marL="806450" indent="-266700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4pPr>
            <a:lvl5pPr marL="1071563" indent="-265113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8832304" y="2565400"/>
            <a:ext cx="2592934" cy="615553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 b="1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/>
            </a:lvl2pPr>
            <a:lvl3pPr marL="0" indent="0">
              <a:spcBef>
                <a:spcPts val="0"/>
              </a:spcBef>
              <a:buFontTx/>
              <a:buNone/>
              <a:defRPr/>
            </a:lvl3pPr>
            <a:lvl4pPr marL="0" indent="0">
              <a:spcBef>
                <a:spcPts val="0"/>
              </a:spcBef>
              <a:buFontTx/>
              <a:buNone/>
              <a:defRPr/>
            </a:lvl4pPr>
            <a:lvl5pPr marL="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en-US"/>
              <a:t>#4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05159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rgets" preserve="1" userDrawn="1">
  <p:cSld name="slide_4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/>
          <p:cNvSpPr>
            <a:spLocks noEditPoints="1"/>
          </p:cNvSpPr>
          <p:nvPr userDrawn="1"/>
        </p:nvSpPr>
        <p:spPr bwMode="auto">
          <a:xfrm>
            <a:off x="7608168" y="4587521"/>
            <a:ext cx="4583832" cy="2270479"/>
          </a:xfrm>
          <a:custGeom>
            <a:avLst/>
            <a:gdLst>
              <a:gd name="T0" fmla="*/ 3697 w 4811"/>
              <a:gd name="T1" fmla="*/ 2229 h 2383"/>
              <a:gd name="T2" fmla="*/ 4135 w 4811"/>
              <a:gd name="T3" fmla="*/ 2292 h 2383"/>
              <a:gd name="T4" fmla="*/ 4664 w 4811"/>
              <a:gd name="T5" fmla="*/ 925 h 2383"/>
              <a:gd name="T6" fmla="*/ 4243 w 4811"/>
              <a:gd name="T7" fmla="*/ 833 h 2383"/>
              <a:gd name="T8" fmla="*/ 3838 w 4811"/>
              <a:gd name="T9" fmla="*/ 694 h 2383"/>
              <a:gd name="T10" fmla="*/ 3455 w 4811"/>
              <a:gd name="T11" fmla="*/ 502 h 2383"/>
              <a:gd name="T12" fmla="*/ 3177 w 4811"/>
              <a:gd name="T13" fmla="*/ 365 h 2383"/>
              <a:gd name="T14" fmla="*/ 3047 w 4811"/>
              <a:gd name="T15" fmla="*/ 284 h 2383"/>
              <a:gd name="T16" fmla="*/ 444 w 4811"/>
              <a:gd name="T17" fmla="*/ 1728 h 2383"/>
              <a:gd name="T18" fmla="*/ 569 w 4811"/>
              <a:gd name="T19" fmla="*/ 1649 h 2383"/>
              <a:gd name="T20" fmla="*/ 2935 w 4811"/>
              <a:gd name="T21" fmla="*/ 245 h 2383"/>
              <a:gd name="T22" fmla="*/ 1360 w 4811"/>
              <a:gd name="T23" fmla="*/ 1024 h 2383"/>
              <a:gd name="T24" fmla="*/ 2672 w 4811"/>
              <a:gd name="T25" fmla="*/ 135 h 2383"/>
              <a:gd name="T26" fmla="*/ 1444 w 4811"/>
              <a:gd name="T27" fmla="*/ 614 h 2383"/>
              <a:gd name="T28" fmla="*/ 1457 w 4811"/>
              <a:gd name="T29" fmla="*/ 469 h 2383"/>
              <a:gd name="T30" fmla="*/ 1962 w 4811"/>
              <a:gd name="T31" fmla="*/ 44 h 2383"/>
              <a:gd name="T32" fmla="*/ 1697 w 4811"/>
              <a:gd name="T33" fmla="*/ 121 h 2383"/>
              <a:gd name="T34" fmla="*/ 4512 w 4811"/>
              <a:gd name="T35" fmla="*/ 1220 h 2383"/>
              <a:gd name="T36" fmla="*/ 4105 w 4811"/>
              <a:gd name="T37" fmla="*/ 1077 h 2383"/>
              <a:gd name="T38" fmla="*/ 3709 w 4811"/>
              <a:gd name="T39" fmla="*/ 878 h 2383"/>
              <a:gd name="T40" fmla="*/ 3339 w 4811"/>
              <a:gd name="T41" fmla="*/ 673 h 2383"/>
              <a:gd name="T42" fmla="*/ 733 w 4811"/>
              <a:gd name="T43" fmla="*/ 2077 h 2383"/>
              <a:gd name="T44" fmla="*/ 835 w 4811"/>
              <a:gd name="T45" fmla="*/ 1990 h 2383"/>
              <a:gd name="T46" fmla="*/ 1324 w 4811"/>
              <a:gd name="T47" fmla="*/ 1694 h 2383"/>
              <a:gd name="T48" fmla="*/ 1522 w 4811"/>
              <a:gd name="T49" fmla="*/ 1503 h 2383"/>
              <a:gd name="T50" fmla="*/ 1660 w 4811"/>
              <a:gd name="T51" fmla="*/ 1239 h 2383"/>
              <a:gd name="T52" fmla="*/ 2781 w 4811"/>
              <a:gd name="T53" fmla="*/ 439 h 2383"/>
              <a:gd name="T54" fmla="*/ 1718 w 4811"/>
              <a:gd name="T55" fmla="*/ 811 h 2383"/>
              <a:gd name="T56" fmla="*/ 2218 w 4811"/>
              <a:gd name="T57" fmla="*/ 385 h 2383"/>
              <a:gd name="T58" fmla="*/ 1945 w 4811"/>
              <a:gd name="T59" fmla="*/ 469 h 2383"/>
              <a:gd name="T60" fmla="*/ 4617 w 4811"/>
              <a:gd name="T61" fmla="*/ 1533 h 2383"/>
              <a:gd name="T62" fmla="*/ 4100 w 4811"/>
              <a:gd name="T63" fmla="*/ 1288 h 2383"/>
              <a:gd name="T64" fmla="*/ 3735 w 4811"/>
              <a:gd name="T65" fmla="*/ 1088 h 2383"/>
              <a:gd name="T66" fmla="*/ 1488 w 4811"/>
              <a:gd name="T67" fmla="*/ 2147 h 2383"/>
              <a:gd name="T68" fmla="*/ 1615 w 4811"/>
              <a:gd name="T69" fmla="*/ 2081 h 2383"/>
              <a:gd name="T70" fmla="*/ 1818 w 4811"/>
              <a:gd name="T71" fmla="*/ 1874 h 2383"/>
              <a:gd name="T72" fmla="*/ 1949 w 4811"/>
              <a:gd name="T73" fmla="*/ 1628 h 2383"/>
              <a:gd name="T74" fmla="*/ 3075 w 4811"/>
              <a:gd name="T75" fmla="*/ 825 h 2383"/>
              <a:gd name="T76" fmla="*/ 2789 w 4811"/>
              <a:gd name="T77" fmla="*/ 776 h 2383"/>
              <a:gd name="T78" fmla="*/ 2035 w 4811"/>
              <a:gd name="T79" fmla="*/ 1065 h 2383"/>
              <a:gd name="T80" fmla="*/ 2114 w 4811"/>
              <a:gd name="T81" fmla="*/ 937 h 2383"/>
              <a:gd name="T82" fmla="*/ 4637 w 4811"/>
              <a:gd name="T83" fmla="*/ 1805 h 2383"/>
              <a:gd name="T84" fmla="*/ 4260 w 4811"/>
              <a:gd name="T85" fmla="*/ 1606 h 2383"/>
              <a:gd name="T86" fmla="*/ 3874 w 4811"/>
              <a:gd name="T87" fmla="*/ 1413 h 2383"/>
              <a:gd name="T88" fmla="*/ 2085 w 4811"/>
              <a:gd name="T89" fmla="*/ 2254 h 2383"/>
              <a:gd name="T90" fmla="*/ 2215 w 4811"/>
              <a:gd name="T91" fmla="*/ 2003 h 2383"/>
              <a:gd name="T92" fmla="*/ 3342 w 4811"/>
              <a:gd name="T93" fmla="*/ 1195 h 2383"/>
              <a:gd name="T94" fmla="*/ 3056 w 4811"/>
              <a:gd name="T95" fmla="*/ 1147 h 2383"/>
              <a:gd name="T96" fmla="*/ 2302 w 4811"/>
              <a:gd name="T97" fmla="*/ 1435 h 2383"/>
              <a:gd name="T98" fmla="*/ 2381 w 4811"/>
              <a:gd name="T99" fmla="*/ 1308 h 2383"/>
              <a:gd name="T100" fmla="*/ 4653 w 4811"/>
              <a:gd name="T101" fmla="*/ 2048 h 2383"/>
              <a:gd name="T102" fmla="*/ 4272 w 4811"/>
              <a:gd name="T103" fmla="*/ 1845 h 2383"/>
              <a:gd name="T104" fmla="*/ 3878 w 4811"/>
              <a:gd name="T105" fmla="*/ 1665 h 2383"/>
              <a:gd name="T106" fmla="*/ 2513 w 4811"/>
              <a:gd name="T107" fmla="*/ 2232 h 2383"/>
              <a:gd name="T108" fmla="*/ 3462 w 4811"/>
              <a:gd name="T109" fmla="*/ 1541 h 2383"/>
              <a:gd name="T110" fmla="*/ 3181 w 4811"/>
              <a:gd name="T111" fmla="*/ 1508 h 2383"/>
              <a:gd name="T112" fmla="*/ 2893 w 4811"/>
              <a:gd name="T113" fmla="*/ 1559 h 2383"/>
              <a:gd name="T114" fmla="*/ 4793 w 4811"/>
              <a:gd name="T115" fmla="*/ 2346 h 2383"/>
              <a:gd name="T116" fmla="*/ 4402 w 4811"/>
              <a:gd name="T117" fmla="*/ 2133 h 2383"/>
              <a:gd name="T118" fmla="*/ 4008 w 4811"/>
              <a:gd name="T119" fmla="*/ 1967 h 2383"/>
              <a:gd name="T120" fmla="*/ 3592 w 4811"/>
              <a:gd name="T121" fmla="*/ 1871 h 2383"/>
              <a:gd name="T122" fmla="*/ 2838 w 4811"/>
              <a:gd name="T123" fmla="*/ 2167 h 2383"/>
              <a:gd name="T124" fmla="*/ 2915 w 4811"/>
              <a:gd name="T125" fmla="*/ 2051 h 2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11" h="2383">
                <a:moveTo>
                  <a:pt x="3277" y="2328"/>
                </a:moveTo>
                <a:lnTo>
                  <a:pt x="3280" y="2327"/>
                </a:lnTo>
                <a:lnTo>
                  <a:pt x="3283" y="2326"/>
                </a:lnTo>
                <a:lnTo>
                  <a:pt x="3286" y="2326"/>
                </a:lnTo>
                <a:lnTo>
                  <a:pt x="3289" y="2327"/>
                </a:lnTo>
                <a:lnTo>
                  <a:pt x="3292" y="2328"/>
                </a:lnTo>
                <a:lnTo>
                  <a:pt x="3294" y="2330"/>
                </a:lnTo>
                <a:lnTo>
                  <a:pt x="3295" y="2331"/>
                </a:lnTo>
                <a:lnTo>
                  <a:pt x="3296" y="2332"/>
                </a:lnTo>
                <a:lnTo>
                  <a:pt x="3298" y="2334"/>
                </a:lnTo>
                <a:lnTo>
                  <a:pt x="3299" y="2340"/>
                </a:lnTo>
                <a:lnTo>
                  <a:pt x="3299" y="2343"/>
                </a:lnTo>
                <a:lnTo>
                  <a:pt x="3299" y="2345"/>
                </a:lnTo>
                <a:lnTo>
                  <a:pt x="3298" y="2348"/>
                </a:lnTo>
                <a:lnTo>
                  <a:pt x="3296" y="2350"/>
                </a:lnTo>
                <a:lnTo>
                  <a:pt x="3294" y="2352"/>
                </a:lnTo>
                <a:lnTo>
                  <a:pt x="3292" y="2354"/>
                </a:lnTo>
                <a:lnTo>
                  <a:pt x="3289" y="2355"/>
                </a:lnTo>
                <a:lnTo>
                  <a:pt x="3286" y="2356"/>
                </a:lnTo>
                <a:lnTo>
                  <a:pt x="3282" y="2356"/>
                </a:lnTo>
                <a:lnTo>
                  <a:pt x="3280" y="2355"/>
                </a:lnTo>
                <a:lnTo>
                  <a:pt x="3277" y="2354"/>
                </a:lnTo>
                <a:lnTo>
                  <a:pt x="3274" y="2352"/>
                </a:lnTo>
                <a:lnTo>
                  <a:pt x="3273" y="2351"/>
                </a:lnTo>
                <a:lnTo>
                  <a:pt x="3272" y="2350"/>
                </a:lnTo>
                <a:lnTo>
                  <a:pt x="3271" y="2347"/>
                </a:lnTo>
                <a:lnTo>
                  <a:pt x="3269" y="2342"/>
                </a:lnTo>
                <a:lnTo>
                  <a:pt x="3269" y="2339"/>
                </a:lnTo>
                <a:lnTo>
                  <a:pt x="3270" y="2336"/>
                </a:lnTo>
                <a:lnTo>
                  <a:pt x="3271" y="2334"/>
                </a:lnTo>
                <a:lnTo>
                  <a:pt x="3273" y="2332"/>
                </a:lnTo>
                <a:lnTo>
                  <a:pt x="3274" y="2329"/>
                </a:lnTo>
                <a:lnTo>
                  <a:pt x="3277" y="2328"/>
                </a:lnTo>
                <a:close/>
                <a:moveTo>
                  <a:pt x="3411" y="2276"/>
                </a:moveTo>
                <a:lnTo>
                  <a:pt x="3414" y="2274"/>
                </a:lnTo>
                <a:lnTo>
                  <a:pt x="3417" y="2274"/>
                </a:lnTo>
                <a:lnTo>
                  <a:pt x="3420" y="2274"/>
                </a:lnTo>
                <a:lnTo>
                  <a:pt x="3423" y="2274"/>
                </a:lnTo>
                <a:lnTo>
                  <a:pt x="3425" y="2275"/>
                </a:lnTo>
                <a:lnTo>
                  <a:pt x="3428" y="2277"/>
                </a:lnTo>
                <a:lnTo>
                  <a:pt x="3430" y="2279"/>
                </a:lnTo>
                <a:lnTo>
                  <a:pt x="3431" y="2281"/>
                </a:lnTo>
                <a:lnTo>
                  <a:pt x="3433" y="2284"/>
                </a:lnTo>
                <a:lnTo>
                  <a:pt x="3433" y="2289"/>
                </a:lnTo>
                <a:lnTo>
                  <a:pt x="3433" y="2292"/>
                </a:lnTo>
                <a:lnTo>
                  <a:pt x="3432" y="2294"/>
                </a:lnTo>
                <a:lnTo>
                  <a:pt x="3431" y="2296"/>
                </a:lnTo>
                <a:lnTo>
                  <a:pt x="3430" y="2298"/>
                </a:lnTo>
                <a:lnTo>
                  <a:pt x="3428" y="2300"/>
                </a:lnTo>
                <a:lnTo>
                  <a:pt x="3426" y="2302"/>
                </a:lnTo>
                <a:lnTo>
                  <a:pt x="3423" y="2303"/>
                </a:lnTo>
                <a:lnTo>
                  <a:pt x="3420" y="2304"/>
                </a:lnTo>
                <a:lnTo>
                  <a:pt x="3417" y="2304"/>
                </a:lnTo>
                <a:lnTo>
                  <a:pt x="3414" y="2303"/>
                </a:lnTo>
                <a:lnTo>
                  <a:pt x="3411" y="2302"/>
                </a:lnTo>
                <a:lnTo>
                  <a:pt x="3409" y="2300"/>
                </a:lnTo>
                <a:lnTo>
                  <a:pt x="3407" y="2298"/>
                </a:lnTo>
                <a:lnTo>
                  <a:pt x="3405" y="2296"/>
                </a:lnTo>
                <a:lnTo>
                  <a:pt x="3404" y="2293"/>
                </a:lnTo>
                <a:lnTo>
                  <a:pt x="3403" y="2288"/>
                </a:lnTo>
                <a:lnTo>
                  <a:pt x="3404" y="2285"/>
                </a:lnTo>
                <a:lnTo>
                  <a:pt x="3404" y="2283"/>
                </a:lnTo>
                <a:lnTo>
                  <a:pt x="3405" y="2281"/>
                </a:lnTo>
                <a:lnTo>
                  <a:pt x="3407" y="2279"/>
                </a:lnTo>
                <a:lnTo>
                  <a:pt x="3409" y="2277"/>
                </a:lnTo>
                <a:lnTo>
                  <a:pt x="3411" y="2276"/>
                </a:lnTo>
                <a:close/>
                <a:moveTo>
                  <a:pt x="3551" y="2243"/>
                </a:moveTo>
                <a:lnTo>
                  <a:pt x="3553" y="2242"/>
                </a:lnTo>
                <a:lnTo>
                  <a:pt x="3556" y="2241"/>
                </a:lnTo>
                <a:lnTo>
                  <a:pt x="3559" y="2241"/>
                </a:lnTo>
                <a:lnTo>
                  <a:pt x="3562" y="2241"/>
                </a:lnTo>
                <a:lnTo>
                  <a:pt x="3565" y="2242"/>
                </a:lnTo>
                <a:lnTo>
                  <a:pt x="3567" y="2244"/>
                </a:lnTo>
                <a:lnTo>
                  <a:pt x="3569" y="2246"/>
                </a:lnTo>
                <a:lnTo>
                  <a:pt x="3571" y="2248"/>
                </a:lnTo>
                <a:lnTo>
                  <a:pt x="3572" y="2251"/>
                </a:lnTo>
                <a:lnTo>
                  <a:pt x="3573" y="2254"/>
                </a:lnTo>
                <a:lnTo>
                  <a:pt x="3573" y="2258"/>
                </a:lnTo>
                <a:lnTo>
                  <a:pt x="3572" y="2263"/>
                </a:lnTo>
                <a:lnTo>
                  <a:pt x="3569" y="2266"/>
                </a:lnTo>
                <a:lnTo>
                  <a:pt x="3566" y="2269"/>
                </a:lnTo>
                <a:lnTo>
                  <a:pt x="3563" y="2270"/>
                </a:lnTo>
                <a:lnTo>
                  <a:pt x="3561" y="2271"/>
                </a:lnTo>
                <a:lnTo>
                  <a:pt x="3557" y="2271"/>
                </a:lnTo>
                <a:lnTo>
                  <a:pt x="3555" y="2271"/>
                </a:lnTo>
                <a:lnTo>
                  <a:pt x="3552" y="2270"/>
                </a:lnTo>
                <a:lnTo>
                  <a:pt x="3549" y="2268"/>
                </a:lnTo>
                <a:lnTo>
                  <a:pt x="3547" y="2266"/>
                </a:lnTo>
                <a:lnTo>
                  <a:pt x="3545" y="2264"/>
                </a:lnTo>
                <a:lnTo>
                  <a:pt x="3544" y="2261"/>
                </a:lnTo>
                <a:lnTo>
                  <a:pt x="3543" y="2258"/>
                </a:lnTo>
                <a:lnTo>
                  <a:pt x="3543" y="2254"/>
                </a:lnTo>
                <a:lnTo>
                  <a:pt x="3545" y="2249"/>
                </a:lnTo>
                <a:lnTo>
                  <a:pt x="3547" y="2246"/>
                </a:lnTo>
                <a:lnTo>
                  <a:pt x="3551" y="2243"/>
                </a:lnTo>
                <a:close/>
                <a:moveTo>
                  <a:pt x="3694" y="2230"/>
                </a:moveTo>
                <a:lnTo>
                  <a:pt x="3697" y="2229"/>
                </a:lnTo>
                <a:lnTo>
                  <a:pt x="3701" y="2228"/>
                </a:lnTo>
                <a:lnTo>
                  <a:pt x="3704" y="2229"/>
                </a:lnTo>
                <a:lnTo>
                  <a:pt x="3707" y="2229"/>
                </a:lnTo>
                <a:lnTo>
                  <a:pt x="3710" y="2231"/>
                </a:lnTo>
                <a:lnTo>
                  <a:pt x="3712" y="2233"/>
                </a:lnTo>
                <a:lnTo>
                  <a:pt x="3714" y="2235"/>
                </a:lnTo>
                <a:lnTo>
                  <a:pt x="3715" y="2237"/>
                </a:lnTo>
                <a:lnTo>
                  <a:pt x="3716" y="2240"/>
                </a:lnTo>
                <a:lnTo>
                  <a:pt x="3716" y="2243"/>
                </a:lnTo>
                <a:lnTo>
                  <a:pt x="3716" y="2247"/>
                </a:lnTo>
                <a:lnTo>
                  <a:pt x="3714" y="2251"/>
                </a:lnTo>
                <a:lnTo>
                  <a:pt x="3712" y="2254"/>
                </a:lnTo>
                <a:lnTo>
                  <a:pt x="3709" y="2256"/>
                </a:lnTo>
                <a:lnTo>
                  <a:pt x="3705" y="2258"/>
                </a:lnTo>
                <a:lnTo>
                  <a:pt x="3702" y="2258"/>
                </a:lnTo>
                <a:lnTo>
                  <a:pt x="3699" y="2258"/>
                </a:lnTo>
                <a:lnTo>
                  <a:pt x="3696" y="2257"/>
                </a:lnTo>
                <a:lnTo>
                  <a:pt x="3693" y="2256"/>
                </a:lnTo>
                <a:lnTo>
                  <a:pt x="3691" y="2254"/>
                </a:lnTo>
                <a:lnTo>
                  <a:pt x="3689" y="2252"/>
                </a:lnTo>
                <a:lnTo>
                  <a:pt x="3688" y="2250"/>
                </a:lnTo>
                <a:lnTo>
                  <a:pt x="3687" y="2247"/>
                </a:lnTo>
                <a:lnTo>
                  <a:pt x="3686" y="2244"/>
                </a:lnTo>
                <a:lnTo>
                  <a:pt x="3687" y="2240"/>
                </a:lnTo>
                <a:lnTo>
                  <a:pt x="3688" y="2236"/>
                </a:lnTo>
                <a:lnTo>
                  <a:pt x="3691" y="2233"/>
                </a:lnTo>
                <a:lnTo>
                  <a:pt x="3694" y="2230"/>
                </a:lnTo>
                <a:close/>
                <a:moveTo>
                  <a:pt x="3838" y="2236"/>
                </a:moveTo>
                <a:lnTo>
                  <a:pt x="3842" y="2235"/>
                </a:lnTo>
                <a:lnTo>
                  <a:pt x="3844" y="2234"/>
                </a:lnTo>
                <a:lnTo>
                  <a:pt x="3847" y="2234"/>
                </a:lnTo>
                <a:lnTo>
                  <a:pt x="3850" y="2235"/>
                </a:lnTo>
                <a:lnTo>
                  <a:pt x="3852" y="2236"/>
                </a:lnTo>
                <a:lnTo>
                  <a:pt x="3855" y="2238"/>
                </a:lnTo>
                <a:lnTo>
                  <a:pt x="3857" y="2240"/>
                </a:lnTo>
                <a:lnTo>
                  <a:pt x="3858" y="2241"/>
                </a:lnTo>
                <a:lnTo>
                  <a:pt x="3858" y="2242"/>
                </a:lnTo>
                <a:lnTo>
                  <a:pt x="3859" y="2245"/>
                </a:lnTo>
                <a:lnTo>
                  <a:pt x="3860" y="2248"/>
                </a:lnTo>
                <a:lnTo>
                  <a:pt x="3860" y="2251"/>
                </a:lnTo>
                <a:lnTo>
                  <a:pt x="3859" y="2254"/>
                </a:lnTo>
                <a:lnTo>
                  <a:pt x="3858" y="2258"/>
                </a:lnTo>
                <a:lnTo>
                  <a:pt x="3855" y="2260"/>
                </a:lnTo>
                <a:lnTo>
                  <a:pt x="3853" y="2262"/>
                </a:lnTo>
                <a:lnTo>
                  <a:pt x="3848" y="2264"/>
                </a:lnTo>
                <a:lnTo>
                  <a:pt x="3846" y="2264"/>
                </a:lnTo>
                <a:lnTo>
                  <a:pt x="3844" y="2264"/>
                </a:lnTo>
                <a:lnTo>
                  <a:pt x="3841" y="2264"/>
                </a:lnTo>
                <a:lnTo>
                  <a:pt x="3838" y="2263"/>
                </a:lnTo>
                <a:lnTo>
                  <a:pt x="3835" y="2261"/>
                </a:lnTo>
                <a:lnTo>
                  <a:pt x="3833" y="2259"/>
                </a:lnTo>
                <a:lnTo>
                  <a:pt x="3833" y="2258"/>
                </a:lnTo>
                <a:lnTo>
                  <a:pt x="3832" y="2256"/>
                </a:lnTo>
                <a:lnTo>
                  <a:pt x="3831" y="2254"/>
                </a:lnTo>
                <a:lnTo>
                  <a:pt x="3830" y="2251"/>
                </a:lnTo>
                <a:lnTo>
                  <a:pt x="3830" y="2248"/>
                </a:lnTo>
                <a:lnTo>
                  <a:pt x="3831" y="2244"/>
                </a:lnTo>
                <a:lnTo>
                  <a:pt x="3832" y="2241"/>
                </a:lnTo>
                <a:lnTo>
                  <a:pt x="3835" y="2238"/>
                </a:lnTo>
                <a:lnTo>
                  <a:pt x="3838" y="2236"/>
                </a:lnTo>
                <a:close/>
                <a:moveTo>
                  <a:pt x="3980" y="2258"/>
                </a:moveTo>
                <a:lnTo>
                  <a:pt x="3982" y="2257"/>
                </a:lnTo>
                <a:lnTo>
                  <a:pt x="3985" y="2256"/>
                </a:lnTo>
                <a:lnTo>
                  <a:pt x="3990" y="2256"/>
                </a:lnTo>
                <a:lnTo>
                  <a:pt x="3993" y="2257"/>
                </a:lnTo>
                <a:lnTo>
                  <a:pt x="3996" y="2258"/>
                </a:lnTo>
                <a:lnTo>
                  <a:pt x="3998" y="2260"/>
                </a:lnTo>
                <a:lnTo>
                  <a:pt x="4000" y="2263"/>
                </a:lnTo>
                <a:lnTo>
                  <a:pt x="4001" y="2265"/>
                </a:lnTo>
                <a:lnTo>
                  <a:pt x="4002" y="2268"/>
                </a:lnTo>
                <a:lnTo>
                  <a:pt x="4002" y="2271"/>
                </a:lnTo>
                <a:lnTo>
                  <a:pt x="4002" y="2274"/>
                </a:lnTo>
                <a:lnTo>
                  <a:pt x="4001" y="2277"/>
                </a:lnTo>
                <a:lnTo>
                  <a:pt x="3999" y="2280"/>
                </a:lnTo>
                <a:lnTo>
                  <a:pt x="3997" y="2282"/>
                </a:lnTo>
                <a:lnTo>
                  <a:pt x="3995" y="2284"/>
                </a:lnTo>
                <a:lnTo>
                  <a:pt x="3992" y="2285"/>
                </a:lnTo>
                <a:lnTo>
                  <a:pt x="3990" y="2286"/>
                </a:lnTo>
                <a:lnTo>
                  <a:pt x="3984" y="2286"/>
                </a:lnTo>
                <a:lnTo>
                  <a:pt x="3981" y="2285"/>
                </a:lnTo>
                <a:lnTo>
                  <a:pt x="3979" y="2283"/>
                </a:lnTo>
                <a:lnTo>
                  <a:pt x="3977" y="2281"/>
                </a:lnTo>
                <a:lnTo>
                  <a:pt x="3975" y="2279"/>
                </a:lnTo>
                <a:lnTo>
                  <a:pt x="3973" y="2277"/>
                </a:lnTo>
                <a:lnTo>
                  <a:pt x="3972" y="2274"/>
                </a:lnTo>
                <a:lnTo>
                  <a:pt x="3972" y="2271"/>
                </a:lnTo>
                <a:lnTo>
                  <a:pt x="3972" y="2268"/>
                </a:lnTo>
                <a:lnTo>
                  <a:pt x="3973" y="2265"/>
                </a:lnTo>
                <a:lnTo>
                  <a:pt x="3975" y="2262"/>
                </a:lnTo>
                <a:lnTo>
                  <a:pt x="3977" y="2260"/>
                </a:lnTo>
                <a:lnTo>
                  <a:pt x="3980" y="2258"/>
                </a:lnTo>
                <a:close/>
                <a:moveTo>
                  <a:pt x="4121" y="2292"/>
                </a:moveTo>
                <a:lnTo>
                  <a:pt x="4123" y="2291"/>
                </a:lnTo>
                <a:lnTo>
                  <a:pt x="4126" y="2290"/>
                </a:lnTo>
                <a:lnTo>
                  <a:pt x="4129" y="2290"/>
                </a:lnTo>
                <a:lnTo>
                  <a:pt x="4132" y="2290"/>
                </a:lnTo>
                <a:lnTo>
                  <a:pt x="4135" y="2292"/>
                </a:lnTo>
                <a:lnTo>
                  <a:pt x="4137" y="2293"/>
                </a:lnTo>
                <a:lnTo>
                  <a:pt x="4140" y="2295"/>
                </a:lnTo>
                <a:lnTo>
                  <a:pt x="4141" y="2298"/>
                </a:lnTo>
                <a:lnTo>
                  <a:pt x="4142" y="2300"/>
                </a:lnTo>
                <a:lnTo>
                  <a:pt x="4143" y="2303"/>
                </a:lnTo>
                <a:lnTo>
                  <a:pt x="4143" y="2306"/>
                </a:lnTo>
                <a:lnTo>
                  <a:pt x="4143" y="2309"/>
                </a:lnTo>
                <a:lnTo>
                  <a:pt x="4141" y="2312"/>
                </a:lnTo>
                <a:lnTo>
                  <a:pt x="4140" y="2314"/>
                </a:lnTo>
                <a:lnTo>
                  <a:pt x="4138" y="2316"/>
                </a:lnTo>
                <a:lnTo>
                  <a:pt x="4136" y="2318"/>
                </a:lnTo>
                <a:lnTo>
                  <a:pt x="4133" y="2319"/>
                </a:lnTo>
                <a:lnTo>
                  <a:pt x="4130" y="2320"/>
                </a:lnTo>
                <a:lnTo>
                  <a:pt x="4127" y="2320"/>
                </a:lnTo>
                <a:lnTo>
                  <a:pt x="4124" y="2319"/>
                </a:lnTo>
                <a:lnTo>
                  <a:pt x="4121" y="2318"/>
                </a:lnTo>
                <a:lnTo>
                  <a:pt x="4119" y="2317"/>
                </a:lnTo>
                <a:lnTo>
                  <a:pt x="4117" y="2315"/>
                </a:lnTo>
                <a:lnTo>
                  <a:pt x="4115" y="2312"/>
                </a:lnTo>
                <a:lnTo>
                  <a:pt x="4114" y="2310"/>
                </a:lnTo>
                <a:lnTo>
                  <a:pt x="4113" y="2307"/>
                </a:lnTo>
                <a:lnTo>
                  <a:pt x="4113" y="2304"/>
                </a:lnTo>
                <a:lnTo>
                  <a:pt x="4114" y="2301"/>
                </a:lnTo>
                <a:lnTo>
                  <a:pt x="4115" y="2298"/>
                </a:lnTo>
                <a:lnTo>
                  <a:pt x="4116" y="2296"/>
                </a:lnTo>
                <a:lnTo>
                  <a:pt x="4118" y="2294"/>
                </a:lnTo>
                <a:lnTo>
                  <a:pt x="4121" y="2292"/>
                </a:lnTo>
                <a:close/>
                <a:moveTo>
                  <a:pt x="4258" y="2336"/>
                </a:moveTo>
                <a:lnTo>
                  <a:pt x="4261" y="2334"/>
                </a:lnTo>
                <a:lnTo>
                  <a:pt x="4264" y="2334"/>
                </a:lnTo>
                <a:lnTo>
                  <a:pt x="4267" y="2334"/>
                </a:lnTo>
                <a:lnTo>
                  <a:pt x="4270" y="2334"/>
                </a:lnTo>
                <a:lnTo>
                  <a:pt x="4273" y="2336"/>
                </a:lnTo>
                <a:lnTo>
                  <a:pt x="4275" y="2338"/>
                </a:lnTo>
                <a:lnTo>
                  <a:pt x="4277" y="2340"/>
                </a:lnTo>
                <a:lnTo>
                  <a:pt x="4279" y="2342"/>
                </a:lnTo>
                <a:lnTo>
                  <a:pt x="4280" y="2348"/>
                </a:lnTo>
                <a:lnTo>
                  <a:pt x="4279" y="2354"/>
                </a:lnTo>
                <a:lnTo>
                  <a:pt x="4278" y="2356"/>
                </a:lnTo>
                <a:lnTo>
                  <a:pt x="4277" y="2358"/>
                </a:lnTo>
                <a:lnTo>
                  <a:pt x="4275" y="2360"/>
                </a:lnTo>
                <a:lnTo>
                  <a:pt x="4273" y="2362"/>
                </a:lnTo>
                <a:lnTo>
                  <a:pt x="4270" y="2363"/>
                </a:lnTo>
                <a:lnTo>
                  <a:pt x="4267" y="2364"/>
                </a:lnTo>
                <a:lnTo>
                  <a:pt x="4263" y="2364"/>
                </a:lnTo>
                <a:lnTo>
                  <a:pt x="4260" y="2363"/>
                </a:lnTo>
                <a:lnTo>
                  <a:pt x="4257" y="2362"/>
                </a:lnTo>
                <a:lnTo>
                  <a:pt x="4255" y="2360"/>
                </a:lnTo>
                <a:lnTo>
                  <a:pt x="4253" y="2358"/>
                </a:lnTo>
                <a:lnTo>
                  <a:pt x="4252" y="2355"/>
                </a:lnTo>
                <a:lnTo>
                  <a:pt x="4250" y="2350"/>
                </a:lnTo>
                <a:lnTo>
                  <a:pt x="4251" y="2344"/>
                </a:lnTo>
                <a:lnTo>
                  <a:pt x="4252" y="2341"/>
                </a:lnTo>
                <a:lnTo>
                  <a:pt x="4254" y="2339"/>
                </a:lnTo>
                <a:lnTo>
                  <a:pt x="4255" y="2337"/>
                </a:lnTo>
                <a:lnTo>
                  <a:pt x="4258" y="2336"/>
                </a:lnTo>
                <a:close/>
                <a:moveTo>
                  <a:pt x="4787" y="946"/>
                </a:moveTo>
                <a:lnTo>
                  <a:pt x="4790" y="945"/>
                </a:lnTo>
                <a:lnTo>
                  <a:pt x="4792" y="944"/>
                </a:lnTo>
                <a:lnTo>
                  <a:pt x="4795" y="944"/>
                </a:lnTo>
                <a:lnTo>
                  <a:pt x="4798" y="944"/>
                </a:lnTo>
                <a:lnTo>
                  <a:pt x="4801" y="945"/>
                </a:lnTo>
                <a:lnTo>
                  <a:pt x="4804" y="946"/>
                </a:lnTo>
                <a:lnTo>
                  <a:pt x="4806" y="948"/>
                </a:lnTo>
                <a:lnTo>
                  <a:pt x="4808" y="950"/>
                </a:lnTo>
                <a:lnTo>
                  <a:pt x="4810" y="953"/>
                </a:lnTo>
                <a:lnTo>
                  <a:pt x="4811" y="956"/>
                </a:lnTo>
                <a:lnTo>
                  <a:pt x="4811" y="959"/>
                </a:lnTo>
                <a:lnTo>
                  <a:pt x="4811" y="962"/>
                </a:lnTo>
                <a:lnTo>
                  <a:pt x="4810" y="966"/>
                </a:lnTo>
                <a:lnTo>
                  <a:pt x="4808" y="969"/>
                </a:lnTo>
                <a:lnTo>
                  <a:pt x="4806" y="972"/>
                </a:lnTo>
                <a:lnTo>
                  <a:pt x="4803" y="974"/>
                </a:lnTo>
                <a:lnTo>
                  <a:pt x="4801" y="975"/>
                </a:lnTo>
                <a:lnTo>
                  <a:pt x="4798" y="976"/>
                </a:lnTo>
                <a:lnTo>
                  <a:pt x="4796" y="976"/>
                </a:lnTo>
                <a:lnTo>
                  <a:pt x="4793" y="976"/>
                </a:lnTo>
                <a:lnTo>
                  <a:pt x="4790" y="975"/>
                </a:lnTo>
                <a:lnTo>
                  <a:pt x="4787" y="974"/>
                </a:lnTo>
                <a:lnTo>
                  <a:pt x="4785" y="972"/>
                </a:lnTo>
                <a:lnTo>
                  <a:pt x="4782" y="969"/>
                </a:lnTo>
                <a:lnTo>
                  <a:pt x="4781" y="967"/>
                </a:lnTo>
                <a:lnTo>
                  <a:pt x="4780" y="964"/>
                </a:lnTo>
                <a:lnTo>
                  <a:pt x="4779" y="961"/>
                </a:lnTo>
                <a:lnTo>
                  <a:pt x="4780" y="958"/>
                </a:lnTo>
                <a:lnTo>
                  <a:pt x="4780" y="954"/>
                </a:lnTo>
                <a:lnTo>
                  <a:pt x="4782" y="951"/>
                </a:lnTo>
                <a:lnTo>
                  <a:pt x="4785" y="948"/>
                </a:lnTo>
                <a:lnTo>
                  <a:pt x="4787" y="946"/>
                </a:lnTo>
                <a:close/>
                <a:moveTo>
                  <a:pt x="4645" y="923"/>
                </a:moveTo>
                <a:lnTo>
                  <a:pt x="4648" y="922"/>
                </a:lnTo>
                <a:lnTo>
                  <a:pt x="4650" y="921"/>
                </a:lnTo>
                <a:lnTo>
                  <a:pt x="4656" y="921"/>
                </a:lnTo>
                <a:lnTo>
                  <a:pt x="4659" y="922"/>
                </a:lnTo>
                <a:lnTo>
                  <a:pt x="4660" y="923"/>
                </a:lnTo>
                <a:lnTo>
                  <a:pt x="4662" y="923"/>
                </a:lnTo>
                <a:lnTo>
                  <a:pt x="4664" y="925"/>
                </a:lnTo>
                <a:lnTo>
                  <a:pt x="4666" y="928"/>
                </a:lnTo>
                <a:lnTo>
                  <a:pt x="4668" y="930"/>
                </a:lnTo>
                <a:lnTo>
                  <a:pt x="4669" y="933"/>
                </a:lnTo>
                <a:lnTo>
                  <a:pt x="4669" y="936"/>
                </a:lnTo>
                <a:lnTo>
                  <a:pt x="4669" y="940"/>
                </a:lnTo>
                <a:lnTo>
                  <a:pt x="4668" y="943"/>
                </a:lnTo>
                <a:lnTo>
                  <a:pt x="4666" y="946"/>
                </a:lnTo>
                <a:lnTo>
                  <a:pt x="4664" y="949"/>
                </a:lnTo>
                <a:lnTo>
                  <a:pt x="4661" y="951"/>
                </a:lnTo>
                <a:lnTo>
                  <a:pt x="4659" y="952"/>
                </a:lnTo>
                <a:lnTo>
                  <a:pt x="4656" y="953"/>
                </a:lnTo>
                <a:lnTo>
                  <a:pt x="4650" y="953"/>
                </a:lnTo>
                <a:lnTo>
                  <a:pt x="4647" y="952"/>
                </a:lnTo>
                <a:lnTo>
                  <a:pt x="4646" y="951"/>
                </a:lnTo>
                <a:lnTo>
                  <a:pt x="4644" y="950"/>
                </a:lnTo>
                <a:lnTo>
                  <a:pt x="4642" y="948"/>
                </a:lnTo>
                <a:lnTo>
                  <a:pt x="4640" y="946"/>
                </a:lnTo>
                <a:lnTo>
                  <a:pt x="4638" y="943"/>
                </a:lnTo>
                <a:lnTo>
                  <a:pt x="4637" y="940"/>
                </a:lnTo>
                <a:lnTo>
                  <a:pt x="4637" y="937"/>
                </a:lnTo>
                <a:lnTo>
                  <a:pt x="4637" y="934"/>
                </a:lnTo>
                <a:lnTo>
                  <a:pt x="4638" y="931"/>
                </a:lnTo>
                <a:lnTo>
                  <a:pt x="4640" y="928"/>
                </a:lnTo>
                <a:lnTo>
                  <a:pt x="4642" y="925"/>
                </a:lnTo>
                <a:lnTo>
                  <a:pt x="4645" y="923"/>
                </a:lnTo>
                <a:close/>
                <a:moveTo>
                  <a:pt x="4503" y="896"/>
                </a:moveTo>
                <a:lnTo>
                  <a:pt x="4506" y="895"/>
                </a:lnTo>
                <a:lnTo>
                  <a:pt x="4509" y="894"/>
                </a:lnTo>
                <a:lnTo>
                  <a:pt x="4515" y="894"/>
                </a:lnTo>
                <a:lnTo>
                  <a:pt x="4518" y="895"/>
                </a:lnTo>
                <a:lnTo>
                  <a:pt x="4521" y="897"/>
                </a:lnTo>
                <a:lnTo>
                  <a:pt x="4523" y="899"/>
                </a:lnTo>
                <a:lnTo>
                  <a:pt x="4525" y="901"/>
                </a:lnTo>
                <a:lnTo>
                  <a:pt x="4526" y="904"/>
                </a:lnTo>
                <a:lnTo>
                  <a:pt x="4527" y="907"/>
                </a:lnTo>
                <a:lnTo>
                  <a:pt x="4527" y="910"/>
                </a:lnTo>
                <a:lnTo>
                  <a:pt x="4527" y="913"/>
                </a:lnTo>
                <a:lnTo>
                  <a:pt x="4526" y="916"/>
                </a:lnTo>
                <a:lnTo>
                  <a:pt x="4524" y="919"/>
                </a:lnTo>
                <a:lnTo>
                  <a:pt x="4522" y="922"/>
                </a:lnTo>
                <a:lnTo>
                  <a:pt x="4519" y="924"/>
                </a:lnTo>
                <a:lnTo>
                  <a:pt x="4517" y="925"/>
                </a:lnTo>
                <a:lnTo>
                  <a:pt x="4514" y="926"/>
                </a:lnTo>
                <a:lnTo>
                  <a:pt x="4508" y="926"/>
                </a:lnTo>
                <a:lnTo>
                  <a:pt x="4505" y="925"/>
                </a:lnTo>
                <a:lnTo>
                  <a:pt x="4502" y="923"/>
                </a:lnTo>
                <a:lnTo>
                  <a:pt x="4500" y="921"/>
                </a:lnTo>
                <a:lnTo>
                  <a:pt x="4498" y="919"/>
                </a:lnTo>
                <a:lnTo>
                  <a:pt x="4497" y="916"/>
                </a:lnTo>
                <a:lnTo>
                  <a:pt x="4496" y="913"/>
                </a:lnTo>
                <a:lnTo>
                  <a:pt x="4495" y="910"/>
                </a:lnTo>
                <a:lnTo>
                  <a:pt x="4496" y="907"/>
                </a:lnTo>
                <a:lnTo>
                  <a:pt x="4497" y="903"/>
                </a:lnTo>
                <a:lnTo>
                  <a:pt x="4499" y="900"/>
                </a:lnTo>
                <a:lnTo>
                  <a:pt x="4501" y="898"/>
                </a:lnTo>
                <a:lnTo>
                  <a:pt x="4503" y="896"/>
                </a:lnTo>
                <a:close/>
                <a:moveTo>
                  <a:pt x="4363" y="865"/>
                </a:moveTo>
                <a:lnTo>
                  <a:pt x="4365" y="864"/>
                </a:lnTo>
                <a:lnTo>
                  <a:pt x="4368" y="863"/>
                </a:lnTo>
                <a:lnTo>
                  <a:pt x="4371" y="863"/>
                </a:lnTo>
                <a:lnTo>
                  <a:pt x="4374" y="863"/>
                </a:lnTo>
                <a:lnTo>
                  <a:pt x="4377" y="864"/>
                </a:lnTo>
                <a:lnTo>
                  <a:pt x="4380" y="866"/>
                </a:lnTo>
                <a:lnTo>
                  <a:pt x="4382" y="868"/>
                </a:lnTo>
                <a:lnTo>
                  <a:pt x="4384" y="870"/>
                </a:lnTo>
                <a:lnTo>
                  <a:pt x="4386" y="873"/>
                </a:lnTo>
                <a:lnTo>
                  <a:pt x="4386" y="876"/>
                </a:lnTo>
                <a:lnTo>
                  <a:pt x="4387" y="879"/>
                </a:lnTo>
                <a:lnTo>
                  <a:pt x="4386" y="882"/>
                </a:lnTo>
                <a:lnTo>
                  <a:pt x="4385" y="886"/>
                </a:lnTo>
                <a:lnTo>
                  <a:pt x="4383" y="888"/>
                </a:lnTo>
                <a:lnTo>
                  <a:pt x="4381" y="891"/>
                </a:lnTo>
                <a:lnTo>
                  <a:pt x="4379" y="893"/>
                </a:lnTo>
                <a:lnTo>
                  <a:pt x="4376" y="894"/>
                </a:lnTo>
                <a:lnTo>
                  <a:pt x="4373" y="895"/>
                </a:lnTo>
                <a:lnTo>
                  <a:pt x="4370" y="895"/>
                </a:lnTo>
                <a:lnTo>
                  <a:pt x="4367" y="894"/>
                </a:lnTo>
                <a:lnTo>
                  <a:pt x="4364" y="893"/>
                </a:lnTo>
                <a:lnTo>
                  <a:pt x="4361" y="892"/>
                </a:lnTo>
                <a:lnTo>
                  <a:pt x="4359" y="890"/>
                </a:lnTo>
                <a:lnTo>
                  <a:pt x="4357" y="887"/>
                </a:lnTo>
                <a:lnTo>
                  <a:pt x="4356" y="884"/>
                </a:lnTo>
                <a:lnTo>
                  <a:pt x="4355" y="881"/>
                </a:lnTo>
                <a:lnTo>
                  <a:pt x="4355" y="878"/>
                </a:lnTo>
                <a:lnTo>
                  <a:pt x="4355" y="875"/>
                </a:lnTo>
                <a:lnTo>
                  <a:pt x="4356" y="872"/>
                </a:lnTo>
                <a:lnTo>
                  <a:pt x="4358" y="869"/>
                </a:lnTo>
                <a:lnTo>
                  <a:pt x="4360" y="867"/>
                </a:lnTo>
                <a:lnTo>
                  <a:pt x="4363" y="865"/>
                </a:lnTo>
                <a:close/>
                <a:moveTo>
                  <a:pt x="4223" y="829"/>
                </a:moveTo>
                <a:lnTo>
                  <a:pt x="4226" y="828"/>
                </a:lnTo>
                <a:lnTo>
                  <a:pt x="4229" y="827"/>
                </a:lnTo>
                <a:lnTo>
                  <a:pt x="4232" y="827"/>
                </a:lnTo>
                <a:lnTo>
                  <a:pt x="4235" y="828"/>
                </a:lnTo>
                <a:lnTo>
                  <a:pt x="4238" y="829"/>
                </a:lnTo>
                <a:lnTo>
                  <a:pt x="4241" y="831"/>
                </a:lnTo>
                <a:lnTo>
                  <a:pt x="4243" y="833"/>
                </a:lnTo>
                <a:lnTo>
                  <a:pt x="4245" y="835"/>
                </a:lnTo>
                <a:lnTo>
                  <a:pt x="4246" y="838"/>
                </a:lnTo>
                <a:lnTo>
                  <a:pt x="4247" y="841"/>
                </a:lnTo>
                <a:lnTo>
                  <a:pt x="4247" y="844"/>
                </a:lnTo>
                <a:lnTo>
                  <a:pt x="4246" y="847"/>
                </a:lnTo>
                <a:lnTo>
                  <a:pt x="4245" y="850"/>
                </a:lnTo>
                <a:lnTo>
                  <a:pt x="4244" y="853"/>
                </a:lnTo>
                <a:lnTo>
                  <a:pt x="4241" y="855"/>
                </a:lnTo>
                <a:lnTo>
                  <a:pt x="4239" y="857"/>
                </a:lnTo>
                <a:lnTo>
                  <a:pt x="4236" y="858"/>
                </a:lnTo>
                <a:lnTo>
                  <a:pt x="4233" y="859"/>
                </a:lnTo>
                <a:lnTo>
                  <a:pt x="4230" y="859"/>
                </a:lnTo>
                <a:lnTo>
                  <a:pt x="4227" y="859"/>
                </a:lnTo>
                <a:lnTo>
                  <a:pt x="4224" y="857"/>
                </a:lnTo>
                <a:lnTo>
                  <a:pt x="4221" y="856"/>
                </a:lnTo>
                <a:lnTo>
                  <a:pt x="4219" y="854"/>
                </a:lnTo>
                <a:lnTo>
                  <a:pt x="4217" y="851"/>
                </a:lnTo>
                <a:lnTo>
                  <a:pt x="4216" y="848"/>
                </a:lnTo>
                <a:lnTo>
                  <a:pt x="4215" y="845"/>
                </a:lnTo>
                <a:lnTo>
                  <a:pt x="4215" y="842"/>
                </a:lnTo>
                <a:lnTo>
                  <a:pt x="4216" y="839"/>
                </a:lnTo>
                <a:lnTo>
                  <a:pt x="4217" y="836"/>
                </a:lnTo>
                <a:lnTo>
                  <a:pt x="4218" y="833"/>
                </a:lnTo>
                <a:lnTo>
                  <a:pt x="4221" y="831"/>
                </a:lnTo>
                <a:lnTo>
                  <a:pt x="4223" y="829"/>
                </a:lnTo>
                <a:close/>
                <a:moveTo>
                  <a:pt x="4085" y="788"/>
                </a:moveTo>
                <a:lnTo>
                  <a:pt x="4088" y="787"/>
                </a:lnTo>
                <a:lnTo>
                  <a:pt x="4091" y="786"/>
                </a:lnTo>
                <a:lnTo>
                  <a:pt x="4094" y="786"/>
                </a:lnTo>
                <a:lnTo>
                  <a:pt x="4098" y="787"/>
                </a:lnTo>
                <a:lnTo>
                  <a:pt x="4101" y="788"/>
                </a:lnTo>
                <a:lnTo>
                  <a:pt x="4103" y="790"/>
                </a:lnTo>
                <a:lnTo>
                  <a:pt x="4105" y="792"/>
                </a:lnTo>
                <a:lnTo>
                  <a:pt x="4107" y="795"/>
                </a:lnTo>
                <a:lnTo>
                  <a:pt x="4108" y="798"/>
                </a:lnTo>
                <a:lnTo>
                  <a:pt x="4109" y="801"/>
                </a:lnTo>
                <a:lnTo>
                  <a:pt x="4109" y="804"/>
                </a:lnTo>
                <a:lnTo>
                  <a:pt x="4108" y="807"/>
                </a:lnTo>
                <a:lnTo>
                  <a:pt x="4107" y="810"/>
                </a:lnTo>
                <a:lnTo>
                  <a:pt x="4105" y="812"/>
                </a:lnTo>
                <a:lnTo>
                  <a:pt x="4103" y="814"/>
                </a:lnTo>
                <a:lnTo>
                  <a:pt x="4101" y="816"/>
                </a:lnTo>
                <a:lnTo>
                  <a:pt x="4098" y="817"/>
                </a:lnTo>
                <a:lnTo>
                  <a:pt x="4095" y="818"/>
                </a:lnTo>
                <a:lnTo>
                  <a:pt x="4091" y="818"/>
                </a:lnTo>
                <a:lnTo>
                  <a:pt x="4088" y="817"/>
                </a:lnTo>
                <a:lnTo>
                  <a:pt x="4085" y="816"/>
                </a:lnTo>
                <a:lnTo>
                  <a:pt x="4082" y="814"/>
                </a:lnTo>
                <a:lnTo>
                  <a:pt x="4080" y="812"/>
                </a:lnTo>
                <a:lnTo>
                  <a:pt x="4079" y="809"/>
                </a:lnTo>
                <a:lnTo>
                  <a:pt x="4077" y="807"/>
                </a:lnTo>
                <a:lnTo>
                  <a:pt x="4077" y="804"/>
                </a:lnTo>
                <a:lnTo>
                  <a:pt x="4077" y="800"/>
                </a:lnTo>
                <a:lnTo>
                  <a:pt x="4078" y="797"/>
                </a:lnTo>
                <a:lnTo>
                  <a:pt x="4079" y="794"/>
                </a:lnTo>
                <a:lnTo>
                  <a:pt x="4080" y="792"/>
                </a:lnTo>
                <a:lnTo>
                  <a:pt x="4082" y="790"/>
                </a:lnTo>
                <a:lnTo>
                  <a:pt x="4085" y="788"/>
                </a:lnTo>
                <a:close/>
                <a:moveTo>
                  <a:pt x="3948" y="741"/>
                </a:moveTo>
                <a:lnTo>
                  <a:pt x="3951" y="739"/>
                </a:lnTo>
                <a:lnTo>
                  <a:pt x="3954" y="739"/>
                </a:lnTo>
                <a:lnTo>
                  <a:pt x="3958" y="739"/>
                </a:lnTo>
                <a:lnTo>
                  <a:pt x="3961" y="740"/>
                </a:lnTo>
                <a:lnTo>
                  <a:pt x="3964" y="741"/>
                </a:lnTo>
                <a:lnTo>
                  <a:pt x="3967" y="743"/>
                </a:lnTo>
                <a:lnTo>
                  <a:pt x="3969" y="745"/>
                </a:lnTo>
                <a:lnTo>
                  <a:pt x="3970" y="748"/>
                </a:lnTo>
                <a:lnTo>
                  <a:pt x="3971" y="751"/>
                </a:lnTo>
                <a:lnTo>
                  <a:pt x="3972" y="754"/>
                </a:lnTo>
                <a:lnTo>
                  <a:pt x="3971" y="757"/>
                </a:lnTo>
                <a:lnTo>
                  <a:pt x="3971" y="760"/>
                </a:lnTo>
                <a:lnTo>
                  <a:pt x="3968" y="765"/>
                </a:lnTo>
                <a:lnTo>
                  <a:pt x="3964" y="769"/>
                </a:lnTo>
                <a:lnTo>
                  <a:pt x="3960" y="770"/>
                </a:lnTo>
                <a:lnTo>
                  <a:pt x="3957" y="771"/>
                </a:lnTo>
                <a:lnTo>
                  <a:pt x="3954" y="771"/>
                </a:lnTo>
                <a:lnTo>
                  <a:pt x="3950" y="770"/>
                </a:lnTo>
                <a:lnTo>
                  <a:pt x="3947" y="768"/>
                </a:lnTo>
                <a:lnTo>
                  <a:pt x="3945" y="766"/>
                </a:lnTo>
                <a:lnTo>
                  <a:pt x="3943" y="764"/>
                </a:lnTo>
                <a:lnTo>
                  <a:pt x="3941" y="761"/>
                </a:lnTo>
                <a:lnTo>
                  <a:pt x="3940" y="758"/>
                </a:lnTo>
                <a:lnTo>
                  <a:pt x="3940" y="755"/>
                </a:lnTo>
                <a:lnTo>
                  <a:pt x="3940" y="752"/>
                </a:lnTo>
                <a:lnTo>
                  <a:pt x="3941" y="749"/>
                </a:lnTo>
                <a:lnTo>
                  <a:pt x="3944" y="744"/>
                </a:lnTo>
                <a:lnTo>
                  <a:pt x="3948" y="741"/>
                </a:lnTo>
                <a:close/>
                <a:moveTo>
                  <a:pt x="3815" y="685"/>
                </a:moveTo>
                <a:lnTo>
                  <a:pt x="3816" y="684"/>
                </a:lnTo>
                <a:lnTo>
                  <a:pt x="3818" y="684"/>
                </a:lnTo>
                <a:lnTo>
                  <a:pt x="3822" y="683"/>
                </a:lnTo>
                <a:lnTo>
                  <a:pt x="3826" y="683"/>
                </a:lnTo>
                <a:lnTo>
                  <a:pt x="3829" y="685"/>
                </a:lnTo>
                <a:lnTo>
                  <a:pt x="3832" y="686"/>
                </a:lnTo>
                <a:lnTo>
                  <a:pt x="3834" y="688"/>
                </a:lnTo>
                <a:lnTo>
                  <a:pt x="3836" y="691"/>
                </a:lnTo>
                <a:lnTo>
                  <a:pt x="3838" y="694"/>
                </a:lnTo>
                <a:lnTo>
                  <a:pt x="3838" y="697"/>
                </a:lnTo>
                <a:lnTo>
                  <a:pt x="3839" y="700"/>
                </a:lnTo>
                <a:lnTo>
                  <a:pt x="3838" y="703"/>
                </a:lnTo>
                <a:lnTo>
                  <a:pt x="3837" y="706"/>
                </a:lnTo>
                <a:lnTo>
                  <a:pt x="3834" y="710"/>
                </a:lnTo>
                <a:lnTo>
                  <a:pt x="3833" y="712"/>
                </a:lnTo>
                <a:lnTo>
                  <a:pt x="3831" y="713"/>
                </a:lnTo>
                <a:lnTo>
                  <a:pt x="3829" y="714"/>
                </a:lnTo>
                <a:lnTo>
                  <a:pt x="3827" y="715"/>
                </a:lnTo>
                <a:lnTo>
                  <a:pt x="3823" y="715"/>
                </a:lnTo>
                <a:lnTo>
                  <a:pt x="3820" y="715"/>
                </a:lnTo>
                <a:lnTo>
                  <a:pt x="3816" y="714"/>
                </a:lnTo>
                <a:lnTo>
                  <a:pt x="3813" y="712"/>
                </a:lnTo>
                <a:lnTo>
                  <a:pt x="3811" y="710"/>
                </a:lnTo>
                <a:lnTo>
                  <a:pt x="3809" y="707"/>
                </a:lnTo>
                <a:lnTo>
                  <a:pt x="3808" y="705"/>
                </a:lnTo>
                <a:lnTo>
                  <a:pt x="3807" y="702"/>
                </a:lnTo>
                <a:lnTo>
                  <a:pt x="3807" y="699"/>
                </a:lnTo>
                <a:lnTo>
                  <a:pt x="3807" y="696"/>
                </a:lnTo>
                <a:lnTo>
                  <a:pt x="3808" y="692"/>
                </a:lnTo>
                <a:lnTo>
                  <a:pt x="3811" y="688"/>
                </a:lnTo>
                <a:lnTo>
                  <a:pt x="3813" y="687"/>
                </a:lnTo>
                <a:lnTo>
                  <a:pt x="3815" y="685"/>
                </a:lnTo>
                <a:close/>
                <a:moveTo>
                  <a:pt x="3687" y="619"/>
                </a:moveTo>
                <a:lnTo>
                  <a:pt x="3691" y="617"/>
                </a:lnTo>
                <a:lnTo>
                  <a:pt x="3695" y="617"/>
                </a:lnTo>
                <a:lnTo>
                  <a:pt x="3699" y="617"/>
                </a:lnTo>
                <a:lnTo>
                  <a:pt x="3703" y="619"/>
                </a:lnTo>
                <a:lnTo>
                  <a:pt x="3705" y="621"/>
                </a:lnTo>
                <a:lnTo>
                  <a:pt x="3707" y="623"/>
                </a:lnTo>
                <a:lnTo>
                  <a:pt x="3709" y="626"/>
                </a:lnTo>
                <a:lnTo>
                  <a:pt x="3710" y="629"/>
                </a:lnTo>
                <a:lnTo>
                  <a:pt x="3711" y="632"/>
                </a:lnTo>
                <a:lnTo>
                  <a:pt x="3711" y="635"/>
                </a:lnTo>
                <a:lnTo>
                  <a:pt x="3710" y="638"/>
                </a:lnTo>
                <a:lnTo>
                  <a:pt x="3709" y="641"/>
                </a:lnTo>
                <a:lnTo>
                  <a:pt x="3706" y="644"/>
                </a:lnTo>
                <a:lnTo>
                  <a:pt x="3703" y="647"/>
                </a:lnTo>
                <a:lnTo>
                  <a:pt x="3699" y="648"/>
                </a:lnTo>
                <a:lnTo>
                  <a:pt x="3695" y="649"/>
                </a:lnTo>
                <a:lnTo>
                  <a:pt x="3691" y="648"/>
                </a:lnTo>
                <a:lnTo>
                  <a:pt x="3687" y="647"/>
                </a:lnTo>
                <a:lnTo>
                  <a:pt x="3684" y="645"/>
                </a:lnTo>
                <a:lnTo>
                  <a:pt x="3682" y="643"/>
                </a:lnTo>
                <a:lnTo>
                  <a:pt x="3680" y="640"/>
                </a:lnTo>
                <a:lnTo>
                  <a:pt x="3679" y="637"/>
                </a:lnTo>
                <a:lnTo>
                  <a:pt x="3679" y="634"/>
                </a:lnTo>
                <a:lnTo>
                  <a:pt x="3679" y="631"/>
                </a:lnTo>
                <a:lnTo>
                  <a:pt x="3680" y="628"/>
                </a:lnTo>
                <a:lnTo>
                  <a:pt x="3681" y="625"/>
                </a:lnTo>
                <a:lnTo>
                  <a:pt x="3683" y="621"/>
                </a:lnTo>
                <a:lnTo>
                  <a:pt x="3687" y="619"/>
                </a:lnTo>
                <a:close/>
                <a:moveTo>
                  <a:pt x="3561" y="547"/>
                </a:moveTo>
                <a:lnTo>
                  <a:pt x="3565" y="545"/>
                </a:lnTo>
                <a:lnTo>
                  <a:pt x="3569" y="545"/>
                </a:lnTo>
                <a:lnTo>
                  <a:pt x="3573" y="545"/>
                </a:lnTo>
                <a:lnTo>
                  <a:pt x="3577" y="547"/>
                </a:lnTo>
                <a:lnTo>
                  <a:pt x="3580" y="549"/>
                </a:lnTo>
                <a:lnTo>
                  <a:pt x="3582" y="551"/>
                </a:lnTo>
                <a:lnTo>
                  <a:pt x="3584" y="554"/>
                </a:lnTo>
                <a:lnTo>
                  <a:pt x="3585" y="556"/>
                </a:lnTo>
                <a:lnTo>
                  <a:pt x="3585" y="560"/>
                </a:lnTo>
                <a:lnTo>
                  <a:pt x="3585" y="563"/>
                </a:lnTo>
                <a:lnTo>
                  <a:pt x="3585" y="566"/>
                </a:lnTo>
                <a:lnTo>
                  <a:pt x="3583" y="569"/>
                </a:lnTo>
                <a:lnTo>
                  <a:pt x="3581" y="572"/>
                </a:lnTo>
                <a:lnTo>
                  <a:pt x="3578" y="575"/>
                </a:lnTo>
                <a:lnTo>
                  <a:pt x="3574" y="576"/>
                </a:lnTo>
                <a:lnTo>
                  <a:pt x="3570" y="577"/>
                </a:lnTo>
                <a:lnTo>
                  <a:pt x="3566" y="576"/>
                </a:lnTo>
                <a:lnTo>
                  <a:pt x="3562" y="575"/>
                </a:lnTo>
                <a:lnTo>
                  <a:pt x="3559" y="573"/>
                </a:lnTo>
                <a:lnTo>
                  <a:pt x="3557" y="571"/>
                </a:lnTo>
                <a:lnTo>
                  <a:pt x="3555" y="568"/>
                </a:lnTo>
                <a:lnTo>
                  <a:pt x="3554" y="565"/>
                </a:lnTo>
                <a:lnTo>
                  <a:pt x="3554" y="562"/>
                </a:lnTo>
                <a:lnTo>
                  <a:pt x="3554" y="559"/>
                </a:lnTo>
                <a:lnTo>
                  <a:pt x="3554" y="556"/>
                </a:lnTo>
                <a:lnTo>
                  <a:pt x="3556" y="553"/>
                </a:lnTo>
                <a:lnTo>
                  <a:pt x="3558" y="550"/>
                </a:lnTo>
                <a:lnTo>
                  <a:pt x="3561" y="547"/>
                </a:lnTo>
                <a:close/>
                <a:moveTo>
                  <a:pt x="3436" y="477"/>
                </a:moveTo>
                <a:lnTo>
                  <a:pt x="3439" y="475"/>
                </a:lnTo>
                <a:lnTo>
                  <a:pt x="3443" y="475"/>
                </a:lnTo>
                <a:lnTo>
                  <a:pt x="3445" y="475"/>
                </a:lnTo>
                <a:lnTo>
                  <a:pt x="3447" y="475"/>
                </a:lnTo>
                <a:lnTo>
                  <a:pt x="3451" y="477"/>
                </a:lnTo>
                <a:lnTo>
                  <a:pt x="3454" y="479"/>
                </a:lnTo>
                <a:lnTo>
                  <a:pt x="3456" y="481"/>
                </a:lnTo>
                <a:lnTo>
                  <a:pt x="3458" y="483"/>
                </a:lnTo>
                <a:lnTo>
                  <a:pt x="3459" y="486"/>
                </a:lnTo>
                <a:lnTo>
                  <a:pt x="3460" y="489"/>
                </a:lnTo>
                <a:lnTo>
                  <a:pt x="3460" y="492"/>
                </a:lnTo>
                <a:lnTo>
                  <a:pt x="3459" y="495"/>
                </a:lnTo>
                <a:lnTo>
                  <a:pt x="3458" y="498"/>
                </a:lnTo>
                <a:lnTo>
                  <a:pt x="3457" y="500"/>
                </a:lnTo>
                <a:lnTo>
                  <a:pt x="3455" y="502"/>
                </a:lnTo>
                <a:lnTo>
                  <a:pt x="3452" y="505"/>
                </a:lnTo>
                <a:lnTo>
                  <a:pt x="3448" y="506"/>
                </a:lnTo>
                <a:lnTo>
                  <a:pt x="3444" y="507"/>
                </a:lnTo>
                <a:lnTo>
                  <a:pt x="3442" y="507"/>
                </a:lnTo>
                <a:lnTo>
                  <a:pt x="3440" y="506"/>
                </a:lnTo>
                <a:lnTo>
                  <a:pt x="3436" y="505"/>
                </a:lnTo>
                <a:lnTo>
                  <a:pt x="3433" y="503"/>
                </a:lnTo>
                <a:lnTo>
                  <a:pt x="3431" y="501"/>
                </a:lnTo>
                <a:lnTo>
                  <a:pt x="3429" y="498"/>
                </a:lnTo>
                <a:lnTo>
                  <a:pt x="3428" y="495"/>
                </a:lnTo>
                <a:lnTo>
                  <a:pt x="3428" y="492"/>
                </a:lnTo>
                <a:lnTo>
                  <a:pt x="3428" y="489"/>
                </a:lnTo>
                <a:lnTo>
                  <a:pt x="3428" y="486"/>
                </a:lnTo>
                <a:lnTo>
                  <a:pt x="3430" y="483"/>
                </a:lnTo>
                <a:lnTo>
                  <a:pt x="3431" y="481"/>
                </a:lnTo>
                <a:lnTo>
                  <a:pt x="3432" y="479"/>
                </a:lnTo>
                <a:lnTo>
                  <a:pt x="3436" y="477"/>
                </a:lnTo>
                <a:close/>
                <a:moveTo>
                  <a:pt x="3309" y="408"/>
                </a:moveTo>
                <a:lnTo>
                  <a:pt x="3313" y="407"/>
                </a:lnTo>
                <a:lnTo>
                  <a:pt x="3317" y="406"/>
                </a:lnTo>
                <a:lnTo>
                  <a:pt x="3319" y="406"/>
                </a:lnTo>
                <a:lnTo>
                  <a:pt x="3321" y="406"/>
                </a:lnTo>
                <a:lnTo>
                  <a:pt x="3325" y="408"/>
                </a:lnTo>
                <a:lnTo>
                  <a:pt x="3327" y="410"/>
                </a:lnTo>
                <a:lnTo>
                  <a:pt x="3330" y="412"/>
                </a:lnTo>
                <a:lnTo>
                  <a:pt x="3331" y="415"/>
                </a:lnTo>
                <a:lnTo>
                  <a:pt x="3332" y="417"/>
                </a:lnTo>
                <a:lnTo>
                  <a:pt x="3333" y="423"/>
                </a:lnTo>
                <a:lnTo>
                  <a:pt x="3333" y="427"/>
                </a:lnTo>
                <a:lnTo>
                  <a:pt x="3331" y="430"/>
                </a:lnTo>
                <a:lnTo>
                  <a:pt x="3329" y="433"/>
                </a:lnTo>
                <a:lnTo>
                  <a:pt x="3325" y="436"/>
                </a:lnTo>
                <a:lnTo>
                  <a:pt x="3322" y="437"/>
                </a:lnTo>
                <a:lnTo>
                  <a:pt x="3318" y="438"/>
                </a:lnTo>
                <a:lnTo>
                  <a:pt x="3316" y="438"/>
                </a:lnTo>
                <a:lnTo>
                  <a:pt x="3314" y="438"/>
                </a:lnTo>
                <a:lnTo>
                  <a:pt x="3310" y="436"/>
                </a:lnTo>
                <a:lnTo>
                  <a:pt x="3307" y="434"/>
                </a:lnTo>
                <a:lnTo>
                  <a:pt x="3305" y="432"/>
                </a:lnTo>
                <a:lnTo>
                  <a:pt x="3303" y="429"/>
                </a:lnTo>
                <a:lnTo>
                  <a:pt x="3302" y="427"/>
                </a:lnTo>
                <a:lnTo>
                  <a:pt x="3301" y="421"/>
                </a:lnTo>
                <a:lnTo>
                  <a:pt x="3302" y="417"/>
                </a:lnTo>
                <a:lnTo>
                  <a:pt x="3303" y="414"/>
                </a:lnTo>
                <a:lnTo>
                  <a:pt x="3306" y="411"/>
                </a:lnTo>
                <a:lnTo>
                  <a:pt x="3309" y="408"/>
                </a:lnTo>
                <a:close/>
                <a:moveTo>
                  <a:pt x="8" y="2264"/>
                </a:moveTo>
                <a:lnTo>
                  <a:pt x="11" y="2262"/>
                </a:lnTo>
                <a:lnTo>
                  <a:pt x="15" y="2262"/>
                </a:lnTo>
                <a:lnTo>
                  <a:pt x="19" y="2262"/>
                </a:lnTo>
                <a:lnTo>
                  <a:pt x="22" y="2263"/>
                </a:lnTo>
                <a:lnTo>
                  <a:pt x="25" y="2264"/>
                </a:lnTo>
                <a:lnTo>
                  <a:pt x="28" y="2266"/>
                </a:lnTo>
                <a:lnTo>
                  <a:pt x="30" y="2269"/>
                </a:lnTo>
                <a:lnTo>
                  <a:pt x="31" y="2272"/>
                </a:lnTo>
                <a:lnTo>
                  <a:pt x="32" y="2275"/>
                </a:lnTo>
                <a:lnTo>
                  <a:pt x="32" y="2278"/>
                </a:lnTo>
                <a:lnTo>
                  <a:pt x="32" y="2281"/>
                </a:lnTo>
                <a:lnTo>
                  <a:pt x="31" y="2284"/>
                </a:lnTo>
                <a:lnTo>
                  <a:pt x="28" y="2288"/>
                </a:lnTo>
                <a:lnTo>
                  <a:pt x="24" y="2291"/>
                </a:lnTo>
                <a:lnTo>
                  <a:pt x="21" y="2293"/>
                </a:lnTo>
                <a:lnTo>
                  <a:pt x="17" y="2293"/>
                </a:lnTo>
                <a:lnTo>
                  <a:pt x="14" y="2293"/>
                </a:lnTo>
                <a:lnTo>
                  <a:pt x="10" y="2292"/>
                </a:lnTo>
                <a:lnTo>
                  <a:pt x="7" y="2291"/>
                </a:lnTo>
                <a:lnTo>
                  <a:pt x="5" y="2289"/>
                </a:lnTo>
                <a:lnTo>
                  <a:pt x="3" y="2286"/>
                </a:lnTo>
                <a:lnTo>
                  <a:pt x="1" y="2283"/>
                </a:lnTo>
                <a:lnTo>
                  <a:pt x="0" y="2280"/>
                </a:lnTo>
                <a:lnTo>
                  <a:pt x="0" y="2277"/>
                </a:lnTo>
                <a:lnTo>
                  <a:pt x="0" y="2274"/>
                </a:lnTo>
                <a:lnTo>
                  <a:pt x="1" y="2271"/>
                </a:lnTo>
                <a:lnTo>
                  <a:pt x="4" y="2267"/>
                </a:lnTo>
                <a:lnTo>
                  <a:pt x="8" y="2264"/>
                </a:lnTo>
                <a:close/>
                <a:moveTo>
                  <a:pt x="3182" y="341"/>
                </a:moveTo>
                <a:lnTo>
                  <a:pt x="3185" y="340"/>
                </a:lnTo>
                <a:lnTo>
                  <a:pt x="3189" y="339"/>
                </a:lnTo>
                <a:lnTo>
                  <a:pt x="3193" y="339"/>
                </a:lnTo>
                <a:lnTo>
                  <a:pt x="3197" y="341"/>
                </a:lnTo>
                <a:lnTo>
                  <a:pt x="3200" y="343"/>
                </a:lnTo>
                <a:lnTo>
                  <a:pt x="3202" y="345"/>
                </a:lnTo>
                <a:lnTo>
                  <a:pt x="3204" y="347"/>
                </a:lnTo>
                <a:lnTo>
                  <a:pt x="3205" y="350"/>
                </a:lnTo>
                <a:lnTo>
                  <a:pt x="3206" y="353"/>
                </a:lnTo>
                <a:lnTo>
                  <a:pt x="3206" y="356"/>
                </a:lnTo>
                <a:lnTo>
                  <a:pt x="3205" y="359"/>
                </a:lnTo>
                <a:lnTo>
                  <a:pt x="3204" y="362"/>
                </a:lnTo>
                <a:lnTo>
                  <a:pt x="3203" y="364"/>
                </a:lnTo>
                <a:lnTo>
                  <a:pt x="3201" y="366"/>
                </a:lnTo>
                <a:lnTo>
                  <a:pt x="3198" y="369"/>
                </a:lnTo>
                <a:lnTo>
                  <a:pt x="3194" y="370"/>
                </a:lnTo>
                <a:lnTo>
                  <a:pt x="3190" y="371"/>
                </a:lnTo>
                <a:lnTo>
                  <a:pt x="3186" y="371"/>
                </a:lnTo>
                <a:lnTo>
                  <a:pt x="3182" y="369"/>
                </a:lnTo>
                <a:lnTo>
                  <a:pt x="3180" y="368"/>
                </a:lnTo>
                <a:lnTo>
                  <a:pt x="3177" y="365"/>
                </a:lnTo>
                <a:lnTo>
                  <a:pt x="3176" y="363"/>
                </a:lnTo>
                <a:lnTo>
                  <a:pt x="3174" y="360"/>
                </a:lnTo>
                <a:lnTo>
                  <a:pt x="3174" y="357"/>
                </a:lnTo>
                <a:lnTo>
                  <a:pt x="3174" y="354"/>
                </a:lnTo>
                <a:lnTo>
                  <a:pt x="3174" y="351"/>
                </a:lnTo>
                <a:lnTo>
                  <a:pt x="3175" y="348"/>
                </a:lnTo>
                <a:lnTo>
                  <a:pt x="3177" y="346"/>
                </a:lnTo>
                <a:lnTo>
                  <a:pt x="3178" y="344"/>
                </a:lnTo>
                <a:lnTo>
                  <a:pt x="3182" y="341"/>
                </a:lnTo>
                <a:close/>
                <a:moveTo>
                  <a:pt x="72" y="2135"/>
                </a:moveTo>
                <a:lnTo>
                  <a:pt x="76" y="2133"/>
                </a:lnTo>
                <a:lnTo>
                  <a:pt x="80" y="2133"/>
                </a:lnTo>
                <a:lnTo>
                  <a:pt x="84" y="2133"/>
                </a:lnTo>
                <a:lnTo>
                  <a:pt x="88" y="2135"/>
                </a:lnTo>
                <a:lnTo>
                  <a:pt x="90" y="2136"/>
                </a:lnTo>
                <a:lnTo>
                  <a:pt x="92" y="2139"/>
                </a:lnTo>
                <a:lnTo>
                  <a:pt x="94" y="2141"/>
                </a:lnTo>
                <a:lnTo>
                  <a:pt x="95" y="2144"/>
                </a:lnTo>
                <a:lnTo>
                  <a:pt x="96" y="2147"/>
                </a:lnTo>
                <a:lnTo>
                  <a:pt x="96" y="2150"/>
                </a:lnTo>
                <a:lnTo>
                  <a:pt x="95" y="2153"/>
                </a:lnTo>
                <a:lnTo>
                  <a:pt x="94" y="2156"/>
                </a:lnTo>
                <a:lnTo>
                  <a:pt x="91" y="2160"/>
                </a:lnTo>
                <a:lnTo>
                  <a:pt x="88" y="2162"/>
                </a:lnTo>
                <a:lnTo>
                  <a:pt x="84" y="2164"/>
                </a:lnTo>
                <a:lnTo>
                  <a:pt x="80" y="2165"/>
                </a:lnTo>
                <a:lnTo>
                  <a:pt x="76" y="2164"/>
                </a:lnTo>
                <a:lnTo>
                  <a:pt x="72" y="2162"/>
                </a:lnTo>
                <a:lnTo>
                  <a:pt x="69" y="2161"/>
                </a:lnTo>
                <a:lnTo>
                  <a:pt x="67" y="2158"/>
                </a:lnTo>
                <a:lnTo>
                  <a:pt x="66" y="2156"/>
                </a:lnTo>
                <a:lnTo>
                  <a:pt x="64" y="2153"/>
                </a:lnTo>
                <a:lnTo>
                  <a:pt x="64" y="2150"/>
                </a:lnTo>
                <a:lnTo>
                  <a:pt x="64" y="2147"/>
                </a:lnTo>
                <a:lnTo>
                  <a:pt x="65" y="2144"/>
                </a:lnTo>
                <a:lnTo>
                  <a:pt x="66" y="2141"/>
                </a:lnTo>
                <a:lnTo>
                  <a:pt x="68" y="2137"/>
                </a:lnTo>
                <a:lnTo>
                  <a:pt x="72" y="2135"/>
                </a:lnTo>
                <a:close/>
                <a:moveTo>
                  <a:pt x="149" y="2013"/>
                </a:moveTo>
                <a:lnTo>
                  <a:pt x="153" y="2012"/>
                </a:lnTo>
                <a:lnTo>
                  <a:pt x="157" y="2011"/>
                </a:lnTo>
                <a:lnTo>
                  <a:pt x="162" y="2012"/>
                </a:lnTo>
                <a:lnTo>
                  <a:pt x="166" y="2014"/>
                </a:lnTo>
                <a:lnTo>
                  <a:pt x="169" y="2016"/>
                </a:lnTo>
                <a:lnTo>
                  <a:pt x="170" y="2019"/>
                </a:lnTo>
                <a:lnTo>
                  <a:pt x="172" y="2022"/>
                </a:lnTo>
                <a:lnTo>
                  <a:pt x="173" y="2024"/>
                </a:lnTo>
                <a:lnTo>
                  <a:pt x="173" y="2028"/>
                </a:lnTo>
                <a:lnTo>
                  <a:pt x="172" y="2031"/>
                </a:lnTo>
                <a:lnTo>
                  <a:pt x="172" y="2034"/>
                </a:lnTo>
                <a:lnTo>
                  <a:pt x="170" y="2036"/>
                </a:lnTo>
                <a:lnTo>
                  <a:pt x="168" y="2039"/>
                </a:lnTo>
                <a:lnTo>
                  <a:pt x="165" y="2041"/>
                </a:lnTo>
                <a:lnTo>
                  <a:pt x="161" y="2043"/>
                </a:lnTo>
                <a:lnTo>
                  <a:pt x="156" y="2043"/>
                </a:lnTo>
                <a:lnTo>
                  <a:pt x="152" y="2042"/>
                </a:lnTo>
                <a:lnTo>
                  <a:pt x="148" y="2040"/>
                </a:lnTo>
                <a:lnTo>
                  <a:pt x="145" y="2038"/>
                </a:lnTo>
                <a:lnTo>
                  <a:pt x="143" y="2036"/>
                </a:lnTo>
                <a:lnTo>
                  <a:pt x="142" y="2033"/>
                </a:lnTo>
                <a:lnTo>
                  <a:pt x="141" y="2030"/>
                </a:lnTo>
                <a:lnTo>
                  <a:pt x="141" y="2027"/>
                </a:lnTo>
                <a:lnTo>
                  <a:pt x="141" y="2024"/>
                </a:lnTo>
                <a:lnTo>
                  <a:pt x="142" y="2021"/>
                </a:lnTo>
                <a:lnTo>
                  <a:pt x="144" y="2018"/>
                </a:lnTo>
                <a:lnTo>
                  <a:pt x="146" y="2015"/>
                </a:lnTo>
                <a:lnTo>
                  <a:pt x="149" y="2013"/>
                </a:lnTo>
                <a:close/>
                <a:moveTo>
                  <a:pt x="3053" y="277"/>
                </a:moveTo>
                <a:lnTo>
                  <a:pt x="3055" y="276"/>
                </a:lnTo>
                <a:lnTo>
                  <a:pt x="3056" y="275"/>
                </a:lnTo>
                <a:lnTo>
                  <a:pt x="3060" y="275"/>
                </a:lnTo>
                <a:lnTo>
                  <a:pt x="3064" y="275"/>
                </a:lnTo>
                <a:lnTo>
                  <a:pt x="3068" y="276"/>
                </a:lnTo>
                <a:lnTo>
                  <a:pt x="3071" y="278"/>
                </a:lnTo>
                <a:lnTo>
                  <a:pt x="3073" y="280"/>
                </a:lnTo>
                <a:lnTo>
                  <a:pt x="3075" y="283"/>
                </a:lnTo>
                <a:lnTo>
                  <a:pt x="3076" y="285"/>
                </a:lnTo>
                <a:lnTo>
                  <a:pt x="3077" y="288"/>
                </a:lnTo>
                <a:lnTo>
                  <a:pt x="3077" y="291"/>
                </a:lnTo>
                <a:lnTo>
                  <a:pt x="3076" y="295"/>
                </a:lnTo>
                <a:lnTo>
                  <a:pt x="3075" y="298"/>
                </a:lnTo>
                <a:lnTo>
                  <a:pt x="3073" y="302"/>
                </a:lnTo>
                <a:lnTo>
                  <a:pt x="3071" y="303"/>
                </a:lnTo>
                <a:lnTo>
                  <a:pt x="3069" y="304"/>
                </a:lnTo>
                <a:lnTo>
                  <a:pt x="3067" y="305"/>
                </a:lnTo>
                <a:lnTo>
                  <a:pt x="3065" y="306"/>
                </a:lnTo>
                <a:lnTo>
                  <a:pt x="3062" y="307"/>
                </a:lnTo>
                <a:lnTo>
                  <a:pt x="3058" y="306"/>
                </a:lnTo>
                <a:lnTo>
                  <a:pt x="3054" y="305"/>
                </a:lnTo>
                <a:lnTo>
                  <a:pt x="3051" y="303"/>
                </a:lnTo>
                <a:lnTo>
                  <a:pt x="3049" y="301"/>
                </a:lnTo>
                <a:lnTo>
                  <a:pt x="3047" y="299"/>
                </a:lnTo>
                <a:lnTo>
                  <a:pt x="3046" y="296"/>
                </a:lnTo>
                <a:lnTo>
                  <a:pt x="3045" y="293"/>
                </a:lnTo>
                <a:lnTo>
                  <a:pt x="3045" y="290"/>
                </a:lnTo>
                <a:lnTo>
                  <a:pt x="3045" y="287"/>
                </a:lnTo>
                <a:lnTo>
                  <a:pt x="3047" y="284"/>
                </a:lnTo>
                <a:lnTo>
                  <a:pt x="3049" y="280"/>
                </a:lnTo>
                <a:lnTo>
                  <a:pt x="3051" y="278"/>
                </a:lnTo>
                <a:lnTo>
                  <a:pt x="3053" y="277"/>
                </a:lnTo>
                <a:close/>
                <a:moveTo>
                  <a:pt x="238" y="1901"/>
                </a:moveTo>
                <a:lnTo>
                  <a:pt x="240" y="1900"/>
                </a:lnTo>
                <a:lnTo>
                  <a:pt x="243" y="1899"/>
                </a:lnTo>
                <a:lnTo>
                  <a:pt x="245" y="1899"/>
                </a:lnTo>
                <a:lnTo>
                  <a:pt x="248" y="1899"/>
                </a:lnTo>
                <a:lnTo>
                  <a:pt x="250" y="1899"/>
                </a:lnTo>
                <a:lnTo>
                  <a:pt x="252" y="1900"/>
                </a:lnTo>
                <a:lnTo>
                  <a:pt x="255" y="1901"/>
                </a:lnTo>
                <a:lnTo>
                  <a:pt x="257" y="1902"/>
                </a:lnTo>
                <a:lnTo>
                  <a:pt x="259" y="1905"/>
                </a:lnTo>
                <a:lnTo>
                  <a:pt x="261" y="1908"/>
                </a:lnTo>
                <a:lnTo>
                  <a:pt x="262" y="1910"/>
                </a:lnTo>
                <a:lnTo>
                  <a:pt x="262" y="1913"/>
                </a:lnTo>
                <a:lnTo>
                  <a:pt x="262" y="1917"/>
                </a:lnTo>
                <a:lnTo>
                  <a:pt x="261" y="1920"/>
                </a:lnTo>
                <a:lnTo>
                  <a:pt x="260" y="1922"/>
                </a:lnTo>
                <a:lnTo>
                  <a:pt x="258" y="1925"/>
                </a:lnTo>
                <a:lnTo>
                  <a:pt x="256" y="1927"/>
                </a:lnTo>
                <a:lnTo>
                  <a:pt x="254" y="1928"/>
                </a:lnTo>
                <a:lnTo>
                  <a:pt x="252" y="1929"/>
                </a:lnTo>
                <a:lnTo>
                  <a:pt x="250" y="1930"/>
                </a:lnTo>
                <a:lnTo>
                  <a:pt x="247" y="1930"/>
                </a:lnTo>
                <a:lnTo>
                  <a:pt x="245" y="1930"/>
                </a:lnTo>
                <a:lnTo>
                  <a:pt x="242" y="1930"/>
                </a:lnTo>
                <a:lnTo>
                  <a:pt x="240" y="1929"/>
                </a:lnTo>
                <a:lnTo>
                  <a:pt x="238" y="1928"/>
                </a:lnTo>
                <a:lnTo>
                  <a:pt x="236" y="1927"/>
                </a:lnTo>
                <a:lnTo>
                  <a:pt x="233" y="1924"/>
                </a:lnTo>
                <a:lnTo>
                  <a:pt x="232" y="1921"/>
                </a:lnTo>
                <a:lnTo>
                  <a:pt x="231" y="1919"/>
                </a:lnTo>
                <a:lnTo>
                  <a:pt x="230" y="1916"/>
                </a:lnTo>
                <a:lnTo>
                  <a:pt x="230" y="1912"/>
                </a:lnTo>
                <a:lnTo>
                  <a:pt x="231" y="1909"/>
                </a:lnTo>
                <a:lnTo>
                  <a:pt x="232" y="1907"/>
                </a:lnTo>
                <a:lnTo>
                  <a:pt x="234" y="1904"/>
                </a:lnTo>
                <a:lnTo>
                  <a:pt x="236" y="1902"/>
                </a:lnTo>
                <a:lnTo>
                  <a:pt x="238" y="1901"/>
                </a:lnTo>
                <a:close/>
                <a:moveTo>
                  <a:pt x="338" y="1797"/>
                </a:moveTo>
                <a:lnTo>
                  <a:pt x="341" y="1796"/>
                </a:lnTo>
                <a:lnTo>
                  <a:pt x="343" y="1796"/>
                </a:lnTo>
                <a:lnTo>
                  <a:pt x="349" y="1796"/>
                </a:lnTo>
                <a:lnTo>
                  <a:pt x="351" y="1796"/>
                </a:lnTo>
                <a:lnTo>
                  <a:pt x="354" y="1797"/>
                </a:lnTo>
                <a:lnTo>
                  <a:pt x="358" y="1800"/>
                </a:lnTo>
                <a:lnTo>
                  <a:pt x="360" y="1803"/>
                </a:lnTo>
                <a:lnTo>
                  <a:pt x="361" y="1806"/>
                </a:lnTo>
                <a:lnTo>
                  <a:pt x="362" y="1809"/>
                </a:lnTo>
                <a:lnTo>
                  <a:pt x="362" y="1812"/>
                </a:lnTo>
                <a:lnTo>
                  <a:pt x="362" y="1815"/>
                </a:lnTo>
                <a:lnTo>
                  <a:pt x="361" y="1818"/>
                </a:lnTo>
                <a:lnTo>
                  <a:pt x="359" y="1821"/>
                </a:lnTo>
                <a:lnTo>
                  <a:pt x="357" y="1823"/>
                </a:lnTo>
                <a:lnTo>
                  <a:pt x="354" y="1825"/>
                </a:lnTo>
                <a:lnTo>
                  <a:pt x="352" y="1826"/>
                </a:lnTo>
                <a:lnTo>
                  <a:pt x="349" y="1827"/>
                </a:lnTo>
                <a:lnTo>
                  <a:pt x="344" y="1827"/>
                </a:lnTo>
                <a:lnTo>
                  <a:pt x="341" y="1827"/>
                </a:lnTo>
                <a:lnTo>
                  <a:pt x="339" y="1826"/>
                </a:lnTo>
                <a:lnTo>
                  <a:pt x="337" y="1824"/>
                </a:lnTo>
                <a:lnTo>
                  <a:pt x="335" y="1822"/>
                </a:lnTo>
                <a:lnTo>
                  <a:pt x="333" y="1820"/>
                </a:lnTo>
                <a:lnTo>
                  <a:pt x="331" y="1817"/>
                </a:lnTo>
                <a:lnTo>
                  <a:pt x="331" y="1814"/>
                </a:lnTo>
                <a:lnTo>
                  <a:pt x="330" y="1811"/>
                </a:lnTo>
                <a:lnTo>
                  <a:pt x="331" y="1808"/>
                </a:lnTo>
                <a:lnTo>
                  <a:pt x="332" y="1805"/>
                </a:lnTo>
                <a:lnTo>
                  <a:pt x="333" y="1802"/>
                </a:lnTo>
                <a:lnTo>
                  <a:pt x="335" y="1800"/>
                </a:lnTo>
                <a:lnTo>
                  <a:pt x="338" y="1797"/>
                </a:lnTo>
                <a:close/>
                <a:moveTo>
                  <a:pt x="448" y="1703"/>
                </a:moveTo>
                <a:lnTo>
                  <a:pt x="450" y="1702"/>
                </a:lnTo>
                <a:lnTo>
                  <a:pt x="453" y="1701"/>
                </a:lnTo>
                <a:lnTo>
                  <a:pt x="459" y="1701"/>
                </a:lnTo>
                <a:lnTo>
                  <a:pt x="461" y="1702"/>
                </a:lnTo>
                <a:lnTo>
                  <a:pt x="464" y="1703"/>
                </a:lnTo>
                <a:lnTo>
                  <a:pt x="466" y="1705"/>
                </a:lnTo>
                <a:lnTo>
                  <a:pt x="467" y="1706"/>
                </a:lnTo>
                <a:lnTo>
                  <a:pt x="468" y="1707"/>
                </a:lnTo>
                <a:lnTo>
                  <a:pt x="470" y="1710"/>
                </a:lnTo>
                <a:lnTo>
                  <a:pt x="471" y="1713"/>
                </a:lnTo>
                <a:lnTo>
                  <a:pt x="472" y="1716"/>
                </a:lnTo>
                <a:lnTo>
                  <a:pt x="471" y="1719"/>
                </a:lnTo>
                <a:lnTo>
                  <a:pt x="471" y="1722"/>
                </a:lnTo>
                <a:lnTo>
                  <a:pt x="470" y="1725"/>
                </a:lnTo>
                <a:lnTo>
                  <a:pt x="468" y="1727"/>
                </a:lnTo>
                <a:lnTo>
                  <a:pt x="465" y="1730"/>
                </a:lnTo>
                <a:lnTo>
                  <a:pt x="464" y="1731"/>
                </a:lnTo>
                <a:lnTo>
                  <a:pt x="461" y="1732"/>
                </a:lnTo>
                <a:lnTo>
                  <a:pt x="458" y="1733"/>
                </a:lnTo>
                <a:lnTo>
                  <a:pt x="453" y="1733"/>
                </a:lnTo>
                <a:lnTo>
                  <a:pt x="450" y="1732"/>
                </a:lnTo>
                <a:lnTo>
                  <a:pt x="447" y="1731"/>
                </a:lnTo>
                <a:lnTo>
                  <a:pt x="445" y="1729"/>
                </a:lnTo>
                <a:lnTo>
                  <a:pt x="444" y="1728"/>
                </a:lnTo>
                <a:lnTo>
                  <a:pt x="443" y="1727"/>
                </a:lnTo>
                <a:lnTo>
                  <a:pt x="441" y="1724"/>
                </a:lnTo>
                <a:lnTo>
                  <a:pt x="440" y="1721"/>
                </a:lnTo>
                <a:lnTo>
                  <a:pt x="440" y="1718"/>
                </a:lnTo>
                <a:lnTo>
                  <a:pt x="440" y="1715"/>
                </a:lnTo>
                <a:lnTo>
                  <a:pt x="440" y="1712"/>
                </a:lnTo>
                <a:lnTo>
                  <a:pt x="442" y="1709"/>
                </a:lnTo>
                <a:lnTo>
                  <a:pt x="443" y="1707"/>
                </a:lnTo>
                <a:lnTo>
                  <a:pt x="446" y="1704"/>
                </a:lnTo>
                <a:lnTo>
                  <a:pt x="448" y="1703"/>
                </a:lnTo>
                <a:close/>
                <a:moveTo>
                  <a:pt x="816" y="1477"/>
                </a:moveTo>
                <a:lnTo>
                  <a:pt x="819" y="1476"/>
                </a:lnTo>
                <a:lnTo>
                  <a:pt x="822" y="1475"/>
                </a:lnTo>
                <a:lnTo>
                  <a:pt x="825" y="1475"/>
                </a:lnTo>
                <a:lnTo>
                  <a:pt x="828" y="1476"/>
                </a:lnTo>
                <a:lnTo>
                  <a:pt x="831" y="1477"/>
                </a:lnTo>
                <a:lnTo>
                  <a:pt x="834" y="1479"/>
                </a:lnTo>
                <a:lnTo>
                  <a:pt x="836" y="1481"/>
                </a:lnTo>
                <a:lnTo>
                  <a:pt x="838" y="1483"/>
                </a:lnTo>
                <a:lnTo>
                  <a:pt x="839" y="1486"/>
                </a:lnTo>
                <a:lnTo>
                  <a:pt x="840" y="1489"/>
                </a:lnTo>
                <a:lnTo>
                  <a:pt x="840" y="1492"/>
                </a:lnTo>
                <a:lnTo>
                  <a:pt x="839" y="1495"/>
                </a:lnTo>
                <a:lnTo>
                  <a:pt x="838" y="1498"/>
                </a:lnTo>
                <a:lnTo>
                  <a:pt x="836" y="1501"/>
                </a:lnTo>
                <a:lnTo>
                  <a:pt x="834" y="1503"/>
                </a:lnTo>
                <a:lnTo>
                  <a:pt x="832" y="1505"/>
                </a:lnTo>
                <a:lnTo>
                  <a:pt x="829" y="1506"/>
                </a:lnTo>
                <a:lnTo>
                  <a:pt x="825" y="1507"/>
                </a:lnTo>
                <a:lnTo>
                  <a:pt x="822" y="1507"/>
                </a:lnTo>
                <a:lnTo>
                  <a:pt x="819" y="1506"/>
                </a:lnTo>
                <a:lnTo>
                  <a:pt x="816" y="1505"/>
                </a:lnTo>
                <a:lnTo>
                  <a:pt x="814" y="1504"/>
                </a:lnTo>
                <a:lnTo>
                  <a:pt x="811" y="1501"/>
                </a:lnTo>
                <a:lnTo>
                  <a:pt x="810" y="1499"/>
                </a:lnTo>
                <a:lnTo>
                  <a:pt x="808" y="1496"/>
                </a:lnTo>
                <a:lnTo>
                  <a:pt x="808" y="1493"/>
                </a:lnTo>
                <a:lnTo>
                  <a:pt x="808" y="1490"/>
                </a:lnTo>
                <a:lnTo>
                  <a:pt x="808" y="1487"/>
                </a:lnTo>
                <a:lnTo>
                  <a:pt x="809" y="1484"/>
                </a:lnTo>
                <a:lnTo>
                  <a:pt x="811" y="1481"/>
                </a:lnTo>
                <a:lnTo>
                  <a:pt x="813" y="1479"/>
                </a:lnTo>
                <a:lnTo>
                  <a:pt x="816" y="1477"/>
                </a:lnTo>
                <a:close/>
                <a:moveTo>
                  <a:pt x="940" y="1405"/>
                </a:moveTo>
                <a:lnTo>
                  <a:pt x="943" y="1403"/>
                </a:lnTo>
                <a:lnTo>
                  <a:pt x="946" y="1403"/>
                </a:lnTo>
                <a:lnTo>
                  <a:pt x="949" y="1402"/>
                </a:lnTo>
                <a:lnTo>
                  <a:pt x="952" y="1403"/>
                </a:lnTo>
                <a:lnTo>
                  <a:pt x="954" y="1404"/>
                </a:lnTo>
                <a:lnTo>
                  <a:pt x="957" y="1405"/>
                </a:lnTo>
                <a:lnTo>
                  <a:pt x="959" y="1407"/>
                </a:lnTo>
                <a:lnTo>
                  <a:pt x="961" y="1410"/>
                </a:lnTo>
                <a:lnTo>
                  <a:pt x="963" y="1413"/>
                </a:lnTo>
                <a:lnTo>
                  <a:pt x="964" y="1416"/>
                </a:lnTo>
                <a:lnTo>
                  <a:pt x="964" y="1419"/>
                </a:lnTo>
                <a:lnTo>
                  <a:pt x="963" y="1422"/>
                </a:lnTo>
                <a:lnTo>
                  <a:pt x="962" y="1425"/>
                </a:lnTo>
                <a:lnTo>
                  <a:pt x="961" y="1428"/>
                </a:lnTo>
                <a:lnTo>
                  <a:pt x="959" y="1430"/>
                </a:lnTo>
                <a:lnTo>
                  <a:pt x="956" y="1432"/>
                </a:lnTo>
                <a:lnTo>
                  <a:pt x="953" y="1433"/>
                </a:lnTo>
                <a:lnTo>
                  <a:pt x="950" y="1434"/>
                </a:lnTo>
                <a:lnTo>
                  <a:pt x="947" y="1434"/>
                </a:lnTo>
                <a:lnTo>
                  <a:pt x="944" y="1434"/>
                </a:lnTo>
                <a:lnTo>
                  <a:pt x="941" y="1433"/>
                </a:lnTo>
                <a:lnTo>
                  <a:pt x="939" y="1431"/>
                </a:lnTo>
                <a:lnTo>
                  <a:pt x="936" y="1429"/>
                </a:lnTo>
                <a:lnTo>
                  <a:pt x="934" y="1427"/>
                </a:lnTo>
                <a:lnTo>
                  <a:pt x="933" y="1424"/>
                </a:lnTo>
                <a:lnTo>
                  <a:pt x="932" y="1421"/>
                </a:lnTo>
                <a:lnTo>
                  <a:pt x="932" y="1418"/>
                </a:lnTo>
                <a:lnTo>
                  <a:pt x="932" y="1415"/>
                </a:lnTo>
                <a:lnTo>
                  <a:pt x="933" y="1412"/>
                </a:lnTo>
                <a:lnTo>
                  <a:pt x="935" y="1409"/>
                </a:lnTo>
                <a:lnTo>
                  <a:pt x="937" y="1407"/>
                </a:lnTo>
                <a:lnTo>
                  <a:pt x="939" y="1405"/>
                </a:lnTo>
                <a:lnTo>
                  <a:pt x="940" y="1405"/>
                </a:lnTo>
                <a:close/>
                <a:moveTo>
                  <a:pt x="564" y="1619"/>
                </a:moveTo>
                <a:lnTo>
                  <a:pt x="567" y="1618"/>
                </a:lnTo>
                <a:lnTo>
                  <a:pt x="570" y="1617"/>
                </a:lnTo>
                <a:lnTo>
                  <a:pt x="573" y="1617"/>
                </a:lnTo>
                <a:lnTo>
                  <a:pt x="576" y="1618"/>
                </a:lnTo>
                <a:lnTo>
                  <a:pt x="579" y="1619"/>
                </a:lnTo>
                <a:lnTo>
                  <a:pt x="581" y="1620"/>
                </a:lnTo>
                <a:lnTo>
                  <a:pt x="584" y="1622"/>
                </a:lnTo>
                <a:lnTo>
                  <a:pt x="586" y="1624"/>
                </a:lnTo>
                <a:lnTo>
                  <a:pt x="587" y="1627"/>
                </a:lnTo>
                <a:lnTo>
                  <a:pt x="588" y="1630"/>
                </a:lnTo>
                <a:lnTo>
                  <a:pt x="588" y="1633"/>
                </a:lnTo>
                <a:lnTo>
                  <a:pt x="588" y="1636"/>
                </a:lnTo>
                <a:lnTo>
                  <a:pt x="587" y="1639"/>
                </a:lnTo>
                <a:lnTo>
                  <a:pt x="586" y="1642"/>
                </a:lnTo>
                <a:lnTo>
                  <a:pt x="584" y="1645"/>
                </a:lnTo>
                <a:lnTo>
                  <a:pt x="581" y="1647"/>
                </a:lnTo>
                <a:lnTo>
                  <a:pt x="578" y="1648"/>
                </a:lnTo>
                <a:lnTo>
                  <a:pt x="575" y="1649"/>
                </a:lnTo>
                <a:lnTo>
                  <a:pt x="569" y="1649"/>
                </a:lnTo>
                <a:lnTo>
                  <a:pt x="566" y="1648"/>
                </a:lnTo>
                <a:lnTo>
                  <a:pt x="563" y="1646"/>
                </a:lnTo>
                <a:lnTo>
                  <a:pt x="561" y="1644"/>
                </a:lnTo>
                <a:lnTo>
                  <a:pt x="559" y="1642"/>
                </a:lnTo>
                <a:lnTo>
                  <a:pt x="558" y="1639"/>
                </a:lnTo>
                <a:lnTo>
                  <a:pt x="557" y="1636"/>
                </a:lnTo>
                <a:lnTo>
                  <a:pt x="556" y="1633"/>
                </a:lnTo>
                <a:lnTo>
                  <a:pt x="557" y="1630"/>
                </a:lnTo>
                <a:lnTo>
                  <a:pt x="558" y="1627"/>
                </a:lnTo>
                <a:lnTo>
                  <a:pt x="559" y="1624"/>
                </a:lnTo>
                <a:lnTo>
                  <a:pt x="561" y="1622"/>
                </a:lnTo>
                <a:lnTo>
                  <a:pt x="564" y="1620"/>
                </a:lnTo>
                <a:lnTo>
                  <a:pt x="564" y="1619"/>
                </a:lnTo>
                <a:close/>
                <a:moveTo>
                  <a:pt x="687" y="1545"/>
                </a:moveTo>
                <a:lnTo>
                  <a:pt x="690" y="1543"/>
                </a:lnTo>
                <a:lnTo>
                  <a:pt x="694" y="1543"/>
                </a:lnTo>
                <a:lnTo>
                  <a:pt x="697" y="1543"/>
                </a:lnTo>
                <a:lnTo>
                  <a:pt x="700" y="1543"/>
                </a:lnTo>
                <a:lnTo>
                  <a:pt x="703" y="1544"/>
                </a:lnTo>
                <a:lnTo>
                  <a:pt x="705" y="1546"/>
                </a:lnTo>
                <a:lnTo>
                  <a:pt x="708" y="1548"/>
                </a:lnTo>
                <a:lnTo>
                  <a:pt x="709" y="1551"/>
                </a:lnTo>
                <a:lnTo>
                  <a:pt x="711" y="1554"/>
                </a:lnTo>
                <a:lnTo>
                  <a:pt x="711" y="1557"/>
                </a:lnTo>
                <a:lnTo>
                  <a:pt x="711" y="1560"/>
                </a:lnTo>
                <a:lnTo>
                  <a:pt x="711" y="1563"/>
                </a:lnTo>
                <a:lnTo>
                  <a:pt x="710" y="1566"/>
                </a:lnTo>
                <a:lnTo>
                  <a:pt x="708" y="1568"/>
                </a:lnTo>
                <a:lnTo>
                  <a:pt x="706" y="1571"/>
                </a:lnTo>
                <a:lnTo>
                  <a:pt x="703" y="1572"/>
                </a:lnTo>
                <a:lnTo>
                  <a:pt x="700" y="1574"/>
                </a:lnTo>
                <a:lnTo>
                  <a:pt x="697" y="1574"/>
                </a:lnTo>
                <a:lnTo>
                  <a:pt x="694" y="1574"/>
                </a:lnTo>
                <a:lnTo>
                  <a:pt x="691" y="1574"/>
                </a:lnTo>
                <a:lnTo>
                  <a:pt x="688" y="1573"/>
                </a:lnTo>
                <a:lnTo>
                  <a:pt x="686" y="1571"/>
                </a:lnTo>
                <a:lnTo>
                  <a:pt x="683" y="1569"/>
                </a:lnTo>
                <a:lnTo>
                  <a:pt x="681" y="1566"/>
                </a:lnTo>
                <a:lnTo>
                  <a:pt x="680" y="1563"/>
                </a:lnTo>
                <a:lnTo>
                  <a:pt x="680" y="1560"/>
                </a:lnTo>
                <a:lnTo>
                  <a:pt x="679" y="1557"/>
                </a:lnTo>
                <a:lnTo>
                  <a:pt x="680" y="1554"/>
                </a:lnTo>
                <a:lnTo>
                  <a:pt x="681" y="1551"/>
                </a:lnTo>
                <a:lnTo>
                  <a:pt x="683" y="1549"/>
                </a:lnTo>
                <a:lnTo>
                  <a:pt x="685" y="1547"/>
                </a:lnTo>
                <a:lnTo>
                  <a:pt x="687" y="1545"/>
                </a:lnTo>
                <a:close/>
                <a:moveTo>
                  <a:pt x="1058" y="1323"/>
                </a:moveTo>
                <a:lnTo>
                  <a:pt x="1060" y="1321"/>
                </a:lnTo>
                <a:lnTo>
                  <a:pt x="1063" y="1321"/>
                </a:lnTo>
                <a:lnTo>
                  <a:pt x="1069" y="1321"/>
                </a:lnTo>
                <a:lnTo>
                  <a:pt x="1071" y="1321"/>
                </a:lnTo>
                <a:lnTo>
                  <a:pt x="1074" y="1323"/>
                </a:lnTo>
                <a:lnTo>
                  <a:pt x="1076" y="1324"/>
                </a:lnTo>
                <a:lnTo>
                  <a:pt x="1078" y="1327"/>
                </a:lnTo>
                <a:lnTo>
                  <a:pt x="1080" y="1329"/>
                </a:lnTo>
                <a:lnTo>
                  <a:pt x="1081" y="1332"/>
                </a:lnTo>
                <a:lnTo>
                  <a:pt x="1082" y="1335"/>
                </a:lnTo>
                <a:lnTo>
                  <a:pt x="1081" y="1338"/>
                </a:lnTo>
                <a:lnTo>
                  <a:pt x="1081" y="1341"/>
                </a:lnTo>
                <a:lnTo>
                  <a:pt x="1080" y="1344"/>
                </a:lnTo>
                <a:lnTo>
                  <a:pt x="1078" y="1347"/>
                </a:lnTo>
                <a:lnTo>
                  <a:pt x="1075" y="1349"/>
                </a:lnTo>
                <a:lnTo>
                  <a:pt x="1074" y="1350"/>
                </a:lnTo>
                <a:lnTo>
                  <a:pt x="1071" y="1351"/>
                </a:lnTo>
                <a:lnTo>
                  <a:pt x="1068" y="1352"/>
                </a:lnTo>
                <a:lnTo>
                  <a:pt x="1063" y="1352"/>
                </a:lnTo>
                <a:lnTo>
                  <a:pt x="1060" y="1351"/>
                </a:lnTo>
                <a:lnTo>
                  <a:pt x="1057" y="1350"/>
                </a:lnTo>
                <a:lnTo>
                  <a:pt x="1055" y="1348"/>
                </a:lnTo>
                <a:lnTo>
                  <a:pt x="1053" y="1346"/>
                </a:lnTo>
                <a:lnTo>
                  <a:pt x="1051" y="1343"/>
                </a:lnTo>
                <a:lnTo>
                  <a:pt x="1050" y="1340"/>
                </a:lnTo>
                <a:lnTo>
                  <a:pt x="1050" y="1337"/>
                </a:lnTo>
                <a:lnTo>
                  <a:pt x="1050" y="1334"/>
                </a:lnTo>
                <a:lnTo>
                  <a:pt x="1050" y="1331"/>
                </a:lnTo>
                <a:lnTo>
                  <a:pt x="1052" y="1328"/>
                </a:lnTo>
                <a:lnTo>
                  <a:pt x="1054" y="1326"/>
                </a:lnTo>
                <a:lnTo>
                  <a:pt x="1056" y="1324"/>
                </a:lnTo>
                <a:lnTo>
                  <a:pt x="1058" y="1323"/>
                </a:lnTo>
                <a:close/>
                <a:moveTo>
                  <a:pt x="2923" y="216"/>
                </a:moveTo>
                <a:lnTo>
                  <a:pt x="2926" y="214"/>
                </a:lnTo>
                <a:lnTo>
                  <a:pt x="2930" y="213"/>
                </a:lnTo>
                <a:lnTo>
                  <a:pt x="2933" y="214"/>
                </a:lnTo>
                <a:lnTo>
                  <a:pt x="2935" y="214"/>
                </a:lnTo>
                <a:lnTo>
                  <a:pt x="2937" y="215"/>
                </a:lnTo>
                <a:lnTo>
                  <a:pt x="2940" y="216"/>
                </a:lnTo>
                <a:lnTo>
                  <a:pt x="2942" y="219"/>
                </a:lnTo>
                <a:lnTo>
                  <a:pt x="2944" y="221"/>
                </a:lnTo>
                <a:lnTo>
                  <a:pt x="2946" y="224"/>
                </a:lnTo>
                <a:lnTo>
                  <a:pt x="2946" y="227"/>
                </a:lnTo>
                <a:lnTo>
                  <a:pt x="2947" y="230"/>
                </a:lnTo>
                <a:lnTo>
                  <a:pt x="2946" y="233"/>
                </a:lnTo>
                <a:lnTo>
                  <a:pt x="2945" y="236"/>
                </a:lnTo>
                <a:lnTo>
                  <a:pt x="2942" y="240"/>
                </a:lnTo>
                <a:lnTo>
                  <a:pt x="2941" y="242"/>
                </a:lnTo>
                <a:lnTo>
                  <a:pt x="2939" y="243"/>
                </a:lnTo>
                <a:lnTo>
                  <a:pt x="2935" y="245"/>
                </a:lnTo>
                <a:lnTo>
                  <a:pt x="2932" y="245"/>
                </a:lnTo>
                <a:lnTo>
                  <a:pt x="2928" y="245"/>
                </a:lnTo>
                <a:lnTo>
                  <a:pt x="2926" y="245"/>
                </a:lnTo>
                <a:lnTo>
                  <a:pt x="2924" y="244"/>
                </a:lnTo>
                <a:lnTo>
                  <a:pt x="2921" y="242"/>
                </a:lnTo>
                <a:lnTo>
                  <a:pt x="2919" y="240"/>
                </a:lnTo>
                <a:lnTo>
                  <a:pt x="2917" y="238"/>
                </a:lnTo>
                <a:lnTo>
                  <a:pt x="2916" y="235"/>
                </a:lnTo>
                <a:lnTo>
                  <a:pt x="2915" y="232"/>
                </a:lnTo>
                <a:lnTo>
                  <a:pt x="2915" y="229"/>
                </a:lnTo>
                <a:lnTo>
                  <a:pt x="2915" y="226"/>
                </a:lnTo>
                <a:lnTo>
                  <a:pt x="2916" y="223"/>
                </a:lnTo>
                <a:lnTo>
                  <a:pt x="2919" y="219"/>
                </a:lnTo>
                <a:lnTo>
                  <a:pt x="2921" y="217"/>
                </a:lnTo>
                <a:lnTo>
                  <a:pt x="2923" y="216"/>
                </a:lnTo>
                <a:close/>
                <a:moveTo>
                  <a:pt x="1167" y="1229"/>
                </a:moveTo>
                <a:lnTo>
                  <a:pt x="1169" y="1228"/>
                </a:lnTo>
                <a:lnTo>
                  <a:pt x="1171" y="1227"/>
                </a:lnTo>
                <a:lnTo>
                  <a:pt x="1174" y="1227"/>
                </a:lnTo>
                <a:lnTo>
                  <a:pt x="1177" y="1227"/>
                </a:lnTo>
                <a:lnTo>
                  <a:pt x="1179" y="1228"/>
                </a:lnTo>
                <a:lnTo>
                  <a:pt x="1182" y="1229"/>
                </a:lnTo>
                <a:lnTo>
                  <a:pt x="1184" y="1230"/>
                </a:lnTo>
                <a:lnTo>
                  <a:pt x="1186" y="1232"/>
                </a:lnTo>
                <a:lnTo>
                  <a:pt x="1188" y="1234"/>
                </a:lnTo>
                <a:lnTo>
                  <a:pt x="1189" y="1237"/>
                </a:lnTo>
                <a:lnTo>
                  <a:pt x="1190" y="1240"/>
                </a:lnTo>
                <a:lnTo>
                  <a:pt x="1191" y="1243"/>
                </a:lnTo>
                <a:lnTo>
                  <a:pt x="1190" y="1246"/>
                </a:lnTo>
                <a:lnTo>
                  <a:pt x="1189" y="1249"/>
                </a:lnTo>
                <a:lnTo>
                  <a:pt x="1188" y="1252"/>
                </a:lnTo>
                <a:lnTo>
                  <a:pt x="1186" y="1254"/>
                </a:lnTo>
                <a:lnTo>
                  <a:pt x="1182" y="1257"/>
                </a:lnTo>
                <a:lnTo>
                  <a:pt x="1180" y="1258"/>
                </a:lnTo>
                <a:lnTo>
                  <a:pt x="1178" y="1259"/>
                </a:lnTo>
                <a:lnTo>
                  <a:pt x="1175" y="1259"/>
                </a:lnTo>
                <a:lnTo>
                  <a:pt x="1172" y="1259"/>
                </a:lnTo>
                <a:lnTo>
                  <a:pt x="1170" y="1258"/>
                </a:lnTo>
                <a:lnTo>
                  <a:pt x="1167" y="1257"/>
                </a:lnTo>
                <a:lnTo>
                  <a:pt x="1165" y="1256"/>
                </a:lnTo>
                <a:lnTo>
                  <a:pt x="1163" y="1254"/>
                </a:lnTo>
                <a:lnTo>
                  <a:pt x="1161" y="1251"/>
                </a:lnTo>
                <a:lnTo>
                  <a:pt x="1160" y="1249"/>
                </a:lnTo>
                <a:lnTo>
                  <a:pt x="1159" y="1246"/>
                </a:lnTo>
                <a:lnTo>
                  <a:pt x="1159" y="1243"/>
                </a:lnTo>
                <a:lnTo>
                  <a:pt x="1159" y="1240"/>
                </a:lnTo>
                <a:lnTo>
                  <a:pt x="1160" y="1237"/>
                </a:lnTo>
                <a:lnTo>
                  <a:pt x="1161" y="1234"/>
                </a:lnTo>
                <a:lnTo>
                  <a:pt x="1163" y="1231"/>
                </a:lnTo>
                <a:lnTo>
                  <a:pt x="1167" y="1229"/>
                </a:lnTo>
                <a:close/>
                <a:moveTo>
                  <a:pt x="1262" y="1122"/>
                </a:moveTo>
                <a:lnTo>
                  <a:pt x="1266" y="1120"/>
                </a:lnTo>
                <a:lnTo>
                  <a:pt x="1271" y="1120"/>
                </a:lnTo>
                <a:lnTo>
                  <a:pt x="1273" y="1120"/>
                </a:lnTo>
                <a:lnTo>
                  <a:pt x="1276" y="1121"/>
                </a:lnTo>
                <a:lnTo>
                  <a:pt x="1278" y="1122"/>
                </a:lnTo>
                <a:lnTo>
                  <a:pt x="1280" y="1123"/>
                </a:lnTo>
                <a:lnTo>
                  <a:pt x="1282" y="1125"/>
                </a:lnTo>
                <a:lnTo>
                  <a:pt x="1284" y="1128"/>
                </a:lnTo>
                <a:lnTo>
                  <a:pt x="1285" y="1131"/>
                </a:lnTo>
                <a:lnTo>
                  <a:pt x="1286" y="1134"/>
                </a:lnTo>
                <a:lnTo>
                  <a:pt x="1286" y="1137"/>
                </a:lnTo>
                <a:lnTo>
                  <a:pt x="1286" y="1140"/>
                </a:lnTo>
                <a:lnTo>
                  <a:pt x="1285" y="1143"/>
                </a:lnTo>
                <a:lnTo>
                  <a:pt x="1283" y="1146"/>
                </a:lnTo>
                <a:lnTo>
                  <a:pt x="1281" y="1148"/>
                </a:lnTo>
                <a:lnTo>
                  <a:pt x="1278" y="1150"/>
                </a:lnTo>
                <a:lnTo>
                  <a:pt x="1274" y="1151"/>
                </a:lnTo>
                <a:lnTo>
                  <a:pt x="1269" y="1152"/>
                </a:lnTo>
                <a:lnTo>
                  <a:pt x="1267" y="1152"/>
                </a:lnTo>
                <a:lnTo>
                  <a:pt x="1265" y="1151"/>
                </a:lnTo>
                <a:lnTo>
                  <a:pt x="1263" y="1150"/>
                </a:lnTo>
                <a:lnTo>
                  <a:pt x="1260" y="1149"/>
                </a:lnTo>
                <a:lnTo>
                  <a:pt x="1258" y="1146"/>
                </a:lnTo>
                <a:lnTo>
                  <a:pt x="1256" y="1144"/>
                </a:lnTo>
                <a:lnTo>
                  <a:pt x="1255" y="1141"/>
                </a:lnTo>
                <a:lnTo>
                  <a:pt x="1254" y="1138"/>
                </a:lnTo>
                <a:lnTo>
                  <a:pt x="1254" y="1135"/>
                </a:lnTo>
                <a:lnTo>
                  <a:pt x="1255" y="1132"/>
                </a:lnTo>
                <a:lnTo>
                  <a:pt x="1256" y="1129"/>
                </a:lnTo>
                <a:lnTo>
                  <a:pt x="1257" y="1126"/>
                </a:lnTo>
                <a:lnTo>
                  <a:pt x="1260" y="1124"/>
                </a:lnTo>
                <a:lnTo>
                  <a:pt x="1262" y="1122"/>
                </a:lnTo>
                <a:close/>
                <a:moveTo>
                  <a:pt x="1339" y="1001"/>
                </a:moveTo>
                <a:lnTo>
                  <a:pt x="1343" y="999"/>
                </a:lnTo>
                <a:lnTo>
                  <a:pt x="1347" y="999"/>
                </a:lnTo>
                <a:lnTo>
                  <a:pt x="1351" y="999"/>
                </a:lnTo>
                <a:lnTo>
                  <a:pt x="1354" y="1001"/>
                </a:lnTo>
                <a:lnTo>
                  <a:pt x="1357" y="1002"/>
                </a:lnTo>
                <a:lnTo>
                  <a:pt x="1359" y="1005"/>
                </a:lnTo>
                <a:lnTo>
                  <a:pt x="1361" y="1007"/>
                </a:lnTo>
                <a:lnTo>
                  <a:pt x="1362" y="1010"/>
                </a:lnTo>
                <a:lnTo>
                  <a:pt x="1363" y="1013"/>
                </a:lnTo>
                <a:lnTo>
                  <a:pt x="1363" y="1016"/>
                </a:lnTo>
                <a:lnTo>
                  <a:pt x="1363" y="1019"/>
                </a:lnTo>
                <a:lnTo>
                  <a:pt x="1361" y="1022"/>
                </a:lnTo>
                <a:lnTo>
                  <a:pt x="1360" y="1024"/>
                </a:lnTo>
                <a:lnTo>
                  <a:pt x="1359" y="1026"/>
                </a:lnTo>
                <a:lnTo>
                  <a:pt x="1355" y="1029"/>
                </a:lnTo>
                <a:lnTo>
                  <a:pt x="1352" y="1030"/>
                </a:lnTo>
                <a:lnTo>
                  <a:pt x="1348" y="1031"/>
                </a:lnTo>
                <a:lnTo>
                  <a:pt x="1344" y="1030"/>
                </a:lnTo>
                <a:lnTo>
                  <a:pt x="1340" y="1029"/>
                </a:lnTo>
                <a:lnTo>
                  <a:pt x="1337" y="1027"/>
                </a:lnTo>
                <a:lnTo>
                  <a:pt x="1335" y="1025"/>
                </a:lnTo>
                <a:lnTo>
                  <a:pt x="1333" y="1023"/>
                </a:lnTo>
                <a:lnTo>
                  <a:pt x="1332" y="1020"/>
                </a:lnTo>
                <a:lnTo>
                  <a:pt x="1331" y="1014"/>
                </a:lnTo>
                <a:lnTo>
                  <a:pt x="1332" y="1011"/>
                </a:lnTo>
                <a:lnTo>
                  <a:pt x="1333" y="1008"/>
                </a:lnTo>
                <a:lnTo>
                  <a:pt x="1334" y="1006"/>
                </a:lnTo>
                <a:lnTo>
                  <a:pt x="1336" y="1004"/>
                </a:lnTo>
                <a:lnTo>
                  <a:pt x="1339" y="1001"/>
                </a:lnTo>
                <a:close/>
                <a:moveTo>
                  <a:pt x="2790" y="159"/>
                </a:moveTo>
                <a:lnTo>
                  <a:pt x="2794" y="157"/>
                </a:lnTo>
                <a:lnTo>
                  <a:pt x="2797" y="157"/>
                </a:lnTo>
                <a:lnTo>
                  <a:pt x="2801" y="157"/>
                </a:lnTo>
                <a:lnTo>
                  <a:pt x="2804" y="158"/>
                </a:lnTo>
                <a:lnTo>
                  <a:pt x="2807" y="159"/>
                </a:lnTo>
                <a:lnTo>
                  <a:pt x="2810" y="161"/>
                </a:lnTo>
                <a:lnTo>
                  <a:pt x="2812" y="164"/>
                </a:lnTo>
                <a:lnTo>
                  <a:pt x="2813" y="166"/>
                </a:lnTo>
                <a:lnTo>
                  <a:pt x="2814" y="169"/>
                </a:lnTo>
                <a:lnTo>
                  <a:pt x="2814" y="172"/>
                </a:lnTo>
                <a:lnTo>
                  <a:pt x="2814" y="175"/>
                </a:lnTo>
                <a:lnTo>
                  <a:pt x="2813" y="179"/>
                </a:lnTo>
                <a:lnTo>
                  <a:pt x="2810" y="183"/>
                </a:lnTo>
                <a:lnTo>
                  <a:pt x="2808" y="185"/>
                </a:lnTo>
                <a:lnTo>
                  <a:pt x="2806" y="186"/>
                </a:lnTo>
                <a:lnTo>
                  <a:pt x="2803" y="188"/>
                </a:lnTo>
                <a:lnTo>
                  <a:pt x="2800" y="189"/>
                </a:lnTo>
                <a:lnTo>
                  <a:pt x="2796" y="188"/>
                </a:lnTo>
                <a:lnTo>
                  <a:pt x="2792" y="187"/>
                </a:lnTo>
                <a:lnTo>
                  <a:pt x="2789" y="186"/>
                </a:lnTo>
                <a:lnTo>
                  <a:pt x="2787" y="184"/>
                </a:lnTo>
                <a:lnTo>
                  <a:pt x="2785" y="181"/>
                </a:lnTo>
                <a:lnTo>
                  <a:pt x="2784" y="179"/>
                </a:lnTo>
                <a:lnTo>
                  <a:pt x="2783" y="176"/>
                </a:lnTo>
                <a:lnTo>
                  <a:pt x="2782" y="173"/>
                </a:lnTo>
                <a:lnTo>
                  <a:pt x="2783" y="170"/>
                </a:lnTo>
                <a:lnTo>
                  <a:pt x="2784" y="167"/>
                </a:lnTo>
                <a:lnTo>
                  <a:pt x="2786" y="162"/>
                </a:lnTo>
                <a:lnTo>
                  <a:pt x="2788" y="160"/>
                </a:lnTo>
                <a:lnTo>
                  <a:pt x="2790" y="159"/>
                </a:lnTo>
                <a:close/>
                <a:moveTo>
                  <a:pt x="1393" y="868"/>
                </a:moveTo>
                <a:lnTo>
                  <a:pt x="1396" y="867"/>
                </a:lnTo>
                <a:lnTo>
                  <a:pt x="1399" y="866"/>
                </a:lnTo>
                <a:lnTo>
                  <a:pt x="1402" y="866"/>
                </a:lnTo>
                <a:lnTo>
                  <a:pt x="1405" y="866"/>
                </a:lnTo>
                <a:lnTo>
                  <a:pt x="1408" y="868"/>
                </a:lnTo>
                <a:lnTo>
                  <a:pt x="1411" y="869"/>
                </a:lnTo>
                <a:lnTo>
                  <a:pt x="1413" y="872"/>
                </a:lnTo>
                <a:lnTo>
                  <a:pt x="1415" y="874"/>
                </a:lnTo>
                <a:lnTo>
                  <a:pt x="1416" y="877"/>
                </a:lnTo>
                <a:lnTo>
                  <a:pt x="1417" y="880"/>
                </a:lnTo>
                <a:lnTo>
                  <a:pt x="1417" y="883"/>
                </a:lnTo>
                <a:lnTo>
                  <a:pt x="1416" y="886"/>
                </a:lnTo>
                <a:lnTo>
                  <a:pt x="1415" y="889"/>
                </a:lnTo>
                <a:lnTo>
                  <a:pt x="1413" y="892"/>
                </a:lnTo>
                <a:lnTo>
                  <a:pt x="1411" y="894"/>
                </a:lnTo>
                <a:lnTo>
                  <a:pt x="1409" y="896"/>
                </a:lnTo>
                <a:lnTo>
                  <a:pt x="1406" y="897"/>
                </a:lnTo>
                <a:lnTo>
                  <a:pt x="1403" y="898"/>
                </a:lnTo>
                <a:lnTo>
                  <a:pt x="1399" y="898"/>
                </a:lnTo>
                <a:lnTo>
                  <a:pt x="1396" y="897"/>
                </a:lnTo>
                <a:lnTo>
                  <a:pt x="1393" y="896"/>
                </a:lnTo>
                <a:lnTo>
                  <a:pt x="1391" y="894"/>
                </a:lnTo>
                <a:lnTo>
                  <a:pt x="1388" y="892"/>
                </a:lnTo>
                <a:lnTo>
                  <a:pt x="1387" y="889"/>
                </a:lnTo>
                <a:lnTo>
                  <a:pt x="1385" y="886"/>
                </a:lnTo>
                <a:lnTo>
                  <a:pt x="1385" y="883"/>
                </a:lnTo>
                <a:lnTo>
                  <a:pt x="1385" y="880"/>
                </a:lnTo>
                <a:lnTo>
                  <a:pt x="1385" y="877"/>
                </a:lnTo>
                <a:lnTo>
                  <a:pt x="1387" y="874"/>
                </a:lnTo>
                <a:lnTo>
                  <a:pt x="1388" y="872"/>
                </a:lnTo>
                <a:lnTo>
                  <a:pt x="1390" y="870"/>
                </a:lnTo>
                <a:lnTo>
                  <a:pt x="1393" y="868"/>
                </a:lnTo>
                <a:close/>
                <a:moveTo>
                  <a:pt x="2656" y="107"/>
                </a:moveTo>
                <a:lnTo>
                  <a:pt x="2659" y="106"/>
                </a:lnTo>
                <a:lnTo>
                  <a:pt x="2662" y="105"/>
                </a:lnTo>
                <a:lnTo>
                  <a:pt x="2666" y="105"/>
                </a:lnTo>
                <a:lnTo>
                  <a:pt x="2669" y="106"/>
                </a:lnTo>
                <a:lnTo>
                  <a:pt x="2672" y="108"/>
                </a:lnTo>
                <a:lnTo>
                  <a:pt x="2675" y="109"/>
                </a:lnTo>
                <a:lnTo>
                  <a:pt x="2677" y="112"/>
                </a:lnTo>
                <a:lnTo>
                  <a:pt x="2678" y="114"/>
                </a:lnTo>
                <a:lnTo>
                  <a:pt x="2679" y="117"/>
                </a:lnTo>
                <a:lnTo>
                  <a:pt x="2680" y="120"/>
                </a:lnTo>
                <a:lnTo>
                  <a:pt x="2680" y="123"/>
                </a:lnTo>
                <a:lnTo>
                  <a:pt x="2679" y="127"/>
                </a:lnTo>
                <a:lnTo>
                  <a:pt x="2678" y="129"/>
                </a:lnTo>
                <a:lnTo>
                  <a:pt x="2676" y="132"/>
                </a:lnTo>
                <a:lnTo>
                  <a:pt x="2674" y="134"/>
                </a:lnTo>
                <a:lnTo>
                  <a:pt x="2672" y="135"/>
                </a:lnTo>
                <a:lnTo>
                  <a:pt x="2669" y="137"/>
                </a:lnTo>
                <a:lnTo>
                  <a:pt x="2665" y="137"/>
                </a:lnTo>
                <a:lnTo>
                  <a:pt x="2662" y="137"/>
                </a:lnTo>
                <a:lnTo>
                  <a:pt x="2659" y="136"/>
                </a:lnTo>
                <a:lnTo>
                  <a:pt x="2656" y="135"/>
                </a:lnTo>
                <a:lnTo>
                  <a:pt x="2653" y="133"/>
                </a:lnTo>
                <a:lnTo>
                  <a:pt x="2651" y="131"/>
                </a:lnTo>
                <a:lnTo>
                  <a:pt x="2649" y="128"/>
                </a:lnTo>
                <a:lnTo>
                  <a:pt x="2648" y="125"/>
                </a:lnTo>
                <a:lnTo>
                  <a:pt x="2648" y="122"/>
                </a:lnTo>
                <a:lnTo>
                  <a:pt x="2648" y="119"/>
                </a:lnTo>
                <a:lnTo>
                  <a:pt x="2649" y="116"/>
                </a:lnTo>
                <a:lnTo>
                  <a:pt x="2652" y="111"/>
                </a:lnTo>
                <a:lnTo>
                  <a:pt x="2654" y="109"/>
                </a:lnTo>
                <a:lnTo>
                  <a:pt x="2656" y="107"/>
                </a:lnTo>
                <a:close/>
                <a:moveTo>
                  <a:pt x="1423" y="727"/>
                </a:moveTo>
                <a:lnTo>
                  <a:pt x="1428" y="726"/>
                </a:lnTo>
                <a:lnTo>
                  <a:pt x="1431" y="725"/>
                </a:lnTo>
                <a:lnTo>
                  <a:pt x="1433" y="725"/>
                </a:lnTo>
                <a:lnTo>
                  <a:pt x="1436" y="726"/>
                </a:lnTo>
                <a:lnTo>
                  <a:pt x="1439" y="728"/>
                </a:lnTo>
                <a:lnTo>
                  <a:pt x="1442" y="729"/>
                </a:lnTo>
                <a:lnTo>
                  <a:pt x="1444" y="732"/>
                </a:lnTo>
                <a:lnTo>
                  <a:pt x="1445" y="734"/>
                </a:lnTo>
                <a:lnTo>
                  <a:pt x="1446" y="737"/>
                </a:lnTo>
                <a:lnTo>
                  <a:pt x="1447" y="740"/>
                </a:lnTo>
                <a:lnTo>
                  <a:pt x="1447" y="744"/>
                </a:lnTo>
                <a:lnTo>
                  <a:pt x="1446" y="747"/>
                </a:lnTo>
                <a:lnTo>
                  <a:pt x="1444" y="750"/>
                </a:lnTo>
                <a:lnTo>
                  <a:pt x="1442" y="753"/>
                </a:lnTo>
                <a:lnTo>
                  <a:pt x="1439" y="755"/>
                </a:lnTo>
                <a:lnTo>
                  <a:pt x="1434" y="757"/>
                </a:lnTo>
                <a:lnTo>
                  <a:pt x="1431" y="757"/>
                </a:lnTo>
                <a:lnTo>
                  <a:pt x="1429" y="757"/>
                </a:lnTo>
                <a:lnTo>
                  <a:pt x="1426" y="756"/>
                </a:lnTo>
                <a:lnTo>
                  <a:pt x="1423" y="755"/>
                </a:lnTo>
                <a:lnTo>
                  <a:pt x="1420" y="753"/>
                </a:lnTo>
                <a:lnTo>
                  <a:pt x="1418" y="751"/>
                </a:lnTo>
                <a:lnTo>
                  <a:pt x="1417" y="748"/>
                </a:lnTo>
                <a:lnTo>
                  <a:pt x="1416" y="745"/>
                </a:lnTo>
                <a:lnTo>
                  <a:pt x="1415" y="742"/>
                </a:lnTo>
                <a:lnTo>
                  <a:pt x="1415" y="739"/>
                </a:lnTo>
                <a:lnTo>
                  <a:pt x="1416" y="735"/>
                </a:lnTo>
                <a:lnTo>
                  <a:pt x="1418" y="732"/>
                </a:lnTo>
                <a:lnTo>
                  <a:pt x="1420" y="729"/>
                </a:lnTo>
                <a:lnTo>
                  <a:pt x="1423" y="727"/>
                </a:lnTo>
                <a:close/>
                <a:moveTo>
                  <a:pt x="2519" y="64"/>
                </a:moveTo>
                <a:lnTo>
                  <a:pt x="2522" y="62"/>
                </a:lnTo>
                <a:lnTo>
                  <a:pt x="2525" y="62"/>
                </a:lnTo>
                <a:lnTo>
                  <a:pt x="2528" y="62"/>
                </a:lnTo>
                <a:lnTo>
                  <a:pt x="2531" y="62"/>
                </a:lnTo>
                <a:lnTo>
                  <a:pt x="2534" y="63"/>
                </a:lnTo>
                <a:lnTo>
                  <a:pt x="2537" y="65"/>
                </a:lnTo>
                <a:lnTo>
                  <a:pt x="2539" y="67"/>
                </a:lnTo>
                <a:lnTo>
                  <a:pt x="2541" y="70"/>
                </a:lnTo>
                <a:lnTo>
                  <a:pt x="2542" y="73"/>
                </a:lnTo>
                <a:lnTo>
                  <a:pt x="2543" y="76"/>
                </a:lnTo>
                <a:lnTo>
                  <a:pt x="2543" y="79"/>
                </a:lnTo>
                <a:lnTo>
                  <a:pt x="2542" y="82"/>
                </a:lnTo>
                <a:lnTo>
                  <a:pt x="2541" y="85"/>
                </a:lnTo>
                <a:lnTo>
                  <a:pt x="2539" y="87"/>
                </a:lnTo>
                <a:lnTo>
                  <a:pt x="2537" y="90"/>
                </a:lnTo>
                <a:lnTo>
                  <a:pt x="2535" y="91"/>
                </a:lnTo>
                <a:lnTo>
                  <a:pt x="2532" y="93"/>
                </a:lnTo>
                <a:lnTo>
                  <a:pt x="2529" y="93"/>
                </a:lnTo>
                <a:lnTo>
                  <a:pt x="2526" y="93"/>
                </a:lnTo>
                <a:lnTo>
                  <a:pt x="2522" y="93"/>
                </a:lnTo>
                <a:lnTo>
                  <a:pt x="2519" y="92"/>
                </a:lnTo>
                <a:lnTo>
                  <a:pt x="2517" y="90"/>
                </a:lnTo>
                <a:lnTo>
                  <a:pt x="2514" y="88"/>
                </a:lnTo>
                <a:lnTo>
                  <a:pt x="2513" y="85"/>
                </a:lnTo>
                <a:lnTo>
                  <a:pt x="2512" y="83"/>
                </a:lnTo>
                <a:lnTo>
                  <a:pt x="2511" y="79"/>
                </a:lnTo>
                <a:lnTo>
                  <a:pt x="2511" y="76"/>
                </a:lnTo>
                <a:lnTo>
                  <a:pt x="2511" y="73"/>
                </a:lnTo>
                <a:lnTo>
                  <a:pt x="2513" y="70"/>
                </a:lnTo>
                <a:lnTo>
                  <a:pt x="2514" y="68"/>
                </a:lnTo>
                <a:lnTo>
                  <a:pt x="2516" y="65"/>
                </a:lnTo>
                <a:lnTo>
                  <a:pt x="2519" y="64"/>
                </a:lnTo>
                <a:close/>
                <a:moveTo>
                  <a:pt x="1437" y="583"/>
                </a:moveTo>
                <a:lnTo>
                  <a:pt x="1441" y="581"/>
                </a:lnTo>
                <a:lnTo>
                  <a:pt x="1446" y="581"/>
                </a:lnTo>
                <a:lnTo>
                  <a:pt x="1449" y="582"/>
                </a:lnTo>
                <a:lnTo>
                  <a:pt x="1452" y="583"/>
                </a:lnTo>
                <a:lnTo>
                  <a:pt x="1455" y="584"/>
                </a:lnTo>
                <a:lnTo>
                  <a:pt x="1457" y="586"/>
                </a:lnTo>
                <a:lnTo>
                  <a:pt x="1459" y="589"/>
                </a:lnTo>
                <a:lnTo>
                  <a:pt x="1460" y="592"/>
                </a:lnTo>
                <a:lnTo>
                  <a:pt x="1461" y="596"/>
                </a:lnTo>
                <a:lnTo>
                  <a:pt x="1461" y="599"/>
                </a:lnTo>
                <a:lnTo>
                  <a:pt x="1461" y="601"/>
                </a:lnTo>
                <a:lnTo>
                  <a:pt x="1460" y="603"/>
                </a:lnTo>
                <a:lnTo>
                  <a:pt x="1458" y="607"/>
                </a:lnTo>
                <a:lnTo>
                  <a:pt x="1456" y="610"/>
                </a:lnTo>
                <a:lnTo>
                  <a:pt x="1453" y="612"/>
                </a:lnTo>
                <a:lnTo>
                  <a:pt x="1449" y="614"/>
                </a:lnTo>
                <a:lnTo>
                  <a:pt x="1444" y="614"/>
                </a:lnTo>
                <a:lnTo>
                  <a:pt x="1441" y="613"/>
                </a:lnTo>
                <a:lnTo>
                  <a:pt x="1438" y="612"/>
                </a:lnTo>
                <a:lnTo>
                  <a:pt x="1435" y="611"/>
                </a:lnTo>
                <a:lnTo>
                  <a:pt x="1433" y="608"/>
                </a:lnTo>
                <a:lnTo>
                  <a:pt x="1431" y="606"/>
                </a:lnTo>
                <a:lnTo>
                  <a:pt x="1430" y="603"/>
                </a:lnTo>
                <a:lnTo>
                  <a:pt x="1429" y="600"/>
                </a:lnTo>
                <a:lnTo>
                  <a:pt x="1429" y="597"/>
                </a:lnTo>
                <a:lnTo>
                  <a:pt x="1429" y="595"/>
                </a:lnTo>
                <a:lnTo>
                  <a:pt x="1430" y="592"/>
                </a:lnTo>
                <a:lnTo>
                  <a:pt x="1431" y="588"/>
                </a:lnTo>
                <a:lnTo>
                  <a:pt x="1434" y="585"/>
                </a:lnTo>
                <a:lnTo>
                  <a:pt x="1437" y="583"/>
                </a:lnTo>
                <a:close/>
                <a:moveTo>
                  <a:pt x="2378" y="30"/>
                </a:moveTo>
                <a:lnTo>
                  <a:pt x="2380" y="28"/>
                </a:lnTo>
                <a:lnTo>
                  <a:pt x="2383" y="28"/>
                </a:lnTo>
                <a:lnTo>
                  <a:pt x="2389" y="28"/>
                </a:lnTo>
                <a:lnTo>
                  <a:pt x="2392" y="29"/>
                </a:lnTo>
                <a:lnTo>
                  <a:pt x="2395" y="30"/>
                </a:lnTo>
                <a:lnTo>
                  <a:pt x="2397" y="32"/>
                </a:lnTo>
                <a:lnTo>
                  <a:pt x="2399" y="35"/>
                </a:lnTo>
                <a:lnTo>
                  <a:pt x="2401" y="37"/>
                </a:lnTo>
                <a:lnTo>
                  <a:pt x="2402" y="40"/>
                </a:lnTo>
                <a:lnTo>
                  <a:pt x="2402" y="43"/>
                </a:lnTo>
                <a:lnTo>
                  <a:pt x="2402" y="47"/>
                </a:lnTo>
                <a:lnTo>
                  <a:pt x="2401" y="50"/>
                </a:lnTo>
                <a:lnTo>
                  <a:pt x="2399" y="53"/>
                </a:lnTo>
                <a:lnTo>
                  <a:pt x="2397" y="55"/>
                </a:lnTo>
                <a:lnTo>
                  <a:pt x="2394" y="57"/>
                </a:lnTo>
                <a:lnTo>
                  <a:pt x="2391" y="58"/>
                </a:lnTo>
                <a:lnTo>
                  <a:pt x="2389" y="59"/>
                </a:lnTo>
                <a:lnTo>
                  <a:pt x="2383" y="59"/>
                </a:lnTo>
                <a:lnTo>
                  <a:pt x="2380" y="58"/>
                </a:lnTo>
                <a:lnTo>
                  <a:pt x="2377" y="57"/>
                </a:lnTo>
                <a:lnTo>
                  <a:pt x="2375" y="55"/>
                </a:lnTo>
                <a:lnTo>
                  <a:pt x="2373" y="52"/>
                </a:lnTo>
                <a:lnTo>
                  <a:pt x="2371" y="50"/>
                </a:lnTo>
                <a:lnTo>
                  <a:pt x="2370" y="47"/>
                </a:lnTo>
                <a:lnTo>
                  <a:pt x="2370" y="44"/>
                </a:lnTo>
                <a:lnTo>
                  <a:pt x="2370" y="40"/>
                </a:lnTo>
                <a:lnTo>
                  <a:pt x="2371" y="37"/>
                </a:lnTo>
                <a:lnTo>
                  <a:pt x="2373" y="34"/>
                </a:lnTo>
                <a:lnTo>
                  <a:pt x="2375" y="32"/>
                </a:lnTo>
                <a:lnTo>
                  <a:pt x="2378" y="30"/>
                </a:lnTo>
                <a:close/>
                <a:moveTo>
                  <a:pt x="2236" y="8"/>
                </a:moveTo>
                <a:lnTo>
                  <a:pt x="2238" y="7"/>
                </a:lnTo>
                <a:lnTo>
                  <a:pt x="2240" y="6"/>
                </a:lnTo>
                <a:lnTo>
                  <a:pt x="2243" y="6"/>
                </a:lnTo>
                <a:lnTo>
                  <a:pt x="2245" y="6"/>
                </a:lnTo>
                <a:lnTo>
                  <a:pt x="2248" y="7"/>
                </a:lnTo>
                <a:lnTo>
                  <a:pt x="2251" y="8"/>
                </a:lnTo>
                <a:lnTo>
                  <a:pt x="2254" y="10"/>
                </a:lnTo>
                <a:lnTo>
                  <a:pt x="2256" y="12"/>
                </a:lnTo>
                <a:lnTo>
                  <a:pt x="2258" y="14"/>
                </a:lnTo>
                <a:lnTo>
                  <a:pt x="2259" y="17"/>
                </a:lnTo>
                <a:lnTo>
                  <a:pt x="2260" y="20"/>
                </a:lnTo>
                <a:lnTo>
                  <a:pt x="2260" y="23"/>
                </a:lnTo>
                <a:lnTo>
                  <a:pt x="2259" y="27"/>
                </a:lnTo>
                <a:lnTo>
                  <a:pt x="2257" y="31"/>
                </a:lnTo>
                <a:lnTo>
                  <a:pt x="2255" y="34"/>
                </a:lnTo>
                <a:lnTo>
                  <a:pt x="2252" y="36"/>
                </a:lnTo>
                <a:lnTo>
                  <a:pt x="2250" y="37"/>
                </a:lnTo>
                <a:lnTo>
                  <a:pt x="2247" y="38"/>
                </a:lnTo>
                <a:lnTo>
                  <a:pt x="2245" y="38"/>
                </a:lnTo>
                <a:lnTo>
                  <a:pt x="2242" y="38"/>
                </a:lnTo>
                <a:lnTo>
                  <a:pt x="2239" y="37"/>
                </a:lnTo>
                <a:lnTo>
                  <a:pt x="2236" y="36"/>
                </a:lnTo>
                <a:lnTo>
                  <a:pt x="2233" y="34"/>
                </a:lnTo>
                <a:lnTo>
                  <a:pt x="2231" y="32"/>
                </a:lnTo>
                <a:lnTo>
                  <a:pt x="2230" y="30"/>
                </a:lnTo>
                <a:lnTo>
                  <a:pt x="2228" y="27"/>
                </a:lnTo>
                <a:lnTo>
                  <a:pt x="2228" y="24"/>
                </a:lnTo>
                <a:lnTo>
                  <a:pt x="2228" y="20"/>
                </a:lnTo>
                <a:lnTo>
                  <a:pt x="2229" y="17"/>
                </a:lnTo>
                <a:lnTo>
                  <a:pt x="2230" y="13"/>
                </a:lnTo>
                <a:lnTo>
                  <a:pt x="2233" y="10"/>
                </a:lnTo>
                <a:lnTo>
                  <a:pt x="2236" y="8"/>
                </a:lnTo>
                <a:close/>
                <a:moveTo>
                  <a:pt x="1449" y="440"/>
                </a:moveTo>
                <a:lnTo>
                  <a:pt x="1451" y="439"/>
                </a:lnTo>
                <a:lnTo>
                  <a:pt x="1453" y="438"/>
                </a:lnTo>
                <a:lnTo>
                  <a:pt x="1456" y="437"/>
                </a:lnTo>
                <a:lnTo>
                  <a:pt x="1459" y="438"/>
                </a:lnTo>
                <a:lnTo>
                  <a:pt x="1462" y="438"/>
                </a:lnTo>
                <a:lnTo>
                  <a:pt x="1465" y="440"/>
                </a:lnTo>
                <a:lnTo>
                  <a:pt x="1467" y="441"/>
                </a:lnTo>
                <a:lnTo>
                  <a:pt x="1469" y="444"/>
                </a:lnTo>
                <a:lnTo>
                  <a:pt x="1471" y="446"/>
                </a:lnTo>
                <a:lnTo>
                  <a:pt x="1472" y="449"/>
                </a:lnTo>
                <a:lnTo>
                  <a:pt x="1473" y="452"/>
                </a:lnTo>
                <a:lnTo>
                  <a:pt x="1473" y="455"/>
                </a:lnTo>
                <a:lnTo>
                  <a:pt x="1472" y="459"/>
                </a:lnTo>
                <a:lnTo>
                  <a:pt x="1470" y="462"/>
                </a:lnTo>
                <a:lnTo>
                  <a:pt x="1468" y="465"/>
                </a:lnTo>
                <a:lnTo>
                  <a:pt x="1465" y="467"/>
                </a:lnTo>
                <a:lnTo>
                  <a:pt x="1462" y="468"/>
                </a:lnTo>
                <a:lnTo>
                  <a:pt x="1460" y="469"/>
                </a:lnTo>
                <a:lnTo>
                  <a:pt x="1457" y="469"/>
                </a:lnTo>
                <a:lnTo>
                  <a:pt x="1455" y="469"/>
                </a:lnTo>
                <a:lnTo>
                  <a:pt x="1452" y="469"/>
                </a:lnTo>
                <a:lnTo>
                  <a:pt x="1449" y="467"/>
                </a:lnTo>
                <a:lnTo>
                  <a:pt x="1446" y="466"/>
                </a:lnTo>
                <a:lnTo>
                  <a:pt x="1444" y="463"/>
                </a:lnTo>
                <a:lnTo>
                  <a:pt x="1442" y="461"/>
                </a:lnTo>
                <a:lnTo>
                  <a:pt x="1441" y="458"/>
                </a:lnTo>
                <a:lnTo>
                  <a:pt x="1441" y="455"/>
                </a:lnTo>
                <a:lnTo>
                  <a:pt x="1441" y="452"/>
                </a:lnTo>
                <a:lnTo>
                  <a:pt x="1442" y="448"/>
                </a:lnTo>
                <a:lnTo>
                  <a:pt x="1443" y="445"/>
                </a:lnTo>
                <a:lnTo>
                  <a:pt x="1446" y="442"/>
                </a:lnTo>
                <a:lnTo>
                  <a:pt x="1449" y="440"/>
                </a:lnTo>
                <a:close/>
                <a:moveTo>
                  <a:pt x="2092" y="2"/>
                </a:moveTo>
                <a:lnTo>
                  <a:pt x="2094" y="1"/>
                </a:lnTo>
                <a:lnTo>
                  <a:pt x="2096" y="1"/>
                </a:lnTo>
                <a:lnTo>
                  <a:pt x="2100" y="0"/>
                </a:lnTo>
                <a:lnTo>
                  <a:pt x="2103" y="0"/>
                </a:lnTo>
                <a:lnTo>
                  <a:pt x="2106" y="1"/>
                </a:lnTo>
                <a:lnTo>
                  <a:pt x="2107" y="2"/>
                </a:lnTo>
                <a:lnTo>
                  <a:pt x="2109" y="3"/>
                </a:lnTo>
                <a:lnTo>
                  <a:pt x="2111" y="4"/>
                </a:lnTo>
                <a:lnTo>
                  <a:pt x="2113" y="7"/>
                </a:lnTo>
                <a:lnTo>
                  <a:pt x="2115" y="9"/>
                </a:lnTo>
                <a:lnTo>
                  <a:pt x="2116" y="12"/>
                </a:lnTo>
                <a:lnTo>
                  <a:pt x="2116" y="16"/>
                </a:lnTo>
                <a:lnTo>
                  <a:pt x="2116" y="20"/>
                </a:lnTo>
                <a:lnTo>
                  <a:pt x="2115" y="22"/>
                </a:lnTo>
                <a:lnTo>
                  <a:pt x="2114" y="24"/>
                </a:lnTo>
                <a:lnTo>
                  <a:pt x="2111" y="27"/>
                </a:lnTo>
                <a:lnTo>
                  <a:pt x="2108" y="30"/>
                </a:lnTo>
                <a:lnTo>
                  <a:pt x="2106" y="31"/>
                </a:lnTo>
                <a:lnTo>
                  <a:pt x="2104" y="31"/>
                </a:lnTo>
                <a:lnTo>
                  <a:pt x="2100" y="32"/>
                </a:lnTo>
                <a:lnTo>
                  <a:pt x="2097" y="32"/>
                </a:lnTo>
                <a:lnTo>
                  <a:pt x="2094" y="31"/>
                </a:lnTo>
                <a:lnTo>
                  <a:pt x="2093" y="30"/>
                </a:lnTo>
                <a:lnTo>
                  <a:pt x="2091" y="29"/>
                </a:lnTo>
                <a:lnTo>
                  <a:pt x="2089" y="28"/>
                </a:lnTo>
                <a:lnTo>
                  <a:pt x="2087" y="25"/>
                </a:lnTo>
                <a:lnTo>
                  <a:pt x="2085" y="23"/>
                </a:lnTo>
                <a:lnTo>
                  <a:pt x="2084" y="20"/>
                </a:lnTo>
                <a:lnTo>
                  <a:pt x="2084" y="16"/>
                </a:lnTo>
                <a:lnTo>
                  <a:pt x="2085" y="12"/>
                </a:lnTo>
                <a:lnTo>
                  <a:pt x="2085" y="10"/>
                </a:lnTo>
                <a:lnTo>
                  <a:pt x="2086" y="8"/>
                </a:lnTo>
                <a:lnTo>
                  <a:pt x="2089" y="5"/>
                </a:lnTo>
                <a:lnTo>
                  <a:pt x="2092" y="2"/>
                </a:lnTo>
                <a:close/>
                <a:moveTo>
                  <a:pt x="1480" y="300"/>
                </a:moveTo>
                <a:lnTo>
                  <a:pt x="1483" y="298"/>
                </a:lnTo>
                <a:lnTo>
                  <a:pt x="1487" y="298"/>
                </a:lnTo>
                <a:lnTo>
                  <a:pt x="1490" y="298"/>
                </a:lnTo>
                <a:lnTo>
                  <a:pt x="1494" y="299"/>
                </a:lnTo>
                <a:lnTo>
                  <a:pt x="1497" y="300"/>
                </a:lnTo>
                <a:lnTo>
                  <a:pt x="1499" y="302"/>
                </a:lnTo>
                <a:lnTo>
                  <a:pt x="1501" y="304"/>
                </a:lnTo>
                <a:lnTo>
                  <a:pt x="1503" y="307"/>
                </a:lnTo>
                <a:lnTo>
                  <a:pt x="1504" y="310"/>
                </a:lnTo>
                <a:lnTo>
                  <a:pt x="1504" y="313"/>
                </a:lnTo>
                <a:lnTo>
                  <a:pt x="1504" y="316"/>
                </a:lnTo>
                <a:lnTo>
                  <a:pt x="1503" y="319"/>
                </a:lnTo>
                <a:lnTo>
                  <a:pt x="1500" y="324"/>
                </a:lnTo>
                <a:lnTo>
                  <a:pt x="1496" y="327"/>
                </a:lnTo>
                <a:lnTo>
                  <a:pt x="1493" y="329"/>
                </a:lnTo>
                <a:lnTo>
                  <a:pt x="1490" y="330"/>
                </a:lnTo>
                <a:lnTo>
                  <a:pt x="1486" y="329"/>
                </a:lnTo>
                <a:lnTo>
                  <a:pt x="1483" y="329"/>
                </a:lnTo>
                <a:lnTo>
                  <a:pt x="1480" y="327"/>
                </a:lnTo>
                <a:lnTo>
                  <a:pt x="1477" y="325"/>
                </a:lnTo>
                <a:lnTo>
                  <a:pt x="1475" y="323"/>
                </a:lnTo>
                <a:lnTo>
                  <a:pt x="1474" y="320"/>
                </a:lnTo>
                <a:lnTo>
                  <a:pt x="1473" y="317"/>
                </a:lnTo>
                <a:lnTo>
                  <a:pt x="1472" y="314"/>
                </a:lnTo>
                <a:lnTo>
                  <a:pt x="1472" y="311"/>
                </a:lnTo>
                <a:lnTo>
                  <a:pt x="1473" y="308"/>
                </a:lnTo>
                <a:lnTo>
                  <a:pt x="1476" y="303"/>
                </a:lnTo>
                <a:lnTo>
                  <a:pt x="1480" y="300"/>
                </a:lnTo>
                <a:close/>
                <a:moveTo>
                  <a:pt x="1949" y="15"/>
                </a:moveTo>
                <a:lnTo>
                  <a:pt x="1951" y="14"/>
                </a:lnTo>
                <a:lnTo>
                  <a:pt x="1954" y="13"/>
                </a:lnTo>
                <a:lnTo>
                  <a:pt x="1958" y="13"/>
                </a:lnTo>
                <a:lnTo>
                  <a:pt x="1961" y="13"/>
                </a:lnTo>
                <a:lnTo>
                  <a:pt x="1964" y="14"/>
                </a:lnTo>
                <a:lnTo>
                  <a:pt x="1966" y="16"/>
                </a:lnTo>
                <a:lnTo>
                  <a:pt x="1969" y="18"/>
                </a:lnTo>
                <a:lnTo>
                  <a:pt x="1970" y="20"/>
                </a:lnTo>
                <a:lnTo>
                  <a:pt x="1972" y="23"/>
                </a:lnTo>
                <a:lnTo>
                  <a:pt x="1972" y="25"/>
                </a:lnTo>
                <a:lnTo>
                  <a:pt x="1973" y="26"/>
                </a:lnTo>
                <a:lnTo>
                  <a:pt x="1973" y="31"/>
                </a:lnTo>
                <a:lnTo>
                  <a:pt x="1972" y="33"/>
                </a:lnTo>
                <a:lnTo>
                  <a:pt x="1971" y="36"/>
                </a:lnTo>
                <a:lnTo>
                  <a:pt x="1970" y="38"/>
                </a:lnTo>
                <a:lnTo>
                  <a:pt x="1969" y="40"/>
                </a:lnTo>
                <a:lnTo>
                  <a:pt x="1967" y="41"/>
                </a:lnTo>
                <a:lnTo>
                  <a:pt x="1965" y="42"/>
                </a:lnTo>
                <a:lnTo>
                  <a:pt x="1962" y="44"/>
                </a:lnTo>
                <a:lnTo>
                  <a:pt x="1959" y="44"/>
                </a:lnTo>
                <a:lnTo>
                  <a:pt x="1956" y="45"/>
                </a:lnTo>
                <a:lnTo>
                  <a:pt x="1953" y="44"/>
                </a:lnTo>
                <a:lnTo>
                  <a:pt x="1950" y="43"/>
                </a:lnTo>
                <a:lnTo>
                  <a:pt x="1947" y="42"/>
                </a:lnTo>
                <a:lnTo>
                  <a:pt x="1945" y="40"/>
                </a:lnTo>
                <a:lnTo>
                  <a:pt x="1943" y="37"/>
                </a:lnTo>
                <a:lnTo>
                  <a:pt x="1942" y="34"/>
                </a:lnTo>
                <a:lnTo>
                  <a:pt x="1941" y="33"/>
                </a:lnTo>
                <a:lnTo>
                  <a:pt x="1941" y="31"/>
                </a:lnTo>
                <a:lnTo>
                  <a:pt x="1941" y="26"/>
                </a:lnTo>
                <a:lnTo>
                  <a:pt x="1942" y="24"/>
                </a:lnTo>
                <a:lnTo>
                  <a:pt x="1942" y="22"/>
                </a:lnTo>
                <a:lnTo>
                  <a:pt x="1944" y="20"/>
                </a:lnTo>
                <a:lnTo>
                  <a:pt x="1945" y="18"/>
                </a:lnTo>
                <a:lnTo>
                  <a:pt x="1947" y="16"/>
                </a:lnTo>
                <a:lnTo>
                  <a:pt x="1949" y="15"/>
                </a:lnTo>
                <a:close/>
                <a:moveTo>
                  <a:pt x="1809" y="47"/>
                </a:moveTo>
                <a:lnTo>
                  <a:pt x="1812" y="46"/>
                </a:lnTo>
                <a:lnTo>
                  <a:pt x="1815" y="45"/>
                </a:lnTo>
                <a:lnTo>
                  <a:pt x="1819" y="45"/>
                </a:lnTo>
                <a:lnTo>
                  <a:pt x="1822" y="46"/>
                </a:lnTo>
                <a:lnTo>
                  <a:pt x="1824" y="47"/>
                </a:lnTo>
                <a:lnTo>
                  <a:pt x="1827" y="49"/>
                </a:lnTo>
                <a:lnTo>
                  <a:pt x="1829" y="51"/>
                </a:lnTo>
                <a:lnTo>
                  <a:pt x="1831" y="53"/>
                </a:lnTo>
                <a:lnTo>
                  <a:pt x="1832" y="56"/>
                </a:lnTo>
                <a:lnTo>
                  <a:pt x="1833" y="62"/>
                </a:lnTo>
                <a:lnTo>
                  <a:pt x="1833" y="65"/>
                </a:lnTo>
                <a:lnTo>
                  <a:pt x="1832" y="67"/>
                </a:lnTo>
                <a:lnTo>
                  <a:pt x="1831" y="69"/>
                </a:lnTo>
                <a:lnTo>
                  <a:pt x="1829" y="72"/>
                </a:lnTo>
                <a:lnTo>
                  <a:pt x="1825" y="75"/>
                </a:lnTo>
                <a:lnTo>
                  <a:pt x="1822" y="76"/>
                </a:lnTo>
                <a:lnTo>
                  <a:pt x="1819" y="77"/>
                </a:lnTo>
                <a:lnTo>
                  <a:pt x="1815" y="77"/>
                </a:lnTo>
                <a:lnTo>
                  <a:pt x="1812" y="77"/>
                </a:lnTo>
                <a:lnTo>
                  <a:pt x="1810" y="75"/>
                </a:lnTo>
                <a:lnTo>
                  <a:pt x="1807" y="74"/>
                </a:lnTo>
                <a:lnTo>
                  <a:pt x="1805" y="72"/>
                </a:lnTo>
                <a:lnTo>
                  <a:pt x="1803" y="69"/>
                </a:lnTo>
                <a:lnTo>
                  <a:pt x="1802" y="66"/>
                </a:lnTo>
                <a:lnTo>
                  <a:pt x="1801" y="60"/>
                </a:lnTo>
                <a:lnTo>
                  <a:pt x="1801" y="58"/>
                </a:lnTo>
                <a:lnTo>
                  <a:pt x="1802" y="55"/>
                </a:lnTo>
                <a:lnTo>
                  <a:pt x="1803" y="53"/>
                </a:lnTo>
                <a:lnTo>
                  <a:pt x="1805" y="51"/>
                </a:lnTo>
                <a:lnTo>
                  <a:pt x="1809" y="47"/>
                </a:lnTo>
                <a:close/>
                <a:moveTo>
                  <a:pt x="1557" y="180"/>
                </a:moveTo>
                <a:lnTo>
                  <a:pt x="1560" y="179"/>
                </a:lnTo>
                <a:lnTo>
                  <a:pt x="1562" y="179"/>
                </a:lnTo>
                <a:lnTo>
                  <a:pt x="1565" y="178"/>
                </a:lnTo>
                <a:lnTo>
                  <a:pt x="1567" y="178"/>
                </a:lnTo>
                <a:lnTo>
                  <a:pt x="1570" y="179"/>
                </a:lnTo>
                <a:lnTo>
                  <a:pt x="1572" y="180"/>
                </a:lnTo>
                <a:lnTo>
                  <a:pt x="1575" y="181"/>
                </a:lnTo>
                <a:lnTo>
                  <a:pt x="1577" y="183"/>
                </a:lnTo>
                <a:lnTo>
                  <a:pt x="1579" y="186"/>
                </a:lnTo>
                <a:lnTo>
                  <a:pt x="1580" y="188"/>
                </a:lnTo>
                <a:lnTo>
                  <a:pt x="1581" y="191"/>
                </a:lnTo>
                <a:lnTo>
                  <a:pt x="1581" y="194"/>
                </a:lnTo>
                <a:lnTo>
                  <a:pt x="1581" y="197"/>
                </a:lnTo>
                <a:lnTo>
                  <a:pt x="1580" y="200"/>
                </a:lnTo>
                <a:lnTo>
                  <a:pt x="1579" y="203"/>
                </a:lnTo>
                <a:lnTo>
                  <a:pt x="1577" y="206"/>
                </a:lnTo>
                <a:lnTo>
                  <a:pt x="1573" y="208"/>
                </a:lnTo>
                <a:lnTo>
                  <a:pt x="1571" y="209"/>
                </a:lnTo>
                <a:lnTo>
                  <a:pt x="1568" y="210"/>
                </a:lnTo>
                <a:lnTo>
                  <a:pt x="1566" y="210"/>
                </a:lnTo>
                <a:lnTo>
                  <a:pt x="1563" y="210"/>
                </a:lnTo>
                <a:lnTo>
                  <a:pt x="1561" y="210"/>
                </a:lnTo>
                <a:lnTo>
                  <a:pt x="1558" y="209"/>
                </a:lnTo>
                <a:lnTo>
                  <a:pt x="1556" y="207"/>
                </a:lnTo>
                <a:lnTo>
                  <a:pt x="1554" y="206"/>
                </a:lnTo>
                <a:lnTo>
                  <a:pt x="1552" y="203"/>
                </a:lnTo>
                <a:lnTo>
                  <a:pt x="1550" y="200"/>
                </a:lnTo>
                <a:lnTo>
                  <a:pt x="1550" y="197"/>
                </a:lnTo>
                <a:lnTo>
                  <a:pt x="1549" y="194"/>
                </a:lnTo>
                <a:lnTo>
                  <a:pt x="1550" y="191"/>
                </a:lnTo>
                <a:lnTo>
                  <a:pt x="1551" y="188"/>
                </a:lnTo>
                <a:lnTo>
                  <a:pt x="1552" y="185"/>
                </a:lnTo>
                <a:lnTo>
                  <a:pt x="1554" y="183"/>
                </a:lnTo>
                <a:lnTo>
                  <a:pt x="1557" y="180"/>
                </a:lnTo>
                <a:close/>
                <a:moveTo>
                  <a:pt x="1675" y="100"/>
                </a:moveTo>
                <a:lnTo>
                  <a:pt x="1678" y="98"/>
                </a:lnTo>
                <a:lnTo>
                  <a:pt x="1682" y="98"/>
                </a:lnTo>
                <a:lnTo>
                  <a:pt x="1685" y="98"/>
                </a:lnTo>
                <a:lnTo>
                  <a:pt x="1688" y="98"/>
                </a:lnTo>
                <a:lnTo>
                  <a:pt x="1691" y="100"/>
                </a:lnTo>
                <a:lnTo>
                  <a:pt x="1694" y="101"/>
                </a:lnTo>
                <a:lnTo>
                  <a:pt x="1696" y="104"/>
                </a:lnTo>
                <a:lnTo>
                  <a:pt x="1697" y="106"/>
                </a:lnTo>
                <a:lnTo>
                  <a:pt x="1699" y="109"/>
                </a:lnTo>
                <a:lnTo>
                  <a:pt x="1699" y="112"/>
                </a:lnTo>
                <a:lnTo>
                  <a:pt x="1699" y="115"/>
                </a:lnTo>
                <a:lnTo>
                  <a:pt x="1698" y="118"/>
                </a:lnTo>
                <a:lnTo>
                  <a:pt x="1697" y="121"/>
                </a:lnTo>
                <a:lnTo>
                  <a:pt x="1696" y="123"/>
                </a:lnTo>
                <a:lnTo>
                  <a:pt x="1694" y="126"/>
                </a:lnTo>
                <a:lnTo>
                  <a:pt x="1691" y="127"/>
                </a:lnTo>
                <a:lnTo>
                  <a:pt x="1688" y="129"/>
                </a:lnTo>
                <a:lnTo>
                  <a:pt x="1684" y="129"/>
                </a:lnTo>
                <a:lnTo>
                  <a:pt x="1681" y="129"/>
                </a:lnTo>
                <a:lnTo>
                  <a:pt x="1678" y="129"/>
                </a:lnTo>
                <a:lnTo>
                  <a:pt x="1675" y="127"/>
                </a:lnTo>
                <a:lnTo>
                  <a:pt x="1673" y="125"/>
                </a:lnTo>
                <a:lnTo>
                  <a:pt x="1670" y="123"/>
                </a:lnTo>
                <a:lnTo>
                  <a:pt x="1669" y="120"/>
                </a:lnTo>
                <a:lnTo>
                  <a:pt x="1668" y="118"/>
                </a:lnTo>
                <a:lnTo>
                  <a:pt x="1667" y="115"/>
                </a:lnTo>
                <a:lnTo>
                  <a:pt x="1667" y="112"/>
                </a:lnTo>
                <a:lnTo>
                  <a:pt x="1668" y="109"/>
                </a:lnTo>
                <a:lnTo>
                  <a:pt x="1669" y="106"/>
                </a:lnTo>
                <a:lnTo>
                  <a:pt x="1670" y="104"/>
                </a:lnTo>
                <a:lnTo>
                  <a:pt x="1673" y="101"/>
                </a:lnTo>
                <a:lnTo>
                  <a:pt x="1675" y="100"/>
                </a:lnTo>
                <a:close/>
                <a:moveTo>
                  <a:pt x="4769" y="1270"/>
                </a:moveTo>
                <a:lnTo>
                  <a:pt x="4772" y="1269"/>
                </a:lnTo>
                <a:lnTo>
                  <a:pt x="4775" y="1268"/>
                </a:lnTo>
                <a:lnTo>
                  <a:pt x="4780" y="1268"/>
                </a:lnTo>
                <a:lnTo>
                  <a:pt x="4783" y="1269"/>
                </a:lnTo>
                <a:lnTo>
                  <a:pt x="4786" y="1271"/>
                </a:lnTo>
                <a:lnTo>
                  <a:pt x="4789" y="1273"/>
                </a:lnTo>
                <a:lnTo>
                  <a:pt x="4790" y="1275"/>
                </a:lnTo>
                <a:lnTo>
                  <a:pt x="4792" y="1278"/>
                </a:lnTo>
                <a:lnTo>
                  <a:pt x="4793" y="1281"/>
                </a:lnTo>
                <a:lnTo>
                  <a:pt x="4793" y="1284"/>
                </a:lnTo>
                <a:lnTo>
                  <a:pt x="4793" y="1287"/>
                </a:lnTo>
                <a:lnTo>
                  <a:pt x="4792" y="1290"/>
                </a:lnTo>
                <a:lnTo>
                  <a:pt x="4790" y="1293"/>
                </a:lnTo>
                <a:lnTo>
                  <a:pt x="4788" y="1296"/>
                </a:lnTo>
                <a:lnTo>
                  <a:pt x="4785" y="1298"/>
                </a:lnTo>
                <a:lnTo>
                  <a:pt x="4783" y="1299"/>
                </a:lnTo>
                <a:lnTo>
                  <a:pt x="4780" y="1300"/>
                </a:lnTo>
                <a:lnTo>
                  <a:pt x="4777" y="1300"/>
                </a:lnTo>
                <a:lnTo>
                  <a:pt x="4774" y="1299"/>
                </a:lnTo>
                <a:lnTo>
                  <a:pt x="4771" y="1298"/>
                </a:lnTo>
                <a:lnTo>
                  <a:pt x="4768" y="1297"/>
                </a:lnTo>
                <a:lnTo>
                  <a:pt x="4766" y="1295"/>
                </a:lnTo>
                <a:lnTo>
                  <a:pt x="4764" y="1293"/>
                </a:lnTo>
                <a:lnTo>
                  <a:pt x="4762" y="1290"/>
                </a:lnTo>
                <a:lnTo>
                  <a:pt x="4762" y="1287"/>
                </a:lnTo>
                <a:lnTo>
                  <a:pt x="4761" y="1284"/>
                </a:lnTo>
                <a:lnTo>
                  <a:pt x="4762" y="1281"/>
                </a:lnTo>
                <a:lnTo>
                  <a:pt x="4763" y="1277"/>
                </a:lnTo>
                <a:lnTo>
                  <a:pt x="4764" y="1275"/>
                </a:lnTo>
                <a:lnTo>
                  <a:pt x="4767" y="1272"/>
                </a:lnTo>
                <a:lnTo>
                  <a:pt x="4769" y="1270"/>
                </a:lnTo>
                <a:close/>
                <a:moveTo>
                  <a:pt x="4629" y="1238"/>
                </a:moveTo>
                <a:lnTo>
                  <a:pt x="4631" y="1237"/>
                </a:lnTo>
                <a:lnTo>
                  <a:pt x="4634" y="1237"/>
                </a:lnTo>
                <a:lnTo>
                  <a:pt x="4637" y="1236"/>
                </a:lnTo>
                <a:lnTo>
                  <a:pt x="4640" y="1237"/>
                </a:lnTo>
                <a:lnTo>
                  <a:pt x="4643" y="1238"/>
                </a:lnTo>
                <a:lnTo>
                  <a:pt x="4646" y="1239"/>
                </a:lnTo>
                <a:lnTo>
                  <a:pt x="4648" y="1242"/>
                </a:lnTo>
                <a:lnTo>
                  <a:pt x="4650" y="1244"/>
                </a:lnTo>
                <a:lnTo>
                  <a:pt x="4651" y="1247"/>
                </a:lnTo>
                <a:lnTo>
                  <a:pt x="4652" y="1250"/>
                </a:lnTo>
                <a:lnTo>
                  <a:pt x="4652" y="1253"/>
                </a:lnTo>
                <a:lnTo>
                  <a:pt x="4652" y="1256"/>
                </a:lnTo>
                <a:lnTo>
                  <a:pt x="4651" y="1259"/>
                </a:lnTo>
                <a:lnTo>
                  <a:pt x="4649" y="1262"/>
                </a:lnTo>
                <a:lnTo>
                  <a:pt x="4647" y="1264"/>
                </a:lnTo>
                <a:lnTo>
                  <a:pt x="4644" y="1266"/>
                </a:lnTo>
                <a:lnTo>
                  <a:pt x="4642" y="1267"/>
                </a:lnTo>
                <a:lnTo>
                  <a:pt x="4639" y="1268"/>
                </a:lnTo>
                <a:lnTo>
                  <a:pt x="4636" y="1268"/>
                </a:lnTo>
                <a:lnTo>
                  <a:pt x="4633" y="1268"/>
                </a:lnTo>
                <a:lnTo>
                  <a:pt x="4630" y="1267"/>
                </a:lnTo>
                <a:lnTo>
                  <a:pt x="4627" y="1265"/>
                </a:lnTo>
                <a:lnTo>
                  <a:pt x="4625" y="1263"/>
                </a:lnTo>
                <a:lnTo>
                  <a:pt x="4623" y="1260"/>
                </a:lnTo>
                <a:lnTo>
                  <a:pt x="4622" y="1258"/>
                </a:lnTo>
                <a:lnTo>
                  <a:pt x="4621" y="1255"/>
                </a:lnTo>
                <a:lnTo>
                  <a:pt x="4621" y="1252"/>
                </a:lnTo>
                <a:lnTo>
                  <a:pt x="4621" y="1248"/>
                </a:lnTo>
                <a:lnTo>
                  <a:pt x="4622" y="1245"/>
                </a:lnTo>
                <a:lnTo>
                  <a:pt x="4624" y="1243"/>
                </a:lnTo>
                <a:lnTo>
                  <a:pt x="4626" y="1240"/>
                </a:lnTo>
                <a:lnTo>
                  <a:pt x="4629" y="1238"/>
                </a:lnTo>
                <a:close/>
                <a:moveTo>
                  <a:pt x="4489" y="1202"/>
                </a:moveTo>
                <a:lnTo>
                  <a:pt x="4492" y="1201"/>
                </a:lnTo>
                <a:lnTo>
                  <a:pt x="4495" y="1200"/>
                </a:lnTo>
                <a:lnTo>
                  <a:pt x="4498" y="1200"/>
                </a:lnTo>
                <a:lnTo>
                  <a:pt x="4501" y="1201"/>
                </a:lnTo>
                <a:lnTo>
                  <a:pt x="4504" y="1202"/>
                </a:lnTo>
                <a:lnTo>
                  <a:pt x="4507" y="1203"/>
                </a:lnTo>
                <a:lnTo>
                  <a:pt x="4509" y="1206"/>
                </a:lnTo>
                <a:lnTo>
                  <a:pt x="4511" y="1208"/>
                </a:lnTo>
                <a:lnTo>
                  <a:pt x="4512" y="1211"/>
                </a:lnTo>
                <a:lnTo>
                  <a:pt x="4513" y="1214"/>
                </a:lnTo>
                <a:lnTo>
                  <a:pt x="4513" y="1217"/>
                </a:lnTo>
                <a:lnTo>
                  <a:pt x="4512" y="1220"/>
                </a:lnTo>
                <a:lnTo>
                  <a:pt x="4511" y="1223"/>
                </a:lnTo>
                <a:lnTo>
                  <a:pt x="4509" y="1226"/>
                </a:lnTo>
                <a:lnTo>
                  <a:pt x="4507" y="1228"/>
                </a:lnTo>
                <a:lnTo>
                  <a:pt x="4505" y="1230"/>
                </a:lnTo>
                <a:lnTo>
                  <a:pt x="4502" y="1231"/>
                </a:lnTo>
                <a:lnTo>
                  <a:pt x="4499" y="1232"/>
                </a:lnTo>
                <a:lnTo>
                  <a:pt x="4496" y="1232"/>
                </a:lnTo>
                <a:lnTo>
                  <a:pt x="4493" y="1231"/>
                </a:lnTo>
                <a:lnTo>
                  <a:pt x="4490" y="1230"/>
                </a:lnTo>
                <a:lnTo>
                  <a:pt x="4487" y="1228"/>
                </a:lnTo>
                <a:lnTo>
                  <a:pt x="4485" y="1226"/>
                </a:lnTo>
                <a:lnTo>
                  <a:pt x="4483" y="1224"/>
                </a:lnTo>
                <a:lnTo>
                  <a:pt x="4482" y="1221"/>
                </a:lnTo>
                <a:lnTo>
                  <a:pt x="4481" y="1218"/>
                </a:lnTo>
                <a:lnTo>
                  <a:pt x="4481" y="1215"/>
                </a:lnTo>
                <a:lnTo>
                  <a:pt x="4482" y="1212"/>
                </a:lnTo>
                <a:lnTo>
                  <a:pt x="4483" y="1209"/>
                </a:lnTo>
                <a:lnTo>
                  <a:pt x="4485" y="1206"/>
                </a:lnTo>
                <a:lnTo>
                  <a:pt x="4487" y="1204"/>
                </a:lnTo>
                <a:lnTo>
                  <a:pt x="4489" y="1202"/>
                </a:lnTo>
                <a:close/>
                <a:moveTo>
                  <a:pt x="4351" y="1161"/>
                </a:moveTo>
                <a:lnTo>
                  <a:pt x="4354" y="1159"/>
                </a:lnTo>
                <a:lnTo>
                  <a:pt x="4357" y="1158"/>
                </a:lnTo>
                <a:lnTo>
                  <a:pt x="4361" y="1158"/>
                </a:lnTo>
                <a:lnTo>
                  <a:pt x="4364" y="1159"/>
                </a:lnTo>
                <a:lnTo>
                  <a:pt x="4367" y="1160"/>
                </a:lnTo>
                <a:lnTo>
                  <a:pt x="4369" y="1162"/>
                </a:lnTo>
                <a:lnTo>
                  <a:pt x="4372" y="1164"/>
                </a:lnTo>
                <a:lnTo>
                  <a:pt x="4373" y="1167"/>
                </a:lnTo>
                <a:lnTo>
                  <a:pt x="4374" y="1170"/>
                </a:lnTo>
                <a:lnTo>
                  <a:pt x="4375" y="1173"/>
                </a:lnTo>
                <a:lnTo>
                  <a:pt x="4375" y="1176"/>
                </a:lnTo>
                <a:lnTo>
                  <a:pt x="4374" y="1179"/>
                </a:lnTo>
                <a:lnTo>
                  <a:pt x="4373" y="1182"/>
                </a:lnTo>
                <a:lnTo>
                  <a:pt x="4371" y="1184"/>
                </a:lnTo>
                <a:lnTo>
                  <a:pt x="4369" y="1186"/>
                </a:lnTo>
                <a:lnTo>
                  <a:pt x="4367" y="1188"/>
                </a:lnTo>
                <a:lnTo>
                  <a:pt x="4364" y="1189"/>
                </a:lnTo>
                <a:lnTo>
                  <a:pt x="4361" y="1190"/>
                </a:lnTo>
                <a:lnTo>
                  <a:pt x="4357" y="1190"/>
                </a:lnTo>
                <a:lnTo>
                  <a:pt x="4354" y="1189"/>
                </a:lnTo>
                <a:lnTo>
                  <a:pt x="4351" y="1188"/>
                </a:lnTo>
                <a:lnTo>
                  <a:pt x="4349" y="1186"/>
                </a:lnTo>
                <a:lnTo>
                  <a:pt x="4347" y="1184"/>
                </a:lnTo>
                <a:lnTo>
                  <a:pt x="4345" y="1181"/>
                </a:lnTo>
                <a:lnTo>
                  <a:pt x="4344" y="1179"/>
                </a:lnTo>
                <a:lnTo>
                  <a:pt x="4343" y="1176"/>
                </a:lnTo>
                <a:lnTo>
                  <a:pt x="4343" y="1172"/>
                </a:lnTo>
                <a:lnTo>
                  <a:pt x="4344" y="1169"/>
                </a:lnTo>
                <a:lnTo>
                  <a:pt x="4345" y="1167"/>
                </a:lnTo>
                <a:lnTo>
                  <a:pt x="4347" y="1164"/>
                </a:lnTo>
                <a:lnTo>
                  <a:pt x="4349" y="1162"/>
                </a:lnTo>
                <a:lnTo>
                  <a:pt x="4351" y="1161"/>
                </a:lnTo>
                <a:close/>
                <a:moveTo>
                  <a:pt x="4215" y="1112"/>
                </a:moveTo>
                <a:lnTo>
                  <a:pt x="4218" y="1111"/>
                </a:lnTo>
                <a:lnTo>
                  <a:pt x="4222" y="1110"/>
                </a:lnTo>
                <a:lnTo>
                  <a:pt x="4225" y="1111"/>
                </a:lnTo>
                <a:lnTo>
                  <a:pt x="4229" y="1111"/>
                </a:lnTo>
                <a:lnTo>
                  <a:pt x="4232" y="1113"/>
                </a:lnTo>
                <a:lnTo>
                  <a:pt x="4234" y="1115"/>
                </a:lnTo>
                <a:lnTo>
                  <a:pt x="4236" y="1117"/>
                </a:lnTo>
                <a:lnTo>
                  <a:pt x="4238" y="1120"/>
                </a:lnTo>
                <a:lnTo>
                  <a:pt x="4239" y="1123"/>
                </a:lnTo>
                <a:lnTo>
                  <a:pt x="4239" y="1126"/>
                </a:lnTo>
                <a:lnTo>
                  <a:pt x="4239" y="1129"/>
                </a:lnTo>
                <a:lnTo>
                  <a:pt x="4238" y="1132"/>
                </a:lnTo>
                <a:lnTo>
                  <a:pt x="4235" y="1137"/>
                </a:lnTo>
                <a:lnTo>
                  <a:pt x="4233" y="1138"/>
                </a:lnTo>
                <a:lnTo>
                  <a:pt x="4231" y="1140"/>
                </a:lnTo>
                <a:lnTo>
                  <a:pt x="4228" y="1141"/>
                </a:lnTo>
                <a:lnTo>
                  <a:pt x="4224" y="1142"/>
                </a:lnTo>
                <a:lnTo>
                  <a:pt x="4221" y="1142"/>
                </a:lnTo>
                <a:lnTo>
                  <a:pt x="4217" y="1141"/>
                </a:lnTo>
                <a:lnTo>
                  <a:pt x="4215" y="1140"/>
                </a:lnTo>
                <a:lnTo>
                  <a:pt x="4212" y="1138"/>
                </a:lnTo>
                <a:lnTo>
                  <a:pt x="4210" y="1135"/>
                </a:lnTo>
                <a:lnTo>
                  <a:pt x="4209" y="1133"/>
                </a:lnTo>
                <a:lnTo>
                  <a:pt x="4208" y="1130"/>
                </a:lnTo>
                <a:lnTo>
                  <a:pt x="4207" y="1127"/>
                </a:lnTo>
                <a:lnTo>
                  <a:pt x="4207" y="1124"/>
                </a:lnTo>
                <a:lnTo>
                  <a:pt x="4208" y="1121"/>
                </a:lnTo>
                <a:lnTo>
                  <a:pt x="4211" y="1116"/>
                </a:lnTo>
                <a:lnTo>
                  <a:pt x="4213" y="1114"/>
                </a:lnTo>
                <a:lnTo>
                  <a:pt x="4215" y="1112"/>
                </a:lnTo>
                <a:close/>
                <a:moveTo>
                  <a:pt x="4082" y="1057"/>
                </a:moveTo>
                <a:lnTo>
                  <a:pt x="4086" y="1055"/>
                </a:lnTo>
                <a:lnTo>
                  <a:pt x="4089" y="1054"/>
                </a:lnTo>
                <a:lnTo>
                  <a:pt x="4093" y="1055"/>
                </a:lnTo>
                <a:lnTo>
                  <a:pt x="4097" y="1056"/>
                </a:lnTo>
                <a:lnTo>
                  <a:pt x="4100" y="1058"/>
                </a:lnTo>
                <a:lnTo>
                  <a:pt x="4102" y="1060"/>
                </a:lnTo>
                <a:lnTo>
                  <a:pt x="4104" y="1062"/>
                </a:lnTo>
                <a:lnTo>
                  <a:pt x="4105" y="1065"/>
                </a:lnTo>
                <a:lnTo>
                  <a:pt x="4106" y="1068"/>
                </a:lnTo>
                <a:lnTo>
                  <a:pt x="4106" y="1071"/>
                </a:lnTo>
                <a:lnTo>
                  <a:pt x="4106" y="1074"/>
                </a:lnTo>
                <a:lnTo>
                  <a:pt x="4105" y="1077"/>
                </a:lnTo>
                <a:lnTo>
                  <a:pt x="4102" y="1081"/>
                </a:lnTo>
                <a:lnTo>
                  <a:pt x="4100" y="1083"/>
                </a:lnTo>
                <a:lnTo>
                  <a:pt x="4098" y="1084"/>
                </a:lnTo>
                <a:lnTo>
                  <a:pt x="4095" y="1085"/>
                </a:lnTo>
                <a:lnTo>
                  <a:pt x="4091" y="1086"/>
                </a:lnTo>
                <a:lnTo>
                  <a:pt x="4087" y="1086"/>
                </a:lnTo>
                <a:lnTo>
                  <a:pt x="4084" y="1085"/>
                </a:lnTo>
                <a:lnTo>
                  <a:pt x="4081" y="1083"/>
                </a:lnTo>
                <a:lnTo>
                  <a:pt x="4079" y="1081"/>
                </a:lnTo>
                <a:lnTo>
                  <a:pt x="4077" y="1078"/>
                </a:lnTo>
                <a:lnTo>
                  <a:pt x="4075" y="1076"/>
                </a:lnTo>
                <a:lnTo>
                  <a:pt x="4075" y="1073"/>
                </a:lnTo>
                <a:lnTo>
                  <a:pt x="4074" y="1070"/>
                </a:lnTo>
                <a:lnTo>
                  <a:pt x="4075" y="1067"/>
                </a:lnTo>
                <a:lnTo>
                  <a:pt x="4076" y="1064"/>
                </a:lnTo>
                <a:lnTo>
                  <a:pt x="4079" y="1059"/>
                </a:lnTo>
                <a:lnTo>
                  <a:pt x="4080" y="1058"/>
                </a:lnTo>
                <a:lnTo>
                  <a:pt x="4082" y="1057"/>
                </a:lnTo>
                <a:close/>
                <a:moveTo>
                  <a:pt x="3954" y="990"/>
                </a:moveTo>
                <a:lnTo>
                  <a:pt x="3957" y="988"/>
                </a:lnTo>
                <a:lnTo>
                  <a:pt x="3961" y="988"/>
                </a:lnTo>
                <a:lnTo>
                  <a:pt x="3965" y="988"/>
                </a:lnTo>
                <a:lnTo>
                  <a:pt x="3969" y="990"/>
                </a:lnTo>
                <a:lnTo>
                  <a:pt x="3972" y="992"/>
                </a:lnTo>
                <a:lnTo>
                  <a:pt x="3974" y="994"/>
                </a:lnTo>
                <a:lnTo>
                  <a:pt x="3976" y="997"/>
                </a:lnTo>
                <a:lnTo>
                  <a:pt x="3977" y="1000"/>
                </a:lnTo>
                <a:lnTo>
                  <a:pt x="3977" y="1003"/>
                </a:lnTo>
                <a:lnTo>
                  <a:pt x="3977" y="1006"/>
                </a:lnTo>
                <a:lnTo>
                  <a:pt x="3977" y="1009"/>
                </a:lnTo>
                <a:lnTo>
                  <a:pt x="3975" y="1012"/>
                </a:lnTo>
                <a:lnTo>
                  <a:pt x="3974" y="1013"/>
                </a:lnTo>
                <a:lnTo>
                  <a:pt x="3973" y="1015"/>
                </a:lnTo>
                <a:lnTo>
                  <a:pt x="3969" y="1017"/>
                </a:lnTo>
                <a:lnTo>
                  <a:pt x="3966" y="1019"/>
                </a:lnTo>
                <a:lnTo>
                  <a:pt x="3962" y="1020"/>
                </a:lnTo>
                <a:lnTo>
                  <a:pt x="3958" y="1019"/>
                </a:lnTo>
                <a:lnTo>
                  <a:pt x="3954" y="1017"/>
                </a:lnTo>
                <a:lnTo>
                  <a:pt x="3951" y="1016"/>
                </a:lnTo>
                <a:lnTo>
                  <a:pt x="3949" y="1013"/>
                </a:lnTo>
                <a:lnTo>
                  <a:pt x="3947" y="1011"/>
                </a:lnTo>
                <a:lnTo>
                  <a:pt x="3946" y="1008"/>
                </a:lnTo>
                <a:lnTo>
                  <a:pt x="3946" y="1005"/>
                </a:lnTo>
                <a:lnTo>
                  <a:pt x="3946" y="1002"/>
                </a:lnTo>
                <a:lnTo>
                  <a:pt x="3946" y="999"/>
                </a:lnTo>
                <a:lnTo>
                  <a:pt x="3948" y="996"/>
                </a:lnTo>
                <a:lnTo>
                  <a:pt x="3949" y="994"/>
                </a:lnTo>
                <a:lnTo>
                  <a:pt x="3950" y="992"/>
                </a:lnTo>
                <a:lnTo>
                  <a:pt x="3954" y="990"/>
                </a:lnTo>
                <a:close/>
                <a:moveTo>
                  <a:pt x="3828" y="919"/>
                </a:moveTo>
                <a:lnTo>
                  <a:pt x="3832" y="917"/>
                </a:lnTo>
                <a:lnTo>
                  <a:pt x="3836" y="917"/>
                </a:lnTo>
                <a:lnTo>
                  <a:pt x="3840" y="917"/>
                </a:lnTo>
                <a:lnTo>
                  <a:pt x="3844" y="919"/>
                </a:lnTo>
                <a:lnTo>
                  <a:pt x="3847" y="921"/>
                </a:lnTo>
                <a:lnTo>
                  <a:pt x="3849" y="923"/>
                </a:lnTo>
                <a:lnTo>
                  <a:pt x="3850" y="926"/>
                </a:lnTo>
                <a:lnTo>
                  <a:pt x="3851" y="928"/>
                </a:lnTo>
                <a:lnTo>
                  <a:pt x="3852" y="931"/>
                </a:lnTo>
                <a:lnTo>
                  <a:pt x="3852" y="934"/>
                </a:lnTo>
                <a:lnTo>
                  <a:pt x="3851" y="938"/>
                </a:lnTo>
                <a:lnTo>
                  <a:pt x="3850" y="940"/>
                </a:lnTo>
                <a:lnTo>
                  <a:pt x="3847" y="944"/>
                </a:lnTo>
                <a:lnTo>
                  <a:pt x="3844" y="946"/>
                </a:lnTo>
                <a:lnTo>
                  <a:pt x="3840" y="948"/>
                </a:lnTo>
                <a:lnTo>
                  <a:pt x="3836" y="949"/>
                </a:lnTo>
                <a:lnTo>
                  <a:pt x="3832" y="948"/>
                </a:lnTo>
                <a:lnTo>
                  <a:pt x="3828" y="947"/>
                </a:lnTo>
                <a:lnTo>
                  <a:pt x="3826" y="945"/>
                </a:lnTo>
                <a:lnTo>
                  <a:pt x="3824" y="942"/>
                </a:lnTo>
                <a:lnTo>
                  <a:pt x="3822" y="940"/>
                </a:lnTo>
                <a:lnTo>
                  <a:pt x="3821" y="937"/>
                </a:lnTo>
                <a:lnTo>
                  <a:pt x="3820" y="934"/>
                </a:lnTo>
                <a:lnTo>
                  <a:pt x="3820" y="931"/>
                </a:lnTo>
                <a:lnTo>
                  <a:pt x="3821" y="928"/>
                </a:lnTo>
                <a:lnTo>
                  <a:pt x="3822" y="925"/>
                </a:lnTo>
                <a:lnTo>
                  <a:pt x="3825" y="922"/>
                </a:lnTo>
                <a:lnTo>
                  <a:pt x="3828" y="919"/>
                </a:lnTo>
                <a:close/>
                <a:moveTo>
                  <a:pt x="3702" y="849"/>
                </a:moveTo>
                <a:lnTo>
                  <a:pt x="3706" y="847"/>
                </a:lnTo>
                <a:lnTo>
                  <a:pt x="3710" y="847"/>
                </a:lnTo>
                <a:lnTo>
                  <a:pt x="3712" y="847"/>
                </a:lnTo>
                <a:lnTo>
                  <a:pt x="3714" y="847"/>
                </a:lnTo>
                <a:lnTo>
                  <a:pt x="3718" y="849"/>
                </a:lnTo>
                <a:lnTo>
                  <a:pt x="3721" y="851"/>
                </a:lnTo>
                <a:lnTo>
                  <a:pt x="3723" y="853"/>
                </a:lnTo>
                <a:lnTo>
                  <a:pt x="3725" y="855"/>
                </a:lnTo>
                <a:lnTo>
                  <a:pt x="3726" y="858"/>
                </a:lnTo>
                <a:lnTo>
                  <a:pt x="3726" y="861"/>
                </a:lnTo>
                <a:lnTo>
                  <a:pt x="3726" y="864"/>
                </a:lnTo>
                <a:lnTo>
                  <a:pt x="3726" y="867"/>
                </a:lnTo>
                <a:lnTo>
                  <a:pt x="3724" y="870"/>
                </a:lnTo>
                <a:lnTo>
                  <a:pt x="3722" y="874"/>
                </a:lnTo>
                <a:lnTo>
                  <a:pt x="3718" y="876"/>
                </a:lnTo>
                <a:lnTo>
                  <a:pt x="3715" y="878"/>
                </a:lnTo>
                <a:lnTo>
                  <a:pt x="3711" y="878"/>
                </a:lnTo>
                <a:lnTo>
                  <a:pt x="3709" y="878"/>
                </a:lnTo>
                <a:lnTo>
                  <a:pt x="3707" y="878"/>
                </a:lnTo>
                <a:lnTo>
                  <a:pt x="3703" y="877"/>
                </a:lnTo>
                <a:lnTo>
                  <a:pt x="3700" y="875"/>
                </a:lnTo>
                <a:lnTo>
                  <a:pt x="3698" y="872"/>
                </a:lnTo>
                <a:lnTo>
                  <a:pt x="3696" y="870"/>
                </a:lnTo>
                <a:lnTo>
                  <a:pt x="3695" y="867"/>
                </a:lnTo>
                <a:lnTo>
                  <a:pt x="3695" y="864"/>
                </a:lnTo>
                <a:lnTo>
                  <a:pt x="3695" y="861"/>
                </a:lnTo>
                <a:lnTo>
                  <a:pt x="3695" y="858"/>
                </a:lnTo>
                <a:lnTo>
                  <a:pt x="3697" y="855"/>
                </a:lnTo>
                <a:lnTo>
                  <a:pt x="3699" y="851"/>
                </a:lnTo>
                <a:lnTo>
                  <a:pt x="3702" y="849"/>
                </a:lnTo>
                <a:close/>
                <a:moveTo>
                  <a:pt x="3576" y="780"/>
                </a:moveTo>
                <a:lnTo>
                  <a:pt x="3578" y="779"/>
                </a:lnTo>
                <a:lnTo>
                  <a:pt x="3580" y="779"/>
                </a:lnTo>
                <a:lnTo>
                  <a:pt x="3584" y="778"/>
                </a:lnTo>
                <a:lnTo>
                  <a:pt x="3586" y="778"/>
                </a:lnTo>
                <a:lnTo>
                  <a:pt x="3588" y="778"/>
                </a:lnTo>
                <a:lnTo>
                  <a:pt x="3591" y="780"/>
                </a:lnTo>
                <a:lnTo>
                  <a:pt x="3594" y="782"/>
                </a:lnTo>
                <a:lnTo>
                  <a:pt x="3596" y="784"/>
                </a:lnTo>
                <a:lnTo>
                  <a:pt x="3598" y="786"/>
                </a:lnTo>
                <a:lnTo>
                  <a:pt x="3599" y="789"/>
                </a:lnTo>
                <a:lnTo>
                  <a:pt x="3600" y="792"/>
                </a:lnTo>
                <a:lnTo>
                  <a:pt x="3600" y="795"/>
                </a:lnTo>
                <a:lnTo>
                  <a:pt x="3599" y="798"/>
                </a:lnTo>
                <a:lnTo>
                  <a:pt x="3598" y="801"/>
                </a:lnTo>
                <a:lnTo>
                  <a:pt x="3597" y="803"/>
                </a:lnTo>
                <a:lnTo>
                  <a:pt x="3595" y="805"/>
                </a:lnTo>
                <a:lnTo>
                  <a:pt x="3592" y="808"/>
                </a:lnTo>
                <a:lnTo>
                  <a:pt x="3590" y="808"/>
                </a:lnTo>
                <a:lnTo>
                  <a:pt x="3588" y="809"/>
                </a:lnTo>
                <a:lnTo>
                  <a:pt x="3584" y="810"/>
                </a:lnTo>
                <a:lnTo>
                  <a:pt x="3582" y="810"/>
                </a:lnTo>
                <a:lnTo>
                  <a:pt x="3580" y="809"/>
                </a:lnTo>
                <a:lnTo>
                  <a:pt x="3576" y="808"/>
                </a:lnTo>
                <a:lnTo>
                  <a:pt x="3574" y="806"/>
                </a:lnTo>
                <a:lnTo>
                  <a:pt x="3572" y="804"/>
                </a:lnTo>
                <a:lnTo>
                  <a:pt x="3570" y="801"/>
                </a:lnTo>
                <a:lnTo>
                  <a:pt x="3569" y="798"/>
                </a:lnTo>
                <a:lnTo>
                  <a:pt x="3568" y="796"/>
                </a:lnTo>
                <a:lnTo>
                  <a:pt x="3568" y="792"/>
                </a:lnTo>
                <a:lnTo>
                  <a:pt x="3569" y="789"/>
                </a:lnTo>
                <a:lnTo>
                  <a:pt x="3570" y="786"/>
                </a:lnTo>
                <a:lnTo>
                  <a:pt x="3571" y="785"/>
                </a:lnTo>
                <a:lnTo>
                  <a:pt x="3573" y="783"/>
                </a:lnTo>
                <a:lnTo>
                  <a:pt x="3576" y="780"/>
                </a:lnTo>
                <a:close/>
                <a:moveTo>
                  <a:pt x="3448" y="713"/>
                </a:moveTo>
                <a:lnTo>
                  <a:pt x="3452" y="712"/>
                </a:lnTo>
                <a:lnTo>
                  <a:pt x="3456" y="711"/>
                </a:lnTo>
                <a:lnTo>
                  <a:pt x="3460" y="712"/>
                </a:lnTo>
                <a:lnTo>
                  <a:pt x="3464" y="713"/>
                </a:lnTo>
                <a:lnTo>
                  <a:pt x="3466" y="715"/>
                </a:lnTo>
                <a:lnTo>
                  <a:pt x="3469" y="717"/>
                </a:lnTo>
                <a:lnTo>
                  <a:pt x="3470" y="719"/>
                </a:lnTo>
                <a:lnTo>
                  <a:pt x="3472" y="722"/>
                </a:lnTo>
                <a:lnTo>
                  <a:pt x="3472" y="728"/>
                </a:lnTo>
                <a:lnTo>
                  <a:pt x="3472" y="731"/>
                </a:lnTo>
                <a:lnTo>
                  <a:pt x="3471" y="734"/>
                </a:lnTo>
                <a:lnTo>
                  <a:pt x="3469" y="736"/>
                </a:lnTo>
                <a:lnTo>
                  <a:pt x="3468" y="738"/>
                </a:lnTo>
                <a:lnTo>
                  <a:pt x="3464" y="741"/>
                </a:lnTo>
                <a:lnTo>
                  <a:pt x="3461" y="742"/>
                </a:lnTo>
                <a:lnTo>
                  <a:pt x="3457" y="743"/>
                </a:lnTo>
                <a:lnTo>
                  <a:pt x="3453" y="742"/>
                </a:lnTo>
                <a:lnTo>
                  <a:pt x="3449" y="741"/>
                </a:lnTo>
                <a:lnTo>
                  <a:pt x="3446" y="739"/>
                </a:lnTo>
                <a:lnTo>
                  <a:pt x="3444" y="737"/>
                </a:lnTo>
                <a:lnTo>
                  <a:pt x="3443" y="735"/>
                </a:lnTo>
                <a:lnTo>
                  <a:pt x="3441" y="732"/>
                </a:lnTo>
                <a:lnTo>
                  <a:pt x="3441" y="726"/>
                </a:lnTo>
                <a:lnTo>
                  <a:pt x="3441" y="723"/>
                </a:lnTo>
                <a:lnTo>
                  <a:pt x="3442" y="720"/>
                </a:lnTo>
                <a:lnTo>
                  <a:pt x="3444" y="718"/>
                </a:lnTo>
                <a:lnTo>
                  <a:pt x="3445" y="716"/>
                </a:lnTo>
                <a:lnTo>
                  <a:pt x="3448" y="713"/>
                </a:lnTo>
                <a:close/>
                <a:moveTo>
                  <a:pt x="418" y="2383"/>
                </a:moveTo>
                <a:lnTo>
                  <a:pt x="421" y="2382"/>
                </a:lnTo>
                <a:lnTo>
                  <a:pt x="424" y="2382"/>
                </a:lnTo>
                <a:lnTo>
                  <a:pt x="426" y="2382"/>
                </a:lnTo>
                <a:lnTo>
                  <a:pt x="429" y="2383"/>
                </a:lnTo>
                <a:lnTo>
                  <a:pt x="418" y="2383"/>
                </a:lnTo>
                <a:close/>
                <a:moveTo>
                  <a:pt x="3320" y="649"/>
                </a:moveTo>
                <a:lnTo>
                  <a:pt x="3321" y="648"/>
                </a:lnTo>
                <a:lnTo>
                  <a:pt x="3323" y="647"/>
                </a:lnTo>
                <a:lnTo>
                  <a:pt x="3327" y="647"/>
                </a:lnTo>
                <a:lnTo>
                  <a:pt x="3331" y="647"/>
                </a:lnTo>
                <a:lnTo>
                  <a:pt x="3335" y="648"/>
                </a:lnTo>
                <a:lnTo>
                  <a:pt x="3337" y="650"/>
                </a:lnTo>
                <a:lnTo>
                  <a:pt x="3340" y="652"/>
                </a:lnTo>
                <a:lnTo>
                  <a:pt x="3341" y="655"/>
                </a:lnTo>
                <a:lnTo>
                  <a:pt x="3343" y="657"/>
                </a:lnTo>
                <a:lnTo>
                  <a:pt x="3343" y="660"/>
                </a:lnTo>
                <a:lnTo>
                  <a:pt x="3343" y="663"/>
                </a:lnTo>
                <a:lnTo>
                  <a:pt x="3343" y="666"/>
                </a:lnTo>
                <a:lnTo>
                  <a:pt x="3342" y="669"/>
                </a:lnTo>
                <a:lnTo>
                  <a:pt x="3339" y="673"/>
                </a:lnTo>
                <a:lnTo>
                  <a:pt x="3338" y="675"/>
                </a:lnTo>
                <a:lnTo>
                  <a:pt x="3336" y="676"/>
                </a:lnTo>
                <a:lnTo>
                  <a:pt x="3334" y="677"/>
                </a:lnTo>
                <a:lnTo>
                  <a:pt x="3332" y="678"/>
                </a:lnTo>
                <a:lnTo>
                  <a:pt x="3328" y="678"/>
                </a:lnTo>
                <a:lnTo>
                  <a:pt x="3325" y="678"/>
                </a:lnTo>
                <a:lnTo>
                  <a:pt x="3321" y="677"/>
                </a:lnTo>
                <a:lnTo>
                  <a:pt x="3318" y="675"/>
                </a:lnTo>
                <a:lnTo>
                  <a:pt x="3316" y="673"/>
                </a:lnTo>
                <a:lnTo>
                  <a:pt x="3314" y="670"/>
                </a:lnTo>
                <a:lnTo>
                  <a:pt x="3313" y="668"/>
                </a:lnTo>
                <a:lnTo>
                  <a:pt x="3312" y="665"/>
                </a:lnTo>
                <a:lnTo>
                  <a:pt x="3312" y="662"/>
                </a:lnTo>
                <a:lnTo>
                  <a:pt x="3312" y="659"/>
                </a:lnTo>
                <a:lnTo>
                  <a:pt x="3313" y="656"/>
                </a:lnTo>
                <a:lnTo>
                  <a:pt x="3316" y="652"/>
                </a:lnTo>
                <a:lnTo>
                  <a:pt x="3318" y="650"/>
                </a:lnTo>
                <a:lnTo>
                  <a:pt x="3320" y="649"/>
                </a:lnTo>
                <a:close/>
                <a:moveTo>
                  <a:pt x="505" y="2272"/>
                </a:moveTo>
                <a:lnTo>
                  <a:pt x="507" y="2271"/>
                </a:lnTo>
                <a:lnTo>
                  <a:pt x="510" y="2270"/>
                </a:lnTo>
                <a:lnTo>
                  <a:pt x="512" y="2270"/>
                </a:lnTo>
                <a:lnTo>
                  <a:pt x="514" y="2270"/>
                </a:lnTo>
                <a:lnTo>
                  <a:pt x="517" y="2270"/>
                </a:lnTo>
                <a:lnTo>
                  <a:pt x="519" y="2271"/>
                </a:lnTo>
                <a:lnTo>
                  <a:pt x="521" y="2272"/>
                </a:lnTo>
                <a:lnTo>
                  <a:pt x="523" y="2273"/>
                </a:lnTo>
                <a:lnTo>
                  <a:pt x="526" y="2276"/>
                </a:lnTo>
                <a:lnTo>
                  <a:pt x="526" y="2277"/>
                </a:lnTo>
                <a:lnTo>
                  <a:pt x="527" y="2279"/>
                </a:lnTo>
                <a:lnTo>
                  <a:pt x="528" y="2281"/>
                </a:lnTo>
                <a:lnTo>
                  <a:pt x="529" y="2284"/>
                </a:lnTo>
                <a:lnTo>
                  <a:pt x="529" y="2287"/>
                </a:lnTo>
                <a:lnTo>
                  <a:pt x="528" y="2290"/>
                </a:lnTo>
                <a:lnTo>
                  <a:pt x="527" y="2293"/>
                </a:lnTo>
                <a:lnTo>
                  <a:pt x="525" y="2296"/>
                </a:lnTo>
                <a:lnTo>
                  <a:pt x="523" y="2298"/>
                </a:lnTo>
                <a:lnTo>
                  <a:pt x="521" y="2299"/>
                </a:lnTo>
                <a:lnTo>
                  <a:pt x="519" y="2300"/>
                </a:lnTo>
                <a:lnTo>
                  <a:pt x="516" y="2301"/>
                </a:lnTo>
                <a:lnTo>
                  <a:pt x="514" y="2301"/>
                </a:lnTo>
                <a:lnTo>
                  <a:pt x="511" y="2301"/>
                </a:lnTo>
                <a:lnTo>
                  <a:pt x="509" y="2301"/>
                </a:lnTo>
                <a:lnTo>
                  <a:pt x="507" y="2300"/>
                </a:lnTo>
                <a:lnTo>
                  <a:pt x="505" y="2299"/>
                </a:lnTo>
                <a:lnTo>
                  <a:pt x="502" y="2297"/>
                </a:lnTo>
                <a:lnTo>
                  <a:pt x="500" y="2295"/>
                </a:lnTo>
                <a:lnTo>
                  <a:pt x="499" y="2294"/>
                </a:lnTo>
                <a:lnTo>
                  <a:pt x="499" y="2292"/>
                </a:lnTo>
                <a:lnTo>
                  <a:pt x="498" y="2289"/>
                </a:lnTo>
                <a:lnTo>
                  <a:pt x="497" y="2286"/>
                </a:lnTo>
                <a:lnTo>
                  <a:pt x="497" y="2283"/>
                </a:lnTo>
                <a:lnTo>
                  <a:pt x="498" y="2280"/>
                </a:lnTo>
                <a:lnTo>
                  <a:pt x="499" y="2278"/>
                </a:lnTo>
                <a:lnTo>
                  <a:pt x="501" y="2275"/>
                </a:lnTo>
                <a:lnTo>
                  <a:pt x="503" y="2273"/>
                </a:lnTo>
                <a:lnTo>
                  <a:pt x="505" y="2272"/>
                </a:lnTo>
                <a:close/>
                <a:moveTo>
                  <a:pt x="605" y="2169"/>
                </a:moveTo>
                <a:lnTo>
                  <a:pt x="608" y="2167"/>
                </a:lnTo>
                <a:lnTo>
                  <a:pt x="610" y="2167"/>
                </a:lnTo>
                <a:lnTo>
                  <a:pt x="615" y="2167"/>
                </a:lnTo>
                <a:lnTo>
                  <a:pt x="618" y="2167"/>
                </a:lnTo>
                <a:lnTo>
                  <a:pt x="620" y="2168"/>
                </a:lnTo>
                <a:lnTo>
                  <a:pt x="623" y="2170"/>
                </a:lnTo>
                <a:lnTo>
                  <a:pt x="625" y="2171"/>
                </a:lnTo>
                <a:lnTo>
                  <a:pt x="627" y="2174"/>
                </a:lnTo>
                <a:lnTo>
                  <a:pt x="628" y="2177"/>
                </a:lnTo>
                <a:lnTo>
                  <a:pt x="629" y="2180"/>
                </a:lnTo>
                <a:lnTo>
                  <a:pt x="629" y="2183"/>
                </a:lnTo>
                <a:lnTo>
                  <a:pt x="628" y="2186"/>
                </a:lnTo>
                <a:lnTo>
                  <a:pt x="628" y="2189"/>
                </a:lnTo>
                <a:lnTo>
                  <a:pt x="626" y="2191"/>
                </a:lnTo>
                <a:lnTo>
                  <a:pt x="624" y="2194"/>
                </a:lnTo>
                <a:lnTo>
                  <a:pt x="621" y="2196"/>
                </a:lnTo>
                <a:lnTo>
                  <a:pt x="619" y="2197"/>
                </a:lnTo>
                <a:lnTo>
                  <a:pt x="616" y="2198"/>
                </a:lnTo>
                <a:lnTo>
                  <a:pt x="611" y="2198"/>
                </a:lnTo>
                <a:lnTo>
                  <a:pt x="608" y="2197"/>
                </a:lnTo>
                <a:lnTo>
                  <a:pt x="606" y="2196"/>
                </a:lnTo>
                <a:lnTo>
                  <a:pt x="604" y="2195"/>
                </a:lnTo>
                <a:lnTo>
                  <a:pt x="601" y="2193"/>
                </a:lnTo>
                <a:lnTo>
                  <a:pt x="600" y="2191"/>
                </a:lnTo>
                <a:lnTo>
                  <a:pt x="598" y="2188"/>
                </a:lnTo>
                <a:lnTo>
                  <a:pt x="597" y="2185"/>
                </a:lnTo>
                <a:lnTo>
                  <a:pt x="597" y="2182"/>
                </a:lnTo>
                <a:lnTo>
                  <a:pt x="598" y="2179"/>
                </a:lnTo>
                <a:lnTo>
                  <a:pt x="599" y="2176"/>
                </a:lnTo>
                <a:lnTo>
                  <a:pt x="600" y="2173"/>
                </a:lnTo>
                <a:lnTo>
                  <a:pt x="602" y="2171"/>
                </a:lnTo>
                <a:lnTo>
                  <a:pt x="605" y="2169"/>
                </a:lnTo>
                <a:close/>
                <a:moveTo>
                  <a:pt x="714" y="2075"/>
                </a:moveTo>
                <a:lnTo>
                  <a:pt x="717" y="2074"/>
                </a:lnTo>
                <a:lnTo>
                  <a:pt x="720" y="2073"/>
                </a:lnTo>
                <a:lnTo>
                  <a:pt x="725" y="2073"/>
                </a:lnTo>
                <a:lnTo>
                  <a:pt x="728" y="2074"/>
                </a:lnTo>
                <a:lnTo>
                  <a:pt x="730" y="2075"/>
                </a:lnTo>
                <a:lnTo>
                  <a:pt x="733" y="2077"/>
                </a:lnTo>
                <a:lnTo>
                  <a:pt x="734" y="2078"/>
                </a:lnTo>
                <a:lnTo>
                  <a:pt x="735" y="2079"/>
                </a:lnTo>
                <a:lnTo>
                  <a:pt x="737" y="2082"/>
                </a:lnTo>
                <a:lnTo>
                  <a:pt x="738" y="2085"/>
                </a:lnTo>
                <a:lnTo>
                  <a:pt x="738" y="2088"/>
                </a:lnTo>
                <a:lnTo>
                  <a:pt x="738" y="2091"/>
                </a:lnTo>
                <a:lnTo>
                  <a:pt x="737" y="2094"/>
                </a:lnTo>
                <a:lnTo>
                  <a:pt x="736" y="2097"/>
                </a:lnTo>
                <a:lnTo>
                  <a:pt x="734" y="2099"/>
                </a:lnTo>
                <a:lnTo>
                  <a:pt x="732" y="2101"/>
                </a:lnTo>
                <a:lnTo>
                  <a:pt x="730" y="2103"/>
                </a:lnTo>
                <a:lnTo>
                  <a:pt x="728" y="2104"/>
                </a:lnTo>
                <a:lnTo>
                  <a:pt x="725" y="2105"/>
                </a:lnTo>
                <a:lnTo>
                  <a:pt x="719" y="2104"/>
                </a:lnTo>
                <a:lnTo>
                  <a:pt x="717" y="2104"/>
                </a:lnTo>
                <a:lnTo>
                  <a:pt x="714" y="2102"/>
                </a:lnTo>
                <a:lnTo>
                  <a:pt x="712" y="2101"/>
                </a:lnTo>
                <a:lnTo>
                  <a:pt x="711" y="2100"/>
                </a:lnTo>
                <a:lnTo>
                  <a:pt x="710" y="2099"/>
                </a:lnTo>
                <a:lnTo>
                  <a:pt x="708" y="2096"/>
                </a:lnTo>
                <a:lnTo>
                  <a:pt x="707" y="2093"/>
                </a:lnTo>
                <a:lnTo>
                  <a:pt x="707" y="2090"/>
                </a:lnTo>
                <a:lnTo>
                  <a:pt x="707" y="2087"/>
                </a:lnTo>
                <a:lnTo>
                  <a:pt x="707" y="2084"/>
                </a:lnTo>
                <a:lnTo>
                  <a:pt x="708" y="2081"/>
                </a:lnTo>
                <a:lnTo>
                  <a:pt x="710" y="2079"/>
                </a:lnTo>
                <a:lnTo>
                  <a:pt x="713" y="2076"/>
                </a:lnTo>
                <a:lnTo>
                  <a:pt x="714" y="2075"/>
                </a:lnTo>
                <a:close/>
                <a:moveTo>
                  <a:pt x="1082" y="1849"/>
                </a:moveTo>
                <a:lnTo>
                  <a:pt x="1086" y="1848"/>
                </a:lnTo>
                <a:lnTo>
                  <a:pt x="1089" y="1847"/>
                </a:lnTo>
                <a:lnTo>
                  <a:pt x="1092" y="1847"/>
                </a:lnTo>
                <a:lnTo>
                  <a:pt x="1095" y="1848"/>
                </a:lnTo>
                <a:lnTo>
                  <a:pt x="1098" y="1849"/>
                </a:lnTo>
                <a:lnTo>
                  <a:pt x="1100" y="1851"/>
                </a:lnTo>
                <a:lnTo>
                  <a:pt x="1102" y="1853"/>
                </a:lnTo>
                <a:lnTo>
                  <a:pt x="1104" y="1855"/>
                </a:lnTo>
                <a:lnTo>
                  <a:pt x="1106" y="1858"/>
                </a:lnTo>
                <a:lnTo>
                  <a:pt x="1106" y="1861"/>
                </a:lnTo>
                <a:lnTo>
                  <a:pt x="1106" y="1864"/>
                </a:lnTo>
                <a:lnTo>
                  <a:pt x="1106" y="1867"/>
                </a:lnTo>
                <a:lnTo>
                  <a:pt x="1105" y="1870"/>
                </a:lnTo>
                <a:lnTo>
                  <a:pt x="1103" y="1873"/>
                </a:lnTo>
                <a:lnTo>
                  <a:pt x="1101" y="1875"/>
                </a:lnTo>
                <a:lnTo>
                  <a:pt x="1098" y="1877"/>
                </a:lnTo>
                <a:lnTo>
                  <a:pt x="1095" y="1878"/>
                </a:lnTo>
                <a:lnTo>
                  <a:pt x="1092" y="1879"/>
                </a:lnTo>
                <a:lnTo>
                  <a:pt x="1089" y="1879"/>
                </a:lnTo>
                <a:lnTo>
                  <a:pt x="1086" y="1878"/>
                </a:lnTo>
                <a:lnTo>
                  <a:pt x="1083" y="1877"/>
                </a:lnTo>
                <a:lnTo>
                  <a:pt x="1080" y="1875"/>
                </a:lnTo>
                <a:lnTo>
                  <a:pt x="1078" y="1873"/>
                </a:lnTo>
                <a:lnTo>
                  <a:pt x="1076" y="1870"/>
                </a:lnTo>
                <a:lnTo>
                  <a:pt x="1075" y="1868"/>
                </a:lnTo>
                <a:lnTo>
                  <a:pt x="1075" y="1865"/>
                </a:lnTo>
                <a:lnTo>
                  <a:pt x="1075" y="1862"/>
                </a:lnTo>
                <a:lnTo>
                  <a:pt x="1075" y="1859"/>
                </a:lnTo>
                <a:lnTo>
                  <a:pt x="1076" y="1856"/>
                </a:lnTo>
                <a:lnTo>
                  <a:pt x="1078" y="1853"/>
                </a:lnTo>
                <a:lnTo>
                  <a:pt x="1080" y="1851"/>
                </a:lnTo>
                <a:lnTo>
                  <a:pt x="1082" y="1849"/>
                </a:lnTo>
                <a:close/>
                <a:moveTo>
                  <a:pt x="1207" y="1776"/>
                </a:moveTo>
                <a:lnTo>
                  <a:pt x="1209" y="1774"/>
                </a:lnTo>
                <a:lnTo>
                  <a:pt x="1212" y="1774"/>
                </a:lnTo>
                <a:lnTo>
                  <a:pt x="1215" y="1773"/>
                </a:lnTo>
                <a:lnTo>
                  <a:pt x="1218" y="1774"/>
                </a:lnTo>
                <a:lnTo>
                  <a:pt x="1221" y="1775"/>
                </a:lnTo>
                <a:lnTo>
                  <a:pt x="1224" y="1776"/>
                </a:lnTo>
                <a:lnTo>
                  <a:pt x="1226" y="1778"/>
                </a:lnTo>
                <a:lnTo>
                  <a:pt x="1228" y="1781"/>
                </a:lnTo>
                <a:lnTo>
                  <a:pt x="1229" y="1784"/>
                </a:lnTo>
                <a:lnTo>
                  <a:pt x="1230" y="1788"/>
                </a:lnTo>
                <a:lnTo>
                  <a:pt x="1230" y="1791"/>
                </a:lnTo>
                <a:lnTo>
                  <a:pt x="1230" y="1794"/>
                </a:lnTo>
                <a:lnTo>
                  <a:pt x="1229" y="1797"/>
                </a:lnTo>
                <a:lnTo>
                  <a:pt x="1228" y="1799"/>
                </a:lnTo>
                <a:lnTo>
                  <a:pt x="1226" y="1802"/>
                </a:lnTo>
                <a:lnTo>
                  <a:pt x="1223" y="1804"/>
                </a:lnTo>
                <a:lnTo>
                  <a:pt x="1220" y="1805"/>
                </a:lnTo>
                <a:lnTo>
                  <a:pt x="1217" y="1806"/>
                </a:lnTo>
                <a:lnTo>
                  <a:pt x="1214" y="1806"/>
                </a:lnTo>
                <a:lnTo>
                  <a:pt x="1211" y="1806"/>
                </a:lnTo>
                <a:lnTo>
                  <a:pt x="1208" y="1805"/>
                </a:lnTo>
                <a:lnTo>
                  <a:pt x="1205" y="1803"/>
                </a:lnTo>
                <a:lnTo>
                  <a:pt x="1203" y="1801"/>
                </a:lnTo>
                <a:lnTo>
                  <a:pt x="1201" y="1799"/>
                </a:lnTo>
                <a:lnTo>
                  <a:pt x="1200" y="1796"/>
                </a:lnTo>
                <a:lnTo>
                  <a:pt x="1199" y="1793"/>
                </a:lnTo>
                <a:lnTo>
                  <a:pt x="1199" y="1790"/>
                </a:lnTo>
                <a:lnTo>
                  <a:pt x="1199" y="1787"/>
                </a:lnTo>
                <a:lnTo>
                  <a:pt x="1200" y="1783"/>
                </a:lnTo>
                <a:lnTo>
                  <a:pt x="1201" y="1780"/>
                </a:lnTo>
                <a:lnTo>
                  <a:pt x="1203" y="1778"/>
                </a:lnTo>
                <a:lnTo>
                  <a:pt x="1206" y="1776"/>
                </a:lnTo>
                <a:lnTo>
                  <a:pt x="1207" y="1776"/>
                </a:lnTo>
                <a:close/>
                <a:moveTo>
                  <a:pt x="832" y="1991"/>
                </a:moveTo>
                <a:lnTo>
                  <a:pt x="835" y="1990"/>
                </a:lnTo>
                <a:lnTo>
                  <a:pt x="838" y="1989"/>
                </a:lnTo>
                <a:lnTo>
                  <a:pt x="841" y="1989"/>
                </a:lnTo>
                <a:lnTo>
                  <a:pt x="844" y="1990"/>
                </a:lnTo>
                <a:lnTo>
                  <a:pt x="847" y="1991"/>
                </a:lnTo>
                <a:lnTo>
                  <a:pt x="849" y="1992"/>
                </a:lnTo>
                <a:lnTo>
                  <a:pt x="851" y="1994"/>
                </a:lnTo>
                <a:lnTo>
                  <a:pt x="853" y="1996"/>
                </a:lnTo>
                <a:lnTo>
                  <a:pt x="855" y="1999"/>
                </a:lnTo>
                <a:lnTo>
                  <a:pt x="856" y="2002"/>
                </a:lnTo>
                <a:lnTo>
                  <a:pt x="856" y="2008"/>
                </a:lnTo>
                <a:lnTo>
                  <a:pt x="855" y="2011"/>
                </a:lnTo>
                <a:lnTo>
                  <a:pt x="853" y="2014"/>
                </a:lnTo>
                <a:lnTo>
                  <a:pt x="851" y="2016"/>
                </a:lnTo>
                <a:lnTo>
                  <a:pt x="849" y="2018"/>
                </a:lnTo>
                <a:lnTo>
                  <a:pt x="846" y="2020"/>
                </a:lnTo>
                <a:lnTo>
                  <a:pt x="843" y="2021"/>
                </a:lnTo>
                <a:lnTo>
                  <a:pt x="837" y="2020"/>
                </a:lnTo>
                <a:lnTo>
                  <a:pt x="834" y="2020"/>
                </a:lnTo>
                <a:lnTo>
                  <a:pt x="831" y="2018"/>
                </a:lnTo>
                <a:lnTo>
                  <a:pt x="829" y="2016"/>
                </a:lnTo>
                <a:lnTo>
                  <a:pt x="827" y="2014"/>
                </a:lnTo>
                <a:lnTo>
                  <a:pt x="825" y="2011"/>
                </a:lnTo>
                <a:lnTo>
                  <a:pt x="825" y="2008"/>
                </a:lnTo>
                <a:lnTo>
                  <a:pt x="825" y="2002"/>
                </a:lnTo>
                <a:lnTo>
                  <a:pt x="826" y="1999"/>
                </a:lnTo>
                <a:lnTo>
                  <a:pt x="827" y="1996"/>
                </a:lnTo>
                <a:lnTo>
                  <a:pt x="829" y="1994"/>
                </a:lnTo>
                <a:lnTo>
                  <a:pt x="831" y="1992"/>
                </a:lnTo>
                <a:lnTo>
                  <a:pt x="832" y="1991"/>
                </a:lnTo>
                <a:close/>
                <a:moveTo>
                  <a:pt x="955" y="1917"/>
                </a:moveTo>
                <a:lnTo>
                  <a:pt x="958" y="1915"/>
                </a:lnTo>
                <a:lnTo>
                  <a:pt x="961" y="1915"/>
                </a:lnTo>
                <a:lnTo>
                  <a:pt x="964" y="1915"/>
                </a:lnTo>
                <a:lnTo>
                  <a:pt x="967" y="1915"/>
                </a:lnTo>
                <a:lnTo>
                  <a:pt x="970" y="1916"/>
                </a:lnTo>
                <a:lnTo>
                  <a:pt x="973" y="1918"/>
                </a:lnTo>
                <a:lnTo>
                  <a:pt x="975" y="1920"/>
                </a:lnTo>
                <a:lnTo>
                  <a:pt x="977" y="1923"/>
                </a:lnTo>
                <a:lnTo>
                  <a:pt x="978" y="1926"/>
                </a:lnTo>
                <a:lnTo>
                  <a:pt x="979" y="1929"/>
                </a:lnTo>
                <a:lnTo>
                  <a:pt x="979" y="1932"/>
                </a:lnTo>
                <a:lnTo>
                  <a:pt x="978" y="1935"/>
                </a:lnTo>
                <a:lnTo>
                  <a:pt x="977" y="1937"/>
                </a:lnTo>
                <a:lnTo>
                  <a:pt x="976" y="1940"/>
                </a:lnTo>
                <a:lnTo>
                  <a:pt x="974" y="1942"/>
                </a:lnTo>
                <a:lnTo>
                  <a:pt x="971" y="1944"/>
                </a:lnTo>
                <a:lnTo>
                  <a:pt x="968" y="1945"/>
                </a:lnTo>
                <a:lnTo>
                  <a:pt x="965" y="1946"/>
                </a:lnTo>
                <a:lnTo>
                  <a:pt x="962" y="1946"/>
                </a:lnTo>
                <a:lnTo>
                  <a:pt x="959" y="1946"/>
                </a:lnTo>
                <a:lnTo>
                  <a:pt x="956" y="1945"/>
                </a:lnTo>
                <a:lnTo>
                  <a:pt x="953" y="1943"/>
                </a:lnTo>
                <a:lnTo>
                  <a:pt x="951" y="1941"/>
                </a:lnTo>
                <a:lnTo>
                  <a:pt x="949" y="1938"/>
                </a:lnTo>
                <a:lnTo>
                  <a:pt x="948" y="1935"/>
                </a:lnTo>
                <a:lnTo>
                  <a:pt x="947" y="1932"/>
                </a:lnTo>
                <a:lnTo>
                  <a:pt x="947" y="1929"/>
                </a:lnTo>
                <a:lnTo>
                  <a:pt x="948" y="1926"/>
                </a:lnTo>
                <a:lnTo>
                  <a:pt x="949" y="1923"/>
                </a:lnTo>
                <a:lnTo>
                  <a:pt x="951" y="1921"/>
                </a:lnTo>
                <a:lnTo>
                  <a:pt x="953" y="1919"/>
                </a:lnTo>
                <a:lnTo>
                  <a:pt x="955" y="1917"/>
                </a:lnTo>
                <a:close/>
                <a:moveTo>
                  <a:pt x="1324" y="1694"/>
                </a:moveTo>
                <a:lnTo>
                  <a:pt x="1327" y="1692"/>
                </a:lnTo>
                <a:lnTo>
                  <a:pt x="1330" y="1692"/>
                </a:lnTo>
                <a:lnTo>
                  <a:pt x="1335" y="1692"/>
                </a:lnTo>
                <a:lnTo>
                  <a:pt x="1338" y="1693"/>
                </a:lnTo>
                <a:lnTo>
                  <a:pt x="1341" y="1694"/>
                </a:lnTo>
                <a:lnTo>
                  <a:pt x="1343" y="1695"/>
                </a:lnTo>
                <a:lnTo>
                  <a:pt x="1344" y="1696"/>
                </a:lnTo>
                <a:lnTo>
                  <a:pt x="1345" y="1698"/>
                </a:lnTo>
                <a:lnTo>
                  <a:pt x="1347" y="1700"/>
                </a:lnTo>
                <a:lnTo>
                  <a:pt x="1348" y="1703"/>
                </a:lnTo>
                <a:lnTo>
                  <a:pt x="1348" y="1706"/>
                </a:lnTo>
                <a:lnTo>
                  <a:pt x="1348" y="1709"/>
                </a:lnTo>
                <a:lnTo>
                  <a:pt x="1347" y="1712"/>
                </a:lnTo>
                <a:lnTo>
                  <a:pt x="1346" y="1715"/>
                </a:lnTo>
                <a:lnTo>
                  <a:pt x="1344" y="1718"/>
                </a:lnTo>
                <a:lnTo>
                  <a:pt x="1342" y="1720"/>
                </a:lnTo>
                <a:lnTo>
                  <a:pt x="1340" y="1721"/>
                </a:lnTo>
                <a:lnTo>
                  <a:pt x="1338" y="1722"/>
                </a:lnTo>
                <a:lnTo>
                  <a:pt x="1335" y="1723"/>
                </a:lnTo>
                <a:lnTo>
                  <a:pt x="1329" y="1723"/>
                </a:lnTo>
                <a:lnTo>
                  <a:pt x="1327" y="1722"/>
                </a:lnTo>
                <a:lnTo>
                  <a:pt x="1324" y="1721"/>
                </a:lnTo>
                <a:lnTo>
                  <a:pt x="1322" y="1719"/>
                </a:lnTo>
                <a:lnTo>
                  <a:pt x="1321" y="1718"/>
                </a:lnTo>
                <a:lnTo>
                  <a:pt x="1320" y="1717"/>
                </a:lnTo>
                <a:lnTo>
                  <a:pt x="1318" y="1714"/>
                </a:lnTo>
                <a:lnTo>
                  <a:pt x="1317" y="1711"/>
                </a:lnTo>
                <a:lnTo>
                  <a:pt x="1317" y="1708"/>
                </a:lnTo>
                <a:lnTo>
                  <a:pt x="1317" y="1705"/>
                </a:lnTo>
                <a:lnTo>
                  <a:pt x="1317" y="1702"/>
                </a:lnTo>
                <a:lnTo>
                  <a:pt x="1319" y="1699"/>
                </a:lnTo>
                <a:lnTo>
                  <a:pt x="1320" y="1697"/>
                </a:lnTo>
                <a:lnTo>
                  <a:pt x="1323" y="1695"/>
                </a:lnTo>
                <a:lnTo>
                  <a:pt x="1324" y="1694"/>
                </a:lnTo>
                <a:close/>
                <a:moveTo>
                  <a:pt x="3189" y="587"/>
                </a:moveTo>
                <a:lnTo>
                  <a:pt x="3193" y="585"/>
                </a:lnTo>
                <a:lnTo>
                  <a:pt x="3196" y="585"/>
                </a:lnTo>
                <a:lnTo>
                  <a:pt x="3200" y="585"/>
                </a:lnTo>
                <a:lnTo>
                  <a:pt x="3202" y="585"/>
                </a:lnTo>
                <a:lnTo>
                  <a:pt x="3204" y="586"/>
                </a:lnTo>
                <a:lnTo>
                  <a:pt x="3207" y="588"/>
                </a:lnTo>
                <a:lnTo>
                  <a:pt x="3209" y="590"/>
                </a:lnTo>
                <a:lnTo>
                  <a:pt x="3211" y="592"/>
                </a:lnTo>
                <a:lnTo>
                  <a:pt x="3212" y="596"/>
                </a:lnTo>
                <a:lnTo>
                  <a:pt x="3213" y="599"/>
                </a:lnTo>
                <a:lnTo>
                  <a:pt x="3213" y="602"/>
                </a:lnTo>
                <a:lnTo>
                  <a:pt x="3213" y="605"/>
                </a:lnTo>
                <a:lnTo>
                  <a:pt x="3212" y="608"/>
                </a:lnTo>
                <a:lnTo>
                  <a:pt x="3209" y="612"/>
                </a:lnTo>
                <a:lnTo>
                  <a:pt x="3207" y="614"/>
                </a:lnTo>
                <a:lnTo>
                  <a:pt x="3205" y="615"/>
                </a:lnTo>
                <a:lnTo>
                  <a:pt x="3202" y="617"/>
                </a:lnTo>
                <a:lnTo>
                  <a:pt x="3198" y="617"/>
                </a:lnTo>
                <a:lnTo>
                  <a:pt x="3195" y="617"/>
                </a:lnTo>
                <a:lnTo>
                  <a:pt x="3193" y="616"/>
                </a:lnTo>
                <a:lnTo>
                  <a:pt x="3191" y="616"/>
                </a:lnTo>
                <a:lnTo>
                  <a:pt x="3188" y="614"/>
                </a:lnTo>
                <a:lnTo>
                  <a:pt x="3186" y="612"/>
                </a:lnTo>
                <a:lnTo>
                  <a:pt x="3184" y="610"/>
                </a:lnTo>
                <a:lnTo>
                  <a:pt x="3183" y="607"/>
                </a:lnTo>
                <a:lnTo>
                  <a:pt x="3182" y="604"/>
                </a:lnTo>
                <a:lnTo>
                  <a:pt x="3181" y="601"/>
                </a:lnTo>
                <a:lnTo>
                  <a:pt x="3182" y="598"/>
                </a:lnTo>
                <a:lnTo>
                  <a:pt x="3183" y="595"/>
                </a:lnTo>
                <a:lnTo>
                  <a:pt x="3186" y="590"/>
                </a:lnTo>
                <a:lnTo>
                  <a:pt x="3187" y="588"/>
                </a:lnTo>
                <a:lnTo>
                  <a:pt x="3189" y="587"/>
                </a:lnTo>
                <a:close/>
                <a:moveTo>
                  <a:pt x="1433" y="1600"/>
                </a:moveTo>
                <a:lnTo>
                  <a:pt x="1436" y="1599"/>
                </a:lnTo>
                <a:lnTo>
                  <a:pt x="1438" y="1598"/>
                </a:lnTo>
                <a:lnTo>
                  <a:pt x="1441" y="1598"/>
                </a:lnTo>
                <a:lnTo>
                  <a:pt x="1443" y="1598"/>
                </a:lnTo>
                <a:lnTo>
                  <a:pt x="1446" y="1599"/>
                </a:lnTo>
                <a:lnTo>
                  <a:pt x="1448" y="1600"/>
                </a:lnTo>
                <a:lnTo>
                  <a:pt x="1451" y="1601"/>
                </a:lnTo>
                <a:lnTo>
                  <a:pt x="1453" y="1603"/>
                </a:lnTo>
                <a:lnTo>
                  <a:pt x="1455" y="1605"/>
                </a:lnTo>
                <a:lnTo>
                  <a:pt x="1456" y="1608"/>
                </a:lnTo>
                <a:lnTo>
                  <a:pt x="1457" y="1611"/>
                </a:lnTo>
                <a:lnTo>
                  <a:pt x="1457" y="1614"/>
                </a:lnTo>
                <a:lnTo>
                  <a:pt x="1457" y="1617"/>
                </a:lnTo>
                <a:lnTo>
                  <a:pt x="1456" y="1620"/>
                </a:lnTo>
                <a:lnTo>
                  <a:pt x="1454" y="1623"/>
                </a:lnTo>
                <a:lnTo>
                  <a:pt x="1452" y="1625"/>
                </a:lnTo>
                <a:lnTo>
                  <a:pt x="1449" y="1627"/>
                </a:lnTo>
                <a:lnTo>
                  <a:pt x="1447" y="1629"/>
                </a:lnTo>
                <a:lnTo>
                  <a:pt x="1444" y="1629"/>
                </a:lnTo>
                <a:lnTo>
                  <a:pt x="1442" y="1630"/>
                </a:lnTo>
                <a:lnTo>
                  <a:pt x="1439" y="1629"/>
                </a:lnTo>
                <a:lnTo>
                  <a:pt x="1437" y="1629"/>
                </a:lnTo>
                <a:lnTo>
                  <a:pt x="1434" y="1628"/>
                </a:lnTo>
                <a:lnTo>
                  <a:pt x="1432" y="1627"/>
                </a:lnTo>
                <a:lnTo>
                  <a:pt x="1430" y="1625"/>
                </a:lnTo>
                <a:lnTo>
                  <a:pt x="1428" y="1622"/>
                </a:lnTo>
                <a:lnTo>
                  <a:pt x="1426" y="1619"/>
                </a:lnTo>
                <a:lnTo>
                  <a:pt x="1426" y="1617"/>
                </a:lnTo>
                <a:lnTo>
                  <a:pt x="1425" y="1614"/>
                </a:lnTo>
                <a:lnTo>
                  <a:pt x="1426" y="1610"/>
                </a:lnTo>
                <a:lnTo>
                  <a:pt x="1427" y="1608"/>
                </a:lnTo>
                <a:lnTo>
                  <a:pt x="1428" y="1605"/>
                </a:lnTo>
                <a:lnTo>
                  <a:pt x="1430" y="1602"/>
                </a:lnTo>
                <a:lnTo>
                  <a:pt x="1433" y="1600"/>
                </a:lnTo>
                <a:close/>
                <a:moveTo>
                  <a:pt x="1529" y="1493"/>
                </a:moveTo>
                <a:lnTo>
                  <a:pt x="1533" y="1491"/>
                </a:lnTo>
                <a:lnTo>
                  <a:pt x="1538" y="1491"/>
                </a:lnTo>
                <a:lnTo>
                  <a:pt x="1540" y="1491"/>
                </a:lnTo>
                <a:lnTo>
                  <a:pt x="1542" y="1492"/>
                </a:lnTo>
                <a:lnTo>
                  <a:pt x="1544" y="1493"/>
                </a:lnTo>
                <a:lnTo>
                  <a:pt x="1547" y="1494"/>
                </a:lnTo>
                <a:lnTo>
                  <a:pt x="1549" y="1496"/>
                </a:lnTo>
                <a:lnTo>
                  <a:pt x="1551" y="1499"/>
                </a:lnTo>
                <a:lnTo>
                  <a:pt x="1552" y="1502"/>
                </a:lnTo>
                <a:lnTo>
                  <a:pt x="1553" y="1505"/>
                </a:lnTo>
                <a:lnTo>
                  <a:pt x="1553" y="1508"/>
                </a:lnTo>
                <a:lnTo>
                  <a:pt x="1552" y="1511"/>
                </a:lnTo>
                <a:lnTo>
                  <a:pt x="1551" y="1514"/>
                </a:lnTo>
                <a:lnTo>
                  <a:pt x="1549" y="1516"/>
                </a:lnTo>
                <a:lnTo>
                  <a:pt x="1547" y="1519"/>
                </a:lnTo>
                <a:lnTo>
                  <a:pt x="1545" y="1521"/>
                </a:lnTo>
                <a:lnTo>
                  <a:pt x="1541" y="1522"/>
                </a:lnTo>
                <a:lnTo>
                  <a:pt x="1536" y="1523"/>
                </a:lnTo>
                <a:lnTo>
                  <a:pt x="1534" y="1522"/>
                </a:lnTo>
                <a:lnTo>
                  <a:pt x="1531" y="1522"/>
                </a:lnTo>
                <a:lnTo>
                  <a:pt x="1529" y="1521"/>
                </a:lnTo>
                <a:lnTo>
                  <a:pt x="1527" y="1519"/>
                </a:lnTo>
                <a:lnTo>
                  <a:pt x="1525" y="1517"/>
                </a:lnTo>
                <a:lnTo>
                  <a:pt x="1523" y="1515"/>
                </a:lnTo>
                <a:lnTo>
                  <a:pt x="1522" y="1512"/>
                </a:lnTo>
                <a:lnTo>
                  <a:pt x="1521" y="1509"/>
                </a:lnTo>
                <a:lnTo>
                  <a:pt x="1521" y="1506"/>
                </a:lnTo>
                <a:lnTo>
                  <a:pt x="1522" y="1503"/>
                </a:lnTo>
                <a:lnTo>
                  <a:pt x="1523" y="1500"/>
                </a:lnTo>
                <a:lnTo>
                  <a:pt x="1524" y="1497"/>
                </a:lnTo>
                <a:lnTo>
                  <a:pt x="1526" y="1495"/>
                </a:lnTo>
                <a:lnTo>
                  <a:pt x="1529" y="1493"/>
                </a:lnTo>
                <a:close/>
                <a:moveTo>
                  <a:pt x="1606" y="1372"/>
                </a:moveTo>
                <a:lnTo>
                  <a:pt x="1609" y="1371"/>
                </a:lnTo>
                <a:lnTo>
                  <a:pt x="1613" y="1370"/>
                </a:lnTo>
                <a:lnTo>
                  <a:pt x="1617" y="1370"/>
                </a:lnTo>
                <a:lnTo>
                  <a:pt x="1621" y="1372"/>
                </a:lnTo>
                <a:lnTo>
                  <a:pt x="1624" y="1373"/>
                </a:lnTo>
                <a:lnTo>
                  <a:pt x="1626" y="1376"/>
                </a:lnTo>
                <a:lnTo>
                  <a:pt x="1628" y="1378"/>
                </a:lnTo>
                <a:lnTo>
                  <a:pt x="1629" y="1381"/>
                </a:lnTo>
                <a:lnTo>
                  <a:pt x="1630" y="1387"/>
                </a:lnTo>
                <a:lnTo>
                  <a:pt x="1629" y="1390"/>
                </a:lnTo>
                <a:lnTo>
                  <a:pt x="1628" y="1393"/>
                </a:lnTo>
                <a:lnTo>
                  <a:pt x="1627" y="1395"/>
                </a:lnTo>
                <a:lnTo>
                  <a:pt x="1625" y="1397"/>
                </a:lnTo>
                <a:lnTo>
                  <a:pt x="1622" y="1399"/>
                </a:lnTo>
                <a:lnTo>
                  <a:pt x="1618" y="1401"/>
                </a:lnTo>
                <a:lnTo>
                  <a:pt x="1614" y="1402"/>
                </a:lnTo>
                <a:lnTo>
                  <a:pt x="1610" y="1401"/>
                </a:lnTo>
                <a:lnTo>
                  <a:pt x="1607" y="1400"/>
                </a:lnTo>
                <a:lnTo>
                  <a:pt x="1604" y="1398"/>
                </a:lnTo>
                <a:lnTo>
                  <a:pt x="1602" y="1396"/>
                </a:lnTo>
                <a:lnTo>
                  <a:pt x="1600" y="1393"/>
                </a:lnTo>
                <a:lnTo>
                  <a:pt x="1599" y="1391"/>
                </a:lnTo>
                <a:lnTo>
                  <a:pt x="1598" y="1385"/>
                </a:lnTo>
                <a:lnTo>
                  <a:pt x="1599" y="1381"/>
                </a:lnTo>
                <a:lnTo>
                  <a:pt x="1600" y="1378"/>
                </a:lnTo>
                <a:lnTo>
                  <a:pt x="1601" y="1377"/>
                </a:lnTo>
                <a:lnTo>
                  <a:pt x="1602" y="1375"/>
                </a:lnTo>
                <a:lnTo>
                  <a:pt x="1606" y="1372"/>
                </a:lnTo>
                <a:close/>
                <a:moveTo>
                  <a:pt x="3057" y="530"/>
                </a:moveTo>
                <a:lnTo>
                  <a:pt x="3060" y="528"/>
                </a:lnTo>
                <a:lnTo>
                  <a:pt x="3064" y="528"/>
                </a:lnTo>
                <a:lnTo>
                  <a:pt x="3067" y="528"/>
                </a:lnTo>
                <a:lnTo>
                  <a:pt x="3071" y="529"/>
                </a:lnTo>
                <a:lnTo>
                  <a:pt x="3074" y="530"/>
                </a:lnTo>
                <a:lnTo>
                  <a:pt x="3076" y="532"/>
                </a:lnTo>
                <a:lnTo>
                  <a:pt x="3078" y="535"/>
                </a:lnTo>
                <a:lnTo>
                  <a:pt x="3080" y="537"/>
                </a:lnTo>
                <a:lnTo>
                  <a:pt x="3081" y="540"/>
                </a:lnTo>
                <a:lnTo>
                  <a:pt x="3081" y="543"/>
                </a:lnTo>
                <a:lnTo>
                  <a:pt x="3081" y="546"/>
                </a:lnTo>
                <a:lnTo>
                  <a:pt x="3080" y="549"/>
                </a:lnTo>
                <a:lnTo>
                  <a:pt x="3077" y="554"/>
                </a:lnTo>
                <a:lnTo>
                  <a:pt x="3075" y="556"/>
                </a:lnTo>
                <a:lnTo>
                  <a:pt x="3073" y="557"/>
                </a:lnTo>
                <a:lnTo>
                  <a:pt x="3070" y="559"/>
                </a:lnTo>
                <a:lnTo>
                  <a:pt x="3066" y="559"/>
                </a:lnTo>
                <a:lnTo>
                  <a:pt x="3063" y="559"/>
                </a:lnTo>
                <a:lnTo>
                  <a:pt x="3059" y="558"/>
                </a:lnTo>
                <a:lnTo>
                  <a:pt x="3056" y="557"/>
                </a:lnTo>
                <a:lnTo>
                  <a:pt x="3054" y="555"/>
                </a:lnTo>
                <a:lnTo>
                  <a:pt x="3052" y="552"/>
                </a:lnTo>
                <a:lnTo>
                  <a:pt x="3050" y="550"/>
                </a:lnTo>
                <a:lnTo>
                  <a:pt x="3050" y="547"/>
                </a:lnTo>
                <a:lnTo>
                  <a:pt x="3049" y="544"/>
                </a:lnTo>
                <a:lnTo>
                  <a:pt x="3050" y="541"/>
                </a:lnTo>
                <a:lnTo>
                  <a:pt x="3050" y="537"/>
                </a:lnTo>
                <a:lnTo>
                  <a:pt x="3053" y="533"/>
                </a:lnTo>
                <a:lnTo>
                  <a:pt x="3055" y="531"/>
                </a:lnTo>
                <a:lnTo>
                  <a:pt x="3057" y="530"/>
                </a:lnTo>
                <a:close/>
                <a:moveTo>
                  <a:pt x="1660" y="1239"/>
                </a:moveTo>
                <a:lnTo>
                  <a:pt x="1662" y="1238"/>
                </a:lnTo>
                <a:lnTo>
                  <a:pt x="1666" y="1237"/>
                </a:lnTo>
                <a:lnTo>
                  <a:pt x="1669" y="1237"/>
                </a:lnTo>
                <a:lnTo>
                  <a:pt x="1672" y="1237"/>
                </a:lnTo>
                <a:lnTo>
                  <a:pt x="1675" y="1239"/>
                </a:lnTo>
                <a:lnTo>
                  <a:pt x="1678" y="1240"/>
                </a:lnTo>
                <a:lnTo>
                  <a:pt x="1680" y="1243"/>
                </a:lnTo>
                <a:lnTo>
                  <a:pt x="1681" y="1245"/>
                </a:lnTo>
                <a:lnTo>
                  <a:pt x="1683" y="1248"/>
                </a:lnTo>
                <a:lnTo>
                  <a:pt x="1683" y="1251"/>
                </a:lnTo>
                <a:lnTo>
                  <a:pt x="1683" y="1254"/>
                </a:lnTo>
                <a:lnTo>
                  <a:pt x="1683" y="1257"/>
                </a:lnTo>
                <a:lnTo>
                  <a:pt x="1681" y="1260"/>
                </a:lnTo>
                <a:lnTo>
                  <a:pt x="1680" y="1263"/>
                </a:lnTo>
                <a:lnTo>
                  <a:pt x="1678" y="1265"/>
                </a:lnTo>
                <a:lnTo>
                  <a:pt x="1675" y="1266"/>
                </a:lnTo>
                <a:lnTo>
                  <a:pt x="1673" y="1268"/>
                </a:lnTo>
                <a:lnTo>
                  <a:pt x="1669" y="1268"/>
                </a:lnTo>
                <a:lnTo>
                  <a:pt x="1666" y="1268"/>
                </a:lnTo>
                <a:lnTo>
                  <a:pt x="1663" y="1268"/>
                </a:lnTo>
                <a:lnTo>
                  <a:pt x="1660" y="1267"/>
                </a:lnTo>
                <a:lnTo>
                  <a:pt x="1657" y="1265"/>
                </a:lnTo>
                <a:lnTo>
                  <a:pt x="1655" y="1263"/>
                </a:lnTo>
                <a:lnTo>
                  <a:pt x="1654" y="1260"/>
                </a:lnTo>
                <a:lnTo>
                  <a:pt x="1652" y="1257"/>
                </a:lnTo>
                <a:lnTo>
                  <a:pt x="1652" y="1254"/>
                </a:lnTo>
                <a:lnTo>
                  <a:pt x="1652" y="1251"/>
                </a:lnTo>
                <a:lnTo>
                  <a:pt x="1652" y="1248"/>
                </a:lnTo>
                <a:lnTo>
                  <a:pt x="1653" y="1245"/>
                </a:lnTo>
                <a:lnTo>
                  <a:pt x="1655" y="1243"/>
                </a:lnTo>
                <a:lnTo>
                  <a:pt x="1657" y="1241"/>
                </a:lnTo>
                <a:lnTo>
                  <a:pt x="1660" y="1239"/>
                </a:lnTo>
                <a:close/>
                <a:moveTo>
                  <a:pt x="2923" y="479"/>
                </a:moveTo>
                <a:lnTo>
                  <a:pt x="2926" y="477"/>
                </a:lnTo>
                <a:lnTo>
                  <a:pt x="2929" y="476"/>
                </a:lnTo>
                <a:lnTo>
                  <a:pt x="2932" y="476"/>
                </a:lnTo>
                <a:lnTo>
                  <a:pt x="2936" y="477"/>
                </a:lnTo>
                <a:lnTo>
                  <a:pt x="2939" y="479"/>
                </a:lnTo>
                <a:lnTo>
                  <a:pt x="2941" y="481"/>
                </a:lnTo>
                <a:lnTo>
                  <a:pt x="2943" y="483"/>
                </a:lnTo>
                <a:lnTo>
                  <a:pt x="2945" y="485"/>
                </a:lnTo>
                <a:lnTo>
                  <a:pt x="2946" y="488"/>
                </a:lnTo>
                <a:lnTo>
                  <a:pt x="2946" y="491"/>
                </a:lnTo>
                <a:lnTo>
                  <a:pt x="2946" y="494"/>
                </a:lnTo>
                <a:lnTo>
                  <a:pt x="2946" y="497"/>
                </a:lnTo>
                <a:lnTo>
                  <a:pt x="2944" y="500"/>
                </a:lnTo>
                <a:lnTo>
                  <a:pt x="2943" y="502"/>
                </a:lnTo>
                <a:lnTo>
                  <a:pt x="2941" y="504"/>
                </a:lnTo>
                <a:lnTo>
                  <a:pt x="2938" y="506"/>
                </a:lnTo>
                <a:lnTo>
                  <a:pt x="2935" y="507"/>
                </a:lnTo>
                <a:lnTo>
                  <a:pt x="2932" y="508"/>
                </a:lnTo>
                <a:lnTo>
                  <a:pt x="2929" y="508"/>
                </a:lnTo>
                <a:lnTo>
                  <a:pt x="2925" y="507"/>
                </a:lnTo>
                <a:lnTo>
                  <a:pt x="2922" y="506"/>
                </a:lnTo>
                <a:lnTo>
                  <a:pt x="2920" y="504"/>
                </a:lnTo>
                <a:lnTo>
                  <a:pt x="2918" y="502"/>
                </a:lnTo>
                <a:lnTo>
                  <a:pt x="2916" y="499"/>
                </a:lnTo>
                <a:lnTo>
                  <a:pt x="2915" y="496"/>
                </a:lnTo>
                <a:lnTo>
                  <a:pt x="2915" y="493"/>
                </a:lnTo>
                <a:lnTo>
                  <a:pt x="2915" y="490"/>
                </a:lnTo>
                <a:lnTo>
                  <a:pt x="2916" y="487"/>
                </a:lnTo>
                <a:lnTo>
                  <a:pt x="2917" y="484"/>
                </a:lnTo>
                <a:lnTo>
                  <a:pt x="2918" y="482"/>
                </a:lnTo>
                <a:lnTo>
                  <a:pt x="2920" y="480"/>
                </a:lnTo>
                <a:lnTo>
                  <a:pt x="2923" y="479"/>
                </a:lnTo>
                <a:close/>
                <a:moveTo>
                  <a:pt x="1690" y="1098"/>
                </a:moveTo>
                <a:lnTo>
                  <a:pt x="1692" y="1097"/>
                </a:lnTo>
                <a:lnTo>
                  <a:pt x="1695" y="1097"/>
                </a:lnTo>
                <a:lnTo>
                  <a:pt x="1697" y="1096"/>
                </a:lnTo>
                <a:lnTo>
                  <a:pt x="1700" y="1096"/>
                </a:lnTo>
                <a:lnTo>
                  <a:pt x="1703" y="1097"/>
                </a:lnTo>
                <a:lnTo>
                  <a:pt x="1706" y="1099"/>
                </a:lnTo>
                <a:lnTo>
                  <a:pt x="1708" y="1100"/>
                </a:lnTo>
                <a:lnTo>
                  <a:pt x="1710" y="1103"/>
                </a:lnTo>
                <a:lnTo>
                  <a:pt x="1712" y="1105"/>
                </a:lnTo>
                <a:lnTo>
                  <a:pt x="1713" y="1108"/>
                </a:lnTo>
                <a:lnTo>
                  <a:pt x="1714" y="1111"/>
                </a:lnTo>
                <a:lnTo>
                  <a:pt x="1713" y="1114"/>
                </a:lnTo>
                <a:lnTo>
                  <a:pt x="1712" y="1118"/>
                </a:lnTo>
                <a:lnTo>
                  <a:pt x="1711" y="1121"/>
                </a:lnTo>
                <a:lnTo>
                  <a:pt x="1708" y="1124"/>
                </a:lnTo>
                <a:lnTo>
                  <a:pt x="1706" y="1126"/>
                </a:lnTo>
                <a:lnTo>
                  <a:pt x="1703" y="1127"/>
                </a:lnTo>
                <a:lnTo>
                  <a:pt x="1701" y="1128"/>
                </a:lnTo>
                <a:lnTo>
                  <a:pt x="1698" y="1128"/>
                </a:lnTo>
                <a:lnTo>
                  <a:pt x="1695" y="1128"/>
                </a:lnTo>
                <a:lnTo>
                  <a:pt x="1692" y="1127"/>
                </a:lnTo>
                <a:lnTo>
                  <a:pt x="1690" y="1126"/>
                </a:lnTo>
                <a:lnTo>
                  <a:pt x="1687" y="1124"/>
                </a:lnTo>
                <a:lnTo>
                  <a:pt x="1685" y="1122"/>
                </a:lnTo>
                <a:lnTo>
                  <a:pt x="1683" y="1119"/>
                </a:lnTo>
                <a:lnTo>
                  <a:pt x="1682" y="1116"/>
                </a:lnTo>
                <a:lnTo>
                  <a:pt x="1682" y="1113"/>
                </a:lnTo>
                <a:lnTo>
                  <a:pt x="1682" y="1110"/>
                </a:lnTo>
                <a:lnTo>
                  <a:pt x="1683" y="1106"/>
                </a:lnTo>
                <a:lnTo>
                  <a:pt x="1685" y="1103"/>
                </a:lnTo>
                <a:lnTo>
                  <a:pt x="1687" y="1100"/>
                </a:lnTo>
                <a:lnTo>
                  <a:pt x="1690" y="1098"/>
                </a:lnTo>
                <a:close/>
                <a:moveTo>
                  <a:pt x="2786" y="435"/>
                </a:moveTo>
                <a:lnTo>
                  <a:pt x="2788" y="433"/>
                </a:lnTo>
                <a:lnTo>
                  <a:pt x="2791" y="433"/>
                </a:lnTo>
                <a:lnTo>
                  <a:pt x="2795" y="433"/>
                </a:lnTo>
                <a:lnTo>
                  <a:pt x="2798" y="433"/>
                </a:lnTo>
                <a:lnTo>
                  <a:pt x="2801" y="434"/>
                </a:lnTo>
                <a:lnTo>
                  <a:pt x="2803" y="436"/>
                </a:lnTo>
                <a:lnTo>
                  <a:pt x="2806" y="438"/>
                </a:lnTo>
                <a:lnTo>
                  <a:pt x="2807" y="441"/>
                </a:lnTo>
                <a:lnTo>
                  <a:pt x="2809" y="443"/>
                </a:lnTo>
                <a:lnTo>
                  <a:pt x="2809" y="446"/>
                </a:lnTo>
                <a:lnTo>
                  <a:pt x="2809" y="450"/>
                </a:lnTo>
                <a:lnTo>
                  <a:pt x="2809" y="453"/>
                </a:lnTo>
                <a:lnTo>
                  <a:pt x="2808" y="456"/>
                </a:lnTo>
                <a:lnTo>
                  <a:pt x="2806" y="458"/>
                </a:lnTo>
                <a:lnTo>
                  <a:pt x="2804" y="460"/>
                </a:lnTo>
                <a:lnTo>
                  <a:pt x="2801" y="462"/>
                </a:lnTo>
                <a:lnTo>
                  <a:pt x="2799" y="463"/>
                </a:lnTo>
                <a:lnTo>
                  <a:pt x="2796" y="464"/>
                </a:lnTo>
                <a:lnTo>
                  <a:pt x="2792" y="464"/>
                </a:lnTo>
                <a:lnTo>
                  <a:pt x="2789" y="464"/>
                </a:lnTo>
                <a:lnTo>
                  <a:pt x="2786" y="462"/>
                </a:lnTo>
                <a:lnTo>
                  <a:pt x="2784" y="461"/>
                </a:lnTo>
                <a:lnTo>
                  <a:pt x="2781" y="459"/>
                </a:lnTo>
                <a:lnTo>
                  <a:pt x="2780" y="456"/>
                </a:lnTo>
                <a:lnTo>
                  <a:pt x="2778" y="453"/>
                </a:lnTo>
                <a:lnTo>
                  <a:pt x="2778" y="450"/>
                </a:lnTo>
                <a:lnTo>
                  <a:pt x="2778" y="447"/>
                </a:lnTo>
                <a:lnTo>
                  <a:pt x="2778" y="444"/>
                </a:lnTo>
                <a:lnTo>
                  <a:pt x="2779" y="441"/>
                </a:lnTo>
                <a:lnTo>
                  <a:pt x="2781" y="439"/>
                </a:lnTo>
                <a:lnTo>
                  <a:pt x="2783" y="436"/>
                </a:lnTo>
                <a:lnTo>
                  <a:pt x="2786" y="435"/>
                </a:lnTo>
                <a:close/>
                <a:moveTo>
                  <a:pt x="1704" y="955"/>
                </a:moveTo>
                <a:lnTo>
                  <a:pt x="1708" y="953"/>
                </a:lnTo>
                <a:lnTo>
                  <a:pt x="1713" y="953"/>
                </a:lnTo>
                <a:lnTo>
                  <a:pt x="1716" y="954"/>
                </a:lnTo>
                <a:lnTo>
                  <a:pt x="1719" y="955"/>
                </a:lnTo>
                <a:lnTo>
                  <a:pt x="1721" y="956"/>
                </a:lnTo>
                <a:lnTo>
                  <a:pt x="1724" y="958"/>
                </a:lnTo>
                <a:lnTo>
                  <a:pt x="1725" y="961"/>
                </a:lnTo>
                <a:lnTo>
                  <a:pt x="1727" y="964"/>
                </a:lnTo>
                <a:lnTo>
                  <a:pt x="1727" y="967"/>
                </a:lnTo>
                <a:lnTo>
                  <a:pt x="1728" y="970"/>
                </a:lnTo>
                <a:lnTo>
                  <a:pt x="1727" y="974"/>
                </a:lnTo>
                <a:lnTo>
                  <a:pt x="1725" y="977"/>
                </a:lnTo>
                <a:lnTo>
                  <a:pt x="1723" y="980"/>
                </a:lnTo>
                <a:lnTo>
                  <a:pt x="1720" y="983"/>
                </a:lnTo>
                <a:lnTo>
                  <a:pt x="1715" y="984"/>
                </a:lnTo>
                <a:lnTo>
                  <a:pt x="1711" y="985"/>
                </a:lnTo>
                <a:lnTo>
                  <a:pt x="1707" y="984"/>
                </a:lnTo>
                <a:lnTo>
                  <a:pt x="1705" y="983"/>
                </a:lnTo>
                <a:lnTo>
                  <a:pt x="1702" y="981"/>
                </a:lnTo>
                <a:lnTo>
                  <a:pt x="1700" y="979"/>
                </a:lnTo>
                <a:lnTo>
                  <a:pt x="1698" y="977"/>
                </a:lnTo>
                <a:lnTo>
                  <a:pt x="1697" y="974"/>
                </a:lnTo>
                <a:lnTo>
                  <a:pt x="1696" y="971"/>
                </a:lnTo>
                <a:lnTo>
                  <a:pt x="1696" y="968"/>
                </a:lnTo>
                <a:lnTo>
                  <a:pt x="1697" y="964"/>
                </a:lnTo>
                <a:lnTo>
                  <a:pt x="1698" y="960"/>
                </a:lnTo>
                <a:lnTo>
                  <a:pt x="1701" y="957"/>
                </a:lnTo>
                <a:lnTo>
                  <a:pt x="1704" y="955"/>
                </a:lnTo>
                <a:close/>
                <a:moveTo>
                  <a:pt x="2646" y="401"/>
                </a:moveTo>
                <a:lnTo>
                  <a:pt x="2648" y="399"/>
                </a:lnTo>
                <a:lnTo>
                  <a:pt x="2651" y="399"/>
                </a:lnTo>
                <a:lnTo>
                  <a:pt x="2657" y="399"/>
                </a:lnTo>
                <a:lnTo>
                  <a:pt x="2660" y="400"/>
                </a:lnTo>
                <a:lnTo>
                  <a:pt x="2663" y="401"/>
                </a:lnTo>
                <a:lnTo>
                  <a:pt x="2665" y="403"/>
                </a:lnTo>
                <a:lnTo>
                  <a:pt x="2667" y="406"/>
                </a:lnTo>
                <a:lnTo>
                  <a:pt x="2668" y="408"/>
                </a:lnTo>
                <a:lnTo>
                  <a:pt x="2669" y="411"/>
                </a:lnTo>
                <a:lnTo>
                  <a:pt x="2670" y="414"/>
                </a:lnTo>
                <a:lnTo>
                  <a:pt x="2669" y="417"/>
                </a:lnTo>
                <a:lnTo>
                  <a:pt x="2668" y="421"/>
                </a:lnTo>
                <a:lnTo>
                  <a:pt x="2666" y="424"/>
                </a:lnTo>
                <a:lnTo>
                  <a:pt x="2664" y="426"/>
                </a:lnTo>
                <a:lnTo>
                  <a:pt x="2662" y="428"/>
                </a:lnTo>
                <a:lnTo>
                  <a:pt x="2659" y="429"/>
                </a:lnTo>
                <a:lnTo>
                  <a:pt x="2656" y="430"/>
                </a:lnTo>
                <a:lnTo>
                  <a:pt x="2651" y="430"/>
                </a:lnTo>
                <a:lnTo>
                  <a:pt x="2647" y="429"/>
                </a:lnTo>
                <a:lnTo>
                  <a:pt x="2645" y="427"/>
                </a:lnTo>
                <a:lnTo>
                  <a:pt x="2642" y="425"/>
                </a:lnTo>
                <a:lnTo>
                  <a:pt x="2640" y="423"/>
                </a:lnTo>
                <a:lnTo>
                  <a:pt x="2639" y="420"/>
                </a:lnTo>
                <a:lnTo>
                  <a:pt x="2638" y="418"/>
                </a:lnTo>
                <a:lnTo>
                  <a:pt x="2638" y="414"/>
                </a:lnTo>
                <a:lnTo>
                  <a:pt x="2638" y="411"/>
                </a:lnTo>
                <a:lnTo>
                  <a:pt x="2639" y="408"/>
                </a:lnTo>
                <a:lnTo>
                  <a:pt x="2641" y="405"/>
                </a:lnTo>
                <a:lnTo>
                  <a:pt x="2643" y="403"/>
                </a:lnTo>
                <a:lnTo>
                  <a:pt x="2646" y="401"/>
                </a:lnTo>
                <a:close/>
                <a:moveTo>
                  <a:pt x="2504" y="379"/>
                </a:moveTo>
                <a:lnTo>
                  <a:pt x="2506" y="378"/>
                </a:lnTo>
                <a:lnTo>
                  <a:pt x="2508" y="377"/>
                </a:lnTo>
                <a:lnTo>
                  <a:pt x="2510" y="377"/>
                </a:lnTo>
                <a:lnTo>
                  <a:pt x="2513" y="377"/>
                </a:lnTo>
                <a:lnTo>
                  <a:pt x="2516" y="378"/>
                </a:lnTo>
                <a:lnTo>
                  <a:pt x="2519" y="379"/>
                </a:lnTo>
                <a:lnTo>
                  <a:pt x="2522" y="381"/>
                </a:lnTo>
                <a:lnTo>
                  <a:pt x="2524" y="383"/>
                </a:lnTo>
                <a:lnTo>
                  <a:pt x="2525" y="385"/>
                </a:lnTo>
                <a:lnTo>
                  <a:pt x="2527" y="388"/>
                </a:lnTo>
                <a:lnTo>
                  <a:pt x="2527" y="391"/>
                </a:lnTo>
                <a:lnTo>
                  <a:pt x="2527" y="394"/>
                </a:lnTo>
                <a:lnTo>
                  <a:pt x="2526" y="398"/>
                </a:lnTo>
                <a:lnTo>
                  <a:pt x="2525" y="402"/>
                </a:lnTo>
                <a:lnTo>
                  <a:pt x="2522" y="404"/>
                </a:lnTo>
                <a:lnTo>
                  <a:pt x="2519" y="407"/>
                </a:lnTo>
                <a:lnTo>
                  <a:pt x="2517" y="408"/>
                </a:lnTo>
                <a:lnTo>
                  <a:pt x="2515" y="408"/>
                </a:lnTo>
                <a:lnTo>
                  <a:pt x="2512" y="409"/>
                </a:lnTo>
                <a:lnTo>
                  <a:pt x="2510" y="409"/>
                </a:lnTo>
                <a:lnTo>
                  <a:pt x="2507" y="408"/>
                </a:lnTo>
                <a:lnTo>
                  <a:pt x="2504" y="407"/>
                </a:lnTo>
                <a:lnTo>
                  <a:pt x="2501" y="405"/>
                </a:lnTo>
                <a:lnTo>
                  <a:pt x="2499" y="403"/>
                </a:lnTo>
                <a:lnTo>
                  <a:pt x="2497" y="400"/>
                </a:lnTo>
                <a:lnTo>
                  <a:pt x="2496" y="398"/>
                </a:lnTo>
                <a:lnTo>
                  <a:pt x="2496" y="394"/>
                </a:lnTo>
                <a:lnTo>
                  <a:pt x="2496" y="391"/>
                </a:lnTo>
                <a:lnTo>
                  <a:pt x="2497" y="387"/>
                </a:lnTo>
                <a:lnTo>
                  <a:pt x="2498" y="384"/>
                </a:lnTo>
                <a:lnTo>
                  <a:pt x="2501" y="381"/>
                </a:lnTo>
                <a:lnTo>
                  <a:pt x="2504" y="379"/>
                </a:lnTo>
                <a:close/>
                <a:moveTo>
                  <a:pt x="1715" y="812"/>
                </a:moveTo>
                <a:lnTo>
                  <a:pt x="1718" y="811"/>
                </a:lnTo>
                <a:lnTo>
                  <a:pt x="1720" y="810"/>
                </a:lnTo>
                <a:lnTo>
                  <a:pt x="1723" y="810"/>
                </a:lnTo>
                <a:lnTo>
                  <a:pt x="1725" y="810"/>
                </a:lnTo>
                <a:lnTo>
                  <a:pt x="1728" y="810"/>
                </a:lnTo>
                <a:lnTo>
                  <a:pt x="1731" y="812"/>
                </a:lnTo>
                <a:lnTo>
                  <a:pt x="1734" y="813"/>
                </a:lnTo>
                <a:lnTo>
                  <a:pt x="1736" y="816"/>
                </a:lnTo>
                <a:lnTo>
                  <a:pt x="1737" y="818"/>
                </a:lnTo>
                <a:lnTo>
                  <a:pt x="1739" y="821"/>
                </a:lnTo>
                <a:lnTo>
                  <a:pt x="1739" y="824"/>
                </a:lnTo>
                <a:lnTo>
                  <a:pt x="1739" y="827"/>
                </a:lnTo>
                <a:lnTo>
                  <a:pt x="1738" y="831"/>
                </a:lnTo>
                <a:lnTo>
                  <a:pt x="1737" y="834"/>
                </a:lnTo>
                <a:lnTo>
                  <a:pt x="1734" y="837"/>
                </a:lnTo>
                <a:lnTo>
                  <a:pt x="1731" y="839"/>
                </a:lnTo>
                <a:lnTo>
                  <a:pt x="1729" y="840"/>
                </a:lnTo>
                <a:lnTo>
                  <a:pt x="1727" y="841"/>
                </a:lnTo>
                <a:lnTo>
                  <a:pt x="1724" y="841"/>
                </a:lnTo>
                <a:lnTo>
                  <a:pt x="1721" y="841"/>
                </a:lnTo>
                <a:lnTo>
                  <a:pt x="1718" y="840"/>
                </a:lnTo>
                <a:lnTo>
                  <a:pt x="1716" y="839"/>
                </a:lnTo>
                <a:lnTo>
                  <a:pt x="1713" y="837"/>
                </a:lnTo>
                <a:lnTo>
                  <a:pt x="1711" y="835"/>
                </a:lnTo>
                <a:lnTo>
                  <a:pt x="1709" y="833"/>
                </a:lnTo>
                <a:lnTo>
                  <a:pt x="1708" y="830"/>
                </a:lnTo>
                <a:lnTo>
                  <a:pt x="1708" y="827"/>
                </a:lnTo>
                <a:lnTo>
                  <a:pt x="1708" y="823"/>
                </a:lnTo>
                <a:lnTo>
                  <a:pt x="1709" y="820"/>
                </a:lnTo>
                <a:lnTo>
                  <a:pt x="1710" y="817"/>
                </a:lnTo>
                <a:lnTo>
                  <a:pt x="1713" y="814"/>
                </a:lnTo>
                <a:lnTo>
                  <a:pt x="1715" y="812"/>
                </a:lnTo>
                <a:close/>
                <a:moveTo>
                  <a:pt x="2359" y="373"/>
                </a:moveTo>
                <a:lnTo>
                  <a:pt x="2361" y="372"/>
                </a:lnTo>
                <a:lnTo>
                  <a:pt x="2362" y="372"/>
                </a:lnTo>
                <a:lnTo>
                  <a:pt x="2366" y="371"/>
                </a:lnTo>
                <a:lnTo>
                  <a:pt x="2370" y="371"/>
                </a:lnTo>
                <a:lnTo>
                  <a:pt x="2373" y="372"/>
                </a:lnTo>
                <a:lnTo>
                  <a:pt x="2375" y="374"/>
                </a:lnTo>
                <a:lnTo>
                  <a:pt x="2378" y="375"/>
                </a:lnTo>
                <a:lnTo>
                  <a:pt x="2380" y="378"/>
                </a:lnTo>
                <a:lnTo>
                  <a:pt x="2381" y="380"/>
                </a:lnTo>
                <a:lnTo>
                  <a:pt x="2382" y="383"/>
                </a:lnTo>
                <a:lnTo>
                  <a:pt x="2383" y="387"/>
                </a:lnTo>
                <a:lnTo>
                  <a:pt x="2382" y="391"/>
                </a:lnTo>
                <a:lnTo>
                  <a:pt x="2381" y="393"/>
                </a:lnTo>
                <a:lnTo>
                  <a:pt x="2381" y="395"/>
                </a:lnTo>
                <a:lnTo>
                  <a:pt x="2378" y="398"/>
                </a:lnTo>
                <a:lnTo>
                  <a:pt x="2375" y="401"/>
                </a:lnTo>
                <a:lnTo>
                  <a:pt x="2373" y="402"/>
                </a:lnTo>
                <a:lnTo>
                  <a:pt x="2371" y="402"/>
                </a:lnTo>
                <a:lnTo>
                  <a:pt x="2367" y="403"/>
                </a:lnTo>
                <a:lnTo>
                  <a:pt x="2364" y="403"/>
                </a:lnTo>
                <a:lnTo>
                  <a:pt x="2361" y="402"/>
                </a:lnTo>
                <a:lnTo>
                  <a:pt x="2358" y="400"/>
                </a:lnTo>
                <a:lnTo>
                  <a:pt x="2356" y="398"/>
                </a:lnTo>
                <a:lnTo>
                  <a:pt x="2354" y="396"/>
                </a:lnTo>
                <a:lnTo>
                  <a:pt x="2352" y="393"/>
                </a:lnTo>
                <a:lnTo>
                  <a:pt x="2351" y="390"/>
                </a:lnTo>
                <a:lnTo>
                  <a:pt x="2351" y="387"/>
                </a:lnTo>
                <a:lnTo>
                  <a:pt x="2351" y="383"/>
                </a:lnTo>
                <a:lnTo>
                  <a:pt x="2352" y="381"/>
                </a:lnTo>
                <a:lnTo>
                  <a:pt x="2353" y="379"/>
                </a:lnTo>
                <a:lnTo>
                  <a:pt x="2356" y="376"/>
                </a:lnTo>
                <a:lnTo>
                  <a:pt x="2359" y="373"/>
                </a:lnTo>
                <a:close/>
                <a:moveTo>
                  <a:pt x="1747" y="672"/>
                </a:moveTo>
                <a:lnTo>
                  <a:pt x="1750" y="670"/>
                </a:lnTo>
                <a:lnTo>
                  <a:pt x="1754" y="670"/>
                </a:lnTo>
                <a:lnTo>
                  <a:pt x="1757" y="670"/>
                </a:lnTo>
                <a:lnTo>
                  <a:pt x="1761" y="671"/>
                </a:lnTo>
                <a:lnTo>
                  <a:pt x="1764" y="672"/>
                </a:lnTo>
                <a:lnTo>
                  <a:pt x="1766" y="674"/>
                </a:lnTo>
                <a:lnTo>
                  <a:pt x="1768" y="676"/>
                </a:lnTo>
                <a:lnTo>
                  <a:pt x="1769" y="679"/>
                </a:lnTo>
                <a:lnTo>
                  <a:pt x="1770" y="682"/>
                </a:lnTo>
                <a:lnTo>
                  <a:pt x="1771" y="685"/>
                </a:lnTo>
                <a:lnTo>
                  <a:pt x="1771" y="688"/>
                </a:lnTo>
                <a:lnTo>
                  <a:pt x="1770" y="691"/>
                </a:lnTo>
                <a:lnTo>
                  <a:pt x="1767" y="696"/>
                </a:lnTo>
                <a:lnTo>
                  <a:pt x="1765" y="698"/>
                </a:lnTo>
                <a:lnTo>
                  <a:pt x="1763" y="699"/>
                </a:lnTo>
                <a:lnTo>
                  <a:pt x="1760" y="701"/>
                </a:lnTo>
                <a:lnTo>
                  <a:pt x="1756" y="701"/>
                </a:lnTo>
                <a:lnTo>
                  <a:pt x="1753" y="701"/>
                </a:lnTo>
                <a:lnTo>
                  <a:pt x="1749" y="700"/>
                </a:lnTo>
                <a:lnTo>
                  <a:pt x="1746" y="699"/>
                </a:lnTo>
                <a:lnTo>
                  <a:pt x="1744" y="697"/>
                </a:lnTo>
                <a:lnTo>
                  <a:pt x="1742" y="695"/>
                </a:lnTo>
                <a:lnTo>
                  <a:pt x="1741" y="692"/>
                </a:lnTo>
                <a:lnTo>
                  <a:pt x="1740" y="689"/>
                </a:lnTo>
                <a:lnTo>
                  <a:pt x="1739" y="686"/>
                </a:lnTo>
                <a:lnTo>
                  <a:pt x="1739" y="683"/>
                </a:lnTo>
                <a:lnTo>
                  <a:pt x="1740" y="680"/>
                </a:lnTo>
                <a:lnTo>
                  <a:pt x="1743" y="675"/>
                </a:lnTo>
                <a:lnTo>
                  <a:pt x="1745" y="673"/>
                </a:lnTo>
                <a:lnTo>
                  <a:pt x="1747" y="672"/>
                </a:lnTo>
                <a:close/>
                <a:moveTo>
                  <a:pt x="2216" y="386"/>
                </a:moveTo>
                <a:lnTo>
                  <a:pt x="2218" y="385"/>
                </a:lnTo>
                <a:lnTo>
                  <a:pt x="2221" y="384"/>
                </a:lnTo>
                <a:lnTo>
                  <a:pt x="2224" y="384"/>
                </a:lnTo>
                <a:lnTo>
                  <a:pt x="2227" y="384"/>
                </a:lnTo>
                <a:lnTo>
                  <a:pt x="2230" y="385"/>
                </a:lnTo>
                <a:lnTo>
                  <a:pt x="2233" y="387"/>
                </a:lnTo>
                <a:lnTo>
                  <a:pt x="2235" y="389"/>
                </a:lnTo>
                <a:lnTo>
                  <a:pt x="2237" y="391"/>
                </a:lnTo>
                <a:lnTo>
                  <a:pt x="2238" y="394"/>
                </a:lnTo>
                <a:lnTo>
                  <a:pt x="2239" y="397"/>
                </a:lnTo>
                <a:lnTo>
                  <a:pt x="2239" y="402"/>
                </a:lnTo>
                <a:lnTo>
                  <a:pt x="2238" y="406"/>
                </a:lnTo>
                <a:lnTo>
                  <a:pt x="2237" y="408"/>
                </a:lnTo>
                <a:lnTo>
                  <a:pt x="2235" y="410"/>
                </a:lnTo>
                <a:lnTo>
                  <a:pt x="2233" y="412"/>
                </a:lnTo>
                <a:lnTo>
                  <a:pt x="2232" y="413"/>
                </a:lnTo>
                <a:lnTo>
                  <a:pt x="2229" y="414"/>
                </a:lnTo>
                <a:lnTo>
                  <a:pt x="2226" y="415"/>
                </a:lnTo>
                <a:lnTo>
                  <a:pt x="2223" y="415"/>
                </a:lnTo>
                <a:lnTo>
                  <a:pt x="2220" y="415"/>
                </a:lnTo>
                <a:lnTo>
                  <a:pt x="2217" y="414"/>
                </a:lnTo>
                <a:lnTo>
                  <a:pt x="2214" y="412"/>
                </a:lnTo>
                <a:lnTo>
                  <a:pt x="2212" y="410"/>
                </a:lnTo>
                <a:lnTo>
                  <a:pt x="2210" y="408"/>
                </a:lnTo>
                <a:lnTo>
                  <a:pt x="2209" y="405"/>
                </a:lnTo>
                <a:lnTo>
                  <a:pt x="2208" y="402"/>
                </a:lnTo>
                <a:lnTo>
                  <a:pt x="2208" y="397"/>
                </a:lnTo>
                <a:lnTo>
                  <a:pt x="2209" y="393"/>
                </a:lnTo>
                <a:lnTo>
                  <a:pt x="2211" y="391"/>
                </a:lnTo>
                <a:lnTo>
                  <a:pt x="2212" y="389"/>
                </a:lnTo>
                <a:lnTo>
                  <a:pt x="2214" y="387"/>
                </a:lnTo>
                <a:lnTo>
                  <a:pt x="2216" y="386"/>
                </a:lnTo>
                <a:close/>
                <a:moveTo>
                  <a:pt x="2076" y="418"/>
                </a:moveTo>
                <a:lnTo>
                  <a:pt x="2079" y="417"/>
                </a:lnTo>
                <a:lnTo>
                  <a:pt x="2082" y="416"/>
                </a:lnTo>
                <a:lnTo>
                  <a:pt x="2085" y="416"/>
                </a:lnTo>
                <a:lnTo>
                  <a:pt x="2088" y="417"/>
                </a:lnTo>
                <a:lnTo>
                  <a:pt x="2091" y="418"/>
                </a:lnTo>
                <a:lnTo>
                  <a:pt x="2094" y="420"/>
                </a:lnTo>
                <a:lnTo>
                  <a:pt x="2096" y="422"/>
                </a:lnTo>
                <a:lnTo>
                  <a:pt x="2098" y="424"/>
                </a:lnTo>
                <a:lnTo>
                  <a:pt x="2099" y="427"/>
                </a:lnTo>
                <a:lnTo>
                  <a:pt x="2100" y="433"/>
                </a:lnTo>
                <a:lnTo>
                  <a:pt x="2099" y="435"/>
                </a:lnTo>
                <a:lnTo>
                  <a:pt x="2098" y="438"/>
                </a:lnTo>
                <a:lnTo>
                  <a:pt x="2097" y="440"/>
                </a:lnTo>
                <a:lnTo>
                  <a:pt x="2096" y="442"/>
                </a:lnTo>
                <a:lnTo>
                  <a:pt x="2092" y="446"/>
                </a:lnTo>
                <a:lnTo>
                  <a:pt x="2088" y="447"/>
                </a:lnTo>
                <a:lnTo>
                  <a:pt x="2085" y="448"/>
                </a:lnTo>
                <a:lnTo>
                  <a:pt x="2082" y="448"/>
                </a:lnTo>
                <a:lnTo>
                  <a:pt x="2079" y="447"/>
                </a:lnTo>
                <a:lnTo>
                  <a:pt x="2076" y="446"/>
                </a:lnTo>
                <a:lnTo>
                  <a:pt x="2074" y="444"/>
                </a:lnTo>
                <a:lnTo>
                  <a:pt x="2072" y="442"/>
                </a:lnTo>
                <a:lnTo>
                  <a:pt x="2070" y="440"/>
                </a:lnTo>
                <a:lnTo>
                  <a:pt x="2069" y="437"/>
                </a:lnTo>
                <a:lnTo>
                  <a:pt x="2068" y="431"/>
                </a:lnTo>
                <a:lnTo>
                  <a:pt x="2068" y="429"/>
                </a:lnTo>
                <a:lnTo>
                  <a:pt x="2069" y="426"/>
                </a:lnTo>
                <a:lnTo>
                  <a:pt x="2070" y="424"/>
                </a:lnTo>
                <a:lnTo>
                  <a:pt x="2072" y="422"/>
                </a:lnTo>
                <a:lnTo>
                  <a:pt x="2076" y="418"/>
                </a:lnTo>
                <a:close/>
                <a:moveTo>
                  <a:pt x="1824" y="551"/>
                </a:moveTo>
                <a:lnTo>
                  <a:pt x="1827" y="550"/>
                </a:lnTo>
                <a:lnTo>
                  <a:pt x="1829" y="550"/>
                </a:lnTo>
                <a:lnTo>
                  <a:pt x="1832" y="549"/>
                </a:lnTo>
                <a:lnTo>
                  <a:pt x="1834" y="549"/>
                </a:lnTo>
                <a:lnTo>
                  <a:pt x="1839" y="551"/>
                </a:lnTo>
                <a:lnTo>
                  <a:pt x="1841" y="552"/>
                </a:lnTo>
                <a:lnTo>
                  <a:pt x="1843" y="554"/>
                </a:lnTo>
                <a:lnTo>
                  <a:pt x="1845" y="557"/>
                </a:lnTo>
                <a:lnTo>
                  <a:pt x="1847" y="559"/>
                </a:lnTo>
                <a:lnTo>
                  <a:pt x="1848" y="562"/>
                </a:lnTo>
                <a:lnTo>
                  <a:pt x="1848" y="565"/>
                </a:lnTo>
                <a:lnTo>
                  <a:pt x="1848" y="568"/>
                </a:lnTo>
                <a:lnTo>
                  <a:pt x="1847" y="571"/>
                </a:lnTo>
                <a:lnTo>
                  <a:pt x="1845" y="574"/>
                </a:lnTo>
                <a:lnTo>
                  <a:pt x="1843" y="576"/>
                </a:lnTo>
                <a:lnTo>
                  <a:pt x="1840" y="579"/>
                </a:lnTo>
                <a:lnTo>
                  <a:pt x="1838" y="580"/>
                </a:lnTo>
                <a:lnTo>
                  <a:pt x="1835" y="581"/>
                </a:lnTo>
                <a:lnTo>
                  <a:pt x="1833" y="581"/>
                </a:lnTo>
                <a:lnTo>
                  <a:pt x="1830" y="581"/>
                </a:lnTo>
                <a:lnTo>
                  <a:pt x="1825" y="579"/>
                </a:lnTo>
                <a:lnTo>
                  <a:pt x="1823" y="578"/>
                </a:lnTo>
                <a:lnTo>
                  <a:pt x="1821" y="576"/>
                </a:lnTo>
                <a:lnTo>
                  <a:pt x="1819" y="574"/>
                </a:lnTo>
                <a:lnTo>
                  <a:pt x="1817" y="571"/>
                </a:lnTo>
                <a:lnTo>
                  <a:pt x="1817" y="568"/>
                </a:lnTo>
                <a:lnTo>
                  <a:pt x="1816" y="565"/>
                </a:lnTo>
                <a:lnTo>
                  <a:pt x="1817" y="562"/>
                </a:lnTo>
                <a:lnTo>
                  <a:pt x="1817" y="559"/>
                </a:lnTo>
                <a:lnTo>
                  <a:pt x="1819" y="556"/>
                </a:lnTo>
                <a:lnTo>
                  <a:pt x="1821" y="554"/>
                </a:lnTo>
                <a:lnTo>
                  <a:pt x="1824" y="551"/>
                </a:lnTo>
                <a:close/>
                <a:moveTo>
                  <a:pt x="1942" y="471"/>
                </a:moveTo>
                <a:lnTo>
                  <a:pt x="1945" y="469"/>
                </a:lnTo>
                <a:lnTo>
                  <a:pt x="1949" y="469"/>
                </a:lnTo>
                <a:lnTo>
                  <a:pt x="1952" y="469"/>
                </a:lnTo>
                <a:lnTo>
                  <a:pt x="1955" y="469"/>
                </a:lnTo>
                <a:lnTo>
                  <a:pt x="1958" y="471"/>
                </a:lnTo>
                <a:lnTo>
                  <a:pt x="1960" y="472"/>
                </a:lnTo>
                <a:lnTo>
                  <a:pt x="1962" y="475"/>
                </a:lnTo>
                <a:lnTo>
                  <a:pt x="1964" y="477"/>
                </a:lnTo>
                <a:lnTo>
                  <a:pt x="1965" y="480"/>
                </a:lnTo>
                <a:lnTo>
                  <a:pt x="1966" y="483"/>
                </a:lnTo>
                <a:lnTo>
                  <a:pt x="1966" y="486"/>
                </a:lnTo>
                <a:lnTo>
                  <a:pt x="1965" y="489"/>
                </a:lnTo>
                <a:lnTo>
                  <a:pt x="1964" y="492"/>
                </a:lnTo>
                <a:lnTo>
                  <a:pt x="1962" y="494"/>
                </a:lnTo>
                <a:lnTo>
                  <a:pt x="1960" y="496"/>
                </a:lnTo>
                <a:lnTo>
                  <a:pt x="1958" y="498"/>
                </a:lnTo>
                <a:lnTo>
                  <a:pt x="1954" y="499"/>
                </a:lnTo>
                <a:lnTo>
                  <a:pt x="1951" y="500"/>
                </a:lnTo>
                <a:lnTo>
                  <a:pt x="1948" y="500"/>
                </a:lnTo>
                <a:lnTo>
                  <a:pt x="1945" y="499"/>
                </a:lnTo>
                <a:lnTo>
                  <a:pt x="1942" y="498"/>
                </a:lnTo>
                <a:lnTo>
                  <a:pt x="1939" y="496"/>
                </a:lnTo>
                <a:lnTo>
                  <a:pt x="1937" y="494"/>
                </a:lnTo>
                <a:lnTo>
                  <a:pt x="1936" y="491"/>
                </a:lnTo>
                <a:lnTo>
                  <a:pt x="1934" y="488"/>
                </a:lnTo>
                <a:lnTo>
                  <a:pt x="1934" y="485"/>
                </a:lnTo>
                <a:lnTo>
                  <a:pt x="1934" y="483"/>
                </a:lnTo>
                <a:lnTo>
                  <a:pt x="1935" y="480"/>
                </a:lnTo>
                <a:lnTo>
                  <a:pt x="1936" y="477"/>
                </a:lnTo>
                <a:lnTo>
                  <a:pt x="1937" y="475"/>
                </a:lnTo>
                <a:lnTo>
                  <a:pt x="1939" y="472"/>
                </a:lnTo>
                <a:lnTo>
                  <a:pt x="1942" y="471"/>
                </a:lnTo>
                <a:close/>
                <a:moveTo>
                  <a:pt x="4755" y="1575"/>
                </a:moveTo>
                <a:lnTo>
                  <a:pt x="4758" y="1574"/>
                </a:lnTo>
                <a:lnTo>
                  <a:pt x="4761" y="1573"/>
                </a:lnTo>
                <a:lnTo>
                  <a:pt x="4764" y="1573"/>
                </a:lnTo>
                <a:lnTo>
                  <a:pt x="4767" y="1574"/>
                </a:lnTo>
                <a:lnTo>
                  <a:pt x="4770" y="1575"/>
                </a:lnTo>
                <a:lnTo>
                  <a:pt x="4773" y="1576"/>
                </a:lnTo>
                <a:lnTo>
                  <a:pt x="4775" y="1579"/>
                </a:lnTo>
                <a:lnTo>
                  <a:pt x="4777" y="1581"/>
                </a:lnTo>
                <a:lnTo>
                  <a:pt x="4778" y="1584"/>
                </a:lnTo>
                <a:lnTo>
                  <a:pt x="4779" y="1587"/>
                </a:lnTo>
                <a:lnTo>
                  <a:pt x="4779" y="1590"/>
                </a:lnTo>
                <a:lnTo>
                  <a:pt x="4778" y="1593"/>
                </a:lnTo>
                <a:lnTo>
                  <a:pt x="4777" y="1596"/>
                </a:lnTo>
                <a:lnTo>
                  <a:pt x="4775" y="1598"/>
                </a:lnTo>
                <a:lnTo>
                  <a:pt x="4773" y="1601"/>
                </a:lnTo>
                <a:lnTo>
                  <a:pt x="4771" y="1602"/>
                </a:lnTo>
                <a:lnTo>
                  <a:pt x="4768" y="1604"/>
                </a:lnTo>
                <a:lnTo>
                  <a:pt x="4765" y="1604"/>
                </a:lnTo>
                <a:lnTo>
                  <a:pt x="4762" y="1604"/>
                </a:lnTo>
                <a:lnTo>
                  <a:pt x="4759" y="1604"/>
                </a:lnTo>
                <a:lnTo>
                  <a:pt x="4756" y="1603"/>
                </a:lnTo>
                <a:lnTo>
                  <a:pt x="4753" y="1601"/>
                </a:lnTo>
                <a:lnTo>
                  <a:pt x="4751" y="1599"/>
                </a:lnTo>
                <a:lnTo>
                  <a:pt x="4749" y="1596"/>
                </a:lnTo>
                <a:lnTo>
                  <a:pt x="4748" y="1594"/>
                </a:lnTo>
                <a:lnTo>
                  <a:pt x="4747" y="1591"/>
                </a:lnTo>
                <a:lnTo>
                  <a:pt x="4747" y="1588"/>
                </a:lnTo>
                <a:lnTo>
                  <a:pt x="4748" y="1584"/>
                </a:lnTo>
                <a:lnTo>
                  <a:pt x="4749" y="1581"/>
                </a:lnTo>
                <a:lnTo>
                  <a:pt x="4751" y="1579"/>
                </a:lnTo>
                <a:lnTo>
                  <a:pt x="4753" y="1577"/>
                </a:lnTo>
                <a:lnTo>
                  <a:pt x="4755" y="1575"/>
                </a:lnTo>
                <a:close/>
                <a:moveTo>
                  <a:pt x="4617" y="1533"/>
                </a:moveTo>
                <a:lnTo>
                  <a:pt x="4620" y="1531"/>
                </a:lnTo>
                <a:lnTo>
                  <a:pt x="4624" y="1531"/>
                </a:lnTo>
                <a:lnTo>
                  <a:pt x="4627" y="1531"/>
                </a:lnTo>
                <a:lnTo>
                  <a:pt x="4630" y="1531"/>
                </a:lnTo>
                <a:lnTo>
                  <a:pt x="4633" y="1533"/>
                </a:lnTo>
                <a:lnTo>
                  <a:pt x="4636" y="1535"/>
                </a:lnTo>
                <a:lnTo>
                  <a:pt x="4638" y="1537"/>
                </a:lnTo>
                <a:lnTo>
                  <a:pt x="4639" y="1539"/>
                </a:lnTo>
                <a:lnTo>
                  <a:pt x="4640" y="1542"/>
                </a:lnTo>
                <a:lnTo>
                  <a:pt x="4641" y="1545"/>
                </a:lnTo>
                <a:lnTo>
                  <a:pt x="4641" y="1548"/>
                </a:lnTo>
                <a:lnTo>
                  <a:pt x="4640" y="1551"/>
                </a:lnTo>
                <a:lnTo>
                  <a:pt x="4639" y="1554"/>
                </a:lnTo>
                <a:lnTo>
                  <a:pt x="4637" y="1556"/>
                </a:lnTo>
                <a:lnTo>
                  <a:pt x="4635" y="1558"/>
                </a:lnTo>
                <a:lnTo>
                  <a:pt x="4633" y="1560"/>
                </a:lnTo>
                <a:lnTo>
                  <a:pt x="4630" y="1561"/>
                </a:lnTo>
                <a:lnTo>
                  <a:pt x="4627" y="1562"/>
                </a:lnTo>
                <a:lnTo>
                  <a:pt x="4624" y="1562"/>
                </a:lnTo>
                <a:lnTo>
                  <a:pt x="4620" y="1561"/>
                </a:lnTo>
                <a:lnTo>
                  <a:pt x="4617" y="1560"/>
                </a:lnTo>
                <a:lnTo>
                  <a:pt x="4615" y="1558"/>
                </a:lnTo>
                <a:lnTo>
                  <a:pt x="4613" y="1556"/>
                </a:lnTo>
                <a:lnTo>
                  <a:pt x="4611" y="1553"/>
                </a:lnTo>
                <a:lnTo>
                  <a:pt x="4610" y="1551"/>
                </a:lnTo>
                <a:lnTo>
                  <a:pt x="4610" y="1548"/>
                </a:lnTo>
                <a:lnTo>
                  <a:pt x="4610" y="1545"/>
                </a:lnTo>
                <a:lnTo>
                  <a:pt x="4610" y="1541"/>
                </a:lnTo>
                <a:lnTo>
                  <a:pt x="4612" y="1539"/>
                </a:lnTo>
                <a:lnTo>
                  <a:pt x="4613" y="1536"/>
                </a:lnTo>
                <a:lnTo>
                  <a:pt x="4615" y="1534"/>
                </a:lnTo>
                <a:lnTo>
                  <a:pt x="4617" y="1533"/>
                </a:lnTo>
                <a:close/>
                <a:moveTo>
                  <a:pt x="4482" y="1484"/>
                </a:moveTo>
                <a:lnTo>
                  <a:pt x="4485" y="1483"/>
                </a:lnTo>
                <a:lnTo>
                  <a:pt x="4488" y="1482"/>
                </a:lnTo>
                <a:lnTo>
                  <a:pt x="4492" y="1482"/>
                </a:lnTo>
                <a:lnTo>
                  <a:pt x="4495" y="1483"/>
                </a:lnTo>
                <a:lnTo>
                  <a:pt x="4498" y="1485"/>
                </a:lnTo>
                <a:lnTo>
                  <a:pt x="4500" y="1486"/>
                </a:lnTo>
                <a:lnTo>
                  <a:pt x="4502" y="1489"/>
                </a:lnTo>
                <a:lnTo>
                  <a:pt x="4504" y="1491"/>
                </a:lnTo>
                <a:lnTo>
                  <a:pt x="4505" y="1494"/>
                </a:lnTo>
                <a:lnTo>
                  <a:pt x="4505" y="1497"/>
                </a:lnTo>
                <a:lnTo>
                  <a:pt x="4505" y="1500"/>
                </a:lnTo>
                <a:lnTo>
                  <a:pt x="4504" y="1503"/>
                </a:lnTo>
                <a:lnTo>
                  <a:pt x="4503" y="1506"/>
                </a:lnTo>
                <a:lnTo>
                  <a:pt x="4501" y="1508"/>
                </a:lnTo>
                <a:lnTo>
                  <a:pt x="4500" y="1510"/>
                </a:lnTo>
                <a:lnTo>
                  <a:pt x="4497" y="1511"/>
                </a:lnTo>
                <a:lnTo>
                  <a:pt x="4494" y="1513"/>
                </a:lnTo>
                <a:lnTo>
                  <a:pt x="4491" y="1513"/>
                </a:lnTo>
                <a:lnTo>
                  <a:pt x="4487" y="1513"/>
                </a:lnTo>
                <a:lnTo>
                  <a:pt x="4484" y="1512"/>
                </a:lnTo>
                <a:lnTo>
                  <a:pt x="4481" y="1511"/>
                </a:lnTo>
                <a:lnTo>
                  <a:pt x="4479" y="1509"/>
                </a:lnTo>
                <a:lnTo>
                  <a:pt x="4477" y="1507"/>
                </a:lnTo>
                <a:lnTo>
                  <a:pt x="4475" y="1504"/>
                </a:lnTo>
                <a:lnTo>
                  <a:pt x="4474" y="1501"/>
                </a:lnTo>
                <a:lnTo>
                  <a:pt x="4474" y="1498"/>
                </a:lnTo>
                <a:lnTo>
                  <a:pt x="4474" y="1495"/>
                </a:lnTo>
                <a:lnTo>
                  <a:pt x="4475" y="1492"/>
                </a:lnTo>
                <a:lnTo>
                  <a:pt x="4476" y="1490"/>
                </a:lnTo>
                <a:lnTo>
                  <a:pt x="4478" y="1487"/>
                </a:lnTo>
                <a:lnTo>
                  <a:pt x="4480" y="1486"/>
                </a:lnTo>
                <a:lnTo>
                  <a:pt x="4482" y="1484"/>
                </a:lnTo>
                <a:close/>
                <a:moveTo>
                  <a:pt x="4349" y="1428"/>
                </a:moveTo>
                <a:lnTo>
                  <a:pt x="4352" y="1426"/>
                </a:lnTo>
                <a:lnTo>
                  <a:pt x="4356" y="1426"/>
                </a:lnTo>
                <a:lnTo>
                  <a:pt x="4360" y="1426"/>
                </a:lnTo>
                <a:lnTo>
                  <a:pt x="4364" y="1427"/>
                </a:lnTo>
                <a:lnTo>
                  <a:pt x="4366" y="1429"/>
                </a:lnTo>
                <a:lnTo>
                  <a:pt x="4369" y="1431"/>
                </a:lnTo>
                <a:lnTo>
                  <a:pt x="4370" y="1433"/>
                </a:lnTo>
                <a:lnTo>
                  <a:pt x="4372" y="1436"/>
                </a:lnTo>
                <a:lnTo>
                  <a:pt x="4372" y="1439"/>
                </a:lnTo>
                <a:lnTo>
                  <a:pt x="4373" y="1442"/>
                </a:lnTo>
                <a:lnTo>
                  <a:pt x="4372" y="1445"/>
                </a:lnTo>
                <a:lnTo>
                  <a:pt x="4371" y="1448"/>
                </a:lnTo>
                <a:lnTo>
                  <a:pt x="4370" y="1450"/>
                </a:lnTo>
                <a:lnTo>
                  <a:pt x="4368" y="1452"/>
                </a:lnTo>
                <a:lnTo>
                  <a:pt x="4367" y="1454"/>
                </a:lnTo>
                <a:lnTo>
                  <a:pt x="4365" y="1455"/>
                </a:lnTo>
                <a:lnTo>
                  <a:pt x="4361" y="1456"/>
                </a:lnTo>
                <a:lnTo>
                  <a:pt x="4358" y="1457"/>
                </a:lnTo>
                <a:lnTo>
                  <a:pt x="4354" y="1457"/>
                </a:lnTo>
                <a:lnTo>
                  <a:pt x="4350" y="1456"/>
                </a:lnTo>
                <a:lnTo>
                  <a:pt x="4348" y="1454"/>
                </a:lnTo>
                <a:lnTo>
                  <a:pt x="4345" y="1452"/>
                </a:lnTo>
                <a:lnTo>
                  <a:pt x="4343" y="1449"/>
                </a:lnTo>
                <a:lnTo>
                  <a:pt x="4342" y="1447"/>
                </a:lnTo>
                <a:lnTo>
                  <a:pt x="4341" y="1444"/>
                </a:lnTo>
                <a:lnTo>
                  <a:pt x="4341" y="1441"/>
                </a:lnTo>
                <a:lnTo>
                  <a:pt x="4342" y="1438"/>
                </a:lnTo>
                <a:lnTo>
                  <a:pt x="4343" y="1435"/>
                </a:lnTo>
                <a:lnTo>
                  <a:pt x="4344" y="1433"/>
                </a:lnTo>
                <a:lnTo>
                  <a:pt x="4345" y="1431"/>
                </a:lnTo>
                <a:lnTo>
                  <a:pt x="4347" y="1429"/>
                </a:lnTo>
                <a:lnTo>
                  <a:pt x="4349" y="1428"/>
                </a:lnTo>
                <a:close/>
                <a:moveTo>
                  <a:pt x="4221" y="1361"/>
                </a:moveTo>
                <a:lnTo>
                  <a:pt x="4225" y="1359"/>
                </a:lnTo>
                <a:lnTo>
                  <a:pt x="4229" y="1359"/>
                </a:lnTo>
                <a:lnTo>
                  <a:pt x="4233" y="1359"/>
                </a:lnTo>
                <a:lnTo>
                  <a:pt x="4237" y="1361"/>
                </a:lnTo>
                <a:lnTo>
                  <a:pt x="4240" y="1363"/>
                </a:lnTo>
                <a:lnTo>
                  <a:pt x="4242" y="1365"/>
                </a:lnTo>
                <a:lnTo>
                  <a:pt x="4243" y="1368"/>
                </a:lnTo>
                <a:lnTo>
                  <a:pt x="4244" y="1370"/>
                </a:lnTo>
                <a:lnTo>
                  <a:pt x="4245" y="1373"/>
                </a:lnTo>
                <a:lnTo>
                  <a:pt x="4245" y="1376"/>
                </a:lnTo>
                <a:lnTo>
                  <a:pt x="4244" y="1379"/>
                </a:lnTo>
                <a:lnTo>
                  <a:pt x="4243" y="1382"/>
                </a:lnTo>
                <a:lnTo>
                  <a:pt x="4240" y="1386"/>
                </a:lnTo>
                <a:lnTo>
                  <a:pt x="4237" y="1388"/>
                </a:lnTo>
                <a:lnTo>
                  <a:pt x="4233" y="1390"/>
                </a:lnTo>
                <a:lnTo>
                  <a:pt x="4229" y="1390"/>
                </a:lnTo>
                <a:lnTo>
                  <a:pt x="4225" y="1390"/>
                </a:lnTo>
                <a:lnTo>
                  <a:pt x="4221" y="1388"/>
                </a:lnTo>
                <a:lnTo>
                  <a:pt x="4219" y="1386"/>
                </a:lnTo>
                <a:lnTo>
                  <a:pt x="4217" y="1384"/>
                </a:lnTo>
                <a:lnTo>
                  <a:pt x="4215" y="1382"/>
                </a:lnTo>
                <a:lnTo>
                  <a:pt x="4214" y="1379"/>
                </a:lnTo>
                <a:lnTo>
                  <a:pt x="4214" y="1376"/>
                </a:lnTo>
                <a:lnTo>
                  <a:pt x="4214" y="1373"/>
                </a:lnTo>
                <a:lnTo>
                  <a:pt x="4214" y="1370"/>
                </a:lnTo>
                <a:lnTo>
                  <a:pt x="4216" y="1367"/>
                </a:lnTo>
                <a:lnTo>
                  <a:pt x="4218" y="1363"/>
                </a:lnTo>
                <a:lnTo>
                  <a:pt x="4221" y="1361"/>
                </a:lnTo>
                <a:close/>
                <a:moveTo>
                  <a:pt x="4096" y="1290"/>
                </a:moveTo>
                <a:lnTo>
                  <a:pt x="4100" y="1288"/>
                </a:lnTo>
                <a:lnTo>
                  <a:pt x="4104" y="1288"/>
                </a:lnTo>
                <a:lnTo>
                  <a:pt x="4108" y="1288"/>
                </a:lnTo>
                <a:lnTo>
                  <a:pt x="4112" y="1290"/>
                </a:lnTo>
                <a:lnTo>
                  <a:pt x="4114" y="1292"/>
                </a:lnTo>
                <a:lnTo>
                  <a:pt x="4116" y="1294"/>
                </a:lnTo>
                <a:lnTo>
                  <a:pt x="4118" y="1297"/>
                </a:lnTo>
                <a:lnTo>
                  <a:pt x="4119" y="1299"/>
                </a:lnTo>
                <a:lnTo>
                  <a:pt x="4120" y="1302"/>
                </a:lnTo>
                <a:lnTo>
                  <a:pt x="4120" y="1305"/>
                </a:lnTo>
                <a:lnTo>
                  <a:pt x="4119" y="1308"/>
                </a:lnTo>
                <a:lnTo>
                  <a:pt x="4118" y="1311"/>
                </a:lnTo>
                <a:lnTo>
                  <a:pt x="4115" y="1315"/>
                </a:lnTo>
                <a:lnTo>
                  <a:pt x="4112" y="1317"/>
                </a:lnTo>
                <a:lnTo>
                  <a:pt x="4108" y="1319"/>
                </a:lnTo>
                <a:lnTo>
                  <a:pt x="4104" y="1319"/>
                </a:lnTo>
                <a:lnTo>
                  <a:pt x="4100" y="1319"/>
                </a:lnTo>
                <a:lnTo>
                  <a:pt x="4096" y="1317"/>
                </a:lnTo>
                <a:lnTo>
                  <a:pt x="4094" y="1315"/>
                </a:lnTo>
                <a:lnTo>
                  <a:pt x="4092" y="1313"/>
                </a:lnTo>
                <a:lnTo>
                  <a:pt x="4090" y="1311"/>
                </a:lnTo>
                <a:lnTo>
                  <a:pt x="4089" y="1308"/>
                </a:lnTo>
                <a:lnTo>
                  <a:pt x="4088" y="1305"/>
                </a:lnTo>
                <a:lnTo>
                  <a:pt x="4088" y="1302"/>
                </a:lnTo>
                <a:lnTo>
                  <a:pt x="4089" y="1299"/>
                </a:lnTo>
                <a:lnTo>
                  <a:pt x="4090" y="1296"/>
                </a:lnTo>
                <a:lnTo>
                  <a:pt x="4093" y="1293"/>
                </a:lnTo>
                <a:lnTo>
                  <a:pt x="4096" y="1290"/>
                </a:lnTo>
                <a:close/>
                <a:moveTo>
                  <a:pt x="3969" y="1220"/>
                </a:moveTo>
                <a:lnTo>
                  <a:pt x="3973" y="1218"/>
                </a:lnTo>
                <a:lnTo>
                  <a:pt x="3977" y="1218"/>
                </a:lnTo>
                <a:lnTo>
                  <a:pt x="3979" y="1218"/>
                </a:lnTo>
                <a:lnTo>
                  <a:pt x="3981" y="1218"/>
                </a:lnTo>
                <a:lnTo>
                  <a:pt x="3985" y="1220"/>
                </a:lnTo>
                <a:lnTo>
                  <a:pt x="3987" y="1222"/>
                </a:lnTo>
                <a:lnTo>
                  <a:pt x="3989" y="1224"/>
                </a:lnTo>
                <a:lnTo>
                  <a:pt x="3991" y="1226"/>
                </a:lnTo>
                <a:lnTo>
                  <a:pt x="3992" y="1229"/>
                </a:lnTo>
                <a:lnTo>
                  <a:pt x="3993" y="1232"/>
                </a:lnTo>
                <a:lnTo>
                  <a:pt x="3993" y="1235"/>
                </a:lnTo>
                <a:lnTo>
                  <a:pt x="3992" y="1238"/>
                </a:lnTo>
                <a:lnTo>
                  <a:pt x="3991" y="1241"/>
                </a:lnTo>
                <a:lnTo>
                  <a:pt x="3988" y="1245"/>
                </a:lnTo>
                <a:lnTo>
                  <a:pt x="3985" y="1247"/>
                </a:lnTo>
                <a:lnTo>
                  <a:pt x="3981" y="1249"/>
                </a:lnTo>
                <a:lnTo>
                  <a:pt x="3977" y="1249"/>
                </a:lnTo>
                <a:lnTo>
                  <a:pt x="3975" y="1249"/>
                </a:lnTo>
                <a:lnTo>
                  <a:pt x="3973" y="1249"/>
                </a:lnTo>
                <a:lnTo>
                  <a:pt x="3970" y="1247"/>
                </a:lnTo>
                <a:lnTo>
                  <a:pt x="3967" y="1245"/>
                </a:lnTo>
                <a:lnTo>
                  <a:pt x="3965" y="1243"/>
                </a:lnTo>
                <a:lnTo>
                  <a:pt x="3963" y="1241"/>
                </a:lnTo>
                <a:lnTo>
                  <a:pt x="3962" y="1238"/>
                </a:lnTo>
                <a:lnTo>
                  <a:pt x="3962" y="1235"/>
                </a:lnTo>
                <a:lnTo>
                  <a:pt x="3962" y="1232"/>
                </a:lnTo>
                <a:lnTo>
                  <a:pt x="3962" y="1229"/>
                </a:lnTo>
                <a:lnTo>
                  <a:pt x="3963" y="1226"/>
                </a:lnTo>
                <a:lnTo>
                  <a:pt x="3966" y="1223"/>
                </a:lnTo>
                <a:lnTo>
                  <a:pt x="3969" y="1220"/>
                </a:lnTo>
                <a:close/>
                <a:moveTo>
                  <a:pt x="3843" y="1151"/>
                </a:moveTo>
                <a:lnTo>
                  <a:pt x="3846" y="1150"/>
                </a:lnTo>
                <a:lnTo>
                  <a:pt x="3850" y="1149"/>
                </a:lnTo>
                <a:lnTo>
                  <a:pt x="3852" y="1149"/>
                </a:lnTo>
                <a:lnTo>
                  <a:pt x="3854" y="1150"/>
                </a:lnTo>
                <a:lnTo>
                  <a:pt x="3858" y="1151"/>
                </a:lnTo>
                <a:lnTo>
                  <a:pt x="3861" y="1153"/>
                </a:lnTo>
                <a:lnTo>
                  <a:pt x="3863" y="1155"/>
                </a:lnTo>
                <a:lnTo>
                  <a:pt x="3864" y="1157"/>
                </a:lnTo>
                <a:lnTo>
                  <a:pt x="3866" y="1160"/>
                </a:lnTo>
                <a:lnTo>
                  <a:pt x="3866" y="1163"/>
                </a:lnTo>
                <a:lnTo>
                  <a:pt x="3866" y="1166"/>
                </a:lnTo>
                <a:lnTo>
                  <a:pt x="3866" y="1169"/>
                </a:lnTo>
                <a:lnTo>
                  <a:pt x="3864" y="1172"/>
                </a:lnTo>
                <a:lnTo>
                  <a:pt x="3862" y="1176"/>
                </a:lnTo>
                <a:lnTo>
                  <a:pt x="3858" y="1178"/>
                </a:lnTo>
                <a:lnTo>
                  <a:pt x="3855" y="1180"/>
                </a:lnTo>
                <a:lnTo>
                  <a:pt x="3851" y="1180"/>
                </a:lnTo>
                <a:lnTo>
                  <a:pt x="3849" y="1180"/>
                </a:lnTo>
                <a:lnTo>
                  <a:pt x="3847" y="1180"/>
                </a:lnTo>
                <a:lnTo>
                  <a:pt x="3843" y="1179"/>
                </a:lnTo>
                <a:lnTo>
                  <a:pt x="3841" y="1177"/>
                </a:lnTo>
                <a:lnTo>
                  <a:pt x="3838" y="1175"/>
                </a:lnTo>
                <a:lnTo>
                  <a:pt x="3837" y="1172"/>
                </a:lnTo>
                <a:lnTo>
                  <a:pt x="3836" y="1169"/>
                </a:lnTo>
                <a:lnTo>
                  <a:pt x="3835" y="1166"/>
                </a:lnTo>
                <a:lnTo>
                  <a:pt x="3835" y="1163"/>
                </a:lnTo>
                <a:lnTo>
                  <a:pt x="3836" y="1160"/>
                </a:lnTo>
                <a:lnTo>
                  <a:pt x="3837" y="1157"/>
                </a:lnTo>
                <a:lnTo>
                  <a:pt x="3839" y="1154"/>
                </a:lnTo>
                <a:lnTo>
                  <a:pt x="3843" y="1151"/>
                </a:lnTo>
                <a:close/>
                <a:moveTo>
                  <a:pt x="3715" y="1084"/>
                </a:moveTo>
                <a:lnTo>
                  <a:pt x="3717" y="1083"/>
                </a:lnTo>
                <a:lnTo>
                  <a:pt x="3719" y="1083"/>
                </a:lnTo>
                <a:lnTo>
                  <a:pt x="3723" y="1082"/>
                </a:lnTo>
                <a:lnTo>
                  <a:pt x="3726" y="1083"/>
                </a:lnTo>
                <a:lnTo>
                  <a:pt x="3730" y="1084"/>
                </a:lnTo>
                <a:lnTo>
                  <a:pt x="3733" y="1086"/>
                </a:lnTo>
                <a:lnTo>
                  <a:pt x="3735" y="1088"/>
                </a:lnTo>
                <a:lnTo>
                  <a:pt x="3737" y="1090"/>
                </a:lnTo>
                <a:lnTo>
                  <a:pt x="3738" y="1093"/>
                </a:lnTo>
                <a:lnTo>
                  <a:pt x="3739" y="1099"/>
                </a:lnTo>
                <a:lnTo>
                  <a:pt x="3738" y="1102"/>
                </a:lnTo>
                <a:lnTo>
                  <a:pt x="3737" y="1105"/>
                </a:lnTo>
                <a:lnTo>
                  <a:pt x="3736" y="1107"/>
                </a:lnTo>
                <a:lnTo>
                  <a:pt x="3734" y="1109"/>
                </a:lnTo>
                <a:lnTo>
                  <a:pt x="3731" y="1111"/>
                </a:lnTo>
                <a:lnTo>
                  <a:pt x="3729" y="1112"/>
                </a:lnTo>
                <a:lnTo>
                  <a:pt x="3727" y="1113"/>
                </a:lnTo>
                <a:lnTo>
                  <a:pt x="3724" y="1114"/>
                </a:lnTo>
                <a:lnTo>
                  <a:pt x="3720" y="1113"/>
                </a:lnTo>
                <a:lnTo>
                  <a:pt x="3716" y="1112"/>
                </a:lnTo>
                <a:lnTo>
                  <a:pt x="3713" y="1110"/>
                </a:lnTo>
                <a:lnTo>
                  <a:pt x="3711" y="1108"/>
                </a:lnTo>
                <a:lnTo>
                  <a:pt x="3709" y="1105"/>
                </a:lnTo>
                <a:lnTo>
                  <a:pt x="3708" y="1103"/>
                </a:lnTo>
                <a:lnTo>
                  <a:pt x="3707" y="1097"/>
                </a:lnTo>
                <a:lnTo>
                  <a:pt x="3708" y="1094"/>
                </a:lnTo>
                <a:lnTo>
                  <a:pt x="3709" y="1091"/>
                </a:lnTo>
                <a:lnTo>
                  <a:pt x="3710" y="1089"/>
                </a:lnTo>
                <a:lnTo>
                  <a:pt x="3712" y="1087"/>
                </a:lnTo>
                <a:lnTo>
                  <a:pt x="3715" y="1084"/>
                </a:lnTo>
                <a:close/>
                <a:moveTo>
                  <a:pt x="3587" y="1020"/>
                </a:moveTo>
                <a:lnTo>
                  <a:pt x="3588" y="1019"/>
                </a:lnTo>
                <a:lnTo>
                  <a:pt x="3590" y="1018"/>
                </a:lnTo>
                <a:lnTo>
                  <a:pt x="3594" y="1018"/>
                </a:lnTo>
                <a:lnTo>
                  <a:pt x="3597" y="1018"/>
                </a:lnTo>
                <a:lnTo>
                  <a:pt x="3601" y="1019"/>
                </a:lnTo>
                <a:lnTo>
                  <a:pt x="3604" y="1021"/>
                </a:lnTo>
                <a:lnTo>
                  <a:pt x="3606" y="1023"/>
                </a:lnTo>
                <a:lnTo>
                  <a:pt x="3608" y="1026"/>
                </a:lnTo>
                <a:lnTo>
                  <a:pt x="3609" y="1028"/>
                </a:lnTo>
                <a:lnTo>
                  <a:pt x="3610" y="1031"/>
                </a:lnTo>
                <a:lnTo>
                  <a:pt x="3610" y="1034"/>
                </a:lnTo>
                <a:lnTo>
                  <a:pt x="3610" y="1037"/>
                </a:lnTo>
                <a:lnTo>
                  <a:pt x="3608" y="1040"/>
                </a:lnTo>
                <a:lnTo>
                  <a:pt x="3607" y="1042"/>
                </a:lnTo>
                <a:lnTo>
                  <a:pt x="3606" y="1044"/>
                </a:lnTo>
                <a:lnTo>
                  <a:pt x="3604" y="1046"/>
                </a:lnTo>
                <a:lnTo>
                  <a:pt x="3602" y="1047"/>
                </a:lnTo>
                <a:lnTo>
                  <a:pt x="3601" y="1048"/>
                </a:lnTo>
                <a:lnTo>
                  <a:pt x="3599" y="1049"/>
                </a:lnTo>
                <a:lnTo>
                  <a:pt x="3595" y="1049"/>
                </a:lnTo>
                <a:lnTo>
                  <a:pt x="3591" y="1049"/>
                </a:lnTo>
                <a:lnTo>
                  <a:pt x="3588" y="1048"/>
                </a:lnTo>
                <a:lnTo>
                  <a:pt x="3585" y="1046"/>
                </a:lnTo>
                <a:lnTo>
                  <a:pt x="3583" y="1044"/>
                </a:lnTo>
                <a:lnTo>
                  <a:pt x="3581" y="1041"/>
                </a:lnTo>
                <a:lnTo>
                  <a:pt x="3580" y="1039"/>
                </a:lnTo>
                <a:lnTo>
                  <a:pt x="3579" y="1036"/>
                </a:lnTo>
                <a:lnTo>
                  <a:pt x="3579" y="1033"/>
                </a:lnTo>
                <a:lnTo>
                  <a:pt x="3579" y="1030"/>
                </a:lnTo>
                <a:lnTo>
                  <a:pt x="3580" y="1027"/>
                </a:lnTo>
                <a:lnTo>
                  <a:pt x="3581" y="1025"/>
                </a:lnTo>
                <a:lnTo>
                  <a:pt x="3583" y="1023"/>
                </a:lnTo>
                <a:lnTo>
                  <a:pt x="3585" y="1021"/>
                </a:lnTo>
                <a:lnTo>
                  <a:pt x="3587" y="1020"/>
                </a:lnTo>
                <a:close/>
                <a:moveTo>
                  <a:pt x="1349" y="2220"/>
                </a:moveTo>
                <a:lnTo>
                  <a:pt x="1352" y="2219"/>
                </a:lnTo>
                <a:lnTo>
                  <a:pt x="1355" y="2218"/>
                </a:lnTo>
                <a:lnTo>
                  <a:pt x="1359" y="2218"/>
                </a:lnTo>
                <a:lnTo>
                  <a:pt x="1362" y="2219"/>
                </a:lnTo>
                <a:lnTo>
                  <a:pt x="1364" y="2220"/>
                </a:lnTo>
                <a:lnTo>
                  <a:pt x="1367" y="2222"/>
                </a:lnTo>
                <a:lnTo>
                  <a:pt x="1369" y="2224"/>
                </a:lnTo>
                <a:lnTo>
                  <a:pt x="1371" y="2226"/>
                </a:lnTo>
                <a:lnTo>
                  <a:pt x="1372" y="2229"/>
                </a:lnTo>
                <a:lnTo>
                  <a:pt x="1373" y="2232"/>
                </a:lnTo>
                <a:lnTo>
                  <a:pt x="1373" y="2235"/>
                </a:lnTo>
                <a:lnTo>
                  <a:pt x="1372" y="2238"/>
                </a:lnTo>
                <a:lnTo>
                  <a:pt x="1371" y="2241"/>
                </a:lnTo>
                <a:lnTo>
                  <a:pt x="1370" y="2243"/>
                </a:lnTo>
                <a:lnTo>
                  <a:pt x="1367" y="2246"/>
                </a:lnTo>
                <a:lnTo>
                  <a:pt x="1365" y="2247"/>
                </a:lnTo>
                <a:lnTo>
                  <a:pt x="1362" y="2249"/>
                </a:lnTo>
                <a:lnTo>
                  <a:pt x="1359" y="2249"/>
                </a:lnTo>
                <a:lnTo>
                  <a:pt x="1356" y="2249"/>
                </a:lnTo>
                <a:lnTo>
                  <a:pt x="1353" y="2249"/>
                </a:lnTo>
                <a:lnTo>
                  <a:pt x="1350" y="2248"/>
                </a:lnTo>
                <a:lnTo>
                  <a:pt x="1347" y="2246"/>
                </a:lnTo>
                <a:lnTo>
                  <a:pt x="1345" y="2244"/>
                </a:lnTo>
                <a:lnTo>
                  <a:pt x="1343" y="2241"/>
                </a:lnTo>
                <a:lnTo>
                  <a:pt x="1342" y="2238"/>
                </a:lnTo>
                <a:lnTo>
                  <a:pt x="1341" y="2235"/>
                </a:lnTo>
                <a:lnTo>
                  <a:pt x="1341" y="2232"/>
                </a:lnTo>
                <a:lnTo>
                  <a:pt x="1342" y="2230"/>
                </a:lnTo>
                <a:lnTo>
                  <a:pt x="1343" y="2227"/>
                </a:lnTo>
                <a:lnTo>
                  <a:pt x="1345" y="2224"/>
                </a:lnTo>
                <a:lnTo>
                  <a:pt x="1347" y="2222"/>
                </a:lnTo>
                <a:lnTo>
                  <a:pt x="1349" y="2220"/>
                </a:lnTo>
                <a:close/>
                <a:moveTo>
                  <a:pt x="1473" y="2148"/>
                </a:moveTo>
                <a:lnTo>
                  <a:pt x="1476" y="2146"/>
                </a:lnTo>
                <a:lnTo>
                  <a:pt x="1479" y="2146"/>
                </a:lnTo>
                <a:lnTo>
                  <a:pt x="1482" y="2146"/>
                </a:lnTo>
                <a:lnTo>
                  <a:pt x="1485" y="2146"/>
                </a:lnTo>
                <a:lnTo>
                  <a:pt x="1488" y="2147"/>
                </a:lnTo>
                <a:lnTo>
                  <a:pt x="1490" y="2148"/>
                </a:lnTo>
                <a:lnTo>
                  <a:pt x="1493" y="2150"/>
                </a:lnTo>
                <a:lnTo>
                  <a:pt x="1494" y="2153"/>
                </a:lnTo>
                <a:lnTo>
                  <a:pt x="1496" y="2156"/>
                </a:lnTo>
                <a:lnTo>
                  <a:pt x="1497" y="2159"/>
                </a:lnTo>
                <a:lnTo>
                  <a:pt x="1497" y="2162"/>
                </a:lnTo>
                <a:lnTo>
                  <a:pt x="1497" y="2165"/>
                </a:lnTo>
                <a:lnTo>
                  <a:pt x="1496" y="2168"/>
                </a:lnTo>
                <a:lnTo>
                  <a:pt x="1494" y="2170"/>
                </a:lnTo>
                <a:lnTo>
                  <a:pt x="1492" y="2173"/>
                </a:lnTo>
                <a:lnTo>
                  <a:pt x="1490" y="2174"/>
                </a:lnTo>
                <a:lnTo>
                  <a:pt x="1487" y="2176"/>
                </a:lnTo>
                <a:lnTo>
                  <a:pt x="1484" y="2177"/>
                </a:lnTo>
                <a:lnTo>
                  <a:pt x="1481" y="2177"/>
                </a:lnTo>
                <a:lnTo>
                  <a:pt x="1478" y="2176"/>
                </a:lnTo>
                <a:lnTo>
                  <a:pt x="1475" y="2175"/>
                </a:lnTo>
                <a:lnTo>
                  <a:pt x="1472" y="2174"/>
                </a:lnTo>
                <a:lnTo>
                  <a:pt x="1470" y="2172"/>
                </a:lnTo>
                <a:lnTo>
                  <a:pt x="1468" y="2170"/>
                </a:lnTo>
                <a:lnTo>
                  <a:pt x="1467" y="2167"/>
                </a:lnTo>
                <a:lnTo>
                  <a:pt x="1466" y="2164"/>
                </a:lnTo>
                <a:lnTo>
                  <a:pt x="1466" y="2161"/>
                </a:lnTo>
                <a:lnTo>
                  <a:pt x="1466" y="2158"/>
                </a:lnTo>
                <a:lnTo>
                  <a:pt x="1467" y="2155"/>
                </a:lnTo>
                <a:lnTo>
                  <a:pt x="1468" y="2152"/>
                </a:lnTo>
                <a:lnTo>
                  <a:pt x="1470" y="2150"/>
                </a:lnTo>
                <a:lnTo>
                  <a:pt x="1473" y="2148"/>
                </a:lnTo>
                <a:close/>
                <a:moveTo>
                  <a:pt x="1099" y="2362"/>
                </a:moveTo>
                <a:lnTo>
                  <a:pt x="1102" y="2361"/>
                </a:lnTo>
                <a:lnTo>
                  <a:pt x="1105" y="2360"/>
                </a:lnTo>
                <a:lnTo>
                  <a:pt x="1108" y="2360"/>
                </a:lnTo>
                <a:lnTo>
                  <a:pt x="1110" y="2361"/>
                </a:lnTo>
                <a:lnTo>
                  <a:pt x="1113" y="2362"/>
                </a:lnTo>
                <a:lnTo>
                  <a:pt x="1116" y="2363"/>
                </a:lnTo>
                <a:lnTo>
                  <a:pt x="1118" y="2365"/>
                </a:lnTo>
                <a:lnTo>
                  <a:pt x="1120" y="2367"/>
                </a:lnTo>
                <a:lnTo>
                  <a:pt x="1121" y="2369"/>
                </a:lnTo>
                <a:lnTo>
                  <a:pt x="1122" y="2371"/>
                </a:lnTo>
                <a:lnTo>
                  <a:pt x="1123" y="2375"/>
                </a:lnTo>
                <a:lnTo>
                  <a:pt x="1122" y="2379"/>
                </a:lnTo>
                <a:lnTo>
                  <a:pt x="1121" y="2383"/>
                </a:lnTo>
                <a:lnTo>
                  <a:pt x="1093" y="2383"/>
                </a:lnTo>
                <a:lnTo>
                  <a:pt x="1092" y="2380"/>
                </a:lnTo>
                <a:lnTo>
                  <a:pt x="1091" y="2378"/>
                </a:lnTo>
                <a:lnTo>
                  <a:pt x="1091" y="2375"/>
                </a:lnTo>
                <a:lnTo>
                  <a:pt x="1092" y="2372"/>
                </a:lnTo>
                <a:lnTo>
                  <a:pt x="1093" y="2369"/>
                </a:lnTo>
                <a:lnTo>
                  <a:pt x="1094" y="2367"/>
                </a:lnTo>
                <a:lnTo>
                  <a:pt x="1096" y="2365"/>
                </a:lnTo>
                <a:lnTo>
                  <a:pt x="1098" y="2363"/>
                </a:lnTo>
                <a:lnTo>
                  <a:pt x="1099" y="2362"/>
                </a:lnTo>
                <a:close/>
                <a:moveTo>
                  <a:pt x="1222" y="2288"/>
                </a:moveTo>
                <a:lnTo>
                  <a:pt x="1225" y="2286"/>
                </a:lnTo>
                <a:lnTo>
                  <a:pt x="1228" y="2286"/>
                </a:lnTo>
                <a:lnTo>
                  <a:pt x="1231" y="2286"/>
                </a:lnTo>
                <a:lnTo>
                  <a:pt x="1234" y="2286"/>
                </a:lnTo>
                <a:lnTo>
                  <a:pt x="1237" y="2287"/>
                </a:lnTo>
                <a:lnTo>
                  <a:pt x="1240" y="2289"/>
                </a:lnTo>
                <a:lnTo>
                  <a:pt x="1242" y="2291"/>
                </a:lnTo>
                <a:lnTo>
                  <a:pt x="1244" y="2294"/>
                </a:lnTo>
                <a:lnTo>
                  <a:pt x="1245" y="2297"/>
                </a:lnTo>
                <a:lnTo>
                  <a:pt x="1245" y="2300"/>
                </a:lnTo>
                <a:lnTo>
                  <a:pt x="1246" y="2303"/>
                </a:lnTo>
                <a:lnTo>
                  <a:pt x="1245" y="2305"/>
                </a:lnTo>
                <a:lnTo>
                  <a:pt x="1244" y="2308"/>
                </a:lnTo>
                <a:lnTo>
                  <a:pt x="1242" y="2311"/>
                </a:lnTo>
                <a:lnTo>
                  <a:pt x="1240" y="2313"/>
                </a:lnTo>
                <a:lnTo>
                  <a:pt x="1238" y="2315"/>
                </a:lnTo>
                <a:lnTo>
                  <a:pt x="1235" y="2316"/>
                </a:lnTo>
                <a:lnTo>
                  <a:pt x="1232" y="2317"/>
                </a:lnTo>
                <a:lnTo>
                  <a:pt x="1229" y="2317"/>
                </a:lnTo>
                <a:lnTo>
                  <a:pt x="1226" y="2316"/>
                </a:lnTo>
                <a:lnTo>
                  <a:pt x="1223" y="2315"/>
                </a:lnTo>
                <a:lnTo>
                  <a:pt x="1220" y="2314"/>
                </a:lnTo>
                <a:lnTo>
                  <a:pt x="1218" y="2312"/>
                </a:lnTo>
                <a:lnTo>
                  <a:pt x="1216" y="2309"/>
                </a:lnTo>
                <a:lnTo>
                  <a:pt x="1215" y="2306"/>
                </a:lnTo>
                <a:lnTo>
                  <a:pt x="1214" y="2303"/>
                </a:lnTo>
                <a:lnTo>
                  <a:pt x="1214" y="2300"/>
                </a:lnTo>
                <a:lnTo>
                  <a:pt x="1215" y="2297"/>
                </a:lnTo>
                <a:lnTo>
                  <a:pt x="1216" y="2294"/>
                </a:lnTo>
                <a:lnTo>
                  <a:pt x="1217" y="2292"/>
                </a:lnTo>
                <a:lnTo>
                  <a:pt x="1219" y="2290"/>
                </a:lnTo>
                <a:lnTo>
                  <a:pt x="1222" y="2288"/>
                </a:lnTo>
                <a:close/>
                <a:moveTo>
                  <a:pt x="1591" y="2066"/>
                </a:moveTo>
                <a:lnTo>
                  <a:pt x="1594" y="2064"/>
                </a:lnTo>
                <a:lnTo>
                  <a:pt x="1597" y="2064"/>
                </a:lnTo>
                <a:lnTo>
                  <a:pt x="1602" y="2064"/>
                </a:lnTo>
                <a:lnTo>
                  <a:pt x="1605" y="2065"/>
                </a:lnTo>
                <a:lnTo>
                  <a:pt x="1607" y="2066"/>
                </a:lnTo>
                <a:lnTo>
                  <a:pt x="1610" y="2067"/>
                </a:lnTo>
                <a:lnTo>
                  <a:pt x="1611" y="2069"/>
                </a:lnTo>
                <a:lnTo>
                  <a:pt x="1612" y="2070"/>
                </a:lnTo>
                <a:lnTo>
                  <a:pt x="1613" y="2072"/>
                </a:lnTo>
                <a:lnTo>
                  <a:pt x="1614" y="2075"/>
                </a:lnTo>
                <a:lnTo>
                  <a:pt x="1615" y="2078"/>
                </a:lnTo>
                <a:lnTo>
                  <a:pt x="1615" y="2081"/>
                </a:lnTo>
                <a:lnTo>
                  <a:pt x="1614" y="2084"/>
                </a:lnTo>
                <a:lnTo>
                  <a:pt x="1613" y="2087"/>
                </a:lnTo>
                <a:lnTo>
                  <a:pt x="1611" y="2089"/>
                </a:lnTo>
                <a:lnTo>
                  <a:pt x="1609" y="2092"/>
                </a:lnTo>
                <a:lnTo>
                  <a:pt x="1607" y="2093"/>
                </a:lnTo>
                <a:lnTo>
                  <a:pt x="1604" y="2094"/>
                </a:lnTo>
                <a:lnTo>
                  <a:pt x="1602" y="2095"/>
                </a:lnTo>
                <a:lnTo>
                  <a:pt x="1596" y="2095"/>
                </a:lnTo>
                <a:lnTo>
                  <a:pt x="1593" y="2094"/>
                </a:lnTo>
                <a:lnTo>
                  <a:pt x="1591" y="2093"/>
                </a:lnTo>
                <a:lnTo>
                  <a:pt x="1589" y="2091"/>
                </a:lnTo>
                <a:lnTo>
                  <a:pt x="1588" y="2090"/>
                </a:lnTo>
                <a:lnTo>
                  <a:pt x="1587" y="2089"/>
                </a:lnTo>
                <a:lnTo>
                  <a:pt x="1585" y="2086"/>
                </a:lnTo>
                <a:lnTo>
                  <a:pt x="1584" y="2083"/>
                </a:lnTo>
                <a:lnTo>
                  <a:pt x="1583" y="2080"/>
                </a:lnTo>
                <a:lnTo>
                  <a:pt x="1584" y="2077"/>
                </a:lnTo>
                <a:lnTo>
                  <a:pt x="1584" y="2074"/>
                </a:lnTo>
                <a:lnTo>
                  <a:pt x="1585" y="2071"/>
                </a:lnTo>
                <a:lnTo>
                  <a:pt x="1587" y="2069"/>
                </a:lnTo>
                <a:lnTo>
                  <a:pt x="1590" y="2067"/>
                </a:lnTo>
                <a:lnTo>
                  <a:pt x="1591" y="2066"/>
                </a:lnTo>
                <a:close/>
                <a:moveTo>
                  <a:pt x="3456" y="959"/>
                </a:moveTo>
                <a:lnTo>
                  <a:pt x="3460" y="957"/>
                </a:lnTo>
                <a:lnTo>
                  <a:pt x="3463" y="957"/>
                </a:lnTo>
                <a:lnTo>
                  <a:pt x="3467" y="957"/>
                </a:lnTo>
                <a:lnTo>
                  <a:pt x="3469" y="957"/>
                </a:lnTo>
                <a:lnTo>
                  <a:pt x="3471" y="958"/>
                </a:lnTo>
                <a:lnTo>
                  <a:pt x="3473" y="960"/>
                </a:lnTo>
                <a:lnTo>
                  <a:pt x="3476" y="962"/>
                </a:lnTo>
                <a:lnTo>
                  <a:pt x="3477" y="964"/>
                </a:lnTo>
                <a:lnTo>
                  <a:pt x="3479" y="967"/>
                </a:lnTo>
                <a:lnTo>
                  <a:pt x="3480" y="970"/>
                </a:lnTo>
                <a:lnTo>
                  <a:pt x="3480" y="973"/>
                </a:lnTo>
                <a:lnTo>
                  <a:pt x="3479" y="976"/>
                </a:lnTo>
                <a:lnTo>
                  <a:pt x="3478" y="979"/>
                </a:lnTo>
                <a:lnTo>
                  <a:pt x="3476" y="983"/>
                </a:lnTo>
                <a:lnTo>
                  <a:pt x="3474" y="984"/>
                </a:lnTo>
                <a:lnTo>
                  <a:pt x="3472" y="986"/>
                </a:lnTo>
                <a:lnTo>
                  <a:pt x="3469" y="987"/>
                </a:lnTo>
                <a:lnTo>
                  <a:pt x="3465" y="988"/>
                </a:lnTo>
                <a:lnTo>
                  <a:pt x="3461" y="988"/>
                </a:lnTo>
                <a:lnTo>
                  <a:pt x="3459" y="987"/>
                </a:lnTo>
                <a:lnTo>
                  <a:pt x="3458" y="987"/>
                </a:lnTo>
                <a:lnTo>
                  <a:pt x="3455" y="985"/>
                </a:lnTo>
                <a:lnTo>
                  <a:pt x="3453" y="983"/>
                </a:lnTo>
                <a:lnTo>
                  <a:pt x="3451" y="980"/>
                </a:lnTo>
                <a:lnTo>
                  <a:pt x="3449" y="978"/>
                </a:lnTo>
                <a:lnTo>
                  <a:pt x="3449" y="975"/>
                </a:lnTo>
                <a:lnTo>
                  <a:pt x="3448" y="972"/>
                </a:lnTo>
                <a:lnTo>
                  <a:pt x="3449" y="969"/>
                </a:lnTo>
                <a:lnTo>
                  <a:pt x="3450" y="966"/>
                </a:lnTo>
                <a:lnTo>
                  <a:pt x="3452" y="962"/>
                </a:lnTo>
                <a:lnTo>
                  <a:pt x="3454" y="960"/>
                </a:lnTo>
                <a:lnTo>
                  <a:pt x="3456" y="959"/>
                </a:lnTo>
                <a:close/>
                <a:moveTo>
                  <a:pt x="1700" y="1972"/>
                </a:moveTo>
                <a:lnTo>
                  <a:pt x="1702" y="1971"/>
                </a:lnTo>
                <a:lnTo>
                  <a:pt x="1705" y="1970"/>
                </a:lnTo>
                <a:lnTo>
                  <a:pt x="1707" y="1970"/>
                </a:lnTo>
                <a:lnTo>
                  <a:pt x="1710" y="1970"/>
                </a:lnTo>
                <a:lnTo>
                  <a:pt x="1715" y="1972"/>
                </a:lnTo>
                <a:lnTo>
                  <a:pt x="1717" y="1973"/>
                </a:lnTo>
                <a:lnTo>
                  <a:pt x="1719" y="1975"/>
                </a:lnTo>
                <a:lnTo>
                  <a:pt x="1721" y="1977"/>
                </a:lnTo>
                <a:lnTo>
                  <a:pt x="1723" y="1980"/>
                </a:lnTo>
                <a:lnTo>
                  <a:pt x="1723" y="1983"/>
                </a:lnTo>
                <a:lnTo>
                  <a:pt x="1724" y="1986"/>
                </a:lnTo>
                <a:lnTo>
                  <a:pt x="1723" y="1989"/>
                </a:lnTo>
                <a:lnTo>
                  <a:pt x="1722" y="1992"/>
                </a:lnTo>
                <a:lnTo>
                  <a:pt x="1721" y="1994"/>
                </a:lnTo>
                <a:lnTo>
                  <a:pt x="1719" y="1997"/>
                </a:lnTo>
                <a:lnTo>
                  <a:pt x="1716" y="1999"/>
                </a:lnTo>
                <a:lnTo>
                  <a:pt x="1713" y="2000"/>
                </a:lnTo>
                <a:lnTo>
                  <a:pt x="1711" y="2001"/>
                </a:lnTo>
                <a:lnTo>
                  <a:pt x="1708" y="2001"/>
                </a:lnTo>
                <a:lnTo>
                  <a:pt x="1706" y="2001"/>
                </a:lnTo>
                <a:lnTo>
                  <a:pt x="1701" y="2000"/>
                </a:lnTo>
                <a:lnTo>
                  <a:pt x="1699" y="1998"/>
                </a:lnTo>
                <a:lnTo>
                  <a:pt x="1697" y="1997"/>
                </a:lnTo>
                <a:lnTo>
                  <a:pt x="1695" y="1994"/>
                </a:lnTo>
                <a:lnTo>
                  <a:pt x="1693" y="1991"/>
                </a:lnTo>
                <a:lnTo>
                  <a:pt x="1692" y="1988"/>
                </a:lnTo>
                <a:lnTo>
                  <a:pt x="1692" y="1985"/>
                </a:lnTo>
                <a:lnTo>
                  <a:pt x="1693" y="1982"/>
                </a:lnTo>
                <a:lnTo>
                  <a:pt x="1694" y="1980"/>
                </a:lnTo>
                <a:lnTo>
                  <a:pt x="1695" y="1977"/>
                </a:lnTo>
                <a:lnTo>
                  <a:pt x="1697" y="1974"/>
                </a:lnTo>
                <a:lnTo>
                  <a:pt x="1700" y="1972"/>
                </a:lnTo>
                <a:close/>
                <a:moveTo>
                  <a:pt x="1796" y="1865"/>
                </a:moveTo>
                <a:lnTo>
                  <a:pt x="1800" y="1863"/>
                </a:lnTo>
                <a:lnTo>
                  <a:pt x="1805" y="1863"/>
                </a:lnTo>
                <a:lnTo>
                  <a:pt x="1807" y="1863"/>
                </a:lnTo>
                <a:lnTo>
                  <a:pt x="1809" y="1864"/>
                </a:lnTo>
                <a:lnTo>
                  <a:pt x="1813" y="1866"/>
                </a:lnTo>
                <a:lnTo>
                  <a:pt x="1815" y="1868"/>
                </a:lnTo>
                <a:lnTo>
                  <a:pt x="1817" y="1871"/>
                </a:lnTo>
                <a:lnTo>
                  <a:pt x="1818" y="1874"/>
                </a:lnTo>
                <a:lnTo>
                  <a:pt x="1819" y="1877"/>
                </a:lnTo>
                <a:lnTo>
                  <a:pt x="1819" y="1880"/>
                </a:lnTo>
                <a:lnTo>
                  <a:pt x="1819" y="1883"/>
                </a:lnTo>
                <a:lnTo>
                  <a:pt x="1818" y="1886"/>
                </a:lnTo>
                <a:lnTo>
                  <a:pt x="1816" y="1888"/>
                </a:lnTo>
                <a:lnTo>
                  <a:pt x="1814" y="1891"/>
                </a:lnTo>
                <a:lnTo>
                  <a:pt x="1811" y="1892"/>
                </a:lnTo>
                <a:lnTo>
                  <a:pt x="1807" y="1894"/>
                </a:lnTo>
                <a:lnTo>
                  <a:pt x="1803" y="1894"/>
                </a:lnTo>
                <a:lnTo>
                  <a:pt x="1800" y="1894"/>
                </a:lnTo>
                <a:lnTo>
                  <a:pt x="1798" y="1893"/>
                </a:lnTo>
                <a:lnTo>
                  <a:pt x="1794" y="1891"/>
                </a:lnTo>
                <a:lnTo>
                  <a:pt x="1792" y="1889"/>
                </a:lnTo>
                <a:lnTo>
                  <a:pt x="1790" y="1886"/>
                </a:lnTo>
                <a:lnTo>
                  <a:pt x="1789" y="1884"/>
                </a:lnTo>
                <a:lnTo>
                  <a:pt x="1788" y="1881"/>
                </a:lnTo>
                <a:lnTo>
                  <a:pt x="1788" y="1878"/>
                </a:lnTo>
                <a:lnTo>
                  <a:pt x="1788" y="1875"/>
                </a:lnTo>
                <a:lnTo>
                  <a:pt x="1789" y="1872"/>
                </a:lnTo>
                <a:lnTo>
                  <a:pt x="1791" y="1869"/>
                </a:lnTo>
                <a:lnTo>
                  <a:pt x="1793" y="1867"/>
                </a:lnTo>
                <a:lnTo>
                  <a:pt x="1796" y="1865"/>
                </a:lnTo>
                <a:close/>
                <a:moveTo>
                  <a:pt x="1873" y="1743"/>
                </a:moveTo>
                <a:lnTo>
                  <a:pt x="1874" y="1742"/>
                </a:lnTo>
                <a:lnTo>
                  <a:pt x="1876" y="1742"/>
                </a:lnTo>
                <a:lnTo>
                  <a:pt x="1880" y="1741"/>
                </a:lnTo>
                <a:lnTo>
                  <a:pt x="1884" y="1741"/>
                </a:lnTo>
                <a:lnTo>
                  <a:pt x="1888" y="1743"/>
                </a:lnTo>
                <a:lnTo>
                  <a:pt x="1890" y="1744"/>
                </a:lnTo>
                <a:lnTo>
                  <a:pt x="1893" y="1747"/>
                </a:lnTo>
                <a:lnTo>
                  <a:pt x="1894" y="1749"/>
                </a:lnTo>
                <a:lnTo>
                  <a:pt x="1896" y="1752"/>
                </a:lnTo>
                <a:lnTo>
                  <a:pt x="1896" y="1758"/>
                </a:lnTo>
                <a:lnTo>
                  <a:pt x="1896" y="1761"/>
                </a:lnTo>
                <a:lnTo>
                  <a:pt x="1895" y="1764"/>
                </a:lnTo>
                <a:lnTo>
                  <a:pt x="1893" y="1766"/>
                </a:lnTo>
                <a:lnTo>
                  <a:pt x="1892" y="1768"/>
                </a:lnTo>
                <a:lnTo>
                  <a:pt x="1888" y="1770"/>
                </a:lnTo>
                <a:lnTo>
                  <a:pt x="1887" y="1771"/>
                </a:lnTo>
                <a:lnTo>
                  <a:pt x="1885" y="1772"/>
                </a:lnTo>
                <a:lnTo>
                  <a:pt x="1881" y="1772"/>
                </a:lnTo>
                <a:lnTo>
                  <a:pt x="1877" y="1772"/>
                </a:lnTo>
                <a:lnTo>
                  <a:pt x="1873" y="1771"/>
                </a:lnTo>
                <a:lnTo>
                  <a:pt x="1871" y="1769"/>
                </a:lnTo>
                <a:lnTo>
                  <a:pt x="1869" y="1767"/>
                </a:lnTo>
                <a:lnTo>
                  <a:pt x="1867" y="1764"/>
                </a:lnTo>
                <a:lnTo>
                  <a:pt x="1866" y="1761"/>
                </a:lnTo>
                <a:lnTo>
                  <a:pt x="1865" y="1755"/>
                </a:lnTo>
                <a:lnTo>
                  <a:pt x="1865" y="1752"/>
                </a:lnTo>
                <a:lnTo>
                  <a:pt x="1867" y="1749"/>
                </a:lnTo>
                <a:lnTo>
                  <a:pt x="1868" y="1748"/>
                </a:lnTo>
                <a:lnTo>
                  <a:pt x="1869" y="1746"/>
                </a:lnTo>
                <a:lnTo>
                  <a:pt x="1873" y="1743"/>
                </a:lnTo>
                <a:close/>
                <a:moveTo>
                  <a:pt x="3324" y="902"/>
                </a:moveTo>
                <a:lnTo>
                  <a:pt x="3327" y="900"/>
                </a:lnTo>
                <a:lnTo>
                  <a:pt x="3331" y="900"/>
                </a:lnTo>
                <a:lnTo>
                  <a:pt x="3334" y="900"/>
                </a:lnTo>
                <a:lnTo>
                  <a:pt x="3338" y="901"/>
                </a:lnTo>
                <a:lnTo>
                  <a:pt x="3341" y="902"/>
                </a:lnTo>
                <a:lnTo>
                  <a:pt x="3343" y="904"/>
                </a:lnTo>
                <a:lnTo>
                  <a:pt x="3345" y="907"/>
                </a:lnTo>
                <a:lnTo>
                  <a:pt x="3346" y="909"/>
                </a:lnTo>
                <a:lnTo>
                  <a:pt x="3347" y="912"/>
                </a:lnTo>
                <a:lnTo>
                  <a:pt x="3347" y="915"/>
                </a:lnTo>
                <a:lnTo>
                  <a:pt x="3347" y="918"/>
                </a:lnTo>
                <a:lnTo>
                  <a:pt x="3346" y="921"/>
                </a:lnTo>
                <a:lnTo>
                  <a:pt x="3345" y="924"/>
                </a:lnTo>
                <a:lnTo>
                  <a:pt x="3344" y="926"/>
                </a:lnTo>
                <a:lnTo>
                  <a:pt x="3340" y="929"/>
                </a:lnTo>
                <a:lnTo>
                  <a:pt x="3336" y="930"/>
                </a:lnTo>
                <a:lnTo>
                  <a:pt x="3333" y="931"/>
                </a:lnTo>
                <a:lnTo>
                  <a:pt x="3329" y="931"/>
                </a:lnTo>
                <a:lnTo>
                  <a:pt x="3326" y="930"/>
                </a:lnTo>
                <a:lnTo>
                  <a:pt x="3323" y="928"/>
                </a:lnTo>
                <a:lnTo>
                  <a:pt x="3321" y="926"/>
                </a:lnTo>
                <a:lnTo>
                  <a:pt x="3319" y="924"/>
                </a:lnTo>
                <a:lnTo>
                  <a:pt x="3317" y="921"/>
                </a:lnTo>
                <a:lnTo>
                  <a:pt x="3316" y="919"/>
                </a:lnTo>
                <a:lnTo>
                  <a:pt x="3316" y="916"/>
                </a:lnTo>
                <a:lnTo>
                  <a:pt x="3316" y="912"/>
                </a:lnTo>
                <a:lnTo>
                  <a:pt x="3317" y="909"/>
                </a:lnTo>
                <a:lnTo>
                  <a:pt x="3318" y="907"/>
                </a:lnTo>
                <a:lnTo>
                  <a:pt x="3320" y="905"/>
                </a:lnTo>
                <a:lnTo>
                  <a:pt x="3324" y="902"/>
                </a:lnTo>
                <a:close/>
                <a:moveTo>
                  <a:pt x="1926" y="1610"/>
                </a:moveTo>
                <a:lnTo>
                  <a:pt x="1929" y="1609"/>
                </a:lnTo>
                <a:lnTo>
                  <a:pt x="1932" y="1608"/>
                </a:lnTo>
                <a:lnTo>
                  <a:pt x="1935" y="1608"/>
                </a:lnTo>
                <a:lnTo>
                  <a:pt x="1939" y="1609"/>
                </a:lnTo>
                <a:lnTo>
                  <a:pt x="1942" y="1610"/>
                </a:lnTo>
                <a:lnTo>
                  <a:pt x="1944" y="1611"/>
                </a:lnTo>
                <a:lnTo>
                  <a:pt x="1946" y="1614"/>
                </a:lnTo>
                <a:lnTo>
                  <a:pt x="1948" y="1616"/>
                </a:lnTo>
                <a:lnTo>
                  <a:pt x="1949" y="1619"/>
                </a:lnTo>
                <a:lnTo>
                  <a:pt x="1950" y="1622"/>
                </a:lnTo>
                <a:lnTo>
                  <a:pt x="1950" y="1625"/>
                </a:lnTo>
                <a:lnTo>
                  <a:pt x="1949" y="1628"/>
                </a:lnTo>
                <a:lnTo>
                  <a:pt x="1948" y="1631"/>
                </a:lnTo>
                <a:lnTo>
                  <a:pt x="1946" y="1633"/>
                </a:lnTo>
                <a:lnTo>
                  <a:pt x="1944" y="1635"/>
                </a:lnTo>
                <a:lnTo>
                  <a:pt x="1942" y="1637"/>
                </a:lnTo>
                <a:lnTo>
                  <a:pt x="1939" y="1638"/>
                </a:lnTo>
                <a:lnTo>
                  <a:pt x="1936" y="1639"/>
                </a:lnTo>
                <a:lnTo>
                  <a:pt x="1933" y="1639"/>
                </a:lnTo>
                <a:lnTo>
                  <a:pt x="1930" y="1639"/>
                </a:lnTo>
                <a:lnTo>
                  <a:pt x="1927" y="1637"/>
                </a:lnTo>
                <a:lnTo>
                  <a:pt x="1924" y="1636"/>
                </a:lnTo>
                <a:lnTo>
                  <a:pt x="1922" y="1633"/>
                </a:lnTo>
                <a:lnTo>
                  <a:pt x="1920" y="1631"/>
                </a:lnTo>
                <a:lnTo>
                  <a:pt x="1919" y="1628"/>
                </a:lnTo>
                <a:lnTo>
                  <a:pt x="1919" y="1625"/>
                </a:lnTo>
                <a:lnTo>
                  <a:pt x="1919" y="1622"/>
                </a:lnTo>
                <a:lnTo>
                  <a:pt x="1919" y="1619"/>
                </a:lnTo>
                <a:lnTo>
                  <a:pt x="1920" y="1616"/>
                </a:lnTo>
                <a:lnTo>
                  <a:pt x="1922" y="1614"/>
                </a:lnTo>
                <a:lnTo>
                  <a:pt x="1924" y="1612"/>
                </a:lnTo>
                <a:lnTo>
                  <a:pt x="1926" y="1610"/>
                </a:lnTo>
                <a:close/>
                <a:moveTo>
                  <a:pt x="3189" y="851"/>
                </a:moveTo>
                <a:lnTo>
                  <a:pt x="3192" y="849"/>
                </a:lnTo>
                <a:lnTo>
                  <a:pt x="3196" y="849"/>
                </a:lnTo>
                <a:lnTo>
                  <a:pt x="3199" y="849"/>
                </a:lnTo>
                <a:lnTo>
                  <a:pt x="3202" y="849"/>
                </a:lnTo>
                <a:lnTo>
                  <a:pt x="3205" y="851"/>
                </a:lnTo>
                <a:lnTo>
                  <a:pt x="3208" y="853"/>
                </a:lnTo>
                <a:lnTo>
                  <a:pt x="3210" y="855"/>
                </a:lnTo>
                <a:lnTo>
                  <a:pt x="3211" y="857"/>
                </a:lnTo>
                <a:lnTo>
                  <a:pt x="3212" y="860"/>
                </a:lnTo>
                <a:lnTo>
                  <a:pt x="3213" y="863"/>
                </a:lnTo>
                <a:lnTo>
                  <a:pt x="3212" y="869"/>
                </a:lnTo>
                <a:lnTo>
                  <a:pt x="3211" y="872"/>
                </a:lnTo>
                <a:lnTo>
                  <a:pt x="3209" y="874"/>
                </a:lnTo>
                <a:lnTo>
                  <a:pt x="3207" y="876"/>
                </a:lnTo>
                <a:lnTo>
                  <a:pt x="3205" y="878"/>
                </a:lnTo>
                <a:lnTo>
                  <a:pt x="3202" y="879"/>
                </a:lnTo>
                <a:lnTo>
                  <a:pt x="3199" y="880"/>
                </a:lnTo>
                <a:lnTo>
                  <a:pt x="3195" y="880"/>
                </a:lnTo>
                <a:lnTo>
                  <a:pt x="3192" y="879"/>
                </a:lnTo>
                <a:lnTo>
                  <a:pt x="3189" y="878"/>
                </a:lnTo>
                <a:lnTo>
                  <a:pt x="3187" y="876"/>
                </a:lnTo>
                <a:lnTo>
                  <a:pt x="3185" y="873"/>
                </a:lnTo>
                <a:lnTo>
                  <a:pt x="3183" y="871"/>
                </a:lnTo>
                <a:lnTo>
                  <a:pt x="3182" y="868"/>
                </a:lnTo>
                <a:lnTo>
                  <a:pt x="3182" y="865"/>
                </a:lnTo>
                <a:lnTo>
                  <a:pt x="3182" y="859"/>
                </a:lnTo>
                <a:lnTo>
                  <a:pt x="3184" y="856"/>
                </a:lnTo>
                <a:lnTo>
                  <a:pt x="3185" y="854"/>
                </a:lnTo>
                <a:lnTo>
                  <a:pt x="3187" y="852"/>
                </a:lnTo>
                <a:lnTo>
                  <a:pt x="3189" y="851"/>
                </a:lnTo>
                <a:close/>
                <a:moveTo>
                  <a:pt x="1957" y="1469"/>
                </a:moveTo>
                <a:lnTo>
                  <a:pt x="1959" y="1468"/>
                </a:lnTo>
                <a:lnTo>
                  <a:pt x="1961" y="1468"/>
                </a:lnTo>
                <a:lnTo>
                  <a:pt x="1964" y="1467"/>
                </a:lnTo>
                <a:lnTo>
                  <a:pt x="1967" y="1468"/>
                </a:lnTo>
                <a:lnTo>
                  <a:pt x="1970" y="1468"/>
                </a:lnTo>
                <a:lnTo>
                  <a:pt x="1973" y="1470"/>
                </a:lnTo>
                <a:lnTo>
                  <a:pt x="1975" y="1471"/>
                </a:lnTo>
                <a:lnTo>
                  <a:pt x="1977" y="1474"/>
                </a:lnTo>
                <a:lnTo>
                  <a:pt x="1979" y="1476"/>
                </a:lnTo>
                <a:lnTo>
                  <a:pt x="1980" y="1479"/>
                </a:lnTo>
                <a:lnTo>
                  <a:pt x="1980" y="1482"/>
                </a:lnTo>
                <a:lnTo>
                  <a:pt x="1980" y="1485"/>
                </a:lnTo>
                <a:lnTo>
                  <a:pt x="1979" y="1489"/>
                </a:lnTo>
                <a:lnTo>
                  <a:pt x="1977" y="1492"/>
                </a:lnTo>
                <a:lnTo>
                  <a:pt x="1975" y="1495"/>
                </a:lnTo>
                <a:lnTo>
                  <a:pt x="1972" y="1497"/>
                </a:lnTo>
                <a:lnTo>
                  <a:pt x="1970" y="1498"/>
                </a:lnTo>
                <a:lnTo>
                  <a:pt x="1967" y="1498"/>
                </a:lnTo>
                <a:lnTo>
                  <a:pt x="1965" y="1499"/>
                </a:lnTo>
                <a:lnTo>
                  <a:pt x="1962" y="1499"/>
                </a:lnTo>
                <a:lnTo>
                  <a:pt x="1959" y="1498"/>
                </a:lnTo>
                <a:lnTo>
                  <a:pt x="1956" y="1496"/>
                </a:lnTo>
                <a:lnTo>
                  <a:pt x="1954" y="1495"/>
                </a:lnTo>
                <a:lnTo>
                  <a:pt x="1952" y="1492"/>
                </a:lnTo>
                <a:lnTo>
                  <a:pt x="1950" y="1490"/>
                </a:lnTo>
                <a:lnTo>
                  <a:pt x="1949" y="1487"/>
                </a:lnTo>
                <a:lnTo>
                  <a:pt x="1949" y="1484"/>
                </a:lnTo>
                <a:lnTo>
                  <a:pt x="1949" y="1481"/>
                </a:lnTo>
                <a:lnTo>
                  <a:pt x="1950" y="1477"/>
                </a:lnTo>
                <a:lnTo>
                  <a:pt x="1952" y="1474"/>
                </a:lnTo>
                <a:lnTo>
                  <a:pt x="1954" y="1472"/>
                </a:lnTo>
                <a:lnTo>
                  <a:pt x="1957" y="1469"/>
                </a:lnTo>
                <a:close/>
                <a:moveTo>
                  <a:pt x="3052" y="807"/>
                </a:moveTo>
                <a:lnTo>
                  <a:pt x="3055" y="805"/>
                </a:lnTo>
                <a:lnTo>
                  <a:pt x="3058" y="805"/>
                </a:lnTo>
                <a:lnTo>
                  <a:pt x="3061" y="805"/>
                </a:lnTo>
                <a:lnTo>
                  <a:pt x="3064" y="805"/>
                </a:lnTo>
                <a:lnTo>
                  <a:pt x="3067" y="806"/>
                </a:lnTo>
                <a:lnTo>
                  <a:pt x="3070" y="808"/>
                </a:lnTo>
                <a:lnTo>
                  <a:pt x="3072" y="810"/>
                </a:lnTo>
                <a:lnTo>
                  <a:pt x="3074" y="813"/>
                </a:lnTo>
                <a:lnTo>
                  <a:pt x="3075" y="815"/>
                </a:lnTo>
                <a:lnTo>
                  <a:pt x="3076" y="818"/>
                </a:lnTo>
                <a:lnTo>
                  <a:pt x="3076" y="821"/>
                </a:lnTo>
                <a:lnTo>
                  <a:pt x="3075" y="825"/>
                </a:lnTo>
                <a:lnTo>
                  <a:pt x="3074" y="828"/>
                </a:lnTo>
                <a:lnTo>
                  <a:pt x="3072" y="830"/>
                </a:lnTo>
                <a:lnTo>
                  <a:pt x="3070" y="832"/>
                </a:lnTo>
                <a:lnTo>
                  <a:pt x="3068" y="834"/>
                </a:lnTo>
                <a:lnTo>
                  <a:pt x="3065" y="835"/>
                </a:lnTo>
                <a:lnTo>
                  <a:pt x="3062" y="836"/>
                </a:lnTo>
                <a:lnTo>
                  <a:pt x="3059" y="836"/>
                </a:lnTo>
                <a:lnTo>
                  <a:pt x="3056" y="835"/>
                </a:lnTo>
                <a:lnTo>
                  <a:pt x="3053" y="834"/>
                </a:lnTo>
                <a:lnTo>
                  <a:pt x="3050" y="833"/>
                </a:lnTo>
                <a:lnTo>
                  <a:pt x="3048" y="830"/>
                </a:lnTo>
                <a:lnTo>
                  <a:pt x="3046" y="828"/>
                </a:lnTo>
                <a:lnTo>
                  <a:pt x="3045" y="825"/>
                </a:lnTo>
                <a:lnTo>
                  <a:pt x="3045" y="822"/>
                </a:lnTo>
                <a:lnTo>
                  <a:pt x="3045" y="819"/>
                </a:lnTo>
                <a:lnTo>
                  <a:pt x="3045" y="816"/>
                </a:lnTo>
                <a:lnTo>
                  <a:pt x="3046" y="813"/>
                </a:lnTo>
                <a:lnTo>
                  <a:pt x="3048" y="811"/>
                </a:lnTo>
                <a:lnTo>
                  <a:pt x="3050" y="808"/>
                </a:lnTo>
                <a:lnTo>
                  <a:pt x="3052" y="807"/>
                </a:lnTo>
                <a:close/>
                <a:moveTo>
                  <a:pt x="1971" y="1326"/>
                </a:moveTo>
                <a:lnTo>
                  <a:pt x="1975" y="1324"/>
                </a:lnTo>
                <a:lnTo>
                  <a:pt x="1980" y="1324"/>
                </a:lnTo>
                <a:lnTo>
                  <a:pt x="1983" y="1325"/>
                </a:lnTo>
                <a:lnTo>
                  <a:pt x="1986" y="1326"/>
                </a:lnTo>
                <a:lnTo>
                  <a:pt x="1988" y="1327"/>
                </a:lnTo>
                <a:lnTo>
                  <a:pt x="1990" y="1329"/>
                </a:lnTo>
                <a:lnTo>
                  <a:pt x="1992" y="1332"/>
                </a:lnTo>
                <a:lnTo>
                  <a:pt x="1993" y="1335"/>
                </a:lnTo>
                <a:lnTo>
                  <a:pt x="1994" y="1338"/>
                </a:lnTo>
                <a:lnTo>
                  <a:pt x="1994" y="1341"/>
                </a:lnTo>
                <a:lnTo>
                  <a:pt x="1993" y="1345"/>
                </a:lnTo>
                <a:lnTo>
                  <a:pt x="1992" y="1348"/>
                </a:lnTo>
                <a:lnTo>
                  <a:pt x="1989" y="1351"/>
                </a:lnTo>
                <a:lnTo>
                  <a:pt x="1986" y="1353"/>
                </a:lnTo>
                <a:lnTo>
                  <a:pt x="1982" y="1355"/>
                </a:lnTo>
                <a:lnTo>
                  <a:pt x="1977" y="1355"/>
                </a:lnTo>
                <a:lnTo>
                  <a:pt x="1974" y="1355"/>
                </a:lnTo>
                <a:lnTo>
                  <a:pt x="1971" y="1354"/>
                </a:lnTo>
                <a:lnTo>
                  <a:pt x="1969" y="1352"/>
                </a:lnTo>
                <a:lnTo>
                  <a:pt x="1967" y="1350"/>
                </a:lnTo>
                <a:lnTo>
                  <a:pt x="1965" y="1348"/>
                </a:lnTo>
                <a:lnTo>
                  <a:pt x="1964" y="1345"/>
                </a:lnTo>
                <a:lnTo>
                  <a:pt x="1963" y="1342"/>
                </a:lnTo>
                <a:lnTo>
                  <a:pt x="1963" y="1339"/>
                </a:lnTo>
                <a:lnTo>
                  <a:pt x="1964" y="1335"/>
                </a:lnTo>
                <a:lnTo>
                  <a:pt x="1965" y="1331"/>
                </a:lnTo>
                <a:lnTo>
                  <a:pt x="1968" y="1328"/>
                </a:lnTo>
                <a:lnTo>
                  <a:pt x="1971" y="1326"/>
                </a:lnTo>
                <a:close/>
                <a:moveTo>
                  <a:pt x="2913" y="773"/>
                </a:moveTo>
                <a:lnTo>
                  <a:pt x="2915" y="771"/>
                </a:lnTo>
                <a:lnTo>
                  <a:pt x="2918" y="771"/>
                </a:lnTo>
                <a:lnTo>
                  <a:pt x="2923" y="771"/>
                </a:lnTo>
                <a:lnTo>
                  <a:pt x="2926" y="772"/>
                </a:lnTo>
                <a:lnTo>
                  <a:pt x="2929" y="773"/>
                </a:lnTo>
                <a:lnTo>
                  <a:pt x="2932" y="775"/>
                </a:lnTo>
                <a:lnTo>
                  <a:pt x="2933" y="778"/>
                </a:lnTo>
                <a:lnTo>
                  <a:pt x="2935" y="780"/>
                </a:lnTo>
                <a:lnTo>
                  <a:pt x="2936" y="783"/>
                </a:lnTo>
                <a:lnTo>
                  <a:pt x="2936" y="786"/>
                </a:lnTo>
                <a:lnTo>
                  <a:pt x="2936" y="789"/>
                </a:lnTo>
                <a:lnTo>
                  <a:pt x="2935" y="793"/>
                </a:lnTo>
                <a:lnTo>
                  <a:pt x="2933" y="795"/>
                </a:lnTo>
                <a:lnTo>
                  <a:pt x="2931" y="798"/>
                </a:lnTo>
                <a:lnTo>
                  <a:pt x="2928" y="800"/>
                </a:lnTo>
                <a:lnTo>
                  <a:pt x="2926" y="801"/>
                </a:lnTo>
                <a:lnTo>
                  <a:pt x="2923" y="802"/>
                </a:lnTo>
                <a:lnTo>
                  <a:pt x="2917" y="802"/>
                </a:lnTo>
                <a:lnTo>
                  <a:pt x="2914" y="801"/>
                </a:lnTo>
                <a:lnTo>
                  <a:pt x="2912" y="799"/>
                </a:lnTo>
                <a:lnTo>
                  <a:pt x="2909" y="797"/>
                </a:lnTo>
                <a:lnTo>
                  <a:pt x="2907" y="795"/>
                </a:lnTo>
                <a:lnTo>
                  <a:pt x="2906" y="792"/>
                </a:lnTo>
                <a:lnTo>
                  <a:pt x="2905" y="789"/>
                </a:lnTo>
                <a:lnTo>
                  <a:pt x="2905" y="786"/>
                </a:lnTo>
                <a:lnTo>
                  <a:pt x="2905" y="783"/>
                </a:lnTo>
                <a:lnTo>
                  <a:pt x="2906" y="780"/>
                </a:lnTo>
                <a:lnTo>
                  <a:pt x="2908" y="777"/>
                </a:lnTo>
                <a:lnTo>
                  <a:pt x="2910" y="775"/>
                </a:lnTo>
                <a:lnTo>
                  <a:pt x="2913" y="773"/>
                </a:lnTo>
                <a:close/>
                <a:moveTo>
                  <a:pt x="2770" y="751"/>
                </a:moveTo>
                <a:lnTo>
                  <a:pt x="2772" y="750"/>
                </a:lnTo>
                <a:lnTo>
                  <a:pt x="2775" y="749"/>
                </a:lnTo>
                <a:lnTo>
                  <a:pt x="2777" y="749"/>
                </a:lnTo>
                <a:lnTo>
                  <a:pt x="2780" y="749"/>
                </a:lnTo>
                <a:lnTo>
                  <a:pt x="2783" y="750"/>
                </a:lnTo>
                <a:lnTo>
                  <a:pt x="2786" y="751"/>
                </a:lnTo>
                <a:lnTo>
                  <a:pt x="2788" y="753"/>
                </a:lnTo>
                <a:lnTo>
                  <a:pt x="2789" y="754"/>
                </a:lnTo>
                <a:lnTo>
                  <a:pt x="2790" y="755"/>
                </a:lnTo>
                <a:lnTo>
                  <a:pt x="2792" y="757"/>
                </a:lnTo>
                <a:lnTo>
                  <a:pt x="2793" y="760"/>
                </a:lnTo>
                <a:lnTo>
                  <a:pt x="2794" y="763"/>
                </a:lnTo>
                <a:lnTo>
                  <a:pt x="2794" y="766"/>
                </a:lnTo>
                <a:lnTo>
                  <a:pt x="2793" y="770"/>
                </a:lnTo>
                <a:lnTo>
                  <a:pt x="2791" y="773"/>
                </a:lnTo>
                <a:lnTo>
                  <a:pt x="2789" y="776"/>
                </a:lnTo>
                <a:lnTo>
                  <a:pt x="2786" y="778"/>
                </a:lnTo>
                <a:lnTo>
                  <a:pt x="2784" y="779"/>
                </a:lnTo>
                <a:lnTo>
                  <a:pt x="2782" y="780"/>
                </a:lnTo>
                <a:lnTo>
                  <a:pt x="2779" y="780"/>
                </a:lnTo>
                <a:lnTo>
                  <a:pt x="2777" y="780"/>
                </a:lnTo>
                <a:lnTo>
                  <a:pt x="2773" y="780"/>
                </a:lnTo>
                <a:lnTo>
                  <a:pt x="2771" y="778"/>
                </a:lnTo>
                <a:lnTo>
                  <a:pt x="2768" y="777"/>
                </a:lnTo>
                <a:lnTo>
                  <a:pt x="2767" y="776"/>
                </a:lnTo>
                <a:lnTo>
                  <a:pt x="2766" y="775"/>
                </a:lnTo>
                <a:lnTo>
                  <a:pt x="2764" y="772"/>
                </a:lnTo>
                <a:lnTo>
                  <a:pt x="2763" y="769"/>
                </a:lnTo>
                <a:lnTo>
                  <a:pt x="2763" y="766"/>
                </a:lnTo>
                <a:lnTo>
                  <a:pt x="2763" y="763"/>
                </a:lnTo>
                <a:lnTo>
                  <a:pt x="2763" y="759"/>
                </a:lnTo>
                <a:lnTo>
                  <a:pt x="2765" y="756"/>
                </a:lnTo>
                <a:lnTo>
                  <a:pt x="2767" y="753"/>
                </a:lnTo>
                <a:lnTo>
                  <a:pt x="2770" y="751"/>
                </a:lnTo>
                <a:close/>
                <a:moveTo>
                  <a:pt x="1982" y="1183"/>
                </a:moveTo>
                <a:lnTo>
                  <a:pt x="1984" y="1182"/>
                </a:lnTo>
                <a:lnTo>
                  <a:pt x="1987" y="1181"/>
                </a:lnTo>
                <a:lnTo>
                  <a:pt x="1989" y="1181"/>
                </a:lnTo>
                <a:lnTo>
                  <a:pt x="1992" y="1181"/>
                </a:lnTo>
                <a:lnTo>
                  <a:pt x="1995" y="1181"/>
                </a:lnTo>
                <a:lnTo>
                  <a:pt x="1998" y="1183"/>
                </a:lnTo>
                <a:lnTo>
                  <a:pt x="2000" y="1184"/>
                </a:lnTo>
                <a:lnTo>
                  <a:pt x="2002" y="1187"/>
                </a:lnTo>
                <a:lnTo>
                  <a:pt x="2004" y="1189"/>
                </a:lnTo>
                <a:lnTo>
                  <a:pt x="2005" y="1192"/>
                </a:lnTo>
                <a:lnTo>
                  <a:pt x="2006" y="1195"/>
                </a:lnTo>
                <a:lnTo>
                  <a:pt x="2006" y="1198"/>
                </a:lnTo>
                <a:lnTo>
                  <a:pt x="2005" y="1202"/>
                </a:lnTo>
                <a:lnTo>
                  <a:pt x="2003" y="1205"/>
                </a:lnTo>
                <a:lnTo>
                  <a:pt x="2001" y="1208"/>
                </a:lnTo>
                <a:lnTo>
                  <a:pt x="1998" y="1210"/>
                </a:lnTo>
                <a:lnTo>
                  <a:pt x="1996" y="1211"/>
                </a:lnTo>
                <a:lnTo>
                  <a:pt x="1993" y="1212"/>
                </a:lnTo>
                <a:lnTo>
                  <a:pt x="1991" y="1212"/>
                </a:lnTo>
                <a:lnTo>
                  <a:pt x="1988" y="1212"/>
                </a:lnTo>
                <a:lnTo>
                  <a:pt x="1985" y="1211"/>
                </a:lnTo>
                <a:lnTo>
                  <a:pt x="1982" y="1210"/>
                </a:lnTo>
                <a:lnTo>
                  <a:pt x="1980" y="1208"/>
                </a:lnTo>
                <a:lnTo>
                  <a:pt x="1978" y="1206"/>
                </a:lnTo>
                <a:lnTo>
                  <a:pt x="1976" y="1203"/>
                </a:lnTo>
                <a:lnTo>
                  <a:pt x="1975" y="1201"/>
                </a:lnTo>
                <a:lnTo>
                  <a:pt x="1974" y="1198"/>
                </a:lnTo>
                <a:lnTo>
                  <a:pt x="1975" y="1194"/>
                </a:lnTo>
                <a:lnTo>
                  <a:pt x="1975" y="1191"/>
                </a:lnTo>
                <a:lnTo>
                  <a:pt x="1977" y="1188"/>
                </a:lnTo>
                <a:lnTo>
                  <a:pt x="1979" y="1185"/>
                </a:lnTo>
                <a:lnTo>
                  <a:pt x="1982" y="1183"/>
                </a:lnTo>
                <a:close/>
                <a:moveTo>
                  <a:pt x="2627" y="745"/>
                </a:moveTo>
                <a:lnTo>
                  <a:pt x="2628" y="744"/>
                </a:lnTo>
                <a:lnTo>
                  <a:pt x="2630" y="744"/>
                </a:lnTo>
                <a:lnTo>
                  <a:pt x="2634" y="743"/>
                </a:lnTo>
                <a:lnTo>
                  <a:pt x="2637" y="743"/>
                </a:lnTo>
                <a:lnTo>
                  <a:pt x="2640" y="744"/>
                </a:lnTo>
                <a:lnTo>
                  <a:pt x="2643" y="746"/>
                </a:lnTo>
                <a:lnTo>
                  <a:pt x="2645" y="748"/>
                </a:lnTo>
                <a:lnTo>
                  <a:pt x="2647" y="750"/>
                </a:lnTo>
                <a:lnTo>
                  <a:pt x="2649" y="752"/>
                </a:lnTo>
                <a:lnTo>
                  <a:pt x="2650" y="755"/>
                </a:lnTo>
                <a:lnTo>
                  <a:pt x="2650" y="758"/>
                </a:lnTo>
                <a:lnTo>
                  <a:pt x="2650" y="763"/>
                </a:lnTo>
                <a:lnTo>
                  <a:pt x="2648" y="767"/>
                </a:lnTo>
                <a:lnTo>
                  <a:pt x="2646" y="770"/>
                </a:lnTo>
                <a:lnTo>
                  <a:pt x="2642" y="772"/>
                </a:lnTo>
                <a:lnTo>
                  <a:pt x="2641" y="773"/>
                </a:lnTo>
                <a:lnTo>
                  <a:pt x="2639" y="774"/>
                </a:lnTo>
                <a:lnTo>
                  <a:pt x="2635" y="775"/>
                </a:lnTo>
                <a:lnTo>
                  <a:pt x="2632" y="774"/>
                </a:lnTo>
                <a:lnTo>
                  <a:pt x="2629" y="773"/>
                </a:lnTo>
                <a:lnTo>
                  <a:pt x="2626" y="772"/>
                </a:lnTo>
                <a:lnTo>
                  <a:pt x="2624" y="770"/>
                </a:lnTo>
                <a:lnTo>
                  <a:pt x="2622" y="768"/>
                </a:lnTo>
                <a:lnTo>
                  <a:pt x="2620" y="765"/>
                </a:lnTo>
                <a:lnTo>
                  <a:pt x="2619" y="762"/>
                </a:lnTo>
                <a:lnTo>
                  <a:pt x="2619" y="759"/>
                </a:lnTo>
                <a:lnTo>
                  <a:pt x="2619" y="755"/>
                </a:lnTo>
                <a:lnTo>
                  <a:pt x="2621" y="751"/>
                </a:lnTo>
                <a:lnTo>
                  <a:pt x="2623" y="748"/>
                </a:lnTo>
                <a:lnTo>
                  <a:pt x="2627" y="745"/>
                </a:lnTo>
                <a:close/>
                <a:moveTo>
                  <a:pt x="2014" y="1043"/>
                </a:moveTo>
                <a:lnTo>
                  <a:pt x="2017" y="1041"/>
                </a:lnTo>
                <a:lnTo>
                  <a:pt x="2020" y="1041"/>
                </a:lnTo>
                <a:lnTo>
                  <a:pt x="2024" y="1041"/>
                </a:lnTo>
                <a:lnTo>
                  <a:pt x="2027" y="1042"/>
                </a:lnTo>
                <a:lnTo>
                  <a:pt x="2029" y="1042"/>
                </a:lnTo>
                <a:lnTo>
                  <a:pt x="2030" y="1043"/>
                </a:lnTo>
                <a:lnTo>
                  <a:pt x="2033" y="1045"/>
                </a:lnTo>
                <a:lnTo>
                  <a:pt x="2035" y="1047"/>
                </a:lnTo>
                <a:lnTo>
                  <a:pt x="2036" y="1050"/>
                </a:lnTo>
                <a:lnTo>
                  <a:pt x="2037" y="1053"/>
                </a:lnTo>
                <a:lnTo>
                  <a:pt x="2037" y="1056"/>
                </a:lnTo>
                <a:lnTo>
                  <a:pt x="2037" y="1059"/>
                </a:lnTo>
                <a:lnTo>
                  <a:pt x="2036" y="1062"/>
                </a:lnTo>
                <a:lnTo>
                  <a:pt x="2035" y="1065"/>
                </a:lnTo>
                <a:lnTo>
                  <a:pt x="2034" y="1067"/>
                </a:lnTo>
                <a:lnTo>
                  <a:pt x="2032" y="1069"/>
                </a:lnTo>
                <a:lnTo>
                  <a:pt x="2030" y="1070"/>
                </a:lnTo>
                <a:lnTo>
                  <a:pt x="2026" y="1071"/>
                </a:lnTo>
                <a:lnTo>
                  <a:pt x="2023" y="1072"/>
                </a:lnTo>
                <a:lnTo>
                  <a:pt x="2020" y="1072"/>
                </a:lnTo>
                <a:lnTo>
                  <a:pt x="2016" y="1071"/>
                </a:lnTo>
                <a:lnTo>
                  <a:pt x="2015" y="1070"/>
                </a:lnTo>
                <a:lnTo>
                  <a:pt x="2013" y="1070"/>
                </a:lnTo>
                <a:lnTo>
                  <a:pt x="2011" y="1068"/>
                </a:lnTo>
                <a:lnTo>
                  <a:pt x="2009" y="1065"/>
                </a:lnTo>
                <a:lnTo>
                  <a:pt x="2007" y="1063"/>
                </a:lnTo>
                <a:lnTo>
                  <a:pt x="2006" y="1060"/>
                </a:lnTo>
                <a:lnTo>
                  <a:pt x="2006" y="1057"/>
                </a:lnTo>
                <a:lnTo>
                  <a:pt x="2006" y="1054"/>
                </a:lnTo>
                <a:lnTo>
                  <a:pt x="2007" y="1051"/>
                </a:lnTo>
                <a:lnTo>
                  <a:pt x="2008" y="1048"/>
                </a:lnTo>
                <a:lnTo>
                  <a:pt x="2010" y="1046"/>
                </a:lnTo>
                <a:lnTo>
                  <a:pt x="2012" y="1044"/>
                </a:lnTo>
                <a:lnTo>
                  <a:pt x="2014" y="1043"/>
                </a:lnTo>
                <a:close/>
                <a:moveTo>
                  <a:pt x="2483" y="758"/>
                </a:moveTo>
                <a:lnTo>
                  <a:pt x="2486" y="757"/>
                </a:lnTo>
                <a:lnTo>
                  <a:pt x="2489" y="756"/>
                </a:lnTo>
                <a:lnTo>
                  <a:pt x="2492" y="756"/>
                </a:lnTo>
                <a:lnTo>
                  <a:pt x="2495" y="756"/>
                </a:lnTo>
                <a:lnTo>
                  <a:pt x="2498" y="757"/>
                </a:lnTo>
                <a:lnTo>
                  <a:pt x="2501" y="759"/>
                </a:lnTo>
                <a:lnTo>
                  <a:pt x="2503" y="761"/>
                </a:lnTo>
                <a:lnTo>
                  <a:pt x="2505" y="763"/>
                </a:lnTo>
                <a:lnTo>
                  <a:pt x="2506" y="766"/>
                </a:lnTo>
                <a:lnTo>
                  <a:pt x="2507" y="769"/>
                </a:lnTo>
                <a:lnTo>
                  <a:pt x="2507" y="774"/>
                </a:lnTo>
                <a:lnTo>
                  <a:pt x="2505" y="778"/>
                </a:lnTo>
                <a:lnTo>
                  <a:pt x="2503" y="782"/>
                </a:lnTo>
                <a:lnTo>
                  <a:pt x="2501" y="784"/>
                </a:lnTo>
                <a:lnTo>
                  <a:pt x="2499" y="785"/>
                </a:lnTo>
                <a:lnTo>
                  <a:pt x="2497" y="786"/>
                </a:lnTo>
                <a:lnTo>
                  <a:pt x="2494" y="787"/>
                </a:lnTo>
                <a:lnTo>
                  <a:pt x="2491" y="787"/>
                </a:lnTo>
                <a:lnTo>
                  <a:pt x="2488" y="787"/>
                </a:lnTo>
                <a:lnTo>
                  <a:pt x="2485" y="786"/>
                </a:lnTo>
                <a:lnTo>
                  <a:pt x="2482" y="784"/>
                </a:lnTo>
                <a:lnTo>
                  <a:pt x="2480" y="782"/>
                </a:lnTo>
                <a:lnTo>
                  <a:pt x="2478" y="780"/>
                </a:lnTo>
                <a:lnTo>
                  <a:pt x="2477" y="777"/>
                </a:lnTo>
                <a:lnTo>
                  <a:pt x="2476" y="774"/>
                </a:lnTo>
                <a:lnTo>
                  <a:pt x="2476" y="769"/>
                </a:lnTo>
                <a:lnTo>
                  <a:pt x="2477" y="765"/>
                </a:lnTo>
                <a:lnTo>
                  <a:pt x="2480" y="761"/>
                </a:lnTo>
                <a:lnTo>
                  <a:pt x="2482" y="759"/>
                </a:lnTo>
                <a:lnTo>
                  <a:pt x="2483" y="758"/>
                </a:lnTo>
                <a:close/>
                <a:moveTo>
                  <a:pt x="2343" y="790"/>
                </a:moveTo>
                <a:lnTo>
                  <a:pt x="2346" y="789"/>
                </a:lnTo>
                <a:lnTo>
                  <a:pt x="2349" y="788"/>
                </a:lnTo>
                <a:lnTo>
                  <a:pt x="2352" y="788"/>
                </a:lnTo>
                <a:lnTo>
                  <a:pt x="2355" y="789"/>
                </a:lnTo>
                <a:lnTo>
                  <a:pt x="2358" y="790"/>
                </a:lnTo>
                <a:lnTo>
                  <a:pt x="2360" y="792"/>
                </a:lnTo>
                <a:lnTo>
                  <a:pt x="2362" y="794"/>
                </a:lnTo>
                <a:lnTo>
                  <a:pt x="2364" y="796"/>
                </a:lnTo>
                <a:lnTo>
                  <a:pt x="2365" y="799"/>
                </a:lnTo>
                <a:lnTo>
                  <a:pt x="2366" y="805"/>
                </a:lnTo>
                <a:lnTo>
                  <a:pt x="2366" y="807"/>
                </a:lnTo>
                <a:lnTo>
                  <a:pt x="2365" y="810"/>
                </a:lnTo>
                <a:lnTo>
                  <a:pt x="2364" y="812"/>
                </a:lnTo>
                <a:lnTo>
                  <a:pt x="2362" y="814"/>
                </a:lnTo>
                <a:lnTo>
                  <a:pt x="2360" y="816"/>
                </a:lnTo>
                <a:lnTo>
                  <a:pt x="2358" y="818"/>
                </a:lnTo>
                <a:lnTo>
                  <a:pt x="2355" y="819"/>
                </a:lnTo>
                <a:lnTo>
                  <a:pt x="2352" y="820"/>
                </a:lnTo>
                <a:lnTo>
                  <a:pt x="2349" y="820"/>
                </a:lnTo>
                <a:lnTo>
                  <a:pt x="2346" y="819"/>
                </a:lnTo>
                <a:lnTo>
                  <a:pt x="2343" y="818"/>
                </a:lnTo>
                <a:lnTo>
                  <a:pt x="2341" y="816"/>
                </a:lnTo>
                <a:lnTo>
                  <a:pt x="2338" y="814"/>
                </a:lnTo>
                <a:lnTo>
                  <a:pt x="2337" y="812"/>
                </a:lnTo>
                <a:lnTo>
                  <a:pt x="2335" y="809"/>
                </a:lnTo>
                <a:lnTo>
                  <a:pt x="2335" y="803"/>
                </a:lnTo>
                <a:lnTo>
                  <a:pt x="2335" y="801"/>
                </a:lnTo>
                <a:lnTo>
                  <a:pt x="2336" y="798"/>
                </a:lnTo>
                <a:lnTo>
                  <a:pt x="2337" y="796"/>
                </a:lnTo>
                <a:lnTo>
                  <a:pt x="2338" y="794"/>
                </a:lnTo>
                <a:lnTo>
                  <a:pt x="2340" y="792"/>
                </a:lnTo>
                <a:lnTo>
                  <a:pt x="2343" y="790"/>
                </a:lnTo>
                <a:close/>
                <a:moveTo>
                  <a:pt x="2091" y="923"/>
                </a:moveTo>
                <a:lnTo>
                  <a:pt x="2093" y="922"/>
                </a:lnTo>
                <a:lnTo>
                  <a:pt x="2096" y="922"/>
                </a:lnTo>
                <a:lnTo>
                  <a:pt x="2098" y="921"/>
                </a:lnTo>
                <a:lnTo>
                  <a:pt x="2101" y="922"/>
                </a:lnTo>
                <a:lnTo>
                  <a:pt x="2103" y="922"/>
                </a:lnTo>
                <a:lnTo>
                  <a:pt x="2106" y="923"/>
                </a:lnTo>
                <a:lnTo>
                  <a:pt x="2108" y="924"/>
                </a:lnTo>
                <a:lnTo>
                  <a:pt x="2110" y="926"/>
                </a:lnTo>
                <a:lnTo>
                  <a:pt x="2112" y="928"/>
                </a:lnTo>
                <a:lnTo>
                  <a:pt x="2113" y="931"/>
                </a:lnTo>
                <a:lnTo>
                  <a:pt x="2114" y="934"/>
                </a:lnTo>
                <a:lnTo>
                  <a:pt x="2114" y="937"/>
                </a:lnTo>
                <a:lnTo>
                  <a:pt x="2114" y="940"/>
                </a:lnTo>
                <a:lnTo>
                  <a:pt x="2113" y="943"/>
                </a:lnTo>
                <a:lnTo>
                  <a:pt x="2112" y="946"/>
                </a:lnTo>
                <a:lnTo>
                  <a:pt x="2110" y="948"/>
                </a:lnTo>
                <a:lnTo>
                  <a:pt x="2107" y="951"/>
                </a:lnTo>
                <a:lnTo>
                  <a:pt x="2104" y="952"/>
                </a:lnTo>
                <a:lnTo>
                  <a:pt x="2102" y="952"/>
                </a:lnTo>
                <a:lnTo>
                  <a:pt x="2099" y="953"/>
                </a:lnTo>
                <a:lnTo>
                  <a:pt x="2097" y="953"/>
                </a:lnTo>
                <a:lnTo>
                  <a:pt x="2094" y="952"/>
                </a:lnTo>
                <a:lnTo>
                  <a:pt x="2092" y="951"/>
                </a:lnTo>
                <a:lnTo>
                  <a:pt x="2090" y="950"/>
                </a:lnTo>
                <a:lnTo>
                  <a:pt x="2088" y="948"/>
                </a:lnTo>
                <a:lnTo>
                  <a:pt x="2086" y="946"/>
                </a:lnTo>
                <a:lnTo>
                  <a:pt x="2084" y="943"/>
                </a:lnTo>
                <a:lnTo>
                  <a:pt x="2083" y="940"/>
                </a:lnTo>
                <a:lnTo>
                  <a:pt x="2083" y="937"/>
                </a:lnTo>
                <a:lnTo>
                  <a:pt x="2083" y="934"/>
                </a:lnTo>
                <a:lnTo>
                  <a:pt x="2084" y="931"/>
                </a:lnTo>
                <a:lnTo>
                  <a:pt x="2086" y="928"/>
                </a:lnTo>
                <a:lnTo>
                  <a:pt x="2088" y="926"/>
                </a:lnTo>
                <a:lnTo>
                  <a:pt x="2091" y="923"/>
                </a:lnTo>
                <a:close/>
                <a:moveTo>
                  <a:pt x="2209" y="843"/>
                </a:moveTo>
                <a:lnTo>
                  <a:pt x="2212" y="841"/>
                </a:lnTo>
                <a:lnTo>
                  <a:pt x="2215" y="841"/>
                </a:lnTo>
                <a:lnTo>
                  <a:pt x="2218" y="841"/>
                </a:lnTo>
                <a:lnTo>
                  <a:pt x="2222" y="841"/>
                </a:lnTo>
                <a:lnTo>
                  <a:pt x="2224" y="843"/>
                </a:lnTo>
                <a:lnTo>
                  <a:pt x="2227" y="844"/>
                </a:lnTo>
                <a:lnTo>
                  <a:pt x="2229" y="847"/>
                </a:lnTo>
                <a:lnTo>
                  <a:pt x="2231" y="849"/>
                </a:lnTo>
                <a:lnTo>
                  <a:pt x="2232" y="852"/>
                </a:lnTo>
                <a:lnTo>
                  <a:pt x="2232" y="855"/>
                </a:lnTo>
                <a:lnTo>
                  <a:pt x="2232" y="858"/>
                </a:lnTo>
                <a:lnTo>
                  <a:pt x="2231" y="861"/>
                </a:lnTo>
                <a:lnTo>
                  <a:pt x="2230" y="864"/>
                </a:lnTo>
                <a:lnTo>
                  <a:pt x="2229" y="866"/>
                </a:lnTo>
                <a:lnTo>
                  <a:pt x="2227" y="868"/>
                </a:lnTo>
                <a:lnTo>
                  <a:pt x="2224" y="870"/>
                </a:lnTo>
                <a:lnTo>
                  <a:pt x="2221" y="871"/>
                </a:lnTo>
                <a:lnTo>
                  <a:pt x="2218" y="872"/>
                </a:lnTo>
                <a:lnTo>
                  <a:pt x="2215" y="872"/>
                </a:lnTo>
                <a:lnTo>
                  <a:pt x="2211" y="871"/>
                </a:lnTo>
                <a:lnTo>
                  <a:pt x="2209" y="870"/>
                </a:lnTo>
                <a:lnTo>
                  <a:pt x="2206" y="868"/>
                </a:lnTo>
                <a:lnTo>
                  <a:pt x="2204" y="866"/>
                </a:lnTo>
                <a:lnTo>
                  <a:pt x="2202" y="863"/>
                </a:lnTo>
                <a:lnTo>
                  <a:pt x="2201" y="860"/>
                </a:lnTo>
                <a:lnTo>
                  <a:pt x="2201" y="857"/>
                </a:lnTo>
                <a:lnTo>
                  <a:pt x="2201" y="854"/>
                </a:lnTo>
                <a:lnTo>
                  <a:pt x="2202" y="852"/>
                </a:lnTo>
                <a:lnTo>
                  <a:pt x="2203" y="849"/>
                </a:lnTo>
                <a:lnTo>
                  <a:pt x="2204" y="847"/>
                </a:lnTo>
                <a:lnTo>
                  <a:pt x="2206" y="844"/>
                </a:lnTo>
                <a:lnTo>
                  <a:pt x="2209" y="843"/>
                </a:lnTo>
                <a:close/>
                <a:moveTo>
                  <a:pt x="4748" y="1857"/>
                </a:moveTo>
                <a:lnTo>
                  <a:pt x="4751" y="1855"/>
                </a:lnTo>
                <a:lnTo>
                  <a:pt x="4755" y="1855"/>
                </a:lnTo>
                <a:lnTo>
                  <a:pt x="4758" y="1855"/>
                </a:lnTo>
                <a:lnTo>
                  <a:pt x="4762" y="1856"/>
                </a:lnTo>
                <a:lnTo>
                  <a:pt x="4764" y="1857"/>
                </a:lnTo>
                <a:lnTo>
                  <a:pt x="4767" y="1859"/>
                </a:lnTo>
                <a:lnTo>
                  <a:pt x="4769" y="1861"/>
                </a:lnTo>
                <a:lnTo>
                  <a:pt x="4770" y="1864"/>
                </a:lnTo>
                <a:lnTo>
                  <a:pt x="4771" y="1867"/>
                </a:lnTo>
                <a:lnTo>
                  <a:pt x="4772" y="1870"/>
                </a:lnTo>
                <a:lnTo>
                  <a:pt x="4771" y="1873"/>
                </a:lnTo>
                <a:lnTo>
                  <a:pt x="4770" y="1876"/>
                </a:lnTo>
                <a:lnTo>
                  <a:pt x="4769" y="1878"/>
                </a:lnTo>
                <a:lnTo>
                  <a:pt x="4768" y="1880"/>
                </a:lnTo>
                <a:lnTo>
                  <a:pt x="4766" y="1882"/>
                </a:lnTo>
                <a:lnTo>
                  <a:pt x="4764" y="1884"/>
                </a:lnTo>
                <a:lnTo>
                  <a:pt x="4761" y="1885"/>
                </a:lnTo>
                <a:lnTo>
                  <a:pt x="4757" y="1886"/>
                </a:lnTo>
                <a:lnTo>
                  <a:pt x="4754" y="1886"/>
                </a:lnTo>
                <a:lnTo>
                  <a:pt x="4750" y="1885"/>
                </a:lnTo>
                <a:lnTo>
                  <a:pt x="4749" y="1884"/>
                </a:lnTo>
                <a:lnTo>
                  <a:pt x="4747" y="1883"/>
                </a:lnTo>
                <a:lnTo>
                  <a:pt x="4745" y="1881"/>
                </a:lnTo>
                <a:lnTo>
                  <a:pt x="4743" y="1879"/>
                </a:lnTo>
                <a:lnTo>
                  <a:pt x="4742" y="1876"/>
                </a:lnTo>
                <a:lnTo>
                  <a:pt x="4741" y="1874"/>
                </a:lnTo>
                <a:lnTo>
                  <a:pt x="4740" y="1871"/>
                </a:lnTo>
                <a:lnTo>
                  <a:pt x="4741" y="1868"/>
                </a:lnTo>
                <a:lnTo>
                  <a:pt x="4742" y="1865"/>
                </a:lnTo>
                <a:lnTo>
                  <a:pt x="4743" y="1862"/>
                </a:lnTo>
                <a:lnTo>
                  <a:pt x="4744" y="1860"/>
                </a:lnTo>
                <a:lnTo>
                  <a:pt x="4746" y="1858"/>
                </a:lnTo>
                <a:lnTo>
                  <a:pt x="4748" y="1857"/>
                </a:lnTo>
                <a:close/>
                <a:moveTo>
                  <a:pt x="4616" y="1800"/>
                </a:moveTo>
                <a:lnTo>
                  <a:pt x="4619" y="1798"/>
                </a:lnTo>
                <a:lnTo>
                  <a:pt x="4623" y="1798"/>
                </a:lnTo>
                <a:lnTo>
                  <a:pt x="4627" y="1798"/>
                </a:lnTo>
                <a:lnTo>
                  <a:pt x="4630" y="1799"/>
                </a:lnTo>
                <a:lnTo>
                  <a:pt x="4633" y="1801"/>
                </a:lnTo>
                <a:lnTo>
                  <a:pt x="4635" y="1803"/>
                </a:lnTo>
                <a:lnTo>
                  <a:pt x="4637" y="1805"/>
                </a:lnTo>
                <a:lnTo>
                  <a:pt x="4638" y="1808"/>
                </a:lnTo>
                <a:lnTo>
                  <a:pt x="4639" y="1811"/>
                </a:lnTo>
                <a:lnTo>
                  <a:pt x="4639" y="1814"/>
                </a:lnTo>
                <a:lnTo>
                  <a:pt x="4639" y="1817"/>
                </a:lnTo>
                <a:lnTo>
                  <a:pt x="4638" y="1820"/>
                </a:lnTo>
                <a:lnTo>
                  <a:pt x="4636" y="1822"/>
                </a:lnTo>
                <a:lnTo>
                  <a:pt x="4635" y="1824"/>
                </a:lnTo>
                <a:lnTo>
                  <a:pt x="4633" y="1826"/>
                </a:lnTo>
                <a:lnTo>
                  <a:pt x="4631" y="1827"/>
                </a:lnTo>
                <a:lnTo>
                  <a:pt x="4628" y="1828"/>
                </a:lnTo>
                <a:lnTo>
                  <a:pt x="4624" y="1829"/>
                </a:lnTo>
                <a:lnTo>
                  <a:pt x="4621" y="1829"/>
                </a:lnTo>
                <a:lnTo>
                  <a:pt x="4617" y="1827"/>
                </a:lnTo>
                <a:lnTo>
                  <a:pt x="4614" y="1826"/>
                </a:lnTo>
                <a:lnTo>
                  <a:pt x="4612" y="1824"/>
                </a:lnTo>
                <a:lnTo>
                  <a:pt x="4610" y="1821"/>
                </a:lnTo>
                <a:lnTo>
                  <a:pt x="4609" y="1819"/>
                </a:lnTo>
                <a:lnTo>
                  <a:pt x="4608" y="1816"/>
                </a:lnTo>
                <a:lnTo>
                  <a:pt x="4608" y="1813"/>
                </a:lnTo>
                <a:lnTo>
                  <a:pt x="4608" y="1810"/>
                </a:lnTo>
                <a:lnTo>
                  <a:pt x="4609" y="1807"/>
                </a:lnTo>
                <a:lnTo>
                  <a:pt x="4611" y="1805"/>
                </a:lnTo>
                <a:lnTo>
                  <a:pt x="4612" y="1803"/>
                </a:lnTo>
                <a:lnTo>
                  <a:pt x="4614" y="1801"/>
                </a:lnTo>
                <a:lnTo>
                  <a:pt x="4616" y="1800"/>
                </a:lnTo>
                <a:close/>
                <a:moveTo>
                  <a:pt x="4488" y="1732"/>
                </a:moveTo>
                <a:lnTo>
                  <a:pt x="4492" y="1731"/>
                </a:lnTo>
                <a:lnTo>
                  <a:pt x="4496" y="1730"/>
                </a:lnTo>
                <a:lnTo>
                  <a:pt x="4500" y="1730"/>
                </a:lnTo>
                <a:lnTo>
                  <a:pt x="4504" y="1732"/>
                </a:lnTo>
                <a:lnTo>
                  <a:pt x="4506" y="1734"/>
                </a:lnTo>
                <a:lnTo>
                  <a:pt x="4508" y="1736"/>
                </a:lnTo>
                <a:lnTo>
                  <a:pt x="4510" y="1739"/>
                </a:lnTo>
                <a:lnTo>
                  <a:pt x="4511" y="1741"/>
                </a:lnTo>
                <a:lnTo>
                  <a:pt x="4511" y="1744"/>
                </a:lnTo>
                <a:lnTo>
                  <a:pt x="4511" y="1747"/>
                </a:lnTo>
                <a:lnTo>
                  <a:pt x="4511" y="1750"/>
                </a:lnTo>
                <a:lnTo>
                  <a:pt x="4509" y="1753"/>
                </a:lnTo>
                <a:lnTo>
                  <a:pt x="4507" y="1757"/>
                </a:lnTo>
                <a:lnTo>
                  <a:pt x="4504" y="1759"/>
                </a:lnTo>
                <a:lnTo>
                  <a:pt x="4500" y="1760"/>
                </a:lnTo>
                <a:lnTo>
                  <a:pt x="4496" y="1761"/>
                </a:lnTo>
                <a:lnTo>
                  <a:pt x="4492" y="1761"/>
                </a:lnTo>
                <a:lnTo>
                  <a:pt x="4488" y="1759"/>
                </a:lnTo>
                <a:lnTo>
                  <a:pt x="4486" y="1757"/>
                </a:lnTo>
                <a:lnTo>
                  <a:pt x="4484" y="1755"/>
                </a:lnTo>
                <a:lnTo>
                  <a:pt x="4482" y="1752"/>
                </a:lnTo>
                <a:lnTo>
                  <a:pt x="4481" y="1750"/>
                </a:lnTo>
                <a:lnTo>
                  <a:pt x="4480" y="1747"/>
                </a:lnTo>
                <a:lnTo>
                  <a:pt x="4481" y="1744"/>
                </a:lnTo>
                <a:lnTo>
                  <a:pt x="4481" y="1741"/>
                </a:lnTo>
                <a:lnTo>
                  <a:pt x="4482" y="1738"/>
                </a:lnTo>
                <a:lnTo>
                  <a:pt x="4485" y="1735"/>
                </a:lnTo>
                <a:lnTo>
                  <a:pt x="4488" y="1732"/>
                </a:lnTo>
                <a:close/>
                <a:moveTo>
                  <a:pt x="4363" y="1661"/>
                </a:moveTo>
                <a:lnTo>
                  <a:pt x="4367" y="1660"/>
                </a:lnTo>
                <a:lnTo>
                  <a:pt x="4370" y="1659"/>
                </a:lnTo>
                <a:lnTo>
                  <a:pt x="4374" y="1659"/>
                </a:lnTo>
                <a:lnTo>
                  <a:pt x="4378" y="1661"/>
                </a:lnTo>
                <a:lnTo>
                  <a:pt x="4381" y="1663"/>
                </a:lnTo>
                <a:lnTo>
                  <a:pt x="4383" y="1665"/>
                </a:lnTo>
                <a:lnTo>
                  <a:pt x="4385" y="1668"/>
                </a:lnTo>
                <a:lnTo>
                  <a:pt x="4386" y="1670"/>
                </a:lnTo>
                <a:lnTo>
                  <a:pt x="4386" y="1673"/>
                </a:lnTo>
                <a:lnTo>
                  <a:pt x="4386" y="1676"/>
                </a:lnTo>
                <a:lnTo>
                  <a:pt x="4385" y="1679"/>
                </a:lnTo>
                <a:lnTo>
                  <a:pt x="4384" y="1682"/>
                </a:lnTo>
                <a:lnTo>
                  <a:pt x="4383" y="1684"/>
                </a:lnTo>
                <a:lnTo>
                  <a:pt x="4382" y="1685"/>
                </a:lnTo>
                <a:lnTo>
                  <a:pt x="4378" y="1688"/>
                </a:lnTo>
                <a:lnTo>
                  <a:pt x="4375" y="1689"/>
                </a:lnTo>
                <a:lnTo>
                  <a:pt x="4371" y="1690"/>
                </a:lnTo>
                <a:lnTo>
                  <a:pt x="4367" y="1690"/>
                </a:lnTo>
                <a:lnTo>
                  <a:pt x="4363" y="1688"/>
                </a:lnTo>
                <a:lnTo>
                  <a:pt x="4360" y="1686"/>
                </a:lnTo>
                <a:lnTo>
                  <a:pt x="4358" y="1684"/>
                </a:lnTo>
                <a:lnTo>
                  <a:pt x="4357" y="1681"/>
                </a:lnTo>
                <a:lnTo>
                  <a:pt x="4356" y="1679"/>
                </a:lnTo>
                <a:lnTo>
                  <a:pt x="4355" y="1676"/>
                </a:lnTo>
                <a:lnTo>
                  <a:pt x="4355" y="1673"/>
                </a:lnTo>
                <a:lnTo>
                  <a:pt x="4356" y="1670"/>
                </a:lnTo>
                <a:lnTo>
                  <a:pt x="4357" y="1667"/>
                </a:lnTo>
                <a:lnTo>
                  <a:pt x="4358" y="1665"/>
                </a:lnTo>
                <a:lnTo>
                  <a:pt x="4360" y="1664"/>
                </a:lnTo>
                <a:lnTo>
                  <a:pt x="4363" y="1661"/>
                </a:lnTo>
                <a:close/>
                <a:moveTo>
                  <a:pt x="4237" y="1591"/>
                </a:moveTo>
                <a:lnTo>
                  <a:pt x="4241" y="1589"/>
                </a:lnTo>
                <a:lnTo>
                  <a:pt x="4245" y="1589"/>
                </a:lnTo>
                <a:lnTo>
                  <a:pt x="4247" y="1589"/>
                </a:lnTo>
                <a:lnTo>
                  <a:pt x="4249" y="1589"/>
                </a:lnTo>
                <a:lnTo>
                  <a:pt x="4252" y="1591"/>
                </a:lnTo>
                <a:lnTo>
                  <a:pt x="4255" y="1593"/>
                </a:lnTo>
                <a:lnTo>
                  <a:pt x="4257" y="1595"/>
                </a:lnTo>
                <a:lnTo>
                  <a:pt x="4259" y="1597"/>
                </a:lnTo>
                <a:lnTo>
                  <a:pt x="4260" y="1600"/>
                </a:lnTo>
                <a:lnTo>
                  <a:pt x="4260" y="1603"/>
                </a:lnTo>
                <a:lnTo>
                  <a:pt x="4260" y="1606"/>
                </a:lnTo>
                <a:lnTo>
                  <a:pt x="4260" y="1609"/>
                </a:lnTo>
                <a:lnTo>
                  <a:pt x="4258" y="1612"/>
                </a:lnTo>
                <a:lnTo>
                  <a:pt x="4256" y="1615"/>
                </a:lnTo>
                <a:lnTo>
                  <a:pt x="4253" y="1618"/>
                </a:lnTo>
                <a:lnTo>
                  <a:pt x="4249" y="1619"/>
                </a:lnTo>
                <a:lnTo>
                  <a:pt x="4245" y="1620"/>
                </a:lnTo>
                <a:lnTo>
                  <a:pt x="4243" y="1620"/>
                </a:lnTo>
                <a:lnTo>
                  <a:pt x="4241" y="1620"/>
                </a:lnTo>
                <a:lnTo>
                  <a:pt x="4237" y="1618"/>
                </a:lnTo>
                <a:lnTo>
                  <a:pt x="4235" y="1616"/>
                </a:lnTo>
                <a:lnTo>
                  <a:pt x="4233" y="1614"/>
                </a:lnTo>
                <a:lnTo>
                  <a:pt x="4231" y="1612"/>
                </a:lnTo>
                <a:lnTo>
                  <a:pt x="4230" y="1609"/>
                </a:lnTo>
                <a:lnTo>
                  <a:pt x="4229" y="1606"/>
                </a:lnTo>
                <a:lnTo>
                  <a:pt x="4229" y="1603"/>
                </a:lnTo>
                <a:lnTo>
                  <a:pt x="4230" y="1600"/>
                </a:lnTo>
                <a:lnTo>
                  <a:pt x="4231" y="1597"/>
                </a:lnTo>
                <a:lnTo>
                  <a:pt x="4234" y="1594"/>
                </a:lnTo>
                <a:lnTo>
                  <a:pt x="4237" y="1591"/>
                </a:lnTo>
                <a:close/>
                <a:moveTo>
                  <a:pt x="4111" y="1522"/>
                </a:moveTo>
                <a:lnTo>
                  <a:pt x="4112" y="1521"/>
                </a:lnTo>
                <a:lnTo>
                  <a:pt x="4114" y="1521"/>
                </a:lnTo>
                <a:lnTo>
                  <a:pt x="4118" y="1520"/>
                </a:lnTo>
                <a:lnTo>
                  <a:pt x="4120" y="1520"/>
                </a:lnTo>
                <a:lnTo>
                  <a:pt x="4122" y="1521"/>
                </a:lnTo>
                <a:lnTo>
                  <a:pt x="4126" y="1522"/>
                </a:lnTo>
                <a:lnTo>
                  <a:pt x="4128" y="1524"/>
                </a:lnTo>
                <a:lnTo>
                  <a:pt x="4130" y="1526"/>
                </a:lnTo>
                <a:lnTo>
                  <a:pt x="4132" y="1528"/>
                </a:lnTo>
                <a:lnTo>
                  <a:pt x="4133" y="1531"/>
                </a:lnTo>
                <a:lnTo>
                  <a:pt x="4134" y="1534"/>
                </a:lnTo>
                <a:lnTo>
                  <a:pt x="4134" y="1537"/>
                </a:lnTo>
                <a:lnTo>
                  <a:pt x="4133" y="1540"/>
                </a:lnTo>
                <a:lnTo>
                  <a:pt x="4132" y="1543"/>
                </a:lnTo>
                <a:lnTo>
                  <a:pt x="4129" y="1547"/>
                </a:lnTo>
                <a:lnTo>
                  <a:pt x="4128" y="1548"/>
                </a:lnTo>
                <a:lnTo>
                  <a:pt x="4126" y="1549"/>
                </a:lnTo>
                <a:lnTo>
                  <a:pt x="4124" y="1550"/>
                </a:lnTo>
                <a:lnTo>
                  <a:pt x="4123" y="1551"/>
                </a:lnTo>
                <a:lnTo>
                  <a:pt x="4119" y="1551"/>
                </a:lnTo>
                <a:lnTo>
                  <a:pt x="4117" y="1551"/>
                </a:lnTo>
                <a:lnTo>
                  <a:pt x="4115" y="1551"/>
                </a:lnTo>
                <a:lnTo>
                  <a:pt x="4111" y="1549"/>
                </a:lnTo>
                <a:lnTo>
                  <a:pt x="4108" y="1548"/>
                </a:lnTo>
                <a:lnTo>
                  <a:pt x="4106" y="1545"/>
                </a:lnTo>
                <a:lnTo>
                  <a:pt x="4105" y="1543"/>
                </a:lnTo>
                <a:lnTo>
                  <a:pt x="4103" y="1540"/>
                </a:lnTo>
                <a:lnTo>
                  <a:pt x="4103" y="1537"/>
                </a:lnTo>
                <a:lnTo>
                  <a:pt x="4103" y="1534"/>
                </a:lnTo>
                <a:lnTo>
                  <a:pt x="4103" y="1531"/>
                </a:lnTo>
                <a:lnTo>
                  <a:pt x="4105" y="1528"/>
                </a:lnTo>
                <a:lnTo>
                  <a:pt x="4107" y="1525"/>
                </a:lnTo>
                <a:lnTo>
                  <a:pt x="4109" y="1523"/>
                </a:lnTo>
                <a:lnTo>
                  <a:pt x="4111" y="1522"/>
                </a:lnTo>
                <a:close/>
                <a:moveTo>
                  <a:pt x="3982" y="1455"/>
                </a:moveTo>
                <a:lnTo>
                  <a:pt x="3984" y="1454"/>
                </a:lnTo>
                <a:lnTo>
                  <a:pt x="3986" y="1454"/>
                </a:lnTo>
                <a:lnTo>
                  <a:pt x="3989" y="1453"/>
                </a:lnTo>
                <a:lnTo>
                  <a:pt x="3993" y="1454"/>
                </a:lnTo>
                <a:lnTo>
                  <a:pt x="3997" y="1455"/>
                </a:lnTo>
                <a:lnTo>
                  <a:pt x="4000" y="1457"/>
                </a:lnTo>
                <a:lnTo>
                  <a:pt x="4002" y="1459"/>
                </a:lnTo>
                <a:lnTo>
                  <a:pt x="4003" y="1461"/>
                </a:lnTo>
                <a:lnTo>
                  <a:pt x="4005" y="1464"/>
                </a:lnTo>
                <a:lnTo>
                  <a:pt x="4005" y="1470"/>
                </a:lnTo>
                <a:lnTo>
                  <a:pt x="4005" y="1473"/>
                </a:lnTo>
                <a:lnTo>
                  <a:pt x="4004" y="1476"/>
                </a:lnTo>
                <a:lnTo>
                  <a:pt x="4001" y="1480"/>
                </a:lnTo>
                <a:lnTo>
                  <a:pt x="3998" y="1482"/>
                </a:lnTo>
                <a:lnTo>
                  <a:pt x="3996" y="1483"/>
                </a:lnTo>
                <a:lnTo>
                  <a:pt x="3994" y="1484"/>
                </a:lnTo>
                <a:lnTo>
                  <a:pt x="3990" y="1484"/>
                </a:lnTo>
                <a:lnTo>
                  <a:pt x="3987" y="1484"/>
                </a:lnTo>
                <a:lnTo>
                  <a:pt x="3983" y="1483"/>
                </a:lnTo>
                <a:lnTo>
                  <a:pt x="3980" y="1481"/>
                </a:lnTo>
                <a:lnTo>
                  <a:pt x="3978" y="1479"/>
                </a:lnTo>
                <a:lnTo>
                  <a:pt x="3976" y="1476"/>
                </a:lnTo>
                <a:lnTo>
                  <a:pt x="3975" y="1474"/>
                </a:lnTo>
                <a:lnTo>
                  <a:pt x="3974" y="1468"/>
                </a:lnTo>
                <a:lnTo>
                  <a:pt x="3975" y="1465"/>
                </a:lnTo>
                <a:lnTo>
                  <a:pt x="3976" y="1462"/>
                </a:lnTo>
                <a:lnTo>
                  <a:pt x="3979" y="1458"/>
                </a:lnTo>
                <a:lnTo>
                  <a:pt x="3982" y="1455"/>
                </a:lnTo>
                <a:close/>
                <a:moveTo>
                  <a:pt x="3853" y="1391"/>
                </a:moveTo>
                <a:lnTo>
                  <a:pt x="3857" y="1389"/>
                </a:lnTo>
                <a:lnTo>
                  <a:pt x="3860" y="1389"/>
                </a:lnTo>
                <a:lnTo>
                  <a:pt x="3864" y="1389"/>
                </a:lnTo>
                <a:lnTo>
                  <a:pt x="3868" y="1390"/>
                </a:lnTo>
                <a:lnTo>
                  <a:pt x="3871" y="1392"/>
                </a:lnTo>
                <a:lnTo>
                  <a:pt x="3873" y="1394"/>
                </a:lnTo>
                <a:lnTo>
                  <a:pt x="3875" y="1397"/>
                </a:lnTo>
                <a:lnTo>
                  <a:pt x="3876" y="1399"/>
                </a:lnTo>
                <a:lnTo>
                  <a:pt x="3876" y="1402"/>
                </a:lnTo>
                <a:lnTo>
                  <a:pt x="3877" y="1405"/>
                </a:lnTo>
                <a:lnTo>
                  <a:pt x="3876" y="1408"/>
                </a:lnTo>
                <a:lnTo>
                  <a:pt x="3875" y="1411"/>
                </a:lnTo>
                <a:lnTo>
                  <a:pt x="3874" y="1413"/>
                </a:lnTo>
                <a:lnTo>
                  <a:pt x="3872" y="1415"/>
                </a:lnTo>
                <a:lnTo>
                  <a:pt x="3869" y="1418"/>
                </a:lnTo>
                <a:lnTo>
                  <a:pt x="3865" y="1419"/>
                </a:lnTo>
                <a:lnTo>
                  <a:pt x="3862" y="1420"/>
                </a:lnTo>
                <a:lnTo>
                  <a:pt x="3858" y="1420"/>
                </a:lnTo>
                <a:lnTo>
                  <a:pt x="3854" y="1418"/>
                </a:lnTo>
                <a:lnTo>
                  <a:pt x="3852" y="1417"/>
                </a:lnTo>
                <a:lnTo>
                  <a:pt x="3849" y="1415"/>
                </a:lnTo>
                <a:lnTo>
                  <a:pt x="3848" y="1412"/>
                </a:lnTo>
                <a:lnTo>
                  <a:pt x="3846" y="1409"/>
                </a:lnTo>
                <a:lnTo>
                  <a:pt x="3846" y="1407"/>
                </a:lnTo>
                <a:lnTo>
                  <a:pt x="3846" y="1404"/>
                </a:lnTo>
                <a:lnTo>
                  <a:pt x="3846" y="1400"/>
                </a:lnTo>
                <a:lnTo>
                  <a:pt x="3847" y="1398"/>
                </a:lnTo>
                <a:lnTo>
                  <a:pt x="3848" y="1395"/>
                </a:lnTo>
                <a:lnTo>
                  <a:pt x="3850" y="1394"/>
                </a:lnTo>
                <a:lnTo>
                  <a:pt x="3853" y="1391"/>
                </a:lnTo>
                <a:close/>
                <a:moveTo>
                  <a:pt x="3723" y="1330"/>
                </a:moveTo>
                <a:lnTo>
                  <a:pt x="3726" y="1328"/>
                </a:lnTo>
                <a:lnTo>
                  <a:pt x="3730" y="1328"/>
                </a:lnTo>
                <a:lnTo>
                  <a:pt x="3734" y="1328"/>
                </a:lnTo>
                <a:lnTo>
                  <a:pt x="3735" y="1328"/>
                </a:lnTo>
                <a:lnTo>
                  <a:pt x="3737" y="1329"/>
                </a:lnTo>
                <a:lnTo>
                  <a:pt x="3740" y="1331"/>
                </a:lnTo>
                <a:lnTo>
                  <a:pt x="3742" y="1333"/>
                </a:lnTo>
                <a:lnTo>
                  <a:pt x="3744" y="1335"/>
                </a:lnTo>
                <a:lnTo>
                  <a:pt x="3745" y="1338"/>
                </a:lnTo>
                <a:lnTo>
                  <a:pt x="3746" y="1341"/>
                </a:lnTo>
                <a:lnTo>
                  <a:pt x="3746" y="1344"/>
                </a:lnTo>
                <a:lnTo>
                  <a:pt x="3746" y="1347"/>
                </a:lnTo>
                <a:lnTo>
                  <a:pt x="3745" y="1350"/>
                </a:lnTo>
                <a:lnTo>
                  <a:pt x="3744" y="1352"/>
                </a:lnTo>
                <a:lnTo>
                  <a:pt x="3742" y="1354"/>
                </a:lnTo>
                <a:lnTo>
                  <a:pt x="3741" y="1355"/>
                </a:lnTo>
                <a:lnTo>
                  <a:pt x="3739" y="1357"/>
                </a:lnTo>
                <a:lnTo>
                  <a:pt x="3735" y="1358"/>
                </a:lnTo>
                <a:lnTo>
                  <a:pt x="3732" y="1359"/>
                </a:lnTo>
                <a:lnTo>
                  <a:pt x="3728" y="1358"/>
                </a:lnTo>
                <a:lnTo>
                  <a:pt x="3726" y="1358"/>
                </a:lnTo>
                <a:lnTo>
                  <a:pt x="3724" y="1357"/>
                </a:lnTo>
                <a:lnTo>
                  <a:pt x="3722" y="1356"/>
                </a:lnTo>
                <a:lnTo>
                  <a:pt x="3719" y="1354"/>
                </a:lnTo>
                <a:lnTo>
                  <a:pt x="3718" y="1351"/>
                </a:lnTo>
                <a:lnTo>
                  <a:pt x="3716" y="1349"/>
                </a:lnTo>
                <a:lnTo>
                  <a:pt x="3715" y="1346"/>
                </a:lnTo>
                <a:lnTo>
                  <a:pt x="3715" y="1343"/>
                </a:lnTo>
                <a:lnTo>
                  <a:pt x="3716" y="1340"/>
                </a:lnTo>
                <a:lnTo>
                  <a:pt x="3717" y="1337"/>
                </a:lnTo>
                <a:lnTo>
                  <a:pt x="3718" y="1335"/>
                </a:lnTo>
                <a:lnTo>
                  <a:pt x="3719" y="1333"/>
                </a:lnTo>
                <a:lnTo>
                  <a:pt x="3721" y="1331"/>
                </a:lnTo>
                <a:lnTo>
                  <a:pt x="3723" y="1330"/>
                </a:lnTo>
                <a:close/>
                <a:moveTo>
                  <a:pt x="1967" y="2343"/>
                </a:moveTo>
                <a:lnTo>
                  <a:pt x="1969" y="2342"/>
                </a:lnTo>
                <a:lnTo>
                  <a:pt x="1972" y="2341"/>
                </a:lnTo>
                <a:lnTo>
                  <a:pt x="1977" y="2341"/>
                </a:lnTo>
                <a:lnTo>
                  <a:pt x="1979" y="2342"/>
                </a:lnTo>
                <a:lnTo>
                  <a:pt x="1982" y="2343"/>
                </a:lnTo>
                <a:lnTo>
                  <a:pt x="1984" y="2344"/>
                </a:lnTo>
                <a:lnTo>
                  <a:pt x="1986" y="2346"/>
                </a:lnTo>
                <a:lnTo>
                  <a:pt x="1988" y="2348"/>
                </a:lnTo>
                <a:lnTo>
                  <a:pt x="1989" y="2351"/>
                </a:lnTo>
                <a:lnTo>
                  <a:pt x="1990" y="2354"/>
                </a:lnTo>
                <a:lnTo>
                  <a:pt x="1990" y="2357"/>
                </a:lnTo>
                <a:lnTo>
                  <a:pt x="1990" y="2360"/>
                </a:lnTo>
                <a:lnTo>
                  <a:pt x="1989" y="2363"/>
                </a:lnTo>
                <a:lnTo>
                  <a:pt x="1988" y="2365"/>
                </a:lnTo>
                <a:lnTo>
                  <a:pt x="1986" y="2368"/>
                </a:lnTo>
                <a:lnTo>
                  <a:pt x="1982" y="2370"/>
                </a:lnTo>
                <a:lnTo>
                  <a:pt x="1978" y="2372"/>
                </a:lnTo>
                <a:lnTo>
                  <a:pt x="1973" y="2372"/>
                </a:lnTo>
                <a:lnTo>
                  <a:pt x="1970" y="2371"/>
                </a:lnTo>
                <a:lnTo>
                  <a:pt x="1968" y="2370"/>
                </a:lnTo>
                <a:lnTo>
                  <a:pt x="1966" y="2369"/>
                </a:lnTo>
                <a:lnTo>
                  <a:pt x="1964" y="2367"/>
                </a:lnTo>
                <a:lnTo>
                  <a:pt x="1962" y="2365"/>
                </a:lnTo>
                <a:lnTo>
                  <a:pt x="1960" y="2362"/>
                </a:lnTo>
                <a:lnTo>
                  <a:pt x="1959" y="2359"/>
                </a:lnTo>
                <a:lnTo>
                  <a:pt x="1959" y="2356"/>
                </a:lnTo>
                <a:lnTo>
                  <a:pt x="1959" y="2353"/>
                </a:lnTo>
                <a:lnTo>
                  <a:pt x="1960" y="2350"/>
                </a:lnTo>
                <a:lnTo>
                  <a:pt x="1962" y="2348"/>
                </a:lnTo>
                <a:lnTo>
                  <a:pt x="1964" y="2345"/>
                </a:lnTo>
                <a:lnTo>
                  <a:pt x="1967" y="2343"/>
                </a:lnTo>
                <a:close/>
                <a:moveTo>
                  <a:pt x="2063" y="2236"/>
                </a:moveTo>
                <a:lnTo>
                  <a:pt x="2067" y="2234"/>
                </a:lnTo>
                <a:lnTo>
                  <a:pt x="2071" y="2234"/>
                </a:lnTo>
                <a:lnTo>
                  <a:pt x="2073" y="2234"/>
                </a:lnTo>
                <a:lnTo>
                  <a:pt x="2076" y="2235"/>
                </a:lnTo>
                <a:lnTo>
                  <a:pt x="2078" y="2236"/>
                </a:lnTo>
                <a:lnTo>
                  <a:pt x="2080" y="2237"/>
                </a:lnTo>
                <a:lnTo>
                  <a:pt x="2082" y="2239"/>
                </a:lnTo>
                <a:lnTo>
                  <a:pt x="2084" y="2242"/>
                </a:lnTo>
                <a:lnTo>
                  <a:pt x="2085" y="2245"/>
                </a:lnTo>
                <a:lnTo>
                  <a:pt x="2086" y="2248"/>
                </a:lnTo>
                <a:lnTo>
                  <a:pt x="2086" y="2251"/>
                </a:lnTo>
                <a:lnTo>
                  <a:pt x="2085" y="2254"/>
                </a:lnTo>
                <a:lnTo>
                  <a:pt x="2084" y="2256"/>
                </a:lnTo>
                <a:lnTo>
                  <a:pt x="2083" y="2259"/>
                </a:lnTo>
                <a:lnTo>
                  <a:pt x="2081" y="2261"/>
                </a:lnTo>
                <a:lnTo>
                  <a:pt x="2078" y="2263"/>
                </a:lnTo>
                <a:lnTo>
                  <a:pt x="2074" y="2265"/>
                </a:lnTo>
                <a:lnTo>
                  <a:pt x="2069" y="2265"/>
                </a:lnTo>
                <a:lnTo>
                  <a:pt x="2067" y="2265"/>
                </a:lnTo>
                <a:lnTo>
                  <a:pt x="2065" y="2264"/>
                </a:lnTo>
                <a:lnTo>
                  <a:pt x="2063" y="2263"/>
                </a:lnTo>
                <a:lnTo>
                  <a:pt x="2061" y="2262"/>
                </a:lnTo>
                <a:lnTo>
                  <a:pt x="2059" y="2260"/>
                </a:lnTo>
                <a:lnTo>
                  <a:pt x="2057" y="2257"/>
                </a:lnTo>
                <a:lnTo>
                  <a:pt x="2056" y="2255"/>
                </a:lnTo>
                <a:lnTo>
                  <a:pt x="2055" y="2252"/>
                </a:lnTo>
                <a:lnTo>
                  <a:pt x="2055" y="2249"/>
                </a:lnTo>
                <a:lnTo>
                  <a:pt x="2055" y="2246"/>
                </a:lnTo>
                <a:lnTo>
                  <a:pt x="2056" y="2243"/>
                </a:lnTo>
                <a:lnTo>
                  <a:pt x="2058" y="2240"/>
                </a:lnTo>
                <a:lnTo>
                  <a:pt x="2060" y="2238"/>
                </a:lnTo>
                <a:lnTo>
                  <a:pt x="2063" y="2236"/>
                </a:lnTo>
                <a:close/>
                <a:moveTo>
                  <a:pt x="2140" y="2115"/>
                </a:moveTo>
                <a:lnTo>
                  <a:pt x="2141" y="2114"/>
                </a:lnTo>
                <a:lnTo>
                  <a:pt x="2143" y="2114"/>
                </a:lnTo>
                <a:lnTo>
                  <a:pt x="2147" y="2113"/>
                </a:lnTo>
                <a:lnTo>
                  <a:pt x="2151" y="2113"/>
                </a:lnTo>
                <a:lnTo>
                  <a:pt x="2154" y="2115"/>
                </a:lnTo>
                <a:lnTo>
                  <a:pt x="2157" y="2116"/>
                </a:lnTo>
                <a:lnTo>
                  <a:pt x="2159" y="2119"/>
                </a:lnTo>
                <a:lnTo>
                  <a:pt x="2161" y="2121"/>
                </a:lnTo>
                <a:lnTo>
                  <a:pt x="2162" y="2124"/>
                </a:lnTo>
                <a:lnTo>
                  <a:pt x="2163" y="2130"/>
                </a:lnTo>
                <a:lnTo>
                  <a:pt x="2162" y="2133"/>
                </a:lnTo>
                <a:lnTo>
                  <a:pt x="2161" y="2136"/>
                </a:lnTo>
                <a:lnTo>
                  <a:pt x="2159" y="2139"/>
                </a:lnTo>
                <a:lnTo>
                  <a:pt x="2155" y="2142"/>
                </a:lnTo>
                <a:lnTo>
                  <a:pt x="2153" y="2143"/>
                </a:lnTo>
                <a:lnTo>
                  <a:pt x="2152" y="2143"/>
                </a:lnTo>
                <a:lnTo>
                  <a:pt x="2148" y="2144"/>
                </a:lnTo>
                <a:lnTo>
                  <a:pt x="2144" y="2144"/>
                </a:lnTo>
                <a:lnTo>
                  <a:pt x="2140" y="2142"/>
                </a:lnTo>
                <a:lnTo>
                  <a:pt x="2138" y="2141"/>
                </a:lnTo>
                <a:lnTo>
                  <a:pt x="2135" y="2139"/>
                </a:lnTo>
                <a:lnTo>
                  <a:pt x="2134" y="2136"/>
                </a:lnTo>
                <a:lnTo>
                  <a:pt x="2133" y="2133"/>
                </a:lnTo>
                <a:lnTo>
                  <a:pt x="2132" y="2127"/>
                </a:lnTo>
                <a:lnTo>
                  <a:pt x="2132" y="2124"/>
                </a:lnTo>
                <a:lnTo>
                  <a:pt x="2133" y="2121"/>
                </a:lnTo>
                <a:lnTo>
                  <a:pt x="2136" y="2118"/>
                </a:lnTo>
                <a:lnTo>
                  <a:pt x="2140" y="2115"/>
                </a:lnTo>
                <a:close/>
                <a:moveTo>
                  <a:pt x="3591" y="1273"/>
                </a:moveTo>
                <a:lnTo>
                  <a:pt x="3594" y="1271"/>
                </a:lnTo>
                <a:lnTo>
                  <a:pt x="3597" y="1271"/>
                </a:lnTo>
                <a:lnTo>
                  <a:pt x="3601" y="1271"/>
                </a:lnTo>
                <a:lnTo>
                  <a:pt x="3604" y="1272"/>
                </a:lnTo>
                <a:lnTo>
                  <a:pt x="3607" y="1273"/>
                </a:lnTo>
                <a:lnTo>
                  <a:pt x="3610" y="1275"/>
                </a:lnTo>
                <a:lnTo>
                  <a:pt x="3611" y="1278"/>
                </a:lnTo>
                <a:lnTo>
                  <a:pt x="3613" y="1280"/>
                </a:lnTo>
                <a:lnTo>
                  <a:pt x="3614" y="1283"/>
                </a:lnTo>
                <a:lnTo>
                  <a:pt x="3614" y="1286"/>
                </a:lnTo>
                <a:lnTo>
                  <a:pt x="3614" y="1289"/>
                </a:lnTo>
                <a:lnTo>
                  <a:pt x="3613" y="1292"/>
                </a:lnTo>
                <a:lnTo>
                  <a:pt x="3612" y="1294"/>
                </a:lnTo>
                <a:lnTo>
                  <a:pt x="3610" y="1297"/>
                </a:lnTo>
                <a:lnTo>
                  <a:pt x="3608" y="1298"/>
                </a:lnTo>
                <a:lnTo>
                  <a:pt x="3606" y="1300"/>
                </a:lnTo>
                <a:lnTo>
                  <a:pt x="3603" y="1301"/>
                </a:lnTo>
                <a:lnTo>
                  <a:pt x="3600" y="1302"/>
                </a:lnTo>
                <a:lnTo>
                  <a:pt x="3596" y="1302"/>
                </a:lnTo>
                <a:lnTo>
                  <a:pt x="3593" y="1301"/>
                </a:lnTo>
                <a:lnTo>
                  <a:pt x="3590" y="1299"/>
                </a:lnTo>
                <a:lnTo>
                  <a:pt x="3588" y="1297"/>
                </a:lnTo>
                <a:lnTo>
                  <a:pt x="3586" y="1295"/>
                </a:lnTo>
                <a:lnTo>
                  <a:pt x="3584" y="1292"/>
                </a:lnTo>
                <a:lnTo>
                  <a:pt x="3583" y="1289"/>
                </a:lnTo>
                <a:lnTo>
                  <a:pt x="3583" y="1286"/>
                </a:lnTo>
                <a:lnTo>
                  <a:pt x="3583" y="1283"/>
                </a:lnTo>
                <a:lnTo>
                  <a:pt x="3584" y="1280"/>
                </a:lnTo>
                <a:lnTo>
                  <a:pt x="3585" y="1278"/>
                </a:lnTo>
                <a:lnTo>
                  <a:pt x="3587" y="1276"/>
                </a:lnTo>
                <a:lnTo>
                  <a:pt x="3589" y="1274"/>
                </a:lnTo>
                <a:lnTo>
                  <a:pt x="3591" y="1273"/>
                </a:lnTo>
                <a:close/>
                <a:moveTo>
                  <a:pt x="2193" y="1982"/>
                </a:moveTo>
                <a:lnTo>
                  <a:pt x="2196" y="1981"/>
                </a:lnTo>
                <a:lnTo>
                  <a:pt x="2199" y="1980"/>
                </a:lnTo>
                <a:lnTo>
                  <a:pt x="2202" y="1980"/>
                </a:lnTo>
                <a:lnTo>
                  <a:pt x="2205" y="1981"/>
                </a:lnTo>
                <a:lnTo>
                  <a:pt x="2208" y="1982"/>
                </a:lnTo>
                <a:lnTo>
                  <a:pt x="2211" y="1983"/>
                </a:lnTo>
                <a:lnTo>
                  <a:pt x="2212" y="1984"/>
                </a:lnTo>
                <a:lnTo>
                  <a:pt x="2213" y="1986"/>
                </a:lnTo>
                <a:lnTo>
                  <a:pt x="2215" y="1988"/>
                </a:lnTo>
                <a:lnTo>
                  <a:pt x="2216" y="1991"/>
                </a:lnTo>
                <a:lnTo>
                  <a:pt x="2216" y="1994"/>
                </a:lnTo>
                <a:lnTo>
                  <a:pt x="2216" y="1997"/>
                </a:lnTo>
                <a:lnTo>
                  <a:pt x="2216" y="2000"/>
                </a:lnTo>
                <a:lnTo>
                  <a:pt x="2215" y="2003"/>
                </a:lnTo>
                <a:lnTo>
                  <a:pt x="2213" y="2005"/>
                </a:lnTo>
                <a:lnTo>
                  <a:pt x="2211" y="2007"/>
                </a:lnTo>
                <a:lnTo>
                  <a:pt x="2209" y="2009"/>
                </a:lnTo>
                <a:lnTo>
                  <a:pt x="2206" y="2010"/>
                </a:lnTo>
                <a:lnTo>
                  <a:pt x="2203" y="2011"/>
                </a:lnTo>
                <a:lnTo>
                  <a:pt x="2200" y="2011"/>
                </a:lnTo>
                <a:lnTo>
                  <a:pt x="2196" y="2010"/>
                </a:lnTo>
                <a:lnTo>
                  <a:pt x="2194" y="2009"/>
                </a:lnTo>
                <a:lnTo>
                  <a:pt x="2191" y="2007"/>
                </a:lnTo>
                <a:lnTo>
                  <a:pt x="2190" y="2006"/>
                </a:lnTo>
                <a:lnTo>
                  <a:pt x="2189" y="2005"/>
                </a:lnTo>
                <a:lnTo>
                  <a:pt x="2187" y="2003"/>
                </a:lnTo>
                <a:lnTo>
                  <a:pt x="2186" y="2000"/>
                </a:lnTo>
                <a:lnTo>
                  <a:pt x="2185" y="1997"/>
                </a:lnTo>
                <a:lnTo>
                  <a:pt x="2185" y="1994"/>
                </a:lnTo>
                <a:lnTo>
                  <a:pt x="2186" y="1991"/>
                </a:lnTo>
                <a:lnTo>
                  <a:pt x="2187" y="1988"/>
                </a:lnTo>
                <a:lnTo>
                  <a:pt x="2189" y="1986"/>
                </a:lnTo>
                <a:lnTo>
                  <a:pt x="2191" y="1984"/>
                </a:lnTo>
                <a:lnTo>
                  <a:pt x="2193" y="1982"/>
                </a:lnTo>
                <a:close/>
                <a:moveTo>
                  <a:pt x="3456" y="1222"/>
                </a:moveTo>
                <a:lnTo>
                  <a:pt x="3459" y="1220"/>
                </a:lnTo>
                <a:lnTo>
                  <a:pt x="3462" y="1220"/>
                </a:lnTo>
                <a:lnTo>
                  <a:pt x="3466" y="1220"/>
                </a:lnTo>
                <a:lnTo>
                  <a:pt x="3469" y="1220"/>
                </a:lnTo>
                <a:lnTo>
                  <a:pt x="3472" y="1222"/>
                </a:lnTo>
                <a:lnTo>
                  <a:pt x="3474" y="1224"/>
                </a:lnTo>
                <a:lnTo>
                  <a:pt x="3476" y="1226"/>
                </a:lnTo>
                <a:lnTo>
                  <a:pt x="3478" y="1228"/>
                </a:lnTo>
                <a:lnTo>
                  <a:pt x="3479" y="1231"/>
                </a:lnTo>
                <a:lnTo>
                  <a:pt x="3480" y="1234"/>
                </a:lnTo>
                <a:lnTo>
                  <a:pt x="3479" y="1240"/>
                </a:lnTo>
                <a:lnTo>
                  <a:pt x="3477" y="1243"/>
                </a:lnTo>
                <a:lnTo>
                  <a:pt x="3476" y="1245"/>
                </a:lnTo>
                <a:lnTo>
                  <a:pt x="3474" y="1247"/>
                </a:lnTo>
                <a:lnTo>
                  <a:pt x="3472" y="1248"/>
                </a:lnTo>
                <a:lnTo>
                  <a:pt x="3469" y="1250"/>
                </a:lnTo>
                <a:lnTo>
                  <a:pt x="3466" y="1250"/>
                </a:lnTo>
                <a:lnTo>
                  <a:pt x="3462" y="1250"/>
                </a:lnTo>
                <a:lnTo>
                  <a:pt x="3459" y="1250"/>
                </a:lnTo>
                <a:lnTo>
                  <a:pt x="3456" y="1248"/>
                </a:lnTo>
                <a:lnTo>
                  <a:pt x="3454" y="1247"/>
                </a:lnTo>
                <a:lnTo>
                  <a:pt x="3452" y="1244"/>
                </a:lnTo>
                <a:lnTo>
                  <a:pt x="3450" y="1242"/>
                </a:lnTo>
                <a:lnTo>
                  <a:pt x="3449" y="1239"/>
                </a:lnTo>
                <a:lnTo>
                  <a:pt x="3448" y="1236"/>
                </a:lnTo>
                <a:lnTo>
                  <a:pt x="3449" y="1230"/>
                </a:lnTo>
                <a:lnTo>
                  <a:pt x="3451" y="1227"/>
                </a:lnTo>
                <a:lnTo>
                  <a:pt x="3452" y="1225"/>
                </a:lnTo>
                <a:lnTo>
                  <a:pt x="3454" y="1223"/>
                </a:lnTo>
                <a:lnTo>
                  <a:pt x="3456" y="1222"/>
                </a:lnTo>
                <a:close/>
                <a:moveTo>
                  <a:pt x="2223" y="1841"/>
                </a:moveTo>
                <a:lnTo>
                  <a:pt x="2226" y="1840"/>
                </a:lnTo>
                <a:lnTo>
                  <a:pt x="2228" y="1840"/>
                </a:lnTo>
                <a:lnTo>
                  <a:pt x="2231" y="1839"/>
                </a:lnTo>
                <a:lnTo>
                  <a:pt x="2233" y="1840"/>
                </a:lnTo>
                <a:lnTo>
                  <a:pt x="2236" y="1840"/>
                </a:lnTo>
                <a:lnTo>
                  <a:pt x="2239" y="1842"/>
                </a:lnTo>
                <a:lnTo>
                  <a:pt x="2242" y="1843"/>
                </a:lnTo>
                <a:lnTo>
                  <a:pt x="2244" y="1846"/>
                </a:lnTo>
                <a:lnTo>
                  <a:pt x="2245" y="1848"/>
                </a:lnTo>
                <a:lnTo>
                  <a:pt x="2246" y="1851"/>
                </a:lnTo>
                <a:lnTo>
                  <a:pt x="2247" y="1854"/>
                </a:lnTo>
                <a:lnTo>
                  <a:pt x="2247" y="1857"/>
                </a:lnTo>
                <a:lnTo>
                  <a:pt x="2246" y="1861"/>
                </a:lnTo>
                <a:lnTo>
                  <a:pt x="2244" y="1864"/>
                </a:lnTo>
                <a:lnTo>
                  <a:pt x="2242" y="1866"/>
                </a:lnTo>
                <a:lnTo>
                  <a:pt x="2239" y="1868"/>
                </a:lnTo>
                <a:lnTo>
                  <a:pt x="2237" y="1869"/>
                </a:lnTo>
                <a:lnTo>
                  <a:pt x="2234" y="1870"/>
                </a:lnTo>
                <a:lnTo>
                  <a:pt x="2232" y="1870"/>
                </a:lnTo>
                <a:lnTo>
                  <a:pt x="2229" y="1870"/>
                </a:lnTo>
                <a:lnTo>
                  <a:pt x="2226" y="1870"/>
                </a:lnTo>
                <a:lnTo>
                  <a:pt x="2223" y="1868"/>
                </a:lnTo>
                <a:lnTo>
                  <a:pt x="2221" y="1866"/>
                </a:lnTo>
                <a:lnTo>
                  <a:pt x="2219" y="1864"/>
                </a:lnTo>
                <a:lnTo>
                  <a:pt x="2217" y="1862"/>
                </a:lnTo>
                <a:lnTo>
                  <a:pt x="2216" y="1859"/>
                </a:lnTo>
                <a:lnTo>
                  <a:pt x="2216" y="1856"/>
                </a:lnTo>
                <a:lnTo>
                  <a:pt x="2216" y="1853"/>
                </a:lnTo>
                <a:lnTo>
                  <a:pt x="2217" y="1849"/>
                </a:lnTo>
                <a:lnTo>
                  <a:pt x="2218" y="1846"/>
                </a:lnTo>
                <a:lnTo>
                  <a:pt x="2221" y="1844"/>
                </a:lnTo>
                <a:lnTo>
                  <a:pt x="2223" y="1841"/>
                </a:lnTo>
                <a:close/>
                <a:moveTo>
                  <a:pt x="3319" y="1178"/>
                </a:moveTo>
                <a:lnTo>
                  <a:pt x="3322" y="1177"/>
                </a:lnTo>
                <a:lnTo>
                  <a:pt x="3325" y="1176"/>
                </a:lnTo>
                <a:lnTo>
                  <a:pt x="3328" y="1176"/>
                </a:lnTo>
                <a:lnTo>
                  <a:pt x="3331" y="1176"/>
                </a:lnTo>
                <a:lnTo>
                  <a:pt x="3334" y="1177"/>
                </a:lnTo>
                <a:lnTo>
                  <a:pt x="3337" y="1179"/>
                </a:lnTo>
                <a:lnTo>
                  <a:pt x="3339" y="1181"/>
                </a:lnTo>
                <a:lnTo>
                  <a:pt x="3340" y="1184"/>
                </a:lnTo>
                <a:lnTo>
                  <a:pt x="3342" y="1186"/>
                </a:lnTo>
                <a:lnTo>
                  <a:pt x="3342" y="1189"/>
                </a:lnTo>
                <a:lnTo>
                  <a:pt x="3342" y="1192"/>
                </a:lnTo>
                <a:lnTo>
                  <a:pt x="3342" y="1195"/>
                </a:lnTo>
                <a:lnTo>
                  <a:pt x="3341" y="1198"/>
                </a:lnTo>
                <a:lnTo>
                  <a:pt x="3339" y="1201"/>
                </a:lnTo>
                <a:lnTo>
                  <a:pt x="3337" y="1203"/>
                </a:lnTo>
                <a:lnTo>
                  <a:pt x="3335" y="1205"/>
                </a:lnTo>
                <a:lnTo>
                  <a:pt x="3332" y="1206"/>
                </a:lnTo>
                <a:lnTo>
                  <a:pt x="3329" y="1207"/>
                </a:lnTo>
                <a:lnTo>
                  <a:pt x="3326" y="1207"/>
                </a:lnTo>
                <a:lnTo>
                  <a:pt x="3323" y="1206"/>
                </a:lnTo>
                <a:lnTo>
                  <a:pt x="3320" y="1205"/>
                </a:lnTo>
                <a:lnTo>
                  <a:pt x="3317" y="1203"/>
                </a:lnTo>
                <a:lnTo>
                  <a:pt x="3315" y="1201"/>
                </a:lnTo>
                <a:lnTo>
                  <a:pt x="3313" y="1199"/>
                </a:lnTo>
                <a:lnTo>
                  <a:pt x="3312" y="1196"/>
                </a:lnTo>
                <a:lnTo>
                  <a:pt x="3311" y="1193"/>
                </a:lnTo>
                <a:lnTo>
                  <a:pt x="3311" y="1190"/>
                </a:lnTo>
                <a:lnTo>
                  <a:pt x="3312" y="1187"/>
                </a:lnTo>
                <a:lnTo>
                  <a:pt x="3313" y="1184"/>
                </a:lnTo>
                <a:lnTo>
                  <a:pt x="3315" y="1182"/>
                </a:lnTo>
                <a:lnTo>
                  <a:pt x="3317" y="1179"/>
                </a:lnTo>
                <a:lnTo>
                  <a:pt x="3319" y="1178"/>
                </a:lnTo>
                <a:close/>
                <a:moveTo>
                  <a:pt x="2237" y="1697"/>
                </a:moveTo>
                <a:lnTo>
                  <a:pt x="2242" y="1696"/>
                </a:lnTo>
                <a:lnTo>
                  <a:pt x="2246" y="1695"/>
                </a:lnTo>
                <a:lnTo>
                  <a:pt x="2249" y="1696"/>
                </a:lnTo>
                <a:lnTo>
                  <a:pt x="2252" y="1697"/>
                </a:lnTo>
                <a:lnTo>
                  <a:pt x="2255" y="1698"/>
                </a:lnTo>
                <a:lnTo>
                  <a:pt x="2257" y="1700"/>
                </a:lnTo>
                <a:lnTo>
                  <a:pt x="2259" y="1703"/>
                </a:lnTo>
                <a:lnTo>
                  <a:pt x="2260" y="1706"/>
                </a:lnTo>
                <a:lnTo>
                  <a:pt x="2261" y="1709"/>
                </a:lnTo>
                <a:lnTo>
                  <a:pt x="2261" y="1712"/>
                </a:lnTo>
                <a:lnTo>
                  <a:pt x="2260" y="1714"/>
                </a:lnTo>
                <a:lnTo>
                  <a:pt x="2260" y="1716"/>
                </a:lnTo>
                <a:lnTo>
                  <a:pt x="2258" y="1719"/>
                </a:lnTo>
                <a:lnTo>
                  <a:pt x="2256" y="1722"/>
                </a:lnTo>
                <a:lnTo>
                  <a:pt x="2253" y="1724"/>
                </a:lnTo>
                <a:lnTo>
                  <a:pt x="2249" y="1726"/>
                </a:lnTo>
                <a:lnTo>
                  <a:pt x="2244" y="1726"/>
                </a:lnTo>
                <a:lnTo>
                  <a:pt x="2241" y="1726"/>
                </a:lnTo>
                <a:lnTo>
                  <a:pt x="2238" y="1725"/>
                </a:lnTo>
                <a:lnTo>
                  <a:pt x="2236" y="1723"/>
                </a:lnTo>
                <a:lnTo>
                  <a:pt x="2233" y="1721"/>
                </a:lnTo>
                <a:lnTo>
                  <a:pt x="2232" y="1718"/>
                </a:lnTo>
                <a:lnTo>
                  <a:pt x="2230" y="1716"/>
                </a:lnTo>
                <a:lnTo>
                  <a:pt x="2230" y="1713"/>
                </a:lnTo>
                <a:lnTo>
                  <a:pt x="2230" y="1710"/>
                </a:lnTo>
                <a:lnTo>
                  <a:pt x="2230" y="1708"/>
                </a:lnTo>
                <a:lnTo>
                  <a:pt x="2230" y="1706"/>
                </a:lnTo>
                <a:lnTo>
                  <a:pt x="2232" y="1702"/>
                </a:lnTo>
                <a:lnTo>
                  <a:pt x="2234" y="1699"/>
                </a:lnTo>
                <a:lnTo>
                  <a:pt x="2237" y="1697"/>
                </a:lnTo>
                <a:close/>
                <a:moveTo>
                  <a:pt x="3179" y="1144"/>
                </a:moveTo>
                <a:lnTo>
                  <a:pt x="3182" y="1143"/>
                </a:lnTo>
                <a:lnTo>
                  <a:pt x="3184" y="1142"/>
                </a:lnTo>
                <a:lnTo>
                  <a:pt x="3190" y="1142"/>
                </a:lnTo>
                <a:lnTo>
                  <a:pt x="3193" y="1143"/>
                </a:lnTo>
                <a:lnTo>
                  <a:pt x="3196" y="1144"/>
                </a:lnTo>
                <a:lnTo>
                  <a:pt x="3198" y="1146"/>
                </a:lnTo>
                <a:lnTo>
                  <a:pt x="3200" y="1149"/>
                </a:lnTo>
                <a:lnTo>
                  <a:pt x="3201" y="1151"/>
                </a:lnTo>
                <a:lnTo>
                  <a:pt x="3202" y="1154"/>
                </a:lnTo>
                <a:lnTo>
                  <a:pt x="3203" y="1157"/>
                </a:lnTo>
                <a:lnTo>
                  <a:pt x="3202" y="1160"/>
                </a:lnTo>
                <a:lnTo>
                  <a:pt x="3201" y="1163"/>
                </a:lnTo>
                <a:lnTo>
                  <a:pt x="3200" y="1166"/>
                </a:lnTo>
                <a:lnTo>
                  <a:pt x="3197" y="1169"/>
                </a:lnTo>
                <a:lnTo>
                  <a:pt x="3195" y="1171"/>
                </a:lnTo>
                <a:lnTo>
                  <a:pt x="3192" y="1172"/>
                </a:lnTo>
                <a:lnTo>
                  <a:pt x="3190" y="1172"/>
                </a:lnTo>
                <a:lnTo>
                  <a:pt x="3184" y="1172"/>
                </a:lnTo>
                <a:lnTo>
                  <a:pt x="3181" y="1171"/>
                </a:lnTo>
                <a:lnTo>
                  <a:pt x="3178" y="1170"/>
                </a:lnTo>
                <a:lnTo>
                  <a:pt x="3176" y="1168"/>
                </a:lnTo>
                <a:lnTo>
                  <a:pt x="3174" y="1166"/>
                </a:lnTo>
                <a:lnTo>
                  <a:pt x="3173" y="1163"/>
                </a:lnTo>
                <a:lnTo>
                  <a:pt x="3172" y="1160"/>
                </a:lnTo>
                <a:lnTo>
                  <a:pt x="3172" y="1157"/>
                </a:lnTo>
                <a:lnTo>
                  <a:pt x="3172" y="1154"/>
                </a:lnTo>
                <a:lnTo>
                  <a:pt x="3173" y="1151"/>
                </a:lnTo>
                <a:lnTo>
                  <a:pt x="3175" y="1148"/>
                </a:lnTo>
                <a:lnTo>
                  <a:pt x="3177" y="1146"/>
                </a:lnTo>
                <a:lnTo>
                  <a:pt x="3179" y="1144"/>
                </a:lnTo>
                <a:close/>
                <a:moveTo>
                  <a:pt x="3037" y="1122"/>
                </a:moveTo>
                <a:lnTo>
                  <a:pt x="3042" y="1120"/>
                </a:lnTo>
                <a:lnTo>
                  <a:pt x="3044" y="1120"/>
                </a:lnTo>
                <a:lnTo>
                  <a:pt x="3046" y="1120"/>
                </a:lnTo>
                <a:lnTo>
                  <a:pt x="3050" y="1121"/>
                </a:lnTo>
                <a:lnTo>
                  <a:pt x="3052" y="1122"/>
                </a:lnTo>
                <a:lnTo>
                  <a:pt x="3055" y="1124"/>
                </a:lnTo>
                <a:lnTo>
                  <a:pt x="3057" y="1126"/>
                </a:lnTo>
                <a:lnTo>
                  <a:pt x="3059" y="1128"/>
                </a:lnTo>
                <a:lnTo>
                  <a:pt x="3060" y="1131"/>
                </a:lnTo>
                <a:lnTo>
                  <a:pt x="3060" y="1134"/>
                </a:lnTo>
                <a:lnTo>
                  <a:pt x="3060" y="1137"/>
                </a:lnTo>
                <a:lnTo>
                  <a:pt x="3060" y="1141"/>
                </a:lnTo>
                <a:lnTo>
                  <a:pt x="3058" y="1144"/>
                </a:lnTo>
                <a:lnTo>
                  <a:pt x="3056" y="1147"/>
                </a:lnTo>
                <a:lnTo>
                  <a:pt x="3053" y="1149"/>
                </a:lnTo>
                <a:lnTo>
                  <a:pt x="3048" y="1151"/>
                </a:lnTo>
                <a:lnTo>
                  <a:pt x="3046" y="1151"/>
                </a:lnTo>
                <a:lnTo>
                  <a:pt x="3043" y="1151"/>
                </a:lnTo>
                <a:lnTo>
                  <a:pt x="3040" y="1150"/>
                </a:lnTo>
                <a:lnTo>
                  <a:pt x="3037" y="1149"/>
                </a:lnTo>
                <a:lnTo>
                  <a:pt x="3035" y="1148"/>
                </a:lnTo>
                <a:lnTo>
                  <a:pt x="3033" y="1145"/>
                </a:lnTo>
                <a:lnTo>
                  <a:pt x="3031" y="1143"/>
                </a:lnTo>
                <a:lnTo>
                  <a:pt x="3030" y="1140"/>
                </a:lnTo>
                <a:lnTo>
                  <a:pt x="3029" y="1137"/>
                </a:lnTo>
                <a:lnTo>
                  <a:pt x="3029" y="1134"/>
                </a:lnTo>
                <a:lnTo>
                  <a:pt x="3030" y="1130"/>
                </a:lnTo>
                <a:lnTo>
                  <a:pt x="3032" y="1127"/>
                </a:lnTo>
                <a:lnTo>
                  <a:pt x="3034" y="1124"/>
                </a:lnTo>
                <a:lnTo>
                  <a:pt x="3037" y="1122"/>
                </a:lnTo>
                <a:close/>
                <a:moveTo>
                  <a:pt x="2249" y="1554"/>
                </a:moveTo>
                <a:lnTo>
                  <a:pt x="2251" y="1553"/>
                </a:lnTo>
                <a:lnTo>
                  <a:pt x="2254" y="1552"/>
                </a:lnTo>
                <a:lnTo>
                  <a:pt x="2256" y="1552"/>
                </a:lnTo>
                <a:lnTo>
                  <a:pt x="2259" y="1552"/>
                </a:lnTo>
                <a:lnTo>
                  <a:pt x="2262" y="1552"/>
                </a:lnTo>
                <a:lnTo>
                  <a:pt x="2265" y="1554"/>
                </a:lnTo>
                <a:lnTo>
                  <a:pt x="2267" y="1555"/>
                </a:lnTo>
                <a:lnTo>
                  <a:pt x="2269" y="1558"/>
                </a:lnTo>
                <a:lnTo>
                  <a:pt x="2270" y="1559"/>
                </a:lnTo>
                <a:lnTo>
                  <a:pt x="2271" y="1560"/>
                </a:lnTo>
                <a:lnTo>
                  <a:pt x="2272" y="1563"/>
                </a:lnTo>
                <a:lnTo>
                  <a:pt x="2272" y="1566"/>
                </a:lnTo>
                <a:lnTo>
                  <a:pt x="2272" y="1569"/>
                </a:lnTo>
                <a:lnTo>
                  <a:pt x="2271" y="1573"/>
                </a:lnTo>
                <a:lnTo>
                  <a:pt x="2270" y="1576"/>
                </a:lnTo>
                <a:lnTo>
                  <a:pt x="2267" y="1579"/>
                </a:lnTo>
                <a:lnTo>
                  <a:pt x="2265" y="1581"/>
                </a:lnTo>
                <a:lnTo>
                  <a:pt x="2262" y="1582"/>
                </a:lnTo>
                <a:lnTo>
                  <a:pt x="2260" y="1582"/>
                </a:lnTo>
                <a:lnTo>
                  <a:pt x="2258" y="1583"/>
                </a:lnTo>
                <a:lnTo>
                  <a:pt x="2255" y="1583"/>
                </a:lnTo>
                <a:lnTo>
                  <a:pt x="2252" y="1582"/>
                </a:lnTo>
                <a:lnTo>
                  <a:pt x="2249" y="1581"/>
                </a:lnTo>
                <a:lnTo>
                  <a:pt x="2247" y="1579"/>
                </a:lnTo>
                <a:lnTo>
                  <a:pt x="2245" y="1577"/>
                </a:lnTo>
                <a:lnTo>
                  <a:pt x="2244" y="1576"/>
                </a:lnTo>
                <a:lnTo>
                  <a:pt x="2243" y="1574"/>
                </a:lnTo>
                <a:lnTo>
                  <a:pt x="2242" y="1571"/>
                </a:lnTo>
                <a:lnTo>
                  <a:pt x="2241" y="1568"/>
                </a:lnTo>
                <a:lnTo>
                  <a:pt x="2241" y="1565"/>
                </a:lnTo>
                <a:lnTo>
                  <a:pt x="2242" y="1562"/>
                </a:lnTo>
                <a:lnTo>
                  <a:pt x="2244" y="1558"/>
                </a:lnTo>
                <a:lnTo>
                  <a:pt x="2246" y="1556"/>
                </a:lnTo>
                <a:lnTo>
                  <a:pt x="2249" y="1554"/>
                </a:lnTo>
                <a:close/>
                <a:moveTo>
                  <a:pt x="2893" y="1116"/>
                </a:moveTo>
                <a:lnTo>
                  <a:pt x="2895" y="1115"/>
                </a:lnTo>
                <a:lnTo>
                  <a:pt x="2897" y="1115"/>
                </a:lnTo>
                <a:lnTo>
                  <a:pt x="2901" y="1114"/>
                </a:lnTo>
                <a:lnTo>
                  <a:pt x="2904" y="1114"/>
                </a:lnTo>
                <a:lnTo>
                  <a:pt x="2907" y="1115"/>
                </a:lnTo>
                <a:lnTo>
                  <a:pt x="2910" y="1117"/>
                </a:lnTo>
                <a:lnTo>
                  <a:pt x="2912" y="1119"/>
                </a:lnTo>
                <a:lnTo>
                  <a:pt x="2914" y="1121"/>
                </a:lnTo>
                <a:lnTo>
                  <a:pt x="2915" y="1123"/>
                </a:lnTo>
                <a:lnTo>
                  <a:pt x="2916" y="1126"/>
                </a:lnTo>
                <a:lnTo>
                  <a:pt x="2917" y="1129"/>
                </a:lnTo>
                <a:lnTo>
                  <a:pt x="2916" y="1134"/>
                </a:lnTo>
                <a:lnTo>
                  <a:pt x="2915" y="1137"/>
                </a:lnTo>
                <a:lnTo>
                  <a:pt x="2912" y="1141"/>
                </a:lnTo>
                <a:lnTo>
                  <a:pt x="2909" y="1143"/>
                </a:lnTo>
                <a:lnTo>
                  <a:pt x="2907" y="1144"/>
                </a:lnTo>
                <a:lnTo>
                  <a:pt x="2905" y="1145"/>
                </a:lnTo>
                <a:lnTo>
                  <a:pt x="2902" y="1145"/>
                </a:lnTo>
                <a:lnTo>
                  <a:pt x="2898" y="1145"/>
                </a:lnTo>
                <a:lnTo>
                  <a:pt x="2895" y="1144"/>
                </a:lnTo>
                <a:lnTo>
                  <a:pt x="2893" y="1143"/>
                </a:lnTo>
                <a:lnTo>
                  <a:pt x="2890" y="1141"/>
                </a:lnTo>
                <a:lnTo>
                  <a:pt x="2888" y="1139"/>
                </a:lnTo>
                <a:lnTo>
                  <a:pt x="2887" y="1136"/>
                </a:lnTo>
                <a:lnTo>
                  <a:pt x="2886" y="1133"/>
                </a:lnTo>
                <a:lnTo>
                  <a:pt x="2886" y="1130"/>
                </a:lnTo>
                <a:lnTo>
                  <a:pt x="2886" y="1126"/>
                </a:lnTo>
                <a:lnTo>
                  <a:pt x="2888" y="1122"/>
                </a:lnTo>
                <a:lnTo>
                  <a:pt x="2890" y="1119"/>
                </a:lnTo>
                <a:lnTo>
                  <a:pt x="2893" y="1116"/>
                </a:lnTo>
                <a:close/>
                <a:moveTo>
                  <a:pt x="2281" y="1414"/>
                </a:moveTo>
                <a:lnTo>
                  <a:pt x="2284" y="1412"/>
                </a:lnTo>
                <a:lnTo>
                  <a:pt x="2287" y="1412"/>
                </a:lnTo>
                <a:lnTo>
                  <a:pt x="2291" y="1412"/>
                </a:lnTo>
                <a:lnTo>
                  <a:pt x="2294" y="1413"/>
                </a:lnTo>
                <a:lnTo>
                  <a:pt x="2295" y="1413"/>
                </a:lnTo>
                <a:lnTo>
                  <a:pt x="2297" y="1414"/>
                </a:lnTo>
                <a:lnTo>
                  <a:pt x="2299" y="1416"/>
                </a:lnTo>
                <a:lnTo>
                  <a:pt x="2301" y="1418"/>
                </a:lnTo>
                <a:lnTo>
                  <a:pt x="2303" y="1421"/>
                </a:lnTo>
                <a:lnTo>
                  <a:pt x="2304" y="1424"/>
                </a:lnTo>
                <a:lnTo>
                  <a:pt x="2304" y="1427"/>
                </a:lnTo>
                <a:lnTo>
                  <a:pt x="2304" y="1430"/>
                </a:lnTo>
                <a:lnTo>
                  <a:pt x="2303" y="1433"/>
                </a:lnTo>
                <a:lnTo>
                  <a:pt x="2302" y="1435"/>
                </a:lnTo>
                <a:lnTo>
                  <a:pt x="2300" y="1437"/>
                </a:lnTo>
                <a:lnTo>
                  <a:pt x="2298" y="1439"/>
                </a:lnTo>
                <a:lnTo>
                  <a:pt x="2296" y="1441"/>
                </a:lnTo>
                <a:lnTo>
                  <a:pt x="2293" y="1442"/>
                </a:lnTo>
                <a:lnTo>
                  <a:pt x="2290" y="1443"/>
                </a:lnTo>
                <a:lnTo>
                  <a:pt x="2286" y="1443"/>
                </a:lnTo>
                <a:lnTo>
                  <a:pt x="2283" y="1442"/>
                </a:lnTo>
                <a:lnTo>
                  <a:pt x="2281" y="1441"/>
                </a:lnTo>
                <a:lnTo>
                  <a:pt x="2280" y="1440"/>
                </a:lnTo>
                <a:lnTo>
                  <a:pt x="2278" y="1439"/>
                </a:lnTo>
                <a:lnTo>
                  <a:pt x="2276" y="1436"/>
                </a:lnTo>
                <a:lnTo>
                  <a:pt x="2274" y="1434"/>
                </a:lnTo>
                <a:lnTo>
                  <a:pt x="2273" y="1431"/>
                </a:lnTo>
                <a:lnTo>
                  <a:pt x="2273" y="1428"/>
                </a:lnTo>
                <a:lnTo>
                  <a:pt x="2273" y="1425"/>
                </a:lnTo>
                <a:lnTo>
                  <a:pt x="2274" y="1422"/>
                </a:lnTo>
                <a:lnTo>
                  <a:pt x="2275" y="1419"/>
                </a:lnTo>
                <a:lnTo>
                  <a:pt x="2277" y="1417"/>
                </a:lnTo>
                <a:lnTo>
                  <a:pt x="2279" y="1415"/>
                </a:lnTo>
                <a:lnTo>
                  <a:pt x="2281" y="1414"/>
                </a:lnTo>
                <a:close/>
                <a:moveTo>
                  <a:pt x="2750" y="1129"/>
                </a:moveTo>
                <a:lnTo>
                  <a:pt x="2753" y="1128"/>
                </a:lnTo>
                <a:lnTo>
                  <a:pt x="2756" y="1127"/>
                </a:lnTo>
                <a:lnTo>
                  <a:pt x="2759" y="1127"/>
                </a:lnTo>
                <a:lnTo>
                  <a:pt x="2762" y="1127"/>
                </a:lnTo>
                <a:lnTo>
                  <a:pt x="2765" y="1128"/>
                </a:lnTo>
                <a:lnTo>
                  <a:pt x="2767" y="1130"/>
                </a:lnTo>
                <a:lnTo>
                  <a:pt x="2769" y="1132"/>
                </a:lnTo>
                <a:lnTo>
                  <a:pt x="2771" y="1134"/>
                </a:lnTo>
                <a:lnTo>
                  <a:pt x="2773" y="1137"/>
                </a:lnTo>
                <a:lnTo>
                  <a:pt x="2773" y="1140"/>
                </a:lnTo>
                <a:lnTo>
                  <a:pt x="2773" y="1145"/>
                </a:lnTo>
                <a:lnTo>
                  <a:pt x="2772" y="1149"/>
                </a:lnTo>
                <a:lnTo>
                  <a:pt x="2769" y="1153"/>
                </a:lnTo>
                <a:lnTo>
                  <a:pt x="2768" y="1154"/>
                </a:lnTo>
                <a:lnTo>
                  <a:pt x="2766" y="1156"/>
                </a:lnTo>
                <a:lnTo>
                  <a:pt x="2763" y="1157"/>
                </a:lnTo>
                <a:lnTo>
                  <a:pt x="2760" y="1158"/>
                </a:lnTo>
                <a:lnTo>
                  <a:pt x="2757" y="1158"/>
                </a:lnTo>
                <a:lnTo>
                  <a:pt x="2754" y="1157"/>
                </a:lnTo>
                <a:lnTo>
                  <a:pt x="2751" y="1156"/>
                </a:lnTo>
                <a:lnTo>
                  <a:pt x="2749" y="1155"/>
                </a:lnTo>
                <a:lnTo>
                  <a:pt x="2747" y="1153"/>
                </a:lnTo>
                <a:lnTo>
                  <a:pt x="2745" y="1151"/>
                </a:lnTo>
                <a:lnTo>
                  <a:pt x="2743" y="1148"/>
                </a:lnTo>
                <a:lnTo>
                  <a:pt x="2743" y="1145"/>
                </a:lnTo>
                <a:lnTo>
                  <a:pt x="2743" y="1140"/>
                </a:lnTo>
                <a:lnTo>
                  <a:pt x="2744" y="1136"/>
                </a:lnTo>
                <a:lnTo>
                  <a:pt x="2747" y="1132"/>
                </a:lnTo>
                <a:lnTo>
                  <a:pt x="2748" y="1130"/>
                </a:lnTo>
                <a:lnTo>
                  <a:pt x="2750" y="1129"/>
                </a:lnTo>
                <a:close/>
                <a:moveTo>
                  <a:pt x="2610" y="1161"/>
                </a:moveTo>
                <a:lnTo>
                  <a:pt x="2614" y="1160"/>
                </a:lnTo>
                <a:lnTo>
                  <a:pt x="2617" y="1159"/>
                </a:lnTo>
                <a:lnTo>
                  <a:pt x="2620" y="1159"/>
                </a:lnTo>
                <a:lnTo>
                  <a:pt x="2623" y="1160"/>
                </a:lnTo>
                <a:lnTo>
                  <a:pt x="2625" y="1161"/>
                </a:lnTo>
                <a:lnTo>
                  <a:pt x="2628" y="1163"/>
                </a:lnTo>
                <a:lnTo>
                  <a:pt x="2630" y="1165"/>
                </a:lnTo>
                <a:lnTo>
                  <a:pt x="2632" y="1167"/>
                </a:lnTo>
                <a:lnTo>
                  <a:pt x="2633" y="1170"/>
                </a:lnTo>
                <a:lnTo>
                  <a:pt x="2634" y="1176"/>
                </a:lnTo>
                <a:lnTo>
                  <a:pt x="2633" y="1178"/>
                </a:lnTo>
                <a:lnTo>
                  <a:pt x="2633" y="1181"/>
                </a:lnTo>
                <a:lnTo>
                  <a:pt x="2631" y="1183"/>
                </a:lnTo>
                <a:lnTo>
                  <a:pt x="2630" y="1185"/>
                </a:lnTo>
                <a:lnTo>
                  <a:pt x="2628" y="1187"/>
                </a:lnTo>
                <a:lnTo>
                  <a:pt x="2626" y="1188"/>
                </a:lnTo>
                <a:lnTo>
                  <a:pt x="2623" y="1190"/>
                </a:lnTo>
                <a:lnTo>
                  <a:pt x="2620" y="1190"/>
                </a:lnTo>
                <a:lnTo>
                  <a:pt x="2617" y="1190"/>
                </a:lnTo>
                <a:lnTo>
                  <a:pt x="2614" y="1190"/>
                </a:lnTo>
                <a:lnTo>
                  <a:pt x="2611" y="1189"/>
                </a:lnTo>
                <a:lnTo>
                  <a:pt x="2608" y="1187"/>
                </a:lnTo>
                <a:lnTo>
                  <a:pt x="2606" y="1185"/>
                </a:lnTo>
                <a:lnTo>
                  <a:pt x="2605" y="1182"/>
                </a:lnTo>
                <a:lnTo>
                  <a:pt x="2603" y="1180"/>
                </a:lnTo>
                <a:lnTo>
                  <a:pt x="2603" y="1174"/>
                </a:lnTo>
                <a:lnTo>
                  <a:pt x="2603" y="1172"/>
                </a:lnTo>
                <a:lnTo>
                  <a:pt x="2604" y="1169"/>
                </a:lnTo>
                <a:lnTo>
                  <a:pt x="2605" y="1167"/>
                </a:lnTo>
                <a:lnTo>
                  <a:pt x="2606" y="1165"/>
                </a:lnTo>
                <a:lnTo>
                  <a:pt x="2608" y="1163"/>
                </a:lnTo>
                <a:lnTo>
                  <a:pt x="2610" y="1161"/>
                </a:lnTo>
                <a:close/>
                <a:moveTo>
                  <a:pt x="2358" y="1295"/>
                </a:moveTo>
                <a:lnTo>
                  <a:pt x="2360" y="1293"/>
                </a:lnTo>
                <a:lnTo>
                  <a:pt x="2362" y="1293"/>
                </a:lnTo>
                <a:lnTo>
                  <a:pt x="2365" y="1292"/>
                </a:lnTo>
                <a:lnTo>
                  <a:pt x="2367" y="1293"/>
                </a:lnTo>
                <a:lnTo>
                  <a:pt x="2370" y="1293"/>
                </a:lnTo>
                <a:lnTo>
                  <a:pt x="2372" y="1294"/>
                </a:lnTo>
                <a:lnTo>
                  <a:pt x="2375" y="1295"/>
                </a:lnTo>
                <a:lnTo>
                  <a:pt x="2377" y="1297"/>
                </a:lnTo>
                <a:lnTo>
                  <a:pt x="2379" y="1299"/>
                </a:lnTo>
                <a:lnTo>
                  <a:pt x="2380" y="1302"/>
                </a:lnTo>
                <a:lnTo>
                  <a:pt x="2381" y="1305"/>
                </a:lnTo>
                <a:lnTo>
                  <a:pt x="2381" y="1308"/>
                </a:lnTo>
                <a:lnTo>
                  <a:pt x="2381" y="1311"/>
                </a:lnTo>
                <a:lnTo>
                  <a:pt x="2380" y="1314"/>
                </a:lnTo>
                <a:lnTo>
                  <a:pt x="2378" y="1317"/>
                </a:lnTo>
                <a:lnTo>
                  <a:pt x="2376" y="1319"/>
                </a:lnTo>
                <a:lnTo>
                  <a:pt x="2373" y="1321"/>
                </a:lnTo>
                <a:lnTo>
                  <a:pt x="2371" y="1323"/>
                </a:lnTo>
                <a:lnTo>
                  <a:pt x="2369" y="1323"/>
                </a:lnTo>
                <a:lnTo>
                  <a:pt x="2366" y="1324"/>
                </a:lnTo>
                <a:lnTo>
                  <a:pt x="2364" y="1323"/>
                </a:lnTo>
                <a:lnTo>
                  <a:pt x="2361" y="1323"/>
                </a:lnTo>
                <a:lnTo>
                  <a:pt x="2359" y="1322"/>
                </a:lnTo>
                <a:lnTo>
                  <a:pt x="2357" y="1321"/>
                </a:lnTo>
                <a:lnTo>
                  <a:pt x="2354" y="1319"/>
                </a:lnTo>
                <a:lnTo>
                  <a:pt x="2352" y="1316"/>
                </a:lnTo>
                <a:lnTo>
                  <a:pt x="2351" y="1314"/>
                </a:lnTo>
                <a:lnTo>
                  <a:pt x="2350" y="1311"/>
                </a:lnTo>
                <a:lnTo>
                  <a:pt x="2350" y="1308"/>
                </a:lnTo>
                <a:lnTo>
                  <a:pt x="2350" y="1305"/>
                </a:lnTo>
                <a:lnTo>
                  <a:pt x="2351" y="1302"/>
                </a:lnTo>
                <a:lnTo>
                  <a:pt x="2353" y="1299"/>
                </a:lnTo>
                <a:lnTo>
                  <a:pt x="2355" y="1297"/>
                </a:lnTo>
                <a:lnTo>
                  <a:pt x="2358" y="1295"/>
                </a:lnTo>
                <a:close/>
                <a:moveTo>
                  <a:pt x="2476" y="1214"/>
                </a:moveTo>
                <a:lnTo>
                  <a:pt x="2480" y="1212"/>
                </a:lnTo>
                <a:lnTo>
                  <a:pt x="2483" y="1212"/>
                </a:lnTo>
                <a:lnTo>
                  <a:pt x="2486" y="1212"/>
                </a:lnTo>
                <a:lnTo>
                  <a:pt x="2489" y="1213"/>
                </a:lnTo>
                <a:lnTo>
                  <a:pt x="2492" y="1214"/>
                </a:lnTo>
                <a:lnTo>
                  <a:pt x="2494" y="1215"/>
                </a:lnTo>
                <a:lnTo>
                  <a:pt x="2497" y="1218"/>
                </a:lnTo>
                <a:lnTo>
                  <a:pt x="2498" y="1220"/>
                </a:lnTo>
                <a:lnTo>
                  <a:pt x="2499" y="1223"/>
                </a:lnTo>
                <a:lnTo>
                  <a:pt x="2500" y="1226"/>
                </a:lnTo>
                <a:lnTo>
                  <a:pt x="2500" y="1229"/>
                </a:lnTo>
                <a:lnTo>
                  <a:pt x="2499" y="1232"/>
                </a:lnTo>
                <a:lnTo>
                  <a:pt x="2498" y="1234"/>
                </a:lnTo>
                <a:lnTo>
                  <a:pt x="2496" y="1237"/>
                </a:lnTo>
                <a:lnTo>
                  <a:pt x="2494" y="1239"/>
                </a:lnTo>
                <a:lnTo>
                  <a:pt x="2492" y="1241"/>
                </a:lnTo>
                <a:lnTo>
                  <a:pt x="2489" y="1242"/>
                </a:lnTo>
                <a:lnTo>
                  <a:pt x="2485" y="1242"/>
                </a:lnTo>
                <a:lnTo>
                  <a:pt x="2482" y="1242"/>
                </a:lnTo>
                <a:lnTo>
                  <a:pt x="2479" y="1242"/>
                </a:lnTo>
                <a:lnTo>
                  <a:pt x="2476" y="1241"/>
                </a:lnTo>
                <a:lnTo>
                  <a:pt x="2474" y="1239"/>
                </a:lnTo>
                <a:lnTo>
                  <a:pt x="2472" y="1237"/>
                </a:lnTo>
                <a:lnTo>
                  <a:pt x="2470" y="1234"/>
                </a:lnTo>
                <a:lnTo>
                  <a:pt x="2469" y="1231"/>
                </a:lnTo>
                <a:lnTo>
                  <a:pt x="2469" y="1228"/>
                </a:lnTo>
                <a:lnTo>
                  <a:pt x="2469" y="1225"/>
                </a:lnTo>
                <a:lnTo>
                  <a:pt x="2469" y="1223"/>
                </a:lnTo>
                <a:lnTo>
                  <a:pt x="2470" y="1220"/>
                </a:lnTo>
                <a:lnTo>
                  <a:pt x="2472" y="1218"/>
                </a:lnTo>
                <a:lnTo>
                  <a:pt x="2474" y="1215"/>
                </a:lnTo>
                <a:lnTo>
                  <a:pt x="2476" y="1214"/>
                </a:lnTo>
                <a:close/>
                <a:moveTo>
                  <a:pt x="4755" y="2104"/>
                </a:moveTo>
                <a:lnTo>
                  <a:pt x="4757" y="2103"/>
                </a:lnTo>
                <a:lnTo>
                  <a:pt x="4759" y="2103"/>
                </a:lnTo>
                <a:lnTo>
                  <a:pt x="4762" y="2102"/>
                </a:lnTo>
                <a:lnTo>
                  <a:pt x="4766" y="2102"/>
                </a:lnTo>
                <a:lnTo>
                  <a:pt x="4770" y="2104"/>
                </a:lnTo>
                <a:lnTo>
                  <a:pt x="4773" y="2106"/>
                </a:lnTo>
                <a:lnTo>
                  <a:pt x="4775" y="2108"/>
                </a:lnTo>
                <a:lnTo>
                  <a:pt x="4776" y="2111"/>
                </a:lnTo>
                <a:lnTo>
                  <a:pt x="4778" y="2113"/>
                </a:lnTo>
                <a:lnTo>
                  <a:pt x="4778" y="2116"/>
                </a:lnTo>
                <a:lnTo>
                  <a:pt x="4778" y="2119"/>
                </a:lnTo>
                <a:lnTo>
                  <a:pt x="4777" y="2122"/>
                </a:lnTo>
                <a:lnTo>
                  <a:pt x="4776" y="2125"/>
                </a:lnTo>
                <a:lnTo>
                  <a:pt x="4774" y="2128"/>
                </a:lnTo>
                <a:lnTo>
                  <a:pt x="4770" y="2131"/>
                </a:lnTo>
                <a:lnTo>
                  <a:pt x="4769" y="2132"/>
                </a:lnTo>
                <a:lnTo>
                  <a:pt x="4767" y="2132"/>
                </a:lnTo>
                <a:lnTo>
                  <a:pt x="4763" y="2133"/>
                </a:lnTo>
                <a:lnTo>
                  <a:pt x="4759" y="2132"/>
                </a:lnTo>
                <a:lnTo>
                  <a:pt x="4755" y="2131"/>
                </a:lnTo>
                <a:lnTo>
                  <a:pt x="4752" y="2129"/>
                </a:lnTo>
                <a:lnTo>
                  <a:pt x="4750" y="2127"/>
                </a:lnTo>
                <a:lnTo>
                  <a:pt x="4749" y="2124"/>
                </a:lnTo>
                <a:lnTo>
                  <a:pt x="4748" y="2121"/>
                </a:lnTo>
                <a:lnTo>
                  <a:pt x="4747" y="2119"/>
                </a:lnTo>
                <a:lnTo>
                  <a:pt x="4747" y="2116"/>
                </a:lnTo>
                <a:lnTo>
                  <a:pt x="4748" y="2113"/>
                </a:lnTo>
                <a:lnTo>
                  <a:pt x="4749" y="2110"/>
                </a:lnTo>
                <a:lnTo>
                  <a:pt x="4752" y="2107"/>
                </a:lnTo>
                <a:lnTo>
                  <a:pt x="4755" y="2104"/>
                </a:lnTo>
                <a:close/>
                <a:moveTo>
                  <a:pt x="4630" y="2033"/>
                </a:moveTo>
                <a:lnTo>
                  <a:pt x="4633" y="2032"/>
                </a:lnTo>
                <a:lnTo>
                  <a:pt x="4637" y="2031"/>
                </a:lnTo>
                <a:lnTo>
                  <a:pt x="4641" y="2031"/>
                </a:lnTo>
                <a:lnTo>
                  <a:pt x="4645" y="2033"/>
                </a:lnTo>
                <a:lnTo>
                  <a:pt x="4647" y="2035"/>
                </a:lnTo>
                <a:lnTo>
                  <a:pt x="4650" y="2037"/>
                </a:lnTo>
                <a:lnTo>
                  <a:pt x="4651" y="2040"/>
                </a:lnTo>
                <a:lnTo>
                  <a:pt x="4652" y="2042"/>
                </a:lnTo>
                <a:lnTo>
                  <a:pt x="4653" y="2045"/>
                </a:lnTo>
                <a:lnTo>
                  <a:pt x="4653" y="2048"/>
                </a:lnTo>
                <a:lnTo>
                  <a:pt x="4652" y="2051"/>
                </a:lnTo>
                <a:lnTo>
                  <a:pt x="4651" y="2054"/>
                </a:lnTo>
                <a:lnTo>
                  <a:pt x="4648" y="2057"/>
                </a:lnTo>
                <a:lnTo>
                  <a:pt x="4645" y="2060"/>
                </a:lnTo>
                <a:lnTo>
                  <a:pt x="4641" y="2061"/>
                </a:lnTo>
                <a:lnTo>
                  <a:pt x="4638" y="2062"/>
                </a:lnTo>
                <a:lnTo>
                  <a:pt x="4634" y="2061"/>
                </a:lnTo>
                <a:lnTo>
                  <a:pt x="4630" y="2060"/>
                </a:lnTo>
                <a:lnTo>
                  <a:pt x="4627" y="2058"/>
                </a:lnTo>
                <a:lnTo>
                  <a:pt x="4625" y="2056"/>
                </a:lnTo>
                <a:lnTo>
                  <a:pt x="4624" y="2053"/>
                </a:lnTo>
                <a:lnTo>
                  <a:pt x="4623" y="2051"/>
                </a:lnTo>
                <a:lnTo>
                  <a:pt x="4622" y="2048"/>
                </a:lnTo>
                <a:lnTo>
                  <a:pt x="4622" y="2045"/>
                </a:lnTo>
                <a:lnTo>
                  <a:pt x="4623" y="2042"/>
                </a:lnTo>
                <a:lnTo>
                  <a:pt x="4624" y="2039"/>
                </a:lnTo>
                <a:lnTo>
                  <a:pt x="4626" y="2036"/>
                </a:lnTo>
                <a:lnTo>
                  <a:pt x="4630" y="2033"/>
                </a:lnTo>
                <a:close/>
                <a:moveTo>
                  <a:pt x="4504" y="1963"/>
                </a:moveTo>
                <a:lnTo>
                  <a:pt x="4507" y="1962"/>
                </a:lnTo>
                <a:lnTo>
                  <a:pt x="4511" y="1961"/>
                </a:lnTo>
                <a:lnTo>
                  <a:pt x="4513" y="1961"/>
                </a:lnTo>
                <a:lnTo>
                  <a:pt x="4515" y="1961"/>
                </a:lnTo>
                <a:lnTo>
                  <a:pt x="4519" y="1963"/>
                </a:lnTo>
                <a:lnTo>
                  <a:pt x="4522" y="1965"/>
                </a:lnTo>
                <a:lnTo>
                  <a:pt x="4524" y="1967"/>
                </a:lnTo>
                <a:lnTo>
                  <a:pt x="4525" y="1968"/>
                </a:lnTo>
                <a:lnTo>
                  <a:pt x="4525" y="1969"/>
                </a:lnTo>
                <a:lnTo>
                  <a:pt x="4526" y="1972"/>
                </a:lnTo>
                <a:lnTo>
                  <a:pt x="4527" y="1975"/>
                </a:lnTo>
                <a:lnTo>
                  <a:pt x="4527" y="1978"/>
                </a:lnTo>
                <a:lnTo>
                  <a:pt x="4526" y="1981"/>
                </a:lnTo>
                <a:lnTo>
                  <a:pt x="4525" y="1984"/>
                </a:lnTo>
                <a:lnTo>
                  <a:pt x="4523" y="1987"/>
                </a:lnTo>
                <a:lnTo>
                  <a:pt x="4519" y="1990"/>
                </a:lnTo>
                <a:lnTo>
                  <a:pt x="4516" y="1991"/>
                </a:lnTo>
                <a:lnTo>
                  <a:pt x="4512" y="1992"/>
                </a:lnTo>
                <a:lnTo>
                  <a:pt x="4510" y="1992"/>
                </a:lnTo>
                <a:lnTo>
                  <a:pt x="4508" y="1991"/>
                </a:lnTo>
                <a:lnTo>
                  <a:pt x="4504" y="1990"/>
                </a:lnTo>
                <a:lnTo>
                  <a:pt x="4502" y="1988"/>
                </a:lnTo>
                <a:lnTo>
                  <a:pt x="4500" y="1986"/>
                </a:lnTo>
                <a:lnTo>
                  <a:pt x="4499" y="1985"/>
                </a:lnTo>
                <a:lnTo>
                  <a:pt x="4498" y="1983"/>
                </a:lnTo>
                <a:lnTo>
                  <a:pt x="4497" y="1981"/>
                </a:lnTo>
                <a:lnTo>
                  <a:pt x="4496" y="1978"/>
                </a:lnTo>
                <a:lnTo>
                  <a:pt x="4496" y="1975"/>
                </a:lnTo>
                <a:lnTo>
                  <a:pt x="4497" y="1972"/>
                </a:lnTo>
                <a:lnTo>
                  <a:pt x="4498" y="1969"/>
                </a:lnTo>
                <a:lnTo>
                  <a:pt x="4501" y="1966"/>
                </a:lnTo>
                <a:lnTo>
                  <a:pt x="4504" y="1963"/>
                </a:lnTo>
                <a:close/>
                <a:moveTo>
                  <a:pt x="4377" y="1894"/>
                </a:moveTo>
                <a:lnTo>
                  <a:pt x="4379" y="1893"/>
                </a:lnTo>
                <a:lnTo>
                  <a:pt x="4381" y="1893"/>
                </a:lnTo>
                <a:lnTo>
                  <a:pt x="4385" y="1892"/>
                </a:lnTo>
                <a:lnTo>
                  <a:pt x="4387" y="1892"/>
                </a:lnTo>
                <a:lnTo>
                  <a:pt x="4389" y="1893"/>
                </a:lnTo>
                <a:lnTo>
                  <a:pt x="4392" y="1894"/>
                </a:lnTo>
                <a:lnTo>
                  <a:pt x="4395" y="1896"/>
                </a:lnTo>
                <a:lnTo>
                  <a:pt x="4397" y="1898"/>
                </a:lnTo>
                <a:lnTo>
                  <a:pt x="4399" y="1900"/>
                </a:lnTo>
                <a:lnTo>
                  <a:pt x="4400" y="1903"/>
                </a:lnTo>
                <a:lnTo>
                  <a:pt x="4400" y="1906"/>
                </a:lnTo>
                <a:lnTo>
                  <a:pt x="4400" y="1909"/>
                </a:lnTo>
                <a:lnTo>
                  <a:pt x="4400" y="1912"/>
                </a:lnTo>
                <a:lnTo>
                  <a:pt x="4399" y="1915"/>
                </a:lnTo>
                <a:lnTo>
                  <a:pt x="4396" y="1918"/>
                </a:lnTo>
                <a:lnTo>
                  <a:pt x="4393" y="1921"/>
                </a:lnTo>
                <a:lnTo>
                  <a:pt x="4391" y="1922"/>
                </a:lnTo>
                <a:lnTo>
                  <a:pt x="4389" y="1922"/>
                </a:lnTo>
                <a:lnTo>
                  <a:pt x="4385" y="1923"/>
                </a:lnTo>
                <a:lnTo>
                  <a:pt x="4384" y="1923"/>
                </a:lnTo>
                <a:lnTo>
                  <a:pt x="4382" y="1923"/>
                </a:lnTo>
                <a:lnTo>
                  <a:pt x="4378" y="1921"/>
                </a:lnTo>
                <a:lnTo>
                  <a:pt x="4375" y="1919"/>
                </a:lnTo>
                <a:lnTo>
                  <a:pt x="4373" y="1917"/>
                </a:lnTo>
                <a:lnTo>
                  <a:pt x="4371" y="1915"/>
                </a:lnTo>
                <a:lnTo>
                  <a:pt x="4370" y="1912"/>
                </a:lnTo>
                <a:lnTo>
                  <a:pt x="4370" y="1909"/>
                </a:lnTo>
                <a:lnTo>
                  <a:pt x="4370" y="1906"/>
                </a:lnTo>
                <a:lnTo>
                  <a:pt x="4370" y="1903"/>
                </a:lnTo>
                <a:lnTo>
                  <a:pt x="4372" y="1900"/>
                </a:lnTo>
                <a:lnTo>
                  <a:pt x="4374" y="1897"/>
                </a:lnTo>
                <a:lnTo>
                  <a:pt x="4377" y="1894"/>
                </a:lnTo>
                <a:close/>
                <a:moveTo>
                  <a:pt x="4250" y="1827"/>
                </a:moveTo>
                <a:lnTo>
                  <a:pt x="4252" y="1827"/>
                </a:lnTo>
                <a:lnTo>
                  <a:pt x="4253" y="1826"/>
                </a:lnTo>
                <a:lnTo>
                  <a:pt x="4257" y="1825"/>
                </a:lnTo>
                <a:lnTo>
                  <a:pt x="4261" y="1826"/>
                </a:lnTo>
                <a:lnTo>
                  <a:pt x="4265" y="1827"/>
                </a:lnTo>
                <a:lnTo>
                  <a:pt x="4267" y="1829"/>
                </a:lnTo>
                <a:lnTo>
                  <a:pt x="4269" y="1831"/>
                </a:lnTo>
                <a:lnTo>
                  <a:pt x="4271" y="1833"/>
                </a:lnTo>
                <a:lnTo>
                  <a:pt x="4272" y="1836"/>
                </a:lnTo>
                <a:lnTo>
                  <a:pt x="4273" y="1839"/>
                </a:lnTo>
                <a:lnTo>
                  <a:pt x="4273" y="1842"/>
                </a:lnTo>
                <a:lnTo>
                  <a:pt x="4272" y="1845"/>
                </a:lnTo>
                <a:lnTo>
                  <a:pt x="4271" y="1848"/>
                </a:lnTo>
                <a:lnTo>
                  <a:pt x="4269" y="1851"/>
                </a:lnTo>
                <a:lnTo>
                  <a:pt x="4265" y="1854"/>
                </a:lnTo>
                <a:lnTo>
                  <a:pt x="4264" y="1855"/>
                </a:lnTo>
                <a:lnTo>
                  <a:pt x="4262" y="1855"/>
                </a:lnTo>
                <a:lnTo>
                  <a:pt x="4258" y="1856"/>
                </a:lnTo>
                <a:lnTo>
                  <a:pt x="4254" y="1856"/>
                </a:lnTo>
                <a:lnTo>
                  <a:pt x="4251" y="1854"/>
                </a:lnTo>
                <a:lnTo>
                  <a:pt x="4248" y="1853"/>
                </a:lnTo>
                <a:lnTo>
                  <a:pt x="4246" y="1851"/>
                </a:lnTo>
                <a:lnTo>
                  <a:pt x="4244" y="1848"/>
                </a:lnTo>
                <a:lnTo>
                  <a:pt x="4243" y="1845"/>
                </a:lnTo>
                <a:lnTo>
                  <a:pt x="4242" y="1840"/>
                </a:lnTo>
                <a:lnTo>
                  <a:pt x="4243" y="1837"/>
                </a:lnTo>
                <a:lnTo>
                  <a:pt x="4244" y="1834"/>
                </a:lnTo>
                <a:lnTo>
                  <a:pt x="4246" y="1830"/>
                </a:lnTo>
                <a:lnTo>
                  <a:pt x="4250" y="1827"/>
                </a:lnTo>
                <a:close/>
                <a:moveTo>
                  <a:pt x="4121" y="1762"/>
                </a:moveTo>
                <a:lnTo>
                  <a:pt x="4125" y="1760"/>
                </a:lnTo>
                <a:lnTo>
                  <a:pt x="4128" y="1760"/>
                </a:lnTo>
                <a:lnTo>
                  <a:pt x="4132" y="1760"/>
                </a:lnTo>
                <a:lnTo>
                  <a:pt x="4136" y="1761"/>
                </a:lnTo>
                <a:lnTo>
                  <a:pt x="4138" y="1763"/>
                </a:lnTo>
                <a:lnTo>
                  <a:pt x="4140" y="1765"/>
                </a:lnTo>
                <a:lnTo>
                  <a:pt x="4142" y="1768"/>
                </a:lnTo>
                <a:lnTo>
                  <a:pt x="4143" y="1770"/>
                </a:lnTo>
                <a:lnTo>
                  <a:pt x="4144" y="1773"/>
                </a:lnTo>
                <a:lnTo>
                  <a:pt x="4144" y="1776"/>
                </a:lnTo>
                <a:lnTo>
                  <a:pt x="4144" y="1779"/>
                </a:lnTo>
                <a:lnTo>
                  <a:pt x="4143" y="1782"/>
                </a:lnTo>
                <a:lnTo>
                  <a:pt x="4141" y="1784"/>
                </a:lnTo>
                <a:lnTo>
                  <a:pt x="4140" y="1787"/>
                </a:lnTo>
                <a:lnTo>
                  <a:pt x="4137" y="1790"/>
                </a:lnTo>
                <a:lnTo>
                  <a:pt x="4133" y="1791"/>
                </a:lnTo>
                <a:lnTo>
                  <a:pt x="4129" y="1792"/>
                </a:lnTo>
                <a:lnTo>
                  <a:pt x="4126" y="1791"/>
                </a:lnTo>
                <a:lnTo>
                  <a:pt x="4122" y="1790"/>
                </a:lnTo>
                <a:lnTo>
                  <a:pt x="4119" y="1788"/>
                </a:lnTo>
                <a:lnTo>
                  <a:pt x="4117" y="1785"/>
                </a:lnTo>
                <a:lnTo>
                  <a:pt x="4116" y="1783"/>
                </a:lnTo>
                <a:lnTo>
                  <a:pt x="4114" y="1780"/>
                </a:lnTo>
                <a:lnTo>
                  <a:pt x="4114" y="1777"/>
                </a:lnTo>
                <a:lnTo>
                  <a:pt x="4113" y="1774"/>
                </a:lnTo>
                <a:lnTo>
                  <a:pt x="4114" y="1771"/>
                </a:lnTo>
                <a:lnTo>
                  <a:pt x="4115" y="1769"/>
                </a:lnTo>
                <a:lnTo>
                  <a:pt x="4116" y="1766"/>
                </a:lnTo>
                <a:lnTo>
                  <a:pt x="4118" y="1765"/>
                </a:lnTo>
                <a:lnTo>
                  <a:pt x="4121" y="1762"/>
                </a:lnTo>
                <a:close/>
                <a:moveTo>
                  <a:pt x="3990" y="1701"/>
                </a:moveTo>
                <a:lnTo>
                  <a:pt x="3993" y="1699"/>
                </a:lnTo>
                <a:lnTo>
                  <a:pt x="3997" y="1699"/>
                </a:lnTo>
                <a:lnTo>
                  <a:pt x="4000" y="1699"/>
                </a:lnTo>
                <a:lnTo>
                  <a:pt x="4004" y="1700"/>
                </a:lnTo>
                <a:lnTo>
                  <a:pt x="4007" y="1702"/>
                </a:lnTo>
                <a:lnTo>
                  <a:pt x="4010" y="1704"/>
                </a:lnTo>
                <a:lnTo>
                  <a:pt x="4012" y="1706"/>
                </a:lnTo>
                <a:lnTo>
                  <a:pt x="4013" y="1709"/>
                </a:lnTo>
                <a:lnTo>
                  <a:pt x="4014" y="1711"/>
                </a:lnTo>
                <a:lnTo>
                  <a:pt x="4014" y="1714"/>
                </a:lnTo>
                <a:lnTo>
                  <a:pt x="4014" y="1717"/>
                </a:lnTo>
                <a:lnTo>
                  <a:pt x="4013" y="1720"/>
                </a:lnTo>
                <a:lnTo>
                  <a:pt x="4011" y="1723"/>
                </a:lnTo>
                <a:lnTo>
                  <a:pt x="4010" y="1724"/>
                </a:lnTo>
                <a:lnTo>
                  <a:pt x="4008" y="1725"/>
                </a:lnTo>
                <a:lnTo>
                  <a:pt x="4007" y="1726"/>
                </a:lnTo>
                <a:lnTo>
                  <a:pt x="4005" y="1727"/>
                </a:lnTo>
                <a:lnTo>
                  <a:pt x="4002" y="1729"/>
                </a:lnTo>
                <a:lnTo>
                  <a:pt x="3998" y="1729"/>
                </a:lnTo>
                <a:lnTo>
                  <a:pt x="3995" y="1729"/>
                </a:lnTo>
                <a:lnTo>
                  <a:pt x="3991" y="1728"/>
                </a:lnTo>
                <a:lnTo>
                  <a:pt x="3988" y="1727"/>
                </a:lnTo>
                <a:lnTo>
                  <a:pt x="3986" y="1725"/>
                </a:lnTo>
                <a:lnTo>
                  <a:pt x="3984" y="1722"/>
                </a:lnTo>
                <a:lnTo>
                  <a:pt x="3983" y="1719"/>
                </a:lnTo>
                <a:lnTo>
                  <a:pt x="3982" y="1717"/>
                </a:lnTo>
                <a:lnTo>
                  <a:pt x="3982" y="1714"/>
                </a:lnTo>
                <a:lnTo>
                  <a:pt x="3982" y="1711"/>
                </a:lnTo>
                <a:lnTo>
                  <a:pt x="3983" y="1708"/>
                </a:lnTo>
                <a:lnTo>
                  <a:pt x="3985" y="1706"/>
                </a:lnTo>
                <a:lnTo>
                  <a:pt x="3986" y="1704"/>
                </a:lnTo>
                <a:lnTo>
                  <a:pt x="3987" y="1703"/>
                </a:lnTo>
                <a:lnTo>
                  <a:pt x="3988" y="1702"/>
                </a:lnTo>
                <a:lnTo>
                  <a:pt x="3990" y="1701"/>
                </a:lnTo>
                <a:close/>
                <a:moveTo>
                  <a:pt x="3858" y="1644"/>
                </a:moveTo>
                <a:lnTo>
                  <a:pt x="3861" y="1642"/>
                </a:lnTo>
                <a:lnTo>
                  <a:pt x="3864" y="1642"/>
                </a:lnTo>
                <a:lnTo>
                  <a:pt x="3868" y="1642"/>
                </a:lnTo>
                <a:lnTo>
                  <a:pt x="3871" y="1643"/>
                </a:lnTo>
                <a:lnTo>
                  <a:pt x="3874" y="1644"/>
                </a:lnTo>
                <a:lnTo>
                  <a:pt x="3876" y="1646"/>
                </a:lnTo>
                <a:lnTo>
                  <a:pt x="3878" y="1649"/>
                </a:lnTo>
                <a:lnTo>
                  <a:pt x="3879" y="1651"/>
                </a:lnTo>
                <a:lnTo>
                  <a:pt x="3880" y="1654"/>
                </a:lnTo>
                <a:lnTo>
                  <a:pt x="3881" y="1657"/>
                </a:lnTo>
                <a:lnTo>
                  <a:pt x="3880" y="1660"/>
                </a:lnTo>
                <a:lnTo>
                  <a:pt x="3879" y="1663"/>
                </a:lnTo>
                <a:lnTo>
                  <a:pt x="3878" y="1665"/>
                </a:lnTo>
                <a:lnTo>
                  <a:pt x="3877" y="1667"/>
                </a:lnTo>
                <a:lnTo>
                  <a:pt x="3875" y="1669"/>
                </a:lnTo>
                <a:lnTo>
                  <a:pt x="3873" y="1670"/>
                </a:lnTo>
                <a:lnTo>
                  <a:pt x="3870" y="1672"/>
                </a:lnTo>
                <a:lnTo>
                  <a:pt x="3866" y="1672"/>
                </a:lnTo>
                <a:lnTo>
                  <a:pt x="3863" y="1672"/>
                </a:lnTo>
                <a:lnTo>
                  <a:pt x="3859" y="1671"/>
                </a:lnTo>
                <a:lnTo>
                  <a:pt x="3857" y="1670"/>
                </a:lnTo>
                <a:lnTo>
                  <a:pt x="3854" y="1668"/>
                </a:lnTo>
                <a:lnTo>
                  <a:pt x="3852" y="1666"/>
                </a:lnTo>
                <a:lnTo>
                  <a:pt x="3851" y="1663"/>
                </a:lnTo>
                <a:lnTo>
                  <a:pt x="3850" y="1660"/>
                </a:lnTo>
                <a:lnTo>
                  <a:pt x="3850" y="1657"/>
                </a:lnTo>
                <a:lnTo>
                  <a:pt x="3850" y="1654"/>
                </a:lnTo>
                <a:lnTo>
                  <a:pt x="3851" y="1651"/>
                </a:lnTo>
                <a:lnTo>
                  <a:pt x="3852" y="1649"/>
                </a:lnTo>
                <a:lnTo>
                  <a:pt x="3854" y="1647"/>
                </a:lnTo>
                <a:lnTo>
                  <a:pt x="3856" y="1645"/>
                </a:lnTo>
                <a:lnTo>
                  <a:pt x="3858" y="1644"/>
                </a:lnTo>
                <a:close/>
                <a:moveTo>
                  <a:pt x="2461" y="2353"/>
                </a:moveTo>
                <a:lnTo>
                  <a:pt x="2464" y="2352"/>
                </a:lnTo>
                <a:lnTo>
                  <a:pt x="2467" y="2351"/>
                </a:lnTo>
                <a:lnTo>
                  <a:pt x="2470" y="2351"/>
                </a:lnTo>
                <a:lnTo>
                  <a:pt x="2473" y="2352"/>
                </a:lnTo>
                <a:lnTo>
                  <a:pt x="2476" y="2353"/>
                </a:lnTo>
                <a:lnTo>
                  <a:pt x="2478" y="2354"/>
                </a:lnTo>
                <a:lnTo>
                  <a:pt x="2481" y="2357"/>
                </a:lnTo>
                <a:lnTo>
                  <a:pt x="2482" y="2359"/>
                </a:lnTo>
                <a:lnTo>
                  <a:pt x="2483" y="2362"/>
                </a:lnTo>
                <a:lnTo>
                  <a:pt x="2484" y="2365"/>
                </a:lnTo>
                <a:lnTo>
                  <a:pt x="2484" y="2368"/>
                </a:lnTo>
                <a:lnTo>
                  <a:pt x="2483" y="2371"/>
                </a:lnTo>
                <a:lnTo>
                  <a:pt x="2482" y="2374"/>
                </a:lnTo>
                <a:lnTo>
                  <a:pt x="2481" y="2376"/>
                </a:lnTo>
                <a:lnTo>
                  <a:pt x="2479" y="2378"/>
                </a:lnTo>
                <a:lnTo>
                  <a:pt x="2476" y="2380"/>
                </a:lnTo>
                <a:lnTo>
                  <a:pt x="2474" y="2381"/>
                </a:lnTo>
                <a:lnTo>
                  <a:pt x="2471" y="2382"/>
                </a:lnTo>
                <a:lnTo>
                  <a:pt x="2467" y="2382"/>
                </a:lnTo>
                <a:lnTo>
                  <a:pt x="2464" y="2381"/>
                </a:lnTo>
                <a:lnTo>
                  <a:pt x="2461" y="2380"/>
                </a:lnTo>
                <a:lnTo>
                  <a:pt x="2459" y="2378"/>
                </a:lnTo>
                <a:lnTo>
                  <a:pt x="2457" y="2376"/>
                </a:lnTo>
                <a:lnTo>
                  <a:pt x="2455" y="2374"/>
                </a:lnTo>
                <a:lnTo>
                  <a:pt x="2454" y="2371"/>
                </a:lnTo>
                <a:lnTo>
                  <a:pt x="2453" y="2368"/>
                </a:lnTo>
                <a:lnTo>
                  <a:pt x="2453" y="2365"/>
                </a:lnTo>
                <a:lnTo>
                  <a:pt x="2454" y="2362"/>
                </a:lnTo>
                <a:lnTo>
                  <a:pt x="2455" y="2359"/>
                </a:lnTo>
                <a:lnTo>
                  <a:pt x="2457" y="2357"/>
                </a:lnTo>
                <a:lnTo>
                  <a:pt x="2459" y="2355"/>
                </a:lnTo>
                <a:lnTo>
                  <a:pt x="2461" y="2353"/>
                </a:lnTo>
                <a:close/>
                <a:moveTo>
                  <a:pt x="3723" y="1593"/>
                </a:moveTo>
                <a:lnTo>
                  <a:pt x="3726" y="1591"/>
                </a:lnTo>
                <a:lnTo>
                  <a:pt x="3729" y="1591"/>
                </a:lnTo>
                <a:lnTo>
                  <a:pt x="3733" y="1591"/>
                </a:lnTo>
                <a:lnTo>
                  <a:pt x="3736" y="1591"/>
                </a:lnTo>
                <a:lnTo>
                  <a:pt x="3739" y="1593"/>
                </a:lnTo>
                <a:lnTo>
                  <a:pt x="3741" y="1595"/>
                </a:lnTo>
                <a:lnTo>
                  <a:pt x="3743" y="1597"/>
                </a:lnTo>
                <a:lnTo>
                  <a:pt x="3745" y="1599"/>
                </a:lnTo>
                <a:lnTo>
                  <a:pt x="3746" y="1602"/>
                </a:lnTo>
                <a:lnTo>
                  <a:pt x="3746" y="1605"/>
                </a:lnTo>
                <a:lnTo>
                  <a:pt x="3745" y="1611"/>
                </a:lnTo>
                <a:lnTo>
                  <a:pt x="3744" y="1614"/>
                </a:lnTo>
                <a:lnTo>
                  <a:pt x="3742" y="1616"/>
                </a:lnTo>
                <a:lnTo>
                  <a:pt x="3741" y="1618"/>
                </a:lnTo>
                <a:lnTo>
                  <a:pt x="3738" y="1619"/>
                </a:lnTo>
                <a:lnTo>
                  <a:pt x="3735" y="1621"/>
                </a:lnTo>
                <a:lnTo>
                  <a:pt x="3732" y="1621"/>
                </a:lnTo>
                <a:lnTo>
                  <a:pt x="3729" y="1621"/>
                </a:lnTo>
                <a:lnTo>
                  <a:pt x="3726" y="1620"/>
                </a:lnTo>
                <a:lnTo>
                  <a:pt x="3723" y="1619"/>
                </a:lnTo>
                <a:lnTo>
                  <a:pt x="3720" y="1617"/>
                </a:lnTo>
                <a:lnTo>
                  <a:pt x="3718" y="1615"/>
                </a:lnTo>
                <a:lnTo>
                  <a:pt x="3717" y="1613"/>
                </a:lnTo>
                <a:lnTo>
                  <a:pt x="3716" y="1610"/>
                </a:lnTo>
                <a:lnTo>
                  <a:pt x="3715" y="1607"/>
                </a:lnTo>
                <a:lnTo>
                  <a:pt x="3716" y="1601"/>
                </a:lnTo>
                <a:lnTo>
                  <a:pt x="3717" y="1598"/>
                </a:lnTo>
                <a:lnTo>
                  <a:pt x="3719" y="1596"/>
                </a:lnTo>
                <a:lnTo>
                  <a:pt x="3721" y="1594"/>
                </a:lnTo>
                <a:lnTo>
                  <a:pt x="3723" y="1593"/>
                </a:lnTo>
                <a:close/>
                <a:moveTo>
                  <a:pt x="2491" y="2213"/>
                </a:moveTo>
                <a:lnTo>
                  <a:pt x="2493" y="2211"/>
                </a:lnTo>
                <a:lnTo>
                  <a:pt x="2496" y="2211"/>
                </a:lnTo>
                <a:lnTo>
                  <a:pt x="2498" y="2210"/>
                </a:lnTo>
                <a:lnTo>
                  <a:pt x="2501" y="2211"/>
                </a:lnTo>
                <a:lnTo>
                  <a:pt x="2504" y="2211"/>
                </a:lnTo>
                <a:lnTo>
                  <a:pt x="2507" y="2213"/>
                </a:lnTo>
                <a:lnTo>
                  <a:pt x="2509" y="2214"/>
                </a:lnTo>
                <a:lnTo>
                  <a:pt x="2511" y="2217"/>
                </a:lnTo>
                <a:lnTo>
                  <a:pt x="2513" y="2219"/>
                </a:lnTo>
                <a:lnTo>
                  <a:pt x="2514" y="2222"/>
                </a:lnTo>
                <a:lnTo>
                  <a:pt x="2514" y="2225"/>
                </a:lnTo>
                <a:lnTo>
                  <a:pt x="2514" y="2228"/>
                </a:lnTo>
                <a:lnTo>
                  <a:pt x="2513" y="2232"/>
                </a:lnTo>
                <a:lnTo>
                  <a:pt x="2512" y="2235"/>
                </a:lnTo>
                <a:lnTo>
                  <a:pt x="2509" y="2237"/>
                </a:lnTo>
                <a:lnTo>
                  <a:pt x="2507" y="2239"/>
                </a:lnTo>
                <a:lnTo>
                  <a:pt x="2504" y="2240"/>
                </a:lnTo>
                <a:lnTo>
                  <a:pt x="2502" y="2241"/>
                </a:lnTo>
                <a:lnTo>
                  <a:pt x="2499" y="2241"/>
                </a:lnTo>
                <a:lnTo>
                  <a:pt x="2497" y="2241"/>
                </a:lnTo>
                <a:lnTo>
                  <a:pt x="2494" y="2240"/>
                </a:lnTo>
                <a:lnTo>
                  <a:pt x="2491" y="2239"/>
                </a:lnTo>
                <a:lnTo>
                  <a:pt x="2489" y="2237"/>
                </a:lnTo>
                <a:lnTo>
                  <a:pt x="2487" y="2235"/>
                </a:lnTo>
                <a:lnTo>
                  <a:pt x="2485" y="2233"/>
                </a:lnTo>
                <a:lnTo>
                  <a:pt x="2484" y="2230"/>
                </a:lnTo>
                <a:lnTo>
                  <a:pt x="2484" y="2227"/>
                </a:lnTo>
                <a:lnTo>
                  <a:pt x="2484" y="2224"/>
                </a:lnTo>
                <a:lnTo>
                  <a:pt x="2485" y="2220"/>
                </a:lnTo>
                <a:lnTo>
                  <a:pt x="2486" y="2217"/>
                </a:lnTo>
                <a:lnTo>
                  <a:pt x="2488" y="2215"/>
                </a:lnTo>
                <a:lnTo>
                  <a:pt x="2491" y="2213"/>
                </a:lnTo>
                <a:close/>
                <a:moveTo>
                  <a:pt x="3586" y="1549"/>
                </a:moveTo>
                <a:lnTo>
                  <a:pt x="3589" y="1548"/>
                </a:lnTo>
                <a:lnTo>
                  <a:pt x="3592" y="1547"/>
                </a:lnTo>
                <a:lnTo>
                  <a:pt x="3595" y="1547"/>
                </a:lnTo>
                <a:lnTo>
                  <a:pt x="3598" y="1547"/>
                </a:lnTo>
                <a:lnTo>
                  <a:pt x="3601" y="1548"/>
                </a:lnTo>
                <a:lnTo>
                  <a:pt x="3603" y="1550"/>
                </a:lnTo>
                <a:lnTo>
                  <a:pt x="3605" y="1552"/>
                </a:lnTo>
                <a:lnTo>
                  <a:pt x="3607" y="1555"/>
                </a:lnTo>
                <a:lnTo>
                  <a:pt x="3608" y="1557"/>
                </a:lnTo>
                <a:lnTo>
                  <a:pt x="3609" y="1560"/>
                </a:lnTo>
                <a:lnTo>
                  <a:pt x="3609" y="1563"/>
                </a:lnTo>
                <a:lnTo>
                  <a:pt x="3608" y="1566"/>
                </a:lnTo>
                <a:lnTo>
                  <a:pt x="3607" y="1569"/>
                </a:lnTo>
                <a:lnTo>
                  <a:pt x="3606" y="1572"/>
                </a:lnTo>
                <a:lnTo>
                  <a:pt x="3604" y="1574"/>
                </a:lnTo>
                <a:lnTo>
                  <a:pt x="3601" y="1575"/>
                </a:lnTo>
                <a:lnTo>
                  <a:pt x="3599" y="1577"/>
                </a:lnTo>
                <a:lnTo>
                  <a:pt x="3596" y="1577"/>
                </a:lnTo>
                <a:lnTo>
                  <a:pt x="3593" y="1577"/>
                </a:lnTo>
                <a:lnTo>
                  <a:pt x="3589" y="1577"/>
                </a:lnTo>
                <a:lnTo>
                  <a:pt x="3587" y="1576"/>
                </a:lnTo>
                <a:lnTo>
                  <a:pt x="3584" y="1574"/>
                </a:lnTo>
                <a:lnTo>
                  <a:pt x="3582" y="1572"/>
                </a:lnTo>
                <a:lnTo>
                  <a:pt x="3580" y="1570"/>
                </a:lnTo>
                <a:lnTo>
                  <a:pt x="3579" y="1567"/>
                </a:lnTo>
                <a:lnTo>
                  <a:pt x="3578" y="1564"/>
                </a:lnTo>
                <a:lnTo>
                  <a:pt x="3578" y="1561"/>
                </a:lnTo>
                <a:lnTo>
                  <a:pt x="3579" y="1558"/>
                </a:lnTo>
                <a:lnTo>
                  <a:pt x="3580" y="1555"/>
                </a:lnTo>
                <a:lnTo>
                  <a:pt x="3582" y="1553"/>
                </a:lnTo>
                <a:lnTo>
                  <a:pt x="3584" y="1550"/>
                </a:lnTo>
                <a:lnTo>
                  <a:pt x="3586" y="1549"/>
                </a:lnTo>
                <a:close/>
                <a:moveTo>
                  <a:pt x="2505" y="2069"/>
                </a:moveTo>
                <a:lnTo>
                  <a:pt x="2509" y="2068"/>
                </a:lnTo>
                <a:lnTo>
                  <a:pt x="2512" y="2067"/>
                </a:lnTo>
                <a:lnTo>
                  <a:pt x="2514" y="2067"/>
                </a:lnTo>
                <a:lnTo>
                  <a:pt x="2520" y="2069"/>
                </a:lnTo>
                <a:lnTo>
                  <a:pt x="2522" y="2070"/>
                </a:lnTo>
                <a:lnTo>
                  <a:pt x="2524" y="2072"/>
                </a:lnTo>
                <a:lnTo>
                  <a:pt x="2526" y="2075"/>
                </a:lnTo>
                <a:lnTo>
                  <a:pt x="2527" y="2078"/>
                </a:lnTo>
                <a:lnTo>
                  <a:pt x="2528" y="2081"/>
                </a:lnTo>
                <a:lnTo>
                  <a:pt x="2528" y="2084"/>
                </a:lnTo>
                <a:lnTo>
                  <a:pt x="2527" y="2087"/>
                </a:lnTo>
                <a:lnTo>
                  <a:pt x="2526" y="2091"/>
                </a:lnTo>
                <a:lnTo>
                  <a:pt x="2524" y="2094"/>
                </a:lnTo>
                <a:lnTo>
                  <a:pt x="2521" y="2096"/>
                </a:lnTo>
                <a:lnTo>
                  <a:pt x="2516" y="2098"/>
                </a:lnTo>
                <a:lnTo>
                  <a:pt x="2514" y="2098"/>
                </a:lnTo>
                <a:lnTo>
                  <a:pt x="2512" y="2098"/>
                </a:lnTo>
                <a:lnTo>
                  <a:pt x="2506" y="2096"/>
                </a:lnTo>
                <a:lnTo>
                  <a:pt x="2503" y="2095"/>
                </a:lnTo>
                <a:lnTo>
                  <a:pt x="2501" y="2093"/>
                </a:lnTo>
                <a:lnTo>
                  <a:pt x="2500" y="2090"/>
                </a:lnTo>
                <a:lnTo>
                  <a:pt x="2498" y="2088"/>
                </a:lnTo>
                <a:lnTo>
                  <a:pt x="2498" y="2085"/>
                </a:lnTo>
                <a:lnTo>
                  <a:pt x="2498" y="2082"/>
                </a:lnTo>
                <a:lnTo>
                  <a:pt x="2498" y="2078"/>
                </a:lnTo>
                <a:lnTo>
                  <a:pt x="2500" y="2074"/>
                </a:lnTo>
                <a:lnTo>
                  <a:pt x="2502" y="2071"/>
                </a:lnTo>
                <a:lnTo>
                  <a:pt x="2505" y="2069"/>
                </a:lnTo>
                <a:close/>
                <a:moveTo>
                  <a:pt x="3446" y="1515"/>
                </a:moveTo>
                <a:lnTo>
                  <a:pt x="3449" y="1514"/>
                </a:lnTo>
                <a:lnTo>
                  <a:pt x="3451" y="1513"/>
                </a:lnTo>
                <a:lnTo>
                  <a:pt x="3457" y="1513"/>
                </a:lnTo>
                <a:lnTo>
                  <a:pt x="3460" y="1514"/>
                </a:lnTo>
                <a:lnTo>
                  <a:pt x="3462" y="1515"/>
                </a:lnTo>
                <a:lnTo>
                  <a:pt x="3465" y="1517"/>
                </a:lnTo>
                <a:lnTo>
                  <a:pt x="3467" y="1520"/>
                </a:lnTo>
                <a:lnTo>
                  <a:pt x="3468" y="1522"/>
                </a:lnTo>
                <a:lnTo>
                  <a:pt x="3469" y="1525"/>
                </a:lnTo>
                <a:lnTo>
                  <a:pt x="3469" y="1528"/>
                </a:lnTo>
                <a:lnTo>
                  <a:pt x="3469" y="1531"/>
                </a:lnTo>
                <a:lnTo>
                  <a:pt x="3468" y="1534"/>
                </a:lnTo>
                <a:lnTo>
                  <a:pt x="3466" y="1537"/>
                </a:lnTo>
                <a:lnTo>
                  <a:pt x="3464" y="1540"/>
                </a:lnTo>
                <a:lnTo>
                  <a:pt x="3462" y="1541"/>
                </a:lnTo>
                <a:lnTo>
                  <a:pt x="3459" y="1543"/>
                </a:lnTo>
                <a:lnTo>
                  <a:pt x="3456" y="1543"/>
                </a:lnTo>
                <a:lnTo>
                  <a:pt x="3451" y="1543"/>
                </a:lnTo>
                <a:lnTo>
                  <a:pt x="3448" y="1542"/>
                </a:lnTo>
                <a:lnTo>
                  <a:pt x="3445" y="1541"/>
                </a:lnTo>
                <a:lnTo>
                  <a:pt x="3443" y="1539"/>
                </a:lnTo>
                <a:lnTo>
                  <a:pt x="3441" y="1537"/>
                </a:lnTo>
                <a:lnTo>
                  <a:pt x="3440" y="1534"/>
                </a:lnTo>
                <a:lnTo>
                  <a:pt x="3439" y="1531"/>
                </a:lnTo>
                <a:lnTo>
                  <a:pt x="3438" y="1528"/>
                </a:lnTo>
                <a:lnTo>
                  <a:pt x="3439" y="1525"/>
                </a:lnTo>
                <a:lnTo>
                  <a:pt x="3440" y="1522"/>
                </a:lnTo>
                <a:lnTo>
                  <a:pt x="3441" y="1519"/>
                </a:lnTo>
                <a:lnTo>
                  <a:pt x="3444" y="1517"/>
                </a:lnTo>
                <a:lnTo>
                  <a:pt x="3446" y="1515"/>
                </a:lnTo>
                <a:close/>
                <a:moveTo>
                  <a:pt x="3304" y="1493"/>
                </a:moveTo>
                <a:lnTo>
                  <a:pt x="3308" y="1491"/>
                </a:lnTo>
                <a:lnTo>
                  <a:pt x="3311" y="1491"/>
                </a:lnTo>
                <a:lnTo>
                  <a:pt x="3313" y="1491"/>
                </a:lnTo>
                <a:lnTo>
                  <a:pt x="3316" y="1492"/>
                </a:lnTo>
                <a:lnTo>
                  <a:pt x="3319" y="1493"/>
                </a:lnTo>
                <a:lnTo>
                  <a:pt x="3321" y="1495"/>
                </a:lnTo>
                <a:lnTo>
                  <a:pt x="3323" y="1497"/>
                </a:lnTo>
                <a:lnTo>
                  <a:pt x="3325" y="1499"/>
                </a:lnTo>
                <a:lnTo>
                  <a:pt x="3326" y="1502"/>
                </a:lnTo>
                <a:lnTo>
                  <a:pt x="3327" y="1505"/>
                </a:lnTo>
                <a:lnTo>
                  <a:pt x="3327" y="1508"/>
                </a:lnTo>
                <a:lnTo>
                  <a:pt x="3326" y="1512"/>
                </a:lnTo>
                <a:lnTo>
                  <a:pt x="3324" y="1515"/>
                </a:lnTo>
                <a:lnTo>
                  <a:pt x="3322" y="1518"/>
                </a:lnTo>
                <a:lnTo>
                  <a:pt x="3319" y="1520"/>
                </a:lnTo>
                <a:lnTo>
                  <a:pt x="3315" y="1522"/>
                </a:lnTo>
                <a:lnTo>
                  <a:pt x="3313" y="1522"/>
                </a:lnTo>
                <a:lnTo>
                  <a:pt x="3310" y="1522"/>
                </a:lnTo>
                <a:lnTo>
                  <a:pt x="3307" y="1521"/>
                </a:lnTo>
                <a:lnTo>
                  <a:pt x="3304" y="1520"/>
                </a:lnTo>
                <a:lnTo>
                  <a:pt x="3302" y="1518"/>
                </a:lnTo>
                <a:lnTo>
                  <a:pt x="3300" y="1516"/>
                </a:lnTo>
                <a:lnTo>
                  <a:pt x="3298" y="1514"/>
                </a:lnTo>
                <a:lnTo>
                  <a:pt x="3297" y="1511"/>
                </a:lnTo>
                <a:lnTo>
                  <a:pt x="3296" y="1508"/>
                </a:lnTo>
                <a:lnTo>
                  <a:pt x="3296" y="1505"/>
                </a:lnTo>
                <a:lnTo>
                  <a:pt x="3297" y="1501"/>
                </a:lnTo>
                <a:lnTo>
                  <a:pt x="3299" y="1498"/>
                </a:lnTo>
                <a:lnTo>
                  <a:pt x="3301" y="1495"/>
                </a:lnTo>
                <a:lnTo>
                  <a:pt x="3304" y="1493"/>
                </a:lnTo>
                <a:close/>
                <a:moveTo>
                  <a:pt x="2517" y="1926"/>
                </a:moveTo>
                <a:lnTo>
                  <a:pt x="2519" y="1925"/>
                </a:lnTo>
                <a:lnTo>
                  <a:pt x="2521" y="1924"/>
                </a:lnTo>
                <a:lnTo>
                  <a:pt x="2524" y="1924"/>
                </a:lnTo>
                <a:lnTo>
                  <a:pt x="2526" y="1924"/>
                </a:lnTo>
                <a:lnTo>
                  <a:pt x="2529" y="1924"/>
                </a:lnTo>
                <a:lnTo>
                  <a:pt x="2532" y="1926"/>
                </a:lnTo>
                <a:lnTo>
                  <a:pt x="2535" y="1927"/>
                </a:lnTo>
                <a:lnTo>
                  <a:pt x="2536" y="1928"/>
                </a:lnTo>
                <a:lnTo>
                  <a:pt x="2537" y="1930"/>
                </a:lnTo>
                <a:lnTo>
                  <a:pt x="2537" y="1931"/>
                </a:lnTo>
                <a:lnTo>
                  <a:pt x="2538" y="1932"/>
                </a:lnTo>
                <a:lnTo>
                  <a:pt x="2539" y="1935"/>
                </a:lnTo>
                <a:lnTo>
                  <a:pt x="2540" y="1938"/>
                </a:lnTo>
                <a:lnTo>
                  <a:pt x="2540" y="1941"/>
                </a:lnTo>
                <a:lnTo>
                  <a:pt x="2539" y="1944"/>
                </a:lnTo>
                <a:lnTo>
                  <a:pt x="2537" y="1948"/>
                </a:lnTo>
                <a:lnTo>
                  <a:pt x="2535" y="1950"/>
                </a:lnTo>
                <a:lnTo>
                  <a:pt x="2532" y="1952"/>
                </a:lnTo>
                <a:lnTo>
                  <a:pt x="2530" y="1953"/>
                </a:lnTo>
                <a:lnTo>
                  <a:pt x="2528" y="1954"/>
                </a:lnTo>
                <a:lnTo>
                  <a:pt x="2525" y="1954"/>
                </a:lnTo>
                <a:lnTo>
                  <a:pt x="2523" y="1954"/>
                </a:lnTo>
                <a:lnTo>
                  <a:pt x="2520" y="1954"/>
                </a:lnTo>
                <a:lnTo>
                  <a:pt x="2517" y="1952"/>
                </a:lnTo>
                <a:lnTo>
                  <a:pt x="2514" y="1951"/>
                </a:lnTo>
                <a:lnTo>
                  <a:pt x="2513" y="1950"/>
                </a:lnTo>
                <a:lnTo>
                  <a:pt x="2512" y="1949"/>
                </a:lnTo>
                <a:lnTo>
                  <a:pt x="2512" y="1947"/>
                </a:lnTo>
                <a:lnTo>
                  <a:pt x="2511" y="1946"/>
                </a:lnTo>
                <a:lnTo>
                  <a:pt x="2510" y="1943"/>
                </a:lnTo>
                <a:lnTo>
                  <a:pt x="2509" y="1940"/>
                </a:lnTo>
                <a:lnTo>
                  <a:pt x="2509" y="1937"/>
                </a:lnTo>
                <a:lnTo>
                  <a:pt x="2510" y="1934"/>
                </a:lnTo>
                <a:lnTo>
                  <a:pt x="2512" y="1930"/>
                </a:lnTo>
                <a:lnTo>
                  <a:pt x="2514" y="1928"/>
                </a:lnTo>
                <a:lnTo>
                  <a:pt x="2517" y="1926"/>
                </a:lnTo>
                <a:close/>
                <a:moveTo>
                  <a:pt x="3160" y="1487"/>
                </a:moveTo>
                <a:lnTo>
                  <a:pt x="3162" y="1486"/>
                </a:lnTo>
                <a:lnTo>
                  <a:pt x="3164" y="1486"/>
                </a:lnTo>
                <a:lnTo>
                  <a:pt x="3168" y="1485"/>
                </a:lnTo>
                <a:lnTo>
                  <a:pt x="3171" y="1485"/>
                </a:lnTo>
                <a:lnTo>
                  <a:pt x="3174" y="1486"/>
                </a:lnTo>
                <a:lnTo>
                  <a:pt x="3176" y="1488"/>
                </a:lnTo>
                <a:lnTo>
                  <a:pt x="3179" y="1490"/>
                </a:lnTo>
                <a:lnTo>
                  <a:pt x="3181" y="1492"/>
                </a:lnTo>
                <a:lnTo>
                  <a:pt x="3182" y="1494"/>
                </a:lnTo>
                <a:lnTo>
                  <a:pt x="3183" y="1497"/>
                </a:lnTo>
                <a:lnTo>
                  <a:pt x="3183" y="1500"/>
                </a:lnTo>
                <a:lnTo>
                  <a:pt x="3183" y="1505"/>
                </a:lnTo>
                <a:lnTo>
                  <a:pt x="3181" y="1508"/>
                </a:lnTo>
                <a:lnTo>
                  <a:pt x="3179" y="1511"/>
                </a:lnTo>
                <a:lnTo>
                  <a:pt x="3176" y="1514"/>
                </a:lnTo>
                <a:lnTo>
                  <a:pt x="3174" y="1515"/>
                </a:lnTo>
                <a:lnTo>
                  <a:pt x="3172" y="1515"/>
                </a:lnTo>
                <a:lnTo>
                  <a:pt x="3168" y="1516"/>
                </a:lnTo>
                <a:lnTo>
                  <a:pt x="3165" y="1516"/>
                </a:lnTo>
                <a:lnTo>
                  <a:pt x="3162" y="1515"/>
                </a:lnTo>
                <a:lnTo>
                  <a:pt x="3160" y="1514"/>
                </a:lnTo>
                <a:lnTo>
                  <a:pt x="3157" y="1512"/>
                </a:lnTo>
                <a:lnTo>
                  <a:pt x="3155" y="1509"/>
                </a:lnTo>
                <a:lnTo>
                  <a:pt x="3154" y="1507"/>
                </a:lnTo>
                <a:lnTo>
                  <a:pt x="3153" y="1504"/>
                </a:lnTo>
                <a:lnTo>
                  <a:pt x="3153" y="1501"/>
                </a:lnTo>
                <a:lnTo>
                  <a:pt x="3153" y="1497"/>
                </a:lnTo>
                <a:lnTo>
                  <a:pt x="3155" y="1493"/>
                </a:lnTo>
                <a:lnTo>
                  <a:pt x="3157" y="1490"/>
                </a:lnTo>
                <a:lnTo>
                  <a:pt x="3160" y="1487"/>
                </a:lnTo>
                <a:close/>
                <a:moveTo>
                  <a:pt x="2548" y="1785"/>
                </a:moveTo>
                <a:lnTo>
                  <a:pt x="2552" y="1784"/>
                </a:lnTo>
                <a:lnTo>
                  <a:pt x="2555" y="1783"/>
                </a:lnTo>
                <a:lnTo>
                  <a:pt x="2558" y="1783"/>
                </a:lnTo>
                <a:lnTo>
                  <a:pt x="2562" y="1784"/>
                </a:lnTo>
                <a:lnTo>
                  <a:pt x="2563" y="1785"/>
                </a:lnTo>
                <a:lnTo>
                  <a:pt x="2564" y="1785"/>
                </a:lnTo>
                <a:lnTo>
                  <a:pt x="2567" y="1788"/>
                </a:lnTo>
                <a:lnTo>
                  <a:pt x="2569" y="1790"/>
                </a:lnTo>
                <a:lnTo>
                  <a:pt x="2570" y="1793"/>
                </a:lnTo>
                <a:lnTo>
                  <a:pt x="2571" y="1796"/>
                </a:lnTo>
                <a:lnTo>
                  <a:pt x="2572" y="1799"/>
                </a:lnTo>
                <a:lnTo>
                  <a:pt x="2571" y="1802"/>
                </a:lnTo>
                <a:lnTo>
                  <a:pt x="2571" y="1805"/>
                </a:lnTo>
                <a:lnTo>
                  <a:pt x="2569" y="1807"/>
                </a:lnTo>
                <a:lnTo>
                  <a:pt x="2568" y="1809"/>
                </a:lnTo>
                <a:lnTo>
                  <a:pt x="2566" y="1811"/>
                </a:lnTo>
                <a:lnTo>
                  <a:pt x="2564" y="1813"/>
                </a:lnTo>
                <a:lnTo>
                  <a:pt x="2561" y="1814"/>
                </a:lnTo>
                <a:lnTo>
                  <a:pt x="2558" y="1815"/>
                </a:lnTo>
                <a:lnTo>
                  <a:pt x="2554" y="1814"/>
                </a:lnTo>
                <a:lnTo>
                  <a:pt x="2551" y="1814"/>
                </a:lnTo>
                <a:lnTo>
                  <a:pt x="2549" y="1813"/>
                </a:lnTo>
                <a:lnTo>
                  <a:pt x="2548" y="1812"/>
                </a:lnTo>
                <a:lnTo>
                  <a:pt x="2546" y="1810"/>
                </a:lnTo>
                <a:lnTo>
                  <a:pt x="2544" y="1808"/>
                </a:lnTo>
                <a:lnTo>
                  <a:pt x="2542" y="1805"/>
                </a:lnTo>
                <a:lnTo>
                  <a:pt x="2541" y="1803"/>
                </a:lnTo>
                <a:lnTo>
                  <a:pt x="2541" y="1800"/>
                </a:lnTo>
                <a:lnTo>
                  <a:pt x="2541" y="1797"/>
                </a:lnTo>
                <a:lnTo>
                  <a:pt x="2542" y="1794"/>
                </a:lnTo>
                <a:lnTo>
                  <a:pt x="2543" y="1791"/>
                </a:lnTo>
                <a:lnTo>
                  <a:pt x="2545" y="1789"/>
                </a:lnTo>
                <a:lnTo>
                  <a:pt x="2546" y="1787"/>
                </a:lnTo>
                <a:lnTo>
                  <a:pt x="2548" y="1785"/>
                </a:lnTo>
                <a:close/>
                <a:moveTo>
                  <a:pt x="3017" y="1500"/>
                </a:moveTo>
                <a:lnTo>
                  <a:pt x="3020" y="1499"/>
                </a:lnTo>
                <a:lnTo>
                  <a:pt x="3022" y="1498"/>
                </a:lnTo>
                <a:lnTo>
                  <a:pt x="3025" y="1498"/>
                </a:lnTo>
                <a:lnTo>
                  <a:pt x="3028" y="1498"/>
                </a:lnTo>
                <a:lnTo>
                  <a:pt x="3031" y="1499"/>
                </a:lnTo>
                <a:lnTo>
                  <a:pt x="3034" y="1501"/>
                </a:lnTo>
                <a:lnTo>
                  <a:pt x="3036" y="1503"/>
                </a:lnTo>
                <a:lnTo>
                  <a:pt x="3038" y="1505"/>
                </a:lnTo>
                <a:lnTo>
                  <a:pt x="3039" y="1508"/>
                </a:lnTo>
                <a:lnTo>
                  <a:pt x="3040" y="1511"/>
                </a:lnTo>
                <a:lnTo>
                  <a:pt x="3040" y="1516"/>
                </a:lnTo>
                <a:lnTo>
                  <a:pt x="3039" y="1520"/>
                </a:lnTo>
                <a:lnTo>
                  <a:pt x="3036" y="1524"/>
                </a:lnTo>
                <a:lnTo>
                  <a:pt x="3032" y="1527"/>
                </a:lnTo>
                <a:lnTo>
                  <a:pt x="3030" y="1528"/>
                </a:lnTo>
                <a:lnTo>
                  <a:pt x="3027" y="1528"/>
                </a:lnTo>
                <a:lnTo>
                  <a:pt x="3024" y="1529"/>
                </a:lnTo>
                <a:lnTo>
                  <a:pt x="3021" y="1528"/>
                </a:lnTo>
                <a:lnTo>
                  <a:pt x="3018" y="1527"/>
                </a:lnTo>
                <a:lnTo>
                  <a:pt x="3016" y="1526"/>
                </a:lnTo>
                <a:lnTo>
                  <a:pt x="3013" y="1524"/>
                </a:lnTo>
                <a:lnTo>
                  <a:pt x="3012" y="1521"/>
                </a:lnTo>
                <a:lnTo>
                  <a:pt x="3010" y="1519"/>
                </a:lnTo>
                <a:lnTo>
                  <a:pt x="3010" y="1516"/>
                </a:lnTo>
                <a:lnTo>
                  <a:pt x="3010" y="1511"/>
                </a:lnTo>
                <a:lnTo>
                  <a:pt x="3011" y="1506"/>
                </a:lnTo>
                <a:lnTo>
                  <a:pt x="3013" y="1503"/>
                </a:lnTo>
                <a:lnTo>
                  <a:pt x="3017" y="1500"/>
                </a:lnTo>
                <a:close/>
                <a:moveTo>
                  <a:pt x="2877" y="1532"/>
                </a:moveTo>
                <a:lnTo>
                  <a:pt x="2880" y="1531"/>
                </a:lnTo>
                <a:lnTo>
                  <a:pt x="2883" y="1530"/>
                </a:lnTo>
                <a:lnTo>
                  <a:pt x="2886" y="1530"/>
                </a:lnTo>
                <a:lnTo>
                  <a:pt x="2889" y="1531"/>
                </a:lnTo>
                <a:lnTo>
                  <a:pt x="2892" y="1532"/>
                </a:lnTo>
                <a:lnTo>
                  <a:pt x="2894" y="1534"/>
                </a:lnTo>
                <a:lnTo>
                  <a:pt x="2897" y="1536"/>
                </a:lnTo>
                <a:lnTo>
                  <a:pt x="2898" y="1538"/>
                </a:lnTo>
                <a:lnTo>
                  <a:pt x="2900" y="1541"/>
                </a:lnTo>
                <a:lnTo>
                  <a:pt x="2900" y="1546"/>
                </a:lnTo>
                <a:lnTo>
                  <a:pt x="2900" y="1549"/>
                </a:lnTo>
                <a:lnTo>
                  <a:pt x="2899" y="1551"/>
                </a:lnTo>
                <a:lnTo>
                  <a:pt x="2897" y="1556"/>
                </a:lnTo>
                <a:lnTo>
                  <a:pt x="2895" y="1558"/>
                </a:lnTo>
                <a:lnTo>
                  <a:pt x="2893" y="1559"/>
                </a:lnTo>
                <a:lnTo>
                  <a:pt x="2889" y="1560"/>
                </a:lnTo>
                <a:lnTo>
                  <a:pt x="2886" y="1561"/>
                </a:lnTo>
                <a:lnTo>
                  <a:pt x="2883" y="1561"/>
                </a:lnTo>
                <a:lnTo>
                  <a:pt x="2880" y="1561"/>
                </a:lnTo>
                <a:lnTo>
                  <a:pt x="2878" y="1559"/>
                </a:lnTo>
                <a:lnTo>
                  <a:pt x="2875" y="1558"/>
                </a:lnTo>
                <a:lnTo>
                  <a:pt x="2873" y="1556"/>
                </a:lnTo>
                <a:lnTo>
                  <a:pt x="2871" y="1553"/>
                </a:lnTo>
                <a:lnTo>
                  <a:pt x="2870" y="1550"/>
                </a:lnTo>
                <a:lnTo>
                  <a:pt x="2869" y="1545"/>
                </a:lnTo>
                <a:lnTo>
                  <a:pt x="2870" y="1543"/>
                </a:lnTo>
                <a:lnTo>
                  <a:pt x="2871" y="1540"/>
                </a:lnTo>
                <a:lnTo>
                  <a:pt x="2872" y="1538"/>
                </a:lnTo>
                <a:lnTo>
                  <a:pt x="2873" y="1536"/>
                </a:lnTo>
                <a:lnTo>
                  <a:pt x="2875" y="1534"/>
                </a:lnTo>
                <a:lnTo>
                  <a:pt x="2877" y="1532"/>
                </a:lnTo>
                <a:close/>
                <a:moveTo>
                  <a:pt x="2626" y="1666"/>
                </a:moveTo>
                <a:lnTo>
                  <a:pt x="2628" y="1664"/>
                </a:lnTo>
                <a:lnTo>
                  <a:pt x="2630" y="1664"/>
                </a:lnTo>
                <a:lnTo>
                  <a:pt x="2633" y="1664"/>
                </a:lnTo>
                <a:lnTo>
                  <a:pt x="2635" y="1664"/>
                </a:lnTo>
                <a:lnTo>
                  <a:pt x="2638" y="1664"/>
                </a:lnTo>
                <a:lnTo>
                  <a:pt x="2640" y="1665"/>
                </a:lnTo>
                <a:lnTo>
                  <a:pt x="2642" y="1666"/>
                </a:lnTo>
                <a:lnTo>
                  <a:pt x="2644" y="1668"/>
                </a:lnTo>
                <a:lnTo>
                  <a:pt x="2646" y="1670"/>
                </a:lnTo>
                <a:lnTo>
                  <a:pt x="2648" y="1673"/>
                </a:lnTo>
                <a:lnTo>
                  <a:pt x="2648" y="1676"/>
                </a:lnTo>
                <a:lnTo>
                  <a:pt x="2649" y="1679"/>
                </a:lnTo>
                <a:lnTo>
                  <a:pt x="2648" y="1682"/>
                </a:lnTo>
                <a:lnTo>
                  <a:pt x="2647" y="1685"/>
                </a:lnTo>
                <a:lnTo>
                  <a:pt x="2646" y="1687"/>
                </a:lnTo>
                <a:lnTo>
                  <a:pt x="2644" y="1690"/>
                </a:lnTo>
                <a:lnTo>
                  <a:pt x="2641" y="1692"/>
                </a:lnTo>
                <a:lnTo>
                  <a:pt x="2639" y="1693"/>
                </a:lnTo>
                <a:lnTo>
                  <a:pt x="2636" y="1694"/>
                </a:lnTo>
                <a:lnTo>
                  <a:pt x="2634" y="1694"/>
                </a:lnTo>
                <a:lnTo>
                  <a:pt x="2631" y="1694"/>
                </a:lnTo>
                <a:lnTo>
                  <a:pt x="2629" y="1694"/>
                </a:lnTo>
                <a:lnTo>
                  <a:pt x="2627" y="1693"/>
                </a:lnTo>
                <a:lnTo>
                  <a:pt x="2624" y="1691"/>
                </a:lnTo>
                <a:lnTo>
                  <a:pt x="2622" y="1690"/>
                </a:lnTo>
                <a:lnTo>
                  <a:pt x="2620" y="1687"/>
                </a:lnTo>
                <a:lnTo>
                  <a:pt x="2619" y="1685"/>
                </a:lnTo>
                <a:lnTo>
                  <a:pt x="2618" y="1682"/>
                </a:lnTo>
                <a:lnTo>
                  <a:pt x="2618" y="1679"/>
                </a:lnTo>
                <a:lnTo>
                  <a:pt x="2618" y="1676"/>
                </a:lnTo>
                <a:lnTo>
                  <a:pt x="2619" y="1673"/>
                </a:lnTo>
                <a:lnTo>
                  <a:pt x="2620" y="1670"/>
                </a:lnTo>
                <a:lnTo>
                  <a:pt x="2622" y="1668"/>
                </a:lnTo>
                <a:lnTo>
                  <a:pt x="2626" y="1666"/>
                </a:lnTo>
                <a:close/>
                <a:moveTo>
                  <a:pt x="2743" y="1585"/>
                </a:moveTo>
                <a:lnTo>
                  <a:pt x="2746" y="1583"/>
                </a:lnTo>
                <a:lnTo>
                  <a:pt x="2750" y="1583"/>
                </a:lnTo>
                <a:lnTo>
                  <a:pt x="2753" y="1583"/>
                </a:lnTo>
                <a:lnTo>
                  <a:pt x="2756" y="1584"/>
                </a:lnTo>
                <a:lnTo>
                  <a:pt x="2759" y="1585"/>
                </a:lnTo>
                <a:lnTo>
                  <a:pt x="2761" y="1586"/>
                </a:lnTo>
                <a:lnTo>
                  <a:pt x="2763" y="1589"/>
                </a:lnTo>
                <a:lnTo>
                  <a:pt x="2765" y="1591"/>
                </a:lnTo>
                <a:lnTo>
                  <a:pt x="2766" y="1594"/>
                </a:lnTo>
                <a:lnTo>
                  <a:pt x="2766" y="1597"/>
                </a:lnTo>
                <a:lnTo>
                  <a:pt x="2766" y="1600"/>
                </a:lnTo>
                <a:lnTo>
                  <a:pt x="2766" y="1603"/>
                </a:lnTo>
                <a:lnTo>
                  <a:pt x="2765" y="1605"/>
                </a:lnTo>
                <a:lnTo>
                  <a:pt x="2763" y="1608"/>
                </a:lnTo>
                <a:lnTo>
                  <a:pt x="2761" y="1610"/>
                </a:lnTo>
                <a:lnTo>
                  <a:pt x="2759" y="1611"/>
                </a:lnTo>
                <a:lnTo>
                  <a:pt x="2755" y="1613"/>
                </a:lnTo>
                <a:lnTo>
                  <a:pt x="2752" y="1613"/>
                </a:lnTo>
                <a:lnTo>
                  <a:pt x="2749" y="1613"/>
                </a:lnTo>
                <a:lnTo>
                  <a:pt x="2746" y="1613"/>
                </a:lnTo>
                <a:lnTo>
                  <a:pt x="2743" y="1611"/>
                </a:lnTo>
                <a:lnTo>
                  <a:pt x="2741" y="1610"/>
                </a:lnTo>
                <a:lnTo>
                  <a:pt x="2739" y="1607"/>
                </a:lnTo>
                <a:lnTo>
                  <a:pt x="2737" y="1605"/>
                </a:lnTo>
                <a:lnTo>
                  <a:pt x="2736" y="1602"/>
                </a:lnTo>
                <a:lnTo>
                  <a:pt x="2736" y="1599"/>
                </a:lnTo>
                <a:lnTo>
                  <a:pt x="2736" y="1596"/>
                </a:lnTo>
                <a:lnTo>
                  <a:pt x="2736" y="1594"/>
                </a:lnTo>
                <a:lnTo>
                  <a:pt x="2737" y="1591"/>
                </a:lnTo>
                <a:lnTo>
                  <a:pt x="2739" y="1589"/>
                </a:lnTo>
                <a:lnTo>
                  <a:pt x="2741" y="1586"/>
                </a:lnTo>
                <a:lnTo>
                  <a:pt x="2743" y="1585"/>
                </a:lnTo>
                <a:close/>
                <a:moveTo>
                  <a:pt x="4771" y="2334"/>
                </a:moveTo>
                <a:lnTo>
                  <a:pt x="4772" y="2333"/>
                </a:lnTo>
                <a:lnTo>
                  <a:pt x="4774" y="2333"/>
                </a:lnTo>
                <a:lnTo>
                  <a:pt x="4778" y="2332"/>
                </a:lnTo>
                <a:lnTo>
                  <a:pt x="4780" y="2332"/>
                </a:lnTo>
                <a:lnTo>
                  <a:pt x="4782" y="2332"/>
                </a:lnTo>
                <a:lnTo>
                  <a:pt x="4786" y="2334"/>
                </a:lnTo>
                <a:lnTo>
                  <a:pt x="4788" y="2336"/>
                </a:lnTo>
                <a:lnTo>
                  <a:pt x="4790" y="2338"/>
                </a:lnTo>
                <a:lnTo>
                  <a:pt x="4791" y="2339"/>
                </a:lnTo>
                <a:lnTo>
                  <a:pt x="4792" y="2340"/>
                </a:lnTo>
                <a:lnTo>
                  <a:pt x="4793" y="2343"/>
                </a:lnTo>
                <a:lnTo>
                  <a:pt x="4793" y="2346"/>
                </a:lnTo>
                <a:lnTo>
                  <a:pt x="4793" y="2349"/>
                </a:lnTo>
                <a:lnTo>
                  <a:pt x="4793" y="2352"/>
                </a:lnTo>
                <a:lnTo>
                  <a:pt x="4792" y="2355"/>
                </a:lnTo>
                <a:lnTo>
                  <a:pt x="4791" y="2356"/>
                </a:lnTo>
                <a:lnTo>
                  <a:pt x="4789" y="2358"/>
                </a:lnTo>
                <a:lnTo>
                  <a:pt x="4786" y="2360"/>
                </a:lnTo>
                <a:lnTo>
                  <a:pt x="4784" y="2361"/>
                </a:lnTo>
                <a:lnTo>
                  <a:pt x="4782" y="2362"/>
                </a:lnTo>
                <a:lnTo>
                  <a:pt x="4779" y="2362"/>
                </a:lnTo>
                <a:lnTo>
                  <a:pt x="4777" y="2362"/>
                </a:lnTo>
                <a:lnTo>
                  <a:pt x="4775" y="2362"/>
                </a:lnTo>
                <a:lnTo>
                  <a:pt x="4771" y="2361"/>
                </a:lnTo>
                <a:lnTo>
                  <a:pt x="4768" y="2359"/>
                </a:lnTo>
                <a:lnTo>
                  <a:pt x="4766" y="2357"/>
                </a:lnTo>
                <a:lnTo>
                  <a:pt x="4766" y="2355"/>
                </a:lnTo>
                <a:lnTo>
                  <a:pt x="4765" y="2354"/>
                </a:lnTo>
                <a:lnTo>
                  <a:pt x="4764" y="2351"/>
                </a:lnTo>
                <a:lnTo>
                  <a:pt x="4763" y="2349"/>
                </a:lnTo>
                <a:lnTo>
                  <a:pt x="4763" y="2346"/>
                </a:lnTo>
                <a:lnTo>
                  <a:pt x="4764" y="2343"/>
                </a:lnTo>
                <a:lnTo>
                  <a:pt x="4765" y="2340"/>
                </a:lnTo>
                <a:lnTo>
                  <a:pt x="4766" y="2338"/>
                </a:lnTo>
                <a:lnTo>
                  <a:pt x="4767" y="2337"/>
                </a:lnTo>
                <a:lnTo>
                  <a:pt x="4771" y="2334"/>
                </a:lnTo>
                <a:close/>
                <a:moveTo>
                  <a:pt x="4644" y="2265"/>
                </a:moveTo>
                <a:lnTo>
                  <a:pt x="4646" y="2264"/>
                </a:lnTo>
                <a:lnTo>
                  <a:pt x="4648" y="2264"/>
                </a:lnTo>
                <a:lnTo>
                  <a:pt x="4651" y="2263"/>
                </a:lnTo>
                <a:lnTo>
                  <a:pt x="4653" y="2263"/>
                </a:lnTo>
                <a:lnTo>
                  <a:pt x="4655" y="2264"/>
                </a:lnTo>
                <a:lnTo>
                  <a:pt x="4659" y="2265"/>
                </a:lnTo>
                <a:lnTo>
                  <a:pt x="4662" y="2267"/>
                </a:lnTo>
                <a:lnTo>
                  <a:pt x="4663" y="2268"/>
                </a:lnTo>
                <a:lnTo>
                  <a:pt x="4664" y="2269"/>
                </a:lnTo>
                <a:lnTo>
                  <a:pt x="4665" y="2270"/>
                </a:lnTo>
                <a:lnTo>
                  <a:pt x="4665" y="2271"/>
                </a:lnTo>
                <a:lnTo>
                  <a:pt x="4666" y="2274"/>
                </a:lnTo>
                <a:lnTo>
                  <a:pt x="4667" y="2277"/>
                </a:lnTo>
                <a:lnTo>
                  <a:pt x="4667" y="2280"/>
                </a:lnTo>
                <a:lnTo>
                  <a:pt x="4666" y="2283"/>
                </a:lnTo>
                <a:lnTo>
                  <a:pt x="4665" y="2286"/>
                </a:lnTo>
                <a:lnTo>
                  <a:pt x="4663" y="2289"/>
                </a:lnTo>
                <a:lnTo>
                  <a:pt x="4659" y="2292"/>
                </a:lnTo>
                <a:lnTo>
                  <a:pt x="4658" y="2293"/>
                </a:lnTo>
                <a:lnTo>
                  <a:pt x="4656" y="2293"/>
                </a:lnTo>
                <a:lnTo>
                  <a:pt x="4652" y="2294"/>
                </a:lnTo>
                <a:lnTo>
                  <a:pt x="4650" y="2294"/>
                </a:lnTo>
                <a:lnTo>
                  <a:pt x="4648" y="2293"/>
                </a:lnTo>
                <a:lnTo>
                  <a:pt x="4645" y="2292"/>
                </a:lnTo>
                <a:lnTo>
                  <a:pt x="4642" y="2290"/>
                </a:lnTo>
                <a:lnTo>
                  <a:pt x="4641" y="2289"/>
                </a:lnTo>
                <a:lnTo>
                  <a:pt x="4640" y="2288"/>
                </a:lnTo>
                <a:lnTo>
                  <a:pt x="4639" y="2287"/>
                </a:lnTo>
                <a:lnTo>
                  <a:pt x="4638" y="2286"/>
                </a:lnTo>
                <a:lnTo>
                  <a:pt x="4637" y="2283"/>
                </a:lnTo>
                <a:lnTo>
                  <a:pt x="4637" y="2280"/>
                </a:lnTo>
                <a:lnTo>
                  <a:pt x="4637" y="2277"/>
                </a:lnTo>
                <a:lnTo>
                  <a:pt x="4637" y="2274"/>
                </a:lnTo>
                <a:lnTo>
                  <a:pt x="4638" y="2271"/>
                </a:lnTo>
                <a:lnTo>
                  <a:pt x="4641" y="2268"/>
                </a:lnTo>
                <a:lnTo>
                  <a:pt x="4644" y="2265"/>
                </a:lnTo>
                <a:close/>
                <a:moveTo>
                  <a:pt x="4517" y="2198"/>
                </a:moveTo>
                <a:lnTo>
                  <a:pt x="4518" y="2198"/>
                </a:lnTo>
                <a:lnTo>
                  <a:pt x="4520" y="2197"/>
                </a:lnTo>
                <a:lnTo>
                  <a:pt x="4524" y="2196"/>
                </a:lnTo>
                <a:lnTo>
                  <a:pt x="4528" y="2197"/>
                </a:lnTo>
                <a:lnTo>
                  <a:pt x="4531" y="2198"/>
                </a:lnTo>
                <a:lnTo>
                  <a:pt x="4534" y="2200"/>
                </a:lnTo>
                <a:lnTo>
                  <a:pt x="4536" y="2202"/>
                </a:lnTo>
                <a:lnTo>
                  <a:pt x="4538" y="2204"/>
                </a:lnTo>
                <a:lnTo>
                  <a:pt x="4539" y="2207"/>
                </a:lnTo>
                <a:lnTo>
                  <a:pt x="4539" y="2210"/>
                </a:lnTo>
                <a:lnTo>
                  <a:pt x="4539" y="2213"/>
                </a:lnTo>
                <a:lnTo>
                  <a:pt x="4539" y="2216"/>
                </a:lnTo>
                <a:lnTo>
                  <a:pt x="4538" y="2219"/>
                </a:lnTo>
                <a:lnTo>
                  <a:pt x="4535" y="2222"/>
                </a:lnTo>
                <a:lnTo>
                  <a:pt x="4532" y="2225"/>
                </a:lnTo>
                <a:lnTo>
                  <a:pt x="4530" y="2226"/>
                </a:lnTo>
                <a:lnTo>
                  <a:pt x="4528" y="2226"/>
                </a:lnTo>
                <a:lnTo>
                  <a:pt x="4525" y="2227"/>
                </a:lnTo>
                <a:lnTo>
                  <a:pt x="4521" y="2226"/>
                </a:lnTo>
                <a:lnTo>
                  <a:pt x="4517" y="2225"/>
                </a:lnTo>
                <a:lnTo>
                  <a:pt x="4515" y="2223"/>
                </a:lnTo>
                <a:lnTo>
                  <a:pt x="4513" y="2221"/>
                </a:lnTo>
                <a:lnTo>
                  <a:pt x="4511" y="2219"/>
                </a:lnTo>
                <a:lnTo>
                  <a:pt x="4510" y="2216"/>
                </a:lnTo>
                <a:lnTo>
                  <a:pt x="4509" y="2213"/>
                </a:lnTo>
                <a:lnTo>
                  <a:pt x="4509" y="2210"/>
                </a:lnTo>
                <a:lnTo>
                  <a:pt x="4510" y="2207"/>
                </a:lnTo>
                <a:lnTo>
                  <a:pt x="4511" y="2205"/>
                </a:lnTo>
                <a:lnTo>
                  <a:pt x="4513" y="2201"/>
                </a:lnTo>
                <a:lnTo>
                  <a:pt x="4517" y="2198"/>
                </a:lnTo>
                <a:close/>
                <a:moveTo>
                  <a:pt x="4388" y="2134"/>
                </a:moveTo>
                <a:lnTo>
                  <a:pt x="4391" y="2133"/>
                </a:lnTo>
                <a:lnTo>
                  <a:pt x="4395" y="2132"/>
                </a:lnTo>
                <a:lnTo>
                  <a:pt x="4399" y="2132"/>
                </a:lnTo>
                <a:lnTo>
                  <a:pt x="4402" y="2133"/>
                </a:lnTo>
                <a:lnTo>
                  <a:pt x="4405" y="2135"/>
                </a:lnTo>
                <a:lnTo>
                  <a:pt x="4407" y="2137"/>
                </a:lnTo>
                <a:lnTo>
                  <a:pt x="4409" y="2140"/>
                </a:lnTo>
                <a:lnTo>
                  <a:pt x="4410" y="2142"/>
                </a:lnTo>
                <a:lnTo>
                  <a:pt x="4411" y="2145"/>
                </a:lnTo>
                <a:lnTo>
                  <a:pt x="4411" y="2148"/>
                </a:lnTo>
                <a:lnTo>
                  <a:pt x="4410" y="2151"/>
                </a:lnTo>
                <a:lnTo>
                  <a:pt x="4409" y="2154"/>
                </a:lnTo>
                <a:lnTo>
                  <a:pt x="4407" y="2158"/>
                </a:lnTo>
                <a:lnTo>
                  <a:pt x="4403" y="2160"/>
                </a:lnTo>
                <a:lnTo>
                  <a:pt x="4400" y="2162"/>
                </a:lnTo>
                <a:lnTo>
                  <a:pt x="4396" y="2162"/>
                </a:lnTo>
                <a:lnTo>
                  <a:pt x="4393" y="2162"/>
                </a:lnTo>
                <a:lnTo>
                  <a:pt x="4389" y="2161"/>
                </a:lnTo>
                <a:lnTo>
                  <a:pt x="4386" y="2159"/>
                </a:lnTo>
                <a:lnTo>
                  <a:pt x="4384" y="2157"/>
                </a:lnTo>
                <a:lnTo>
                  <a:pt x="4382" y="2155"/>
                </a:lnTo>
                <a:lnTo>
                  <a:pt x="4381" y="2152"/>
                </a:lnTo>
                <a:lnTo>
                  <a:pt x="4380" y="2149"/>
                </a:lnTo>
                <a:lnTo>
                  <a:pt x="4380" y="2146"/>
                </a:lnTo>
                <a:lnTo>
                  <a:pt x="4381" y="2143"/>
                </a:lnTo>
                <a:lnTo>
                  <a:pt x="4382" y="2140"/>
                </a:lnTo>
                <a:lnTo>
                  <a:pt x="4384" y="2137"/>
                </a:lnTo>
                <a:lnTo>
                  <a:pt x="4388" y="2134"/>
                </a:lnTo>
                <a:close/>
                <a:moveTo>
                  <a:pt x="4258" y="2073"/>
                </a:moveTo>
                <a:lnTo>
                  <a:pt x="4261" y="2071"/>
                </a:lnTo>
                <a:lnTo>
                  <a:pt x="4264" y="2071"/>
                </a:lnTo>
                <a:lnTo>
                  <a:pt x="4268" y="2071"/>
                </a:lnTo>
                <a:lnTo>
                  <a:pt x="4271" y="2072"/>
                </a:lnTo>
                <a:lnTo>
                  <a:pt x="4274" y="2074"/>
                </a:lnTo>
                <a:lnTo>
                  <a:pt x="4276" y="2076"/>
                </a:lnTo>
                <a:lnTo>
                  <a:pt x="4278" y="2078"/>
                </a:lnTo>
                <a:lnTo>
                  <a:pt x="4279" y="2081"/>
                </a:lnTo>
                <a:lnTo>
                  <a:pt x="4280" y="2083"/>
                </a:lnTo>
                <a:lnTo>
                  <a:pt x="4280" y="2086"/>
                </a:lnTo>
                <a:lnTo>
                  <a:pt x="4280" y="2089"/>
                </a:lnTo>
                <a:lnTo>
                  <a:pt x="4279" y="2092"/>
                </a:lnTo>
                <a:lnTo>
                  <a:pt x="4278" y="2094"/>
                </a:lnTo>
                <a:lnTo>
                  <a:pt x="4276" y="2096"/>
                </a:lnTo>
                <a:lnTo>
                  <a:pt x="4275" y="2098"/>
                </a:lnTo>
                <a:lnTo>
                  <a:pt x="4273" y="2099"/>
                </a:lnTo>
                <a:lnTo>
                  <a:pt x="4270" y="2101"/>
                </a:lnTo>
                <a:lnTo>
                  <a:pt x="4266" y="2101"/>
                </a:lnTo>
                <a:lnTo>
                  <a:pt x="4263" y="2101"/>
                </a:lnTo>
                <a:lnTo>
                  <a:pt x="4259" y="2100"/>
                </a:lnTo>
                <a:lnTo>
                  <a:pt x="4256" y="2098"/>
                </a:lnTo>
                <a:lnTo>
                  <a:pt x="4254" y="2096"/>
                </a:lnTo>
                <a:lnTo>
                  <a:pt x="4252" y="2094"/>
                </a:lnTo>
                <a:lnTo>
                  <a:pt x="4251" y="2091"/>
                </a:lnTo>
                <a:lnTo>
                  <a:pt x="4250" y="2089"/>
                </a:lnTo>
                <a:lnTo>
                  <a:pt x="4250" y="2086"/>
                </a:lnTo>
                <a:lnTo>
                  <a:pt x="4250" y="2083"/>
                </a:lnTo>
                <a:lnTo>
                  <a:pt x="4251" y="2080"/>
                </a:lnTo>
                <a:lnTo>
                  <a:pt x="4253" y="2078"/>
                </a:lnTo>
                <a:lnTo>
                  <a:pt x="4254" y="2076"/>
                </a:lnTo>
                <a:lnTo>
                  <a:pt x="4256" y="2074"/>
                </a:lnTo>
                <a:lnTo>
                  <a:pt x="4258" y="2073"/>
                </a:lnTo>
                <a:close/>
                <a:moveTo>
                  <a:pt x="4125" y="2016"/>
                </a:moveTo>
                <a:lnTo>
                  <a:pt x="4128" y="2015"/>
                </a:lnTo>
                <a:lnTo>
                  <a:pt x="4132" y="2014"/>
                </a:lnTo>
                <a:lnTo>
                  <a:pt x="4135" y="2014"/>
                </a:lnTo>
                <a:lnTo>
                  <a:pt x="4139" y="2015"/>
                </a:lnTo>
                <a:lnTo>
                  <a:pt x="4141" y="2016"/>
                </a:lnTo>
                <a:lnTo>
                  <a:pt x="4144" y="2018"/>
                </a:lnTo>
                <a:lnTo>
                  <a:pt x="4146" y="2021"/>
                </a:lnTo>
                <a:lnTo>
                  <a:pt x="4147" y="2023"/>
                </a:lnTo>
                <a:lnTo>
                  <a:pt x="4148" y="2026"/>
                </a:lnTo>
                <a:lnTo>
                  <a:pt x="4148" y="2029"/>
                </a:lnTo>
                <a:lnTo>
                  <a:pt x="4148" y="2032"/>
                </a:lnTo>
                <a:lnTo>
                  <a:pt x="4147" y="2035"/>
                </a:lnTo>
                <a:lnTo>
                  <a:pt x="4146" y="2037"/>
                </a:lnTo>
                <a:lnTo>
                  <a:pt x="4144" y="2039"/>
                </a:lnTo>
                <a:lnTo>
                  <a:pt x="4143" y="2041"/>
                </a:lnTo>
                <a:lnTo>
                  <a:pt x="4141" y="2042"/>
                </a:lnTo>
                <a:lnTo>
                  <a:pt x="4137" y="2044"/>
                </a:lnTo>
                <a:lnTo>
                  <a:pt x="4134" y="2044"/>
                </a:lnTo>
                <a:lnTo>
                  <a:pt x="4131" y="2044"/>
                </a:lnTo>
                <a:lnTo>
                  <a:pt x="4127" y="2043"/>
                </a:lnTo>
                <a:lnTo>
                  <a:pt x="4125" y="2042"/>
                </a:lnTo>
                <a:lnTo>
                  <a:pt x="4122" y="2040"/>
                </a:lnTo>
                <a:lnTo>
                  <a:pt x="4120" y="2038"/>
                </a:lnTo>
                <a:lnTo>
                  <a:pt x="4119" y="2035"/>
                </a:lnTo>
                <a:lnTo>
                  <a:pt x="4118" y="2032"/>
                </a:lnTo>
                <a:lnTo>
                  <a:pt x="4118" y="2029"/>
                </a:lnTo>
                <a:lnTo>
                  <a:pt x="4118" y="2026"/>
                </a:lnTo>
                <a:lnTo>
                  <a:pt x="4119" y="2023"/>
                </a:lnTo>
                <a:lnTo>
                  <a:pt x="4120" y="2021"/>
                </a:lnTo>
                <a:lnTo>
                  <a:pt x="4122" y="2019"/>
                </a:lnTo>
                <a:lnTo>
                  <a:pt x="4123" y="2017"/>
                </a:lnTo>
                <a:lnTo>
                  <a:pt x="4125" y="2016"/>
                </a:lnTo>
                <a:close/>
                <a:moveTo>
                  <a:pt x="3990" y="1965"/>
                </a:moveTo>
                <a:lnTo>
                  <a:pt x="3993" y="1963"/>
                </a:lnTo>
                <a:lnTo>
                  <a:pt x="3996" y="1963"/>
                </a:lnTo>
                <a:lnTo>
                  <a:pt x="3999" y="1963"/>
                </a:lnTo>
                <a:lnTo>
                  <a:pt x="4003" y="1963"/>
                </a:lnTo>
                <a:lnTo>
                  <a:pt x="4005" y="1965"/>
                </a:lnTo>
                <a:lnTo>
                  <a:pt x="4008" y="1967"/>
                </a:lnTo>
                <a:lnTo>
                  <a:pt x="4011" y="1969"/>
                </a:lnTo>
                <a:lnTo>
                  <a:pt x="4012" y="1971"/>
                </a:lnTo>
                <a:lnTo>
                  <a:pt x="4013" y="1974"/>
                </a:lnTo>
                <a:lnTo>
                  <a:pt x="4014" y="1977"/>
                </a:lnTo>
                <a:lnTo>
                  <a:pt x="4013" y="1983"/>
                </a:lnTo>
                <a:lnTo>
                  <a:pt x="4012" y="1985"/>
                </a:lnTo>
                <a:lnTo>
                  <a:pt x="4010" y="1988"/>
                </a:lnTo>
                <a:lnTo>
                  <a:pt x="4005" y="1991"/>
                </a:lnTo>
                <a:lnTo>
                  <a:pt x="4002" y="1992"/>
                </a:lnTo>
                <a:lnTo>
                  <a:pt x="3999" y="1993"/>
                </a:lnTo>
                <a:lnTo>
                  <a:pt x="3996" y="1993"/>
                </a:lnTo>
                <a:lnTo>
                  <a:pt x="3992" y="1992"/>
                </a:lnTo>
                <a:lnTo>
                  <a:pt x="3990" y="1991"/>
                </a:lnTo>
                <a:lnTo>
                  <a:pt x="3987" y="1989"/>
                </a:lnTo>
                <a:lnTo>
                  <a:pt x="3985" y="1987"/>
                </a:lnTo>
                <a:lnTo>
                  <a:pt x="3984" y="1984"/>
                </a:lnTo>
                <a:lnTo>
                  <a:pt x="3983" y="1982"/>
                </a:lnTo>
                <a:lnTo>
                  <a:pt x="3982" y="1979"/>
                </a:lnTo>
                <a:lnTo>
                  <a:pt x="3983" y="1973"/>
                </a:lnTo>
                <a:lnTo>
                  <a:pt x="3984" y="1970"/>
                </a:lnTo>
                <a:lnTo>
                  <a:pt x="3986" y="1968"/>
                </a:lnTo>
                <a:lnTo>
                  <a:pt x="3990" y="1965"/>
                </a:lnTo>
                <a:close/>
                <a:moveTo>
                  <a:pt x="3853" y="1921"/>
                </a:moveTo>
                <a:lnTo>
                  <a:pt x="3855" y="1920"/>
                </a:lnTo>
                <a:lnTo>
                  <a:pt x="3858" y="1919"/>
                </a:lnTo>
                <a:lnTo>
                  <a:pt x="3861" y="1919"/>
                </a:lnTo>
                <a:lnTo>
                  <a:pt x="3865" y="1919"/>
                </a:lnTo>
                <a:lnTo>
                  <a:pt x="3867" y="1921"/>
                </a:lnTo>
                <a:lnTo>
                  <a:pt x="3870" y="1922"/>
                </a:lnTo>
                <a:lnTo>
                  <a:pt x="3872" y="1924"/>
                </a:lnTo>
                <a:lnTo>
                  <a:pt x="3874" y="1927"/>
                </a:lnTo>
                <a:lnTo>
                  <a:pt x="3875" y="1929"/>
                </a:lnTo>
                <a:lnTo>
                  <a:pt x="3875" y="1932"/>
                </a:lnTo>
                <a:lnTo>
                  <a:pt x="3876" y="1935"/>
                </a:lnTo>
                <a:lnTo>
                  <a:pt x="3875" y="1938"/>
                </a:lnTo>
                <a:lnTo>
                  <a:pt x="3874" y="1941"/>
                </a:lnTo>
                <a:lnTo>
                  <a:pt x="3872" y="1943"/>
                </a:lnTo>
                <a:lnTo>
                  <a:pt x="3870" y="1946"/>
                </a:lnTo>
                <a:lnTo>
                  <a:pt x="3868" y="1947"/>
                </a:lnTo>
                <a:lnTo>
                  <a:pt x="3865" y="1948"/>
                </a:lnTo>
                <a:lnTo>
                  <a:pt x="3862" y="1949"/>
                </a:lnTo>
                <a:lnTo>
                  <a:pt x="3859" y="1949"/>
                </a:lnTo>
                <a:lnTo>
                  <a:pt x="3856" y="1949"/>
                </a:lnTo>
                <a:lnTo>
                  <a:pt x="3853" y="1948"/>
                </a:lnTo>
                <a:lnTo>
                  <a:pt x="3851" y="1946"/>
                </a:lnTo>
                <a:lnTo>
                  <a:pt x="3849" y="1944"/>
                </a:lnTo>
                <a:lnTo>
                  <a:pt x="3847" y="1941"/>
                </a:lnTo>
                <a:lnTo>
                  <a:pt x="3846" y="1939"/>
                </a:lnTo>
                <a:lnTo>
                  <a:pt x="3845" y="1936"/>
                </a:lnTo>
                <a:lnTo>
                  <a:pt x="3845" y="1933"/>
                </a:lnTo>
                <a:lnTo>
                  <a:pt x="3846" y="1930"/>
                </a:lnTo>
                <a:lnTo>
                  <a:pt x="3847" y="1927"/>
                </a:lnTo>
                <a:lnTo>
                  <a:pt x="3848" y="1925"/>
                </a:lnTo>
                <a:lnTo>
                  <a:pt x="3850" y="1922"/>
                </a:lnTo>
                <a:lnTo>
                  <a:pt x="3853" y="1921"/>
                </a:lnTo>
                <a:close/>
                <a:moveTo>
                  <a:pt x="3713" y="1887"/>
                </a:moveTo>
                <a:lnTo>
                  <a:pt x="3715" y="1886"/>
                </a:lnTo>
                <a:lnTo>
                  <a:pt x="3718" y="1885"/>
                </a:lnTo>
                <a:lnTo>
                  <a:pt x="3724" y="1885"/>
                </a:lnTo>
                <a:lnTo>
                  <a:pt x="3726" y="1886"/>
                </a:lnTo>
                <a:lnTo>
                  <a:pt x="3729" y="1887"/>
                </a:lnTo>
                <a:lnTo>
                  <a:pt x="3731" y="1889"/>
                </a:lnTo>
                <a:lnTo>
                  <a:pt x="3733" y="1892"/>
                </a:lnTo>
                <a:lnTo>
                  <a:pt x="3735" y="1894"/>
                </a:lnTo>
                <a:lnTo>
                  <a:pt x="3735" y="1897"/>
                </a:lnTo>
                <a:lnTo>
                  <a:pt x="3736" y="1900"/>
                </a:lnTo>
                <a:lnTo>
                  <a:pt x="3735" y="1903"/>
                </a:lnTo>
                <a:lnTo>
                  <a:pt x="3734" y="1906"/>
                </a:lnTo>
                <a:lnTo>
                  <a:pt x="3733" y="1909"/>
                </a:lnTo>
                <a:lnTo>
                  <a:pt x="3732" y="1910"/>
                </a:lnTo>
                <a:lnTo>
                  <a:pt x="3731" y="1911"/>
                </a:lnTo>
                <a:lnTo>
                  <a:pt x="3728" y="1913"/>
                </a:lnTo>
                <a:lnTo>
                  <a:pt x="3726" y="1914"/>
                </a:lnTo>
                <a:lnTo>
                  <a:pt x="3723" y="1915"/>
                </a:lnTo>
                <a:lnTo>
                  <a:pt x="3718" y="1915"/>
                </a:lnTo>
                <a:lnTo>
                  <a:pt x="3715" y="1914"/>
                </a:lnTo>
                <a:lnTo>
                  <a:pt x="3712" y="1913"/>
                </a:lnTo>
                <a:lnTo>
                  <a:pt x="3710" y="1911"/>
                </a:lnTo>
                <a:lnTo>
                  <a:pt x="3708" y="1908"/>
                </a:lnTo>
                <a:lnTo>
                  <a:pt x="3706" y="1906"/>
                </a:lnTo>
                <a:lnTo>
                  <a:pt x="3706" y="1903"/>
                </a:lnTo>
                <a:lnTo>
                  <a:pt x="3705" y="1900"/>
                </a:lnTo>
                <a:lnTo>
                  <a:pt x="3706" y="1897"/>
                </a:lnTo>
                <a:lnTo>
                  <a:pt x="3707" y="1894"/>
                </a:lnTo>
                <a:lnTo>
                  <a:pt x="3708" y="1891"/>
                </a:lnTo>
                <a:lnTo>
                  <a:pt x="3709" y="1890"/>
                </a:lnTo>
                <a:lnTo>
                  <a:pt x="3710" y="1889"/>
                </a:lnTo>
                <a:lnTo>
                  <a:pt x="3713" y="1887"/>
                </a:lnTo>
                <a:close/>
                <a:moveTo>
                  <a:pt x="3571" y="1865"/>
                </a:moveTo>
                <a:lnTo>
                  <a:pt x="3575" y="1864"/>
                </a:lnTo>
                <a:lnTo>
                  <a:pt x="3577" y="1863"/>
                </a:lnTo>
                <a:lnTo>
                  <a:pt x="3580" y="1863"/>
                </a:lnTo>
                <a:lnTo>
                  <a:pt x="3583" y="1864"/>
                </a:lnTo>
                <a:lnTo>
                  <a:pt x="3586" y="1865"/>
                </a:lnTo>
                <a:lnTo>
                  <a:pt x="3588" y="1867"/>
                </a:lnTo>
                <a:lnTo>
                  <a:pt x="3590" y="1869"/>
                </a:lnTo>
                <a:lnTo>
                  <a:pt x="3592" y="1871"/>
                </a:lnTo>
                <a:lnTo>
                  <a:pt x="3593" y="1874"/>
                </a:lnTo>
                <a:lnTo>
                  <a:pt x="3593" y="1877"/>
                </a:lnTo>
                <a:lnTo>
                  <a:pt x="3593" y="1880"/>
                </a:lnTo>
                <a:lnTo>
                  <a:pt x="3593" y="1884"/>
                </a:lnTo>
                <a:lnTo>
                  <a:pt x="3591" y="1887"/>
                </a:lnTo>
                <a:lnTo>
                  <a:pt x="3589" y="1889"/>
                </a:lnTo>
                <a:lnTo>
                  <a:pt x="3586" y="1892"/>
                </a:lnTo>
                <a:lnTo>
                  <a:pt x="3582" y="1893"/>
                </a:lnTo>
                <a:lnTo>
                  <a:pt x="3579" y="1894"/>
                </a:lnTo>
                <a:lnTo>
                  <a:pt x="3577" y="1894"/>
                </a:lnTo>
                <a:lnTo>
                  <a:pt x="3574" y="1893"/>
                </a:lnTo>
                <a:lnTo>
                  <a:pt x="3571" y="1892"/>
                </a:lnTo>
                <a:lnTo>
                  <a:pt x="3569" y="1890"/>
                </a:lnTo>
                <a:lnTo>
                  <a:pt x="3567" y="1888"/>
                </a:lnTo>
                <a:lnTo>
                  <a:pt x="3565" y="1886"/>
                </a:lnTo>
                <a:lnTo>
                  <a:pt x="3564" y="1883"/>
                </a:lnTo>
                <a:lnTo>
                  <a:pt x="3563" y="1880"/>
                </a:lnTo>
                <a:lnTo>
                  <a:pt x="3563" y="1877"/>
                </a:lnTo>
                <a:lnTo>
                  <a:pt x="3564" y="1873"/>
                </a:lnTo>
                <a:lnTo>
                  <a:pt x="3566" y="1870"/>
                </a:lnTo>
                <a:lnTo>
                  <a:pt x="3568" y="1867"/>
                </a:lnTo>
                <a:lnTo>
                  <a:pt x="3571" y="1865"/>
                </a:lnTo>
                <a:close/>
                <a:moveTo>
                  <a:pt x="2784" y="2297"/>
                </a:moveTo>
                <a:lnTo>
                  <a:pt x="2786" y="2296"/>
                </a:lnTo>
                <a:lnTo>
                  <a:pt x="2788" y="2295"/>
                </a:lnTo>
                <a:lnTo>
                  <a:pt x="2791" y="2295"/>
                </a:lnTo>
                <a:lnTo>
                  <a:pt x="2793" y="2295"/>
                </a:lnTo>
                <a:lnTo>
                  <a:pt x="2796" y="2295"/>
                </a:lnTo>
                <a:lnTo>
                  <a:pt x="2799" y="2297"/>
                </a:lnTo>
                <a:lnTo>
                  <a:pt x="2801" y="2298"/>
                </a:lnTo>
                <a:lnTo>
                  <a:pt x="2803" y="2301"/>
                </a:lnTo>
                <a:lnTo>
                  <a:pt x="2804" y="2302"/>
                </a:lnTo>
                <a:lnTo>
                  <a:pt x="2805" y="2303"/>
                </a:lnTo>
                <a:lnTo>
                  <a:pt x="2806" y="2306"/>
                </a:lnTo>
                <a:lnTo>
                  <a:pt x="2806" y="2309"/>
                </a:lnTo>
                <a:lnTo>
                  <a:pt x="2806" y="2312"/>
                </a:lnTo>
                <a:lnTo>
                  <a:pt x="2806" y="2315"/>
                </a:lnTo>
                <a:lnTo>
                  <a:pt x="2804" y="2318"/>
                </a:lnTo>
                <a:lnTo>
                  <a:pt x="2802" y="2321"/>
                </a:lnTo>
                <a:lnTo>
                  <a:pt x="2799" y="2323"/>
                </a:lnTo>
                <a:lnTo>
                  <a:pt x="2797" y="2324"/>
                </a:lnTo>
                <a:lnTo>
                  <a:pt x="2794" y="2325"/>
                </a:lnTo>
                <a:lnTo>
                  <a:pt x="2792" y="2325"/>
                </a:lnTo>
                <a:lnTo>
                  <a:pt x="2789" y="2325"/>
                </a:lnTo>
                <a:lnTo>
                  <a:pt x="2786" y="2324"/>
                </a:lnTo>
                <a:lnTo>
                  <a:pt x="2784" y="2323"/>
                </a:lnTo>
                <a:lnTo>
                  <a:pt x="2781" y="2321"/>
                </a:lnTo>
                <a:lnTo>
                  <a:pt x="2779" y="2319"/>
                </a:lnTo>
                <a:lnTo>
                  <a:pt x="2778" y="2318"/>
                </a:lnTo>
                <a:lnTo>
                  <a:pt x="2778" y="2317"/>
                </a:lnTo>
                <a:lnTo>
                  <a:pt x="2777" y="2314"/>
                </a:lnTo>
                <a:lnTo>
                  <a:pt x="2776" y="2311"/>
                </a:lnTo>
                <a:lnTo>
                  <a:pt x="2776" y="2308"/>
                </a:lnTo>
                <a:lnTo>
                  <a:pt x="2777" y="2305"/>
                </a:lnTo>
                <a:lnTo>
                  <a:pt x="2779" y="2301"/>
                </a:lnTo>
                <a:lnTo>
                  <a:pt x="2781" y="2299"/>
                </a:lnTo>
                <a:lnTo>
                  <a:pt x="2784" y="2297"/>
                </a:lnTo>
                <a:close/>
                <a:moveTo>
                  <a:pt x="3427" y="1859"/>
                </a:moveTo>
                <a:lnTo>
                  <a:pt x="3431" y="1858"/>
                </a:lnTo>
                <a:lnTo>
                  <a:pt x="3434" y="1857"/>
                </a:lnTo>
                <a:lnTo>
                  <a:pt x="3437" y="1858"/>
                </a:lnTo>
                <a:lnTo>
                  <a:pt x="3440" y="1858"/>
                </a:lnTo>
                <a:lnTo>
                  <a:pt x="3443" y="1860"/>
                </a:lnTo>
                <a:lnTo>
                  <a:pt x="3445" y="1862"/>
                </a:lnTo>
                <a:lnTo>
                  <a:pt x="3447" y="1864"/>
                </a:lnTo>
                <a:lnTo>
                  <a:pt x="3449" y="1866"/>
                </a:lnTo>
                <a:lnTo>
                  <a:pt x="3450" y="1869"/>
                </a:lnTo>
                <a:lnTo>
                  <a:pt x="3450" y="1872"/>
                </a:lnTo>
                <a:lnTo>
                  <a:pt x="3449" y="1876"/>
                </a:lnTo>
                <a:lnTo>
                  <a:pt x="3448" y="1880"/>
                </a:lnTo>
                <a:lnTo>
                  <a:pt x="3445" y="1883"/>
                </a:lnTo>
                <a:lnTo>
                  <a:pt x="3442" y="1886"/>
                </a:lnTo>
                <a:lnTo>
                  <a:pt x="3439" y="1887"/>
                </a:lnTo>
                <a:lnTo>
                  <a:pt x="3435" y="1888"/>
                </a:lnTo>
                <a:lnTo>
                  <a:pt x="3432" y="1888"/>
                </a:lnTo>
                <a:lnTo>
                  <a:pt x="3429" y="1887"/>
                </a:lnTo>
                <a:lnTo>
                  <a:pt x="3426" y="1885"/>
                </a:lnTo>
                <a:lnTo>
                  <a:pt x="3424" y="1884"/>
                </a:lnTo>
                <a:lnTo>
                  <a:pt x="3422" y="1881"/>
                </a:lnTo>
                <a:lnTo>
                  <a:pt x="3421" y="1879"/>
                </a:lnTo>
                <a:lnTo>
                  <a:pt x="3420" y="1876"/>
                </a:lnTo>
                <a:lnTo>
                  <a:pt x="3419" y="1873"/>
                </a:lnTo>
                <a:lnTo>
                  <a:pt x="3420" y="1869"/>
                </a:lnTo>
                <a:lnTo>
                  <a:pt x="3421" y="1865"/>
                </a:lnTo>
                <a:lnTo>
                  <a:pt x="3424" y="1862"/>
                </a:lnTo>
                <a:lnTo>
                  <a:pt x="3427" y="1859"/>
                </a:lnTo>
                <a:close/>
                <a:moveTo>
                  <a:pt x="2815" y="2157"/>
                </a:moveTo>
                <a:lnTo>
                  <a:pt x="2818" y="2156"/>
                </a:lnTo>
                <a:lnTo>
                  <a:pt x="2822" y="2155"/>
                </a:lnTo>
                <a:lnTo>
                  <a:pt x="2825" y="2155"/>
                </a:lnTo>
                <a:lnTo>
                  <a:pt x="2828" y="2156"/>
                </a:lnTo>
                <a:lnTo>
                  <a:pt x="2830" y="2157"/>
                </a:lnTo>
                <a:lnTo>
                  <a:pt x="2831" y="2157"/>
                </a:lnTo>
                <a:lnTo>
                  <a:pt x="2833" y="2159"/>
                </a:lnTo>
                <a:lnTo>
                  <a:pt x="2835" y="2161"/>
                </a:lnTo>
                <a:lnTo>
                  <a:pt x="2837" y="2164"/>
                </a:lnTo>
                <a:lnTo>
                  <a:pt x="2838" y="2167"/>
                </a:lnTo>
                <a:lnTo>
                  <a:pt x="2838" y="2170"/>
                </a:lnTo>
                <a:lnTo>
                  <a:pt x="2838" y="2173"/>
                </a:lnTo>
                <a:lnTo>
                  <a:pt x="2837" y="2176"/>
                </a:lnTo>
                <a:lnTo>
                  <a:pt x="2836" y="2178"/>
                </a:lnTo>
                <a:lnTo>
                  <a:pt x="2834" y="2180"/>
                </a:lnTo>
                <a:lnTo>
                  <a:pt x="2833" y="2182"/>
                </a:lnTo>
                <a:lnTo>
                  <a:pt x="2831" y="2183"/>
                </a:lnTo>
                <a:lnTo>
                  <a:pt x="2827" y="2185"/>
                </a:lnTo>
                <a:lnTo>
                  <a:pt x="2824" y="2185"/>
                </a:lnTo>
                <a:lnTo>
                  <a:pt x="2821" y="2185"/>
                </a:lnTo>
                <a:lnTo>
                  <a:pt x="2817" y="2184"/>
                </a:lnTo>
                <a:lnTo>
                  <a:pt x="2816" y="2184"/>
                </a:lnTo>
                <a:lnTo>
                  <a:pt x="2815" y="2183"/>
                </a:lnTo>
                <a:lnTo>
                  <a:pt x="2812" y="2181"/>
                </a:lnTo>
                <a:lnTo>
                  <a:pt x="2810" y="2179"/>
                </a:lnTo>
                <a:lnTo>
                  <a:pt x="2809" y="2176"/>
                </a:lnTo>
                <a:lnTo>
                  <a:pt x="2808" y="2174"/>
                </a:lnTo>
                <a:lnTo>
                  <a:pt x="2808" y="2171"/>
                </a:lnTo>
                <a:lnTo>
                  <a:pt x="2808" y="2168"/>
                </a:lnTo>
                <a:lnTo>
                  <a:pt x="2809" y="2165"/>
                </a:lnTo>
                <a:lnTo>
                  <a:pt x="2810" y="2162"/>
                </a:lnTo>
                <a:lnTo>
                  <a:pt x="2811" y="2160"/>
                </a:lnTo>
                <a:lnTo>
                  <a:pt x="2813" y="2158"/>
                </a:lnTo>
                <a:lnTo>
                  <a:pt x="2815" y="2157"/>
                </a:lnTo>
                <a:close/>
                <a:moveTo>
                  <a:pt x="3284" y="1872"/>
                </a:moveTo>
                <a:lnTo>
                  <a:pt x="3286" y="1871"/>
                </a:lnTo>
                <a:lnTo>
                  <a:pt x="3289" y="1870"/>
                </a:lnTo>
                <a:lnTo>
                  <a:pt x="3292" y="1870"/>
                </a:lnTo>
                <a:lnTo>
                  <a:pt x="3295" y="1870"/>
                </a:lnTo>
                <a:lnTo>
                  <a:pt x="3298" y="1871"/>
                </a:lnTo>
                <a:lnTo>
                  <a:pt x="3300" y="1873"/>
                </a:lnTo>
                <a:lnTo>
                  <a:pt x="3303" y="1875"/>
                </a:lnTo>
                <a:lnTo>
                  <a:pt x="3304" y="1877"/>
                </a:lnTo>
                <a:lnTo>
                  <a:pt x="3306" y="1880"/>
                </a:lnTo>
                <a:lnTo>
                  <a:pt x="3307" y="1883"/>
                </a:lnTo>
                <a:lnTo>
                  <a:pt x="3307" y="1887"/>
                </a:lnTo>
                <a:lnTo>
                  <a:pt x="3305" y="1892"/>
                </a:lnTo>
                <a:lnTo>
                  <a:pt x="3303" y="1895"/>
                </a:lnTo>
                <a:lnTo>
                  <a:pt x="3299" y="1898"/>
                </a:lnTo>
                <a:lnTo>
                  <a:pt x="3297" y="1899"/>
                </a:lnTo>
                <a:lnTo>
                  <a:pt x="3294" y="1900"/>
                </a:lnTo>
                <a:lnTo>
                  <a:pt x="3291" y="1900"/>
                </a:lnTo>
                <a:lnTo>
                  <a:pt x="3288" y="1900"/>
                </a:lnTo>
                <a:lnTo>
                  <a:pt x="3285" y="1899"/>
                </a:lnTo>
                <a:lnTo>
                  <a:pt x="3283" y="1897"/>
                </a:lnTo>
                <a:lnTo>
                  <a:pt x="3280" y="1895"/>
                </a:lnTo>
                <a:lnTo>
                  <a:pt x="3279" y="1893"/>
                </a:lnTo>
                <a:lnTo>
                  <a:pt x="3277" y="1890"/>
                </a:lnTo>
                <a:lnTo>
                  <a:pt x="3276" y="1887"/>
                </a:lnTo>
                <a:lnTo>
                  <a:pt x="3276" y="1883"/>
                </a:lnTo>
                <a:lnTo>
                  <a:pt x="3278" y="1878"/>
                </a:lnTo>
                <a:lnTo>
                  <a:pt x="3280" y="1875"/>
                </a:lnTo>
                <a:lnTo>
                  <a:pt x="3284" y="1872"/>
                </a:lnTo>
                <a:close/>
                <a:moveTo>
                  <a:pt x="3144" y="1905"/>
                </a:moveTo>
                <a:lnTo>
                  <a:pt x="3147" y="1903"/>
                </a:lnTo>
                <a:lnTo>
                  <a:pt x="3150" y="1903"/>
                </a:lnTo>
                <a:lnTo>
                  <a:pt x="3153" y="1903"/>
                </a:lnTo>
                <a:lnTo>
                  <a:pt x="3156" y="1903"/>
                </a:lnTo>
                <a:lnTo>
                  <a:pt x="3159" y="1904"/>
                </a:lnTo>
                <a:lnTo>
                  <a:pt x="3161" y="1906"/>
                </a:lnTo>
                <a:lnTo>
                  <a:pt x="3163" y="1908"/>
                </a:lnTo>
                <a:lnTo>
                  <a:pt x="3165" y="1910"/>
                </a:lnTo>
                <a:lnTo>
                  <a:pt x="3166" y="1913"/>
                </a:lnTo>
                <a:lnTo>
                  <a:pt x="3167" y="1918"/>
                </a:lnTo>
                <a:lnTo>
                  <a:pt x="3166" y="1921"/>
                </a:lnTo>
                <a:lnTo>
                  <a:pt x="3166" y="1923"/>
                </a:lnTo>
                <a:lnTo>
                  <a:pt x="3165" y="1926"/>
                </a:lnTo>
                <a:lnTo>
                  <a:pt x="3163" y="1928"/>
                </a:lnTo>
                <a:lnTo>
                  <a:pt x="3161" y="1929"/>
                </a:lnTo>
                <a:lnTo>
                  <a:pt x="3159" y="1931"/>
                </a:lnTo>
                <a:lnTo>
                  <a:pt x="3156" y="1932"/>
                </a:lnTo>
                <a:lnTo>
                  <a:pt x="3153" y="1933"/>
                </a:lnTo>
                <a:lnTo>
                  <a:pt x="3150" y="1933"/>
                </a:lnTo>
                <a:lnTo>
                  <a:pt x="3147" y="1932"/>
                </a:lnTo>
                <a:lnTo>
                  <a:pt x="3144" y="1931"/>
                </a:lnTo>
                <a:lnTo>
                  <a:pt x="3142" y="1930"/>
                </a:lnTo>
                <a:lnTo>
                  <a:pt x="3140" y="1928"/>
                </a:lnTo>
                <a:lnTo>
                  <a:pt x="3138" y="1925"/>
                </a:lnTo>
                <a:lnTo>
                  <a:pt x="3137" y="1922"/>
                </a:lnTo>
                <a:lnTo>
                  <a:pt x="3136" y="1917"/>
                </a:lnTo>
                <a:lnTo>
                  <a:pt x="3137" y="1914"/>
                </a:lnTo>
                <a:lnTo>
                  <a:pt x="3137" y="1912"/>
                </a:lnTo>
                <a:lnTo>
                  <a:pt x="3139" y="1910"/>
                </a:lnTo>
                <a:lnTo>
                  <a:pt x="3140" y="1908"/>
                </a:lnTo>
                <a:lnTo>
                  <a:pt x="3142" y="1906"/>
                </a:lnTo>
                <a:lnTo>
                  <a:pt x="3144" y="1905"/>
                </a:lnTo>
                <a:close/>
                <a:moveTo>
                  <a:pt x="2892" y="2038"/>
                </a:moveTo>
                <a:lnTo>
                  <a:pt x="2895" y="2037"/>
                </a:lnTo>
                <a:lnTo>
                  <a:pt x="2897" y="2036"/>
                </a:lnTo>
                <a:lnTo>
                  <a:pt x="2902" y="2036"/>
                </a:lnTo>
                <a:lnTo>
                  <a:pt x="2907" y="2037"/>
                </a:lnTo>
                <a:lnTo>
                  <a:pt x="2909" y="2038"/>
                </a:lnTo>
                <a:lnTo>
                  <a:pt x="2911" y="2040"/>
                </a:lnTo>
                <a:lnTo>
                  <a:pt x="2913" y="2042"/>
                </a:lnTo>
                <a:lnTo>
                  <a:pt x="2914" y="2045"/>
                </a:lnTo>
                <a:lnTo>
                  <a:pt x="2915" y="2048"/>
                </a:lnTo>
                <a:lnTo>
                  <a:pt x="2915" y="2051"/>
                </a:lnTo>
                <a:lnTo>
                  <a:pt x="2915" y="2054"/>
                </a:lnTo>
                <a:lnTo>
                  <a:pt x="2914" y="2057"/>
                </a:lnTo>
                <a:lnTo>
                  <a:pt x="2913" y="2059"/>
                </a:lnTo>
                <a:lnTo>
                  <a:pt x="2911" y="2062"/>
                </a:lnTo>
                <a:lnTo>
                  <a:pt x="2908" y="2064"/>
                </a:lnTo>
                <a:lnTo>
                  <a:pt x="2905" y="2065"/>
                </a:lnTo>
                <a:lnTo>
                  <a:pt x="2903" y="2066"/>
                </a:lnTo>
                <a:lnTo>
                  <a:pt x="2898" y="2066"/>
                </a:lnTo>
                <a:lnTo>
                  <a:pt x="2896" y="2065"/>
                </a:lnTo>
                <a:lnTo>
                  <a:pt x="2893" y="2064"/>
                </a:lnTo>
                <a:lnTo>
                  <a:pt x="2891" y="2063"/>
                </a:lnTo>
                <a:lnTo>
                  <a:pt x="2889" y="2062"/>
                </a:lnTo>
                <a:lnTo>
                  <a:pt x="2887" y="2059"/>
                </a:lnTo>
                <a:lnTo>
                  <a:pt x="2886" y="2056"/>
                </a:lnTo>
                <a:lnTo>
                  <a:pt x="2885" y="2054"/>
                </a:lnTo>
                <a:lnTo>
                  <a:pt x="2885" y="2051"/>
                </a:lnTo>
                <a:lnTo>
                  <a:pt x="2885" y="2048"/>
                </a:lnTo>
                <a:lnTo>
                  <a:pt x="2886" y="2045"/>
                </a:lnTo>
                <a:lnTo>
                  <a:pt x="2887" y="2042"/>
                </a:lnTo>
                <a:lnTo>
                  <a:pt x="2889" y="2040"/>
                </a:lnTo>
                <a:lnTo>
                  <a:pt x="2892" y="2038"/>
                </a:lnTo>
                <a:close/>
                <a:moveTo>
                  <a:pt x="3010" y="1957"/>
                </a:moveTo>
                <a:lnTo>
                  <a:pt x="3013" y="1956"/>
                </a:lnTo>
                <a:lnTo>
                  <a:pt x="3016" y="1955"/>
                </a:lnTo>
                <a:lnTo>
                  <a:pt x="3020" y="1955"/>
                </a:lnTo>
                <a:lnTo>
                  <a:pt x="3023" y="1956"/>
                </a:lnTo>
                <a:lnTo>
                  <a:pt x="3025" y="1957"/>
                </a:lnTo>
                <a:lnTo>
                  <a:pt x="3028" y="1958"/>
                </a:lnTo>
                <a:lnTo>
                  <a:pt x="3029" y="1960"/>
                </a:lnTo>
                <a:lnTo>
                  <a:pt x="3030" y="1961"/>
                </a:lnTo>
                <a:lnTo>
                  <a:pt x="3031" y="1963"/>
                </a:lnTo>
                <a:lnTo>
                  <a:pt x="3032" y="1966"/>
                </a:lnTo>
                <a:lnTo>
                  <a:pt x="3033" y="1969"/>
                </a:lnTo>
                <a:lnTo>
                  <a:pt x="3033" y="1972"/>
                </a:lnTo>
                <a:lnTo>
                  <a:pt x="3032" y="1974"/>
                </a:lnTo>
                <a:lnTo>
                  <a:pt x="3031" y="1977"/>
                </a:lnTo>
                <a:lnTo>
                  <a:pt x="3030" y="1979"/>
                </a:lnTo>
                <a:lnTo>
                  <a:pt x="3028" y="1981"/>
                </a:lnTo>
                <a:lnTo>
                  <a:pt x="3025" y="1983"/>
                </a:lnTo>
                <a:lnTo>
                  <a:pt x="3022" y="1984"/>
                </a:lnTo>
                <a:lnTo>
                  <a:pt x="3019" y="1985"/>
                </a:lnTo>
                <a:lnTo>
                  <a:pt x="3016" y="1985"/>
                </a:lnTo>
                <a:lnTo>
                  <a:pt x="3013" y="1984"/>
                </a:lnTo>
                <a:lnTo>
                  <a:pt x="3010" y="1983"/>
                </a:lnTo>
                <a:lnTo>
                  <a:pt x="3008" y="1981"/>
                </a:lnTo>
                <a:lnTo>
                  <a:pt x="3006" y="1979"/>
                </a:lnTo>
                <a:lnTo>
                  <a:pt x="3004" y="1977"/>
                </a:lnTo>
                <a:lnTo>
                  <a:pt x="3003" y="1974"/>
                </a:lnTo>
                <a:lnTo>
                  <a:pt x="3002" y="1971"/>
                </a:lnTo>
                <a:lnTo>
                  <a:pt x="3003" y="1968"/>
                </a:lnTo>
                <a:lnTo>
                  <a:pt x="3003" y="1965"/>
                </a:lnTo>
                <a:lnTo>
                  <a:pt x="3004" y="1963"/>
                </a:lnTo>
                <a:lnTo>
                  <a:pt x="3006" y="1961"/>
                </a:lnTo>
                <a:lnTo>
                  <a:pt x="3008" y="1958"/>
                </a:lnTo>
                <a:lnTo>
                  <a:pt x="3010" y="1957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6966" y="1915888"/>
            <a:ext cx="9938272" cy="576536"/>
          </a:xfrm>
          <a:prstGeom prst="roundRect">
            <a:avLst/>
          </a:prstGeom>
          <a:solidFill>
            <a:schemeClr val="accent1"/>
          </a:solidFill>
        </p:spPr>
        <p:txBody>
          <a:bodyPr lIns="180000" tIns="72000" rIns="180000" bIns="7200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41" name="Text Placeholder 2"/>
          <p:cNvSpPr>
            <a:spLocks noGrp="1"/>
          </p:cNvSpPr>
          <p:nvPr>
            <p:ph type="body" idx="19"/>
          </p:nvPr>
        </p:nvSpPr>
        <p:spPr>
          <a:xfrm>
            <a:off x="1486966" y="2636440"/>
            <a:ext cx="9938272" cy="576536"/>
          </a:xfrm>
          <a:prstGeom prst="roundRect">
            <a:avLst/>
          </a:prstGeom>
          <a:solidFill>
            <a:schemeClr val="accent1"/>
          </a:solidFill>
        </p:spPr>
        <p:txBody>
          <a:bodyPr lIns="180000" tIns="72000" rIns="180000" bIns="7200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idx="21"/>
          </p:nvPr>
        </p:nvSpPr>
        <p:spPr>
          <a:xfrm>
            <a:off x="1487488" y="3356992"/>
            <a:ext cx="9932128" cy="576536"/>
          </a:xfrm>
          <a:prstGeom prst="roundRect">
            <a:avLst/>
          </a:prstGeom>
          <a:solidFill>
            <a:schemeClr val="accent1"/>
          </a:solidFill>
        </p:spPr>
        <p:txBody>
          <a:bodyPr lIns="180000" tIns="72000" rIns="180000" bIns="7200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23"/>
          </p:nvPr>
        </p:nvSpPr>
        <p:spPr>
          <a:xfrm>
            <a:off x="1486966" y="4076600"/>
            <a:ext cx="9938272" cy="576536"/>
          </a:xfrm>
          <a:prstGeom prst="roundRect">
            <a:avLst/>
          </a:prstGeom>
          <a:solidFill>
            <a:schemeClr val="accent2"/>
          </a:solidFill>
        </p:spPr>
        <p:txBody>
          <a:bodyPr lIns="180000" tIns="72000" rIns="180000" bIns="7200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6886" y="1916113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6886" y="2636912"/>
            <a:ext cx="720601" cy="576064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6886" y="335699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766886" y="407707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766886" y="479715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idx="25"/>
          </p:nvPr>
        </p:nvSpPr>
        <p:spPr>
          <a:xfrm>
            <a:off x="1486966" y="4796680"/>
            <a:ext cx="9938272" cy="576536"/>
          </a:xfrm>
          <a:prstGeom prst="roundRect">
            <a:avLst/>
          </a:prstGeom>
          <a:solidFill>
            <a:schemeClr val="accent4"/>
          </a:solidFill>
        </p:spPr>
        <p:txBody>
          <a:bodyPr lIns="180000" tIns="72000" rIns="180000" bIns="7200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Freeform 23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93890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" preserve="1" userDrawn="1">
  <p:cSld name="slide_4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6"/>
          <p:cNvSpPr>
            <a:spLocks noEditPoints="1"/>
          </p:cNvSpPr>
          <p:nvPr userDrawn="1"/>
        </p:nvSpPr>
        <p:spPr bwMode="auto">
          <a:xfrm>
            <a:off x="0" y="-1"/>
            <a:ext cx="2776617" cy="1916113"/>
          </a:xfrm>
          <a:custGeom>
            <a:avLst/>
            <a:gdLst>
              <a:gd name="T0" fmla="*/ 538 w 3259"/>
              <a:gd name="T1" fmla="*/ 418 h 2249"/>
              <a:gd name="T2" fmla="*/ 417 w 3259"/>
              <a:gd name="T3" fmla="*/ 389 h 2249"/>
              <a:gd name="T4" fmla="*/ 294 w 3259"/>
              <a:gd name="T5" fmla="*/ 300 h 2249"/>
              <a:gd name="T6" fmla="*/ 930 w 3259"/>
              <a:gd name="T7" fmla="*/ 266 h 2249"/>
              <a:gd name="T8" fmla="*/ 1044 w 3259"/>
              <a:gd name="T9" fmla="*/ 177 h 2249"/>
              <a:gd name="T10" fmla="*/ 1145 w 3259"/>
              <a:gd name="T11" fmla="*/ 46 h 2249"/>
              <a:gd name="T12" fmla="*/ 589 w 3259"/>
              <a:gd name="T13" fmla="*/ 862 h 2249"/>
              <a:gd name="T14" fmla="*/ 455 w 3259"/>
              <a:gd name="T15" fmla="*/ 846 h 2249"/>
              <a:gd name="T16" fmla="*/ 344 w 3259"/>
              <a:gd name="T17" fmla="*/ 764 h 2249"/>
              <a:gd name="T18" fmla="*/ 982 w 3259"/>
              <a:gd name="T19" fmla="*/ 711 h 2249"/>
              <a:gd name="T20" fmla="*/ 1085 w 3259"/>
              <a:gd name="T21" fmla="*/ 631 h 2249"/>
              <a:gd name="T22" fmla="*/ 1192 w 3259"/>
              <a:gd name="T23" fmla="*/ 510 h 2249"/>
              <a:gd name="T24" fmla="*/ 1657 w 3259"/>
              <a:gd name="T25" fmla="*/ 357 h 2249"/>
              <a:gd name="T26" fmla="*/ 1505 w 3259"/>
              <a:gd name="T27" fmla="*/ 347 h 2249"/>
              <a:gd name="T28" fmla="*/ 1387 w 3259"/>
              <a:gd name="T29" fmla="*/ 322 h 2249"/>
              <a:gd name="T30" fmla="*/ 2026 w 3259"/>
              <a:gd name="T31" fmla="*/ 140 h 2249"/>
              <a:gd name="T32" fmla="*/ 2112 w 3259"/>
              <a:gd name="T33" fmla="*/ 50 h 2249"/>
              <a:gd name="T34" fmla="*/ 793 w 3259"/>
              <a:gd name="T35" fmla="*/ 1325 h 2249"/>
              <a:gd name="T36" fmla="*/ 926 w 3259"/>
              <a:gd name="T37" fmla="*/ 1252 h 2249"/>
              <a:gd name="T38" fmla="*/ 366 w 3259"/>
              <a:gd name="T39" fmla="*/ 1213 h 2249"/>
              <a:gd name="T40" fmla="*/ 253 w 3259"/>
              <a:gd name="T41" fmla="*/ 1152 h 2249"/>
              <a:gd name="T42" fmla="*/ 145 w 3259"/>
              <a:gd name="T43" fmla="*/ 1055 h 2249"/>
              <a:gd name="T44" fmla="*/ 1235 w 3259"/>
              <a:gd name="T45" fmla="*/ 970 h 2249"/>
              <a:gd name="T46" fmla="*/ 1702 w 3259"/>
              <a:gd name="T47" fmla="*/ 813 h 2249"/>
              <a:gd name="T48" fmla="*/ 1551 w 3259"/>
              <a:gd name="T49" fmla="*/ 802 h 2249"/>
              <a:gd name="T50" fmla="*/ 1425 w 3259"/>
              <a:gd name="T51" fmla="*/ 777 h 2249"/>
              <a:gd name="T52" fmla="*/ 2080 w 3259"/>
              <a:gd name="T53" fmla="*/ 601 h 2249"/>
              <a:gd name="T54" fmla="*/ 2161 w 3259"/>
              <a:gd name="T55" fmla="*/ 496 h 2249"/>
              <a:gd name="T56" fmla="*/ 2339 w 3259"/>
              <a:gd name="T57" fmla="*/ 285 h 2249"/>
              <a:gd name="T58" fmla="*/ 2473 w 3259"/>
              <a:gd name="T59" fmla="*/ 4 h 2249"/>
              <a:gd name="T60" fmla="*/ 675 w 3259"/>
              <a:gd name="T61" fmla="*/ 1786 h 2249"/>
              <a:gd name="T62" fmla="*/ 549 w 3259"/>
              <a:gd name="T63" fmla="*/ 1756 h 2249"/>
              <a:gd name="T64" fmla="*/ 434 w 3259"/>
              <a:gd name="T65" fmla="*/ 1678 h 2249"/>
              <a:gd name="T66" fmla="*/ 306 w 3259"/>
              <a:gd name="T67" fmla="*/ 1583 h 2249"/>
              <a:gd name="T68" fmla="*/ 1169 w 3259"/>
              <a:gd name="T69" fmla="*/ 1534 h 2249"/>
              <a:gd name="T70" fmla="*/ 58 w 3259"/>
              <a:gd name="T71" fmla="*/ 1466 h 2249"/>
              <a:gd name="T72" fmla="*/ 1367 w 3259"/>
              <a:gd name="T73" fmla="*/ 1294 h 2249"/>
              <a:gd name="T74" fmla="*/ 1736 w 3259"/>
              <a:gd name="T75" fmla="*/ 1277 h 2249"/>
              <a:gd name="T76" fmla="*/ 1886 w 3259"/>
              <a:gd name="T77" fmla="*/ 1244 h 2249"/>
              <a:gd name="T78" fmla="*/ 2016 w 3259"/>
              <a:gd name="T79" fmla="*/ 1156 h 2249"/>
              <a:gd name="T80" fmla="*/ 2110 w 3259"/>
              <a:gd name="T81" fmla="*/ 1051 h 2249"/>
              <a:gd name="T82" fmla="*/ 2299 w 3259"/>
              <a:gd name="T83" fmla="*/ 857 h 2249"/>
              <a:gd name="T84" fmla="*/ 2471 w 3259"/>
              <a:gd name="T85" fmla="*/ 606 h 2249"/>
              <a:gd name="T86" fmla="*/ 2510 w 3259"/>
              <a:gd name="T87" fmla="*/ 455 h 2249"/>
              <a:gd name="T88" fmla="*/ 2616 w 3259"/>
              <a:gd name="T89" fmla="*/ 203 h 2249"/>
              <a:gd name="T90" fmla="*/ 738 w 3259"/>
              <a:gd name="T91" fmla="*/ 2247 h 2249"/>
              <a:gd name="T92" fmla="*/ 601 w 3259"/>
              <a:gd name="T93" fmla="*/ 2188 h 2249"/>
              <a:gd name="T94" fmla="*/ 471 w 3259"/>
              <a:gd name="T95" fmla="*/ 2118 h 2249"/>
              <a:gd name="T96" fmla="*/ 1113 w 3259"/>
              <a:gd name="T97" fmla="*/ 2086 h 2249"/>
              <a:gd name="T98" fmla="*/ 1222 w 3259"/>
              <a:gd name="T99" fmla="*/ 1996 h 2249"/>
              <a:gd name="T100" fmla="*/ 108 w 3259"/>
              <a:gd name="T101" fmla="*/ 1910 h 2249"/>
              <a:gd name="T102" fmla="*/ 1414 w 3259"/>
              <a:gd name="T103" fmla="*/ 1751 h 2249"/>
              <a:gd name="T104" fmla="*/ 1782 w 3259"/>
              <a:gd name="T105" fmla="*/ 1730 h 2249"/>
              <a:gd name="T106" fmla="*/ 1925 w 3259"/>
              <a:gd name="T107" fmla="*/ 1699 h 2249"/>
              <a:gd name="T108" fmla="*/ 2061 w 3259"/>
              <a:gd name="T109" fmla="*/ 1613 h 2249"/>
              <a:gd name="T110" fmla="*/ 2160 w 3259"/>
              <a:gd name="T111" fmla="*/ 1505 h 2249"/>
              <a:gd name="T112" fmla="*/ 2342 w 3259"/>
              <a:gd name="T113" fmla="*/ 1300 h 2249"/>
              <a:gd name="T114" fmla="*/ 2505 w 3259"/>
              <a:gd name="T115" fmla="*/ 1070 h 2249"/>
              <a:gd name="T116" fmla="*/ 2623 w 3259"/>
              <a:gd name="T117" fmla="*/ 792 h 2249"/>
              <a:gd name="T118" fmla="*/ 2751 w 3259"/>
              <a:gd name="T119" fmla="*/ 523 h 2249"/>
              <a:gd name="T120" fmla="*/ 2814 w 3259"/>
              <a:gd name="T121" fmla="*/ 409 h 2249"/>
              <a:gd name="T122" fmla="*/ 3017 w 3259"/>
              <a:gd name="T123" fmla="*/ 212 h 2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259" h="2249">
                <a:moveTo>
                  <a:pt x="3247" y="16"/>
                </a:moveTo>
                <a:lnTo>
                  <a:pt x="3250" y="16"/>
                </a:lnTo>
                <a:lnTo>
                  <a:pt x="3253" y="17"/>
                </a:lnTo>
                <a:lnTo>
                  <a:pt x="3255" y="19"/>
                </a:lnTo>
                <a:lnTo>
                  <a:pt x="3257" y="22"/>
                </a:lnTo>
                <a:lnTo>
                  <a:pt x="3259" y="26"/>
                </a:lnTo>
                <a:lnTo>
                  <a:pt x="3259" y="28"/>
                </a:lnTo>
                <a:lnTo>
                  <a:pt x="3258" y="31"/>
                </a:lnTo>
                <a:lnTo>
                  <a:pt x="3258" y="33"/>
                </a:lnTo>
                <a:lnTo>
                  <a:pt x="3256" y="35"/>
                </a:lnTo>
                <a:lnTo>
                  <a:pt x="3255" y="37"/>
                </a:lnTo>
                <a:lnTo>
                  <a:pt x="3253" y="38"/>
                </a:lnTo>
                <a:lnTo>
                  <a:pt x="3250" y="39"/>
                </a:lnTo>
                <a:lnTo>
                  <a:pt x="3247" y="40"/>
                </a:lnTo>
                <a:lnTo>
                  <a:pt x="3244" y="39"/>
                </a:lnTo>
                <a:lnTo>
                  <a:pt x="3241" y="38"/>
                </a:lnTo>
                <a:lnTo>
                  <a:pt x="3238" y="36"/>
                </a:lnTo>
                <a:lnTo>
                  <a:pt x="3236" y="34"/>
                </a:lnTo>
                <a:lnTo>
                  <a:pt x="3235" y="29"/>
                </a:lnTo>
                <a:lnTo>
                  <a:pt x="3235" y="27"/>
                </a:lnTo>
                <a:lnTo>
                  <a:pt x="3235" y="25"/>
                </a:lnTo>
                <a:lnTo>
                  <a:pt x="3236" y="23"/>
                </a:lnTo>
                <a:lnTo>
                  <a:pt x="3237" y="21"/>
                </a:lnTo>
                <a:lnTo>
                  <a:pt x="3239" y="19"/>
                </a:lnTo>
                <a:lnTo>
                  <a:pt x="3241" y="17"/>
                </a:lnTo>
                <a:lnTo>
                  <a:pt x="3244" y="16"/>
                </a:lnTo>
                <a:lnTo>
                  <a:pt x="3247" y="16"/>
                </a:lnTo>
                <a:close/>
                <a:moveTo>
                  <a:pt x="550" y="404"/>
                </a:moveTo>
                <a:lnTo>
                  <a:pt x="552" y="404"/>
                </a:lnTo>
                <a:lnTo>
                  <a:pt x="554" y="405"/>
                </a:lnTo>
                <a:lnTo>
                  <a:pt x="556" y="406"/>
                </a:lnTo>
                <a:lnTo>
                  <a:pt x="558" y="407"/>
                </a:lnTo>
                <a:lnTo>
                  <a:pt x="560" y="409"/>
                </a:lnTo>
                <a:lnTo>
                  <a:pt x="561" y="411"/>
                </a:lnTo>
                <a:lnTo>
                  <a:pt x="562" y="413"/>
                </a:lnTo>
                <a:lnTo>
                  <a:pt x="563" y="416"/>
                </a:lnTo>
                <a:lnTo>
                  <a:pt x="563" y="418"/>
                </a:lnTo>
                <a:lnTo>
                  <a:pt x="561" y="423"/>
                </a:lnTo>
                <a:lnTo>
                  <a:pt x="558" y="426"/>
                </a:lnTo>
                <a:lnTo>
                  <a:pt x="557" y="428"/>
                </a:lnTo>
                <a:lnTo>
                  <a:pt x="555" y="429"/>
                </a:lnTo>
                <a:lnTo>
                  <a:pt x="550" y="429"/>
                </a:lnTo>
                <a:lnTo>
                  <a:pt x="549" y="429"/>
                </a:lnTo>
                <a:lnTo>
                  <a:pt x="546" y="429"/>
                </a:lnTo>
                <a:lnTo>
                  <a:pt x="544" y="428"/>
                </a:lnTo>
                <a:lnTo>
                  <a:pt x="542" y="426"/>
                </a:lnTo>
                <a:lnTo>
                  <a:pt x="540" y="425"/>
                </a:lnTo>
                <a:lnTo>
                  <a:pt x="539" y="423"/>
                </a:lnTo>
                <a:lnTo>
                  <a:pt x="538" y="420"/>
                </a:lnTo>
                <a:lnTo>
                  <a:pt x="538" y="418"/>
                </a:lnTo>
                <a:lnTo>
                  <a:pt x="538" y="415"/>
                </a:lnTo>
                <a:lnTo>
                  <a:pt x="539" y="411"/>
                </a:lnTo>
                <a:lnTo>
                  <a:pt x="542" y="407"/>
                </a:lnTo>
                <a:lnTo>
                  <a:pt x="544" y="406"/>
                </a:lnTo>
                <a:lnTo>
                  <a:pt x="546" y="405"/>
                </a:lnTo>
                <a:lnTo>
                  <a:pt x="550" y="404"/>
                </a:lnTo>
                <a:close/>
                <a:moveTo>
                  <a:pt x="693" y="394"/>
                </a:moveTo>
                <a:lnTo>
                  <a:pt x="697" y="395"/>
                </a:lnTo>
                <a:lnTo>
                  <a:pt x="699" y="395"/>
                </a:lnTo>
                <a:lnTo>
                  <a:pt x="700" y="397"/>
                </a:lnTo>
                <a:lnTo>
                  <a:pt x="702" y="398"/>
                </a:lnTo>
                <a:lnTo>
                  <a:pt x="703" y="399"/>
                </a:lnTo>
                <a:lnTo>
                  <a:pt x="705" y="403"/>
                </a:lnTo>
                <a:lnTo>
                  <a:pt x="705" y="406"/>
                </a:lnTo>
                <a:lnTo>
                  <a:pt x="705" y="408"/>
                </a:lnTo>
                <a:lnTo>
                  <a:pt x="705" y="411"/>
                </a:lnTo>
                <a:lnTo>
                  <a:pt x="704" y="413"/>
                </a:lnTo>
                <a:lnTo>
                  <a:pt x="702" y="415"/>
                </a:lnTo>
                <a:lnTo>
                  <a:pt x="700" y="417"/>
                </a:lnTo>
                <a:lnTo>
                  <a:pt x="698" y="418"/>
                </a:lnTo>
                <a:lnTo>
                  <a:pt x="696" y="419"/>
                </a:lnTo>
                <a:lnTo>
                  <a:pt x="693" y="419"/>
                </a:lnTo>
                <a:lnTo>
                  <a:pt x="689" y="419"/>
                </a:lnTo>
                <a:lnTo>
                  <a:pt x="687" y="418"/>
                </a:lnTo>
                <a:lnTo>
                  <a:pt x="685" y="417"/>
                </a:lnTo>
                <a:lnTo>
                  <a:pt x="684" y="415"/>
                </a:lnTo>
                <a:lnTo>
                  <a:pt x="682" y="414"/>
                </a:lnTo>
                <a:lnTo>
                  <a:pt x="681" y="410"/>
                </a:lnTo>
                <a:lnTo>
                  <a:pt x="680" y="407"/>
                </a:lnTo>
                <a:lnTo>
                  <a:pt x="680" y="405"/>
                </a:lnTo>
                <a:lnTo>
                  <a:pt x="681" y="402"/>
                </a:lnTo>
                <a:lnTo>
                  <a:pt x="682" y="400"/>
                </a:lnTo>
                <a:lnTo>
                  <a:pt x="683" y="398"/>
                </a:lnTo>
                <a:lnTo>
                  <a:pt x="685" y="397"/>
                </a:lnTo>
                <a:lnTo>
                  <a:pt x="687" y="395"/>
                </a:lnTo>
                <a:lnTo>
                  <a:pt x="690" y="394"/>
                </a:lnTo>
                <a:lnTo>
                  <a:pt x="693" y="394"/>
                </a:lnTo>
                <a:close/>
                <a:moveTo>
                  <a:pt x="412" y="365"/>
                </a:moveTo>
                <a:lnTo>
                  <a:pt x="415" y="365"/>
                </a:lnTo>
                <a:lnTo>
                  <a:pt x="417" y="366"/>
                </a:lnTo>
                <a:lnTo>
                  <a:pt x="421" y="369"/>
                </a:lnTo>
                <a:lnTo>
                  <a:pt x="423" y="371"/>
                </a:lnTo>
                <a:lnTo>
                  <a:pt x="424" y="373"/>
                </a:lnTo>
                <a:lnTo>
                  <a:pt x="425" y="376"/>
                </a:lnTo>
                <a:lnTo>
                  <a:pt x="425" y="378"/>
                </a:lnTo>
                <a:lnTo>
                  <a:pt x="425" y="380"/>
                </a:lnTo>
                <a:lnTo>
                  <a:pt x="424" y="383"/>
                </a:lnTo>
                <a:lnTo>
                  <a:pt x="422" y="386"/>
                </a:lnTo>
                <a:lnTo>
                  <a:pt x="419" y="388"/>
                </a:lnTo>
                <a:lnTo>
                  <a:pt x="417" y="389"/>
                </a:lnTo>
                <a:lnTo>
                  <a:pt x="416" y="390"/>
                </a:lnTo>
                <a:lnTo>
                  <a:pt x="412" y="390"/>
                </a:lnTo>
                <a:lnTo>
                  <a:pt x="410" y="390"/>
                </a:lnTo>
                <a:lnTo>
                  <a:pt x="407" y="389"/>
                </a:lnTo>
                <a:lnTo>
                  <a:pt x="403" y="386"/>
                </a:lnTo>
                <a:lnTo>
                  <a:pt x="402" y="385"/>
                </a:lnTo>
                <a:lnTo>
                  <a:pt x="400" y="382"/>
                </a:lnTo>
                <a:lnTo>
                  <a:pt x="400" y="380"/>
                </a:lnTo>
                <a:lnTo>
                  <a:pt x="400" y="378"/>
                </a:lnTo>
                <a:lnTo>
                  <a:pt x="400" y="375"/>
                </a:lnTo>
                <a:lnTo>
                  <a:pt x="401" y="373"/>
                </a:lnTo>
                <a:lnTo>
                  <a:pt x="403" y="370"/>
                </a:lnTo>
                <a:lnTo>
                  <a:pt x="405" y="367"/>
                </a:lnTo>
                <a:lnTo>
                  <a:pt x="407" y="366"/>
                </a:lnTo>
                <a:lnTo>
                  <a:pt x="409" y="366"/>
                </a:lnTo>
                <a:lnTo>
                  <a:pt x="412" y="365"/>
                </a:lnTo>
                <a:close/>
                <a:moveTo>
                  <a:pt x="826" y="338"/>
                </a:moveTo>
                <a:lnTo>
                  <a:pt x="829" y="338"/>
                </a:lnTo>
                <a:lnTo>
                  <a:pt x="832" y="339"/>
                </a:lnTo>
                <a:lnTo>
                  <a:pt x="835" y="341"/>
                </a:lnTo>
                <a:lnTo>
                  <a:pt x="837" y="344"/>
                </a:lnTo>
                <a:lnTo>
                  <a:pt x="838" y="346"/>
                </a:lnTo>
                <a:lnTo>
                  <a:pt x="838" y="349"/>
                </a:lnTo>
                <a:lnTo>
                  <a:pt x="838" y="351"/>
                </a:lnTo>
                <a:lnTo>
                  <a:pt x="838" y="354"/>
                </a:lnTo>
                <a:lnTo>
                  <a:pt x="837" y="356"/>
                </a:lnTo>
                <a:lnTo>
                  <a:pt x="836" y="358"/>
                </a:lnTo>
                <a:lnTo>
                  <a:pt x="834" y="360"/>
                </a:lnTo>
                <a:lnTo>
                  <a:pt x="832" y="361"/>
                </a:lnTo>
                <a:lnTo>
                  <a:pt x="829" y="363"/>
                </a:lnTo>
                <a:lnTo>
                  <a:pt x="826" y="363"/>
                </a:lnTo>
                <a:lnTo>
                  <a:pt x="823" y="363"/>
                </a:lnTo>
                <a:lnTo>
                  <a:pt x="820" y="361"/>
                </a:lnTo>
                <a:lnTo>
                  <a:pt x="817" y="359"/>
                </a:lnTo>
                <a:lnTo>
                  <a:pt x="815" y="357"/>
                </a:lnTo>
                <a:lnTo>
                  <a:pt x="813" y="354"/>
                </a:lnTo>
                <a:lnTo>
                  <a:pt x="812" y="352"/>
                </a:lnTo>
                <a:lnTo>
                  <a:pt x="812" y="349"/>
                </a:lnTo>
                <a:lnTo>
                  <a:pt x="813" y="347"/>
                </a:lnTo>
                <a:lnTo>
                  <a:pt x="813" y="345"/>
                </a:lnTo>
                <a:lnTo>
                  <a:pt x="816" y="343"/>
                </a:lnTo>
                <a:lnTo>
                  <a:pt x="817" y="341"/>
                </a:lnTo>
                <a:lnTo>
                  <a:pt x="820" y="339"/>
                </a:lnTo>
                <a:lnTo>
                  <a:pt x="823" y="338"/>
                </a:lnTo>
                <a:lnTo>
                  <a:pt x="826" y="338"/>
                </a:lnTo>
                <a:close/>
                <a:moveTo>
                  <a:pt x="286" y="297"/>
                </a:moveTo>
                <a:lnTo>
                  <a:pt x="289" y="297"/>
                </a:lnTo>
                <a:lnTo>
                  <a:pt x="291" y="298"/>
                </a:lnTo>
                <a:lnTo>
                  <a:pt x="292" y="299"/>
                </a:lnTo>
                <a:lnTo>
                  <a:pt x="294" y="300"/>
                </a:lnTo>
                <a:lnTo>
                  <a:pt x="296" y="302"/>
                </a:lnTo>
                <a:lnTo>
                  <a:pt x="297" y="304"/>
                </a:lnTo>
                <a:lnTo>
                  <a:pt x="298" y="306"/>
                </a:lnTo>
                <a:lnTo>
                  <a:pt x="298" y="309"/>
                </a:lnTo>
                <a:lnTo>
                  <a:pt x="298" y="311"/>
                </a:lnTo>
                <a:lnTo>
                  <a:pt x="298" y="314"/>
                </a:lnTo>
                <a:lnTo>
                  <a:pt x="296" y="316"/>
                </a:lnTo>
                <a:lnTo>
                  <a:pt x="294" y="318"/>
                </a:lnTo>
                <a:lnTo>
                  <a:pt x="292" y="320"/>
                </a:lnTo>
                <a:lnTo>
                  <a:pt x="289" y="321"/>
                </a:lnTo>
                <a:lnTo>
                  <a:pt x="286" y="322"/>
                </a:lnTo>
                <a:lnTo>
                  <a:pt x="282" y="321"/>
                </a:lnTo>
                <a:lnTo>
                  <a:pt x="281" y="321"/>
                </a:lnTo>
                <a:lnTo>
                  <a:pt x="279" y="320"/>
                </a:lnTo>
                <a:lnTo>
                  <a:pt x="277" y="318"/>
                </a:lnTo>
                <a:lnTo>
                  <a:pt x="275" y="316"/>
                </a:lnTo>
                <a:lnTo>
                  <a:pt x="274" y="314"/>
                </a:lnTo>
                <a:lnTo>
                  <a:pt x="273" y="312"/>
                </a:lnTo>
                <a:lnTo>
                  <a:pt x="273" y="310"/>
                </a:lnTo>
                <a:lnTo>
                  <a:pt x="273" y="307"/>
                </a:lnTo>
                <a:lnTo>
                  <a:pt x="274" y="305"/>
                </a:lnTo>
                <a:lnTo>
                  <a:pt x="275" y="303"/>
                </a:lnTo>
                <a:lnTo>
                  <a:pt x="277" y="300"/>
                </a:lnTo>
                <a:lnTo>
                  <a:pt x="280" y="298"/>
                </a:lnTo>
                <a:lnTo>
                  <a:pt x="283" y="297"/>
                </a:lnTo>
                <a:lnTo>
                  <a:pt x="286" y="297"/>
                </a:lnTo>
                <a:close/>
                <a:moveTo>
                  <a:pt x="943" y="254"/>
                </a:moveTo>
                <a:lnTo>
                  <a:pt x="945" y="254"/>
                </a:lnTo>
                <a:lnTo>
                  <a:pt x="948" y="255"/>
                </a:lnTo>
                <a:lnTo>
                  <a:pt x="950" y="256"/>
                </a:lnTo>
                <a:lnTo>
                  <a:pt x="952" y="258"/>
                </a:lnTo>
                <a:lnTo>
                  <a:pt x="954" y="260"/>
                </a:lnTo>
                <a:lnTo>
                  <a:pt x="955" y="263"/>
                </a:lnTo>
                <a:lnTo>
                  <a:pt x="955" y="265"/>
                </a:lnTo>
                <a:lnTo>
                  <a:pt x="955" y="267"/>
                </a:lnTo>
                <a:lnTo>
                  <a:pt x="955" y="270"/>
                </a:lnTo>
                <a:lnTo>
                  <a:pt x="954" y="272"/>
                </a:lnTo>
                <a:lnTo>
                  <a:pt x="953" y="274"/>
                </a:lnTo>
                <a:lnTo>
                  <a:pt x="951" y="276"/>
                </a:lnTo>
                <a:lnTo>
                  <a:pt x="949" y="277"/>
                </a:lnTo>
                <a:lnTo>
                  <a:pt x="947" y="278"/>
                </a:lnTo>
                <a:lnTo>
                  <a:pt x="943" y="279"/>
                </a:lnTo>
                <a:lnTo>
                  <a:pt x="940" y="279"/>
                </a:lnTo>
                <a:lnTo>
                  <a:pt x="937" y="278"/>
                </a:lnTo>
                <a:lnTo>
                  <a:pt x="935" y="277"/>
                </a:lnTo>
                <a:lnTo>
                  <a:pt x="933" y="275"/>
                </a:lnTo>
                <a:lnTo>
                  <a:pt x="932" y="273"/>
                </a:lnTo>
                <a:lnTo>
                  <a:pt x="931" y="270"/>
                </a:lnTo>
                <a:lnTo>
                  <a:pt x="930" y="268"/>
                </a:lnTo>
                <a:lnTo>
                  <a:pt x="930" y="266"/>
                </a:lnTo>
                <a:lnTo>
                  <a:pt x="930" y="263"/>
                </a:lnTo>
                <a:lnTo>
                  <a:pt x="931" y="261"/>
                </a:lnTo>
                <a:lnTo>
                  <a:pt x="932" y="259"/>
                </a:lnTo>
                <a:lnTo>
                  <a:pt x="934" y="257"/>
                </a:lnTo>
                <a:lnTo>
                  <a:pt x="936" y="256"/>
                </a:lnTo>
                <a:lnTo>
                  <a:pt x="938" y="255"/>
                </a:lnTo>
                <a:lnTo>
                  <a:pt x="943" y="254"/>
                </a:lnTo>
                <a:close/>
                <a:moveTo>
                  <a:pt x="166" y="217"/>
                </a:moveTo>
                <a:lnTo>
                  <a:pt x="169" y="218"/>
                </a:lnTo>
                <a:lnTo>
                  <a:pt x="173" y="219"/>
                </a:lnTo>
                <a:lnTo>
                  <a:pt x="175" y="221"/>
                </a:lnTo>
                <a:lnTo>
                  <a:pt x="176" y="223"/>
                </a:lnTo>
                <a:lnTo>
                  <a:pt x="177" y="225"/>
                </a:lnTo>
                <a:lnTo>
                  <a:pt x="178" y="227"/>
                </a:lnTo>
                <a:lnTo>
                  <a:pt x="178" y="232"/>
                </a:lnTo>
                <a:lnTo>
                  <a:pt x="177" y="235"/>
                </a:lnTo>
                <a:lnTo>
                  <a:pt x="176" y="237"/>
                </a:lnTo>
                <a:lnTo>
                  <a:pt x="174" y="239"/>
                </a:lnTo>
                <a:lnTo>
                  <a:pt x="171" y="241"/>
                </a:lnTo>
                <a:lnTo>
                  <a:pt x="169" y="242"/>
                </a:lnTo>
                <a:lnTo>
                  <a:pt x="166" y="242"/>
                </a:lnTo>
                <a:lnTo>
                  <a:pt x="162" y="242"/>
                </a:lnTo>
                <a:lnTo>
                  <a:pt x="158" y="240"/>
                </a:lnTo>
                <a:lnTo>
                  <a:pt x="157" y="239"/>
                </a:lnTo>
                <a:lnTo>
                  <a:pt x="155" y="237"/>
                </a:lnTo>
                <a:lnTo>
                  <a:pt x="154" y="235"/>
                </a:lnTo>
                <a:lnTo>
                  <a:pt x="153" y="232"/>
                </a:lnTo>
                <a:lnTo>
                  <a:pt x="153" y="227"/>
                </a:lnTo>
                <a:lnTo>
                  <a:pt x="154" y="225"/>
                </a:lnTo>
                <a:lnTo>
                  <a:pt x="155" y="223"/>
                </a:lnTo>
                <a:lnTo>
                  <a:pt x="157" y="220"/>
                </a:lnTo>
                <a:lnTo>
                  <a:pt x="160" y="219"/>
                </a:lnTo>
                <a:lnTo>
                  <a:pt x="163" y="218"/>
                </a:lnTo>
                <a:lnTo>
                  <a:pt x="166" y="217"/>
                </a:lnTo>
                <a:close/>
                <a:moveTo>
                  <a:pt x="1044" y="151"/>
                </a:moveTo>
                <a:lnTo>
                  <a:pt x="1048" y="152"/>
                </a:lnTo>
                <a:lnTo>
                  <a:pt x="1050" y="153"/>
                </a:lnTo>
                <a:lnTo>
                  <a:pt x="1052" y="155"/>
                </a:lnTo>
                <a:lnTo>
                  <a:pt x="1054" y="156"/>
                </a:lnTo>
                <a:lnTo>
                  <a:pt x="1055" y="159"/>
                </a:lnTo>
                <a:lnTo>
                  <a:pt x="1056" y="161"/>
                </a:lnTo>
                <a:lnTo>
                  <a:pt x="1056" y="163"/>
                </a:lnTo>
                <a:lnTo>
                  <a:pt x="1056" y="166"/>
                </a:lnTo>
                <a:lnTo>
                  <a:pt x="1056" y="168"/>
                </a:lnTo>
                <a:lnTo>
                  <a:pt x="1055" y="170"/>
                </a:lnTo>
                <a:lnTo>
                  <a:pt x="1053" y="172"/>
                </a:lnTo>
                <a:lnTo>
                  <a:pt x="1051" y="174"/>
                </a:lnTo>
                <a:lnTo>
                  <a:pt x="1049" y="176"/>
                </a:lnTo>
                <a:lnTo>
                  <a:pt x="1046" y="176"/>
                </a:lnTo>
                <a:lnTo>
                  <a:pt x="1044" y="177"/>
                </a:lnTo>
                <a:lnTo>
                  <a:pt x="1039" y="176"/>
                </a:lnTo>
                <a:lnTo>
                  <a:pt x="1037" y="175"/>
                </a:lnTo>
                <a:lnTo>
                  <a:pt x="1035" y="174"/>
                </a:lnTo>
                <a:lnTo>
                  <a:pt x="1034" y="172"/>
                </a:lnTo>
                <a:lnTo>
                  <a:pt x="1032" y="170"/>
                </a:lnTo>
                <a:lnTo>
                  <a:pt x="1031" y="167"/>
                </a:lnTo>
                <a:lnTo>
                  <a:pt x="1031" y="165"/>
                </a:lnTo>
                <a:lnTo>
                  <a:pt x="1031" y="163"/>
                </a:lnTo>
                <a:lnTo>
                  <a:pt x="1032" y="160"/>
                </a:lnTo>
                <a:lnTo>
                  <a:pt x="1033" y="158"/>
                </a:lnTo>
                <a:lnTo>
                  <a:pt x="1034" y="156"/>
                </a:lnTo>
                <a:lnTo>
                  <a:pt x="1036" y="154"/>
                </a:lnTo>
                <a:lnTo>
                  <a:pt x="1039" y="153"/>
                </a:lnTo>
                <a:lnTo>
                  <a:pt x="1041" y="152"/>
                </a:lnTo>
                <a:lnTo>
                  <a:pt x="1044" y="151"/>
                </a:lnTo>
                <a:close/>
                <a:moveTo>
                  <a:pt x="44" y="140"/>
                </a:moveTo>
                <a:lnTo>
                  <a:pt x="47" y="140"/>
                </a:lnTo>
                <a:lnTo>
                  <a:pt x="50" y="142"/>
                </a:lnTo>
                <a:lnTo>
                  <a:pt x="52" y="143"/>
                </a:lnTo>
                <a:lnTo>
                  <a:pt x="54" y="145"/>
                </a:lnTo>
                <a:lnTo>
                  <a:pt x="55" y="147"/>
                </a:lnTo>
                <a:lnTo>
                  <a:pt x="56" y="149"/>
                </a:lnTo>
                <a:lnTo>
                  <a:pt x="56" y="152"/>
                </a:lnTo>
                <a:lnTo>
                  <a:pt x="56" y="154"/>
                </a:lnTo>
                <a:lnTo>
                  <a:pt x="56" y="157"/>
                </a:lnTo>
                <a:lnTo>
                  <a:pt x="55" y="159"/>
                </a:lnTo>
                <a:lnTo>
                  <a:pt x="53" y="162"/>
                </a:lnTo>
                <a:lnTo>
                  <a:pt x="50" y="164"/>
                </a:lnTo>
                <a:lnTo>
                  <a:pt x="47" y="165"/>
                </a:lnTo>
                <a:lnTo>
                  <a:pt x="44" y="165"/>
                </a:lnTo>
                <a:lnTo>
                  <a:pt x="41" y="165"/>
                </a:lnTo>
                <a:lnTo>
                  <a:pt x="38" y="164"/>
                </a:lnTo>
                <a:lnTo>
                  <a:pt x="36" y="162"/>
                </a:lnTo>
                <a:lnTo>
                  <a:pt x="34" y="160"/>
                </a:lnTo>
                <a:lnTo>
                  <a:pt x="33" y="158"/>
                </a:lnTo>
                <a:lnTo>
                  <a:pt x="32" y="156"/>
                </a:lnTo>
                <a:lnTo>
                  <a:pt x="31" y="153"/>
                </a:lnTo>
                <a:lnTo>
                  <a:pt x="31" y="151"/>
                </a:lnTo>
                <a:lnTo>
                  <a:pt x="32" y="149"/>
                </a:lnTo>
                <a:lnTo>
                  <a:pt x="33" y="146"/>
                </a:lnTo>
                <a:lnTo>
                  <a:pt x="35" y="144"/>
                </a:lnTo>
                <a:lnTo>
                  <a:pt x="38" y="142"/>
                </a:lnTo>
                <a:lnTo>
                  <a:pt x="41" y="140"/>
                </a:lnTo>
                <a:lnTo>
                  <a:pt x="44" y="140"/>
                </a:lnTo>
                <a:close/>
                <a:moveTo>
                  <a:pt x="1134" y="39"/>
                </a:moveTo>
                <a:lnTo>
                  <a:pt x="1138" y="40"/>
                </a:lnTo>
                <a:lnTo>
                  <a:pt x="1140" y="41"/>
                </a:lnTo>
                <a:lnTo>
                  <a:pt x="1142" y="42"/>
                </a:lnTo>
                <a:lnTo>
                  <a:pt x="1144" y="44"/>
                </a:lnTo>
                <a:lnTo>
                  <a:pt x="1145" y="46"/>
                </a:lnTo>
                <a:lnTo>
                  <a:pt x="1147" y="50"/>
                </a:lnTo>
                <a:lnTo>
                  <a:pt x="1147" y="53"/>
                </a:lnTo>
                <a:lnTo>
                  <a:pt x="1146" y="55"/>
                </a:lnTo>
                <a:lnTo>
                  <a:pt x="1144" y="60"/>
                </a:lnTo>
                <a:lnTo>
                  <a:pt x="1142" y="62"/>
                </a:lnTo>
                <a:lnTo>
                  <a:pt x="1141" y="63"/>
                </a:lnTo>
                <a:lnTo>
                  <a:pt x="1140" y="63"/>
                </a:lnTo>
                <a:lnTo>
                  <a:pt x="1137" y="64"/>
                </a:lnTo>
                <a:lnTo>
                  <a:pt x="1134" y="65"/>
                </a:lnTo>
                <a:lnTo>
                  <a:pt x="1130" y="64"/>
                </a:lnTo>
                <a:lnTo>
                  <a:pt x="1128" y="63"/>
                </a:lnTo>
                <a:lnTo>
                  <a:pt x="1126" y="62"/>
                </a:lnTo>
                <a:lnTo>
                  <a:pt x="1125" y="60"/>
                </a:lnTo>
                <a:lnTo>
                  <a:pt x="1123" y="58"/>
                </a:lnTo>
                <a:lnTo>
                  <a:pt x="1122" y="54"/>
                </a:lnTo>
                <a:lnTo>
                  <a:pt x="1121" y="51"/>
                </a:lnTo>
                <a:lnTo>
                  <a:pt x="1122" y="49"/>
                </a:lnTo>
                <a:lnTo>
                  <a:pt x="1124" y="44"/>
                </a:lnTo>
                <a:lnTo>
                  <a:pt x="1126" y="42"/>
                </a:lnTo>
                <a:lnTo>
                  <a:pt x="1127" y="41"/>
                </a:lnTo>
                <a:lnTo>
                  <a:pt x="1129" y="41"/>
                </a:lnTo>
                <a:lnTo>
                  <a:pt x="1131" y="40"/>
                </a:lnTo>
                <a:lnTo>
                  <a:pt x="1134" y="39"/>
                </a:lnTo>
                <a:close/>
                <a:moveTo>
                  <a:pt x="596" y="860"/>
                </a:moveTo>
                <a:lnTo>
                  <a:pt x="597" y="860"/>
                </a:lnTo>
                <a:lnTo>
                  <a:pt x="599" y="861"/>
                </a:lnTo>
                <a:lnTo>
                  <a:pt x="602" y="862"/>
                </a:lnTo>
                <a:lnTo>
                  <a:pt x="604" y="863"/>
                </a:lnTo>
                <a:lnTo>
                  <a:pt x="605" y="865"/>
                </a:lnTo>
                <a:lnTo>
                  <a:pt x="607" y="867"/>
                </a:lnTo>
                <a:lnTo>
                  <a:pt x="608" y="869"/>
                </a:lnTo>
                <a:lnTo>
                  <a:pt x="608" y="871"/>
                </a:lnTo>
                <a:lnTo>
                  <a:pt x="608" y="874"/>
                </a:lnTo>
                <a:lnTo>
                  <a:pt x="607" y="878"/>
                </a:lnTo>
                <a:lnTo>
                  <a:pt x="604" y="882"/>
                </a:lnTo>
                <a:lnTo>
                  <a:pt x="602" y="883"/>
                </a:lnTo>
                <a:lnTo>
                  <a:pt x="600" y="884"/>
                </a:lnTo>
                <a:lnTo>
                  <a:pt x="596" y="885"/>
                </a:lnTo>
                <a:lnTo>
                  <a:pt x="594" y="885"/>
                </a:lnTo>
                <a:lnTo>
                  <a:pt x="592" y="884"/>
                </a:lnTo>
                <a:lnTo>
                  <a:pt x="589" y="883"/>
                </a:lnTo>
                <a:lnTo>
                  <a:pt x="587" y="882"/>
                </a:lnTo>
                <a:lnTo>
                  <a:pt x="586" y="880"/>
                </a:lnTo>
                <a:lnTo>
                  <a:pt x="585" y="878"/>
                </a:lnTo>
                <a:lnTo>
                  <a:pt x="584" y="876"/>
                </a:lnTo>
                <a:lnTo>
                  <a:pt x="583" y="873"/>
                </a:lnTo>
                <a:lnTo>
                  <a:pt x="583" y="871"/>
                </a:lnTo>
                <a:lnTo>
                  <a:pt x="585" y="867"/>
                </a:lnTo>
                <a:lnTo>
                  <a:pt x="587" y="863"/>
                </a:lnTo>
                <a:lnTo>
                  <a:pt x="589" y="862"/>
                </a:lnTo>
                <a:lnTo>
                  <a:pt x="591" y="861"/>
                </a:lnTo>
                <a:lnTo>
                  <a:pt x="596" y="860"/>
                </a:lnTo>
                <a:close/>
                <a:moveTo>
                  <a:pt x="738" y="850"/>
                </a:moveTo>
                <a:lnTo>
                  <a:pt x="742" y="850"/>
                </a:lnTo>
                <a:lnTo>
                  <a:pt x="744" y="851"/>
                </a:lnTo>
                <a:lnTo>
                  <a:pt x="746" y="852"/>
                </a:lnTo>
                <a:lnTo>
                  <a:pt x="747" y="854"/>
                </a:lnTo>
                <a:lnTo>
                  <a:pt x="749" y="855"/>
                </a:lnTo>
                <a:lnTo>
                  <a:pt x="750" y="859"/>
                </a:lnTo>
                <a:lnTo>
                  <a:pt x="751" y="861"/>
                </a:lnTo>
                <a:lnTo>
                  <a:pt x="751" y="864"/>
                </a:lnTo>
                <a:lnTo>
                  <a:pt x="750" y="866"/>
                </a:lnTo>
                <a:lnTo>
                  <a:pt x="749" y="868"/>
                </a:lnTo>
                <a:lnTo>
                  <a:pt x="748" y="870"/>
                </a:lnTo>
                <a:lnTo>
                  <a:pt x="746" y="872"/>
                </a:lnTo>
                <a:lnTo>
                  <a:pt x="744" y="873"/>
                </a:lnTo>
                <a:lnTo>
                  <a:pt x="741" y="874"/>
                </a:lnTo>
                <a:lnTo>
                  <a:pt x="738" y="875"/>
                </a:lnTo>
                <a:lnTo>
                  <a:pt x="734" y="874"/>
                </a:lnTo>
                <a:lnTo>
                  <a:pt x="732" y="873"/>
                </a:lnTo>
                <a:lnTo>
                  <a:pt x="731" y="872"/>
                </a:lnTo>
                <a:lnTo>
                  <a:pt x="729" y="871"/>
                </a:lnTo>
                <a:lnTo>
                  <a:pt x="728" y="869"/>
                </a:lnTo>
                <a:lnTo>
                  <a:pt x="726" y="865"/>
                </a:lnTo>
                <a:lnTo>
                  <a:pt x="726" y="863"/>
                </a:lnTo>
                <a:lnTo>
                  <a:pt x="726" y="860"/>
                </a:lnTo>
                <a:lnTo>
                  <a:pt x="727" y="858"/>
                </a:lnTo>
                <a:lnTo>
                  <a:pt x="728" y="856"/>
                </a:lnTo>
                <a:lnTo>
                  <a:pt x="729" y="854"/>
                </a:lnTo>
                <a:lnTo>
                  <a:pt x="731" y="852"/>
                </a:lnTo>
                <a:lnTo>
                  <a:pt x="733" y="851"/>
                </a:lnTo>
                <a:lnTo>
                  <a:pt x="735" y="850"/>
                </a:lnTo>
                <a:lnTo>
                  <a:pt x="738" y="850"/>
                </a:lnTo>
                <a:close/>
                <a:moveTo>
                  <a:pt x="458" y="821"/>
                </a:moveTo>
                <a:lnTo>
                  <a:pt x="460" y="821"/>
                </a:lnTo>
                <a:lnTo>
                  <a:pt x="463" y="822"/>
                </a:lnTo>
                <a:lnTo>
                  <a:pt x="467" y="825"/>
                </a:lnTo>
                <a:lnTo>
                  <a:pt x="468" y="827"/>
                </a:lnTo>
                <a:lnTo>
                  <a:pt x="469" y="829"/>
                </a:lnTo>
                <a:lnTo>
                  <a:pt x="470" y="831"/>
                </a:lnTo>
                <a:lnTo>
                  <a:pt x="470" y="834"/>
                </a:lnTo>
                <a:lnTo>
                  <a:pt x="470" y="836"/>
                </a:lnTo>
                <a:lnTo>
                  <a:pt x="469" y="838"/>
                </a:lnTo>
                <a:lnTo>
                  <a:pt x="467" y="842"/>
                </a:lnTo>
                <a:lnTo>
                  <a:pt x="466" y="843"/>
                </a:lnTo>
                <a:lnTo>
                  <a:pt x="464" y="844"/>
                </a:lnTo>
                <a:lnTo>
                  <a:pt x="463" y="845"/>
                </a:lnTo>
                <a:lnTo>
                  <a:pt x="461" y="845"/>
                </a:lnTo>
                <a:lnTo>
                  <a:pt x="458" y="846"/>
                </a:lnTo>
                <a:lnTo>
                  <a:pt x="455" y="846"/>
                </a:lnTo>
                <a:lnTo>
                  <a:pt x="453" y="845"/>
                </a:lnTo>
                <a:lnTo>
                  <a:pt x="449" y="842"/>
                </a:lnTo>
                <a:lnTo>
                  <a:pt x="447" y="840"/>
                </a:lnTo>
                <a:lnTo>
                  <a:pt x="446" y="838"/>
                </a:lnTo>
                <a:lnTo>
                  <a:pt x="445" y="836"/>
                </a:lnTo>
                <a:lnTo>
                  <a:pt x="445" y="833"/>
                </a:lnTo>
                <a:lnTo>
                  <a:pt x="446" y="831"/>
                </a:lnTo>
                <a:lnTo>
                  <a:pt x="446" y="828"/>
                </a:lnTo>
                <a:lnTo>
                  <a:pt x="448" y="825"/>
                </a:lnTo>
                <a:lnTo>
                  <a:pt x="450" y="824"/>
                </a:lnTo>
                <a:lnTo>
                  <a:pt x="451" y="823"/>
                </a:lnTo>
                <a:lnTo>
                  <a:pt x="453" y="822"/>
                </a:lnTo>
                <a:lnTo>
                  <a:pt x="454" y="821"/>
                </a:lnTo>
                <a:lnTo>
                  <a:pt x="458" y="821"/>
                </a:lnTo>
                <a:close/>
                <a:moveTo>
                  <a:pt x="871" y="793"/>
                </a:moveTo>
                <a:lnTo>
                  <a:pt x="875" y="794"/>
                </a:lnTo>
                <a:lnTo>
                  <a:pt x="878" y="795"/>
                </a:lnTo>
                <a:lnTo>
                  <a:pt x="880" y="797"/>
                </a:lnTo>
                <a:lnTo>
                  <a:pt x="882" y="800"/>
                </a:lnTo>
                <a:lnTo>
                  <a:pt x="883" y="802"/>
                </a:lnTo>
                <a:lnTo>
                  <a:pt x="884" y="804"/>
                </a:lnTo>
                <a:lnTo>
                  <a:pt x="884" y="807"/>
                </a:lnTo>
                <a:lnTo>
                  <a:pt x="883" y="809"/>
                </a:lnTo>
                <a:lnTo>
                  <a:pt x="883" y="811"/>
                </a:lnTo>
                <a:lnTo>
                  <a:pt x="881" y="813"/>
                </a:lnTo>
                <a:lnTo>
                  <a:pt x="880" y="815"/>
                </a:lnTo>
                <a:lnTo>
                  <a:pt x="878" y="817"/>
                </a:lnTo>
                <a:lnTo>
                  <a:pt x="875" y="818"/>
                </a:lnTo>
                <a:lnTo>
                  <a:pt x="871" y="818"/>
                </a:lnTo>
                <a:lnTo>
                  <a:pt x="868" y="818"/>
                </a:lnTo>
                <a:lnTo>
                  <a:pt x="865" y="817"/>
                </a:lnTo>
                <a:lnTo>
                  <a:pt x="863" y="815"/>
                </a:lnTo>
                <a:lnTo>
                  <a:pt x="861" y="812"/>
                </a:lnTo>
                <a:lnTo>
                  <a:pt x="860" y="810"/>
                </a:lnTo>
                <a:lnTo>
                  <a:pt x="859" y="807"/>
                </a:lnTo>
                <a:lnTo>
                  <a:pt x="859" y="805"/>
                </a:lnTo>
                <a:lnTo>
                  <a:pt x="859" y="803"/>
                </a:lnTo>
                <a:lnTo>
                  <a:pt x="861" y="798"/>
                </a:lnTo>
                <a:lnTo>
                  <a:pt x="863" y="797"/>
                </a:lnTo>
                <a:lnTo>
                  <a:pt x="865" y="795"/>
                </a:lnTo>
                <a:lnTo>
                  <a:pt x="868" y="794"/>
                </a:lnTo>
                <a:lnTo>
                  <a:pt x="871" y="793"/>
                </a:lnTo>
                <a:close/>
                <a:moveTo>
                  <a:pt x="331" y="752"/>
                </a:moveTo>
                <a:lnTo>
                  <a:pt x="335" y="753"/>
                </a:lnTo>
                <a:lnTo>
                  <a:pt x="338" y="754"/>
                </a:lnTo>
                <a:lnTo>
                  <a:pt x="340" y="756"/>
                </a:lnTo>
                <a:lnTo>
                  <a:pt x="341" y="758"/>
                </a:lnTo>
                <a:lnTo>
                  <a:pt x="343" y="760"/>
                </a:lnTo>
                <a:lnTo>
                  <a:pt x="343" y="762"/>
                </a:lnTo>
                <a:lnTo>
                  <a:pt x="344" y="764"/>
                </a:lnTo>
                <a:lnTo>
                  <a:pt x="344" y="767"/>
                </a:lnTo>
                <a:lnTo>
                  <a:pt x="343" y="769"/>
                </a:lnTo>
                <a:lnTo>
                  <a:pt x="342" y="771"/>
                </a:lnTo>
                <a:lnTo>
                  <a:pt x="340" y="774"/>
                </a:lnTo>
                <a:lnTo>
                  <a:pt x="337" y="776"/>
                </a:lnTo>
                <a:lnTo>
                  <a:pt x="334" y="777"/>
                </a:lnTo>
                <a:lnTo>
                  <a:pt x="331" y="777"/>
                </a:lnTo>
                <a:lnTo>
                  <a:pt x="328" y="777"/>
                </a:lnTo>
                <a:lnTo>
                  <a:pt x="325" y="775"/>
                </a:lnTo>
                <a:lnTo>
                  <a:pt x="323" y="774"/>
                </a:lnTo>
                <a:lnTo>
                  <a:pt x="321" y="772"/>
                </a:lnTo>
                <a:lnTo>
                  <a:pt x="320" y="770"/>
                </a:lnTo>
                <a:lnTo>
                  <a:pt x="319" y="768"/>
                </a:lnTo>
                <a:lnTo>
                  <a:pt x="319" y="765"/>
                </a:lnTo>
                <a:lnTo>
                  <a:pt x="319" y="763"/>
                </a:lnTo>
                <a:lnTo>
                  <a:pt x="320" y="760"/>
                </a:lnTo>
                <a:lnTo>
                  <a:pt x="321" y="758"/>
                </a:lnTo>
                <a:lnTo>
                  <a:pt x="323" y="756"/>
                </a:lnTo>
                <a:lnTo>
                  <a:pt x="325" y="754"/>
                </a:lnTo>
                <a:lnTo>
                  <a:pt x="328" y="753"/>
                </a:lnTo>
                <a:lnTo>
                  <a:pt x="331" y="752"/>
                </a:lnTo>
                <a:close/>
                <a:moveTo>
                  <a:pt x="988" y="710"/>
                </a:moveTo>
                <a:lnTo>
                  <a:pt x="991" y="710"/>
                </a:lnTo>
                <a:lnTo>
                  <a:pt x="993" y="711"/>
                </a:lnTo>
                <a:lnTo>
                  <a:pt x="995" y="712"/>
                </a:lnTo>
                <a:lnTo>
                  <a:pt x="997" y="714"/>
                </a:lnTo>
                <a:lnTo>
                  <a:pt x="999" y="716"/>
                </a:lnTo>
                <a:lnTo>
                  <a:pt x="1000" y="718"/>
                </a:lnTo>
                <a:lnTo>
                  <a:pt x="1000" y="720"/>
                </a:lnTo>
                <a:lnTo>
                  <a:pt x="1000" y="723"/>
                </a:lnTo>
                <a:lnTo>
                  <a:pt x="1000" y="725"/>
                </a:lnTo>
                <a:lnTo>
                  <a:pt x="999" y="727"/>
                </a:lnTo>
                <a:lnTo>
                  <a:pt x="998" y="730"/>
                </a:lnTo>
                <a:lnTo>
                  <a:pt x="996" y="731"/>
                </a:lnTo>
                <a:lnTo>
                  <a:pt x="994" y="733"/>
                </a:lnTo>
                <a:lnTo>
                  <a:pt x="992" y="734"/>
                </a:lnTo>
                <a:lnTo>
                  <a:pt x="988" y="734"/>
                </a:lnTo>
                <a:lnTo>
                  <a:pt x="985" y="734"/>
                </a:lnTo>
                <a:lnTo>
                  <a:pt x="983" y="733"/>
                </a:lnTo>
                <a:lnTo>
                  <a:pt x="981" y="732"/>
                </a:lnTo>
                <a:lnTo>
                  <a:pt x="979" y="730"/>
                </a:lnTo>
                <a:lnTo>
                  <a:pt x="977" y="728"/>
                </a:lnTo>
                <a:lnTo>
                  <a:pt x="976" y="726"/>
                </a:lnTo>
                <a:lnTo>
                  <a:pt x="976" y="724"/>
                </a:lnTo>
                <a:lnTo>
                  <a:pt x="976" y="721"/>
                </a:lnTo>
                <a:lnTo>
                  <a:pt x="976" y="719"/>
                </a:lnTo>
                <a:lnTo>
                  <a:pt x="977" y="717"/>
                </a:lnTo>
                <a:lnTo>
                  <a:pt x="978" y="714"/>
                </a:lnTo>
                <a:lnTo>
                  <a:pt x="980" y="713"/>
                </a:lnTo>
                <a:lnTo>
                  <a:pt x="982" y="711"/>
                </a:lnTo>
                <a:lnTo>
                  <a:pt x="984" y="710"/>
                </a:lnTo>
                <a:lnTo>
                  <a:pt x="988" y="710"/>
                </a:lnTo>
                <a:close/>
                <a:moveTo>
                  <a:pt x="211" y="673"/>
                </a:moveTo>
                <a:lnTo>
                  <a:pt x="215" y="673"/>
                </a:lnTo>
                <a:lnTo>
                  <a:pt x="216" y="674"/>
                </a:lnTo>
                <a:lnTo>
                  <a:pt x="218" y="675"/>
                </a:lnTo>
                <a:lnTo>
                  <a:pt x="220" y="677"/>
                </a:lnTo>
                <a:lnTo>
                  <a:pt x="221" y="679"/>
                </a:lnTo>
                <a:lnTo>
                  <a:pt x="223" y="681"/>
                </a:lnTo>
                <a:lnTo>
                  <a:pt x="223" y="683"/>
                </a:lnTo>
                <a:lnTo>
                  <a:pt x="223" y="688"/>
                </a:lnTo>
                <a:lnTo>
                  <a:pt x="223" y="690"/>
                </a:lnTo>
                <a:lnTo>
                  <a:pt x="221" y="692"/>
                </a:lnTo>
                <a:lnTo>
                  <a:pt x="220" y="694"/>
                </a:lnTo>
                <a:lnTo>
                  <a:pt x="219" y="695"/>
                </a:lnTo>
                <a:lnTo>
                  <a:pt x="217" y="696"/>
                </a:lnTo>
                <a:lnTo>
                  <a:pt x="214" y="697"/>
                </a:lnTo>
                <a:lnTo>
                  <a:pt x="211" y="698"/>
                </a:lnTo>
                <a:lnTo>
                  <a:pt x="207" y="697"/>
                </a:lnTo>
                <a:lnTo>
                  <a:pt x="206" y="697"/>
                </a:lnTo>
                <a:lnTo>
                  <a:pt x="204" y="696"/>
                </a:lnTo>
                <a:lnTo>
                  <a:pt x="202" y="694"/>
                </a:lnTo>
                <a:lnTo>
                  <a:pt x="201" y="692"/>
                </a:lnTo>
                <a:lnTo>
                  <a:pt x="199" y="690"/>
                </a:lnTo>
                <a:lnTo>
                  <a:pt x="199" y="688"/>
                </a:lnTo>
                <a:lnTo>
                  <a:pt x="199" y="683"/>
                </a:lnTo>
                <a:lnTo>
                  <a:pt x="200" y="681"/>
                </a:lnTo>
                <a:lnTo>
                  <a:pt x="201" y="678"/>
                </a:lnTo>
                <a:lnTo>
                  <a:pt x="202" y="677"/>
                </a:lnTo>
                <a:lnTo>
                  <a:pt x="203" y="676"/>
                </a:lnTo>
                <a:lnTo>
                  <a:pt x="205" y="674"/>
                </a:lnTo>
                <a:lnTo>
                  <a:pt x="208" y="673"/>
                </a:lnTo>
                <a:lnTo>
                  <a:pt x="211" y="673"/>
                </a:lnTo>
                <a:close/>
                <a:moveTo>
                  <a:pt x="1089" y="607"/>
                </a:moveTo>
                <a:lnTo>
                  <a:pt x="1094" y="608"/>
                </a:lnTo>
                <a:lnTo>
                  <a:pt x="1096" y="609"/>
                </a:lnTo>
                <a:lnTo>
                  <a:pt x="1097" y="610"/>
                </a:lnTo>
                <a:lnTo>
                  <a:pt x="1099" y="612"/>
                </a:lnTo>
                <a:lnTo>
                  <a:pt x="1100" y="614"/>
                </a:lnTo>
                <a:lnTo>
                  <a:pt x="1101" y="616"/>
                </a:lnTo>
                <a:lnTo>
                  <a:pt x="1102" y="619"/>
                </a:lnTo>
                <a:lnTo>
                  <a:pt x="1102" y="621"/>
                </a:lnTo>
                <a:lnTo>
                  <a:pt x="1101" y="624"/>
                </a:lnTo>
                <a:lnTo>
                  <a:pt x="1100" y="626"/>
                </a:lnTo>
                <a:lnTo>
                  <a:pt x="1099" y="628"/>
                </a:lnTo>
                <a:lnTo>
                  <a:pt x="1097" y="630"/>
                </a:lnTo>
                <a:lnTo>
                  <a:pt x="1094" y="631"/>
                </a:lnTo>
                <a:lnTo>
                  <a:pt x="1092" y="632"/>
                </a:lnTo>
                <a:lnTo>
                  <a:pt x="1089" y="632"/>
                </a:lnTo>
                <a:lnTo>
                  <a:pt x="1085" y="631"/>
                </a:lnTo>
                <a:lnTo>
                  <a:pt x="1083" y="630"/>
                </a:lnTo>
                <a:lnTo>
                  <a:pt x="1081" y="629"/>
                </a:lnTo>
                <a:lnTo>
                  <a:pt x="1079" y="627"/>
                </a:lnTo>
                <a:lnTo>
                  <a:pt x="1078" y="625"/>
                </a:lnTo>
                <a:lnTo>
                  <a:pt x="1077" y="623"/>
                </a:lnTo>
                <a:lnTo>
                  <a:pt x="1077" y="621"/>
                </a:lnTo>
                <a:lnTo>
                  <a:pt x="1077" y="618"/>
                </a:lnTo>
                <a:lnTo>
                  <a:pt x="1077" y="616"/>
                </a:lnTo>
                <a:lnTo>
                  <a:pt x="1078" y="614"/>
                </a:lnTo>
                <a:lnTo>
                  <a:pt x="1080" y="611"/>
                </a:lnTo>
                <a:lnTo>
                  <a:pt x="1082" y="610"/>
                </a:lnTo>
                <a:lnTo>
                  <a:pt x="1084" y="608"/>
                </a:lnTo>
                <a:lnTo>
                  <a:pt x="1087" y="607"/>
                </a:lnTo>
                <a:lnTo>
                  <a:pt x="1089" y="607"/>
                </a:lnTo>
                <a:close/>
                <a:moveTo>
                  <a:pt x="89" y="596"/>
                </a:moveTo>
                <a:lnTo>
                  <a:pt x="93" y="596"/>
                </a:lnTo>
                <a:lnTo>
                  <a:pt x="96" y="597"/>
                </a:lnTo>
                <a:lnTo>
                  <a:pt x="98" y="599"/>
                </a:lnTo>
                <a:lnTo>
                  <a:pt x="99" y="601"/>
                </a:lnTo>
                <a:lnTo>
                  <a:pt x="101" y="603"/>
                </a:lnTo>
                <a:lnTo>
                  <a:pt x="101" y="605"/>
                </a:lnTo>
                <a:lnTo>
                  <a:pt x="102" y="607"/>
                </a:lnTo>
                <a:lnTo>
                  <a:pt x="102" y="610"/>
                </a:lnTo>
                <a:lnTo>
                  <a:pt x="100" y="614"/>
                </a:lnTo>
                <a:lnTo>
                  <a:pt x="98" y="617"/>
                </a:lnTo>
                <a:lnTo>
                  <a:pt x="96" y="619"/>
                </a:lnTo>
                <a:lnTo>
                  <a:pt x="93" y="620"/>
                </a:lnTo>
                <a:lnTo>
                  <a:pt x="89" y="621"/>
                </a:lnTo>
                <a:lnTo>
                  <a:pt x="86" y="620"/>
                </a:lnTo>
                <a:lnTo>
                  <a:pt x="83" y="619"/>
                </a:lnTo>
                <a:lnTo>
                  <a:pt x="81" y="617"/>
                </a:lnTo>
                <a:lnTo>
                  <a:pt x="79" y="616"/>
                </a:lnTo>
                <a:lnTo>
                  <a:pt x="78" y="614"/>
                </a:lnTo>
                <a:lnTo>
                  <a:pt x="77" y="611"/>
                </a:lnTo>
                <a:lnTo>
                  <a:pt x="77" y="609"/>
                </a:lnTo>
                <a:lnTo>
                  <a:pt x="77" y="607"/>
                </a:lnTo>
                <a:lnTo>
                  <a:pt x="79" y="602"/>
                </a:lnTo>
                <a:lnTo>
                  <a:pt x="81" y="599"/>
                </a:lnTo>
                <a:lnTo>
                  <a:pt x="83" y="597"/>
                </a:lnTo>
                <a:lnTo>
                  <a:pt x="86" y="596"/>
                </a:lnTo>
                <a:lnTo>
                  <a:pt x="89" y="596"/>
                </a:lnTo>
                <a:close/>
                <a:moveTo>
                  <a:pt x="1180" y="494"/>
                </a:moveTo>
                <a:lnTo>
                  <a:pt x="1184" y="495"/>
                </a:lnTo>
                <a:lnTo>
                  <a:pt x="1185" y="495"/>
                </a:lnTo>
                <a:lnTo>
                  <a:pt x="1187" y="497"/>
                </a:lnTo>
                <a:lnTo>
                  <a:pt x="1189" y="498"/>
                </a:lnTo>
                <a:lnTo>
                  <a:pt x="1190" y="500"/>
                </a:lnTo>
                <a:lnTo>
                  <a:pt x="1192" y="505"/>
                </a:lnTo>
                <a:lnTo>
                  <a:pt x="1192" y="507"/>
                </a:lnTo>
                <a:lnTo>
                  <a:pt x="1192" y="510"/>
                </a:lnTo>
                <a:lnTo>
                  <a:pt x="1189" y="514"/>
                </a:lnTo>
                <a:lnTo>
                  <a:pt x="1187" y="516"/>
                </a:lnTo>
                <a:lnTo>
                  <a:pt x="1185" y="518"/>
                </a:lnTo>
                <a:lnTo>
                  <a:pt x="1182" y="519"/>
                </a:lnTo>
                <a:lnTo>
                  <a:pt x="1180" y="519"/>
                </a:lnTo>
                <a:lnTo>
                  <a:pt x="1176" y="518"/>
                </a:lnTo>
                <a:lnTo>
                  <a:pt x="1174" y="518"/>
                </a:lnTo>
                <a:lnTo>
                  <a:pt x="1172" y="516"/>
                </a:lnTo>
                <a:lnTo>
                  <a:pt x="1170" y="515"/>
                </a:lnTo>
                <a:lnTo>
                  <a:pt x="1169" y="513"/>
                </a:lnTo>
                <a:lnTo>
                  <a:pt x="1167" y="508"/>
                </a:lnTo>
                <a:lnTo>
                  <a:pt x="1167" y="506"/>
                </a:lnTo>
                <a:lnTo>
                  <a:pt x="1168" y="503"/>
                </a:lnTo>
                <a:lnTo>
                  <a:pt x="1170" y="499"/>
                </a:lnTo>
                <a:lnTo>
                  <a:pt x="1172" y="497"/>
                </a:lnTo>
                <a:lnTo>
                  <a:pt x="1174" y="495"/>
                </a:lnTo>
                <a:lnTo>
                  <a:pt x="1177" y="494"/>
                </a:lnTo>
                <a:lnTo>
                  <a:pt x="1180" y="494"/>
                </a:lnTo>
                <a:close/>
                <a:moveTo>
                  <a:pt x="1270" y="382"/>
                </a:moveTo>
                <a:lnTo>
                  <a:pt x="1274" y="382"/>
                </a:lnTo>
                <a:lnTo>
                  <a:pt x="1276" y="383"/>
                </a:lnTo>
                <a:lnTo>
                  <a:pt x="1278" y="385"/>
                </a:lnTo>
                <a:lnTo>
                  <a:pt x="1280" y="387"/>
                </a:lnTo>
                <a:lnTo>
                  <a:pt x="1281" y="389"/>
                </a:lnTo>
                <a:lnTo>
                  <a:pt x="1282" y="391"/>
                </a:lnTo>
                <a:lnTo>
                  <a:pt x="1282" y="393"/>
                </a:lnTo>
                <a:lnTo>
                  <a:pt x="1282" y="396"/>
                </a:lnTo>
                <a:lnTo>
                  <a:pt x="1281" y="398"/>
                </a:lnTo>
                <a:lnTo>
                  <a:pt x="1280" y="400"/>
                </a:lnTo>
                <a:lnTo>
                  <a:pt x="1279" y="402"/>
                </a:lnTo>
                <a:lnTo>
                  <a:pt x="1277" y="404"/>
                </a:lnTo>
                <a:lnTo>
                  <a:pt x="1275" y="405"/>
                </a:lnTo>
                <a:lnTo>
                  <a:pt x="1272" y="406"/>
                </a:lnTo>
                <a:lnTo>
                  <a:pt x="1270" y="406"/>
                </a:lnTo>
                <a:lnTo>
                  <a:pt x="1265" y="406"/>
                </a:lnTo>
                <a:lnTo>
                  <a:pt x="1263" y="405"/>
                </a:lnTo>
                <a:lnTo>
                  <a:pt x="1261" y="403"/>
                </a:lnTo>
                <a:lnTo>
                  <a:pt x="1260" y="401"/>
                </a:lnTo>
                <a:lnTo>
                  <a:pt x="1258" y="399"/>
                </a:lnTo>
                <a:lnTo>
                  <a:pt x="1258" y="397"/>
                </a:lnTo>
                <a:lnTo>
                  <a:pt x="1257" y="395"/>
                </a:lnTo>
                <a:lnTo>
                  <a:pt x="1257" y="392"/>
                </a:lnTo>
                <a:lnTo>
                  <a:pt x="1258" y="390"/>
                </a:lnTo>
                <a:lnTo>
                  <a:pt x="1259" y="388"/>
                </a:lnTo>
                <a:lnTo>
                  <a:pt x="1260" y="386"/>
                </a:lnTo>
                <a:lnTo>
                  <a:pt x="1262" y="384"/>
                </a:lnTo>
                <a:lnTo>
                  <a:pt x="1265" y="383"/>
                </a:lnTo>
                <a:lnTo>
                  <a:pt x="1267" y="382"/>
                </a:lnTo>
                <a:lnTo>
                  <a:pt x="1270" y="382"/>
                </a:lnTo>
                <a:close/>
                <a:moveTo>
                  <a:pt x="1657" y="357"/>
                </a:moveTo>
                <a:lnTo>
                  <a:pt x="1661" y="358"/>
                </a:lnTo>
                <a:lnTo>
                  <a:pt x="1665" y="360"/>
                </a:lnTo>
                <a:lnTo>
                  <a:pt x="1668" y="363"/>
                </a:lnTo>
                <a:lnTo>
                  <a:pt x="1668" y="365"/>
                </a:lnTo>
                <a:lnTo>
                  <a:pt x="1669" y="367"/>
                </a:lnTo>
                <a:lnTo>
                  <a:pt x="1669" y="370"/>
                </a:lnTo>
                <a:lnTo>
                  <a:pt x="1669" y="372"/>
                </a:lnTo>
                <a:lnTo>
                  <a:pt x="1668" y="375"/>
                </a:lnTo>
                <a:lnTo>
                  <a:pt x="1667" y="377"/>
                </a:lnTo>
                <a:lnTo>
                  <a:pt x="1665" y="379"/>
                </a:lnTo>
                <a:lnTo>
                  <a:pt x="1663" y="380"/>
                </a:lnTo>
                <a:lnTo>
                  <a:pt x="1661" y="381"/>
                </a:lnTo>
                <a:lnTo>
                  <a:pt x="1659" y="382"/>
                </a:lnTo>
                <a:lnTo>
                  <a:pt x="1657" y="382"/>
                </a:lnTo>
                <a:lnTo>
                  <a:pt x="1652" y="381"/>
                </a:lnTo>
                <a:lnTo>
                  <a:pt x="1649" y="379"/>
                </a:lnTo>
                <a:lnTo>
                  <a:pt x="1646" y="376"/>
                </a:lnTo>
                <a:lnTo>
                  <a:pt x="1645" y="373"/>
                </a:lnTo>
                <a:lnTo>
                  <a:pt x="1644" y="371"/>
                </a:lnTo>
                <a:lnTo>
                  <a:pt x="1644" y="369"/>
                </a:lnTo>
                <a:lnTo>
                  <a:pt x="1645" y="366"/>
                </a:lnTo>
                <a:lnTo>
                  <a:pt x="1645" y="364"/>
                </a:lnTo>
                <a:lnTo>
                  <a:pt x="1647" y="362"/>
                </a:lnTo>
                <a:lnTo>
                  <a:pt x="1648" y="360"/>
                </a:lnTo>
                <a:lnTo>
                  <a:pt x="1650" y="359"/>
                </a:lnTo>
                <a:lnTo>
                  <a:pt x="1652" y="358"/>
                </a:lnTo>
                <a:lnTo>
                  <a:pt x="1655" y="357"/>
                </a:lnTo>
                <a:lnTo>
                  <a:pt x="1657" y="357"/>
                </a:lnTo>
                <a:close/>
                <a:moveTo>
                  <a:pt x="1518" y="334"/>
                </a:moveTo>
                <a:lnTo>
                  <a:pt x="1521" y="334"/>
                </a:lnTo>
                <a:lnTo>
                  <a:pt x="1524" y="336"/>
                </a:lnTo>
                <a:lnTo>
                  <a:pt x="1526" y="337"/>
                </a:lnTo>
                <a:lnTo>
                  <a:pt x="1528" y="339"/>
                </a:lnTo>
                <a:lnTo>
                  <a:pt x="1529" y="341"/>
                </a:lnTo>
                <a:lnTo>
                  <a:pt x="1530" y="343"/>
                </a:lnTo>
                <a:lnTo>
                  <a:pt x="1530" y="346"/>
                </a:lnTo>
                <a:lnTo>
                  <a:pt x="1530" y="348"/>
                </a:lnTo>
                <a:lnTo>
                  <a:pt x="1529" y="351"/>
                </a:lnTo>
                <a:lnTo>
                  <a:pt x="1528" y="353"/>
                </a:lnTo>
                <a:lnTo>
                  <a:pt x="1526" y="355"/>
                </a:lnTo>
                <a:lnTo>
                  <a:pt x="1524" y="357"/>
                </a:lnTo>
                <a:lnTo>
                  <a:pt x="1521" y="358"/>
                </a:lnTo>
                <a:lnTo>
                  <a:pt x="1518" y="359"/>
                </a:lnTo>
                <a:lnTo>
                  <a:pt x="1514" y="358"/>
                </a:lnTo>
                <a:lnTo>
                  <a:pt x="1511" y="357"/>
                </a:lnTo>
                <a:lnTo>
                  <a:pt x="1509" y="355"/>
                </a:lnTo>
                <a:lnTo>
                  <a:pt x="1508" y="354"/>
                </a:lnTo>
                <a:lnTo>
                  <a:pt x="1506" y="351"/>
                </a:lnTo>
                <a:lnTo>
                  <a:pt x="1506" y="349"/>
                </a:lnTo>
                <a:lnTo>
                  <a:pt x="1505" y="347"/>
                </a:lnTo>
                <a:lnTo>
                  <a:pt x="1505" y="344"/>
                </a:lnTo>
                <a:lnTo>
                  <a:pt x="1506" y="342"/>
                </a:lnTo>
                <a:lnTo>
                  <a:pt x="1507" y="340"/>
                </a:lnTo>
                <a:lnTo>
                  <a:pt x="1509" y="337"/>
                </a:lnTo>
                <a:lnTo>
                  <a:pt x="1512" y="335"/>
                </a:lnTo>
                <a:lnTo>
                  <a:pt x="1515" y="334"/>
                </a:lnTo>
                <a:lnTo>
                  <a:pt x="1518" y="334"/>
                </a:lnTo>
                <a:close/>
                <a:moveTo>
                  <a:pt x="1792" y="309"/>
                </a:moveTo>
                <a:lnTo>
                  <a:pt x="1795" y="310"/>
                </a:lnTo>
                <a:lnTo>
                  <a:pt x="1798" y="311"/>
                </a:lnTo>
                <a:lnTo>
                  <a:pt x="1801" y="313"/>
                </a:lnTo>
                <a:lnTo>
                  <a:pt x="1803" y="316"/>
                </a:lnTo>
                <a:lnTo>
                  <a:pt x="1804" y="318"/>
                </a:lnTo>
                <a:lnTo>
                  <a:pt x="1804" y="321"/>
                </a:lnTo>
                <a:lnTo>
                  <a:pt x="1804" y="323"/>
                </a:lnTo>
                <a:lnTo>
                  <a:pt x="1804" y="326"/>
                </a:lnTo>
                <a:lnTo>
                  <a:pt x="1803" y="328"/>
                </a:lnTo>
                <a:lnTo>
                  <a:pt x="1802" y="330"/>
                </a:lnTo>
                <a:lnTo>
                  <a:pt x="1800" y="332"/>
                </a:lnTo>
                <a:lnTo>
                  <a:pt x="1798" y="333"/>
                </a:lnTo>
                <a:lnTo>
                  <a:pt x="1795" y="334"/>
                </a:lnTo>
                <a:lnTo>
                  <a:pt x="1792" y="334"/>
                </a:lnTo>
                <a:lnTo>
                  <a:pt x="1789" y="334"/>
                </a:lnTo>
                <a:lnTo>
                  <a:pt x="1786" y="333"/>
                </a:lnTo>
                <a:lnTo>
                  <a:pt x="1783" y="330"/>
                </a:lnTo>
                <a:lnTo>
                  <a:pt x="1781" y="328"/>
                </a:lnTo>
                <a:lnTo>
                  <a:pt x="1780" y="325"/>
                </a:lnTo>
                <a:lnTo>
                  <a:pt x="1780" y="323"/>
                </a:lnTo>
                <a:lnTo>
                  <a:pt x="1780" y="320"/>
                </a:lnTo>
                <a:lnTo>
                  <a:pt x="1780" y="318"/>
                </a:lnTo>
                <a:lnTo>
                  <a:pt x="1781" y="316"/>
                </a:lnTo>
                <a:lnTo>
                  <a:pt x="1782" y="314"/>
                </a:lnTo>
                <a:lnTo>
                  <a:pt x="1784" y="312"/>
                </a:lnTo>
                <a:lnTo>
                  <a:pt x="1786" y="311"/>
                </a:lnTo>
                <a:lnTo>
                  <a:pt x="1789" y="310"/>
                </a:lnTo>
                <a:lnTo>
                  <a:pt x="1792" y="309"/>
                </a:lnTo>
                <a:close/>
                <a:moveTo>
                  <a:pt x="1384" y="298"/>
                </a:moveTo>
                <a:lnTo>
                  <a:pt x="1388" y="298"/>
                </a:lnTo>
                <a:lnTo>
                  <a:pt x="1391" y="300"/>
                </a:lnTo>
                <a:lnTo>
                  <a:pt x="1393" y="301"/>
                </a:lnTo>
                <a:lnTo>
                  <a:pt x="1394" y="303"/>
                </a:lnTo>
                <a:lnTo>
                  <a:pt x="1396" y="307"/>
                </a:lnTo>
                <a:lnTo>
                  <a:pt x="1396" y="309"/>
                </a:lnTo>
                <a:lnTo>
                  <a:pt x="1396" y="312"/>
                </a:lnTo>
                <a:lnTo>
                  <a:pt x="1396" y="314"/>
                </a:lnTo>
                <a:lnTo>
                  <a:pt x="1395" y="316"/>
                </a:lnTo>
                <a:lnTo>
                  <a:pt x="1393" y="318"/>
                </a:lnTo>
                <a:lnTo>
                  <a:pt x="1392" y="320"/>
                </a:lnTo>
                <a:lnTo>
                  <a:pt x="1389" y="321"/>
                </a:lnTo>
                <a:lnTo>
                  <a:pt x="1387" y="322"/>
                </a:lnTo>
                <a:lnTo>
                  <a:pt x="1384" y="322"/>
                </a:lnTo>
                <a:lnTo>
                  <a:pt x="1380" y="322"/>
                </a:lnTo>
                <a:lnTo>
                  <a:pt x="1376" y="320"/>
                </a:lnTo>
                <a:lnTo>
                  <a:pt x="1375" y="319"/>
                </a:lnTo>
                <a:lnTo>
                  <a:pt x="1374" y="317"/>
                </a:lnTo>
                <a:lnTo>
                  <a:pt x="1372" y="313"/>
                </a:lnTo>
                <a:lnTo>
                  <a:pt x="1371" y="311"/>
                </a:lnTo>
                <a:lnTo>
                  <a:pt x="1372" y="308"/>
                </a:lnTo>
                <a:lnTo>
                  <a:pt x="1372" y="306"/>
                </a:lnTo>
                <a:lnTo>
                  <a:pt x="1373" y="304"/>
                </a:lnTo>
                <a:lnTo>
                  <a:pt x="1374" y="302"/>
                </a:lnTo>
                <a:lnTo>
                  <a:pt x="1376" y="300"/>
                </a:lnTo>
                <a:lnTo>
                  <a:pt x="1378" y="299"/>
                </a:lnTo>
                <a:lnTo>
                  <a:pt x="1381" y="298"/>
                </a:lnTo>
                <a:lnTo>
                  <a:pt x="1384" y="298"/>
                </a:lnTo>
                <a:close/>
                <a:moveTo>
                  <a:pt x="1913" y="232"/>
                </a:moveTo>
                <a:lnTo>
                  <a:pt x="1916" y="232"/>
                </a:lnTo>
                <a:lnTo>
                  <a:pt x="1919" y="233"/>
                </a:lnTo>
                <a:lnTo>
                  <a:pt x="1921" y="235"/>
                </a:lnTo>
                <a:lnTo>
                  <a:pt x="1922" y="236"/>
                </a:lnTo>
                <a:lnTo>
                  <a:pt x="1923" y="237"/>
                </a:lnTo>
                <a:lnTo>
                  <a:pt x="1925" y="239"/>
                </a:lnTo>
                <a:lnTo>
                  <a:pt x="1925" y="242"/>
                </a:lnTo>
                <a:lnTo>
                  <a:pt x="1926" y="244"/>
                </a:lnTo>
                <a:lnTo>
                  <a:pt x="1926" y="246"/>
                </a:lnTo>
                <a:lnTo>
                  <a:pt x="1924" y="251"/>
                </a:lnTo>
                <a:lnTo>
                  <a:pt x="1923" y="253"/>
                </a:lnTo>
                <a:lnTo>
                  <a:pt x="1921" y="255"/>
                </a:lnTo>
                <a:lnTo>
                  <a:pt x="1919" y="256"/>
                </a:lnTo>
                <a:lnTo>
                  <a:pt x="1917" y="256"/>
                </a:lnTo>
                <a:lnTo>
                  <a:pt x="1915" y="257"/>
                </a:lnTo>
                <a:lnTo>
                  <a:pt x="1913" y="257"/>
                </a:lnTo>
                <a:lnTo>
                  <a:pt x="1911" y="257"/>
                </a:lnTo>
                <a:lnTo>
                  <a:pt x="1908" y="256"/>
                </a:lnTo>
                <a:lnTo>
                  <a:pt x="1905" y="254"/>
                </a:lnTo>
                <a:lnTo>
                  <a:pt x="1904" y="253"/>
                </a:lnTo>
                <a:lnTo>
                  <a:pt x="1903" y="252"/>
                </a:lnTo>
                <a:lnTo>
                  <a:pt x="1902" y="250"/>
                </a:lnTo>
                <a:lnTo>
                  <a:pt x="1901" y="248"/>
                </a:lnTo>
                <a:lnTo>
                  <a:pt x="1901" y="245"/>
                </a:lnTo>
                <a:lnTo>
                  <a:pt x="1901" y="243"/>
                </a:lnTo>
                <a:lnTo>
                  <a:pt x="1903" y="238"/>
                </a:lnTo>
                <a:lnTo>
                  <a:pt x="1904" y="236"/>
                </a:lnTo>
                <a:lnTo>
                  <a:pt x="1906" y="235"/>
                </a:lnTo>
                <a:lnTo>
                  <a:pt x="1908" y="233"/>
                </a:lnTo>
                <a:lnTo>
                  <a:pt x="1909" y="233"/>
                </a:lnTo>
                <a:lnTo>
                  <a:pt x="1911" y="232"/>
                </a:lnTo>
                <a:lnTo>
                  <a:pt x="1913" y="232"/>
                </a:lnTo>
                <a:close/>
                <a:moveTo>
                  <a:pt x="2024" y="139"/>
                </a:moveTo>
                <a:lnTo>
                  <a:pt x="2026" y="140"/>
                </a:lnTo>
                <a:lnTo>
                  <a:pt x="2029" y="140"/>
                </a:lnTo>
                <a:lnTo>
                  <a:pt x="2031" y="142"/>
                </a:lnTo>
                <a:lnTo>
                  <a:pt x="2033" y="143"/>
                </a:lnTo>
                <a:lnTo>
                  <a:pt x="2034" y="145"/>
                </a:lnTo>
                <a:lnTo>
                  <a:pt x="2035" y="148"/>
                </a:lnTo>
                <a:lnTo>
                  <a:pt x="2036" y="150"/>
                </a:lnTo>
                <a:lnTo>
                  <a:pt x="2036" y="152"/>
                </a:lnTo>
                <a:lnTo>
                  <a:pt x="2036" y="155"/>
                </a:lnTo>
                <a:lnTo>
                  <a:pt x="2035" y="157"/>
                </a:lnTo>
                <a:lnTo>
                  <a:pt x="2034" y="159"/>
                </a:lnTo>
                <a:lnTo>
                  <a:pt x="2032" y="161"/>
                </a:lnTo>
                <a:lnTo>
                  <a:pt x="2030" y="162"/>
                </a:lnTo>
                <a:lnTo>
                  <a:pt x="2028" y="164"/>
                </a:lnTo>
                <a:lnTo>
                  <a:pt x="2024" y="164"/>
                </a:lnTo>
                <a:lnTo>
                  <a:pt x="2021" y="164"/>
                </a:lnTo>
                <a:lnTo>
                  <a:pt x="2019" y="163"/>
                </a:lnTo>
                <a:lnTo>
                  <a:pt x="2017" y="162"/>
                </a:lnTo>
                <a:lnTo>
                  <a:pt x="2015" y="160"/>
                </a:lnTo>
                <a:lnTo>
                  <a:pt x="2013" y="158"/>
                </a:lnTo>
                <a:lnTo>
                  <a:pt x="2012" y="156"/>
                </a:lnTo>
                <a:lnTo>
                  <a:pt x="2011" y="151"/>
                </a:lnTo>
                <a:lnTo>
                  <a:pt x="2012" y="149"/>
                </a:lnTo>
                <a:lnTo>
                  <a:pt x="2012" y="147"/>
                </a:lnTo>
                <a:lnTo>
                  <a:pt x="2014" y="145"/>
                </a:lnTo>
                <a:lnTo>
                  <a:pt x="2015" y="143"/>
                </a:lnTo>
                <a:lnTo>
                  <a:pt x="2017" y="141"/>
                </a:lnTo>
                <a:lnTo>
                  <a:pt x="2019" y="140"/>
                </a:lnTo>
                <a:lnTo>
                  <a:pt x="2024" y="139"/>
                </a:lnTo>
                <a:close/>
                <a:moveTo>
                  <a:pt x="2125" y="37"/>
                </a:moveTo>
                <a:lnTo>
                  <a:pt x="2129" y="38"/>
                </a:lnTo>
                <a:lnTo>
                  <a:pt x="2131" y="39"/>
                </a:lnTo>
                <a:lnTo>
                  <a:pt x="2133" y="40"/>
                </a:lnTo>
                <a:lnTo>
                  <a:pt x="2135" y="42"/>
                </a:lnTo>
                <a:lnTo>
                  <a:pt x="2136" y="44"/>
                </a:lnTo>
                <a:lnTo>
                  <a:pt x="2137" y="46"/>
                </a:lnTo>
                <a:lnTo>
                  <a:pt x="2137" y="49"/>
                </a:lnTo>
                <a:lnTo>
                  <a:pt x="2137" y="53"/>
                </a:lnTo>
                <a:lnTo>
                  <a:pt x="2136" y="56"/>
                </a:lnTo>
                <a:lnTo>
                  <a:pt x="2134" y="58"/>
                </a:lnTo>
                <a:lnTo>
                  <a:pt x="2132" y="59"/>
                </a:lnTo>
                <a:lnTo>
                  <a:pt x="2130" y="61"/>
                </a:lnTo>
                <a:lnTo>
                  <a:pt x="2127" y="61"/>
                </a:lnTo>
                <a:lnTo>
                  <a:pt x="2125" y="62"/>
                </a:lnTo>
                <a:lnTo>
                  <a:pt x="2120" y="61"/>
                </a:lnTo>
                <a:lnTo>
                  <a:pt x="2118" y="60"/>
                </a:lnTo>
                <a:lnTo>
                  <a:pt x="2116" y="58"/>
                </a:lnTo>
                <a:lnTo>
                  <a:pt x="2115" y="57"/>
                </a:lnTo>
                <a:lnTo>
                  <a:pt x="2114" y="54"/>
                </a:lnTo>
                <a:lnTo>
                  <a:pt x="2113" y="52"/>
                </a:lnTo>
                <a:lnTo>
                  <a:pt x="2112" y="50"/>
                </a:lnTo>
                <a:lnTo>
                  <a:pt x="2113" y="45"/>
                </a:lnTo>
                <a:lnTo>
                  <a:pt x="2114" y="43"/>
                </a:lnTo>
                <a:lnTo>
                  <a:pt x="2116" y="41"/>
                </a:lnTo>
                <a:lnTo>
                  <a:pt x="2118" y="39"/>
                </a:lnTo>
                <a:lnTo>
                  <a:pt x="2120" y="38"/>
                </a:lnTo>
                <a:lnTo>
                  <a:pt x="2122" y="37"/>
                </a:lnTo>
                <a:lnTo>
                  <a:pt x="2125" y="37"/>
                </a:lnTo>
                <a:close/>
                <a:moveTo>
                  <a:pt x="641" y="1315"/>
                </a:moveTo>
                <a:lnTo>
                  <a:pt x="643" y="1315"/>
                </a:lnTo>
                <a:lnTo>
                  <a:pt x="645" y="1315"/>
                </a:lnTo>
                <a:lnTo>
                  <a:pt x="647" y="1316"/>
                </a:lnTo>
                <a:lnTo>
                  <a:pt x="649" y="1318"/>
                </a:lnTo>
                <a:lnTo>
                  <a:pt x="651" y="1319"/>
                </a:lnTo>
                <a:lnTo>
                  <a:pt x="652" y="1321"/>
                </a:lnTo>
                <a:lnTo>
                  <a:pt x="653" y="1324"/>
                </a:lnTo>
                <a:lnTo>
                  <a:pt x="653" y="1326"/>
                </a:lnTo>
                <a:lnTo>
                  <a:pt x="653" y="1328"/>
                </a:lnTo>
                <a:lnTo>
                  <a:pt x="652" y="1333"/>
                </a:lnTo>
                <a:lnTo>
                  <a:pt x="651" y="1335"/>
                </a:lnTo>
                <a:lnTo>
                  <a:pt x="649" y="1336"/>
                </a:lnTo>
                <a:lnTo>
                  <a:pt x="648" y="1338"/>
                </a:lnTo>
                <a:lnTo>
                  <a:pt x="646" y="1338"/>
                </a:lnTo>
                <a:lnTo>
                  <a:pt x="643" y="1339"/>
                </a:lnTo>
                <a:lnTo>
                  <a:pt x="641" y="1339"/>
                </a:lnTo>
                <a:lnTo>
                  <a:pt x="640" y="1339"/>
                </a:lnTo>
                <a:lnTo>
                  <a:pt x="637" y="1339"/>
                </a:lnTo>
                <a:lnTo>
                  <a:pt x="635" y="1338"/>
                </a:lnTo>
                <a:lnTo>
                  <a:pt x="633" y="1336"/>
                </a:lnTo>
                <a:lnTo>
                  <a:pt x="631" y="1335"/>
                </a:lnTo>
                <a:lnTo>
                  <a:pt x="630" y="1333"/>
                </a:lnTo>
                <a:lnTo>
                  <a:pt x="629" y="1330"/>
                </a:lnTo>
                <a:lnTo>
                  <a:pt x="629" y="1328"/>
                </a:lnTo>
                <a:lnTo>
                  <a:pt x="629" y="1326"/>
                </a:lnTo>
                <a:lnTo>
                  <a:pt x="630" y="1321"/>
                </a:lnTo>
                <a:lnTo>
                  <a:pt x="631" y="1319"/>
                </a:lnTo>
                <a:lnTo>
                  <a:pt x="633" y="1318"/>
                </a:lnTo>
                <a:lnTo>
                  <a:pt x="635" y="1316"/>
                </a:lnTo>
                <a:lnTo>
                  <a:pt x="637" y="1315"/>
                </a:lnTo>
                <a:lnTo>
                  <a:pt x="639" y="1315"/>
                </a:lnTo>
                <a:lnTo>
                  <a:pt x="641" y="1315"/>
                </a:lnTo>
                <a:close/>
                <a:moveTo>
                  <a:pt x="784" y="1304"/>
                </a:moveTo>
                <a:lnTo>
                  <a:pt x="788" y="1305"/>
                </a:lnTo>
                <a:lnTo>
                  <a:pt x="791" y="1307"/>
                </a:lnTo>
                <a:lnTo>
                  <a:pt x="793" y="1308"/>
                </a:lnTo>
                <a:lnTo>
                  <a:pt x="794" y="1310"/>
                </a:lnTo>
                <a:lnTo>
                  <a:pt x="796" y="1314"/>
                </a:lnTo>
                <a:lnTo>
                  <a:pt x="796" y="1316"/>
                </a:lnTo>
                <a:lnTo>
                  <a:pt x="796" y="1318"/>
                </a:lnTo>
                <a:lnTo>
                  <a:pt x="794" y="1323"/>
                </a:lnTo>
                <a:lnTo>
                  <a:pt x="793" y="1325"/>
                </a:lnTo>
                <a:lnTo>
                  <a:pt x="791" y="1326"/>
                </a:lnTo>
                <a:lnTo>
                  <a:pt x="789" y="1328"/>
                </a:lnTo>
                <a:lnTo>
                  <a:pt x="787" y="1329"/>
                </a:lnTo>
                <a:lnTo>
                  <a:pt x="784" y="1329"/>
                </a:lnTo>
                <a:lnTo>
                  <a:pt x="780" y="1328"/>
                </a:lnTo>
                <a:lnTo>
                  <a:pt x="776" y="1326"/>
                </a:lnTo>
                <a:lnTo>
                  <a:pt x="775" y="1325"/>
                </a:lnTo>
                <a:lnTo>
                  <a:pt x="774" y="1324"/>
                </a:lnTo>
                <a:lnTo>
                  <a:pt x="772" y="1320"/>
                </a:lnTo>
                <a:lnTo>
                  <a:pt x="772" y="1317"/>
                </a:lnTo>
                <a:lnTo>
                  <a:pt x="772" y="1315"/>
                </a:lnTo>
                <a:lnTo>
                  <a:pt x="773" y="1310"/>
                </a:lnTo>
                <a:lnTo>
                  <a:pt x="775" y="1309"/>
                </a:lnTo>
                <a:lnTo>
                  <a:pt x="776" y="1307"/>
                </a:lnTo>
                <a:lnTo>
                  <a:pt x="778" y="1306"/>
                </a:lnTo>
                <a:lnTo>
                  <a:pt x="781" y="1305"/>
                </a:lnTo>
                <a:lnTo>
                  <a:pt x="784" y="1304"/>
                </a:lnTo>
                <a:close/>
                <a:moveTo>
                  <a:pt x="503" y="1276"/>
                </a:moveTo>
                <a:lnTo>
                  <a:pt x="506" y="1276"/>
                </a:lnTo>
                <a:lnTo>
                  <a:pt x="508" y="1277"/>
                </a:lnTo>
                <a:lnTo>
                  <a:pt x="512" y="1279"/>
                </a:lnTo>
                <a:lnTo>
                  <a:pt x="514" y="1281"/>
                </a:lnTo>
                <a:lnTo>
                  <a:pt x="515" y="1283"/>
                </a:lnTo>
                <a:lnTo>
                  <a:pt x="515" y="1286"/>
                </a:lnTo>
                <a:lnTo>
                  <a:pt x="516" y="1288"/>
                </a:lnTo>
                <a:lnTo>
                  <a:pt x="515" y="1290"/>
                </a:lnTo>
                <a:lnTo>
                  <a:pt x="515" y="1293"/>
                </a:lnTo>
                <a:lnTo>
                  <a:pt x="513" y="1296"/>
                </a:lnTo>
                <a:lnTo>
                  <a:pt x="511" y="1297"/>
                </a:lnTo>
                <a:lnTo>
                  <a:pt x="510" y="1298"/>
                </a:lnTo>
                <a:lnTo>
                  <a:pt x="507" y="1300"/>
                </a:lnTo>
                <a:lnTo>
                  <a:pt x="503" y="1300"/>
                </a:lnTo>
                <a:lnTo>
                  <a:pt x="501" y="1300"/>
                </a:lnTo>
                <a:lnTo>
                  <a:pt x="498" y="1299"/>
                </a:lnTo>
                <a:lnTo>
                  <a:pt x="494" y="1296"/>
                </a:lnTo>
                <a:lnTo>
                  <a:pt x="493" y="1295"/>
                </a:lnTo>
                <a:lnTo>
                  <a:pt x="492" y="1292"/>
                </a:lnTo>
                <a:lnTo>
                  <a:pt x="491" y="1290"/>
                </a:lnTo>
                <a:lnTo>
                  <a:pt x="491" y="1288"/>
                </a:lnTo>
                <a:lnTo>
                  <a:pt x="491" y="1285"/>
                </a:lnTo>
                <a:lnTo>
                  <a:pt x="492" y="1283"/>
                </a:lnTo>
                <a:lnTo>
                  <a:pt x="494" y="1280"/>
                </a:lnTo>
                <a:lnTo>
                  <a:pt x="495" y="1279"/>
                </a:lnTo>
                <a:lnTo>
                  <a:pt x="497" y="1278"/>
                </a:lnTo>
                <a:lnTo>
                  <a:pt x="500" y="1276"/>
                </a:lnTo>
                <a:lnTo>
                  <a:pt x="503" y="1276"/>
                </a:lnTo>
                <a:close/>
                <a:moveTo>
                  <a:pt x="917" y="1248"/>
                </a:moveTo>
                <a:lnTo>
                  <a:pt x="920" y="1249"/>
                </a:lnTo>
                <a:lnTo>
                  <a:pt x="923" y="1250"/>
                </a:lnTo>
                <a:lnTo>
                  <a:pt x="926" y="1252"/>
                </a:lnTo>
                <a:lnTo>
                  <a:pt x="928" y="1254"/>
                </a:lnTo>
                <a:lnTo>
                  <a:pt x="929" y="1257"/>
                </a:lnTo>
                <a:lnTo>
                  <a:pt x="929" y="1259"/>
                </a:lnTo>
                <a:lnTo>
                  <a:pt x="929" y="1261"/>
                </a:lnTo>
                <a:lnTo>
                  <a:pt x="929" y="1264"/>
                </a:lnTo>
                <a:lnTo>
                  <a:pt x="928" y="1266"/>
                </a:lnTo>
                <a:lnTo>
                  <a:pt x="927" y="1268"/>
                </a:lnTo>
                <a:lnTo>
                  <a:pt x="925" y="1270"/>
                </a:lnTo>
                <a:lnTo>
                  <a:pt x="923" y="1271"/>
                </a:lnTo>
                <a:lnTo>
                  <a:pt x="920" y="1272"/>
                </a:lnTo>
                <a:lnTo>
                  <a:pt x="917" y="1273"/>
                </a:lnTo>
                <a:lnTo>
                  <a:pt x="914" y="1272"/>
                </a:lnTo>
                <a:lnTo>
                  <a:pt x="911" y="1271"/>
                </a:lnTo>
                <a:lnTo>
                  <a:pt x="908" y="1269"/>
                </a:lnTo>
                <a:lnTo>
                  <a:pt x="906" y="1267"/>
                </a:lnTo>
                <a:lnTo>
                  <a:pt x="905" y="1264"/>
                </a:lnTo>
                <a:lnTo>
                  <a:pt x="905" y="1262"/>
                </a:lnTo>
                <a:lnTo>
                  <a:pt x="905" y="1260"/>
                </a:lnTo>
                <a:lnTo>
                  <a:pt x="905" y="1257"/>
                </a:lnTo>
                <a:lnTo>
                  <a:pt x="906" y="1255"/>
                </a:lnTo>
                <a:lnTo>
                  <a:pt x="907" y="1253"/>
                </a:lnTo>
                <a:lnTo>
                  <a:pt x="909" y="1251"/>
                </a:lnTo>
                <a:lnTo>
                  <a:pt x="911" y="1250"/>
                </a:lnTo>
                <a:lnTo>
                  <a:pt x="914" y="1249"/>
                </a:lnTo>
                <a:lnTo>
                  <a:pt x="917" y="1248"/>
                </a:lnTo>
                <a:close/>
                <a:moveTo>
                  <a:pt x="377" y="1207"/>
                </a:moveTo>
                <a:lnTo>
                  <a:pt x="380" y="1208"/>
                </a:lnTo>
                <a:lnTo>
                  <a:pt x="383" y="1209"/>
                </a:lnTo>
                <a:lnTo>
                  <a:pt x="385" y="1210"/>
                </a:lnTo>
                <a:lnTo>
                  <a:pt x="387" y="1212"/>
                </a:lnTo>
                <a:lnTo>
                  <a:pt x="388" y="1214"/>
                </a:lnTo>
                <a:lnTo>
                  <a:pt x="389" y="1217"/>
                </a:lnTo>
                <a:lnTo>
                  <a:pt x="389" y="1219"/>
                </a:lnTo>
                <a:lnTo>
                  <a:pt x="389" y="1221"/>
                </a:lnTo>
                <a:lnTo>
                  <a:pt x="388" y="1224"/>
                </a:lnTo>
                <a:lnTo>
                  <a:pt x="387" y="1226"/>
                </a:lnTo>
                <a:lnTo>
                  <a:pt x="385" y="1228"/>
                </a:lnTo>
                <a:lnTo>
                  <a:pt x="383" y="1230"/>
                </a:lnTo>
                <a:lnTo>
                  <a:pt x="380" y="1231"/>
                </a:lnTo>
                <a:lnTo>
                  <a:pt x="377" y="1232"/>
                </a:lnTo>
                <a:lnTo>
                  <a:pt x="373" y="1231"/>
                </a:lnTo>
                <a:lnTo>
                  <a:pt x="370" y="1230"/>
                </a:lnTo>
                <a:lnTo>
                  <a:pt x="368" y="1228"/>
                </a:lnTo>
                <a:lnTo>
                  <a:pt x="367" y="1226"/>
                </a:lnTo>
                <a:lnTo>
                  <a:pt x="366" y="1224"/>
                </a:lnTo>
                <a:lnTo>
                  <a:pt x="365" y="1222"/>
                </a:lnTo>
                <a:lnTo>
                  <a:pt x="364" y="1220"/>
                </a:lnTo>
                <a:lnTo>
                  <a:pt x="365" y="1217"/>
                </a:lnTo>
                <a:lnTo>
                  <a:pt x="365" y="1215"/>
                </a:lnTo>
                <a:lnTo>
                  <a:pt x="366" y="1213"/>
                </a:lnTo>
                <a:lnTo>
                  <a:pt x="368" y="1210"/>
                </a:lnTo>
                <a:lnTo>
                  <a:pt x="371" y="1209"/>
                </a:lnTo>
                <a:lnTo>
                  <a:pt x="374" y="1207"/>
                </a:lnTo>
                <a:lnTo>
                  <a:pt x="377" y="1207"/>
                </a:lnTo>
                <a:close/>
                <a:moveTo>
                  <a:pt x="1034" y="1164"/>
                </a:moveTo>
                <a:lnTo>
                  <a:pt x="1036" y="1165"/>
                </a:lnTo>
                <a:lnTo>
                  <a:pt x="1039" y="1165"/>
                </a:lnTo>
                <a:lnTo>
                  <a:pt x="1041" y="1167"/>
                </a:lnTo>
                <a:lnTo>
                  <a:pt x="1043" y="1168"/>
                </a:lnTo>
                <a:lnTo>
                  <a:pt x="1044" y="1171"/>
                </a:lnTo>
                <a:lnTo>
                  <a:pt x="1045" y="1173"/>
                </a:lnTo>
                <a:lnTo>
                  <a:pt x="1046" y="1175"/>
                </a:lnTo>
                <a:lnTo>
                  <a:pt x="1046" y="1177"/>
                </a:lnTo>
                <a:lnTo>
                  <a:pt x="1045" y="1180"/>
                </a:lnTo>
                <a:lnTo>
                  <a:pt x="1045" y="1182"/>
                </a:lnTo>
                <a:lnTo>
                  <a:pt x="1043" y="1184"/>
                </a:lnTo>
                <a:lnTo>
                  <a:pt x="1042" y="1186"/>
                </a:lnTo>
                <a:lnTo>
                  <a:pt x="1038" y="1188"/>
                </a:lnTo>
                <a:lnTo>
                  <a:pt x="1034" y="1189"/>
                </a:lnTo>
                <a:lnTo>
                  <a:pt x="1031" y="1189"/>
                </a:lnTo>
                <a:lnTo>
                  <a:pt x="1029" y="1188"/>
                </a:lnTo>
                <a:lnTo>
                  <a:pt x="1026" y="1187"/>
                </a:lnTo>
                <a:lnTo>
                  <a:pt x="1024" y="1185"/>
                </a:lnTo>
                <a:lnTo>
                  <a:pt x="1023" y="1183"/>
                </a:lnTo>
                <a:lnTo>
                  <a:pt x="1022" y="1180"/>
                </a:lnTo>
                <a:lnTo>
                  <a:pt x="1021" y="1178"/>
                </a:lnTo>
                <a:lnTo>
                  <a:pt x="1021" y="1176"/>
                </a:lnTo>
                <a:lnTo>
                  <a:pt x="1022" y="1173"/>
                </a:lnTo>
                <a:lnTo>
                  <a:pt x="1023" y="1171"/>
                </a:lnTo>
                <a:lnTo>
                  <a:pt x="1024" y="1169"/>
                </a:lnTo>
                <a:lnTo>
                  <a:pt x="1026" y="1167"/>
                </a:lnTo>
                <a:lnTo>
                  <a:pt x="1029" y="1165"/>
                </a:lnTo>
                <a:lnTo>
                  <a:pt x="1034" y="1164"/>
                </a:lnTo>
                <a:close/>
                <a:moveTo>
                  <a:pt x="257" y="1128"/>
                </a:moveTo>
                <a:lnTo>
                  <a:pt x="260" y="1128"/>
                </a:lnTo>
                <a:lnTo>
                  <a:pt x="262" y="1129"/>
                </a:lnTo>
                <a:lnTo>
                  <a:pt x="263" y="1130"/>
                </a:lnTo>
                <a:lnTo>
                  <a:pt x="265" y="1131"/>
                </a:lnTo>
                <a:lnTo>
                  <a:pt x="267" y="1133"/>
                </a:lnTo>
                <a:lnTo>
                  <a:pt x="268" y="1135"/>
                </a:lnTo>
                <a:lnTo>
                  <a:pt x="269" y="1138"/>
                </a:lnTo>
                <a:lnTo>
                  <a:pt x="269" y="1142"/>
                </a:lnTo>
                <a:lnTo>
                  <a:pt x="268" y="1145"/>
                </a:lnTo>
                <a:lnTo>
                  <a:pt x="267" y="1147"/>
                </a:lnTo>
                <a:lnTo>
                  <a:pt x="266" y="1148"/>
                </a:lnTo>
                <a:lnTo>
                  <a:pt x="265" y="1149"/>
                </a:lnTo>
                <a:lnTo>
                  <a:pt x="262" y="1151"/>
                </a:lnTo>
                <a:lnTo>
                  <a:pt x="259" y="1152"/>
                </a:lnTo>
                <a:lnTo>
                  <a:pt x="257" y="1152"/>
                </a:lnTo>
                <a:lnTo>
                  <a:pt x="253" y="1152"/>
                </a:lnTo>
                <a:lnTo>
                  <a:pt x="251" y="1151"/>
                </a:lnTo>
                <a:lnTo>
                  <a:pt x="250" y="1150"/>
                </a:lnTo>
                <a:lnTo>
                  <a:pt x="248" y="1149"/>
                </a:lnTo>
                <a:lnTo>
                  <a:pt x="246" y="1147"/>
                </a:lnTo>
                <a:lnTo>
                  <a:pt x="245" y="1145"/>
                </a:lnTo>
                <a:lnTo>
                  <a:pt x="245" y="1142"/>
                </a:lnTo>
                <a:lnTo>
                  <a:pt x="244" y="1138"/>
                </a:lnTo>
                <a:lnTo>
                  <a:pt x="245" y="1135"/>
                </a:lnTo>
                <a:lnTo>
                  <a:pt x="246" y="1133"/>
                </a:lnTo>
                <a:lnTo>
                  <a:pt x="247" y="1132"/>
                </a:lnTo>
                <a:lnTo>
                  <a:pt x="248" y="1131"/>
                </a:lnTo>
                <a:lnTo>
                  <a:pt x="251" y="1129"/>
                </a:lnTo>
                <a:lnTo>
                  <a:pt x="254" y="1128"/>
                </a:lnTo>
                <a:lnTo>
                  <a:pt x="257" y="1128"/>
                </a:lnTo>
                <a:close/>
                <a:moveTo>
                  <a:pt x="1135" y="1062"/>
                </a:moveTo>
                <a:lnTo>
                  <a:pt x="1139" y="1063"/>
                </a:lnTo>
                <a:lnTo>
                  <a:pt x="1141" y="1064"/>
                </a:lnTo>
                <a:lnTo>
                  <a:pt x="1143" y="1065"/>
                </a:lnTo>
                <a:lnTo>
                  <a:pt x="1145" y="1067"/>
                </a:lnTo>
                <a:lnTo>
                  <a:pt x="1146" y="1069"/>
                </a:lnTo>
                <a:lnTo>
                  <a:pt x="1147" y="1071"/>
                </a:lnTo>
                <a:lnTo>
                  <a:pt x="1147" y="1073"/>
                </a:lnTo>
                <a:lnTo>
                  <a:pt x="1147" y="1076"/>
                </a:lnTo>
                <a:lnTo>
                  <a:pt x="1146" y="1078"/>
                </a:lnTo>
                <a:lnTo>
                  <a:pt x="1145" y="1080"/>
                </a:lnTo>
                <a:lnTo>
                  <a:pt x="1144" y="1082"/>
                </a:lnTo>
                <a:lnTo>
                  <a:pt x="1142" y="1084"/>
                </a:lnTo>
                <a:lnTo>
                  <a:pt x="1140" y="1085"/>
                </a:lnTo>
                <a:lnTo>
                  <a:pt x="1137" y="1086"/>
                </a:lnTo>
                <a:lnTo>
                  <a:pt x="1135" y="1087"/>
                </a:lnTo>
                <a:lnTo>
                  <a:pt x="1131" y="1086"/>
                </a:lnTo>
                <a:lnTo>
                  <a:pt x="1129" y="1085"/>
                </a:lnTo>
                <a:lnTo>
                  <a:pt x="1127" y="1084"/>
                </a:lnTo>
                <a:lnTo>
                  <a:pt x="1125" y="1082"/>
                </a:lnTo>
                <a:lnTo>
                  <a:pt x="1124" y="1080"/>
                </a:lnTo>
                <a:lnTo>
                  <a:pt x="1123" y="1077"/>
                </a:lnTo>
                <a:lnTo>
                  <a:pt x="1122" y="1075"/>
                </a:lnTo>
                <a:lnTo>
                  <a:pt x="1123" y="1073"/>
                </a:lnTo>
                <a:lnTo>
                  <a:pt x="1123" y="1070"/>
                </a:lnTo>
                <a:lnTo>
                  <a:pt x="1124" y="1068"/>
                </a:lnTo>
                <a:lnTo>
                  <a:pt x="1125" y="1066"/>
                </a:lnTo>
                <a:lnTo>
                  <a:pt x="1127" y="1064"/>
                </a:lnTo>
                <a:lnTo>
                  <a:pt x="1130" y="1063"/>
                </a:lnTo>
                <a:lnTo>
                  <a:pt x="1132" y="1062"/>
                </a:lnTo>
                <a:lnTo>
                  <a:pt x="1135" y="1062"/>
                </a:lnTo>
                <a:close/>
                <a:moveTo>
                  <a:pt x="135" y="1050"/>
                </a:moveTo>
                <a:lnTo>
                  <a:pt x="138" y="1051"/>
                </a:lnTo>
                <a:lnTo>
                  <a:pt x="141" y="1052"/>
                </a:lnTo>
                <a:lnTo>
                  <a:pt x="143" y="1054"/>
                </a:lnTo>
                <a:lnTo>
                  <a:pt x="145" y="1055"/>
                </a:lnTo>
                <a:lnTo>
                  <a:pt x="146" y="1057"/>
                </a:lnTo>
                <a:lnTo>
                  <a:pt x="147" y="1060"/>
                </a:lnTo>
                <a:lnTo>
                  <a:pt x="147" y="1062"/>
                </a:lnTo>
                <a:lnTo>
                  <a:pt x="147" y="1064"/>
                </a:lnTo>
                <a:lnTo>
                  <a:pt x="146" y="1069"/>
                </a:lnTo>
                <a:lnTo>
                  <a:pt x="144" y="1072"/>
                </a:lnTo>
                <a:lnTo>
                  <a:pt x="141" y="1073"/>
                </a:lnTo>
                <a:lnTo>
                  <a:pt x="138" y="1075"/>
                </a:lnTo>
                <a:lnTo>
                  <a:pt x="135" y="1075"/>
                </a:lnTo>
                <a:lnTo>
                  <a:pt x="132" y="1075"/>
                </a:lnTo>
                <a:lnTo>
                  <a:pt x="129" y="1073"/>
                </a:lnTo>
                <a:lnTo>
                  <a:pt x="127" y="1072"/>
                </a:lnTo>
                <a:lnTo>
                  <a:pt x="125" y="1070"/>
                </a:lnTo>
                <a:lnTo>
                  <a:pt x="124" y="1068"/>
                </a:lnTo>
                <a:lnTo>
                  <a:pt x="123" y="1066"/>
                </a:lnTo>
                <a:lnTo>
                  <a:pt x="123" y="1064"/>
                </a:lnTo>
                <a:lnTo>
                  <a:pt x="123" y="1061"/>
                </a:lnTo>
                <a:lnTo>
                  <a:pt x="124" y="1057"/>
                </a:lnTo>
                <a:lnTo>
                  <a:pt x="126" y="1054"/>
                </a:lnTo>
                <a:lnTo>
                  <a:pt x="129" y="1052"/>
                </a:lnTo>
                <a:lnTo>
                  <a:pt x="132" y="1051"/>
                </a:lnTo>
                <a:lnTo>
                  <a:pt x="135" y="1050"/>
                </a:lnTo>
                <a:close/>
                <a:moveTo>
                  <a:pt x="5" y="989"/>
                </a:moveTo>
                <a:lnTo>
                  <a:pt x="9" y="989"/>
                </a:lnTo>
                <a:lnTo>
                  <a:pt x="12" y="991"/>
                </a:lnTo>
                <a:lnTo>
                  <a:pt x="14" y="992"/>
                </a:lnTo>
                <a:lnTo>
                  <a:pt x="15" y="994"/>
                </a:lnTo>
                <a:lnTo>
                  <a:pt x="16" y="996"/>
                </a:lnTo>
                <a:lnTo>
                  <a:pt x="17" y="998"/>
                </a:lnTo>
                <a:lnTo>
                  <a:pt x="17" y="1000"/>
                </a:lnTo>
                <a:lnTo>
                  <a:pt x="17" y="1005"/>
                </a:lnTo>
                <a:lnTo>
                  <a:pt x="15" y="1009"/>
                </a:lnTo>
                <a:lnTo>
                  <a:pt x="12" y="1011"/>
                </a:lnTo>
                <a:lnTo>
                  <a:pt x="9" y="1013"/>
                </a:lnTo>
                <a:lnTo>
                  <a:pt x="5" y="1013"/>
                </a:lnTo>
                <a:lnTo>
                  <a:pt x="1" y="1013"/>
                </a:lnTo>
                <a:lnTo>
                  <a:pt x="0" y="990"/>
                </a:lnTo>
                <a:lnTo>
                  <a:pt x="3" y="989"/>
                </a:lnTo>
                <a:lnTo>
                  <a:pt x="5" y="989"/>
                </a:lnTo>
                <a:close/>
                <a:moveTo>
                  <a:pt x="1225" y="950"/>
                </a:moveTo>
                <a:lnTo>
                  <a:pt x="1229" y="950"/>
                </a:lnTo>
                <a:lnTo>
                  <a:pt x="1231" y="951"/>
                </a:lnTo>
                <a:lnTo>
                  <a:pt x="1233" y="952"/>
                </a:lnTo>
                <a:lnTo>
                  <a:pt x="1234" y="954"/>
                </a:lnTo>
                <a:lnTo>
                  <a:pt x="1236" y="956"/>
                </a:lnTo>
                <a:lnTo>
                  <a:pt x="1237" y="960"/>
                </a:lnTo>
                <a:lnTo>
                  <a:pt x="1237" y="963"/>
                </a:lnTo>
                <a:lnTo>
                  <a:pt x="1237" y="965"/>
                </a:lnTo>
                <a:lnTo>
                  <a:pt x="1236" y="967"/>
                </a:lnTo>
                <a:lnTo>
                  <a:pt x="1235" y="970"/>
                </a:lnTo>
                <a:lnTo>
                  <a:pt x="1233" y="972"/>
                </a:lnTo>
                <a:lnTo>
                  <a:pt x="1231" y="973"/>
                </a:lnTo>
                <a:lnTo>
                  <a:pt x="1228" y="974"/>
                </a:lnTo>
                <a:lnTo>
                  <a:pt x="1225" y="974"/>
                </a:lnTo>
                <a:lnTo>
                  <a:pt x="1221" y="974"/>
                </a:lnTo>
                <a:lnTo>
                  <a:pt x="1219" y="973"/>
                </a:lnTo>
                <a:lnTo>
                  <a:pt x="1218" y="972"/>
                </a:lnTo>
                <a:lnTo>
                  <a:pt x="1216" y="970"/>
                </a:lnTo>
                <a:lnTo>
                  <a:pt x="1214" y="968"/>
                </a:lnTo>
                <a:lnTo>
                  <a:pt x="1213" y="964"/>
                </a:lnTo>
                <a:lnTo>
                  <a:pt x="1213" y="961"/>
                </a:lnTo>
                <a:lnTo>
                  <a:pt x="1213" y="959"/>
                </a:lnTo>
                <a:lnTo>
                  <a:pt x="1214" y="957"/>
                </a:lnTo>
                <a:lnTo>
                  <a:pt x="1215" y="955"/>
                </a:lnTo>
                <a:lnTo>
                  <a:pt x="1217" y="952"/>
                </a:lnTo>
                <a:lnTo>
                  <a:pt x="1220" y="951"/>
                </a:lnTo>
                <a:lnTo>
                  <a:pt x="1222" y="950"/>
                </a:lnTo>
                <a:lnTo>
                  <a:pt x="1225" y="950"/>
                </a:lnTo>
                <a:close/>
                <a:moveTo>
                  <a:pt x="1315" y="837"/>
                </a:moveTo>
                <a:lnTo>
                  <a:pt x="1319" y="838"/>
                </a:lnTo>
                <a:lnTo>
                  <a:pt x="1322" y="839"/>
                </a:lnTo>
                <a:lnTo>
                  <a:pt x="1323" y="840"/>
                </a:lnTo>
                <a:lnTo>
                  <a:pt x="1325" y="842"/>
                </a:lnTo>
                <a:lnTo>
                  <a:pt x="1326" y="844"/>
                </a:lnTo>
                <a:lnTo>
                  <a:pt x="1327" y="847"/>
                </a:lnTo>
                <a:lnTo>
                  <a:pt x="1327" y="849"/>
                </a:lnTo>
                <a:lnTo>
                  <a:pt x="1327" y="851"/>
                </a:lnTo>
                <a:lnTo>
                  <a:pt x="1327" y="854"/>
                </a:lnTo>
                <a:lnTo>
                  <a:pt x="1326" y="856"/>
                </a:lnTo>
                <a:lnTo>
                  <a:pt x="1324" y="858"/>
                </a:lnTo>
                <a:lnTo>
                  <a:pt x="1322" y="860"/>
                </a:lnTo>
                <a:lnTo>
                  <a:pt x="1320" y="861"/>
                </a:lnTo>
                <a:lnTo>
                  <a:pt x="1318" y="862"/>
                </a:lnTo>
                <a:lnTo>
                  <a:pt x="1315" y="862"/>
                </a:lnTo>
                <a:lnTo>
                  <a:pt x="1311" y="861"/>
                </a:lnTo>
                <a:lnTo>
                  <a:pt x="1309" y="860"/>
                </a:lnTo>
                <a:lnTo>
                  <a:pt x="1307" y="859"/>
                </a:lnTo>
                <a:lnTo>
                  <a:pt x="1305" y="857"/>
                </a:lnTo>
                <a:lnTo>
                  <a:pt x="1304" y="855"/>
                </a:lnTo>
                <a:lnTo>
                  <a:pt x="1303" y="853"/>
                </a:lnTo>
                <a:lnTo>
                  <a:pt x="1303" y="850"/>
                </a:lnTo>
                <a:lnTo>
                  <a:pt x="1303" y="848"/>
                </a:lnTo>
                <a:lnTo>
                  <a:pt x="1304" y="846"/>
                </a:lnTo>
                <a:lnTo>
                  <a:pt x="1305" y="843"/>
                </a:lnTo>
                <a:lnTo>
                  <a:pt x="1306" y="841"/>
                </a:lnTo>
                <a:lnTo>
                  <a:pt x="1308" y="840"/>
                </a:lnTo>
                <a:lnTo>
                  <a:pt x="1310" y="838"/>
                </a:lnTo>
                <a:lnTo>
                  <a:pt x="1313" y="838"/>
                </a:lnTo>
                <a:lnTo>
                  <a:pt x="1315" y="837"/>
                </a:lnTo>
                <a:close/>
                <a:moveTo>
                  <a:pt x="1702" y="813"/>
                </a:moveTo>
                <a:lnTo>
                  <a:pt x="1707" y="813"/>
                </a:lnTo>
                <a:lnTo>
                  <a:pt x="1710" y="816"/>
                </a:lnTo>
                <a:lnTo>
                  <a:pt x="1713" y="819"/>
                </a:lnTo>
                <a:lnTo>
                  <a:pt x="1714" y="821"/>
                </a:lnTo>
                <a:lnTo>
                  <a:pt x="1714" y="823"/>
                </a:lnTo>
                <a:lnTo>
                  <a:pt x="1715" y="826"/>
                </a:lnTo>
                <a:lnTo>
                  <a:pt x="1714" y="828"/>
                </a:lnTo>
                <a:lnTo>
                  <a:pt x="1713" y="830"/>
                </a:lnTo>
                <a:lnTo>
                  <a:pt x="1712" y="832"/>
                </a:lnTo>
                <a:lnTo>
                  <a:pt x="1711" y="834"/>
                </a:lnTo>
                <a:lnTo>
                  <a:pt x="1709" y="835"/>
                </a:lnTo>
                <a:lnTo>
                  <a:pt x="1707" y="836"/>
                </a:lnTo>
                <a:lnTo>
                  <a:pt x="1704" y="837"/>
                </a:lnTo>
                <a:lnTo>
                  <a:pt x="1702" y="837"/>
                </a:lnTo>
                <a:lnTo>
                  <a:pt x="1698" y="836"/>
                </a:lnTo>
                <a:lnTo>
                  <a:pt x="1694" y="834"/>
                </a:lnTo>
                <a:lnTo>
                  <a:pt x="1692" y="831"/>
                </a:lnTo>
                <a:lnTo>
                  <a:pt x="1691" y="829"/>
                </a:lnTo>
                <a:lnTo>
                  <a:pt x="1690" y="827"/>
                </a:lnTo>
                <a:lnTo>
                  <a:pt x="1690" y="824"/>
                </a:lnTo>
                <a:lnTo>
                  <a:pt x="1690" y="822"/>
                </a:lnTo>
                <a:lnTo>
                  <a:pt x="1691" y="820"/>
                </a:lnTo>
                <a:lnTo>
                  <a:pt x="1692" y="818"/>
                </a:lnTo>
                <a:lnTo>
                  <a:pt x="1694" y="816"/>
                </a:lnTo>
                <a:lnTo>
                  <a:pt x="1696" y="814"/>
                </a:lnTo>
                <a:lnTo>
                  <a:pt x="1698" y="813"/>
                </a:lnTo>
                <a:lnTo>
                  <a:pt x="1700" y="813"/>
                </a:lnTo>
                <a:lnTo>
                  <a:pt x="1702" y="813"/>
                </a:lnTo>
                <a:close/>
                <a:moveTo>
                  <a:pt x="1563" y="790"/>
                </a:moveTo>
                <a:lnTo>
                  <a:pt x="1567" y="790"/>
                </a:lnTo>
                <a:lnTo>
                  <a:pt x="1570" y="791"/>
                </a:lnTo>
                <a:lnTo>
                  <a:pt x="1572" y="793"/>
                </a:lnTo>
                <a:lnTo>
                  <a:pt x="1573" y="795"/>
                </a:lnTo>
                <a:lnTo>
                  <a:pt x="1574" y="797"/>
                </a:lnTo>
                <a:lnTo>
                  <a:pt x="1575" y="799"/>
                </a:lnTo>
                <a:lnTo>
                  <a:pt x="1576" y="801"/>
                </a:lnTo>
                <a:lnTo>
                  <a:pt x="1575" y="804"/>
                </a:lnTo>
                <a:lnTo>
                  <a:pt x="1575" y="806"/>
                </a:lnTo>
                <a:lnTo>
                  <a:pt x="1574" y="808"/>
                </a:lnTo>
                <a:lnTo>
                  <a:pt x="1572" y="811"/>
                </a:lnTo>
                <a:lnTo>
                  <a:pt x="1569" y="813"/>
                </a:lnTo>
                <a:lnTo>
                  <a:pt x="1566" y="814"/>
                </a:lnTo>
                <a:lnTo>
                  <a:pt x="1563" y="814"/>
                </a:lnTo>
                <a:lnTo>
                  <a:pt x="1560" y="814"/>
                </a:lnTo>
                <a:lnTo>
                  <a:pt x="1557" y="812"/>
                </a:lnTo>
                <a:lnTo>
                  <a:pt x="1555" y="811"/>
                </a:lnTo>
                <a:lnTo>
                  <a:pt x="1553" y="809"/>
                </a:lnTo>
                <a:lnTo>
                  <a:pt x="1552" y="807"/>
                </a:lnTo>
                <a:lnTo>
                  <a:pt x="1551" y="805"/>
                </a:lnTo>
                <a:lnTo>
                  <a:pt x="1551" y="802"/>
                </a:lnTo>
                <a:lnTo>
                  <a:pt x="1551" y="800"/>
                </a:lnTo>
                <a:lnTo>
                  <a:pt x="1552" y="798"/>
                </a:lnTo>
                <a:lnTo>
                  <a:pt x="1553" y="795"/>
                </a:lnTo>
                <a:lnTo>
                  <a:pt x="1555" y="793"/>
                </a:lnTo>
                <a:lnTo>
                  <a:pt x="1557" y="791"/>
                </a:lnTo>
                <a:lnTo>
                  <a:pt x="1560" y="790"/>
                </a:lnTo>
                <a:lnTo>
                  <a:pt x="1563" y="790"/>
                </a:lnTo>
                <a:close/>
                <a:moveTo>
                  <a:pt x="1837" y="765"/>
                </a:moveTo>
                <a:lnTo>
                  <a:pt x="1841" y="766"/>
                </a:lnTo>
                <a:lnTo>
                  <a:pt x="1844" y="767"/>
                </a:lnTo>
                <a:lnTo>
                  <a:pt x="1846" y="769"/>
                </a:lnTo>
                <a:lnTo>
                  <a:pt x="1848" y="772"/>
                </a:lnTo>
                <a:lnTo>
                  <a:pt x="1849" y="774"/>
                </a:lnTo>
                <a:lnTo>
                  <a:pt x="1850" y="776"/>
                </a:lnTo>
                <a:lnTo>
                  <a:pt x="1850" y="779"/>
                </a:lnTo>
                <a:lnTo>
                  <a:pt x="1849" y="781"/>
                </a:lnTo>
                <a:lnTo>
                  <a:pt x="1848" y="783"/>
                </a:lnTo>
                <a:lnTo>
                  <a:pt x="1847" y="785"/>
                </a:lnTo>
                <a:lnTo>
                  <a:pt x="1845" y="787"/>
                </a:lnTo>
                <a:lnTo>
                  <a:pt x="1843" y="788"/>
                </a:lnTo>
                <a:lnTo>
                  <a:pt x="1840" y="789"/>
                </a:lnTo>
                <a:lnTo>
                  <a:pt x="1838" y="790"/>
                </a:lnTo>
                <a:lnTo>
                  <a:pt x="1834" y="789"/>
                </a:lnTo>
                <a:lnTo>
                  <a:pt x="1831" y="788"/>
                </a:lnTo>
                <a:lnTo>
                  <a:pt x="1829" y="786"/>
                </a:lnTo>
                <a:lnTo>
                  <a:pt x="1827" y="783"/>
                </a:lnTo>
                <a:lnTo>
                  <a:pt x="1826" y="781"/>
                </a:lnTo>
                <a:lnTo>
                  <a:pt x="1825" y="778"/>
                </a:lnTo>
                <a:lnTo>
                  <a:pt x="1825" y="776"/>
                </a:lnTo>
                <a:lnTo>
                  <a:pt x="1826" y="774"/>
                </a:lnTo>
                <a:lnTo>
                  <a:pt x="1827" y="772"/>
                </a:lnTo>
                <a:lnTo>
                  <a:pt x="1828" y="770"/>
                </a:lnTo>
                <a:lnTo>
                  <a:pt x="1830" y="768"/>
                </a:lnTo>
                <a:lnTo>
                  <a:pt x="1832" y="767"/>
                </a:lnTo>
                <a:lnTo>
                  <a:pt x="1835" y="765"/>
                </a:lnTo>
                <a:lnTo>
                  <a:pt x="1837" y="765"/>
                </a:lnTo>
                <a:close/>
                <a:moveTo>
                  <a:pt x="1429" y="753"/>
                </a:moveTo>
                <a:lnTo>
                  <a:pt x="1433" y="754"/>
                </a:lnTo>
                <a:lnTo>
                  <a:pt x="1437" y="756"/>
                </a:lnTo>
                <a:lnTo>
                  <a:pt x="1440" y="759"/>
                </a:lnTo>
                <a:lnTo>
                  <a:pt x="1441" y="762"/>
                </a:lnTo>
                <a:lnTo>
                  <a:pt x="1442" y="765"/>
                </a:lnTo>
                <a:lnTo>
                  <a:pt x="1442" y="767"/>
                </a:lnTo>
                <a:lnTo>
                  <a:pt x="1440" y="772"/>
                </a:lnTo>
                <a:lnTo>
                  <a:pt x="1439" y="774"/>
                </a:lnTo>
                <a:lnTo>
                  <a:pt x="1437" y="775"/>
                </a:lnTo>
                <a:lnTo>
                  <a:pt x="1435" y="777"/>
                </a:lnTo>
                <a:lnTo>
                  <a:pt x="1433" y="777"/>
                </a:lnTo>
                <a:lnTo>
                  <a:pt x="1429" y="778"/>
                </a:lnTo>
                <a:lnTo>
                  <a:pt x="1425" y="777"/>
                </a:lnTo>
                <a:lnTo>
                  <a:pt x="1422" y="775"/>
                </a:lnTo>
                <a:lnTo>
                  <a:pt x="1419" y="773"/>
                </a:lnTo>
                <a:lnTo>
                  <a:pt x="1418" y="769"/>
                </a:lnTo>
                <a:lnTo>
                  <a:pt x="1417" y="766"/>
                </a:lnTo>
                <a:lnTo>
                  <a:pt x="1417" y="764"/>
                </a:lnTo>
                <a:lnTo>
                  <a:pt x="1419" y="759"/>
                </a:lnTo>
                <a:lnTo>
                  <a:pt x="1420" y="758"/>
                </a:lnTo>
                <a:lnTo>
                  <a:pt x="1422" y="756"/>
                </a:lnTo>
                <a:lnTo>
                  <a:pt x="1424" y="755"/>
                </a:lnTo>
                <a:lnTo>
                  <a:pt x="1426" y="754"/>
                </a:lnTo>
                <a:lnTo>
                  <a:pt x="1429" y="753"/>
                </a:lnTo>
                <a:close/>
                <a:moveTo>
                  <a:pt x="1959" y="688"/>
                </a:moveTo>
                <a:lnTo>
                  <a:pt x="1962" y="688"/>
                </a:lnTo>
                <a:lnTo>
                  <a:pt x="1964" y="689"/>
                </a:lnTo>
                <a:lnTo>
                  <a:pt x="1967" y="691"/>
                </a:lnTo>
                <a:lnTo>
                  <a:pt x="1968" y="692"/>
                </a:lnTo>
                <a:lnTo>
                  <a:pt x="1969" y="693"/>
                </a:lnTo>
                <a:lnTo>
                  <a:pt x="1970" y="695"/>
                </a:lnTo>
                <a:lnTo>
                  <a:pt x="1971" y="697"/>
                </a:lnTo>
                <a:lnTo>
                  <a:pt x="1971" y="700"/>
                </a:lnTo>
                <a:lnTo>
                  <a:pt x="1971" y="702"/>
                </a:lnTo>
                <a:lnTo>
                  <a:pt x="1970" y="706"/>
                </a:lnTo>
                <a:lnTo>
                  <a:pt x="1968" y="708"/>
                </a:lnTo>
                <a:lnTo>
                  <a:pt x="1966" y="710"/>
                </a:lnTo>
                <a:lnTo>
                  <a:pt x="1965" y="711"/>
                </a:lnTo>
                <a:lnTo>
                  <a:pt x="1963" y="712"/>
                </a:lnTo>
                <a:lnTo>
                  <a:pt x="1961" y="712"/>
                </a:lnTo>
                <a:lnTo>
                  <a:pt x="1959" y="712"/>
                </a:lnTo>
                <a:lnTo>
                  <a:pt x="1956" y="712"/>
                </a:lnTo>
                <a:lnTo>
                  <a:pt x="1953" y="711"/>
                </a:lnTo>
                <a:lnTo>
                  <a:pt x="1951" y="710"/>
                </a:lnTo>
                <a:lnTo>
                  <a:pt x="1950" y="709"/>
                </a:lnTo>
                <a:lnTo>
                  <a:pt x="1949" y="707"/>
                </a:lnTo>
                <a:lnTo>
                  <a:pt x="1948" y="705"/>
                </a:lnTo>
                <a:lnTo>
                  <a:pt x="1947" y="703"/>
                </a:lnTo>
                <a:lnTo>
                  <a:pt x="1947" y="701"/>
                </a:lnTo>
                <a:lnTo>
                  <a:pt x="1947" y="698"/>
                </a:lnTo>
                <a:lnTo>
                  <a:pt x="1948" y="694"/>
                </a:lnTo>
                <a:lnTo>
                  <a:pt x="1950" y="692"/>
                </a:lnTo>
                <a:lnTo>
                  <a:pt x="1952" y="690"/>
                </a:lnTo>
                <a:lnTo>
                  <a:pt x="1953" y="689"/>
                </a:lnTo>
                <a:lnTo>
                  <a:pt x="1955" y="688"/>
                </a:lnTo>
                <a:lnTo>
                  <a:pt x="1957" y="688"/>
                </a:lnTo>
                <a:lnTo>
                  <a:pt x="1959" y="688"/>
                </a:lnTo>
                <a:close/>
                <a:moveTo>
                  <a:pt x="2069" y="595"/>
                </a:moveTo>
                <a:lnTo>
                  <a:pt x="2072" y="595"/>
                </a:lnTo>
                <a:lnTo>
                  <a:pt x="2074" y="596"/>
                </a:lnTo>
                <a:lnTo>
                  <a:pt x="2076" y="597"/>
                </a:lnTo>
                <a:lnTo>
                  <a:pt x="2078" y="599"/>
                </a:lnTo>
                <a:lnTo>
                  <a:pt x="2080" y="601"/>
                </a:lnTo>
                <a:lnTo>
                  <a:pt x="2081" y="603"/>
                </a:lnTo>
                <a:lnTo>
                  <a:pt x="2081" y="606"/>
                </a:lnTo>
                <a:lnTo>
                  <a:pt x="2082" y="608"/>
                </a:lnTo>
                <a:lnTo>
                  <a:pt x="2081" y="610"/>
                </a:lnTo>
                <a:lnTo>
                  <a:pt x="2080" y="613"/>
                </a:lnTo>
                <a:lnTo>
                  <a:pt x="2079" y="615"/>
                </a:lnTo>
                <a:lnTo>
                  <a:pt x="2078" y="616"/>
                </a:lnTo>
                <a:lnTo>
                  <a:pt x="2076" y="618"/>
                </a:lnTo>
                <a:lnTo>
                  <a:pt x="2074" y="619"/>
                </a:lnTo>
                <a:lnTo>
                  <a:pt x="2069" y="620"/>
                </a:lnTo>
                <a:lnTo>
                  <a:pt x="2067" y="620"/>
                </a:lnTo>
                <a:lnTo>
                  <a:pt x="2064" y="619"/>
                </a:lnTo>
                <a:lnTo>
                  <a:pt x="2062" y="618"/>
                </a:lnTo>
                <a:lnTo>
                  <a:pt x="2060" y="616"/>
                </a:lnTo>
                <a:lnTo>
                  <a:pt x="2059" y="614"/>
                </a:lnTo>
                <a:lnTo>
                  <a:pt x="2058" y="612"/>
                </a:lnTo>
                <a:lnTo>
                  <a:pt x="2057" y="609"/>
                </a:lnTo>
                <a:lnTo>
                  <a:pt x="2057" y="607"/>
                </a:lnTo>
                <a:lnTo>
                  <a:pt x="2057" y="605"/>
                </a:lnTo>
                <a:lnTo>
                  <a:pt x="2058" y="602"/>
                </a:lnTo>
                <a:lnTo>
                  <a:pt x="2059" y="600"/>
                </a:lnTo>
                <a:lnTo>
                  <a:pt x="2061" y="598"/>
                </a:lnTo>
                <a:lnTo>
                  <a:pt x="2063" y="597"/>
                </a:lnTo>
                <a:lnTo>
                  <a:pt x="2065" y="596"/>
                </a:lnTo>
                <a:lnTo>
                  <a:pt x="2069" y="595"/>
                </a:lnTo>
                <a:close/>
                <a:moveTo>
                  <a:pt x="2170" y="492"/>
                </a:moveTo>
                <a:lnTo>
                  <a:pt x="2175" y="492"/>
                </a:lnTo>
                <a:lnTo>
                  <a:pt x="2177" y="493"/>
                </a:lnTo>
                <a:lnTo>
                  <a:pt x="2179" y="495"/>
                </a:lnTo>
                <a:lnTo>
                  <a:pt x="2180" y="497"/>
                </a:lnTo>
                <a:lnTo>
                  <a:pt x="2182" y="499"/>
                </a:lnTo>
                <a:lnTo>
                  <a:pt x="2182" y="501"/>
                </a:lnTo>
                <a:lnTo>
                  <a:pt x="2183" y="503"/>
                </a:lnTo>
                <a:lnTo>
                  <a:pt x="2182" y="508"/>
                </a:lnTo>
                <a:lnTo>
                  <a:pt x="2181" y="510"/>
                </a:lnTo>
                <a:lnTo>
                  <a:pt x="2180" y="512"/>
                </a:lnTo>
                <a:lnTo>
                  <a:pt x="2178" y="514"/>
                </a:lnTo>
                <a:lnTo>
                  <a:pt x="2175" y="515"/>
                </a:lnTo>
                <a:lnTo>
                  <a:pt x="2173" y="516"/>
                </a:lnTo>
                <a:lnTo>
                  <a:pt x="2170" y="516"/>
                </a:lnTo>
                <a:lnTo>
                  <a:pt x="2166" y="515"/>
                </a:lnTo>
                <a:lnTo>
                  <a:pt x="2164" y="514"/>
                </a:lnTo>
                <a:lnTo>
                  <a:pt x="2162" y="513"/>
                </a:lnTo>
                <a:lnTo>
                  <a:pt x="2160" y="511"/>
                </a:lnTo>
                <a:lnTo>
                  <a:pt x="2159" y="509"/>
                </a:lnTo>
                <a:lnTo>
                  <a:pt x="2158" y="507"/>
                </a:lnTo>
                <a:lnTo>
                  <a:pt x="2158" y="504"/>
                </a:lnTo>
                <a:lnTo>
                  <a:pt x="2159" y="500"/>
                </a:lnTo>
                <a:lnTo>
                  <a:pt x="2160" y="498"/>
                </a:lnTo>
                <a:lnTo>
                  <a:pt x="2161" y="496"/>
                </a:lnTo>
                <a:lnTo>
                  <a:pt x="2163" y="494"/>
                </a:lnTo>
                <a:lnTo>
                  <a:pt x="2165" y="493"/>
                </a:lnTo>
                <a:lnTo>
                  <a:pt x="2168" y="492"/>
                </a:lnTo>
                <a:lnTo>
                  <a:pt x="2170" y="492"/>
                </a:lnTo>
                <a:close/>
                <a:moveTo>
                  <a:pt x="2263" y="381"/>
                </a:moveTo>
                <a:lnTo>
                  <a:pt x="2267" y="381"/>
                </a:lnTo>
                <a:lnTo>
                  <a:pt x="2268" y="382"/>
                </a:lnTo>
                <a:lnTo>
                  <a:pt x="2270" y="383"/>
                </a:lnTo>
                <a:lnTo>
                  <a:pt x="2272" y="385"/>
                </a:lnTo>
                <a:lnTo>
                  <a:pt x="2273" y="387"/>
                </a:lnTo>
                <a:lnTo>
                  <a:pt x="2275" y="392"/>
                </a:lnTo>
                <a:lnTo>
                  <a:pt x="2275" y="394"/>
                </a:lnTo>
                <a:lnTo>
                  <a:pt x="2275" y="396"/>
                </a:lnTo>
                <a:lnTo>
                  <a:pt x="2274" y="399"/>
                </a:lnTo>
                <a:lnTo>
                  <a:pt x="2273" y="401"/>
                </a:lnTo>
                <a:lnTo>
                  <a:pt x="2270" y="403"/>
                </a:lnTo>
                <a:lnTo>
                  <a:pt x="2268" y="404"/>
                </a:lnTo>
                <a:lnTo>
                  <a:pt x="2265" y="405"/>
                </a:lnTo>
                <a:lnTo>
                  <a:pt x="2263" y="405"/>
                </a:lnTo>
                <a:lnTo>
                  <a:pt x="2259" y="405"/>
                </a:lnTo>
                <a:lnTo>
                  <a:pt x="2257" y="404"/>
                </a:lnTo>
                <a:lnTo>
                  <a:pt x="2255" y="403"/>
                </a:lnTo>
                <a:lnTo>
                  <a:pt x="2253" y="401"/>
                </a:lnTo>
                <a:lnTo>
                  <a:pt x="2252" y="399"/>
                </a:lnTo>
                <a:lnTo>
                  <a:pt x="2251" y="395"/>
                </a:lnTo>
                <a:lnTo>
                  <a:pt x="2250" y="392"/>
                </a:lnTo>
                <a:lnTo>
                  <a:pt x="2251" y="390"/>
                </a:lnTo>
                <a:lnTo>
                  <a:pt x="2252" y="388"/>
                </a:lnTo>
                <a:lnTo>
                  <a:pt x="2253" y="386"/>
                </a:lnTo>
                <a:lnTo>
                  <a:pt x="2255" y="384"/>
                </a:lnTo>
                <a:lnTo>
                  <a:pt x="2257" y="382"/>
                </a:lnTo>
                <a:lnTo>
                  <a:pt x="2260" y="381"/>
                </a:lnTo>
                <a:lnTo>
                  <a:pt x="2263" y="381"/>
                </a:lnTo>
                <a:close/>
                <a:moveTo>
                  <a:pt x="2345" y="263"/>
                </a:moveTo>
                <a:lnTo>
                  <a:pt x="2348" y="263"/>
                </a:lnTo>
                <a:lnTo>
                  <a:pt x="2352" y="264"/>
                </a:lnTo>
                <a:lnTo>
                  <a:pt x="2354" y="266"/>
                </a:lnTo>
                <a:lnTo>
                  <a:pt x="2355" y="268"/>
                </a:lnTo>
                <a:lnTo>
                  <a:pt x="2356" y="270"/>
                </a:lnTo>
                <a:lnTo>
                  <a:pt x="2357" y="272"/>
                </a:lnTo>
                <a:lnTo>
                  <a:pt x="2357" y="274"/>
                </a:lnTo>
                <a:lnTo>
                  <a:pt x="2357" y="277"/>
                </a:lnTo>
                <a:lnTo>
                  <a:pt x="2357" y="279"/>
                </a:lnTo>
                <a:lnTo>
                  <a:pt x="2355" y="281"/>
                </a:lnTo>
                <a:lnTo>
                  <a:pt x="2353" y="284"/>
                </a:lnTo>
                <a:lnTo>
                  <a:pt x="2351" y="286"/>
                </a:lnTo>
                <a:lnTo>
                  <a:pt x="2348" y="287"/>
                </a:lnTo>
                <a:lnTo>
                  <a:pt x="2345" y="287"/>
                </a:lnTo>
                <a:lnTo>
                  <a:pt x="2342" y="287"/>
                </a:lnTo>
                <a:lnTo>
                  <a:pt x="2339" y="285"/>
                </a:lnTo>
                <a:lnTo>
                  <a:pt x="2337" y="284"/>
                </a:lnTo>
                <a:lnTo>
                  <a:pt x="2335" y="282"/>
                </a:lnTo>
                <a:lnTo>
                  <a:pt x="2334" y="280"/>
                </a:lnTo>
                <a:lnTo>
                  <a:pt x="2333" y="278"/>
                </a:lnTo>
                <a:lnTo>
                  <a:pt x="2333" y="275"/>
                </a:lnTo>
                <a:lnTo>
                  <a:pt x="2333" y="273"/>
                </a:lnTo>
                <a:lnTo>
                  <a:pt x="2333" y="271"/>
                </a:lnTo>
                <a:lnTo>
                  <a:pt x="2335" y="268"/>
                </a:lnTo>
                <a:lnTo>
                  <a:pt x="2337" y="266"/>
                </a:lnTo>
                <a:lnTo>
                  <a:pt x="2339" y="264"/>
                </a:lnTo>
                <a:lnTo>
                  <a:pt x="2342" y="263"/>
                </a:lnTo>
                <a:lnTo>
                  <a:pt x="2345" y="263"/>
                </a:lnTo>
                <a:close/>
                <a:moveTo>
                  <a:pt x="2413" y="135"/>
                </a:moveTo>
                <a:lnTo>
                  <a:pt x="2415" y="136"/>
                </a:lnTo>
                <a:lnTo>
                  <a:pt x="2417" y="136"/>
                </a:lnTo>
                <a:lnTo>
                  <a:pt x="2420" y="138"/>
                </a:lnTo>
                <a:lnTo>
                  <a:pt x="2421" y="139"/>
                </a:lnTo>
                <a:lnTo>
                  <a:pt x="2423" y="141"/>
                </a:lnTo>
                <a:lnTo>
                  <a:pt x="2424" y="143"/>
                </a:lnTo>
                <a:lnTo>
                  <a:pt x="2425" y="145"/>
                </a:lnTo>
                <a:lnTo>
                  <a:pt x="2425" y="148"/>
                </a:lnTo>
                <a:lnTo>
                  <a:pt x="2425" y="150"/>
                </a:lnTo>
                <a:lnTo>
                  <a:pt x="2424" y="152"/>
                </a:lnTo>
                <a:lnTo>
                  <a:pt x="2422" y="156"/>
                </a:lnTo>
                <a:lnTo>
                  <a:pt x="2421" y="157"/>
                </a:lnTo>
                <a:lnTo>
                  <a:pt x="2419" y="158"/>
                </a:lnTo>
                <a:lnTo>
                  <a:pt x="2418" y="159"/>
                </a:lnTo>
                <a:lnTo>
                  <a:pt x="2416" y="159"/>
                </a:lnTo>
                <a:lnTo>
                  <a:pt x="2413" y="160"/>
                </a:lnTo>
                <a:lnTo>
                  <a:pt x="2410" y="160"/>
                </a:lnTo>
                <a:lnTo>
                  <a:pt x="2408" y="159"/>
                </a:lnTo>
                <a:lnTo>
                  <a:pt x="2406" y="158"/>
                </a:lnTo>
                <a:lnTo>
                  <a:pt x="2404" y="156"/>
                </a:lnTo>
                <a:lnTo>
                  <a:pt x="2402" y="154"/>
                </a:lnTo>
                <a:lnTo>
                  <a:pt x="2401" y="152"/>
                </a:lnTo>
                <a:lnTo>
                  <a:pt x="2400" y="150"/>
                </a:lnTo>
                <a:lnTo>
                  <a:pt x="2400" y="148"/>
                </a:lnTo>
                <a:lnTo>
                  <a:pt x="2400" y="145"/>
                </a:lnTo>
                <a:lnTo>
                  <a:pt x="2401" y="143"/>
                </a:lnTo>
                <a:lnTo>
                  <a:pt x="2403" y="140"/>
                </a:lnTo>
                <a:lnTo>
                  <a:pt x="2404" y="138"/>
                </a:lnTo>
                <a:lnTo>
                  <a:pt x="2406" y="137"/>
                </a:lnTo>
                <a:lnTo>
                  <a:pt x="2407" y="136"/>
                </a:lnTo>
                <a:lnTo>
                  <a:pt x="2409" y="136"/>
                </a:lnTo>
                <a:lnTo>
                  <a:pt x="2413" y="135"/>
                </a:lnTo>
                <a:close/>
                <a:moveTo>
                  <a:pt x="2465" y="0"/>
                </a:moveTo>
                <a:lnTo>
                  <a:pt x="2466" y="1"/>
                </a:lnTo>
                <a:lnTo>
                  <a:pt x="2469" y="1"/>
                </a:lnTo>
                <a:lnTo>
                  <a:pt x="2471" y="2"/>
                </a:lnTo>
                <a:lnTo>
                  <a:pt x="2473" y="4"/>
                </a:lnTo>
                <a:lnTo>
                  <a:pt x="2475" y="6"/>
                </a:lnTo>
                <a:lnTo>
                  <a:pt x="2476" y="8"/>
                </a:lnTo>
                <a:lnTo>
                  <a:pt x="2477" y="10"/>
                </a:lnTo>
                <a:lnTo>
                  <a:pt x="2477" y="12"/>
                </a:lnTo>
                <a:lnTo>
                  <a:pt x="2476" y="17"/>
                </a:lnTo>
                <a:lnTo>
                  <a:pt x="2475" y="19"/>
                </a:lnTo>
                <a:lnTo>
                  <a:pt x="2474" y="20"/>
                </a:lnTo>
                <a:lnTo>
                  <a:pt x="2472" y="23"/>
                </a:lnTo>
                <a:lnTo>
                  <a:pt x="2470" y="24"/>
                </a:lnTo>
                <a:lnTo>
                  <a:pt x="2468" y="25"/>
                </a:lnTo>
                <a:lnTo>
                  <a:pt x="2465" y="25"/>
                </a:lnTo>
                <a:lnTo>
                  <a:pt x="2460" y="24"/>
                </a:lnTo>
                <a:lnTo>
                  <a:pt x="2458" y="23"/>
                </a:lnTo>
                <a:lnTo>
                  <a:pt x="2456" y="22"/>
                </a:lnTo>
                <a:lnTo>
                  <a:pt x="2455" y="20"/>
                </a:lnTo>
                <a:lnTo>
                  <a:pt x="2453" y="18"/>
                </a:lnTo>
                <a:lnTo>
                  <a:pt x="2453" y="16"/>
                </a:lnTo>
                <a:lnTo>
                  <a:pt x="2452" y="13"/>
                </a:lnTo>
                <a:lnTo>
                  <a:pt x="2453" y="8"/>
                </a:lnTo>
                <a:lnTo>
                  <a:pt x="2455" y="5"/>
                </a:lnTo>
                <a:lnTo>
                  <a:pt x="2457" y="3"/>
                </a:lnTo>
                <a:lnTo>
                  <a:pt x="2459" y="2"/>
                </a:lnTo>
                <a:lnTo>
                  <a:pt x="2460" y="1"/>
                </a:lnTo>
                <a:lnTo>
                  <a:pt x="2463" y="1"/>
                </a:lnTo>
                <a:lnTo>
                  <a:pt x="2465" y="0"/>
                </a:lnTo>
                <a:close/>
                <a:moveTo>
                  <a:pt x="687" y="1770"/>
                </a:moveTo>
                <a:lnTo>
                  <a:pt x="688" y="1770"/>
                </a:lnTo>
                <a:lnTo>
                  <a:pt x="690" y="1771"/>
                </a:lnTo>
                <a:lnTo>
                  <a:pt x="693" y="1772"/>
                </a:lnTo>
                <a:lnTo>
                  <a:pt x="695" y="1773"/>
                </a:lnTo>
                <a:lnTo>
                  <a:pt x="695" y="1774"/>
                </a:lnTo>
                <a:lnTo>
                  <a:pt x="696" y="1775"/>
                </a:lnTo>
                <a:lnTo>
                  <a:pt x="697" y="1777"/>
                </a:lnTo>
                <a:lnTo>
                  <a:pt x="698" y="1779"/>
                </a:lnTo>
                <a:lnTo>
                  <a:pt x="699" y="1782"/>
                </a:lnTo>
                <a:lnTo>
                  <a:pt x="699" y="1784"/>
                </a:lnTo>
                <a:lnTo>
                  <a:pt x="697" y="1788"/>
                </a:lnTo>
                <a:lnTo>
                  <a:pt x="696" y="1790"/>
                </a:lnTo>
                <a:lnTo>
                  <a:pt x="695" y="1792"/>
                </a:lnTo>
                <a:lnTo>
                  <a:pt x="693" y="1793"/>
                </a:lnTo>
                <a:lnTo>
                  <a:pt x="691" y="1794"/>
                </a:lnTo>
                <a:lnTo>
                  <a:pt x="687" y="1795"/>
                </a:lnTo>
                <a:lnTo>
                  <a:pt x="685" y="1795"/>
                </a:lnTo>
                <a:lnTo>
                  <a:pt x="683" y="1794"/>
                </a:lnTo>
                <a:lnTo>
                  <a:pt x="681" y="1793"/>
                </a:lnTo>
                <a:lnTo>
                  <a:pt x="679" y="1792"/>
                </a:lnTo>
                <a:lnTo>
                  <a:pt x="678" y="1791"/>
                </a:lnTo>
                <a:lnTo>
                  <a:pt x="677" y="1790"/>
                </a:lnTo>
                <a:lnTo>
                  <a:pt x="676" y="1788"/>
                </a:lnTo>
                <a:lnTo>
                  <a:pt x="675" y="1786"/>
                </a:lnTo>
                <a:lnTo>
                  <a:pt x="675" y="1784"/>
                </a:lnTo>
                <a:lnTo>
                  <a:pt x="675" y="1781"/>
                </a:lnTo>
                <a:lnTo>
                  <a:pt x="676" y="1777"/>
                </a:lnTo>
                <a:lnTo>
                  <a:pt x="677" y="1775"/>
                </a:lnTo>
                <a:lnTo>
                  <a:pt x="679" y="1773"/>
                </a:lnTo>
                <a:lnTo>
                  <a:pt x="680" y="1772"/>
                </a:lnTo>
                <a:lnTo>
                  <a:pt x="682" y="1771"/>
                </a:lnTo>
                <a:lnTo>
                  <a:pt x="687" y="1770"/>
                </a:lnTo>
                <a:close/>
                <a:moveTo>
                  <a:pt x="830" y="1760"/>
                </a:moveTo>
                <a:lnTo>
                  <a:pt x="834" y="1761"/>
                </a:lnTo>
                <a:lnTo>
                  <a:pt x="838" y="1763"/>
                </a:lnTo>
                <a:lnTo>
                  <a:pt x="840" y="1765"/>
                </a:lnTo>
                <a:lnTo>
                  <a:pt x="842" y="1769"/>
                </a:lnTo>
                <a:lnTo>
                  <a:pt x="843" y="1772"/>
                </a:lnTo>
                <a:lnTo>
                  <a:pt x="842" y="1774"/>
                </a:lnTo>
                <a:lnTo>
                  <a:pt x="841" y="1778"/>
                </a:lnTo>
                <a:lnTo>
                  <a:pt x="840" y="1780"/>
                </a:lnTo>
                <a:lnTo>
                  <a:pt x="839" y="1781"/>
                </a:lnTo>
                <a:lnTo>
                  <a:pt x="838" y="1782"/>
                </a:lnTo>
                <a:lnTo>
                  <a:pt x="836" y="1783"/>
                </a:lnTo>
                <a:lnTo>
                  <a:pt x="833" y="1784"/>
                </a:lnTo>
                <a:lnTo>
                  <a:pt x="830" y="1784"/>
                </a:lnTo>
                <a:lnTo>
                  <a:pt x="826" y="1784"/>
                </a:lnTo>
                <a:lnTo>
                  <a:pt x="823" y="1782"/>
                </a:lnTo>
                <a:lnTo>
                  <a:pt x="820" y="1779"/>
                </a:lnTo>
                <a:lnTo>
                  <a:pt x="819" y="1775"/>
                </a:lnTo>
                <a:lnTo>
                  <a:pt x="818" y="1773"/>
                </a:lnTo>
                <a:lnTo>
                  <a:pt x="818" y="1771"/>
                </a:lnTo>
                <a:lnTo>
                  <a:pt x="820" y="1766"/>
                </a:lnTo>
                <a:lnTo>
                  <a:pt x="821" y="1764"/>
                </a:lnTo>
                <a:lnTo>
                  <a:pt x="822" y="1763"/>
                </a:lnTo>
                <a:lnTo>
                  <a:pt x="823" y="1763"/>
                </a:lnTo>
                <a:lnTo>
                  <a:pt x="825" y="1761"/>
                </a:lnTo>
                <a:lnTo>
                  <a:pt x="827" y="1761"/>
                </a:lnTo>
                <a:lnTo>
                  <a:pt x="830" y="1760"/>
                </a:lnTo>
                <a:close/>
                <a:moveTo>
                  <a:pt x="549" y="1731"/>
                </a:moveTo>
                <a:lnTo>
                  <a:pt x="551" y="1732"/>
                </a:lnTo>
                <a:lnTo>
                  <a:pt x="554" y="1732"/>
                </a:lnTo>
                <a:lnTo>
                  <a:pt x="556" y="1734"/>
                </a:lnTo>
                <a:lnTo>
                  <a:pt x="558" y="1735"/>
                </a:lnTo>
                <a:lnTo>
                  <a:pt x="559" y="1737"/>
                </a:lnTo>
                <a:lnTo>
                  <a:pt x="560" y="1739"/>
                </a:lnTo>
                <a:lnTo>
                  <a:pt x="561" y="1744"/>
                </a:lnTo>
                <a:lnTo>
                  <a:pt x="561" y="1746"/>
                </a:lnTo>
                <a:lnTo>
                  <a:pt x="560" y="1748"/>
                </a:lnTo>
                <a:lnTo>
                  <a:pt x="558" y="1751"/>
                </a:lnTo>
                <a:lnTo>
                  <a:pt x="557" y="1753"/>
                </a:lnTo>
                <a:lnTo>
                  <a:pt x="555" y="1754"/>
                </a:lnTo>
                <a:lnTo>
                  <a:pt x="552" y="1755"/>
                </a:lnTo>
                <a:lnTo>
                  <a:pt x="549" y="1756"/>
                </a:lnTo>
                <a:lnTo>
                  <a:pt x="546" y="1755"/>
                </a:lnTo>
                <a:lnTo>
                  <a:pt x="544" y="1755"/>
                </a:lnTo>
                <a:lnTo>
                  <a:pt x="542" y="1753"/>
                </a:lnTo>
                <a:lnTo>
                  <a:pt x="540" y="1752"/>
                </a:lnTo>
                <a:lnTo>
                  <a:pt x="539" y="1750"/>
                </a:lnTo>
                <a:lnTo>
                  <a:pt x="537" y="1748"/>
                </a:lnTo>
                <a:lnTo>
                  <a:pt x="537" y="1743"/>
                </a:lnTo>
                <a:lnTo>
                  <a:pt x="537" y="1741"/>
                </a:lnTo>
                <a:lnTo>
                  <a:pt x="538" y="1739"/>
                </a:lnTo>
                <a:lnTo>
                  <a:pt x="540" y="1736"/>
                </a:lnTo>
                <a:lnTo>
                  <a:pt x="541" y="1734"/>
                </a:lnTo>
                <a:lnTo>
                  <a:pt x="542" y="1733"/>
                </a:lnTo>
                <a:lnTo>
                  <a:pt x="545" y="1732"/>
                </a:lnTo>
                <a:lnTo>
                  <a:pt x="549" y="1731"/>
                </a:lnTo>
                <a:close/>
                <a:moveTo>
                  <a:pt x="962" y="1704"/>
                </a:moveTo>
                <a:lnTo>
                  <a:pt x="966" y="1704"/>
                </a:lnTo>
                <a:lnTo>
                  <a:pt x="968" y="1705"/>
                </a:lnTo>
                <a:lnTo>
                  <a:pt x="971" y="1707"/>
                </a:lnTo>
                <a:lnTo>
                  <a:pt x="973" y="1710"/>
                </a:lnTo>
                <a:lnTo>
                  <a:pt x="974" y="1715"/>
                </a:lnTo>
                <a:lnTo>
                  <a:pt x="975" y="1717"/>
                </a:lnTo>
                <a:lnTo>
                  <a:pt x="974" y="1719"/>
                </a:lnTo>
                <a:lnTo>
                  <a:pt x="973" y="1721"/>
                </a:lnTo>
                <a:lnTo>
                  <a:pt x="972" y="1723"/>
                </a:lnTo>
                <a:lnTo>
                  <a:pt x="968" y="1727"/>
                </a:lnTo>
                <a:lnTo>
                  <a:pt x="966" y="1728"/>
                </a:lnTo>
                <a:lnTo>
                  <a:pt x="962" y="1728"/>
                </a:lnTo>
                <a:lnTo>
                  <a:pt x="959" y="1728"/>
                </a:lnTo>
                <a:lnTo>
                  <a:pt x="956" y="1727"/>
                </a:lnTo>
                <a:lnTo>
                  <a:pt x="954" y="1725"/>
                </a:lnTo>
                <a:lnTo>
                  <a:pt x="952" y="1722"/>
                </a:lnTo>
                <a:lnTo>
                  <a:pt x="950" y="1717"/>
                </a:lnTo>
                <a:lnTo>
                  <a:pt x="950" y="1715"/>
                </a:lnTo>
                <a:lnTo>
                  <a:pt x="951" y="1713"/>
                </a:lnTo>
                <a:lnTo>
                  <a:pt x="952" y="1711"/>
                </a:lnTo>
                <a:lnTo>
                  <a:pt x="953" y="1709"/>
                </a:lnTo>
                <a:lnTo>
                  <a:pt x="954" y="1707"/>
                </a:lnTo>
                <a:lnTo>
                  <a:pt x="956" y="1705"/>
                </a:lnTo>
                <a:lnTo>
                  <a:pt x="959" y="1704"/>
                </a:lnTo>
                <a:lnTo>
                  <a:pt x="962" y="1704"/>
                </a:lnTo>
                <a:close/>
                <a:moveTo>
                  <a:pt x="422" y="1662"/>
                </a:moveTo>
                <a:lnTo>
                  <a:pt x="426" y="1662"/>
                </a:lnTo>
                <a:lnTo>
                  <a:pt x="429" y="1664"/>
                </a:lnTo>
                <a:lnTo>
                  <a:pt x="431" y="1665"/>
                </a:lnTo>
                <a:lnTo>
                  <a:pt x="432" y="1667"/>
                </a:lnTo>
                <a:lnTo>
                  <a:pt x="433" y="1669"/>
                </a:lnTo>
                <a:lnTo>
                  <a:pt x="434" y="1671"/>
                </a:lnTo>
                <a:lnTo>
                  <a:pt x="434" y="1674"/>
                </a:lnTo>
                <a:lnTo>
                  <a:pt x="434" y="1676"/>
                </a:lnTo>
                <a:lnTo>
                  <a:pt x="434" y="1678"/>
                </a:lnTo>
                <a:lnTo>
                  <a:pt x="433" y="1680"/>
                </a:lnTo>
                <a:lnTo>
                  <a:pt x="431" y="1683"/>
                </a:lnTo>
                <a:lnTo>
                  <a:pt x="428" y="1685"/>
                </a:lnTo>
                <a:lnTo>
                  <a:pt x="425" y="1687"/>
                </a:lnTo>
                <a:lnTo>
                  <a:pt x="422" y="1687"/>
                </a:lnTo>
                <a:lnTo>
                  <a:pt x="419" y="1687"/>
                </a:lnTo>
                <a:lnTo>
                  <a:pt x="416" y="1684"/>
                </a:lnTo>
                <a:lnTo>
                  <a:pt x="414" y="1683"/>
                </a:lnTo>
                <a:lnTo>
                  <a:pt x="412" y="1681"/>
                </a:lnTo>
                <a:lnTo>
                  <a:pt x="411" y="1679"/>
                </a:lnTo>
                <a:lnTo>
                  <a:pt x="410" y="1677"/>
                </a:lnTo>
                <a:lnTo>
                  <a:pt x="410" y="1674"/>
                </a:lnTo>
                <a:lnTo>
                  <a:pt x="410" y="1672"/>
                </a:lnTo>
                <a:lnTo>
                  <a:pt x="411" y="1670"/>
                </a:lnTo>
                <a:lnTo>
                  <a:pt x="412" y="1667"/>
                </a:lnTo>
                <a:lnTo>
                  <a:pt x="414" y="1665"/>
                </a:lnTo>
                <a:lnTo>
                  <a:pt x="417" y="1663"/>
                </a:lnTo>
                <a:lnTo>
                  <a:pt x="419" y="1662"/>
                </a:lnTo>
                <a:lnTo>
                  <a:pt x="422" y="1662"/>
                </a:lnTo>
                <a:close/>
                <a:moveTo>
                  <a:pt x="1079" y="1619"/>
                </a:moveTo>
                <a:lnTo>
                  <a:pt x="1082" y="1619"/>
                </a:lnTo>
                <a:lnTo>
                  <a:pt x="1084" y="1620"/>
                </a:lnTo>
                <a:lnTo>
                  <a:pt x="1086" y="1621"/>
                </a:lnTo>
                <a:lnTo>
                  <a:pt x="1088" y="1623"/>
                </a:lnTo>
                <a:lnTo>
                  <a:pt x="1090" y="1625"/>
                </a:lnTo>
                <a:lnTo>
                  <a:pt x="1091" y="1627"/>
                </a:lnTo>
                <a:lnTo>
                  <a:pt x="1091" y="1630"/>
                </a:lnTo>
                <a:lnTo>
                  <a:pt x="1091" y="1632"/>
                </a:lnTo>
                <a:lnTo>
                  <a:pt x="1091" y="1634"/>
                </a:lnTo>
                <a:lnTo>
                  <a:pt x="1090" y="1636"/>
                </a:lnTo>
                <a:lnTo>
                  <a:pt x="1089" y="1639"/>
                </a:lnTo>
                <a:lnTo>
                  <a:pt x="1087" y="1640"/>
                </a:lnTo>
                <a:lnTo>
                  <a:pt x="1083" y="1643"/>
                </a:lnTo>
                <a:lnTo>
                  <a:pt x="1079" y="1643"/>
                </a:lnTo>
                <a:lnTo>
                  <a:pt x="1077" y="1643"/>
                </a:lnTo>
                <a:lnTo>
                  <a:pt x="1074" y="1642"/>
                </a:lnTo>
                <a:lnTo>
                  <a:pt x="1072" y="1641"/>
                </a:lnTo>
                <a:lnTo>
                  <a:pt x="1070" y="1639"/>
                </a:lnTo>
                <a:lnTo>
                  <a:pt x="1069" y="1637"/>
                </a:lnTo>
                <a:lnTo>
                  <a:pt x="1068" y="1635"/>
                </a:lnTo>
                <a:lnTo>
                  <a:pt x="1067" y="1633"/>
                </a:lnTo>
                <a:lnTo>
                  <a:pt x="1067" y="1630"/>
                </a:lnTo>
                <a:lnTo>
                  <a:pt x="1067" y="1628"/>
                </a:lnTo>
                <a:lnTo>
                  <a:pt x="1068" y="1626"/>
                </a:lnTo>
                <a:lnTo>
                  <a:pt x="1069" y="1624"/>
                </a:lnTo>
                <a:lnTo>
                  <a:pt x="1071" y="1622"/>
                </a:lnTo>
                <a:lnTo>
                  <a:pt x="1075" y="1620"/>
                </a:lnTo>
                <a:lnTo>
                  <a:pt x="1079" y="1619"/>
                </a:lnTo>
                <a:close/>
                <a:moveTo>
                  <a:pt x="302" y="1582"/>
                </a:moveTo>
                <a:lnTo>
                  <a:pt x="306" y="1583"/>
                </a:lnTo>
                <a:lnTo>
                  <a:pt x="307" y="1583"/>
                </a:lnTo>
                <a:lnTo>
                  <a:pt x="309" y="1584"/>
                </a:lnTo>
                <a:lnTo>
                  <a:pt x="311" y="1586"/>
                </a:lnTo>
                <a:lnTo>
                  <a:pt x="312" y="1588"/>
                </a:lnTo>
                <a:lnTo>
                  <a:pt x="313" y="1590"/>
                </a:lnTo>
                <a:lnTo>
                  <a:pt x="314" y="1592"/>
                </a:lnTo>
                <a:lnTo>
                  <a:pt x="314" y="1597"/>
                </a:lnTo>
                <a:lnTo>
                  <a:pt x="313" y="1599"/>
                </a:lnTo>
                <a:lnTo>
                  <a:pt x="312" y="1601"/>
                </a:lnTo>
                <a:lnTo>
                  <a:pt x="310" y="1604"/>
                </a:lnTo>
                <a:lnTo>
                  <a:pt x="308" y="1605"/>
                </a:lnTo>
                <a:lnTo>
                  <a:pt x="305" y="1606"/>
                </a:lnTo>
                <a:lnTo>
                  <a:pt x="302" y="1607"/>
                </a:lnTo>
                <a:lnTo>
                  <a:pt x="299" y="1606"/>
                </a:lnTo>
                <a:lnTo>
                  <a:pt x="297" y="1606"/>
                </a:lnTo>
                <a:lnTo>
                  <a:pt x="295" y="1605"/>
                </a:lnTo>
                <a:lnTo>
                  <a:pt x="293" y="1603"/>
                </a:lnTo>
                <a:lnTo>
                  <a:pt x="292" y="1601"/>
                </a:lnTo>
                <a:lnTo>
                  <a:pt x="291" y="1599"/>
                </a:lnTo>
                <a:lnTo>
                  <a:pt x="290" y="1597"/>
                </a:lnTo>
                <a:lnTo>
                  <a:pt x="290" y="1592"/>
                </a:lnTo>
                <a:lnTo>
                  <a:pt x="291" y="1590"/>
                </a:lnTo>
                <a:lnTo>
                  <a:pt x="292" y="1588"/>
                </a:lnTo>
                <a:lnTo>
                  <a:pt x="293" y="1586"/>
                </a:lnTo>
                <a:lnTo>
                  <a:pt x="294" y="1585"/>
                </a:lnTo>
                <a:lnTo>
                  <a:pt x="296" y="1584"/>
                </a:lnTo>
                <a:lnTo>
                  <a:pt x="299" y="1583"/>
                </a:lnTo>
                <a:lnTo>
                  <a:pt x="302" y="1582"/>
                </a:lnTo>
                <a:close/>
                <a:moveTo>
                  <a:pt x="1180" y="1517"/>
                </a:moveTo>
                <a:lnTo>
                  <a:pt x="1184" y="1517"/>
                </a:lnTo>
                <a:lnTo>
                  <a:pt x="1186" y="1518"/>
                </a:lnTo>
                <a:lnTo>
                  <a:pt x="1188" y="1520"/>
                </a:lnTo>
                <a:lnTo>
                  <a:pt x="1190" y="1521"/>
                </a:lnTo>
                <a:lnTo>
                  <a:pt x="1191" y="1523"/>
                </a:lnTo>
                <a:lnTo>
                  <a:pt x="1192" y="1526"/>
                </a:lnTo>
                <a:lnTo>
                  <a:pt x="1192" y="1528"/>
                </a:lnTo>
                <a:lnTo>
                  <a:pt x="1192" y="1530"/>
                </a:lnTo>
                <a:lnTo>
                  <a:pt x="1192" y="1533"/>
                </a:lnTo>
                <a:lnTo>
                  <a:pt x="1191" y="1535"/>
                </a:lnTo>
                <a:lnTo>
                  <a:pt x="1190" y="1536"/>
                </a:lnTo>
                <a:lnTo>
                  <a:pt x="1189" y="1537"/>
                </a:lnTo>
                <a:lnTo>
                  <a:pt x="1187" y="1539"/>
                </a:lnTo>
                <a:lnTo>
                  <a:pt x="1185" y="1540"/>
                </a:lnTo>
                <a:lnTo>
                  <a:pt x="1183" y="1541"/>
                </a:lnTo>
                <a:lnTo>
                  <a:pt x="1180" y="1541"/>
                </a:lnTo>
                <a:lnTo>
                  <a:pt x="1176" y="1540"/>
                </a:lnTo>
                <a:lnTo>
                  <a:pt x="1174" y="1539"/>
                </a:lnTo>
                <a:lnTo>
                  <a:pt x="1172" y="1538"/>
                </a:lnTo>
                <a:lnTo>
                  <a:pt x="1171" y="1536"/>
                </a:lnTo>
                <a:lnTo>
                  <a:pt x="1169" y="1534"/>
                </a:lnTo>
                <a:lnTo>
                  <a:pt x="1169" y="1532"/>
                </a:lnTo>
                <a:lnTo>
                  <a:pt x="1168" y="1530"/>
                </a:lnTo>
                <a:lnTo>
                  <a:pt x="1168" y="1527"/>
                </a:lnTo>
                <a:lnTo>
                  <a:pt x="1169" y="1525"/>
                </a:lnTo>
                <a:lnTo>
                  <a:pt x="1170" y="1523"/>
                </a:lnTo>
                <a:lnTo>
                  <a:pt x="1170" y="1522"/>
                </a:lnTo>
                <a:lnTo>
                  <a:pt x="1171" y="1521"/>
                </a:lnTo>
                <a:lnTo>
                  <a:pt x="1173" y="1519"/>
                </a:lnTo>
                <a:lnTo>
                  <a:pt x="1175" y="1518"/>
                </a:lnTo>
                <a:lnTo>
                  <a:pt x="1178" y="1517"/>
                </a:lnTo>
                <a:lnTo>
                  <a:pt x="1180" y="1517"/>
                </a:lnTo>
                <a:close/>
                <a:moveTo>
                  <a:pt x="181" y="1505"/>
                </a:moveTo>
                <a:lnTo>
                  <a:pt x="184" y="1506"/>
                </a:lnTo>
                <a:lnTo>
                  <a:pt x="187" y="1507"/>
                </a:lnTo>
                <a:lnTo>
                  <a:pt x="189" y="1508"/>
                </a:lnTo>
                <a:lnTo>
                  <a:pt x="189" y="1509"/>
                </a:lnTo>
                <a:lnTo>
                  <a:pt x="190" y="1510"/>
                </a:lnTo>
                <a:lnTo>
                  <a:pt x="191" y="1512"/>
                </a:lnTo>
                <a:lnTo>
                  <a:pt x="192" y="1514"/>
                </a:lnTo>
                <a:lnTo>
                  <a:pt x="193" y="1516"/>
                </a:lnTo>
                <a:lnTo>
                  <a:pt x="193" y="1519"/>
                </a:lnTo>
                <a:lnTo>
                  <a:pt x="191" y="1523"/>
                </a:lnTo>
                <a:lnTo>
                  <a:pt x="189" y="1526"/>
                </a:lnTo>
                <a:lnTo>
                  <a:pt x="186" y="1528"/>
                </a:lnTo>
                <a:lnTo>
                  <a:pt x="184" y="1529"/>
                </a:lnTo>
                <a:lnTo>
                  <a:pt x="181" y="1529"/>
                </a:lnTo>
                <a:lnTo>
                  <a:pt x="177" y="1529"/>
                </a:lnTo>
                <a:lnTo>
                  <a:pt x="174" y="1528"/>
                </a:lnTo>
                <a:lnTo>
                  <a:pt x="172" y="1526"/>
                </a:lnTo>
                <a:lnTo>
                  <a:pt x="171" y="1525"/>
                </a:lnTo>
                <a:lnTo>
                  <a:pt x="170" y="1523"/>
                </a:lnTo>
                <a:lnTo>
                  <a:pt x="169" y="1520"/>
                </a:lnTo>
                <a:lnTo>
                  <a:pt x="168" y="1518"/>
                </a:lnTo>
                <a:lnTo>
                  <a:pt x="168" y="1516"/>
                </a:lnTo>
                <a:lnTo>
                  <a:pt x="170" y="1511"/>
                </a:lnTo>
                <a:lnTo>
                  <a:pt x="172" y="1509"/>
                </a:lnTo>
                <a:lnTo>
                  <a:pt x="175" y="1507"/>
                </a:lnTo>
                <a:lnTo>
                  <a:pt x="177" y="1506"/>
                </a:lnTo>
                <a:lnTo>
                  <a:pt x="181" y="1505"/>
                </a:lnTo>
                <a:close/>
                <a:moveTo>
                  <a:pt x="51" y="1443"/>
                </a:moveTo>
                <a:lnTo>
                  <a:pt x="55" y="1444"/>
                </a:lnTo>
                <a:lnTo>
                  <a:pt x="57" y="1445"/>
                </a:lnTo>
                <a:lnTo>
                  <a:pt x="59" y="1447"/>
                </a:lnTo>
                <a:lnTo>
                  <a:pt x="61" y="1448"/>
                </a:lnTo>
                <a:lnTo>
                  <a:pt x="62" y="1450"/>
                </a:lnTo>
                <a:lnTo>
                  <a:pt x="62" y="1453"/>
                </a:lnTo>
                <a:lnTo>
                  <a:pt x="63" y="1455"/>
                </a:lnTo>
                <a:lnTo>
                  <a:pt x="62" y="1460"/>
                </a:lnTo>
                <a:lnTo>
                  <a:pt x="60" y="1463"/>
                </a:lnTo>
                <a:lnTo>
                  <a:pt x="58" y="1466"/>
                </a:lnTo>
                <a:lnTo>
                  <a:pt x="56" y="1467"/>
                </a:lnTo>
                <a:lnTo>
                  <a:pt x="54" y="1467"/>
                </a:lnTo>
                <a:lnTo>
                  <a:pt x="51" y="1468"/>
                </a:lnTo>
                <a:lnTo>
                  <a:pt x="47" y="1467"/>
                </a:lnTo>
                <a:lnTo>
                  <a:pt x="44" y="1466"/>
                </a:lnTo>
                <a:lnTo>
                  <a:pt x="42" y="1465"/>
                </a:lnTo>
                <a:lnTo>
                  <a:pt x="41" y="1463"/>
                </a:lnTo>
                <a:lnTo>
                  <a:pt x="40" y="1461"/>
                </a:lnTo>
                <a:lnTo>
                  <a:pt x="39" y="1459"/>
                </a:lnTo>
                <a:lnTo>
                  <a:pt x="39" y="1456"/>
                </a:lnTo>
                <a:lnTo>
                  <a:pt x="39" y="1451"/>
                </a:lnTo>
                <a:lnTo>
                  <a:pt x="41" y="1448"/>
                </a:lnTo>
                <a:lnTo>
                  <a:pt x="44" y="1446"/>
                </a:lnTo>
                <a:lnTo>
                  <a:pt x="45" y="1445"/>
                </a:lnTo>
                <a:lnTo>
                  <a:pt x="47" y="1444"/>
                </a:lnTo>
                <a:lnTo>
                  <a:pt x="51" y="1443"/>
                </a:lnTo>
                <a:close/>
                <a:moveTo>
                  <a:pt x="1271" y="1404"/>
                </a:moveTo>
                <a:lnTo>
                  <a:pt x="1275" y="1405"/>
                </a:lnTo>
                <a:lnTo>
                  <a:pt x="1276" y="1406"/>
                </a:lnTo>
                <a:lnTo>
                  <a:pt x="1278" y="1407"/>
                </a:lnTo>
                <a:lnTo>
                  <a:pt x="1280" y="1409"/>
                </a:lnTo>
                <a:lnTo>
                  <a:pt x="1281" y="1411"/>
                </a:lnTo>
                <a:lnTo>
                  <a:pt x="1282" y="1413"/>
                </a:lnTo>
                <a:lnTo>
                  <a:pt x="1283" y="1415"/>
                </a:lnTo>
                <a:lnTo>
                  <a:pt x="1283" y="1417"/>
                </a:lnTo>
                <a:lnTo>
                  <a:pt x="1282" y="1420"/>
                </a:lnTo>
                <a:lnTo>
                  <a:pt x="1282" y="1422"/>
                </a:lnTo>
                <a:lnTo>
                  <a:pt x="1280" y="1424"/>
                </a:lnTo>
                <a:lnTo>
                  <a:pt x="1278" y="1426"/>
                </a:lnTo>
                <a:lnTo>
                  <a:pt x="1276" y="1428"/>
                </a:lnTo>
                <a:lnTo>
                  <a:pt x="1273" y="1428"/>
                </a:lnTo>
                <a:lnTo>
                  <a:pt x="1271" y="1429"/>
                </a:lnTo>
                <a:lnTo>
                  <a:pt x="1267" y="1428"/>
                </a:lnTo>
                <a:lnTo>
                  <a:pt x="1265" y="1427"/>
                </a:lnTo>
                <a:lnTo>
                  <a:pt x="1263" y="1426"/>
                </a:lnTo>
                <a:lnTo>
                  <a:pt x="1262" y="1425"/>
                </a:lnTo>
                <a:lnTo>
                  <a:pt x="1260" y="1423"/>
                </a:lnTo>
                <a:lnTo>
                  <a:pt x="1259" y="1420"/>
                </a:lnTo>
                <a:lnTo>
                  <a:pt x="1259" y="1418"/>
                </a:lnTo>
                <a:lnTo>
                  <a:pt x="1259" y="1416"/>
                </a:lnTo>
                <a:lnTo>
                  <a:pt x="1259" y="1414"/>
                </a:lnTo>
                <a:lnTo>
                  <a:pt x="1260" y="1411"/>
                </a:lnTo>
                <a:lnTo>
                  <a:pt x="1261" y="1409"/>
                </a:lnTo>
                <a:lnTo>
                  <a:pt x="1263" y="1407"/>
                </a:lnTo>
                <a:lnTo>
                  <a:pt x="1265" y="1406"/>
                </a:lnTo>
                <a:lnTo>
                  <a:pt x="1268" y="1405"/>
                </a:lnTo>
                <a:lnTo>
                  <a:pt x="1271" y="1404"/>
                </a:lnTo>
                <a:close/>
                <a:moveTo>
                  <a:pt x="1361" y="1292"/>
                </a:moveTo>
                <a:lnTo>
                  <a:pt x="1365" y="1293"/>
                </a:lnTo>
                <a:lnTo>
                  <a:pt x="1367" y="1294"/>
                </a:lnTo>
                <a:lnTo>
                  <a:pt x="1369" y="1295"/>
                </a:lnTo>
                <a:lnTo>
                  <a:pt x="1370" y="1297"/>
                </a:lnTo>
                <a:lnTo>
                  <a:pt x="1372" y="1299"/>
                </a:lnTo>
                <a:lnTo>
                  <a:pt x="1372" y="1301"/>
                </a:lnTo>
                <a:lnTo>
                  <a:pt x="1373" y="1303"/>
                </a:lnTo>
                <a:lnTo>
                  <a:pt x="1373" y="1306"/>
                </a:lnTo>
                <a:lnTo>
                  <a:pt x="1372" y="1308"/>
                </a:lnTo>
                <a:lnTo>
                  <a:pt x="1371" y="1310"/>
                </a:lnTo>
                <a:lnTo>
                  <a:pt x="1370" y="1312"/>
                </a:lnTo>
                <a:lnTo>
                  <a:pt x="1368" y="1314"/>
                </a:lnTo>
                <a:lnTo>
                  <a:pt x="1366" y="1315"/>
                </a:lnTo>
                <a:lnTo>
                  <a:pt x="1363" y="1316"/>
                </a:lnTo>
                <a:lnTo>
                  <a:pt x="1361" y="1316"/>
                </a:lnTo>
                <a:lnTo>
                  <a:pt x="1356" y="1316"/>
                </a:lnTo>
                <a:lnTo>
                  <a:pt x="1354" y="1315"/>
                </a:lnTo>
                <a:lnTo>
                  <a:pt x="1353" y="1313"/>
                </a:lnTo>
                <a:lnTo>
                  <a:pt x="1351" y="1311"/>
                </a:lnTo>
                <a:lnTo>
                  <a:pt x="1350" y="1309"/>
                </a:lnTo>
                <a:lnTo>
                  <a:pt x="1349" y="1307"/>
                </a:lnTo>
                <a:lnTo>
                  <a:pt x="1349" y="1305"/>
                </a:lnTo>
                <a:lnTo>
                  <a:pt x="1349" y="1303"/>
                </a:lnTo>
                <a:lnTo>
                  <a:pt x="1349" y="1300"/>
                </a:lnTo>
                <a:lnTo>
                  <a:pt x="1350" y="1298"/>
                </a:lnTo>
                <a:lnTo>
                  <a:pt x="1352" y="1296"/>
                </a:lnTo>
                <a:lnTo>
                  <a:pt x="1354" y="1294"/>
                </a:lnTo>
                <a:lnTo>
                  <a:pt x="1356" y="1293"/>
                </a:lnTo>
                <a:lnTo>
                  <a:pt x="1358" y="1292"/>
                </a:lnTo>
                <a:lnTo>
                  <a:pt x="1361" y="1292"/>
                </a:lnTo>
                <a:close/>
                <a:moveTo>
                  <a:pt x="1748" y="1267"/>
                </a:moveTo>
                <a:lnTo>
                  <a:pt x="1752" y="1268"/>
                </a:lnTo>
                <a:lnTo>
                  <a:pt x="1756" y="1270"/>
                </a:lnTo>
                <a:lnTo>
                  <a:pt x="1758" y="1274"/>
                </a:lnTo>
                <a:lnTo>
                  <a:pt x="1759" y="1275"/>
                </a:lnTo>
                <a:lnTo>
                  <a:pt x="1760" y="1278"/>
                </a:lnTo>
                <a:lnTo>
                  <a:pt x="1760" y="1280"/>
                </a:lnTo>
                <a:lnTo>
                  <a:pt x="1760" y="1282"/>
                </a:lnTo>
                <a:lnTo>
                  <a:pt x="1759" y="1285"/>
                </a:lnTo>
                <a:lnTo>
                  <a:pt x="1758" y="1287"/>
                </a:lnTo>
                <a:lnTo>
                  <a:pt x="1756" y="1288"/>
                </a:lnTo>
                <a:lnTo>
                  <a:pt x="1754" y="1290"/>
                </a:lnTo>
                <a:lnTo>
                  <a:pt x="1752" y="1291"/>
                </a:lnTo>
                <a:lnTo>
                  <a:pt x="1750" y="1292"/>
                </a:lnTo>
                <a:lnTo>
                  <a:pt x="1748" y="1292"/>
                </a:lnTo>
                <a:lnTo>
                  <a:pt x="1744" y="1291"/>
                </a:lnTo>
                <a:lnTo>
                  <a:pt x="1740" y="1289"/>
                </a:lnTo>
                <a:lnTo>
                  <a:pt x="1737" y="1286"/>
                </a:lnTo>
                <a:lnTo>
                  <a:pt x="1736" y="1284"/>
                </a:lnTo>
                <a:lnTo>
                  <a:pt x="1736" y="1281"/>
                </a:lnTo>
                <a:lnTo>
                  <a:pt x="1736" y="1279"/>
                </a:lnTo>
                <a:lnTo>
                  <a:pt x="1736" y="1277"/>
                </a:lnTo>
                <a:lnTo>
                  <a:pt x="1737" y="1274"/>
                </a:lnTo>
                <a:lnTo>
                  <a:pt x="1738" y="1272"/>
                </a:lnTo>
                <a:lnTo>
                  <a:pt x="1740" y="1271"/>
                </a:lnTo>
                <a:lnTo>
                  <a:pt x="1741" y="1269"/>
                </a:lnTo>
                <a:lnTo>
                  <a:pt x="1744" y="1268"/>
                </a:lnTo>
                <a:lnTo>
                  <a:pt x="1746" y="1267"/>
                </a:lnTo>
                <a:lnTo>
                  <a:pt x="1748" y="1267"/>
                </a:lnTo>
                <a:close/>
                <a:moveTo>
                  <a:pt x="1609" y="1244"/>
                </a:moveTo>
                <a:lnTo>
                  <a:pt x="1612" y="1245"/>
                </a:lnTo>
                <a:lnTo>
                  <a:pt x="1615" y="1246"/>
                </a:lnTo>
                <a:lnTo>
                  <a:pt x="1617" y="1248"/>
                </a:lnTo>
                <a:lnTo>
                  <a:pt x="1619" y="1249"/>
                </a:lnTo>
                <a:lnTo>
                  <a:pt x="1620" y="1251"/>
                </a:lnTo>
                <a:lnTo>
                  <a:pt x="1621" y="1254"/>
                </a:lnTo>
                <a:lnTo>
                  <a:pt x="1621" y="1256"/>
                </a:lnTo>
                <a:lnTo>
                  <a:pt x="1621" y="1258"/>
                </a:lnTo>
                <a:lnTo>
                  <a:pt x="1620" y="1261"/>
                </a:lnTo>
                <a:lnTo>
                  <a:pt x="1619" y="1263"/>
                </a:lnTo>
                <a:lnTo>
                  <a:pt x="1617" y="1265"/>
                </a:lnTo>
                <a:lnTo>
                  <a:pt x="1615" y="1267"/>
                </a:lnTo>
                <a:lnTo>
                  <a:pt x="1612" y="1268"/>
                </a:lnTo>
                <a:lnTo>
                  <a:pt x="1609" y="1269"/>
                </a:lnTo>
                <a:lnTo>
                  <a:pt x="1606" y="1268"/>
                </a:lnTo>
                <a:lnTo>
                  <a:pt x="1602" y="1267"/>
                </a:lnTo>
                <a:lnTo>
                  <a:pt x="1600" y="1265"/>
                </a:lnTo>
                <a:lnTo>
                  <a:pt x="1599" y="1264"/>
                </a:lnTo>
                <a:lnTo>
                  <a:pt x="1598" y="1262"/>
                </a:lnTo>
                <a:lnTo>
                  <a:pt x="1597" y="1259"/>
                </a:lnTo>
                <a:lnTo>
                  <a:pt x="1597" y="1257"/>
                </a:lnTo>
                <a:lnTo>
                  <a:pt x="1597" y="1255"/>
                </a:lnTo>
                <a:lnTo>
                  <a:pt x="1597" y="1252"/>
                </a:lnTo>
                <a:lnTo>
                  <a:pt x="1598" y="1250"/>
                </a:lnTo>
                <a:lnTo>
                  <a:pt x="1600" y="1248"/>
                </a:lnTo>
                <a:lnTo>
                  <a:pt x="1603" y="1246"/>
                </a:lnTo>
                <a:lnTo>
                  <a:pt x="1606" y="1245"/>
                </a:lnTo>
                <a:lnTo>
                  <a:pt x="1609" y="1244"/>
                </a:lnTo>
                <a:close/>
                <a:moveTo>
                  <a:pt x="1883" y="1220"/>
                </a:moveTo>
                <a:lnTo>
                  <a:pt x="1886" y="1220"/>
                </a:lnTo>
                <a:lnTo>
                  <a:pt x="1889" y="1222"/>
                </a:lnTo>
                <a:lnTo>
                  <a:pt x="1892" y="1224"/>
                </a:lnTo>
                <a:lnTo>
                  <a:pt x="1894" y="1226"/>
                </a:lnTo>
                <a:lnTo>
                  <a:pt x="1895" y="1229"/>
                </a:lnTo>
                <a:lnTo>
                  <a:pt x="1895" y="1231"/>
                </a:lnTo>
                <a:lnTo>
                  <a:pt x="1895" y="1233"/>
                </a:lnTo>
                <a:lnTo>
                  <a:pt x="1895" y="1236"/>
                </a:lnTo>
                <a:lnTo>
                  <a:pt x="1894" y="1238"/>
                </a:lnTo>
                <a:lnTo>
                  <a:pt x="1892" y="1240"/>
                </a:lnTo>
                <a:lnTo>
                  <a:pt x="1891" y="1241"/>
                </a:lnTo>
                <a:lnTo>
                  <a:pt x="1889" y="1243"/>
                </a:lnTo>
                <a:lnTo>
                  <a:pt x="1886" y="1244"/>
                </a:lnTo>
                <a:lnTo>
                  <a:pt x="1883" y="1244"/>
                </a:lnTo>
                <a:lnTo>
                  <a:pt x="1880" y="1244"/>
                </a:lnTo>
                <a:lnTo>
                  <a:pt x="1877" y="1242"/>
                </a:lnTo>
                <a:lnTo>
                  <a:pt x="1874" y="1240"/>
                </a:lnTo>
                <a:lnTo>
                  <a:pt x="1872" y="1238"/>
                </a:lnTo>
                <a:lnTo>
                  <a:pt x="1871" y="1235"/>
                </a:lnTo>
                <a:lnTo>
                  <a:pt x="1871" y="1233"/>
                </a:lnTo>
                <a:lnTo>
                  <a:pt x="1871" y="1231"/>
                </a:lnTo>
                <a:lnTo>
                  <a:pt x="1871" y="1228"/>
                </a:lnTo>
                <a:lnTo>
                  <a:pt x="1872" y="1226"/>
                </a:lnTo>
                <a:lnTo>
                  <a:pt x="1874" y="1224"/>
                </a:lnTo>
                <a:lnTo>
                  <a:pt x="1875" y="1223"/>
                </a:lnTo>
                <a:lnTo>
                  <a:pt x="1877" y="1221"/>
                </a:lnTo>
                <a:lnTo>
                  <a:pt x="1880" y="1220"/>
                </a:lnTo>
                <a:lnTo>
                  <a:pt x="1883" y="1220"/>
                </a:lnTo>
                <a:close/>
                <a:moveTo>
                  <a:pt x="1475" y="1208"/>
                </a:moveTo>
                <a:lnTo>
                  <a:pt x="1479" y="1209"/>
                </a:lnTo>
                <a:lnTo>
                  <a:pt x="1482" y="1210"/>
                </a:lnTo>
                <a:lnTo>
                  <a:pt x="1485" y="1213"/>
                </a:lnTo>
                <a:lnTo>
                  <a:pt x="1487" y="1217"/>
                </a:lnTo>
                <a:lnTo>
                  <a:pt x="1487" y="1219"/>
                </a:lnTo>
                <a:lnTo>
                  <a:pt x="1487" y="1222"/>
                </a:lnTo>
                <a:lnTo>
                  <a:pt x="1485" y="1226"/>
                </a:lnTo>
                <a:lnTo>
                  <a:pt x="1484" y="1228"/>
                </a:lnTo>
                <a:lnTo>
                  <a:pt x="1483" y="1229"/>
                </a:lnTo>
                <a:lnTo>
                  <a:pt x="1482" y="1230"/>
                </a:lnTo>
                <a:lnTo>
                  <a:pt x="1480" y="1231"/>
                </a:lnTo>
                <a:lnTo>
                  <a:pt x="1478" y="1232"/>
                </a:lnTo>
                <a:lnTo>
                  <a:pt x="1475" y="1232"/>
                </a:lnTo>
                <a:lnTo>
                  <a:pt x="1471" y="1232"/>
                </a:lnTo>
                <a:lnTo>
                  <a:pt x="1468" y="1230"/>
                </a:lnTo>
                <a:lnTo>
                  <a:pt x="1465" y="1227"/>
                </a:lnTo>
                <a:lnTo>
                  <a:pt x="1463" y="1223"/>
                </a:lnTo>
                <a:lnTo>
                  <a:pt x="1463" y="1221"/>
                </a:lnTo>
                <a:lnTo>
                  <a:pt x="1463" y="1218"/>
                </a:lnTo>
                <a:lnTo>
                  <a:pt x="1464" y="1214"/>
                </a:lnTo>
                <a:lnTo>
                  <a:pt x="1466" y="1212"/>
                </a:lnTo>
                <a:lnTo>
                  <a:pt x="1467" y="1211"/>
                </a:lnTo>
                <a:lnTo>
                  <a:pt x="1469" y="1209"/>
                </a:lnTo>
                <a:lnTo>
                  <a:pt x="1472" y="1208"/>
                </a:lnTo>
                <a:lnTo>
                  <a:pt x="1475" y="1208"/>
                </a:lnTo>
                <a:close/>
                <a:moveTo>
                  <a:pt x="2004" y="1143"/>
                </a:moveTo>
                <a:lnTo>
                  <a:pt x="2007" y="1143"/>
                </a:lnTo>
                <a:lnTo>
                  <a:pt x="2010" y="1144"/>
                </a:lnTo>
                <a:lnTo>
                  <a:pt x="2012" y="1145"/>
                </a:lnTo>
                <a:lnTo>
                  <a:pt x="2014" y="1147"/>
                </a:lnTo>
                <a:lnTo>
                  <a:pt x="2015" y="1150"/>
                </a:lnTo>
                <a:lnTo>
                  <a:pt x="2016" y="1152"/>
                </a:lnTo>
                <a:lnTo>
                  <a:pt x="2017" y="1154"/>
                </a:lnTo>
                <a:lnTo>
                  <a:pt x="2016" y="1156"/>
                </a:lnTo>
                <a:lnTo>
                  <a:pt x="2015" y="1161"/>
                </a:lnTo>
                <a:lnTo>
                  <a:pt x="2014" y="1163"/>
                </a:lnTo>
                <a:lnTo>
                  <a:pt x="2012" y="1164"/>
                </a:lnTo>
                <a:lnTo>
                  <a:pt x="2010" y="1165"/>
                </a:lnTo>
                <a:lnTo>
                  <a:pt x="2008" y="1166"/>
                </a:lnTo>
                <a:lnTo>
                  <a:pt x="2006" y="1167"/>
                </a:lnTo>
                <a:lnTo>
                  <a:pt x="2004" y="1167"/>
                </a:lnTo>
                <a:lnTo>
                  <a:pt x="2002" y="1167"/>
                </a:lnTo>
                <a:lnTo>
                  <a:pt x="1999" y="1166"/>
                </a:lnTo>
                <a:lnTo>
                  <a:pt x="1997" y="1164"/>
                </a:lnTo>
                <a:lnTo>
                  <a:pt x="1995" y="1162"/>
                </a:lnTo>
                <a:lnTo>
                  <a:pt x="1993" y="1160"/>
                </a:lnTo>
                <a:lnTo>
                  <a:pt x="1993" y="1158"/>
                </a:lnTo>
                <a:lnTo>
                  <a:pt x="1992" y="1155"/>
                </a:lnTo>
                <a:lnTo>
                  <a:pt x="1992" y="1153"/>
                </a:lnTo>
                <a:lnTo>
                  <a:pt x="1994" y="1149"/>
                </a:lnTo>
                <a:lnTo>
                  <a:pt x="1995" y="1147"/>
                </a:lnTo>
                <a:lnTo>
                  <a:pt x="1997" y="1145"/>
                </a:lnTo>
                <a:lnTo>
                  <a:pt x="1999" y="1144"/>
                </a:lnTo>
                <a:lnTo>
                  <a:pt x="2001" y="1143"/>
                </a:lnTo>
                <a:lnTo>
                  <a:pt x="2003" y="1143"/>
                </a:lnTo>
                <a:lnTo>
                  <a:pt x="2004" y="1143"/>
                </a:lnTo>
                <a:close/>
                <a:moveTo>
                  <a:pt x="2115" y="1050"/>
                </a:moveTo>
                <a:lnTo>
                  <a:pt x="2117" y="1050"/>
                </a:lnTo>
                <a:lnTo>
                  <a:pt x="2120" y="1051"/>
                </a:lnTo>
                <a:lnTo>
                  <a:pt x="2122" y="1052"/>
                </a:lnTo>
                <a:lnTo>
                  <a:pt x="2124" y="1054"/>
                </a:lnTo>
                <a:lnTo>
                  <a:pt x="2125" y="1056"/>
                </a:lnTo>
                <a:lnTo>
                  <a:pt x="2126" y="1058"/>
                </a:lnTo>
                <a:lnTo>
                  <a:pt x="2127" y="1062"/>
                </a:lnTo>
                <a:lnTo>
                  <a:pt x="2127" y="1065"/>
                </a:lnTo>
                <a:lnTo>
                  <a:pt x="2126" y="1067"/>
                </a:lnTo>
                <a:lnTo>
                  <a:pt x="2125" y="1069"/>
                </a:lnTo>
                <a:lnTo>
                  <a:pt x="2123" y="1071"/>
                </a:lnTo>
                <a:lnTo>
                  <a:pt x="2121" y="1072"/>
                </a:lnTo>
                <a:lnTo>
                  <a:pt x="2119" y="1073"/>
                </a:lnTo>
                <a:lnTo>
                  <a:pt x="2115" y="1074"/>
                </a:lnTo>
                <a:lnTo>
                  <a:pt x="2112" y="1074"/>
                </a:lnTo>
                <a:lnTo>
                  <a:pt x="2110" y="1073"/>
                </a:lnTo>
                <a:lnTo>
                  <a:pt x="2108" y="1072"/>
                </a:lnTo>
                <a:lnTo>
                  <a:pt x="2106" y="1070"/>
                </a:lnTo>
                <a:lnTo>
                  <a:pt x="2104" y="1068"/>
                </a:lnTo>
                <a:lnTo>
                  <a:pt x="2103" y="1066"/>
                </a:lnTo>
                <a:lnTo>
                  <a:pt x="2103" y="1062"/>
                </a:lnTo>
                <a:lnTo>
                  <a:pt x="2103" y="1059"/>
                </a:lnTo>
                <a:lnTo>
                  <a:pt x="2104" y="1057"/>
                </a:lnTo>
                <a:lnTo>
                  <a:pt x="2105" y="1055"/>
                </a:lnTo>
                <a:lnTo>
                  <a:pt x="2107" y="1053"/>
                </a:lnTo>
                <a:lnTo>
                  <a:pt x="2108" y="1052"/>
                </a:lnTo>
                <a:lnTo>
                  <a:pt x="2110" y="1051"/>
                </a:lnTo>
                <a:lnTo>
                  <a:pt x="2115" y="1050"/>
                </a:lnTo>
                <a:close/>
                <a:moveTo>
                  <a:pt x="2216" y="947"/>
                </a:moveTo>
                <a:lnTo>
                  <a:pt x="2220" y="948"/>
                </a:lnTo>
                <a:lnTo>
                  <a:pt x="2222" y="949"/>
                </a:lnTo>
                <a:lnTo>
                  <a:pt x="2224" y="950"/>
                </a:lnTo>
                <a:lnTo>
                  <a:pt x="2226" y="952"/>
                </a:lnTo>
                <a:lnTo>
                  <a:pt x="2227" y="954"/>
                </a:lnTo>
                <a:lnTo>
                  <a:pt x="2228" y="956"/>
                </a:lnTo>
                <a:lnTo>
                  <a:pt x="2228" y="959"/>
                </a:lnTo>
                <a:lnTo>
                  <a:pt x="2227" y="963"/>
                </a:lnTo>
                <a:lnTo>
                  <a:pt x="2226" y="966"/>
                </a:lnTo>
                <a:lnTo>
                  <a:pt x="2225" y="968"/>
                </a:lnTo>
                <a:lnTo>
                  <a:pt x="2223" y="969"/>
                </a:lnTo>
                <a:lnTo>
                  <a:pt x="2221" y="971"/>
                </a:lnTo>
                <a:lnTo>
                  <a:pt x="2218" y="971"/>
                </a:lnTo>
                <a:lnTo>
                  <a:pt x="2216" y="972"/>
                </a:lnTo>
                <a:lnTo>
                  <a:pt x="2212" y="971"/>
                </a:lnTo>
                <a:lnTo>
                  <a:pt x="2210" y="970"/>
                </a:lnTo>
                <a:lnTo>
                  <a:pt x="2208" y="968"/>
                </a:lnTo>
                <a:lnTo>
                  <a:pt x="2206" y="967"/>
                </a:lnTo>
                <a:lnTo>
                  <a:pt x="2205" y="965"/>
                </a:lnTo>
                <a:lnTo>
                  <a:pt x="2204" y="962"/>
                </a:lnTo>
                <a:lnTo>
                  <a:pt x="2204" y="960"/>
                </a:lnTo>
                <a:lnTo>
                  <a:pt x="2204" y="955"/>
                </a:lnTo>
                <a:lnTo>
                  <a:pt x="2205" y="953"/>
                </a:lnTo>
                <a:lnTo>
                  <a:pt x="2207" y="951"/>
                </a:lnTo>
                <a:lnTo>
                  <a:pt x="2209" y="949"/>
                </a:lnTo>
                <a:lnTo>
                  <a:pt x="2211" y="948"/>
                </a:lnTo>
                <a:lnTo>
                  <a:pt x="2213" y="947"/>
                </a:lnTo>
                <a:lnTo>
                  <a:pt x="2216" y="947"/>
                </a:lnTo>
                <a:close/>
                <a:moveTo>
                  <a:pt x="2308" y="837"/>
                </a:moveTo>
                <a:lnTo>
                  <a:pt x="2312" y="837"/>
                </a:lnTo>
                <a:lnTo>
                  <a:pt x="2314" y="838"/>
                </a:lnTo>
                <a:lnTo>
                  <a:pt x="2316" y="839"/>
                </a:lnTo>
                <a:lnTo>
                  <a:pt x="2317" y="841"/>
                </a:lnTo>
                <a:lnTo>
                  <a:pt x="2319" y="843"/>
                </a:lnTo>
                <a:lnTo>
                  <a:pt x="2320" y="845"/>
                </a:lnTo>
                <a:lnTo>
                  <a:pt x="2320" y="847"/>
                </a:lnTo>
                <a:lnTo>
                  <a:pt x="2320" y="849"/>
                </a:lnTo>
                <a:lnTo>
                  <a:pt x="2320" y="852"/>
                </a:lnTo>
                <a:lnTo>
                  <a:pt x="2319" y="854"/>
                </a:lnTo>
                <a:lnTo>
                  <a:pt x="2318" y="856"/>
                </a:lnTo>
                <a:lnTo>
                  <a:pt x="2316" y="858"/>
                </a:lnTo>
                <a:lnTo>
                  <a:pt x="2314" y="860"/>
                </a:lnTo>
                <a:lnTo>
                  <a:pt x="2311" y="861"/>
                </a:lnTo>
                <a:lnTo>
                  <a:pt x="2308" y="861"/>
                </a:lnTo>
                <a:lnTo>
                  <a:pt x="2304" y="860"/>
                </a:lnTo>
                <a:lnTo>
                  <a:pt x="2303" y="859"/>
                </a:lnTo>
                <a:lnTo>
                  <a:pt x="2301" y="858"/>
                </a:lnTo>
                <a:lnTo>
                  <a:pt x="2299" y="857"/>
                </a:lnTo>
                <a:lnTo>
                  <a:pt x="2298" y="855"/>
                </a:lnTo>
                <a:lnTo>
                  <a:pt x="2297" y="853"/>
                </a:lnTo>
                <a:lnTo>
                  <a:pt x="2296" y="850"/>
                </a:lnTo>
                <a:lnTo>
                  <a:pt x="2296" y="848"/>
                </a:lnTo>
                <a:lnTo>
                  <a:pt x="2297" y="846"/>
                </a:lnTo>
                <a:lnTo>
                  <a:pt x="2297" y="843"/>
                </a:lnTo>
                <a:lnTo>
                  <a:pt x="2299" y="841"/>
                </a:lnTo>
                <a:lnTo>
                  <a:pt x="2301" y="839"/>
                </a:lnTo>
                <a:lnTo>
                  <a:pt x="2303" y="838"/>
                </a:lnTo>
                <a:lnTo>
                  <a:pt x="2306" y="837"/>
                </a:lnTo>
                <a:lnTo>
                  <a:pt x="2308" y="837"/>
                </a:lnTo>
                <a:close/>
                <a:moveTo>
                  <a:pt x="2391" y="718"/>
                </a:moveTo>
                <a:lnTo>
                  <a:pt x="2394" y="719"/>
                </a:lnTo>
                <a:lnTo>
                  <a:pt x="2397" y="720"/>
                </a:lnTo>
                <a:lnTo>
                  <a:pt x="2399" y="722"/>
                </a:lnTo>
                <a:lnTo>
                  <a:pt x="2401" y="723"/>
                </a:lnTo>
                <a:lnTo>
                  <a:pt x="2402" y="725"/>
                </a:lnTo>
                <a:lnTo>
                  <a:pt x="2402" y="728"/>
                </a:lnTo>
                <a:lnTo>
                  <a:pt x="2403" y="730"/>
                </a:lnTo>
                <a:lnTo>
                  <a:pt x="2403" y="732"/>
                </a:lnTo>
                <a:lnTo>
                  <a:pt x="2402" y="735"/>
                </a:lnTo>
                <a:lnTo>
                  <a:pt x="2401" y="737"/>
                </a:lnTo>
                <a:lnTo>
                  <a:pt x="2399" y="739"/>
                </a:lnTo>
                <a:lnTo>
                  <a:pt x="2396" y="741"/>
                </a:lnTo>
                <a:lnTo>
                  <a:pt x="2394" y="742"/>
                </a:lnTo>
                <a:lnTo>
                  <a:pt x="2391" y="743"/>
                </a:lnTo>
                <a:lnTo>
                  <a:pt x="2387" y="742"/>
                </a:lnTo>
                <a:lnTo>
                  <a:pt x="2384" y="741"/>
                </a:lnTo>
                <a:lnTo>
                  <a:pt x="2382" y="739"/>
                </a:lnTo>
                <a:lnTo>
                  <a:pt x="2381" y="737"/>
                </a:lnTo>
                <a:lnTo>
                  <a:pt x="2379" y="735"/>
                </a:lnTo>
                <a:lnTo>
                  <a:pt x="2379" y="733"/>
                </a:lnTo>
                <a:lnTo>
                  <a:pt x="2378" y="731"/>
                </a:lnTo>
                <a:lnTo>
                  <a:pt x="2379" y="729"/>
                </a:lnTo>
                <a:lnTo>
                  <a:pt x="2379" y="726"/>
                </a:lnTo>
                <a:lnTo>
                  <a:pt x="2380" y="724"/>
                </a:lnTo>
                <a:lnTo>
                  <a:pt x="2382" y="722"/>
                </a:lnTo>
                <a:lnTo>
                  <a:pt x="2385" y="720"/>
                </a:lnTo>
                <a:lnTo>
                  <a:pt x="2388" y="719"/>
                </a:lnTo>
                <a:lnTo>
                  <a:pt x="2391" y="718"/>
                </a:lnTo>
                <a:close/>
                <a:moveTo>
                  <a:pt x="2459" y="591"/>
                </a:moveTo>
                <a:lnTo>
                  <a:pt x="2461" y="591"/>
                </a:lnTo>
                <a:lnTo>
                  <a:pt x="2464" y="592"/>
                </a:lnTo>
                <a:lnTo>
                  <a:pt x="2466" y="593"/>
                </a:lnTo>
                <a:lnTo>
                  <a:pt x="2468" y="595"/>
                </a:lnTo>
                <a:lnTo>
                  <a:pt x="2469" y="597"/>
                </a:lnTo>
                <a:lnTo>
                  <a:pt x="2470" y="599"/>
                </a:lnTo>
                <a:lnTo>
                  <a:pt x="2471" y="601"/>
                </a:lnTo>
                <a:lnTo>
                  <a:pt x="2471" y="603"/>
                </a:lnTo>
                <a:lnTo>
                  <a:pt x="2471" y="606"/>
                </a:lnTo>
                <a:lnTo>
                  <a:pt x="2470" y="608"/>
                </a:lnTo>
                <a:lnTo>
                  <a:pt x="2468" y="611"/>
                </a:lnTo>
                <a:lnTo>
                  <a:pt x="2467" y="612"/>
                </a:lnTo>
                <a:lnTo>
                  <a:pt x="2466" y="613"/>
                </a:lnTo>
                <a:lnTo>
                  <a:pt x="2464" y="614"/>
                </a:lnTo>
                <a:lnTo>
                  <a:pt x="2463" y="615"/>
                </a:lnTo>
                <a:lnTo>
                  <a:pt x="2459" y="615"/>
                </a:lnTo>
                <a:lnTo>
                  <a:pt x="2457" y="615"/>
                </a:lnTo>
                <a:lnTo>
                  <a:pt x="2454" y="614"/>
                </a:lnTo>
                <a:lnTo>
                  <a:pt x="2452" y="613"/>
                </a:lnTo>
                <a:lnTo>
                  <a:pt x="2450" y="612"/>
                </a:lnTo>
                <a:lnTo>
                  <a:pt x="2449" y="610"/>
                </a:lnTo>
                <a:lnTo>
                  <a:pt x="2448" y="608"/>
                </a:lnTo>
                <a:lnTo>
                  <a:pt x="2447" y="606"/>
                </a:lnTo>
                <a:lnTo>
                  <a:pt x="2447" y="603"/>
                </a:lnTo>
                <a:lnTo>
                  <a:pt x="2447" y="601"/>
                </a:lnTo>
                <a:lnTo>
                  <a:pt x="2448" y="598"/>
                </a:lnTo>
                <a:lnTo>
                  <a:pt x="2450" y="595"/>
                </a:lnTo>
                <a:lnTo>
                  <a:pt x="2451" y="594"/>
                </a:lnTo>
                <a:lnTo>
                  <a:pt x="2452" y="593"/>
                </a:lnTo>
                <a:lnTo>
                  <a:pt x="2454" y="592"/>
                </a:lnTo>
                <a:lnTo>
                  <a:pt x="2456" y="592"/>
                </a:lnTo>
                <a:lnTo>
                  <a:pt x="2459" y="591"/>
                </a:lnTo>
                <a:close/>
                <a:moveTo>
                  <a:pt x="2510" y="455"/>
                </a:moveTo>
                <a:lnTo>
                  <a:pt x="2515" y="456"/>
                </a:lnTo>
                <a:lnTo>
                  <a:pt x="2517" y="457"/>
                </a:lnTo>
                <a:lnTo>
                  <a:pt x="2519" y="459"/>
                </a:lnTo>
                <a:lnTo>
                  <a:pt x="2520" y="460"/>
                </a:lnTo>
                <a:lnTo>
                  <a:pt x="2521" y="462"/>
                </a:lnTo>
                <a:lnTo>
                  <a:pt x="2522" y="465"/>
                </a:lnTo>
                <a:lnTo>
                  <a:pt x="2522" y="467"/>
                </a:lnTo>
                <a:lnTo>
                  <a:pt x="2522" y="472"/>
                </a:lnTo>
                <a:lnTo>
                  <a:pt x="2520" y="475"/>
                </a:lnTo>
                <a:lnTo>
                  <a:pt x="2517" y="477"/>
                </a:lnTo>
                <a:lnTo>
                  <a:pt x="2515" y="478"/>
                </a:lnTo>
                <a:lnTo>
                  <a:pt x="2514" y="479"/>
                </a:lnTo>
                <a:lnTo>
                  <a:pt x="2510" y="479"/>
                </a:lnTo>
                <a:lnTo>
                  <a:pt x="2506" y="479"/>
                </a:lnTo>
                <a:lnTo>
                  <a:pt x="2504" y="478"/>
                </a:lnTo>
                <a:lnTo>
                  <a:pt x="2502" y="476"/>
                </a:lnTo>
                <a:lnTo>
                  <a:pt x="2500" y="474"/>
                </a:lnTo>
                <a:lnTo>
                  <a:pt x="2499" y="472"/>
                </a:lnTo>
                <a:lnTo>
                  <a:pt x="2498" y="470"/>
                </a:lnTo>
                <a:lnTo>
                  <a:pt x="2498" y="468"/>
                </a:lnTo>
                <a:lnTo>
                  <a:pt x="2499" y="463"/>
                </a:lnTo>
                <a:lnTo>
                  <a:pt x="2501" y="460"/>
                </a:lnTo>
                <a:lnTo>
                  <a:pt x="2503" y="457"/>
                </a:lnTo>
                <a:lnTo>
                  <a:pt x="2505" y="456"/>
                </a:lnTo>
                <a:lnTo>
                  <a:pt x="2507" y="456"/>
                </a:lnTo>
                <a:lnTo>
                  <a:pt x="2510" y="455"/>
                </a:lnTo>
                <a:close/>
                <a:moveTo>
                  <a:pt x="2565" y="322"/>
                </a:moveTo>
                <a:lnTo>
                  <a:pt x="2568" y="322"/>
                </a:lnTo>
                <a:lnTo>
                  <a:pt x="2570" y="323"/>
                </a:lnTo>
                <a:lnTo>
                  <a:pt x="2574" y="326"/>
                </a:lnTo>
                <a:lnTo>
                  <a:pt x="2576" y="328"/>
                </a:lnTo>
                <a:lnTo>
                  <a:pt x="2577" y="330"/>
                </a:lnTo>
                <a:lnTo>
                  <a:pt x="2577" y="334"/>
                </a:lnTo>
                <a:lnTo>
                  <a:pt x="2577" y="337"/>
                </a:lnTo>
                <a:lnTo>
                  <a:pt x="2576" y="339"/>
                </a:lnTo>
                <a:lnTo>
                  <a:pt x="2574" y="342"/>
                </a:lnTo>
                <a:lnTo>
                  <a:pt x="2573" y="343"/>
                </a:lnTo>
                <a:lnTo>
                  <a:pt x="2572" y="344"/>
                </a:lnTo>
                <a:lnTo>
                  <a:pt x="2569" y="346"/>
                </a:lnTo>
                <a:lnTo>
                  <a:pt x="2565" y="346"/>
                </a:lnTo>
                <a:lnTo>
                  <a:pt x="2563" y="346"/>
                </a:lnTo>
                <a:lnTo>
                  <a:pt x="2560" y="345"/>
                </a:lnTo>
                <a:lnTo>
                  <a:pt x="2556" y="342"/>
                </a:lnTo>
                <a:lnTo>
                  <a:pt x="2555" y="340"/>
                </a:lnTo>
                <a:lnTo>
                  <a:pt x="2554" y="338"/>
                </a:lnTo>
                <a:lnTo>
                  <a:pt x="2553" y="334"/>
                </a:lnTo>
                <a:lnTo>
                  <a:pt x="2553" y="331"/>
                </a:lnTo>
                <a:lnTo>
                  <a:pt x="2554" y="329"/>
                </a:lnTo>
                <a:lnTo>
                  <a:pt x="2556" y="326"/>
                </a:lnTo>
                <a:lnTo>
                  <a:pt x="2557" y="325"/>
                </a:lnTo>
                <a:lnTo>
                  <a:pt x="2559" y="324"/>
                </a:lnTo>
                <a:lnTo>
                  <a:pt x="2562" y="322"/>
                </a:lnTo>
                <a:lnTo>
                  <a:pt x="2565" y="322"/>
                </a:lnTo>
                <a:close/>
                <a:moveTo>
                  <a:pt x="2628" y="192"/>
                </a:moveTo>
                <a:lnTo>
                  <a:pt x="2631" y="192"/>
                </a:lnTo>
                <a:lnTo>
                  <a:pt x="2633" y="193"/>
                </a:lnTo>
                <a:lnTo>
                  <a:pt x="2635" y="195"/>
                </a:lnTo>
                <a:lnTo>
                  <a:pt x="2637" y="196"/>
                </a:lnTo>
                <a:lnTo>
                  <a:pt x="2638" y="198"/>
                </a:lnTo>
                <a:lnTo>
                  <a:pt x="2639" y="201"/>
                </a:lnTo>
                <a:lnTo>
                  <a:pt x="2640" y="203"/>
                </a:lnTo>
                <a:lnTo>
                  <a:pt x="2640" y="205"/>
                </a:lnTo>
                <a:lnTo>
                  <a:pt x="2639" y="207"/>
                </a:lnTo>
                <a:lnTo>
                  <a:pt x="2638" y="210"/>
                </a:lnTo>
                <a:lnTo>
                  <a:pt x="2637" y="213"/>
                </a:lnTo>
                <a:lnTo>
                  <a:pt x="2634" y="215"/>
                </a:lnTo>
                <a:lnTo>
                  <a:pt x="2631" y="216"/>
                </a:lnTo>
                <a:lnTo>
                  <a:pt x="2628" y="216"/>
                </a:lnTo>
                <a:lnTo>
                  <a:pt x="2625" y="216"/>
                </a:lnTo>
                <a:lnTo>
                  <a:pt x="2622" y="215"/>
                </a:lnTo>
                <a:lnTo>
                  <a:pt x="2620" y="214"/>
                </a:lnTo>
                <a:lnTo>
                  <a:pt x="2618" y="212"/>
                </a:lnTo>
                <a:lnTo>
                  <a:pt x="2617" y="210"/>
                </a:lnTo>
                <a:lnTo>
                  <a:pt x="2616" y="208"/>
                </a:lnTo>
                <a:lnTo>
                  <a:pt x="2616" y="206"/>
                </a:lnTo>
                <a:lnTo>
                  <a:pt x="2616" y="203"/>
                </a:lnTo>
                <a:lnTo>
                  <a:pt x="2616" y="201"/>
                </a:lnTo>
                <a:lnTo>
                  <a:pt x="2617" y="199"/>
                </a:lnTo>
                <a:lnTo>
                  <a:pt x="2619" y="196"/>
                </a:lnTo>
                <a:lnTo>
                  <a:pt x="2622" y="194"/>
                </a:lnTo>
                <a:lnTo>
                  <a:pt x="2625" y="192"/>
                </a:lnTo>
                <a:lnTo>
                  <a:pt x="2628" y="192"/>
                </a:lnTo>
                <a:close/>
                <a:moveTo>
                  <a:pt x="2699" y="67"/>
                </a:moveTo>
                <a:lnTo>
                  <a:pt x="2702" y="67"/>
                </a:lnTo>
                <a:lnTo>
                  <a:pt x="2705" y="69"/>
                </a:lnTo>
                <a:lnTo>
                  <a:pt x="2707" y="70"/>
                </a:lnTo>
                <a:lnTo>
                  <a:pt x="2709" y="72"/>
                </a:lnTo>
                <a:lnTo>
                  <a:pt x="2710" y="74"/>
                </a:lnTo>
                <a:lnTo>
                  <a:pt x="2711" y="76"/>
                </a:lnTo>
                <a:lnTo>
                  <a:pt x="2711" y="78"/>
                </a:lnTo>
                <a:lnTo>
                  <a:pt x="2711" y="81"/>
                </a:lnTo>
                <a:lnTo>
                  <a:pt x="2710" y="83"/>
                </a:lnTo>
                <a:lnTo>
                  <a:pt x="2709" y="85"/>
                </a:lnTo>
                <a:lnTo>
                  <a:pt x="2707" y="88"/>
                </a:lnTo>
                <a:lnTo>
                  <a:pt x="2705" y="90"/>
                </a:lnTo>
                <a:lnTo>
                  <a:pt x="2702" y="91"/>
                </a:lnTo>
                <a:lnTo>
                  <a:pt x="2699" y="91"/>
                </a:lnTo>
                <a:lnTo>
                  <a:pt x="2696" y="91"/>
                </a:lnTo>
                <a:lnTo>
                  <a:pt x="2694" y="90"/>
                </a:lnTo>
                <a:lnTo>
                  <a:pt x="2693" y="89"/>
                </a:lnTo>
                <a:lnTo>
                  <a:pt x="2691" y="88"/>
                </a:lnTo>
                <a:lnTo>
                  <a:pt x="2689" y="86"/>
                </a:lnTo>
                <a:lnTo>
                  <a:pt x="2688" y="84"/>
                </a:lnTo>
                <a:lnTo>
                  <a:pt x="2687" y="82"/>
                </a:lnTo>
                <a:lnTo>
                  <a:pt x="2687" y="79"/>
                </a:lnTo>
                <a:lnTo>
                  <a:pt x="2687" y="77"/>
                </a:lnTo>
                <a:lnTo>
                  <a:pt x="2687" y="75"/>
                </a:lnTo>
                <a:lnTo>
                  <a:pt x="2689" y="72"/>
                </a:lnTo>
                <a:lnTo>
                  <a:pt x="2691" y="70"/>
                </a:lnTo>
                <a:lnTo>
                  <a:pt x="2693" y="68"/>
                </a:lnTo>
                <a:lnTo>
                  <a:pt x="2696" y="67"/>
                </a:lnTo>
                <a:lnTo>
                  <a:pt x="2699" y="67"/>
                </a:lnTo>
                <a:close/>
                <a:moveTo>
                  <a:pt x="732" y="2225"/>
                </a:moveTo>
                <a:lnTo>
                  <a:pt x="734" y="2225"/>
                </a:lnTo>
                <a:lnTo>
                  <a:pt x="736" y="2226"/>
                </a:lnTo>
                <a:lnTo>
                  <a:pt x="738" y="2227"/>
                </a:lnTo>
                <a:lnTo>
                  <a:pt x="740" y="2228"/>
                </a:lnTo>
                <a:lnTo>
                  <a:pt x="742" y="2230"/>
                </a:lnTo>
                <a:lnTo>
                  <a:pt x="743" y="2232"/>
                </a:lnTo>
                <a:lnTo>
                  <a:pt x="744" y="2234"/>
                </a:lnTo>
                <a:lnTo>
                  <a:pt x="744" y="2236"/>
                </a:lnTo>
                <a:lnTo>
                  <a:pt x="744" y="2239"/>
                </a:lnTo>
                <a:lnTo>
                  <a:pt x="743" y="2243"/>
                </a:lnTo>
                <a:lnTo>
                  <a:pt x="742" y="2245"/>
                </a:lnTo>
                <a:lnTo>
                  <a:pt x="740" y="2246"/>
                </a:lnTo>
                <a:lnTo>
                  <a:pt x="738" y="2247"/>
                </a:lnTo>
                <a:lnTo>
                  <a:pt x="737" y="2248"/>
                </a:lnTo>
                <a:lnTo>
                  <a:pt x="732" y="2249"/>
                </a:lnTo>
                <a:lnTo>
                  <a:pt x="731" y="2249"/>
                </a:lnTo>
                <a:lnTo>
                  <a:pt x="728" y="2249"/>
                </a:lnTo>
                <a:lnTo>
                  <a:pt x="726" y="2248"/>
                </a:lnTo>
                <a:lnTo>
                  <a:pt x="724" y="2246"/>
                </a:lnTo>
                <a:lnTo>
                  <a:pt x="723" y="2245"/>
                </a:lnTo>
                <a:lnTo>
                  <a:pt x="722" y="2243"/>
                </a:lnTo>
                <a:lnTo>
                  <a:pt x="721" y="2240"/>
                </a:lnTo>
                <a:lnTo>
                  <a:pt x="720" y="2238"/>
                </a:lnTo>
                <a:lnTo>
                  <a:pt x="720" y="2236"/>
                </a:lnTo>
                <a:lnTo>
                  <a:pt x="722" y="2232"/>
                </a:lnTo>
                <a:lnTo>
                  <a:pt x="723" y="2230"/>
                </a:lnTo>
                <a:lnTo>
                  <a:pt x="724" y="2228"/>
                </a:lnTo>
                <a:lnTo>
                  <a:pt x="726" y="2227"/>
                </a:lnTo>
                <a:lnTo>
                  <a:pt x="728" y="2226"/>
                </a:lnTo>
                <a:lnTo>
                  <a:pt x="732" y="2225"/>
                </a:lnTo>
                <a:close/>
                <a:moveTo>
                  <a:pt x="876" y="2215"/>
                </a:moveTo>
                <a:lnTo>
                  <a:pt x="878" y="2215"/>
                </a:lnTo>
                <a:lnTo>
                  <a:pt x="880" y="2215"/>
                </a:lnTo>
                <a:lnTo>
                  <a:pt x="883" y="2217"/>
                </a:lnTo>
                <a:lnTo>
                  <a:pt x="886" y="2220"/>
                </a:lnTo>
                <a:lnTo>
                  <a:pt x="888" y="2224"/>
                </a:lnTo>
                <a:lnTo>
                  <a:pt x="888" y="2226"/>
                </a:lnTo>
                <a:lnTo>
                  <a:pt x="888" y="2229"/>
                </a:lnTo>
                <a:lnTo>
                  <a:pt x="887" y="2231"/>
                </a:lnTo>
                <a:lnTo>
                  <a:pt x="886" y="2233"/>
                </a:lnTo>
                <a:lnTo>
                  <a:pt x="885" y="2235"/>
                </a:lnTo>
                <a:lnTo>
                  <a:pt x="883" y="2236"/>
                </a:lnTo>
                <a:lnTo>
                  <a:pt x="881" y="2238"/>
                </a:lnTo>
                <a:lnTo>
                  <a:pt x="879" y="2238"/>
                </a:lnTo>
                <a:lnTo>
                  <a:pt x="876" y="2239"/>
                </a:lnTo>
                <a:lnTo>
                  <a:pt x="874" y="2239"/>
                </a:lnTo>
                <a:lnTo>
                  <a:pt x="872" y="2238"/>
                </a:lnTo>
                <a:lnTo>
                  <a:pt x="869" y="2236"/>
                </a:lnTo>
                <a:lnTo>
                  <a:pt x="866" y="2234"/>
                </a:lnTo>
                <a:lnTo>
                  <a:pt x="864" y="2230"/>
                </a:lnTo>
                <a:lnTo>
                  <a:pt x="864" y="2227"/>
                </a:lnTo>
                <a:lnTo>
                  <a:pt x="864" y="2225"/>
                </a:lnTo>
                <a:lnTo>
                  <a:pt x="865" y="2223"/>
                </a:lnTo>
                <a:lnTo>
                  <a:pt x="866" y="2221"/>
                </a:lnTo>
                <a:lnTo>
                  <a:pt x="867" y="2219"/>
                </a:lnTo>
                <a:lnTo>
                  <a:pt x="869" y="2217"/>
                </a:lnTo>
                <a:lnTo>
                  <a:pt x="871" y="2216"/>
                </a:lnTo>
                <a:lnTo>
                  <a:pt x="873" y="2215"/>
                </a:lnTo>
                <a:lnTo>
                  <a:pt x="876" y="2215"/>
                </a:lnTo>
                <a:close/>
                <a:moveTo>
                  <a:pt x="594" y="2186"/>
                </a:moveTo>
                <a:lnTo>
                  <a:pt x="597" y="2186"/>
                </a:lnTo>
                <a:lnTo>
                  <a:pt x="599" y="2187"/>
                </a:lnTo>
                <a:lnTo>
                  <a:pt x="601" y="2188"/>
                </a:lnTo>
                <a:lnTo>
                  <a:pt x="603" y="2190"/>
                </a:lnTo>
                <a:lnTo>
                  <a:pt x="604" y="2192"/>
                </a:lnTo>
                <a:lnTo>
                  <a:pt x="605" y="2194"/>
                </a:lnTo>
                <a:lnTo>
                  <a:pt x="606" y="2198"/>
                </a:lnTo>
                <a:lnTo>
                  <a:pt x="606" y="2201"/>
                </a:lnTo>
                <a:lnTo>
                  <a:pt x="605" y="2203"/>
                </a:lnTo>
                <a:lnTo>
                  <a:pt x="603" y="2206"/>
                </a:lnTo>
                <a:lnTo>
                  <a:pt x="601" y="2208"/>
                </a:lnTo>
                <a:lnTo>
                  <a:pt x="598" y="2210"/>
                </a:lnTo>
                <a:lnTo>
                  <a:pt x="594" y="2210"/>
                </a:lnTo>
                <a:lnTo>
                  <a:pt x="592" y="2210"/>
                </a:lnTo>
                <a:lnTo>
                  <a:pt x="590" y="2209"/>
                </a:lnTo>
                <a:lnTo>
                  <a:pt x="587" y="2208"/>
                </a:lnTo>
                <a:lnTo>
                  <a:pt x="586" y="2206"/>
                </a:lnTo>
                <a:lnTo>
                  <a:pt x="584" y="2205"/>
                </a:lnTo>
                <a:lnTo>
                  <a:pt x="583" y="2202"/>
                </a:lnTo>
                <a:lnTo>
                  <a:pt x="582" y="2198"/>
                </a:lnTo>
                <a:lnTo>
                  <a:pt x="583" y="2196"/>
                </a:lnTo>
                <a:lnTo>
                  <a:pt x="583" y="2193"/>
                </a:lnTo>
                <a:lnTo>
                  <a:pt x="585" y="2190"/>
                </a:lnTo>
                <a:lnTo>
                  <a:pt x="588" y="2188"/>
                </a:lnTo>
                <a:lnTo>
                  <a:pt x="591" y="2187"/>
                </a:lnTo>
                <a:lnTo>
                  <a:pt x="594" y="2186"/>
                </a:lnTo>
                <a:close/>
                <a:moveTo>
                  <a:pt x="1008" y="2159"/>
                </a:moveTo>
                <a:lnTo>
                  <a:pt x="1011" y="2159"/>
                </a:lnTo>
                <a:lnTo>
                  <a:pt x="1014" y="2160"/>
                </a:lnTo>
                <a:lnTo>
                  <a:pt x="1016" y="2162"/>
                </a:lnTo>
                <a:lnTo>
                  <a:pt x="1018" y="2165"/>
                </a:lnTo>
                <a:lnTo>
                  <a:pt x="1020" y="2169"/>
                </a:lnTo>
                <a:lnTo>
                  <a:pt x="1020" y="2171"/>
                </a:lnTo>
                <a:lnTo>
                  <a:pt x="1020" y="2174"/>
                </a:lnTo>
                <a:lnTo>
                  <a:pt x="1019" y="2176"/>
                </a:lnTo>
                <a:lnTo>
                  <a:pt x="1018" y="2178"/>
                </a:lnTo>
                <a:lnTo>
                  <a:pt x="1014" y="2181"/>
                </a:lnTo>
                <a:lnTo>
                  <a:pt x="1011" y="2182"/>
                </a:lnTo>
                <a:lnTo>
                  <a:pt x="1008" y="2183"/>
                </a:lnTo>
                <a:lnTo>
                  <a:pt x="1005" y="2182"/>
                </a:lnTo>
                <a:lnTo>
                  <a:pt x="1002" y="2181"/>
                </a:lnTo>
                <a:lnTo>
                  <a:pt x="1000" y="2179"/>
                </a:lnTo>
                <a:lnTo>
                  <a:pt x="998" y="2177"/>
                </a:lnTo>
                <a:lnTo>
                  <a:pt x="996" y="2172"/>
                </a:lnTo>
                <a:lnTo>
                  <a:pt x="996" y="2170"/>
                </a:lnTo>
                <a:lnTo>
                  <a:pt x="996" y="2167"/>
                </a:lnTo>
                <a:lnTo>
                  <a:pt x="997" y="2165"/>
                </a:lnTo>
                <a:lnTo>
                  <a:pt x="998" y="2163"/>
                </a:lnTo>
                <a:lnTo>
                  <a:pt x="1002" y="2160"/>
                </a:lnTo>
                <a:lnTo>
                  <a:pt x="1005" y="2159"/>
                </a:lnTo>
                <a:lnTo>
                  <a:pt x="1008" y="2159"/>
                </a:lnTo>
                <a:close/>
                <a:moveTo>
                  <a:pt x="468" y="2117"/>
                </a:moveTo>
                <a:lnTo>
                  <a:pt x="471" y="2118"/>
                </a:lnTo>
                <a:lnTo>
                  <a:pt x="474" y="2119"/>
                </a:lnTo>
                <a:lnTo>
                  <a:pt x="476" y="2121"/>
                </a:lnTo>
                <a:lnTo>
                  <a:pt x="478" y="2123"/>
                </a:lnTo>
                <a:lnTo>
                  <a:pt x="479" y="2125"/>
                </a:lnTo>
                <a:lnTo>
                  <a:pt x="480" y="2127"/>
                </a:lnTo>
                <a:lnTo>
                  <a:pt x="480" y="2129"/>
                </a:lnTo>
                <a:lnTo>
                  <a:pt x="480" y="2131"/>
                </a:lnTo>
                <a:lnTo>
                  <a:pt x="479" y="2134"/>
                </a:lnTo>
                <a:lnTo>
                  <a:pt x="478" y="2136"/>
                </a:lnTo>
                <a:lnTo>
                  <a:pt x="476" y="2138"/>
                </a:lnTo>
                <a:lnTo>
                  <a:pt x="474" y="2140"/>
                </a:lnTo>
                <a:lnTo>
                  <a:pt x="471" y="2141"/>
                </a:lnTo>
                <a:lnTo>
                  <a:pt x="468" y="2141"/>
                </a:lnTo>
                <a:lnTo>
                  <a:pt x="465" y="2141"/>
                </a:lnTo>
                <a:lnTo>
                  <a:pt x="461" y="2140"/>
                </a:lnTo>
                <a:lnTo>
                  <a:pt x="460" y="2138"/>
                </a:lnTo>
                <a:lnTo>
                  <a:pt x="458" y="2136"/>
                </a:lnTo>
                <a:lnTo>
                  <a:pt x="457" y="2134"/>
                </a:lnTo>
                <a:lnTo>
                  <a:pt x="456" y="2132"/>
                </a:lnTo>
                <a:lnTo>
                  <a:pt x="456" y="2130"/>
                </a:lnTo>
                <a:lnTo>
                  <a:pt x="456" y="2128"/>
                </a:lnTo>
                <a:lnTo>
                  <a:pt x="457" y="2125"/>
                </a:lnTo>
                <a:lnTo>
                  <a:pt x="458" y="2123"/>
                </a:lnTo>
                <a:lnTo>
                  <a:pt x="460" y="2121"/>
                </a:lnTo>
                <a:lnTo>
                  <a:pt x="462" y="2119"/>
                </a:lnTo>
                <a:lnTo>
                  <a:pt x="465" y="2118"/>
                </a:lnTo>
                <a:lnTo>
                  <a:pt x="468" y="2117"/>
                </a:lnTo>
                <a:close/>
                <a:moveTo>
                  <a:pt x="1125" y="2075"/>
                </a:moveTo>
                <a:lnTo>
                  <a:pt x="1127" y="2075"/>
                </a:lnTo>
                <a:lnTo>
                  <a:pt x="1130" y="2076"/>
                </a:lnTo>
                <a:lnTo>
                  <a:pt x="1132" y="2077"/>
                </a:lnTo>
                <a:lnTo>
                  <a:pt x="1134" y="2079"/>
                </a:lnTo>
                <a:lnTo>
                  <a:pt x="1135" y="2081"/>
                </a:lnTo>
                <a:lnTo>
                  <a:pt x="1136" y="2083"/>
                </a:lnTo>
                <a:lnTo>
                  <a:pt x="1137" y="2085"/>
                </a:lnTo>
                <a:lnTo>
                  <a:pt x="1137" y="2088"/>
                </a:lnTo>
                <a:lnTo>
                  <a:pt x="1136" y="2090"/>
                </a:lnTo>
                <a:lnTo>
                  <a:pt x="1135" y="2092"/>
                </a:lnTo>
                <a:lnTo>
                  <a:pt x="1134" y="2094"/>
                </a:lnTo>
                <a:lnTo>
                  <a:pt x="1133" y="2096"/>
                </a:lnTo>
                <a:lnTo>
                  <a:pt x="1129" y="2098"/>
                </a:lnTo>
                <a:lnTo>
                  <a:pt x="1125" y="2099"/>
                </a:lnTo>
                <a:lnTo>
                  <a:pt x="1122" y="2098"/>
                </a:lnTo>
                <a:lnTo>
                  <a:pt x="1120" y="2098"/>
                </a:lnTo>
                <a:lnTo>
                  <a:pt x="1118" y="2096"/>
                </a:lnTo>
                <a:lnTo>
                  <a:pt x="1116" y="2095"/>
                </a:lnTo>
                <a:lnTo>
                  <a:pt x="1114" y="2093"/>
                </a:lnTo>
                <a:lnTo>
                  <a:pt x="1113" y="2090"/>
                </a:lnTo>
                <a:lnTo>
                  <a:pt x="1113" y="2088"/>
                </a:lnTo>
                <a:lnTo>
                  <a:pt x="1113" y="2086"/>
                </a:lnTo>
                <a:lnTo>
                  <a:pt x="1113" y="2084"/>
                </a:lnTo>
                <a:lnTo>
                  <a:pt x="1114" y="2081"/>
                </a:lnTo>
                <a:lnTo>
                  <a:pt x="1115" y="2079"/>
                </a:lnTo>
                <a:lnTo>
                  <a:pt x="1117" y="2078"/>
                </a:lnTo>
                <a:lnTo>
                  <a:pt x="1121" y="2075"/>
                </a:lnTo>
                <a:lnTo>
                  <a:pt x="1125" y="2075"/>
                </a:lnTo>
                <a:close/>
                <a:moveTo>
                  <a:pt x="348" y="2038"/>
                </a:moveTo>
                <a:lnTo>
                  <a:pt x="351" y="2039"/>
                </a:lnTo>
                <a:lnTo>
                  <a:pt x="353" y="2039"/>
                </a:lnTo>
                <a:lnTo>
                  <a:pt x="354" y="2040"/>
                </a:lnTo>
                <a:lnTo>
                  <a:pt x="356" y="2042"/>
                </a:lnTo>
                <a:lnTo>
                  <a:pt x="358" y="2043"/>
                </a:lnTo>
                <a:lnTo>
                  <a:pt x="359" y="2046"/>
                </a:lnTo>
                <a:lnTo>
                  <a:pt x="359" y="2048"/>
                </a:lnTo>
                <a:lnTo>
                  <a:pt x="359" y="2052"/>
                </a:lnTo>
                <a:lnTo>
                  <a:pt x="359" y="2055"/>
                </a:lnTo>
                <a:lnTo>
                  <a:pt x="358" y="2057"/>
                </a:lnTo>
                <a:lnTo>
                  <a:pt x="356" y="2059"/>
                </a:lnTo>
                <a:lnTo>
                  <a:pt x="353" y="2061"/>
                </a:lnTo>
                <a:lnTo>
                  <a:pt x="351" y="2062"/>
                </a:lnTo>
                <a:lnTo>
                  <a:pt x="348" y="2062"/>
                </a:lnTo>
                <a:lnTo>
                  <a:pt x="344" y="2062"/>
                </a:lnTo>
                <a:lnTo>
                  <a:pt x="341" y="2060"/>
                </a:lnTo>
                <a:lnTo>
                  <a:pt x="339" y="2058"/>
                </a:lnTo>
                <a:lnTo>
                  <a:pt x="338" y="2057"/>
                </a:lnTo>
                <a:lnTo>
                  <a:pt x="337" y="2055"/>
                </a:lnTo>
                <a:lnTo>
                  <a:pt x="336" y="2052"/>
                </a:lnTo>
                <a:lnTo>
                  <a:pt x="336" y="2048"/>
                </a:lnTo>
                <a:lnTo>
                  <a:pt x="337" y="2046"/>
                </a:lnTo>
                <a:lnTo>
                  <a:pt x="338" y="2043"/>
                </a:lnTo>
                <a:lnTo>
                  <a:pt x="340" y="2041"/>
                </a:lnTo>
                <a:lnTo>
                  <a:pt x="342" y="2039"/>
                </a:lnTo>
                <a:lnTo>
                  <a:pt x="345" y="2038"/>
                </a:lnTo>
                <a:lnTo>
                  <a:pt x="348" y="2038"/>
                </a:lnTo>
                <a:close/>
                <a:moveTo>
                  <a:pt x="1226" y="1972"/>
                </a:moveTo>
                <a:lnTo>
                  <a:pt x="1230" y="1973"/>
                </a:lnTo>
                <a:lnTo>
                  <a:pt x="1234" y="1975"/>
                </a:lnTo>
                <a:lnTo>
                  <a:pt x="1235" y="1977"/>
                </a:lnTo>
                <a:lnTo>
                  <a:pt x="1237" y="1979"/>
                </a:lnTo>
                <a:lnTo>
                  <a:pt x="1237" y="1981"/>
                </a:lnTo>
                <a:lnTo>
                  <a:pt x="1238" y="1984"/>
                </a:lnTo>
                <a:lnTo>
                  <a:pt x="1238" y="1986"/>
                </a:lnTo>
                <a:lnTo>
                  <a:pt x="1237" y="1988"/>
                </a:lnTo>
                <a:lnTo>
                  <a:pt x="1236" y="1990"/>
                </a:lnTo>
                <a:lnTo>
                  <a:pt x="1235" y="1992"/>
                </a:lnTo>
                <a:lnTo>
                  <a:pt x="1233" y="1994"/>
                </a:lnTo>
                <a:lnTo>
                  <a:pt x="1231" y="1995"/>
                </a:lnTo>
                <a:lnTo>
                  <a:pt x="1228" y="1996"/>
                </a:lnTo>
                <a:lnTo>
                  <a:pt x="1226" y="1996"/>
                </a:lnTo>
                <a:lnTo>
                  <a:pt x="1222" y="1996"/>
                </a:lnTo>
                <a:lnTo>
                  <a:pt x="1218" y="1993"/>
                </a:lnTo>
                <a:lnTo>
                  <a:pt x="1216" y="1992"/>
                </a:lnTo>
                <a:lnTo>
                  <a:pt x="1215" y="1990"/>
                </a:lnTo>
                <a:lnTo>
                  <a:pt x="1214" y="1987"/>
                </a:lnTo>
                <a:lnTo>
                  <a:pt x="1214" y="1985"/>
                </a:lnTo>
                <a:lnTo>
                  <a:pt x="1214" y="1983"/>
                </a:lnTo>
                <a:lnTo>
                  <a:pt x="1214" y="1981"/>
                </a:lnTo>
                <a:lnTo>
                  <a:pt x="1215" y="1978"/>
                </a:lnTo>
                <a:lnTo>
                  <a:pt x="1217" y="1976"/>
                </a:lnTo>
                <a:lnTo>
                  <a:pt x="1219" y="1975"/>
                </a:lnTo>
                <a:lnTo>
                  <a:pt x="1221" y="1973"/>
                </a:lnTo>
                <a:lnTo>
                  <a:pt x="1223" y="1973"/>
                </a:lnTo>
                <a:lnTo>
                  <a:pt x="1226" y="1972"/>
                </a:lnTo>
                <a:close/>
                <a:moveTo>
                  <a:pt x="226" y="1961"/>
                </a:moveTo>
                <a:lnTo>
                  <a:pt x="229" y="1961"/>
                </a:lnTo>
                <a:lnTo>
                  <a:pt x="232" y="1962"/>
                </a:lnTo>
                <a:lnTo>
                  <a:pt x="234" y="1964"/>
                </a:lnTo>
                <a:lnTo>
                  <a:pt x="235" y="1965"/>
                </a:lnTo>
                <a:lnTo>
                  <a:pt x="236" y="1966"/>
                </a:lnTo>
                <a:lnTo>
                  <a:pt x="237" y="1968"/>
                </a:lnTo>
                <a:lnTo>
                  <a:pt x="238" y="1970"/>
                </a:lnTo>
                <a:lnTo>
                  <a:pt x="238" y="1972"/>
                </a:lnTo>
                <a:lnTo>
                  <a:pt x="238" y="1974"/>
                </a:lnTo>
                <a:lnTo>
                  <a:pt x="236" y="1979"/>
                </a:lnTo>
                <a:lnTo>
                  <a:pt x="234" y="1981"/>
                </a:lnTo>
                <a:lnTo>
                  <a:pt x="232" y="1983"/>
                </a:lnTo>
                <a:lnTo>
                  <a:pt x="229" y="1984"/>
                </a:lnTo>
                <a:lnTo>
                  <a:pt x="226" y="1985"/>
                </a:lnTo>
                <a:lnTo>
                  <a:pt x="223" y="1984"/>
                </a:lnTo>
                <a:lnTo>
                  <a:pt x="220" y="1983"/>
                </a:lnTo>
                <a:lnTo>
                  <a:pt x="218" y="1982"/>
                </a:lnTo>
                <a:lnTo>
                  <a:pt x="217" y="1981"/>
                </a:lnTo>
                <a:lnTo>
                  <a:pt x="216" y="1980"/>
                </a:lnTo>
                <a:lnTo>
                  <a:pt x="215" y="1978"/>
                </a:lnTo>
                <a:lnTo>
                  <a:pt x="214" y="1976"/>
                </a:lnTo>
                <a:lnTo>
                  <a:pt x="214" y="1974"/>
                </a:lnTo>
                <a:lnTo>
                  <a:pt x="214" y="1971"/>
                </a:lnTo>
                <a:lnTo>
                  <a:pt x="216" y="1967"/>
                </a:lnTo>
                <a:lnTo>
                  <a:pt x="218" y="1964"/>
                </a:lnTo>
                <a:lnTo>
                  <a:pt x="220" y="1962"/>
                </a:lnTo>
                <a:lnTo>
                  <a:pt x="223" y="1961"/>
                </a:lnTo>
                <a:lnTo>
                  <a:pt x="226" y="1961"/>
                </a:lnTo>
                <a:close/>
                <a:moveTo>
                  <a:pt x="96" y="1899"/>
                </a:moveTo>
                <a:lnTo>
                  <a:pt x="100" y="1900"/>
                </a:lnTo>
                <a:lnTo>
                  <a:pt x="103" y="1901"/>
                </a:lnTo>
                <a:lnTo>
                  <a:pt x="104" y="1902"/>
                </a:lnTo>
                <a:lnTo>
                  <a:pt x="106" y="1904"/>
                </a:lnTo>
                <a:lnTo>
                  <a:pt x="107" y="1906"/>
                </a:lnTo>
                <a:lnTo>
                  <a:pt x="108" y="1908"/>
                </a:lnTo>
                <a:lnTo>
                  <a:pt x="108" y="1910"/>
                </a:lnTo>
                <a:lnTo>
                  <a:pt x="108" y="1915"/>
                </a:lnTo>
                <a:lnTo>
                  <a:pt x="106" y="1919"/>
                </a:lnTo>
                <a:lnTo>
                  <a:pt x="103" y="1921"/>
                </a:lnTo>
                <a:lnTo>
                  <a:pt x="102" y="1922"/>
                </a:lnTo>
                <a:lnTo>
                  <a:pt x="100" y="1923"/>
                </a:lnTo>
                <a:lnTo>
                  <a:pt x="96" y="1923"/>
                </a:lnTo>
                <a:lnTo>
                  <a:pt x="92" y="1922"/>
                </a:lnTo>
                <a:lnTo>
                  <a:pt x="90" y="1921"/>
                </a:lnTo>
                <a:lnTo>
                  <a:pt x="88" y="1920"/>
                </a:lnTo>
                <a:lnTo>
                  <a:pt x="87" y="1918"/>
                </a:lnTo>
                <a:lnTo>
                  <a:pt x="85" y="1916"/>
                </a:lnTo>
                <a:lnTo>
                  <a:pt x="85" y="1914"/>
                </a:lnTo>
                <a:lnTo>
                  <a:pt x="84" y="1912"/>
                </a:lnTo>
                <a:lnTo>
                  <a:pt x="85" y="1907"/>
                </a:lnTo>
                <a:lnTo>
                  <a:pt x="87" y="1904"/>
                </a:lnTo>
                <a:lnTo>
                  <a:pt x="89" y="1901"/>
                </a:lnTo>
                <a:lnTo>
                  <a:pt x="91" y="1900"/>
                </a:lnTo>
                <a:lnTo>
                  <a:pt x="93" y="1900"/>
                </a:lnTo>
                <a:lnTo>
                  <a:pt x="96" y="1899"/>
                </a:lnTo>
                <a:close/>
                <a:moveTo>
                  <a:pt x="1316" y="1860"/>
                </a:moveTo>
                <a:lnTo>
                  <a:pt x="1320" y="1861"/>
                </a:lnTo>
                <a:lnTo>
                  <a:pt x="1324" y="1863"/>
                </a:lnTo>
                <a:lnTo>
                  <a:pt x="1327" y="1866"/>
                </a:lnTo>
                <a:lnTo>
                  <a:pt x="1328" y="1868"/>
                </a:lnTo>
                <a:lnTo>
                  <a:pt x="1328" y="1871"/>
                </a:lnTo>
                <a:lnTo>
                  <a:pt x="1328" y="1873"/>
                </a:lnTo>
                <a:lnTo>
                  <a:pt x="1328" y="1875"/>
                </a:lnTo>
                <a:lnTo>
                  <a:pt x="1327" y="1877"/>
                </a:lnTo>
                <a:lnTo>
                  <a:pt x="1326" y="1880"/>
                </a:lnTo>
                <a:lnTo>
                  <a:pt x="1324" y="1882"/>
                </a:lnTo>
                <a:lnTo>
                  <a:pt x="1321" y="1883"/>
                </a:lnTo>
                <a:lnTo>
                  <a:pt x="1319" y="1884"/>
                </a:lnTo>
                <a:lnTo>
                  <a:pt x="1316" y="1884"/>
                </a:lnTo>
                <a:lnTo>
                  <a:pt x="1312" y="1884"/>
                </a:lnTo>
                <a:lnTo>
                  <a:pt x="1309" y="1882"/>
                </a:lnTo>
                <a:lnTo>
                  <a:pt x="1306" y="1878"/>
                </a:lnTo>
                <a:lnTo>
                  <a:pt x="1305" y="1876"/>
                </a:lnTo>
                <a:lnTo>
                  <a:pt x="1304" y="1874"/>
                </a:lnTo>
                <a:lnTo>
                  <a:pt x="1304" y="1871"/>
                </a:lnTo>
                <a:lnTo>
                  <a:pt x="1305" y="1869"/>
                </a:lnTo>
                <a:lnTo>
                  <a:pt x="1305" y="1867"/>
                </a:lnTo>
                <a:lnTo>
                  <a:pt x="1307" y="1865"/>
                </a:lnTo>
                <a:lnTo>
                  <a:pt x="1309" y="1863"/>
                </a:lnTo>
                <a:lnTo>
                  <a:pt x="1311" y="1861"/>
                </a:lnTo>
                <a:lnTo>
                  <a:pt x="1314" y="1860"/>
                </a:lnTo>
                <a:lnTo>
                  <a:pt x="1316" y="1860"/>
                </a:lnTo>
                <a:close/>
                <a:moveTo>
                  <a:pt x="1406" y="1748"/>
                </a:moveTo>
                <a:lnTo>
                  <a:pt x="1410" y="1748"/>
                </a:lnTo>
                <a:lnTo>
                  <a:pt x="1412" y="1749"/>
                </a:lnTo>
                <a:lnTo>
                  <a:pt x="1414" y="1751"/>
                </a:lnTo>
                <a:lnTo>
                  <a:pt x="1416" y="1753"/>
                </a:lnTo>
                <a:lnTo>
                  <a:pt x="1417" y="1755"/>
                </a:lnTo>
                <a:lnTo>
                  <a:pt x="1418" y="1757"/>
                </a:lnTo>
                <a:lnTo>
                  <a:pt x="1418" y="1759"/>
                </a:lnTo>
                <a:lnTo>
                  <a:pt x="1418" y="1761"/>
                </a:lnTo>
                <a:lnTo>
                  <a:pt x="1418" y="1764"/>
                </a:lnTo>
                <a:lnTo>
                  <a:pt x="1417" y="1766"/>
                </a:lnTo>
                <a:lnTo>
                  <a:pt x="1415" y="1768"/>
                </a:lnTo>
                <a:lnTo>
                  <a:pt x="1413" y="1769"/>
                </a:lnTo>
                <a:lnTo>
                  <a:pt x="1411" y="1771"/>
                </a:lnTo>
                <a:lnTo>
                  <a:pt x="1409" y="1771"/>
                </a:lnTo>
                <a:lnTo>
                  <a:pt x="1406" y="1772"/>
                </a:lnTo>
                <a:lnTo>
                  <a:pt x="1402" y="1771"/>
                </a:lnTo>
                <a:lnTo>
                  <a:pt x="1400" y="1770"/>
                </a:lnTo>
                <a:lnTo>
                  <a:pt x="1398" y="1769"/>
                </a:lnTo>
                <a:lnTo>
                  <a:pt x="1397" y="1767"/>
                </a:lnTo>
                <a:lnTo>
                  <a:pt x="1395" y="1765"/>
                </a:lnTo>
                <a:lnTo>
                  <a:pt x="1395" y="1763"/>
                </a:lnTo>
                <a:lnTo>
                  <a:pt x="1394" y="1760"/>
                </a:lnTo>
                <a:lnTo>
                  <a:pt x="1394" y="1758"/>
                </a:lnTo>
                <a:lnTo>
                  <a:pt x="1395" y="1756"/>
                </a:lnTo>
                <a:lnTo>
                  <a:pt x="1396" y="1754"/>
                </a:lnTo>
                <a:lnTo>
                  <a:pt x="1397" y="1752"/>
                </a:lnTo>
                <a:lnTo>
                  <a:pt x="1399" y="1750"/>
                </a:lnTo>
                <a:lnTo>
                  <a:pt x="1401" y="1749"/>
                </a:lnTo>
                <a:lnTo>
                  <a:pt x="1404" y="1748"/>
                </a:lnTo>
                <a:lnTo>
                  <a:pt x="1406" y="1748"/>
                </a:lnTo>
                <a:close/>
                <a:moveTo>
                  <a:pt x="1793" y="1723"/>
                </a:moveTo>
                <a:lnTo>
                  <a:pt x="1797" y="1724"/>
                </a:lnTo>
                <a:lnTo>
                  <a:pt x="1801" y="1726"/>
                </a:lnTo>
                <a:lnTo>
                  <a:pt x="1804" y="1729"/>
                </a:lnTo>
                <a:lnTo>
                  <a:pt x="1805" y="1731"/>
                </a:lnTo>
                <a:lnTo>
                  <a:pt x="1805" y="1733"/>
                </a:lnTo>
                <a:lnTo>
                  <a:pt x="1805" y="1736"/>
                </a:lnTo>
                <a:lnTo>
                  <a:pt x="1805" y="1738"/>
                </a:lnTo>
                <a:lnTo>
                  <a:pt x="1804" y="1740"/>
                </a:lnTo>
                <a:lnTo>
                  <a:pt x="1803" y="1742"/>
                </a:lnTo>
                <a:lnTo>
                  <a:pt x="1801" y="1744"/>
                </a:lnTo>
                <a:lnTo>
                  <a:pt x="1800" y="1745"/>
                </a:lnTo>
                <a:lnTo>
                  <a:pt x="1797" y="1746"/>
                </a:lnTo>
                <a:lnTo>
                  <a:pt x="1795" y="1747"/>
                </a:lnTo>
                <a:lnTo>
                  <a:pt x="1793" y="1747"/>
                </a:lnTo>
                <a:lnTo>
                  <a:pt x="1789" y="1746"/>
                </a:lnTo>
                <a:lnTo>
                  <a:pt x="1786" y="1744"/>
                </a:lnTo>
                <a:lnTo>
                  <a:pt x="1783" y="1741"/>
                </a:lnTo>
                <a:lnTo>
                  <a:pt x="1782" y="1739"/>
                </a:lnTo>
                <a:lnTo>
                  <a:pt x="1781" y="1737"/>
                </a:lnTo>
                <a:lnTo>
                  <a:pt x="1781" y="1734"/>
                </a:lnTo>
                <a:lnTo>
                  <a:pt x="1782" y="1732"/>
                </a:lnTo>
                <a:lnTo>
                  <a:pt x="1782" y="1730"/>
                </a:lnTo>
                <a:lnTo>
                  <a:pt x="1784" y="1728"/>
                </a:lnTo>
                <a:lnTo>
                  <a:pt x="1787" y="1725"/>
                </a:lnTo>
                <a:lnTo>
                  <a:pt x="1789" y="1724"/>
                </a:lnTo>
                <a:lnTo>
                  <a:pt x="1791" y="1723"/>
                </a:lnTo>
                <a:lnTo>
                  <a:pt x="1793" y="1723"/>
                </a:lnTo>
                <a:close/>
                <a:moveTo>
                  <a:pt x="1654" y="1700"/>
                </a:moveTo>
                <a:lnTo>
                  <a:pt x="1658" y="1700"/>
                </a:lnTo>
                <a:lnTo>
                  <a:pt x="1661" y="1702"/>
                </a:lnTo>
                <a:lnTo>
                  <a:pt x="1663" y="1703"/>
                </a:lnTo>
                <a:lnTo>
                  <a:pt x="1664" y="1705"/>
                </a:lnTo>
                <a:lnTo>
                  <a:pt x="1665" y="1707"/>
                </a:lnTo>
                <a:lnTo>
                  <a:pt x="1666" y="1709"/>
                </a:lnTo>
                <a:lnTo>
                  <a:pt x="1666" y="1711"/>
                </a:lnTo>
                <a:lnTo>
                  <a:pt x="1666" y="1714"/>
                </a:lnTo>
                <a:lnTo>
                  <a:pt x="1666" y="1716"/>
                </a:lnTo>
                <a:lnTo>
                  <a:pt x="1665" y="1718"/>
                </a:lnTo>
                <a:lnTo>
                  <a:pt x="1663" y="1721"/>
                </a:lnTo>
                <a:lnTo>
                  <a:pt x="1660" y="1723"/>
                </a:lnTo>
                <a:lnTo>
                  <a:pt x="1657" y="1724"/>
                </a:lnTo>
                <a:lnTo>
                  <a:pt x="1654" y="1724"/>
                </a:lnTo>
                <a:lnTo>
                  <a:pt x="1651" y="1724"/>
                </a:lnTo>
                <a:lnTo>
                  <a:pt x="1648" y="1722"/>
                </a:lnTo>
                <a:lnTo>
                  <a:pt x="1646" y="1721"/>
                </a:lnTo>
                <a:lnTo>
                  <a:pt x="1645" y="1719"/>
                </a:lnTo>
                <a:lnTo>
                  <a:pt x="1643" y="1717"/>
                </a:lnTo>
                <a:lnTo>
                  <a:pt x="1643" y="1715"/>
                </a:lnTo>
                <a:lnTo>
                  <a:pt x="1642" y="1713"/>
                </a:lnTo>
                <a:lnTo>
                  <a:pt x="1642" y="1710"/>
                </a:lnTo>
                <a:lnTo>
                  <a:pt x="1643" y="1708"/>
                </a:lnTo>
                <a:lnTo>
                  <a:pt x="1644" y="1706"/>
                </a:lnTo>
                <a:lnTo>
                  <a:pt x="1646" y="1703"/>
                </a:lnTo>
                <a:lnTo>
                  <a:pt x="1649" y="1701"/>
                </a:lnTo>
                <a:lnTo>
                  <a:pt x="1651" y="1700"/>
                </a:lnTo>
                <a:lnTo>
                  <a:pt x="1654" y="1700"/>
                </a:lnTo>
                <a:close/>
                <a:moveTo>
                  <a:pt x="1929" y="1675"/>
                </a:moveTo>
                <a:lnTo>
                  <a:pt x="1932" y="1675"/>
                </a:lnTo>
                <a:lnTo>
                  <a:pt x="1935" y="1676"/>
                </a:lnTo>
                <a:lnTo>
                  <a:pt x="1937" y="1678"/>
                </a:lnTo>
                <a:lnTo>
                  <a:pt x="1939" y="1681"/>
                </a:lnTo>
                <a:lnTo>
                  <a:pt x="1940" y="1683"/>
                </a:lnTo>
                <a:lnTo>
                  <a:pt x="1941" y="1687"/>
                </a:lnTo>
                <a:lnTo>
                  <a:pt x="1941" y="1689"/>
                </a:lnTo>
                <a:lnTo>
                  <a:pt x="1940" y="1691"/>
                </a:lnTo>
                <a:lnTo>
                  <a:pt x="1939" y="1693"/>
                </a:lnTo>
                <a:lnTo>
                  <a:pt x="1938" y="1695"/>
                </a:lnTo>
                <a:lnTo>
                  <a:pt x="1936" y="1697"/>
                </a:lnTo>
                <a:lnTo>
                  <a:pt x="1934" y="1698"/>
                </a:lnTo>
                <a:lnTo>
                  <a:pt x="1931" y="1699"/>
                </a:lnTo>
                <a:lnTo>
                  <a:pt x="1929" y="1700"/>
                </a:lnTo>
                <a:lnTo>
                  <a:pt x="1925" y="1699"/>
                </a:lnTo>
                <a:lnTo>
                  <a:pt x="1922" y="1698"/>
                </a:lnTo>
                <a:lnTo>
                  <a:pt x="1920" y="1696"/>
                </a:lnTo>
                <a:lnTo>
                  <a:pt x="1918" y="1693"/>
                </a:lnTo>
                <a:lnTo>
                  <a:pt x="1917" y="1691"/>
                </a:lnTo>
                <a:lnTo>
                  <a:pt x="1917" y="1689"/>
                </a:lnTo>
                <a:lnTo>
                  <a:pt x="1917" y="1685"/>
                </a:lnTo>
                <a:lnTo>
                  <a:pt x="1917" y="1683"/>
                </a:lnTo>
                <a:lnTo>
                  <a:pt x="1918" y="1681"/>
                </a:lnTo>
                <a:lnTo>
                  <a:pt x="1919" y="1679"/>
                </a:lnTo>
                <a:lnTo>
                  <a:pt x="1921" y="1677"/>
                </a:lnTo>
                <a:lnTo>
                  <a:pt x="1923" y="1676"/>
                </a:lnTo>
                <a:lnTo>
                  <a:pt x="1926" y="1675"/>
                </a:lnTo>
                <a:lnTo>
                  <a:pt x="1929" y="1675"/>
                </a:lnTo>
                <a:close/>
                <a:moveTo>
                  <a:pt x="1520" y="1663"/>
                </a:moveTo>
                <a:lnTo>
                  <a:pt x="1524" y="1663"/>
                </a:lnTo>
                <a:lnTo>
                  <a:pt x="1528" y="1665"/>
                </a:lnTo>
                <a:lnTo>
                  <a:pt x="1530" y="1668"/>
                </a:lnTo>
                <a:lnTo>
                  <a:pt x="1532" y="1672"/>
                </a:lnTo>
                <a:lnTo>
                  <a:pt x="1532" y="1674"/>
                </a:lnTo>
                <a:lnTo>
                  <a:pt x="1532" y="1676"/>
                </a:lnTo>
                <a:lnTo>
                  <a:pt x="1532" y="1679"/>
                </a:lnTo>
                <a:lnTo>
                  <a:pt x="1531" y="1681"/>
                </a:lnTo>
                <a:lnTo>
                  <a:pt x="1530" y="1683"/>
                </a:lnTo>
                <a:lnTo>
                  <a:pt x="1528" y="1684"/>
                </a:lnTo>
                <a:lnTo>
                  <a:pt x="1526" y="1685"/>
                </a:lnTo>
                <a:lnTo>
                  <a:pt x="1524" y="1687"/>
                </a:lnTo>
                <a:lnTo>
                  <a:pt x="1520" y="1688"/>
                </a:lnTo>
                <a:lnTo>
                  <a:pt x="1517" y="1687"/>
                </a:lnTo>
                <a:lnTo>
                  <a:pt x="1513" y="1684"/>
                </a:lnTo>
                <a:lnTo>
                  <a:pt x="1511" y="1681"/>
                </a:lnTo>
                <a:lnTo>
                  <a:pt x="1509" y="1678"/>
                </a:lnTo>
                <a:lnTo>
                  <a:pt x="1509" y="1675"/>
                </a:lnTo>
                <a:lnTo>
                  <a:pt x="1509" y="1673"/>
                </a:lnTo>
                <a:lnTo>
                  <a:pt x="1509" y="1671"/>
                </a:lnTo>
                <a:lnTo>
                  <a:pt x="1510" y="1669"/>
                </a:lnTo>
                <a:lnTo>
                  <a:pt x="1511" y="1667"/>
                </a:lnTo>
                <a:lnTo>
                  <a:pt x="1513" y="1665"/>
                </a:lnTo>
                <a:lnTo>
                  <a:pt x="1515" y="1664"/>
                </a:lnTo>
                <a:lnTo>
                  <a:pt x="1517" y="1663"/>
                </a:lnTo>
                <a:lnTo>
                  <a:pt x="1520" y="1663"/>
                </a:lnTo>
                <a:close/>
                <a:moveTo>
                  <a:pt x="2050" y="1597"/>
                </a:moveTo>
                <a:lnTo>
                  <a:pt x="2053" y="1598"/>
                </a:lnTo>
                <a:lnTo>
                  <a:pt x="2055" y="1598"/>
                </a:lnTo>
                <a:lnTo>
                  <a:pt x="2058" y="1600"/>
                </a:lnTo>
                <a:lnTo>
                  <a:pt x="2060" y="1602"/>
                </a:lnTo>
                <a:lnTo>
                  <a:pt x="2061" y="1604"/>
                </a:lnTo>
                <a:lnTo>
                  <a:pt x="2062" y="1606"/>
                </a:lnTo>
                <a:lnTo>
                  <a:pt x="2062" y="1609"/>
                </a:lnTo>
                <a:lnTo>
                  <a:pt x="2062" y="1611"/>
                </a:lnTo>
                <a:lnTo>
                  <a:pt x="2061" y="1613"/>
                </a:lnTo>
                <a:lnTo>
                  <a:pt x="2060" y="1615"/>
                </a:lnTo>
                <a:lnTo>
                  <a:pt x="2059" y="1617"/>
                </a:lnTo>
                <a:lnTo>
                  <a:pt x="2057" y="1619"/>
                </a:lnTo>
                <a:lnTo>
                  <a:pt x="2055" y="1620"/>
                </a:lnTo>
                <a:lnTo>
                  <a:pt x="2054" y="1621"/>
                </a:lnTo>
                <a:lnTo>
                  <a:pt x="2052" y="1621"/>
                </a:lnTo>
                <a:lnTo>
                  <a:pt x="2050" y="1621"/>
                </a:lnTo>
                <a:lnTo>
                  <a:pt x="2047" y="1621"/>
                </a:lnTo>
                <a:lnTo>
                  <a:pt x="2045" y="1620"/>
                </a:lnTo>
                <a:lnTo>
                  <a:pt x="2042" y="1619"/>
                </a:lnTo>
                <a:lnTo>
                  <a:pt x="2040" y="1616"/>
                </a:lnTo>
                <a:lnTo>
                  <a:pt x="2039" y="1614"/>
                </a:lnTo>
                <a:lnTo>
                  <a:pt x="2038" y="1612"/>
                </a:lnTo>
                <a:lnTo>
                  <a:pt x="2038" y="1610"/>
                </a:lnTo>
                <a:lnTo>
                  <a:pt x="2038" y="1608"/>
                </a:lnTo>
                <a:lnTo>
                  <a:pt x="2039" y="1605"/>
                </a:lnTo>
                <a:lnTo>
                  <a:pt x="2040" y="1603"/>
                </a:lnTo>
                <a:lnTo>
                  <a:pt x="2041" y="1601"/>
                </a:lnTo>
                <a:lnTo>
                  <a:pt x="2043" y="1600"/>
                </a:lnTo>
                <a:lnTo>
                  <a:pt x="2044" y="1599"/>
                </a:lnTo>
                <a:lnTo>
                  <a:pt x="2046" y="1598"/>
                </a:lnTo>
                <a:lnTo>
                  <a:pt x="2048" y="1597"/>
                </a:lnTo>
                <a:lnTo>
                  <a:pt x="2050" y="1597"/>
                </a:lnTo>
                <a:close/>
                <a:moveTo>
                  <a:pt x="2160" y="1505"/>
                </a:moveTo>
                <a:lnTo>
                  <a:pt x="2163" y="1505"/>
                </a:lnTo>
                <a:lnTo>
                  <a:pt x="2165" y="1506"/>
                </a:lnTo>
                <a:lnTo>
                  <a:pt x="2167" y="1507"/>
                </a:lnTo>
                <a:lnTo>
                  <a:pt x="2169" y="1508"/>
                </a:lnTo>
                <a:lnTo>
                  <a:pt x="2171" y="1510"/>
                </a:lnTo>
                <a:lnTo>
                  <a:pt x="2172" y="1512"/>
                </a:lnTo>
                <a:lnTo>
                  <a:pt x="2172" y="1517"/>
                </a:lnTo>
                <a:lnTo>
                  <a:pt x="2172" y="1519"/>
                </a:lnTo>
                <a:lnTo>
                  <a:pt x="2171" y="1522"/>
                </a:lnTo>
                <a:lnTo>
                  <a:pt x="2170" y="1524"/>
                </a:lnTo>
                <a:lnTo>
                  <a:pt x="2169" y="1525"/>
                </a:lnTo>
                <a:lnTo>
                  <a:pt x="2165" y="1528"/>
                </a:lnTo>
                <a:lnTo>
                  <a:pt x="2160" y="1529"/>
                </a:lnTo>
                <a:lnTo>
                  <a:pt x="2158" y="1528"/>
                </a:lnTo>
                <a:lnTo>
                  <a:pt x="2156" y="1528"/>
                </a:lnTo>
                <a:lnTo>
                  <a:pt x="2153" y="1526"/>
                </a:lnTo>
                <a:lnTo>
                  <a:pt x="2152" y="1525"/>
                </a:lnTo>
                <a:lnTo>
                  <a:pt x="2150" y="1523"/>
                </a:lnTo>
                <a:lnTo>
                  <a:pt x="2149" y="1521"/>
                </a:lnTo>
                <a:lnTo>
                  <a:pt x="2148" y="1516"/>
                </a:lnTo>
                <a:lnTo>
                  <a:pt x="2149" y="1514"/>
                </a:lnTo>
                <a:lnTo>
                  <a:pt x="2149" y="1512"/>
                </a:lnTo>
                <a:lnTo>
                  <a:pt x="2151" y="1510"/>
                </a:lnTo>
                <a:lnTo>
                  <a:pt x="2152" y="1508"/>
                </a:lnTo>
                <a:lnTo>
                  <a:pt x="2156" y="1505"/>
                </a:lnTo>
                <a:lnTo>
                  <a:pt x="2160" y="1505"/>
                </a:lnTo>
                <a:close/>
                <a:moveTo>
                  <a:pt x="2261" y="1402"/>
                </a:moveTo>
                <a:lnTo>
                  <a:pt x="2266" y="1403"/>
                </a:lnTo>
                <a:lnTo>
                  <a:pt x="2268" y="1404"/>
                </a:lnTo>
                <a:lnTo>
                  <a:pt x="2270" y="1405"/>
                </a:lnTo>
                <a:lnTo>
                  <a:pt x="2271" y="1407"/>
                </a:lnTo>
                <a:lnTo>
                  <a:pt x="2272" y="1409"/>
                </a:lnTo>
                <a:lnTo>
                  <a:pt x="2273" y="1411"/>
                </a:lnTo>
                <a:lnTo>
                  <a:pt x="2273" y="1413"/>
                </a:lnTo>
                <a:lnTo>
                  <a:pt x="2273" y="1418"/>
                </a:lnTo>
                <a:lnTo>
                  <a:pt x="2272" y="1420"/>
                </a:lnTo>
                <a:lnTo>
                  <a:pt x="2270" y="1422"/>
                </a:lnTo>
                <a:lnTo>
                  <a:pt x="2268" y="1424"/>
                </a:lnTo>
                <a:lnTo>
                  <a:pt x="2266" y="1425"/>
                </a:lnTo>
                <a:lnTo>
                  <a:pt x="2264" y="1426"/>
                </a:lnTo>
                <a:lnTo>
                  <a:pt x="2261" y="1426"/>
                </a:lnTo>
                <a:lnTo>
                  <a:pt x="2257" y="1425"/>
                </a:lnTo>
                <a:lnTo>
                  <a:pt x="2255" y="1424"/>
                </a:lnTo>
                <a:lnTo>
                  <a:pt x="2253" y="1423"/>
                </a:lnTo>
                <a:lnTo>
                  <a:pt x="2252" y="1421"/>
                </a:lnTo>
                <a:lnTo>
                  <a:pt x="2251" y="1419"/>
                </a:lnTo>
                <a:lnTo>
                  <a:pt x="2250" y="1417"/>
                </a:lnTo>
                <a:lnTo>
                  <a:pt x="2249" y="1415"/>
                </a:lnTo>
                <a:lnTo>
                  <a:pt x="2250" y="1410"/>
                </a:lnTo>
                <a:lnTo>
                  <a:pt x="2251" y="1408"/>
                </a:lnTo>
                <a:lnTo>
                  <a:pt x="2253" y="1406"/>
                </a:lnTo>
                <a:lnTo>
                  <a:pt x="2255" y="1404"/>
                </a:lnTo>
                <a:lnTo>
                  <a:pt x="2257" y="1403"/>
                </a:lnTo>
                <a:lnTo>
                  <a:pt x="2259" y="1402"/>
                </a:lnTo>
                <a:lnTo>
                  <a:pt x="2261" y="1402"/>
                </a:lnTo>
                <a:close/>
                <a:moveTo>
                  <a:pt x="2354" y="1291"/>
                </a:moveTo>
                <a:lnTo>
                  <a:pt x="2358" y="1292"/>
                </a:lnTo>
                <a:lnTo>
                  <a:pt x="2361" y="1294"/>
                </a:lnTo>
                <a:lnTo>
                  <a:pt x="2364" y="1297"/>
                </a:lnTo>
                <a:lnTo>
                  <a:pt x="2365" y="1299"/>
                </a:lnTo>
                <a:lnTo>
                  <a:pt x="2366" y="1302"/>
                </a:lnTo>
                <a:lnTo>
                  <a:pt x="2366" y="1304"/>
                </a:lnTo>
                <a:lnTo>
                  <a:pt x="2365" y="1306"/>
                </a:lnTo>
                <a:lnTo>
                  <a:pt x="2365" y="1309"/>
                </a:lnTo>
                <a:lnTo>
                  <a:pt x="2363" y="1311"/>
                </a:lnTo>
                <a:lnTo>
                  <a:pt x="2361" y="1313"/>
                </a:lnTo>
                <a:lnTo>
                  <a:pt x="2359" y="1314"/>
                </a:lnTo>
                <a:lnTo>
                  <a:pt x="2356" y="1315"/>
                </a:lnTo>
                <a:lnTo>
                  <a:pt x="2354" y="1315"/>
                </a:lnTo>
                <a:lnTo>
                  <a:pt x="2350" y="1315"/>
                </a:lnTo>
                <a:lnTo>
                  <a:pt x="2347" y="1313"/>
                </a:lnTo>
                <a:lnTo>
                  <a:pt x="2343" y="1309"/>
                </a:lnTo>
                <a:lnTo>
                  <a:pt x="2342" y="1307"/>
                </a:lnTo>
                <a:lnTo>
                  <a:pt x="2342" y="1305"/>
                </a:lnTo>
                <a:lnTo>
                  <a:pt x="2342" y="1303"/>
                </a:lnTo>
                <a:lnTo>
                  <a:pt x="2342" y="1300"/>
                </a:lnTo>
                <a:lnTo>
                  <a:pt x="2343" y="1298"/>
                </a:lnTo>
                <a:lnTo>
                  <a:pt x="2344" y="1296"/>
                </a:lnTo>
                <a:lnTo>
                  <a:pt x="2346" y="1294"/>
                </a:lnTo>
                <a:lnTo>
                  <a:pt x="2349" y="1292"/>
                </a:lnTo>
                <a:lnTo>
                  <a:pt x="2351" y="1292"/>
                </a:lnTo>
                <a:lnTo>
                  <a:pt x="2354" y="1291"/>
                </a:lnTo>
                <a:close/>
                <a:moveTo>
                  <a:pt x="2436" y="1173"/>
                </a:moveTo>
                <a:lnTo>
                  <a:pt x="2439" y="1173"/>
                </a:lnTo>
                <a:lnTo>
                  <a:pt x="2442" y="1175"/>
                </a:lnTo>
                <a:lnTo>
                  <a:pt x="2445" y="1176"/>
                </a:lnTo>
                <a:lnTo>
                  <a:pt x="2447" y="1178"/>
                </a:lnTo>
                <a:lnTo>
                  <a:pt x="2448" y="1180"/>
                </a:lnTo>
                <a:lnTo>
                  <a:pt x="2449" y="1182"/>
                </a:lnTo>
                <a:lnTo>
                  <a:pt x="2449" y="1185"/>
                </a:lnTo>
                <a:lnTo>
                  <a:pt x="2449" y="1187"/>
                </a:lnTo>
                <a:lnTo>
                  <a:pt x="2448" y="1189"/>
                </a:lnTo>
                <a:lnTo>
                  <a:pt x="2447" y="1191"/>
                </a:lnTo>
                <a:lnTo>
                  <a:pt x="2445" y="1194"/>
                </a:lnTo>
                <a:lnTo>
                  <a:pt x="2442" y="1196"/>
                </a:lnTo>
                <a:lnTo>
                  <a:pt x="2439" y="1197"/>
                </a:lnTo>
                <a:lnTo>
                  <a:pt x="2436" y="1197"/>
                </a:lnTo>
                <a:lnTo>
                  <a:pt x="2433" y="1197"/>
                </a:lnTo>
                <a:lnTo>
                  <a:pt x="2430" y="1195"/>
                </a:lnTo>
                <a:lnTo>
                  <a:pt x="2428" y="1194"/>
                </a:lnTo>
                <a:lnTo>
                  <a:pt x="2426" y="1192"/>
                </a:lnTo>
                <a:lnTo>
                  <a:pt x="2425" y="1190"/>
                </a:lnTo>
                <a:lnTo>
                  <a:pt x="2424" y="1188"/>
                </a:lnTo>
                <a:lnTo>
                  <a:pt x="2424" y="1185"/>
                </a:lnTo>
                <a:lnTo>
                  <a:pt x="2424" y="1183"/>
                </a:lnTo>
                <a:lnTo>
                  <a:pt x="2425" y="1181"/>
                </a:lnTo>
                <a:lnTo>
                  <a:pt x="2426" y="1179"/>
                </a:lnTo>
                <a:lnTo>
                  <a:pt x="2428" y="1176"/>
                </a:lnTo>
                <a:lnTo>
                  <a:pt x="2430" y="1174"/>
                </a:lnTo>
                <a:lnTo>
                  <a:pt x="2433" y="1173"/>
                </a:lnTo>
                <a:lnTo>
                  <a:pt x="2436" y="1173"/>
                </a:lnTo>
                <a:close/>
                <a:moveTo>
                  <a:pt x="2505" y="1046"/>
                </a:moveTo>
                <a:lnTo>
                  <a:pt x="2507" y="1046"/>
                </a:lnTo>
                <a:lnTo>
                  <a:pt x="2509" y="1047"/>
                </a:lnTo>
                <a:lnTo>
                  <a:pt x="2511" y="1048"/>
                </a:lnTo>
                <a:lnTo>
                  <a:pt x="2513" y="1049"/>
                </a:lnTo>
                <a:lnTo>
                  <a:pt x="2516" y="1053"/>
                </a:lnTo>
                <a:lnTo>
                  <a:pt x="2516" y="1055"/>
                </a:lnTo>
                <a:lnTo>
                  <a:pt x="2517" y="1058"/>
                </a:lnTo>
                <a:lnTo>
                  <a:pt x="2516" y="1060"/>
                </a:lnTo>
                <a:lnTo>
                  <a:pt x="2516" y="1062"/>
                </a:lnTo>
                <a:lnTo>
                  <a:pt x="2515" y="1064"/>
                </a:lnTo>
                <a:lnTo>
                  <a:pt x="2514" y="1066"/>
                </a:lnTo>
                <a:lnTo>
                  <a:pt x="2511" y="1068"/>
                </a:lnTo>
                <a:lnTo>
                  <a:pt x="2508" y="1069"/>
                </a:lnTo>
                <a:lnTo>
                  <a:pt x="2505" y="1070"/>
                </a:lnTo>
                <a:lnTo>
                  <a:pt x="2502" y="1070"/>
                </a:lnTo>
                <a:lnTo>
                  <a:pt x="2500" y="1069"/>
                </a:lnTo>
                <a:lnTo>
                  <a:pt x="2498" y="1068"/>
                </a:lnTo>
                <a:lnTo>
                  <a:pt x="2496" y="1066"/>
                </a:lnTo>
                <a:lnTo>
                  <a:pt x="2493" y="1062"/>
                </a:lnTo>
                <a:lnTo>
                  <a:pt x="2493" y="1060"/>
                </a:lnTo>
                <a:lnTo>
                  <a:pt x="2493" y="1058"/>
                </a:lnTo>
                <a:lnTo>
                  <a:pt x="2493" y="1055"/>
                </a:lnTo>
                <a:lnTo>
                  <a:pt x="2494" y="1053"/>
                </a:lnTo>
                <a:lnTo>
                  <a:pt x="2494" y="1051"/>
                </a:lnTo>
                <a:lnTo>
                  <a:pt x="2495" y="1050"/>
                </a:lnTo>
                <a:lnTo>
                  <a:pt x="2498" y="1048"/>
                </a:lnTo>
                <a:lnTo>
                  <a:pt x="2501" y="1046"/>
                </a:lnTo>
                <a:lnTo>
                  <a:pt x="2505" y="1046"/>
                </a:lnTo>
                <a:close/>
                <a:moveTo>
                  <a:pt x="2556" y="911"/>
                </a:moveTo>
                <a:lnTo>
                  <a:pt x="2560" y="912"/>
                </a:lnTo>
                <a:lnTo>
                  <a:pt x="2562" y="913"/>
                </a:lnTo>
                <a:lnTo>
                  <a:pt x="2564" y="914"/>
                </a:lnTo>
                <a:lnTo>
                  <a:pt x="2566" y="916"/>
                </a:lnTo>
                <a:lnTo>
                  <a:pt x="2567" y="918"/>
                </a:lnTo>
                <a:lnTo>
                  <a:pt x="2567" y="920"/>
                </a:lnTo>
                <a:lnTo>
                  <a:pt x="2568" y="923"/>
                </a:lnTo>
                <a:lnTo>
                  <a:pt x="2567" y="927"/>
                </a:lnTo>
                <a:lnTo>
                  <a:pt x="2565" y="930"/>
                </a:lnTo>
                <a:lnTo>
                  <a:pt x="2562" y="933"/>
                </a:lnTo>
                <a:lnTo>
                  <a:pt x="2561" y="934"/>
                </a:lnTo>
                <a:lnTo>
                  <a:pt x="2559" y="934"/>
                </a:lnTo>
                <a:lnTo>
                  <a:pt x="2556" y="935"/>
                </a:lnTo>
                <a:lnTo>
                  <a:pt x="2551" y="934"/>
                </a:lnTo>
                <a:lnTo>
                  <a:pt x="2549" y="933"/>
                </a:lnTo>
                <a:lnTo>
                  <a:pt x="2547" y="932"/>
                </a:lnTo>
                <a:lnTo>
                  <a:pt x="2546" y="930"/>
                </a:lnTo>
                <a:lnTo>
                  <a:pt x="2545" y="928"/>
                </a:lnTo>
                <a:lnTo>
                  <a:pt x="2544" y="926"/>
                </a:lnTo>
                <a:lnTo>
                  <a:pt x="2544" y="923"/>
                </a:lnTo>
                <a:lnTo>
                  <a:pt x="2545" y="919"/>
                </a:lnTo>
                <a:lnTo>
                  <a:pt x="2546" y="915"/>
                </a:lnTo>
                <a:lnTo>
                  <a:pt x="2549" y="913"/>
                </a:lnTo>
                <a:lnTo>
                  <a:pt x="2551" y="912"/>
                </a:lnTo>
                <a:lnTo>
                  <a:pt x="2552" y="911"/>
                </a:lnTo>
                <a:lnTo>
                  <a:pt x="2556" y="911"/>
                </a:lnTo>
                <a:close/>
                <a:moveTo>
                  <a:pt x="2611" y="778"/>
                </a:moveTo>
                <a:lnTo>
                  <a:pt x="2613" y="778"/>
                </a:lnTo>
                <a:lnTo>
                  <a:pt x="2616" y="779"/>
                </a:lnTo>
                <a:lnTo>
                  <a:pt x="2618" y="780"/>
                </a:lnTo>
                <a:lnTo>
                  <a:pt x="2620" y="781"/>
                </a:lnTo>
                <a:lnTo>
                  <a:pt x="2621" y="783"/>
                </a:lnTo>
                <a:lnTo>
                  <a:pt x="2622" y="785"/>
                </a:lnTo>
                <a:lnTo>
                  <a:pt x="2623" y="790"/>
                </a:lnTo>
                <a:lnTo>
                  <a:pt x="2623" y="792"/>
                </a:lnTo>
                <a:lnTo>
                  <a:pt x="2622" y="794"/>
                </a:lnTo>
                <a:lnTo>
                  <a:pt x="2620" y="797"/>
                </a:lnTo>
                <a:lnTo>
                  <a:pt x="2617" y="800"/>
                </a:lnTo>
                <a:lnTo>
                  <a:pt x="2614" y="801"/>
                </a:lnTo>
                <a:lnTo>
                  <a:pt x="2611" y="802"/>
                </a:lnTo>
                <a:lnTo>
                  <a:pt x="2608" y="801"/>
                </a:lnTo>
                <a:lnTo>
                  <a:pt x="2606" y="801"/>
                </a:lnTo>
                <a:lnTo>
                  <a:pt x="2604" y="799"/>
                </a:lnTo>
                <a:lnTo>
                  <a:pt x="2602" y="798"/>
                </a:lnTo>
                <a:lnTo>
                  <a:pt x="2601" y="796"/>
                </a:lnTo>
                <a:lnTo>
                  <a:pt x="2600" y="794"/>
                </a:lnTo>
                <a:lnTo>
                  <a:pt x="2599" y="789"/>
                </a:lnTo>
                <a:lnTo>
                  <a:pt x="2599" y="787"/>
                </a:lnTo>
                <a:lnTo>
                  <a:pt x="2600" y="785"/>
                </a:lnTo>
                <a:lnTo>
                  <a:pt x="2602" y="782"/>
                </a:lnTo>
                <a:lnTo>
                  <a:pt x="2604" y="779"/>
                </a:lnTo>
                <a:lnTo>
                  <a:pt x="2607" y="778"/>
                </a:lnTo>
                <a:lnTo>
                  <a:pt x="2611" y="778"/>
                </a:lnTo>
                <a:close/>
                <a:moveTo>
                  <a:pt x="2673" y="648"/>
                </a:moveTo>
                <a:lnTo>
                  <a:pt x="2676" y="648"/>
                </a:lnTo>
                <a:lnTo>
                  <a:pt x="2679" y="649"/>
                </a:lnTo>
                <a:lnTo>
                  <a:pt x="2681" y="650"/>
                </a:lnTo>
                <a:lnTo>
                  <a:pt x="2683" y="652"/>
                </a:lnTo>
                <a:lnTo>
                  <a:pt x="2684" y="654"/>
                </a:lnTo>
                <a:lnTo>
                  <a:pt x="2685" y="656"/>
                </a:lnTo>
                <a:lnTo>
                  <a:pt x="2685" y="658"/>
                </a:lnTo>
                <a:lnTo>
                  <a:pt x="2685" y="661"/>
                </a:lnTo>
                <a:lnTo>
                  <a:pt x="2685" y="663"/>
                </a:lnTo>
                <a:lnTo>
                  <a:pt x="2684" y="665"/>
                </a:lnTo>
                <a:lnTo>
                  <a:pt x="2682" y="668"/>
                </a:lnTo>
                <a:lnTo>
                  <a:pt x="2679" y="670"/>
                </a:lnTo>
                <a:lnTo>
                  <a:pt x="2676" y="671"/>
                </a:lnTo>
                <a:lnTo>
                  <a:pt x="2673" y="672"/>
                </a:lnTo>
                <a:lnTo>
                  <a:pt x="2670" y="671"/>
                </a:lnTo>
                <a:lnTo>
                  <a:pt x="2668" y="670"/>
                </a:lnTo>
                <a:lnTo>
                  <a:pt x="2666" y="669"/>
                </a:lnTo>
                <a:lnTo>
                  <a:pt x="2664" y="667"/>
                </a:lnTo>
                <a:lnTo>
                  <a:pt x="2663" y="665"/>
                </a:lnTo>
                <a:lnTo>
                  <a:pt x="2662" y="663"/>
                </a:lnTo>
                <a:lnTo>
                  <a:pt x="2661" y="661"/>
                </a:lnTo>
                <a:lnTo>
                  <a:pt x="2661" y="659"/>
                </a:lnTo>
                <a:lnTo>
                  <a:pt x="2662" y="656"/>
                </a:lnTo>
                <a:lnTo>
                  <a:pt x="2663" y="654"/>
                </a:lnTo>
                <a:lnTo>
                  <a:pt x="2665" y="651"/>
                </a:lnTo>
                <a:lnTo>
                  <a:pt x="2667" y="649"/>
                </a:lnTo>
                <a:lnTo>
                  <a:pt x="2670" y="648"/>
                </a:lnTo>
                <a:lnTo>
                  <a:pt x="2673" y="648"/>
                </a:lnTo>
                <a:close/>
                <a:moveTo>
                  <a:pt x="2744" y="521"/>
                </a:moveTo>
                <a:lnTo>
                  <a:pt x="2748" y="522"/>
                </a:lnTo>
                <a:lnTo>
                  <a:pt x="2751" y="523"/>
                </a:lnTo>
                <a:lnTo>
                  <a:pt x="2753" y="525"/>
                </a:lnTo>
                <a:lnTo>
                  <a:pt x="2754" y="527"/>
                </a:lnTo>
                <a:lnTo>
                  <a:pt x="2755" y="529"/>
                </a:lnTo>
                <a:lnTo>
                  <a:pt x="2756" y="531"/>
                </a:lnTo>
                <a:lnTo>
                  <a:pt x="2756" y="533"/>
                </a:lnTo>
                <a:lnTo>
                  <a:pt x="2756" y="535"/>
                </a:lnTo>
                <a:lnTo>
                  <a:pt x="2756" y="538"/>
                </a:lnTo>
                <a:lnTo>
                  <a:pt x="2755" y="540"/>
                </a:lnTo>
                <a:lnTo>
                  <a:pt x="2753" y="542"/>
                </a:lnTo>
                <a:lnTo>
                  <a:pt x="2750" y="544"/>
                </a:lnTo>
                <a:lnTo>
                  <a:pt x="2747" y="545"/>
                </a:lnTo>
                <a:lnTo>
                  <a:pt x="2744" y="545"/>
                </a:lnTo>
                <a:lnTo>
                  <a:pt x="2741" y="545"/>
                </a:lnTo>
                <a:lnTo>
                  <a:pt x="2738" y="544"/>
                </a:lnTo>
                <a:lnTo>
                  <a:pt x="2736" y="542"/>
                </a:lnTo>
                <a:lnTo>
                  <a:pt x="2735" y="540"/>
                </a:lnTo>
                <a:lnTo>
                  <a:pt x="2734" y="538"/>
                </a:lnTo>
                <a:lnTo>
                  <a:pt x="2733" y="536"/>
                </a:lnTo>
                <a:lnTo>
                  <a:pt x="2732" y="534"/>
                </a:lnTo>
                <a:lnTo>
                  <a:pt x="2733" y="532"/>
                </a:lnTo>
                <a:lnTo>
                  <a:pt x="2733" y="529"/>
                </a:lnTo>
                <a:lnTo>
                  <a:pt x="2734" y="527"/>
                </a:lnTo>
                <a:lnTo>
                  <a:pt x="2736" y="525"/>
                </a:lnTo>
                <a:lnTo>
                  <a:pt x="2739" y="523"/>
                </a:lnTo>
                <a:lnTo>
                  <a:pt x="2741" y="522"/>
                </a:lnTo>
                <a:lnTo>
                  <a:pt x="2744" y="521"/>
                </a:lnTo>
                <a:close/>
                <a:moveTo>
                  <a:pt x="2825" y="402"/>
                </a:moveTo>
                <a:lnTo>
                  <a:pt x="2829" y="403"/>
                </a:lnTo>
                <a:lnTo>
                  <a:pt x="2832" y="404"/>
                </a:lnTo>
                <a:lnTo>
                  <a:pt x="2834" y="406"/>
                </a:lnTo>
                <a:lnTo>
                  <a:pt x="2835" y="408"/>
                </a:lnTo>
                <a:lnTo>
                  <a:pt x="2836" y="410"/>
                </a:lnTo>
                <a:lnTo>
                  <a:pt x="2837" y="412"/>
                </a:lnTo>
                <a:lnTo>
                  <a:pt x="2837" y="415"/>
                </a:lnTo>
                <a:lnTo>
                  <a:pt x="2837" y="417"/>
                </a:lnTo>
                <a:lnTo>
                  <a:pt x="2836" y="419"/>
                </a:lnTo>
                <a:lnTo>
                  <a:pt x="2835" y="421"/>
                </a:lnTo>
                <a:lnTo>
                  <a:pt x="2833" y="423"/>
                </a:lnTo>
                <a:lnTo>
                  <a:pt x="2830" y="425"/>
                </a:lnTo>
                <a:lnTo>
                  <a:pt x="2828" y="426"/>
                </a:lnTo>
                <a:lnTo>
                  <a:pt x="2825" y="426"/>
                </a:lnTo>
                <a:lnTo>
                  <a:pt x="2821" y="426"/>
                </a:lnTo>
                <a:lnTo>
                  <a:pt x="2818" y="424"/>
                </a:lnTo>
                <a:lnTo>
                  <a:pt x="2816" y="422"/>
                </a:lnTo>
                <a:lnTo>
                  <a:pt x="2815" y="420"/>
                </a:lnTo>
                <a:lnTo>
                  <a:pt x="2814" y="418"/>
                </a:lnTo>
                <a:lnTo>
                  <a:pt x="2813" y="416"/>
                </a:lnTo>
                <a:lnTo>
                  <a:pt x="2813" y="414"/>
                </a:lnTo>
                <a:lnTo>
                  <a:pt x="2813" y="411"/>
                </a:lnTo>
                <a:lnTo>
                  <a:pt x="2814" y="409"/>
                </a:lnTo>
                <a:lnTo>
                  <a:pt x="2815" y="407"/>
                </a:lnTo>
                <a:lnTo>
                  <a:pt x="2817" y="405"/>
                </a:lnTo>
                <a:lnTo>
                  <a:pt x="2820" y="403"/>
                </a:lnTo>
                <a:lnTo>
                  <a:pt x="2822" y="402"/>
                </a:lnTo>
                <a:lnTo>
                  <a:pt x="2825" y="402"/>
                </a:lnTo>
                <a:close/>
                <a:moveTo>
                  <a:pt x="2916" y="290"/>
                </a:moveTo>
                <a:lnTo>
                  <a:pt x="2920" y="291"/>
                </a:lnTo>
                <a:lnTo>
                  <a:pt x="2922" y="292"/>
                </a:lnTo>
                <a:lnTo>
                  <a:pt x="2924" y="293"/>
                </a:lnTo>
                <a:lnTo>
                  <a:pt x="2925" y="295"/>
                </a:lnTo>
                <a:lnTo>
                  <a:pt x="2927" y="297"/>
                </a:lnTo>
                <a:lnTo>
                  <a:pt x="2927" y="299"/>
                </a:lnTo>
                <a:lnTo>
                  <a:pt x="2928" y="302"/>
                </a:lnTo>
                <a:lnTo>
                  <a:pt x="2928" y="304"/>
                </a:lnTo>
                <a:lnTo>
                  <a:pt x="2927" y="306"/>
                </a:lnTo>
                <a:lnTo>
                  <a:pt x="2926" y="308"/>
                </a:lnTo>
                <a:lnTo>
                  <a:pt x="2925" y="310"/>
                </a:lnTo>
                <a:lnTo>
                  <a:pt x="2923" y="312"/>
                </a:lnTo>
                <a:lnTo>
                  <a:pt x="2921" y="313"/>
                </a:lnTo>
                <a:lnTo>
                  <a:pt x="2918" y="314"/>
                </a:lnTo>
                <a:lnTo>
                  <a:pt x="2916" y="314"/>
                </a:lnTo>
                <a:lnTo>
                  <a:pt x="2912" y="314"/>
                </a:lnTo>
                <a:lnTo>
                  <a:pt x="2910" y="313"/>
                </a:lnTo>
                <a:lnTo>
                  <a:pt x="2908" y="311"/>
                </a:lnTo>
                <a:lnTo>
                  <a:pt x="2906" y="309"/>
                </a:lnTo>
                <a:lnTo>
                  <a:pt x="2905" y="307"/>
                </a:lnTo>
                <a:lnTo>
                  <a:pt x="2904" y="305"/>
                </a:lnTo>
                <a:lnTo>
                  <a:pt x="2904" y="303"/>
                </a:lnTo>
                <a:lnTo>
                  <a:pt x="2904" y="301"/>
                </a:lnTo>
                <a:lnTo>
                  <a:pt x="2904" y="298"/>
                </a:lnTo>
                <a:lnTo>
                  <a:pt x="2905" y="296"/>
                </a:lnTo>
                <a:lnTo>
                  <a:pt x="2907" y="294"/>
                </a:lnTo>
                <a:lnTo>
                  <a:pt x="2909" y="293"/>
                </a:lnTo>
                <a:lnTo>
                  <a:pt x="2911" y="291"/>
                </a:lnTo>
                <a:lnTo>
                  <a:pt x="2913" y="291"/>
                </a:lnTo>
                <a:lnTo>
                  <a:pt x="2916" y="290"/>
                </a:lnTo>
                <a:close/>
                <a:moveTo>
                  <a:pt x="3017" y="188"/>
                </a:moveTo>
                <a:lnTo>
                  <a:pt x="3019" y="188"/>
                </a:lnTo>
                <a:lnTo>
                  <a:pt x="3021" y="188"/>
                </a:lnTo>
                <a:lnTo>
                  <a:pt x="3023" y="190"/>
                </a:lnTo>
                <a:lnTo>
                  <a:pt x="3025" y="191"/>
                </a:lnTo>
                <a:lnTo>
                  <a:pt x="3027" y="193"/>
                </a:lnTo>
                <a:lnTo>
                  <a:pt x="3028" y="195"/>
                </a:lnTo>
                <a:lnTo>
                  <a:pt x="3029" y="200"/>
                </a:lnTo>
                <a:lnTo>
                  <a:pt x="3028" y="202"/>
                </a:lnTo>
                <a:lnTo>
                  <a:pt x="3027" y="204"/>
                </a:lnTo>
                <a:lnTo>
                  <a:pt x="3026" y="207"/>
                </a:lnTo>
                <a:lnTo>
                  <a:pt x="3025" y="208"/>
                </a:lnTo>
                <a:lnTo>
                  <a:pt x="3021" y="211"/>
                </a:lnTo>
                <a:lnTo>
                  <a:pt x="3017" y="212"/>
                </a:lnTo>
                <a:lnTo>
                  <a:pt x="3014" y="211"/>
                </a:lnTo>
                <a:lnTo>
                  <a:pt x="3012" y="211"/>
                </a:lnTo>
                <a:lnTo>
                  <a:pt x="3010" y="209"/>
                </a:lnTo>
                <a:lnTo>
                  <a:pt x="3008" y="208"/>
                </a:lnTo>
                <a:lnTo>
                  <a:pt x="3006" y="206"/>
                </a:lnTo>
                <a:lnTo>
                  <a:pt x="3005" y="204"/>
                </a:lnTo>
                <a:lnTo>
                  <a:pt x="3005" y="199"/>
                </a:lnTo>
                <a:lnTo>
                  <a:pt x="3005" y="197"/>
                </a:lnTo>
                <a:lnTo>
                  <a:pt x="3006" y="195"/>
                </a:lnTo>
                <a:lnTo>
                  <a:pt x="3007" y="193"/>
                </a:lnTo>
                <a:lnTo>
                  <a:pt x="3008" y="191"/>
                </a:lnTo>
                <a:lnTo>
                  <a:pt x="3012" y="188"/>
                </a:lnTo>
                <a:lnTo>
                  <a:pt x="3017" y="188"/>
                </a:lnTo>
                <a:close/>
                <a:moveTo>
                  <a:pt x="3127" y="95"/>
                </a:moveTo>
                <a:lnTo>
                  <a:pt x="3130" y="96"/>
                </a:lnTo>
                <a:lnTo>
                  <a:pt x="3132" y="97"/>
                </a:lnTo>
                <a:lnTo>
                  <a:pt x="3135" y="98"/>
                </a:lnTo>
                <a:lnTo>
                  <a:pt x="3137" y="100"/>
                </a:lnTo>
                <a:lnTo>
                  <a:pt x="3138" y="102"/>
                </a:lnTo>
                <a:lnTo>
                  <a:pt x="3139" y="105"/>
                </a:lnTo>
                <a:lnTo>
                  <a:pt x="3139" y="107"/>
                </a:lnTo>
                <a:lnTo>
                  <a:pt x="3139" y="109"/>
                </a:lnTo>
                <a:lnTo>
                  <a:pt x="3138" y="111"/>
                </a:lnTo>
                <a:lnTo>
                  <a:pt x="3138" y="114"/>
                </a:lnTo>
                <a:lnTo>
                  <a:pt x="3136" y="115"/>
                </a:lnTo>
                <a:lnTo>
                  <a:pt x="3134" y="117"/>
                </a:lnTo>
                <a:lnTo>
                  <a:pt x="3133" y="118"/>
                </a:lnTo>
                <a:lnTo>
                  <a:pt x="3131" y="119"/>
                </a:lnTo>
                <a:lnTo>
                  <a:pt x="3129" y="119"/>
                </a:lnTo>
                <a:lnTo>
                  <a:pt x="3127" y="119"/>
                </a:lnTo>
                <a:lnTo>
                  <a:pt x="3124" y="119"/>
                </a:lnTo>
                <a:lnTo>
                  <a:pt x="3122" y="118"/>
                </a:lnTo>
                <a:lnTo>
                  <a:pt x="3120" y="117"/>
                </a:lnTo>
                <a:lnTo>
                  <a:pt x="3118" y="115"/>
                </a:lnTo>
                <a:lnTo>
                  <a:pt x="3116" y="113"/>
                </a:lnTo>
                <a:lnTo>
                  <a:pt x="3116" y="110"/>
                </a:lnTo>
                <a:lnTo>
                  <a:pt x="3115" y="108"/>
                </a:lnTo>
                <a:lnTo>
                  <a:pt x="3115" y="106"/>
                </a:lnTo>
                <a:lnTo>
                  <a:pt x="3116" y="104"/>
                </a:lnTo>
                <a:lnTo>
                  <a:pt x="3117" y="101"/>
                </a:lnTo>
                <a:lnTo>
                  <a:pt x="3118" y="100"/>
                </a:lnTo>
                <a:lnTo>
                  <a:pt x="3120" y="98"/>
                </a:lnTo>
                <a:lnTo>
                  <a:pt x="3122" y="97"/>
                </a:lnTo>
                <a:lnTo>
                  <a:pt x="3123" y="96"/>
                </a:lnTo>
                <a:lnTo>
                  <a:pt x="3125" y="96"/>
                </a:lnTo>
                <a:lnTo>
                  <a:pt x="3127" y="95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766763" y="2565400"/>
            <a:ext cx="2016869" cy="3671888"/>
          </a:xfrm>
          <a:prstGeom prst="roundRect">
            <a:avLst>
              <a:gd name="adj" fmla="val 7202"/>
            </a:avLst>
          </a:prstGeom>
          <a:solidFill>
            <a:schemeClr val="accent3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714375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5087888" y="2565400"/>
            <a:ext cx="2016224" cy="3671888"/>
          </a:xfrm>
          <a:prstGeom prst="roundRect">
            <a:avLst>
              <a:gd name="adj" fmla="val 7317"/>
            </a:avLst>
          </a:prstGeom>
          <a:solidFill>
            <a:schemeClr val="accent3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714375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2927650" y="2565400"/>
            <a:ext cx="2016222" cy="3671888"/>
          </a:xfrm>
          <a:prstGeom prst="roundRect">
            <a:avLst>
              <a:gd name="adj" fmla="val 7058"/>
            </a:avLst>
          </a:prstGeom>
          <a:solidFill>
            <a:schemeClr val="accent3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714375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25"/>
          </p:nvPr>
        </p:nvSpPr>
        <p:spPr>
          <a:xfrm>
            <a:off x="7248129" y="2565400"/>
            <a:ext cx="2016224" cy="3671888"/>
          </a:xfrm>
          <a:prstGeom prst="roundRect">
            <a:avLst>
              <a:gd name="adj" fmla="val 7517"/>
            </a:avLst>
          </a:prstGeom>
          <a:solidFill>
            <a:schemeClr val="accent5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714375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27"/>
          </p:nvPr>
        </p:nvSpPr>
        <p:spPr>
          <a:xfrm>
            <a:off x="9408369" y="2565400"/>
            <a:ext cx="2016870" cy="3671888"/>
          </a:xfrm>
          <a:prstGeom prst="roundRect">
            <a:avLst>
              <a:gd name="adj" fmla="val 7520"/>
            </a:avLst>
          </a:prstGeom>
          <a:solidFill>
            <a:schemeClr val="accent4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714375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31" name="Text Placeholder 2"/>
          <p:cNvSpPr>
            <a:spLocks noGrp="1"/>
          </p:cNvSpPr>
          <p:nvPr>
            <p:ph type="body" idx="1"/>
          </p:nvPr>
        </p:nvSpPr>
        <p:spPr>
          <a:xfrm>
            <a:off x="766763" y="1916112"/>
            <a:ext cx="2016869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idx="28"/>
          </p:nvPr>
        </p:nvSpPr>
        <p:spPr>
          <a:xfrm>
            <a:off x="2927648" y="1916112"/>
            <a:ext cx="2016869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idx="29"/>
          </p:nvPr>
        </p:nvSpPr>
        <p:spPr>
          <a:xfrm>
            <a:off x="5087565" y="1916112"/>
            <a:ext cx="2016869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idx="30"/>
          </p:nvPr>
        </p:nvSpPr>
        <p:spPr>
          <a:xfrm>
            <a:off x="7248128" y="1916112"/>
            <a:ext cx="2016869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idx="31"/>
          </p:nvPr>
        </p:nvSpPr>
        <p:spPr>
          <a:xfrm>
            <a:off x="9408369" y="1916112"/>
            <a:ext cx="2016869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Freeform 24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4772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2nd" preserve="1" userDrawn="1">
  <p:cSld name="slide_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19"/>
          <p:cNvSpPr>
            <a:spLocks noEditPoints="1"/>
          </p:cNvSpPr>
          <p:nvPr userDrawn="1"/>
        </p:nvSpPr>
        <p:spPr bwMode="auto">
          <a:xfrm>
            <a:off x="9227862" y="4572704"/>
            <a:ext cx="2964138" cy="2285296"/>
          </a:xfrm>
          <a:custGeom>
            <a:avLst/>
            <a:gdLst>
              <a:gd name="T0" fmla="*/ 1306 w 2943"/>
              <a:gd name="T1" fmla="*/ 86 h 2269"/>
              <a:gd name="T2" fmla="*/ 1146 w 2943"/>
              <a:gd name="T3" fmla="*/ 156 h 2269"/>
              <a:gd name="T4" fmla="*/ 981 w 2943"/>
              <a:gd name="T5" fmla="*/ 272 h 2269"/>
              <a:gd name="T6" fmla="*/ 830 w 2943"/>
              <a:gd name="T7" fmla="*/ 409 h 2269"/>
              <a:gd name="T8" fmla="*/ 2484 w 2943"/>
              <a:gd name="T9" fmla="*/ 196 h 2269"/>
              <a:gd name="T10" fmla="*/ 2662 w 2943"/>
              <a:gd name="T11" fmla="*/ 241 h 2269"/>
              <a:gd name="T12" fmla="*/ 530 w 2943"/>
              <a:gd name="T13" fmla="*/ 749 h 2269"/>
              <a:gd name="T14" fmla="*/ 369 w 2943"/>
              <a:gd name="T15" fmla="*/ 1038 h 2269"/>
              <a:gd name="T16" fmla="*/ 210 w 2943"/>
              <a:gd name="T17" fmla="*/ 1476 h 2269"/>
              <a:gd name="T18" fmla="*/ 103 w 2943"/>
              <a:gd name="T19" fmla="*/ 1864 h 2269"/>
              <a:gd name="T20" fmla="*/ 23 w 2943"/>
              <a:gd name="T21" fmla="*/ 2262 h 2269"/>
              <a:gd name="T22" fmla="*/ 2051 w 2943"/>
              <a:gd name="T23" fmla="*/ 2226 h 2269"/>
              <a:gd name="T24" fmla="*/ 2345 w 2943"/>
              <a:gd name="T25" fmla="*/ 2074 h 2269"/>
              <a:gd name="T26" fmla="*/ 2533 w 2943"/>
              <a:gd name="T27" fmla="*/ 2011 h 2269"/>
              <a:gd name="T28" fmla="*/ 1696 w 2943"/>
              <a:gd name="T29" fmla="*/ 2140 h 2269"/>
              <a:gd name="T30" fmla="*/ 2029 w 2943"/>
              <a:gd name="T31" fmla="*/ 1898 h 2269"/>
              <a:gd name="T32" fmla="*/ 2719 w 2943"/>
              <a:gd name="T33" fmla="*/ 1738 h 2269"/>
              <a:gd name="T34" fmla="*/ 2406 w 2943"/>
              <a:gd name="T35" fmla="*/ 1779 h 2269"/>
              <a:gd name="T36" fmla="*/ 1389 w 2943"/>
              <a:gd name="T37" fmla="*/ 2095 h 2269"/>
              <a:gd name="T38" fmla="*/ 1668 w 2943"/>
              <a:gd name="T39" fmla="*/ 1825 h 2269"/>
              <a:gd name="T40" fmla="*/ 2797 w 2943"/>
              <a:gd name="T41" fmla="*/ 1521 h 2269"/>
              <a:gd name="T42" fmla="*/ 2603 w 2943"/>
              <a:gd name="T43" fmla="*/ 1489 h 2269"/>
              <a:gd name="T44" fmla="*/ 2189 w 2943"/>
              <a:gd name="T45" fmla="*/ 1529 h 2269"/>
              <a:gd name="T46" fmla="*/ 1051 w 2943"/>
              <a:gd name="T47" fmla="*/ 2125 h 2269"/>
              <a:gd name="T48" fmla="*/ 1304 w 2943"/>
              <a:gd name="T49" fmla="*/ 1800 h 2269"/>
              <a:gd name="T50" fmla="*/ 2918 w 2943"/>
              <a:gd name="T51" fmla="*/ 1313 h 2269"/>
              <a:gd name="T52" fmla="*/ 1698 w 2943"/>
              <a:gd name="T53" fmla="*/ 1471 h 2269"/>
              <a:gd name="T54" fmla="*/ 1879 w 2943"/>
              <a:gd name="T55" fmla="*/ 1359 h 2269"/>
              <a:gd name="T56" fmla="*/ 2303 w 2943"/>
              <a:gd name="T57" fmla="*/ 1243 h 2269"/>
              <a:gd name="T58" fmla="*/ 737 w 2943"/>
              <a:gd name="T59" fmla="*/ 2186 h 2269"/>
              <a:gd name="T60" fmla="*/ 936 w 2943"/>
              <a:gd name="T61" fmla="*/ 1843 h 2269"/>
              <a:gd name="T62" fmla="*/ 1196 w 2943"/>
              <a:gd name="T63" fmla="*/ 1538 h 2269"/>
              <a:gd name="T64" fmla="*/ 2823 w 2943"/>
              <a:gd name="T65" fmla="*/ 1075 h 2269"/>
              <a:gd name="T66" fmla="*/ 1551 w 2943"/>
              <a:gd name="T67" fmla="*/ 1234 h 2269"/>
              <a:gd name="T68" fmla="*/ 1724 w 2943"/>
              <a:gd name="T69" fmla="*/ 1134 h 2269"/>
              <a:gd name="T70" fmla="*/ 1908 w 2943"/>
              <a:gd name="T71" fmla="*/ 1044 h 2269"/>
              <a:gd name="T72" fmla="*/ 537 w 2943"/>
              <a:gd name="T73" fmla="*/ 2146 h 2269"/>
              <a:gd name="T74" fmla="*/ 708 w 2943"/>
              <a:gd name="T75" fmla="*/ 1786 h 2269"/>
              <a:gd name="T76" fmla="*/ 929 w 2943"/>
              <a:gd name="T77" fmla="*/ 1457 h 2269"/>
              <a:gd name="T78" fmla="*/ 1144 w 2943"/>
              <a:gd name="T79" fmla="*/ 1206 h 2269"/>
              <a:gd name="T80" fmla="*/ 2641 w 2943"/>
              <a:gd name="T81" fmla="*/ 833 h 2269"/>
              <a:gd name="T82" fmla="*/ 2382 w 2943"/>
              <a:gd name="T83" fmla="*/ 806 h 2269"/>
              <a:gd name="T84" fmla="*/ 2182 w 2943"/>
              <a:gd name="T85" fmla="*/ 771 h 2269"/>
              <a:gd name="T86" fmla="*/ 1803 w 2943"/>
              <a:gd name="T87" fmla="*/ 806 h 2269"/>
              <a:gd name="T88" fmla="*/ 375 w 2943"/>
              <a:gd name="T89" fmla="*/ 2079 h 2269"/>
              <a:gd name="T90" fmla="*/ 524 w 2943"/>
              <a:gd name="T91" fmla="*/ 1716 h 2269"/>
              <a:gd name="T92" fmla="*/ 707 w 2943"/>
              <a:gd name="T93" fmla="*/ 1362 h 2269"/>
              <a:gd name="T94" fmla="*/ 883 w 2943"/>
              <a:gd name="T95" fmla="*/ 1085 h 2269"/>
              <a:gd name="T96" fmla="*/ 2716 w 2943"/>
              <a:gd name="T97" fmla="*/ 657 h 2269"/>
              <a:gd name="T98" fmla="*/ 1110 w 2943"/>
              <a:gd name="T99" fmla="*/ 845 h 2269"/>
              <a:gd name="T100" fmla="*/ 1258 w 2943"/>
              <a:gd name="T101" fmla="*/ 730 h 2269"/>
              <a:gd name="T102" fmla="*/ 1502 w 2943"/>
              <a:gd name="T103" fmla="*/ 591 h 2269"/>
              <a:gd name="T104" fmla="*/ 1876 w 2943"/>
              <a:gd name="T105" fmla="*/ 499 h 2269"/>
              <a:gd name="T106" fmla="*/ 213 w 2943"/>
              <a:gd name="T107" fmla="*/ 2022 h 2269"/>
              <a:gd name="T108" fmla="*/ 336 w 2943"/>
              <a:gd name="T109" fmla="*/ 1645 h 2269"/>
              <a:gd name="T110" fmla="*/ 500 w 2943"/>
              <a:gd name="T111" fmla="*/ 1291 h 2269"/>
              <a:gd name="T112" fmla="*/ 701 w 2943"/>
              <a:gd name="T113" fmla="*/ 944 h 2269"/>
              <a:gd name="T114" fmla="*/ 2732 w 2943"/>
              <a:gd name="T115" fmla="*/ 452 h 2269"/>
              <a:gd name="T116" fmla="*/ 2530 w 2943"/>
              <a:gd name="T117" fmla="*/ 412 h 2269"/>
              <a:gd name="T118" fmla="*/ 982 w 2943"/>
              <a:gd name="T119" fmla="*/ 607 h 2269"/>
              <a:gd name="T120" fmla="*/ 1138 w 2943"/>
              <a:gd name="T121" fmla="*/ 484 h 2269"/>
              <a:gd name="T122" fmla="*/ 1312 w 2943"/>
              <a:gd name="T123" fmla="*/ 388 h 2269"/>
              <a:gd name="T124" fmla="*/ 1517 w 2943"/>
              <a:gd name="T125" fmla="*/ 301 h 2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943" h="2269">
                <a:moveTo>
                  <a:pt x="1502" y="12"/>
                </a:moveTo>
                <a:lnTo>
                  <a:pt x="1505" y="12"/>
                </a:lnTo>
                <a:lnTo>
                  <a:pt x="1507" y="12"/>
                </a:lnTo>
                <a:lnTo>
                  <a:pt x="1510" y="13"/>
                </a:lnTo>
                <a:lnTo>
                  <a:pt x="1512" y="14"/>
                </a:lnTo>
                <a:lnTo>
                  <a:pt x="1514" y="16"/>
                </a:lnTo>
                <a:lnTo>
                  <a:pt x="1515" y="18"/>
                </a:lnTo>
                <a:lnTo>
                  <a:pt x="1517" y="20"/>
                </a:lnTo>
                <a:lnTo>
                  <a:pt x="1517" y="23"/>
                </a:lnTo>
                <a:lnTo>
                  <a:pt x="1517" y="25"/>
                </a:lnTo>
                <a:lnTo>
                  <a:pt x="1517" y="28"/>
                </a:lnTo>
                <a:lnTo>
                  <a:pt x="1515" y="33"/>
                </a:lnTo>
                <a:lnTo>
                  <a:pt x="1513" y="34"/>
                </a:lnTo>
                <a:lnTo>
                  <a:pt x="1511" y="36"/>
                </a:lnTo>
                <a:lnTo>
                  <a:pt x="1509" y="37"/>
                </a:lnTo>
                <a:lnTo>
                  <a:pt x="1507" y="38"/>
                </a:lnTo>
                <a:lnTo>
                  <a:pt x="1504" y="38"/>
                </a:lnTo>
                <a:lnTo>
                  <a:pt x="1501" y="38"/>
                </a:lnTo>
                <a:lnTo>
                  <a:pt x="1499" y="37"/>
                </a:lnTo>
                <a:lnTo>
                  <a:pt x="1496" y="35"/>
                </a:lnTo>
                <a:lnTo>
                  <a:pt x="1495" y="34"/>
                </a:lnTo>
                <a:lnTo>
                  <a:pt x="1493" y="32"/>
                </a:lnTo>
                <a:lnTo>
                  <a:pt x="1492" y="29"/>
                </a:lnTo>
                <a:lnTo>
                  <a:pt x="1491" y="27"/>
                </a:lnTo>
                <a:lnTo>
                  <a:pt x="1491" y="24"/>
                </a:lnTo>
                <a:lnTo>
                  <a:pt x="1491" y="22"/>
                </a:lnTo>
                <a:lnTo>
                  <a:pt x="1493" y="17"/>
                </a:lnTo>
                <a:lnTo>
                  <a:pt x="1495" y="15"/>
                </a:lnTo>
                <a:lnTo>
                  <a:pt x="1497" y="14"/>
                </a:lnTo>
                <a:lnTo>
                  <a:pt x="1499" y="13"/>
                </a:lnTo>
                <a:lnTo>
                  <a:pt x="1502" y="12"/>
                </a:lnTo>
                <a:close/>
                <a:moveTo>
                  <a:pt x="1437" y="24"/>
                </a:moveTo>
                <a:lnTo>
                  <a:pt x="1442" y="24"/>
                </a:lnTo>
                <a:lnTo>
                  <a:pt x="1444" y="25"/>
                </a:lnTo>
                <a:lnTo>
                  <a:pt x="1447" y="26"/>
                </a:lnTo>
                <a:lnTo>
                  <a:pt x="1448" y="28"/>
                </a:lnTo>
                <a:lnTo>
                  <a:pt x="1450" y="30"/>
                </a:lnTo>
                <a:lnTo>
                  <a:pt x="1451" y="32"/>
                </a:lnTo>
                <a:lnTo>
                  <a:pt x="1452" y="34"/>
                </a:lnTo>
                <a:lnTo>
                  <a:pt x="1452" y="37"/>
                </a:lnTo>
                <a:lnTo>
                  <a:pt x="1452" y="39"/>
                </a:lnTo>
                <a:lnTo>
                  <a:pt x="1452" y="42"/>
                </a:lnTo>
                <a:lnTo>
                  <a:pt x="1450" y="44"/>
                </a:lnTo>
                <a:lnTo>
                  <a:pt x="1449" y="46"/>
                </a:lnTo>
                <a:lnTo>
                  <a:pt x="1447" y="48"/>
                </a:lnTo>
                <a:lnTo>
                  <a:pt x="1445" y="49"/>
                </a:lnTo>
                <a:lnTo>
                  <a:pt x="1442" y="50"/>
                </a:lnTo>
                <a:lnTo>
                  <a:pt x="1437" y="50"/>
                </a:lnTo>
                <a:lnTo>
                  <a:pt x="1434" y="49"/>
                </a:lnTo>
                <a:lnTo>
                  <a:pt x="1432" y="48"/>
                </a:lnTo>
                <a:lnTo>
                  <a:pt x="1430" y="47"/>
                </a:lnTo>
                <a:lnTo>
                  <a:pt x="1428" y="45"/>
                </a:lnTo>
                <a:lnTo>
                  <a:pt x="1427" y="42"/>
                </a:lnTo>
                <a:lnTo>
                  <a:pt x="1426" y="40"/>
                </a:lnTo>
                <a:lnTo>
                  <a:pt x="1426" y="37"/>
                </a:lnTo>
                <a:lnTo>
                  <a:pt x="1426" y="35"/>
                </a:lnTo>
                <a:lnTo>
                  <a:pt x="1427" y="32"/>
                </a:lnTo>
                <a:lnTo>
                  <a:pt x="1428" y="30"/>
                </a:lnTo>
                <a:lnTo>
                  <a:pt x="1430" y="28"/>
                </a:lnTo>
                <a:lnTo>
                  <a:pt x="1432" y="26"/>
                </a:lnTo>
                <a:lnTo>
                  <a:pt x="1434" y="25"/>
                </a:lnTo>
                <a:lnTo>
                  <a:pt x="1436" y="24"/>
                </a:lnTo>
                <a:lnTo>
                  <a:pt x="1437" y="24"/>
                </a:lnTo>
                <a:close/>
                <a:moveTo>
                  <a:pt x="1568" y="4"/>
                </a:moveTo>
                <a:lnTo>
                  <a:pt x="1571" y="4"/>
                </a:lnTo>
                <a:lnTo>
                  <a:pt x="1573" y="4"/>
                </a:lnTo>
                <a:lnTo>
                  <a:pt x="1576" y="5"/>
                </a:lnTo>
                <a:lnTo>
                  <a:pt x="1578" y="7"/>
                </a:lnTo>
                <a:lnTo>
                  <a:pt x="1580" y="9"/>
                </a:lnTo>
                <a:lnTo>
                  <a:pt x="1582" y="11"/>
                </a:lnTo>
                <a:lnTo>
                  <a:pt x="1583" y="13"/>
                </a:lnTo>
                <a:lnTo>
                  <a:pt x="1583" y="16"/>
                </a:lnTo>
                <a:lnTo>
                  <a:pt x="1583" y="18"/>
                </a:lnTo>
                <a:lnTo>
                  <a:pt x="1583" y="21"/>
                </a:lnTo>
                <a:lnTo>
                  <a:pt x="1582" y="23"/>
                </a:lnTo>
                <a:lnTo>
                  <a:pt x="1580" y="25"/>
                </a:lnTo>
                <a:lnTo>
                  <a:pt x="1577" y="28"/>
                </a:lnTo>
                <a:lnTo>
                  <a:pt x="1575" y="29"/>
                </a:lnTo>
                <a:lnTo>
                  <a:pt x="1572" y="30"/>
                </a:lnTo>
                <a:lnTo>
                  <a:pt x="1569" y="30"/>
                </a:lnTo>
                <a:lnTo>
                  <a:pt x="1566" y="29"/>
                </a:lnTo>
                <a:lnTo>
                  <a:pt x="1564" y="28"/>
                </a:lnTo>
                <a:lnTo>
                  <a:pt x="1562" y="27"/>
                </a:lnTo>
                <a:lnTo>
                  <a:pt x="1560" y="25"/>
                </a:lnTo>
                <a:lnTo>
                  <a:pt x="1558" y="23"/>
                </a:lnTo>
                <a:lnTo>
                  <a:pt x="1557" y="21"/>
                </a:lnTo>
                <a:lnTo>
                  <a:pt x="1557" y="18"/>
                </a:lnTo>
                <a:lnTo>
                  <a:pt x="1557" y="16"/>
                </a:lnTo>
                <a:lnTo>
                  <a:pt x="1557" y="13"/>
                </a:lnTo>
                <a:lnTo>
                  <a:pt x="1558" y="11"/>
                </a:lnTo>
                <a:lnTo>
                  <a:pt x="1559" y="9"/>
                </a:lnTo>
                <a:lnTo>
                  <a:pt x="1563" y="6"/>
                </a:lnTo>
                <a:lnTo>
                  <a:pt x="1565" y="5"/>
                </a:lnTo>
                <a:lnTo>
                  <a:pt x="1568" y="4"/>
                </a:lnTo>
                <a:close/>
                <a:moveTo>
                  <a:pt x="1373" y="41"/>
                </a:moveTo>
                <a:lnTo>
                  <a:pt x="1378" y="41"/>
                </a:lnTo>
                <a:lnTo>
                  <a:pt x="1380" y="41"/>
                </a:lnTo>
                <a:lnTo>
                  <a:pt x="1382" y="42"/>
                </a:lnTo>
                <a:lnTo>
                  <a:pt x="1384" y="44"/>
                </a:lnTo>
                <a:lnTo>
                  <a:pt x="1386" y="46"/>
                </a:lnTo>
                <a:lnTo>
                  <a:pt x="1387" y="48"/>
                </a:lnTo>
                <a:lnTo>
                  <a:pt x="1388" y="50"/>
                </a:lnTo>
                <a:lnTo>
                  <a:pt x="1388" y="53"/>
                </a:lnTo>
                <a:lnTo>
                  <a:pt x="1388" y="55"/>
                </a:lnTo>
                <a:lnTo>
                  <a:pt x="1388" y="58"/>
                </a:lnTo>
                <a:lnTo>
                  <a:pt x="1387" y="60"/>
                </a:lnTo>
                <a:lnTo>
                  <a:pt x="1385" y="62"/>
                </a:lnTo>
                <a:lnTo>
                  <a:pt x="1384" y="64"/>
                </a:lnTo>
                <a:lnTo>
                  <a:pt x="1381" y="65"/>
                </a:lnTo>
                <a:lnTo>
                  <a:pt x="1379" y="66"/>
                </a:lnTo>
                <a:lnTo>
                  <a:pt x="1377" y="67"/>
                </a:lnTo>
                <a:lnTo>
                  <a:pt x="1373" y="67"/>
                </a:lnTo>
                <a:lnTo>
                  <a:pt x="1370" y="66"/>
                </a:lnTo>
                <a:lnTo>
                  <a:pt x="1368" y="65"/>
                </a:lnTo>
                <a:lnTo>
                  <a:pt x="1366" y="63"/>
                </a:lnTo>
                <a:lnTo>
                  <a:pt x="1365" y="62"/>
                </a:lnTo>
                <a:lnTo>
                  <a:pt x="1363" y="60"/>
                </a:lnTo>
                <a:lnTo>
                  <a:pt x="1362" y="57"/>
                </a:lnTo>
                <a:lnTo>
                  <a:pt x="1362" y="55"/>
                </a:lnTo>
                <a:lnTo>
                  <a:pt x="1362" y="52"/>
                </a:lnTo>
                <a:lnTo>
                  <a:pt x="1363" y="50"/>
                </a:lnTo>
                <a:lnTo>
                  <a:pt x="1364" y="47"/>
                </a:lnTo>
                <a:lnTo>
                  <a:pt x="1365" y="45"/>
                </a:lnTo>
                <a:lnTo>
                  <a:pt x="1367" y="43"/>
                </a:lnTo>
                <a:lnTo>
                  <a:pt x="1369" y="42"/>
                </a:lnTo>
                <a:lnTo>
                  <a:pt x="1371" y="41"/>
                </a:lnTo>
                <a:lnTo>
                  <a:pt x="1373" y="41"/>
                </a:lnTo>
                <a:close/>
                <a:moveTo>
                  <a:pt x="1634" y="1"/>
                </a:moveTo>
                <a:lnTo>
                  <a:pt x="1636" y="0"/>
                </a:lnTo>
                <a:lnTo>
                  <a:pt x="1638" y="1"/>
                </a:lnTo>
                <a:lnTo>
                  <a:pt x="1641" y="1"/>
                </a:lnTo>
                <a:lnTo>
                  <a:pt x="1643" y="3"/>
                </a:lnTo>
                <a:lnTo>
                  <a:pt x="1645" y="4"/>
                </a:lnTo>
                <a:lnTo>
                  <a:pt x="1647" y="6"/>
                </a:lnTo>
                <a:lnTo>
                  <a:pt x="1648" y="8"/>
                </a:lnTo>
                <a:lnTo>
                  <a:pt x="1649" y="11"/>
                </a:lnTo>
                <a:lnTo>
                  <a:pt x="1649" y="13"/>
                </a:lnTo>
                <a:lnTo>
                  <a:pt x="1649" y="16"/>
                </a:lnTo>
                <a:lnTo>
                  <a:pt x="1648" y="18"/>
                </a:lnTo>
                <a:lnTo>
                  <a:pt x="1647" y="20"/>
                </a:lnTo>
                <a:lnTo>
                  <a:pt x="1646" y="22"/>
                </a:lnTo>
                <a:lnTo>
                  <a:pt x="1645" y="24"/>
                </a:lnTo>
                <a:lnTo>
                  <a:pt x="1643" y="25"/>
                </a:lnTo>
                <a:lnTo>
                  <a:pt x="1641" y="26"/>
                </a:lnTo>
                <a:lnTo>
                  <a:pt x="1638" y="27"/>
                </a:lnTo>
                <a:lnTo>
                  <a:pt x="1636" y="27"/>
                </a:lnTo>
                <a:lnTo>
                  <a:pt x="1633" y="27"/>
                </a:lnTo>
                <a:lnTo>
                  <a:pt x="1631" y="26"/>
                </a:lnTo>
                <a:lnTo>
                  <a:pt x="1629" y="25"/>
                </a:lnTo>
                <a:lnTo>
                  <a:pt x="1627" y="23"/>
                </a:lnTo>
                <a:lnTo>
                  <a:pt x="1625" y="21"/>
                </a:lnTo>
                <a:lnTo>
                  <a:pt x="1624" y="19"/>
                </a:lnTo>
                <a:lnTo>
                  <a:pt x="1623" y="17"/>
                </a:lnTo>
                <a:lnTo>
                  <a:pt x="1623" y="14"/>
                </a:lnTo>
                <a:lnTo>
                  <a:pt x="1623" y="11"/>
                </a:lnTo>
                <a:lnTo>
                  <a:pt x="1623" y="9"/>
                </a:lnTo>
                <a:lnTo>
                  <a:pt x="1624" y="7"/>
                </a:lnTo>
                <a:lnTo>
                  <a:pt x="1626" y="5"/>
                </a:lnTo>
                <a:lnTo>
                  <a:pt x="1627" y="4"/>
                </a:lnTo>
                <a:lnTo>
                  <a:pt x="1629" y="2"/>
                </a:lnTo>
                <a:lnTo>
                  <a:pt x="1631" y="1"/>
                </a:lnTo>
                <a:lnTo>
                  <a:pt x="1634" y="1"/>
                </a:lnTo>
                <a:close/>
                <a:moveTo>
                  <a:pt x="1310" y="61"/>
                </a:moveTo>
                <a:lnTo>
                  <a:pt x="1315" y="61"/>
                </a:lnTo>
                <a:lnTo>
                  <a:pt x="1317" y="62"/>
                </a:lnTo>
                <a:lnTo>
                  <a:pt x="1319" y="63"/>
                </a:lnTo>
                <a:lnTo>
                  <a:pt x="1321" y="64"/>
                </a:lnTo>
                <a:lnTo>
                  <a:pt x="1322" y="66"/>
                </a:lnTo>
                <a:lnTo>
                  <a:pt x="1324" y="67"/>
                </a:lnTo>
                <a:lnTo>
                  <a:pt x="1325" y="70"/>
                </a:lnTo>
                <a:lnTo>
                  <a:pt x="1326" y="75"/>
                </a:lnTo>
                <a:lnTo>
                  <a:pt x="1325" y="77"/>
                </a:lnTo>
                <a:lnTo>
                  <a:pt x="1324" y="80"/>
                </a:lnTo>
                <a:lnTo>
                  <a:pt x="1323" y="82"/>
                </a:lnTo>
                <a:lnTo>
                  <a:pt x="1321" y="84"/>
                </a:lnTo>
                <a:lnTo>
                  <a:pt x="1319" y="85"/>
                </a:lnTo>
                <a:lnTo>
                  <a:pt x="1317" y="87"/>
                </a:lnTo>
                <a:lnTo>
                  <a:pt x="1315" y="87"/>
                </a:lnTo>
                <a:lnTo>
                  <a:pt x="1310" y="87"/>
                </a:lnTo>
                <a:lnTo>
                  <a:pt x="1308" y="87"/>
                </a:lnTo>
                <a:lnTo>
                  <a:pt x="1306" y="86"/>
                </a:lnTo>
                <a:lnTo>
                  <a:pt x="1304" y="84"/>
                </a:lnTo>
                <a:lnTo>
                  <a:pt x="1302" y="83"/>
                </a:lnTo>
                <a:lnTo>
                  <a:pt x="1301" y="81"/>
                </a:lnTo>
                <a:lnTo>
                  <a:pt x="1300" y="79"/>
                </a:lnTo>
                <a:lnTo>
                  <a:pt x="1299" y="73"/>
                </a:lnTo>
                <a:lnTo>
                  <a:pt x="1300" y="71"/>
                </a:lnTo>
                <a:lnTo>
                  <a:pt x="1300" y="69"/>
                </a:lnTo>
                <a:lnTo>
                  <a:pt x="1302" y="66"/>
                </a:lnTo>
                <a:lnTo>
                  <a:pt x="1303" y="64"/>
                </a:lnTo>
                <a:lnTo>
                  <a:pt x="1305" y="63"/>
                </a:lnTo>
                <a:lnTo>
                  <a:pt x="1308" y="62"/>
                </a:lnTo>
                <a:lnTo>
                  <a:pt x="1310" y="61"/>
                </a:lnTo>
                <a:close/>
                <a:moveTo>
                  <a:pt x="1700" y="2"/>
                </a:moveTo>
                <a:lnTo>
                  <a:pt x="1703" y="2"/>
                </a:lnTo>
                <a:lnTo>
                  <a:pt x="1705" y="2"/>
                </a:lnTo>
                <a:lnTo>
                  <a:pt x="1708" y="3"/>
                </a:lnTo>
                <a:lnTo>
                  <a:pt x="1710" y="4"/>
                </a:lnTo>
                <a:lnTo>
                  <a:pt x="1712" y="6"/>
                </a:lnTo>
                <a:lnTo>
                  <a:pt x="1713" y="8"/>
                </a:lnTo>
                <a:lnTo>
                  <a:pt x="1715" y="10"/>
                </a:lnTo>
                <a:lnTo>
                  <a:pt x="1715" y="13"/>
                </a:lnTo>
                <a:lnTo>
                  <a:pt x="1715" y="16"/>
                </a:lnTo>
                <a:lnTo>
                  <a:pt x="1715" y="18"/>
                </a:lnTo>
                <a:lnTo>
                  <a:pt x="1714" y="20"/>
                </a:lnTo>
                <a:lnTo>
                  <a:pt x="1712" y="24"/>
                </a:lnTo>
                <a:lnTo>
                  <a:pt x="1710" y="25"/>
                </a:lnTo>
                <a:lnTo>
                  <a:pt x="1709" y="26"/>
                </a:lnTo>
                <a:lnTo>
                  <a:pt x="1707" y="27"/>
                </a:lnTo>
                <a:lnTo>
                  <a:pt x="1704" y="28"/>
                </a:lnTo>
                <a:lnTo>
                  <a:pt x="1701" y="28"/>
                </a:lnTo>
                <a:lnTo>
                  <a:pt x="1699" y="28"/>
                </a:lnTo>
                <a:lnTo>
                  <a:pt x="1696" y="27"/>
                </a:lnTo>
                <a:lnTo>
                  <a:pt x="1694" y="25"/>
                </a:lnTo>
                <a:lnTo>
                  <a:pt x="1692" y="24"/>
                </a:lnTo>
                <a:lnTo>
                  <a:pt x="1691" y="22"/>
                </a:lnTo>
                <a:lnTo>
                  <a:pt x="1690" y="19"/>
                </a:lnTo>
                <a:lnTo>
                  <a:pt x="1689" y="17"/>
                </a:lnTo>
                <a:lnTo>
                  <a:pt x="1689" y="14"/>
                </a:lnTo>
                <a:lnTo>
                  <a:pt x="1689" y="12"/>
                </a:lnTo>
                <a:lnTo>
                  <a:pt x="1690" y="10"/>
                </a:lnTo>
                <a:lnTo>
                  <a:pt x="1692" y="6"/>
                </a:lnTo>
                <a:lnTo>
                  <a:pt x="1694" y="5"/>
                </a:lnTo>
                <a:lnTo>
                  <a:pt x="1696" y="3"/>
                </a:lnTo>
                <a:lnTo>
                  <a:pt x="1698" y="2"/>
                </a:lnTo>
                <a:lnTo>
                  <a:pt x="1700" y="2"/>
                </a:lnTo>
                <a:close/>
                <a:moveTo>
                  <a:pt x="1249" y="85"/>
                </a:moveTo>
                <a:lnTo>
                  <a:pt x="1253" y="85"/>
                </a:lnTo>
                <a:lnTo>
                  <a:pt x="1255" y="86"/>
                </a:lnTo>
                <a:lnTo>
                  <a:pt x="1257" y="87"/>
                </a:lnTo>
                <a:lnTo>
                  <a:pt x="1259" y="88"/>
                </a:lnTo>
                <a:lnTo>
                  <a:pt x="1261" y="89"/>
                </a:lnTo>
                <a:lnTo>
                  <a:pt x="1263" y="93"/>
                </a:lnTo>
                <a:lnTo>
                  <a:pt x="1264" y="96"/>
                </a:lnTo>
                <a:lnTo>
                  <a:pt x="1264" y="98"/>
                </a:lnTo>
                <a:lnTo>
                  <a:pt x="1264" y="101"/>
                </a:lnTo>
                <a:lnTo>
                  <a:pt x="1263" y="103"/>
                </a:lnTo>
                <a:lnTo>
                  <a:pt x="1262" y="106"/>
                </a:lnTo>
                <a:lnTo>
                  <a:pt x="1260" y="108"/>
                </a:lnTo>
                <a:lnTo>
                  <a:pt x="1259" y="109"/>
                </a:lnTo>
                <a:lnTo>
                  <a:pt x="1256" y="111"/>
                </a:lnTo>
                <a:lnTo>
                  <a:pt x="1253" y="112"/>
                </a:lnTo>
                <a:lnTo>
                  <a:pt x="1249" y="112"/>
                </a:lnTo>
                <a:lnTo>
                  <a:pt x="1247" y="111"/>
                </a:lnTo>
                <a:lnTo>
                  <a:pt x="1245" y="110"/>
                </a:lnTo>
                <a:lnTo>
                  <a:pt x="1243" y="109"/>
                </a:lnTo>
                <a:lnTo>
                  <a:pt x="1241" y="108"/>
                </a:lnTo>
                <a:lnTo>
                  <a:pt x="1239" y="104"/>
                </a:lnTo>
                <a:lnTo>
                  <a:pt x="1238" y="101"/>
                </a:lnTo>
                <a:lnTo>
                  <a:pt x="1238" y="99"/>
                </a:lnTo>
                <a:lnTo>
                  <a:pt x="1238" y="96"/>
                </a:lnTo>
                <a:lnTo>
                  <a:pt x="1239" y="94"/>
                </a:lnTo>
                <a:lnTo>
                  <a:pt x="1240" y="91"/>
                </a:lnTo>
                <a:lnTo>
                  <a:pt x="1241" y="89"/>
                </a:lnTo>
                <a:lnTo>
                  <a:pt x="1243" y="88"/>
                </a:lnTo>
                <a:lnTo>
                  <a:pt x="1246" y="86"/>
                </a:lnTo>
                <a:lnTo>
                  <a:pt x="1249" y="85"/>
                </a:lnTo>
                <a:close/>
                <a:moveTo>
                  <a:pt x="1766" y="8"/>
                </a:moveTo>
                <a:lnTo>
                  <a:pt x="1770" y="8"/>
                </a:lnTo>
                <a:lnTo>
                  <a:pt x="1772" y="8"/>
                </a:lnTo>
                <a:lnTo>
                  <a:pt x="1775" y="9"/>
                </a:lnTo>
                <a:lnTo>
                  <a:pt x="1777" y="11"/>
                </a:lnTo>
                <a:lnTo>
                  <a:pt x="1778" y="13"/>
                </a:lnTo>
                <a:lnTo>
                  <a:pt x="1780" y="15"/>
                </a:lnTo>
                <a:lnTo>
                  <a:pt x="1781" y="17"/>
                </a:lnTo>
                <a:lnTo>
                  <a:pt x="1781" y="20"/>
                </a:lnTo>
                <a:lnTo>
                  <a:pt x="1781" y="22"/>
                </a:lnTo>
                <a:lnTo>
                  <a:pt x="1781" y="24"/>
                </a:lnTo>
                <a:lnTo>
                  <a:pt x="1780" y="26"/>
                </a:lnTo>
                <a:lnTo>
                  <a:pt x="1779" y="28"/>
                </a:lnTo>
                <a:lnTo>
                  <a:pt x="1778" y="30"/>
                </a:lnTo>
                <a:lnTo>
                  <a:pt x="1774" y="32"/>
                </a:lnTo>
                <a:lnTo>
                  <a:pt x="1772" y="33"/>
                </a:lnTo>
                <a:lnTo>
                  <a:pt x="1770" y="34"/>
                </a:lnTo>
                <a:lnTo>
                  <a:pt x="1766" y="34"/>
                </a:lnTo>
                <a:lnTo>
                  <a:pt x="1764" y="33"/>
                </a:lnTo>
                <a:lnTo>
                  <a:pt x="1761" y="32"/>
                </a:lnTo>
                <a:lnTo>
                  <a:pt x="1759" y="31"/>
                </a:lnTo>
                <a:lnTo>
                  <a:pt x="1758" y="29"/>
                </a:lnTo>
                <a:lnTo>
                  <a:pt x="1756" y="27"/>
                </a:lnTo>
                <a:lnTo>
                  <a:pt x="1755" y="24"/>
                </a:lnTo>
                <a:lnTo>
                  <a:pt x="1755" y="22"/>
                </a:lnTo>
                <a:lnTo>
                  <a:pt x="1755" y="19"/>
                </a:lnTo>
                <a:lnTo>
                  <a:pt x="1755" y="17"/>
                </a:lnTo>
                <a:lnTo>
                  <a:pt x="1756" y="15"/>
                </a:lnTo>
                <a:lnTo>
                  <a:pt x="1757" y="13"/>
                </a:lnTo>
                <a:lnTo>
                  <a:pt x="1758" y="11"/>
                </a:lnTo>
                <a:lnTo>
                  <a:pt x="1762" y="9"/>
                </a:lnTo>
                <a:lnTo>
                  <a:pt x="1764" y="8"/>
                </a:lnTo>
                <a:lnTo>
                  <a:pt x="1766" y="8"/>
                </a:lnTo>
                <a:close/>
                <a:moveTo>
                  <a:pt x="1189" y="113"/>
                </a:moveTo>
                <a:lnTo>
                  <a:pt x="1193" y="113"/>
                </a:lnTo>
                <a:lnTo>
                  <a:pt x="1195" y="114"/>
                </a:lnTo>
                <a:lnTo>
                  <a:pt x="1197" y="115"/>
                </a:lnTo>
                <a:lnTo>
                  <a:pt x="1199" y="116"/>
                </a:lnTo>
                <a:lnTo>
                  <a:pt x="1200" y="117"/>
                </a:lnTo>
                <a:lnTo>
                  <a:pt x="1202" y="119"/>
                </a:lnTo>
                <a:lnTo>
                  <a:pt x="1203" y="120"/>
                </a:lnTo>
                <a:lnTo>
                  <a:pt x="1204" y="126"/>
                </a:lnTo>
                <a:lnTo>
                  <a:pt x="1204" y="128"/>
                </a:lnTo>
                <a:lnTo>
                  <a:pt x="1204" y="131"/>
                </a:lnTo>
                <a:lnTo>
                  <a:pt x="1203" y="133"/>
                </a:lnTo>
                <a:lnTo>
                  <a:pt x="1201" y="135"/>
                </a:lnTo>
                <a:lnTo>
                  <a:pt x="1199" y="137"/>
                </a:lnTo>
                <a:lnTo>
                  <a:pt x="1197" y="138"/>
                </a:lnTo>
                <a:lnTo>
                  <a:pt x="1193" y="139"/>
                </a:lnTo>
                <a:lnTo>
                  <a:pt x="1189" y="139"/>
                </a:lnTo>
                <a:lnTo>
                  <a:pt x="1187" y="139"/>
                </a:lnTo>
                <a:lnTo>
                  <a:pt x="1185" y="138"/>
                </a:lnTo>
                <a:lnTo>
                  <a:pt x="1183" y="137"/>
                </a:lnTo>
                <a:lnTo>
                  <a:pt x="1182" y="136"/>
                </a:lnTo>
                <a:lnTo>
                  <a:pt x="1180" y="134"/>
                </a:lnTo>
                <a:lnTo>
                  <a:pt x="1179" y="132"/>
                </a:lnTo>
                <a:lnTo>
                  <a:pt x="1178" y="130"/>
                </a:lnTo>
                <a:lnTo>
                  <a:pt x="1178" y="127"/>
                </a:lnTo>
                <a:lnTo>
                  <a:pt x="1178" y="125"/>
                </a:lnTo>
                <a:lnTo>
                  <a:pt x="1178" y="122"/>
                </a:lnTo>
                <a:lnTo>
                  <a:pt x="1179" y="120"/>
                </a:lnTo>
                <a:lnTo>
                  <a:pt x="1181" y="118"/>
                </a:lnTo>
                <a:lnTo>
                  <a:pt x="1183" y="116"/>
                </a:lnTo>
                <a:lnTo>
                  <a:pt x="1185" y="115"/>
                </a:lnTo>
                <a:lnTo>
                  <a:pt x="1189" y="113"/>
                </a:lnTo>
                <a:close/>
                <a:moveTo>
                  <a:pt x="1831" y="18"/>
                </a:moveTo>
                <a:lnTo>
                  <a:pt x="1836" y="18"/>
                </a:lnTo>
                <a:lnTo>
                  <a:pt x="1838" y="19"/>
                </a:lnTo>
                <a:lnTo>
                  <a:pt x="1841" y="20"/>
                </a:lnTo>
                <a:lnTo>
                  <a:pt x="1843" y="22"/>
                </a:lnTo>
                <a:lnTo>
                  <a:pt x="1844" y="23"/>
                </a:lnTo>
                <a:lnTo>
                  <a:pt x="1845" y="26"/>
                </a:lnTo>
                <a:lnTo>
                  <a:pt x="1846" y="28"/>
                </a:lnTo>
                <a:lnTo>
                  <a:pt x="1847" y="31"/>
                </a:lnTo>
                <a:lnTo>
                  <a:pt x="1846" y="33"/>
                </a:lnTo>
                <a:lnTo>
                  <a:pt x="1846" y="35"/>
                </a:lnTo>
                <a:lnTo>
                  <a:pt x="1845" y="37"/>
                </a:lnTo>
                <a:lnTo>
                  <a:pt x="1843" y="40"/>
                </a:lnTo>
                <a:lnTo>
                  <a:pt x="1841" y="42"/>
                </a:lnTo>
                <a:lnTo>
                  <a:pt x="1839" y="43"/>
                </a:lnTo>
                <a:lnTo>
                  <a:pt x="1836" y="44"/>
                </a:lnTo>
                <a:lnTo>
                  <a:pt x="1831" y="44"/>
                </a:lnTo>
                <a:lnTo>
                  <a:pt x="1828" y="43"/>
                </a:lnTo>
                <a:lnTo>
                  <a:pt x="1826" y="42"/>
                </a:lnTo>
                <a:lnTo>
                  <a:pt x="1824" y="40"/>
                </a:lnTo>
                <a:lnTo>
                  <a:pt x="1822" y="38"/>
                </a:lnTo>
                <a:lnTo>
                  <a:pt x="1821" y="36"/>
                </a:lnTo>
                <a:lnTo>
                  <a:pt x="1820" y="34"/>
                </a:lnTo>
                <a:lnTo>
                  <a:pt x="1820" y="31"/>
                </a:lnTo>
                <a:lnTo>
                  <a:pt x="1820" y="28"/>
                </a:lnTo>
                <a:lnTo>
                  <a:pt x="1821" y="26"/>
                </a:lnTo>
                <a:lnTo>
                  <a:pt x="1822" y="25"/>
                </a:lnTo>
                <a:lnTo>
                  <a:pt x="1824" y="21"/>
                </a:lnTo>
                <a:lnTo>
                  <a:pt x="1826" y="20"/>
                </a:lnTo>
                <a:lnTo>
                  <a:pt x="1827" y="19"/>
                </a:lnTo>
                <a:lnTo>
                  <a:pt x="1831" y="18"/>
                </a:lnTo>
                <a:close/>
                <a:moveTo>
                  <a:pt x="1130" y="145"/>
                </a:moveTo>
                <a:lnTo>
                  <a:pt x="1134" y="144"/>
                </a:lnTo>
                <a:lnTo>
                  <a:pt x="1138" y="146"/>
                </a:lnTo>
                <a:lnTo>
                  <a:pt x="1140" y="147"/>
                </a:lnTo>
                <a:lnTo>
                  <a:pt x="1142" y="148"/>
                </a:lnTo>
                <a:lnTo>
                  <a:pt x="1143" y="149"/>
                </a:lnTo>
                <a:lnTo>
                  <a:pt x="1144" y="151"/>
                </a:lnTo>
                <a:lnTo>
                  <a:pt x="1145" y="153"/>
                </a:lnTo>
                <a:lnTo>
                  <a:pt x="1146" y="156"/>
                </a:lnTo>
                <a:lnTo>
                  <a:pt x="1146" y="159"/>
                </a:lnTo>
                <a:lnTo>
                  <a:pt x="1145" y="161"/>
                </a:lnTo>
                <a:lnTo>
                  <a:pt x="1145" y="163"/>
                </a:lnTo>
                <a:lnTo>
                  <a:pt x="1143" y="166"/>
                </a:lnTo>
                <a:lnTo>
                  <a:pt x="1141" y="168"/>
                </a:lnTo>
                <a:lnTo>
                  <a:pt x="1139" y="169"/>
                </a:lnTo>
                <a:lnTo>
                  <a:pt x="1137" y="170"/>
                </a:lnTo>
                <a:lnTo>
                  <a:pt x="1135" y="171"/>
                </a:lnTo>
                <a:lnTo>
                  <a:pt x="1131" y="171"/>
                </a:lnTo>
                <a:lnTo>
                  <a:pt x="1127" y="170"/>
                </a:lnTo>
                <a:lnTo>
                  <a:pt x="1125" y="169"/>
                </a:lnTo>
                <a:lnTo>
                  <a:pt x="1124" y="167"/>
                </a:lnTo>
                <a:lnTo>
                  <a:pt x="1122" y="166"/>
                </a:lnTo>
                <a:lnTo>
                  <a:pt x="1121" y="164"/>
                </a:lnTo>
                <a:lnTo>
                  <a:pt x="1120" y="162"/>
                </a:lnTo>
                <a:lnTo>
                  <a:pt x="1120" y="159"/>
                </a:lnTo>
                <a:lnTo>
                  <a:pt x="1120" y="157"/>
                </a:lnTo>
                <a:lnTo>
                  <a:pt x="1120" y="154"/>
                </a:lnTo>
                <a:lnTo>
                  <a:pt x="1121" y="152"/>
                </a:lnTo>
                <a:lnTo>
                  <a:pt x="1122" y="150"/>
                </a:lnTo>
                <a:lnTo>
                  <a:pt x="1124" y="148"/>
                </a:lnTo>
                <a:lnTo>
                  <a:pt x="1126" y="146"/>
                </a:lnTo>
                <a:lnTo>
                  <a:pt x="1128" y="145"/>
                </a:lnTo>
                <a:lnTo>
                  <a:pt x="1130" y="145"/>
                </a:lnTo>
                <a:close/>
                <a:moveTo>
                  <a:pt x="1896" y="32"/>
                </a:moveTo>
                <a:lnTo>
                  <a:pt x="1898" y="32"/>
                </a:lnTo>
                <a:lnTo>
                  <a:pt x="1901" y="33"/>
                </a:lnTo>
                <a:lnTo>
                  <a:pt x="1904" y="34"/>
                </a:lnTo>
                <a:lnTo>
                  <a:pt x="1906" y="35"/>
                </a:lnTo>
                <a:lnTo>
                  <a:pt x="1908" y="37"/>
                </a:lnTo>
                <a:lnTo>
                  <a:pt x="1909" y="39"/>
                </a:lnTo>
                <a:lnTo>
                  <a:pt x="1910" y="41"/>
                </a:lnTo>
                <a:lnTo>
                  <a:pt x="1911" y="44"/>
                </a:lnTo>
                <a:lnTo>
                  <a:pt x="1911" y="46"/>
                </a:lnTo>
                <a:lnTo>
                  <a:pt x="1911" y="49"/>
                </a:lnTo>
                <a:lnTo>
                  <a:pt x="1910" y="51"/>
                </a:lnTo>
                <a:lnTo>
                  <a:pt x="1909" y="52"/>
                </a:lnTo>
                <a:lnTo>
                  <a:pt x="1907" y="55"/>
                </a:lnTo>
                <a:lnTo>
                  <a:pt x="1904" y="57"/>
                </a:lnTo>
                <a:lnTo>
                  <a:pt x="1900" y="58"/>
                </a:lnTo>
                <a:lnTo>
                  <a:pt x="1897" y="59"/>
                </a:lnTo>
                <a:lnTo>
                  <a:pt x="1894" y="58"/>
                </a:lnTo>
                <a:lnTo>
                  <a:pt x="1892" y="57"/>
                </a:lnTo>
                <a:lnTo>
                  <a:pt x="1890" y="56"/>
                </a:lnTo>
                <a:lnTo>
                  <a:pt x="1888" y="54"/>
                </a:lnTo>
                <a:lnTo>
                  <a:pt x="1886" y="52"/>
                </a:lnTo>
                <a:lnTo>
                  <a:pt x="1885" y="50"/>
                </a:lnTo>
                <a:lnTo>
                  <a:pt x="1885" y="47"/>
                </a:lnTo>
                <a:lnTo>
                  <a:pt x="1885" y="45"/>
                </a:lnTo>
                <a:lnTo>
                  <a:pt x="1885" y="42"/>
                </a:lnTo>
                <a:lnTo>
                  <a:pt x="1886" y="40"/>
                </a:lnTo>
                <a:lnTo>
                  <a:pt x="1887" y="39"/>
                </a:lnTo>
                <a:lnTo>
                  <a:pt x="1889" y="36"/>
                </a:lnTo>
                <a:lnTo>
                  <a:pt x="1892" y="34"/>
                </a:lnTo>
                <a:lnTo>
                  <a:pt x="1896" y="32"/>
                </a:lnTo>
                <a:close/>
                <a:moveTo>
                  <a:pt x="1074" y="179"/>
                </a:moveTo>
                <a:lnTo>
                  <a:pt x="1078" y="179"/>
                </a:lnTo>
                <a:lnTo>
                  <a:pt x="1081" y="180"/>
                </a:lnTo>
                <a:lnTo>
                  <a:pt x="1085" y="182"/>
                </a:lnTo>
                <a:lnTo>
                  <a:pt x="1086" y="183"/>
                </a:lnTo>
                <a:lnTo>
                  <a:pt x="1087" y="185"/>
                </a:lnTo>
                <a:lnTo>
                  <a:pt x="1089" y="187"/>
                </a:lnTo>
                <a:lnTo>
                  <a:pt x="1089" y="190"/>
                </a:lnTo>
                <a:lnTo>
                  <a:pt x="1089" y="195"/>
                </a:lnTo>
                <a:lnTo>
                  <a:pt x="1088" y="197"/>
                </a:lnTo>
                <a:lnTo>
                  <a:pt x="1087" y="199"/>
                </a:lnTo>
                <a:lnTo>
                  <a:pt x="1085" y="201"/>
                </a:lnTo>
                <a:lnTo>
                  <a:pt x="1083" y="203"/>
                </a:lnTo>
                <a:lnTo>
                  <a:pt x="1081" y="204"/>
                </a:lnTo>
                <a:lnTo>
                  <a:pt x="1078" y="205"/>
                </a:lnTo>
                <a:lnTo>
                  <a:pt x="1075" y="205"/>
                </a:lnTo>
                <a:lnTo>
                  <a:pt x="1071" y="204"/>
                </a:lnTo>
                <a:lnTo>
                  <a:pt x="1068" y="202"/>
                </a:lnTo>
                <a:lnTo>
                  <a:pt x="1066" y="201"/>
                </a:lnTo>
                <a:lnTo>
                  <a:pt x="1065" y="199"/>
                </a:lnTo>
                <a:lnTo>
                  <a:pt x="1064" y="197"/>
                </a:lnTo>
                <a:lnTo>
                  <a:pt x="1063" y="194"/>
                </a:lnTo>
                <a:lnTo>
                  <a:pt x="1063" y="189"/>
                </a:lnTo>
                <a:lnTo>
                  <a:pt x="1064" y="187"/>
                </a:lnTo>
                <a:lnTo>
                  <a:pt x="1065" y="184"/>
                </a:lnTo>
                <a:lnTo>
                  <a:pt x="1067" y="182"/>
                </a:lnTo>
                <a:lnTo>
                  <a:pt x="1069" y="181"/>
                </a:lnTo>
                <a:lnTo>
                  <a:pt x="1071" y="179"/>
                </a:lnTo>
                <a:lnTo>
                  <a:pt x="1074" y="179"/>
                </a:lnTo>
                <a:close/>
                <a:moveTo>
                  <a:pt x="1959" y="50"/>
                </a:moveTo>
                <a:lnTo>
                  <a:pt x="1962" y="50"/>
                </a:lnTo>
                <a:lnTo>
                  <a:pt x="1965" y="50"/>
                </a:lnTo>
                <a:lnTo>
                  <a:pt x="1968" y="51"/>
                </a:lnTo>
                <a:lnTo>
                  <a:pt x="1970" y="53"/>
                </a:lnTo>
                <a:lnTo>
                  <a:pt x="1972" y="54"/>
                </a:lnTo>
                <a:lnTo>
                  <a:pt x="1973" y="56"/>
                </a:lnTo>
                <a:lnTo>
                  <a:pt x="1974" y="59"/>
                </a:lnTo>
                <a:lnTo>
                  <a:pt x="1975" y="61"/>
                </a:lnTo>
                <a:lnTo>
                  <a:pt x="1975" y="64"/>
                </a:lnTo>
                <a:lnTo>
                  <a:pt x="1974" y="66"/>
                </a:lnTo>
                <a:lnTo>
                  <a:pt x="1973" y="70"/>
                </a:lnTo>
                <a:lnTo>
                  <a:pt x="1970" y="73"/>
                </a:lnTo>
                <a:lnTo>
                  <a:pt x="1967" y="75"/>
                </a:lnTo>
                <a:lnTo>
                  <a:pt x="1964" y="76"/>
                </a:lnTo>
                <a:lnTo>
                  <a:pt x="1961" y="76"/>
                </a:lnTo>
                <a:lnTo>
                  <a:pt x="1958" y="76"/>
                </a:lnTo>
                <a:lnTo>
                  <a:pt x="1956" y="75"/>
                </a:lnTo>
                <a:lnTo>
                  <a:pt x="1953" y="73"/>
                </a:lnTo>
                <a:lnTo>
                  <a:pt x="1952" y="72"/>
                </a:lnTo>
                <a:lnTo>
                  <a:pt x="1950" y="69"/>
                </a:lnTo>
                <a:lnTo>
                  <a:pt x="1949" y="67"/>
                </a:lnTo>
                <a:lnTo>
                  <a:pt x="1948" y="65"/>
                </a:lnTo>
                <a:lnTo>
                  <a:pt x="1948" y="62"/>
                </a:lnTo>
                <a:lnTo>
                  <a:pt x="1949" y="59"/>
                </a:lnTo>
                <a:lnTo>
                  <a:pt x="1950" y="56"/>
                </a:lnTo>
                <a:lnTo>
                  <a:pt x="1953" y="53"/>
                </a:lnTo>
                <a:lnTo>
                  <a:pt x="1956" y="51"/>
                </a:lnTo>
                <a:lnTo>
                  <a:pt x="1959" y="50"/>
                </a:lnTo>
                <a:close/>
                <a:moveTo>
                  <a:pt x="1019" y="216"/>
                </a:moveTo>
                <a:lnTo>
                  <a:pt x="1023" y="216"/>
                </a:lnTo>
                <a:lnTo>
                  <a:pt x="1026" y="217"/>
                </a:lnTo>
                <a:lnTo>
                  <a:pt x="1029" y="218"/>
                </a:lnTo>
                <a:lnTo>
                  <a:pt x="1032" y="221"/>
                </a:lnTo>
                <a:lnTo>
                  <a:pt x="1033" y="223"/>
                </a:lnTo>
                <a:lnTo>
                  <a:pt x="1034" y="226"/>
                </a:lnTo>
                <a:lnTo>
                  <a:pt x="1035" y="228"/>
                </a:lnTo>
                <a:lnTo>
                  <a:pt x="1034" y="231"/>
                </a:lnTo>
                <a:lnTo>
                  <a:pt x="1034" y="233"/>
                </a:lnTo>
                <a:lnTo>
                  <a:pt x="1033" y="236"/>
                </a:lnTo>
                <a:lnTo>
                  <a:pt x="1031" y="238"/>
                </a:lnTo>
                <a:lnTo>
                  <a:pt x="1029" y="240"/>
                </a:lnTo>
                <a:lnTo>
                  <a:pt x="1026" y="241"/>
                </a:lnTo>
                <a:lnTo>
                  <a:pt x="1024" y="242"/>
                </a:lnTo>
                <a:lnTo>
                  <a:pt x="1020" y="242"/>
                </a:lnTo>
                <a:lnTo>
                  <a:pt x="1016" y="241"/>
                </a:lnTo>
                <a:lnTo>
                  <a:pt x="1013" y="239"/>
                </a:lnTo>
                <a:lnTo>
                  <a:pt x="1011" y="236"/>
                </a:lnTo>
                <a:lnTo>
                  <a:pt x="1009" y="234"/>
                </a:lnTo>
                <a:lnTo>
                  <a:pt x="1008" y="232"/>
                </a:lnTo>
                <a:lnTo>
                  <a:pt x="1008" y="229"/>
                </a:lnTo>
                <a:lnTo>
                  <a:pt x="1008" y="227"/>
                </a:lnTo>
                <a:lnTo>
                  <a:pt x="1009" y="224"/>
                </a:lnTo>
                <a:lnTo>
                  <a:pt x="1010" y="222"/>
                </a:lnTo>
                <a:lnTo>
                  <a:pt x="1012" y="220"/>
                </a:lnTo>
                <a:lnTo>
                  <a:pt x="1014" y="218"/>
                </a:lnTo>
                <a:lnTo>
                  <a:pt x="1016" y="217"/>
                </a:lnTo>
                <a:lnTo>
                  <a:pt x="1019" y="216"/>
                </a:lnTo>
                <a:close/>
                <a:moveTo>
                  <a:pt x="2023" y="67"/>
                </a:moveTo>
                <a:lnTo>
                  <a:pt x="2026" y="67"/>
                </a:lnTo>
                <a:lnTo>
                  <a:pt x="2029" y="68"/>
                </a:lnTo>
                <a:lnTo>
                  <a:pt x="2031" y="69"/>
                </a:lnTo>
                <a:lnTo>
                  <a:pt x="2034" y="70"/>
                </a:lnTo>
                <a:lnTo>
                  <a:pt x="2035" y="72"/>
                </a:lnTo>
                <a:lnTo>
                  <a:pt x="2037" y="74"/>
                </a:lnTo>
                <a:lnTo>
                  <a:pt x="2038" y="76"/>
                </a:lnTo>
                <a:lnTo>
                  <a:pt x="2039" y="79"/>
                </a:lnTo>
                <a:lnTo>
                  <a:pt x="2039" y="81"/>
                </a:lnTo>
                <a:lnTo>
                  <a:pt x="2038" y="84"/>
                </a:lnTo>
                <a:lnTo>
                  <a:pt x="2037" y="88"/>
                </a:lnTo>
                <a:lnTo>
                  <a:pt x="2034" y="90"/>
                </a:lnTo>
                <a:lnTo>
                  <a:pt x="2031" y="92"/>
                </a:lnTo>
                <a:lnTo>
                  <a:pt x="2028" y="94"/>
                </a:lnTo>
                <a:lnTo>
                  <a:pt x="2025" y="94"/>
                </a:lnTo>
                <a:lnTo>
                  <a:pt x="2022" y="93"/>
                </a:lnTo>
                <a:lnTo>
                  <a:pt x="2019" y="92"/>
                </a:lnTo>
                <a:lnTo>
                  <a:pt x="2017" y="91"/>
                </a:lnTo>
                <a:lnTo>
                  <a:pt x="2015" y="89"/>
                </a:lnTo>
                <a:lnTo>
                  <a:pt x="2014" y="87"/>
                </a:lnTo>
                <a:lnTo>
                  <a:pt x="2013" y="85"/>
                </a:lnTo>
                <a:lnTo>
                  <a:pt x="2012" y="82"/>
                </a:lnTo>
                <a:lnTo>
                  <a:pt x="2012" y="80"/>
                </a:lnTo>
                <a:lnTo>
                  <a:pt x="2013" y="77"/>
                </a:lnTo>
                <a:lnTo>
                  <a:pt x="2014" y="73"/>
                </a:lnTo>
                <a:lnTo>
                  <a:pt x="2017" y="71"/>
                </a:lnTo>
                <a:lnTo>
                  <a:pt x="2020" y="69"/>
                </a:lnTo>
                <a:lnTo>
                  <a:pt x="2023" y="67"/>
                </a:lnTo>
                <a:close/>
                <a:moveTo>
                  <a:pt x="966" y="255"/>
                </a:moveTo>
                <a:lnTo>
                  <a:pt x="970" y="255"/>
                </a:lnTo>
                <a:lnTo>
                  <a:pt x="973" y="256"/>
                </a:lnTo>
                <a:lnTo>
                  <a:pt x="976" y="258"/>
                </a:lnTo>
                <a:lnTo>
                  <a:pt x="979" y="260"/>
                </a:lnTo>
                <a:lnTo>
                  <a:pt x="980" y="262"/>
                </a:lnTo>
                <a:lnTo>
                  <a:pt x="981" y="265"/>
                </a:lnTo>
                <a:lnTo>
                  <a:pt x="982" y="267"/>
                </a:lnTo>
                <a:lnTo>
                  <a:pt x="981" y="270"/>
                </a:lnTo>
                <a:lnTo>
                  <a:pt x="981" y="272"/>
                </a:lnTo>
                <a:lnTo>
                  <a:pt x="980" y="275"/>
                </a:lnTo>
                <a:lnTo>
                  <a:pt x="978" y="277"/>
                </a:lnTo>
                <a:lnTo>
                  <a:pt x="977" y="279"/>
                </a:lnTo>
                <a:lnTo>
                  <a:pt x="974" y="280"/>
                </a:lnTo>
                <a:lnTo>
                  <a:pt x="971" y="281"/>
                </a:lnTo>
                <a:lnTo>
                  <a:pt x="967" y="282"/>
                </a:lnTo>
                <a:lnTo>
                  <a:pt x="964" y="281"/>
                </a:lnTo>
                <a:lnTo>
                  <a:pt x="961" y="279"/>
                </a:lnTo>
                <a:lnTo>
                  <a:pt x="958" y="277"/>
                </a:lnTo>
                <a:lnTo>
                  <a:pt x="957" y="274"/>
                </a:lnTo>
                <a:lnTo>
                  <a:pt x="956" y="272"/>
                </a:lnTo>
                <a:lnTo>
                  <a:pt x="955" y="269"/>
                </a:lnTo>
                <a:lnTo>
                  <a:pt x="955" y="267"/>
                </a:lnTo>
                <a:lnTo>
                  <a:pt x="956" y="264"/>
                </a:lnTo>
                <a:lnTo>
                  <a:pt x="957" y="262"/>
                </a:lnTo>
                <a:lnTo>
                  <a:pt x="958" y="260"/>
                </a:lnTo>
                <a:lnTo>
                  <a:pt x="960" y="258"/>
                </a:lnTo>
                <a:lnTo>
                  <a:pt x="963" y="256"/>
                </a:lnTo>
                <a:lnTo>
                  <a:pt x="966" y="255"/>
                </a:lnTo>
                <a:close/>
                <a:moveTo>
                  <a:pt x="2087" y="85"/>
                </a:moveTo>
                <a:lnTo>
                  <a:pt x="2090" y="85"/>
                </a:lnTo>
                <a:lnTo>
                  <a:pt x="2093" y="85"/>
                </a:lnTo>
                <a:lnTo>
                  <a:pt x="2095" y="86"/>
                </a:lnTo>
                <a:lnTo>
                  <a:pt x="2097" y="88"/>
                </a:lnTo>
                <a:lnTo>
                  <a:pt x="2099" y="89"/>
                </a:lnTo>
                <a:lnTo>
                  <a:pt x="2101" y="92"/>
                </a:lnTo>
                <a:lnTo>
                  <a:pt x="2102" y="94"/>
                </a:lnTo>
                <a:lnTo>
                  <a:pt x="2102" y="96"/>
                </a:lnTo>
                <a:lnTo>
                  <a:pt x="2102" y="99"/>
                </a:lnTo>
                <a:lnTo>
                  <a:pt x="2102" y="102"/>
                </a:lnTo>
                <a:lnTo>
                  <a:pt x="2100" y="105"/>
                </a:lnTo>
                <a:lnTo>
                  <a:pt x="2098" y="108"/>
                </a:lnTo>
                <a:lnTo>
                  <a:pt x="2095" y="110"/>
                </a:lnTo>
                <a:lnTo>
                  <a:pt x="2091" y="111"/>
                </a:lnTo>
                <a:lnTo>
                  <a:pt x="2089" y="111"/>
                </a:lnTo>
                <a:lnTo>
                  <a:pt x="2086" y="111"/>
                </a:lnTo>
                <a:lnTo>
                  <a:pt x="2083" y="110"/>
                </a:lnTo>
                <a:lnTo>
                  <a:pt x="2081" y="108"/>
                </a:lnTo>
                <a:lnTo>
                  <a:pt x="2079" y="107"/>
                </a:lnTo>
                <a:lnTo>
                  <a:pt x="2078" y="105"/>
                </a:lnTo>
                <a:lnTo>
                  <a:pt x="2077" y="102"/>
                </a:lnTo>
                <a:lnTo>
                  <a:pt x="2076" y="100"/>
                </a:lnTo>
                <a:lnTo>
                  <a:pt x="2076" y="97"/>
                </a:lnTo>
                <a:lnTo>
                  <a:pt x="2076" y="95"/>
                </a:lnTo>
                <a:lnTo>
                  <a:pt x="2078" y="91"/>
                </a:lnTo>
                <a:lnTo>
                  <a:pt x="2080" y="88"/>
                </a:lnTo>
                <a:lnTo>
                  <a:pt x="2083" y="86"/>
                </a:lnTo>
                <a:lnTo>
                  <a:pt x="2087" y="85"/>
                </a:lnTo>
                <a:close/>
                <a:moveTo>
                  <a:pt x="915" y="297"/>
                </a:moveTo>
                <a:lnTo>
                  <a:pt x="918" y="297"/>
                </a:lnTo>
                <a:lnTo>
                  <a:pt x="922" y="298"/>
                </a:lnTo>
                <a:lnTo>
                  <a:pt x="925" y="299"/>
                </a:lnTo>
                <a:lnTo>
                  <a:pt x="927" y="302"/>
                </a:lnTo>
                <a:lnTo>
                  <a:pt x="929" y="304"/>
                </a:lnTo>
                <a:lnTo>
                  <a:pt x="930" y="306"/>
                </a:lnTo>
                <a:lnTo>
                  <a:pt x="930" y="309"/>
                </a:lnTo>
                <a:lnTo>
                  <a:pt x="930" y="311"/>
                </a:lnTo>
                <a:lnTo>
                  <a:pt x="930" y="314"/>
                </a:lnTo>
                <a:lnTo>
                  <a:pt x="929" y="316"/>
                </a:lnTo>
                <a:lnTo>
                  <a:pt x="928" y="318"/>
                </a:lnTo>
                <a:lnTo>
                  <a:pt x="926" y="320"/>
                </a:lnTo>
                <a:lnTo>
                  <a:pt x="923" y="322"/>
                </a:lnTo>
                <a:lnTo>
                  <a:pt x="919" y="323"/>
                </a:lnTo>
                <a:lnTo>
                  <a:pt x="916" y="323"/>
                </a:lnTo>
                <a:lnTo>
                  <a:pt x="913" y="323"/>
                </a:lnTo>
                <a:lnTo>
                  <a:pt x="910" y="321"/>
                </a:lnTo>
                <a:lnTo>
                  <a:pt x="907" y="319"/>
                </a:lnTo>
                <a:lnTo>
                  <a:pt x="906" y="317"/>
                </a:lnTo>
                <a:lnTo>
                  <a:pt x="905" y="314"/>
                </a:lnTo>
                <a:lnTo>
                  <a:pt x="904" y="312"/>
                </a:lnTo>
                <a:lnTo>
                  <a:pt x="904" y="309"/>
                </a:lnTo>
                <a:lnTo>
                  <a:pt x="904" y="307"/>
                </a:lnTo>
                <a:lnTo>
                  <a:pt x="905" y="304"/>
                </a:lnTo>
                <a:lnTo>
                  <a:pt x="907" y="302"/>
                </a:lnTo>
                <a:lnTo>
                  <a:pt x="909" y="300"/>
                </a:lnTo>
                <a:lnTo>
                  <a:pt x="912" y="298"/>
                </a:lnTo>
                <a:lnTo>
                  <a:pt x="915" y="297"/>
                </a:lnTo>
                <a:close/>
                <a:moveTo>
                  <a:pt x="2151" y="103"/>
                </a:moveTo>
                <a:lnTo>
                  <a:pt x="2154" y="102"/>
                </a:lnTo>
                <a:lnTo>
                  <a:pt x="2156" y="103"/>
                </a:lnTo>
                <a:lnTo>
                  <a:pt x="2159" y="104"/>
                </a:lnTo>
                <a:lnTo>
                  <a:pt x="2161" y="105"/>
                </a:lnTo>
                <a:lnTo>
                  <a:pt x="2163" y="107"/>
                </a:lnTo>
                <a:lnTo>
                  <a:pt x="2164" y="109"/>
                </a:lnTo>
                <a:lnTo>
                  <a:pt x="2165" y="111"/>
                </a:lnTo>
                <a:lnTo>
                  <a:pt x="2166" y="114"/>
                </a:lnTo>
                <a:lnTo>
                  <a:pt x="2166" y="117"/>
                </a:lnTo>
                <a:lnTo>
                  <a:pt x="2166" y="119"/>
                </a:lnTo>
                <a:lnTo>
                  <a:pt x="2164" y="123"/>
                </a:lnTo>
                <a:lnTo>
                  <a:pt x="2162" y="125"/>
                </a:lnTo>
                <a:lnTo>
                  <a:pt x="2159" y="128"/>
                </a:lnTo>
                <a:lnTo>
                  <a:pt x="2155" y="129"/>
                </a:lnTo>
                <a:lnTo>
                  <a:pt x="2152" y="129"/>
                </a:lnTo>
                <a:lnTo>
                  <a:pt x="2149" y="128"/>
                </a:lnTo>
                <a:lnTo>
                  <a:pt x="2147" y="127"/>
                </a:lnTo>
                <a:lnTo>
                  <a:pt x="2145" y="126"/>
                </a:lnTo>
                <a:lnTo>
                  <a:pt x="2143" y="124"/>
                </a:lnTo>
                <a:lnTo>
                  <a:pt x="2141" y="122"/>
                </a:lnTo>
                <a:lnTo>
                  <a:pt x="2140" y="120"/>
                </a:lnTo>
                <a:lnTo>
                  <a:pt x="2140" y="117"/>
                </a:lnTo>
                <a:lnTo>
                  <a:pt x="2140" y="115"/>
                </a:lnTo>
                <a:lnTo>
                  <a:pt x="2140" y="112"/>
                </a:lnTo>
                <a:lnTo>
                  <a:pt x="2142" y="109"/>
                </a:lnTo>
                <a:lnTo>
                  <a:pt x="2144" y="106"/>
                </a:lnTo>
                <a:lnTo>
                  <a:pt x="2147" y="104"/>
                </a:lnTo>
                <a:lnTo>
                  <a:pt x="2151" y="103"/>
                </a:lnTo>
                <a:close/>
                <a:moveTo>
                  <a:pt x="865" y="341"/>
                </a:moveTo>
                <a:lnTo>
                  <a:pt x="869" y="341"/>
                </a:lnTo>
                <a:lnTo>
                  <a:pt x="872" y="342"/>
                </a:lnTo>
                <a:lnTo>
                  <a:pt x="875" y="343"/>
                </a:lnTo>
                <a:lnTo>
                  <a:pt x="876" y="344"/>
                </a:lnTo>
                <a:lnTo>
                  <a:pt x="877" y="345"/>
                </a:lnTo>
                <a:lnTo>
                  <a:pt x="879" y="347"/>
                </a:lnTo>
                <a:lnTo>
                  <a:pt x="880" y="350"/>
                </a:lnTo>
                <a:lnTo>
                  <a:pt x="881" y="352"/>
                </a:lnTo>
                <a:lnTo>
                  <a:pt x="881" y="355"/>
                </a:lnTo>
                <a:lnTo>
                  <a:pt x="881" y="357"/>
                </a:lnTo>
                <a:lnTo>
                  <a:pt x="880" y="360"/>
                </a:lnTo>
                <a:lnTo>
                  <a:pt x="879" y="362"/>
                </a:lnTo>
                <a:lnTo>
                  <a:pt x="877" y="364"/>
                </a:lnTo>
                <a:lnTo>
                  <a:pt x="874" y="366"/>
                </a:lnTo>
                <a:lnTo>
                  <a:pt x="870" y="367"/>
                </a:lnTo>
                <a:lnTo>
                  <a:pt x="867" y="367"/>
                </a:lnTo>
                <a:lnTo>
                  <a:pt x="864" y="367"/>
                </a:lnTo>
                <a:lnTo>
                  <a:pt x="861" y="365"/>
                </a:lnTo>
                <a:lnTo>
                  <a:pt x="859" y="364"/>
                </a:lnTo>
                <a:lnTo>
                  <a:pt x="858" y="363"/>
                </a:lnTo>
                <a:lnTo>
                  <a:pt x="856" y="361"/>
                </a:lnTo>
                <a:lnTo>
                  <a:pt x="855" y="359"/>
                </a:lnTo>
                <a:lnTo>
                  <a:pt x="855" y="356"/>
                </a:lnTo>
                <a:lnTo>
                  <a:pt x="855" y="354"/>
                </a:lnTo>
                <a:lnTo>
                  <a:pt x="855" y="351"/>
                </a:lnTo>
                <a:lnTo>
                  <a:pt x="856" y="349"/>
                </a:lnTo>
                <a:lnTo>
                  <a:pt x="857" y="346"/>
                </a:lnTo>
                <a:lnTo>
                  <a:pt x="859" y="344"/>
                </a:lnTo>
                <a:lnTo>
                  <a:pt x="862" y="342"/>
                </a:lnTo>
                <a:lnTo>
                  <a:pt x="865" y="341"/>
                </a:lnTo>
                <a:close/>
                <a:moveTo>
                  <a:pt x="2215" y="120"/>
                </a:moveTo>
                <a:lnTo>
                  <a:pt x="2218" y="120"/>
                </a:lnTo>
                <a:lnTo>
                  <a:pt x="2221" y="120"/>
                </a:lnTo>
                <a:lnTo>
                  <a:pt x="2224" y="121"/>
                </a:lnTo>
                <a:lnTo>
                  <a:pt x="2226" y="123"/>
                </a:lnTo>
                <a:lnTo>
                  <a:pt x="2228" y="125"/>
                </a:lnTo>
                <a:lnTo>
                  <a:pt x="2229" y="127"/>
                </a:lnTo>
                <a:lnTo>
                  <a:pt x="2230" y="129"/>
                </a:lnTo>
                <a:lnTo>
                  <a:pt x="2231" y="131"/>
                </a:lnTo>
                <a:lnTo>
                  <a:pt x="2231" y="134"/>
                </a:lnTo>
                <a:lnTo>
                  <a:pt x="2230" y="137"/>
                </a:lnTo>
                <a:lnTo>
                  <a:pt x="2230" y="139"/>
                </a:lnTo>
                <a:lnTo>
                  <a:pt x="2229" y="140"/>
                </a:lnTo>
                <a:lnTo>
                  <a:pt x="2227" y="143"/>
                </a:lnTo>
                <a:lnTo>
                  <a:pt x="2223" y="145"/>
                </a:lnTo>
                <a:lnTo>
                  <a:pt x="2220" y="146"/>
                </a:lnTo>
                <a:lnTo>
                  <a:pt x="2217" y="146"/>
                </a:lnTo>
                <a:lnTo>
                  <a:pt x="2214" y="146"/>
                </a:lnTo>
                <a:lnTo>
                  <a:pt x="2212" y="145"/>
                </a:lnTo>
                <a:lnTo>
                  <a:pt x="2208" y="144"/>
                </a:lnTo>
                <a:lnTo>
                  <a:pt x="2207" y="142"/>
                </a:lnTo>
                <a:lnTo>
                  <a:pt x="2205" y="140"/>
                </a:lnTo>
                <a:lnTo>
                  <a:pt x="2204" y="137"/>
                </a:lnTo>
                <a:lnTo>
                  <a:pt x="2204" y="135"/>
                </a:lnTo>
                <a:lnTo>
                  <a:pt x="2203" y="132"/>
                </a:lnTo>
                <a:lnTo>
                  <a:pt x="2204" y="130"/>
                </a:lnTo>
                <a:lnTo>
                  <a:pt x="2205" y="128"/>
                </a:lnTo>
                <a:lnTo>
                  <a:pt x="2205" y="126"/>
                </a:lnTo>
                <a:lnTo>
                  <a:pt x="2208" y="123"/>
                </a:lnTo>
                <a:lnTo>
                  <a:pt x="2212" y="121"/>
                </a:lnTo>
                <a:lnTo>
                  <a:pt x="2215" y="120"/>
                </a:lnTo>
                <a:close/>
                <a:moveTo>
                  <a:pt x="818" y="387"/>
                </a:moveTo>
                <a:lnTo>
                  <a:pt x="821" y="387"/>
                </a:lnTo>
                <a:lnTo>
                  <a:pt x="824" y="387"/>
                </a:lnTo>
                <a:lnTo>
                  <a:pt x="827" y="389"/>
                </a:lnTo>
                <a:lnTo>
                  <a:pt x="830" y="391"/>
                </a:lnTo>
                <a:lnTo>
                  <a:pt x="831" y="393"/>
                </a:lnTo>
                <a:lnTo>
                  <a:pt x="832" y="395"/>
                </a:lnTo>
                <a:lnTo>
                  <a:pt x="833" y="398"/>
                </a:lnTo>
                <a:lnTo>
                  <a:pt x="833" y="400"/>
                </a:lnTo>
                <a:lnTo>
                  <a:pt x="833" y="403"/>
                </a:lnTo>
                <a:lnTo>
                  <a:pt x="832" y="405"/>
                </a:lnTo>
                <a:lnTo>
                  <a:pt x="831" y="407"/>
                </a:lnTo>
                <a:lnTo>
                  <a:pt x="830" y="409"/>
                </a:lnTo>
                <a:lnTo>
                  <a:pt x="826" y="412"/>
                </a:lnTo>
                <a:lnTo>
                  <a:pt x="822" y="413"/>
                </a:lnTo>
                <a:lnTo>
                  <a:pt x="819" y="413"/>
                </a:lnTo>
                <a:lnTo>
                  <a:pt x="816" y="413"/>
                </a:lnTo>
                <a:lnTo>
                  <a:pt x="813" y="411"/>
                </a:lnTo>
                <a:lnTo>
                  <a:pt x="811" y="409"/>
                </a:lnTo>
                <a:lnTo>
                  <a:pt x="809" y="407"/>
                </a:lnTo>
                <a:lnTo>
                  <a:pt x="808" y="405"/>
                </a:lnTo>
                <a:lnTo>
                  <a:pt x="807" y="403"/>
                </a:lnTo>
                <a:lnTo>
                  <a:pt x="807" y="400"/>
                </a:lnTo>
                <a:lnTo>
                  <a:pt x="807" y="398"/>
                </a:lnTo>
                <a:lnTo>
                  <a:pt x="808" y="395"/>
                </a:lnTo>
                <a:lnTo>
                  <a:pt x="809" y="393"/>
                </a:lnTo>
                <a:lnTo>
                  <a:pt x="811" y="391"/>
                </a:lnTo>
                <a:lnTo>
                  <a:pt x="814" y="388"/>
                </a:lnTo>
                <a:lnTo>
                  <a:pt x="818" y="387"/>
                </a:lnTo>
                <a:close/>
                <a:moveTo>
                  <a:pt x="2279" y="138"/>
                </a:moveTo>
                <a:lnTo>
                  <a:pt x="2282" y="137"/>
                </a:lnTo>
                <a:lnTo>
                  <a:pt x="2285" y="138"/>
                </a:lnTo>
                <a:lnTo>
                  <a:pt x="2287" y="139"/>
                </a:lnTo>
                <a:lnTo>
                  <a:pt x="2290" y="140"/>
                </a:lnTo>
                <a:lnTo>
                  <a:pt x="2292" y="142"/>
                </a:lnTo>
                <a:lnTo>
                  <a:pt x="2293" y="144"/>
                </a:lnTo>
                <a:lnTo>
                  <a:pt x="2294" y="146"/>
                </a:lnTo>
                <a:lnTo>
                  <a:pt x="2295" y="149"/>
                </a:lnTo>
                <a:lnTo>
                  <a:pt x="2295" y="152"/>
                </a:lnTo>
                <a:lnTo>
                  <a:pt x="2294" y="154"/>
                </a:lnTo>
                <a:lnTo>
                  <a:pt x="2293" y="158"/>
                </a:lnTo>
                <a:lnTo>
                  <a:pt x="2290" y="161"/>
                </a:lnTo>
                <a:lnTo>
                  <a:pt x="2287" y="163"/>
                </a:lnTo>
                <a:lnTo>
                  <a:pt x="2284" y="164"/>
                </a:lnTo>
                <a:lnTo>
                  <a:pt x="2281" y="164"/>
                </a:lnTo>
                <a:lnTo>
                  <a:pt x="2278" y="163"/>
                </a:lnTo>
                <a:lnTo>
                  <a:pt x="2275" y="163"/>
                </a:lnTo>
                <a:lnTo>
                  <a:pt x="2273" y="161"/>
                </a:lnTo>
                <a:lnTo>
                  <a:pt x="2271" y="159"/>
                </a:lnTo>
                <a:lnTo>
                  <a:pt x="2270" y="157"/>
                </a:lnTo>
                <a:lnTo>
                  <a:pt x="2269" y="155"/>
                </a:lnTo>
                <a:lnTo>
                  <a:pt x="2268" y="152"/>
                </a:lnTo>
                <a:lnTo>
                  <a:pt x="2268" y="150"/>
                </a:lnTo>
                <a:lnTo>
                  <a:pt x="2269" y="147"/>
                </a:lnTo>
                <a:lnTo>
                  <a:pt x="2269" y="145"/>
                </a:lnTo>
                <a:lnTo>
                  <a:pt x="2270" y="144"/>
                </a:lnTo>
                <a:lnTo>
                  <a:pt x="2273" y="141"/>
                </a:lnTo>
                <a:lnTo>
                  <a:pt x="2276" y="139"/>
                </a:lnTo>
                <a:lnTo>
                  <a:pt x="2279" y="138"/>
                </a:lnTo>
                <a:close/>
                <a:moveTo>
                  <a:pt x="2343" y="155"/>
                </a:moveTo>
                <a:lnTo>
                  <a:pt x="2346" y="155"/>
                </a:lnTo>
                <a:lnTo>
                  <a:pt x="2349" y="155"/>
                </a:lnTo>
                <a:lnTo>
                  <a:pt x="2351" y="156"/>
                </a:lnTo>
                <a:lnTo>
                  <a:pt x="2353" y="158"/>
                </a:lnTo>
                <a:lnTo>
                  <a:pt x="2355" y="160"/>
                </a:lnTo>
                <a:lnTo>
                  <a:pt x="2357" y="162"/>
                </a:lnTo>
                <a:lnTo>
                  <a:pt x="2358" y="164"/>
                </a:lnTo>
                <a:lnTo>
                  <a:pt x="2358" y="166"/>
                </a:lnTo>
                <a:lnTo>
                  <a:pt x="2358" y="169"/>
                </a:lnTo>
                <a:lnTo>
                  <a:pt x="2358" y="172"/>
                </a:lnTo>
                <a:lnTo>
                  <a:pt x="2357" y="174"/>
                </a:lnTo>
                <a:lnTo>
                  <a:pt x="2357" y="175"/>
                </a:lnTo>
                <a:lnTo>
                  <a:pt x="2354" y="178"/>
                </a:lnTo>
                <a:lnTo>
                  <a:pt x="2351" y="180"/>
                </a:lnTo>
                <a:lnTo>
                  <a:pt x="2348" y="181"/>
                </a:lnTo>
                <a:lnTo>
                  <a:pt x="2345" y="181"/>
                </a:lnTo>
                <a:lnTo>
                  <a:pt x="2342" y="181"/>
                </a:lnTo>
                <a:lnTo>
                  <a:pt x="2339" y="180"/>
                </a:lnTo>
                <a:lnTo>
                  <a:pt x="2337" y="179"/>
                </a:lnTo>
                <a:lnTo>
                  <a:pt x="2335" y="177"/>
                </a:lnTo>
                <a:lnTo>
                  <a:pt x="2334" y="175"/>
                </a:lnTo>
                <a:lnTo>
                  <a:pt x="2333" y="172"/>
                </a:lnTo>
                <a:lnTo>
                  <a:pt x="2332" y="170"/>
                </a:lnTo>
                <a:lnTo>
                  <a:pt x="2332" y="167"/>
                </a:lnTo>
                <a:lnTo>
                  <a:pt x="2333" y="165"/>
                </a:lnTo>
                <a:lnTo>
                  <a:pt x="2333" y="163"/>
                </a:lnTo>
                <a:lnTo>
                  <a:pt x="2334" y="161"/>
                </a:lnTo>
                <a:lnTo>
                  <a:pt x="2336" y="158"/>
                </a:lnTo>
                <a:lnTo>
                  <a:pt x="2339" y="156"/>
                </a:lnTo>
                <a:lnTo>
                  <a:pt x="2343" y="155"/>
                </a:lnTo>
                <a:close/>
                <a:moveTo>
                  <a:pt x="772" y="435"/>
                </a:moveTo>
                <a:lnTo>
                  <a:pt x="775" y="435"/>
                </a:lnTo>
                <a:lnTo>
                  <a:pt x="778" y="435"/>
                </a:lnTo>
                <a:lnTo>
                  <a:pt x="781" y="436"/>
                </a:lnTo>
                <a:lnTo>
                  <a:pt x="783" y="438"/>
                </a:lnTo>
                <a:lnTo>
                  <a:pt x="785" y="440"/>
                </a:lnTo>
                <a:lnTo>
                  <a:pt x="786" y="442"/>
                </a:lnTo>
                <a:lnTo>
                  <a:pt x="787" y="445"/>
                </a:lnTo>
                <a:lnTo>
                  <a:pt x="787" y="447"/>
                </a:lnTo>
                <a:lnTo>
                  <a:pt x="787" y="450"/>
                </a:lnTo>
                <a:lnTo>
                  <a:pt x="787" y="452"/>
                </a:lnTo>
                <a:lnTo>
                  <a:pt x="786" y="455"/>
                </a:lnTo>
                <a:lnTo>
                  <a:pt x="784" y="457"/>
                </a:lnTo>
                <a:lnTo>
                  <a:pt x="781" y="459"/>
                </a:lnTo>
                <a:lnTo>
                  <a:pt x="779" y="460"/>
                </a:lnTo>
                <a:lnTo>
                  <a:pt x="777" y="461"/>
                </a:lnTo>
                <a:lnTo>
                  <a:pt x="774" y="461"/>
                </a:lnTo>
                <a:lnTo>
                  <a:pt x="771" y="460"/>
                </a:lnTo>
                <a:lnTo>
                  <a:pt x="768" y="459"/>
                </a:lnTo>
                <a:lnTo>
                  <a:pt x="765" y="457"/>
                </a:lnTo>
                <a:lnTo>
                  <a:pt x="763" y="455"/>
                </a:lnTo>
                <a:lnTo>
                  <a:pt x="762" y="453"/>
                </a:lnTo>
                <a:lnTo>
                  <a:pt x="761" y="451"/>
                </a:lnTo>
                <a:lnTo>
                  <a:pt x="761" y="448"/>
                </a:lnTo>
                <a:lnTo>
                  <a:pt x="761" y="446"/>
                </a:lnTo>
                <a:lnTo>
                  <a:pt x="762" y="443"/>
                </a:lnTo>
                <a:lnTo>
                  <a:pt x="763" y="441"/>
                </a:lnTo>
                <a:lnTo>
                  <a:pt x="765" y="439"/>
                </a:lnTo>
                <a:lnTo>
                  <a:pt x="768" y="436"/>
                </a:lnTo>
                <a:lnTo>
                  <a:pt x="770" y="435"/>
                </a:lnTo>
                <a:lnTo>
                  <a:pt x="772" y="435"/>
                </a:lnTo>
                <a:close/>
                <a:moveTo>
                  <a:pt x="2407" y="173"/>
                </a:moveTo>
                <a:lnTo>
                  <a:pt x="2410" y="172"/>
                </a:lnTo>
                <a:lnTo>
                  <a:pt x="2413" y="173"/>
                </a:lnTo>
                <a:lnTo>
                  <a:pt x="2415" y="174"/>
                </a:lnTo>
                <a:lnTo>
                  <a:pt x="2417" y="175"/>
                </a:lnTo>
                <a:lnTo>
                  <a:pt x="2419" y="177"/>
                </a:lnTo>
                <a:lnTo>
                  <a:pt x="2421" y="179"/>
                </a:lnTo>
                <a:lnTo>
                  <a:pt x="2422" y="181"/>
                </a:lnTo>
                <a:lnTo>
                  <a:pt x="2422" y="184"/>
                </a:lnTo>
                <a:lnTo>
                  <a:pt x="2422" y="186"/>
                </a:lnTo>
                <a:lnTo>
                  <a:pt x="2422" y="189"/>
                </a:lnTo>
                <a:lnTo>
                  <a:pt x="2421" y="191"/>
                </a:lnTo>
                <a:lnTo>
                  <a:pt x="2420" y="193"/>
                </a:lnTo>
                <a:lnTo>
                  <a:pt x="2418" y="195"/>
                </a:lnTo>
                <a:lnTo>
                  <a:pt x="2415" y="198"/>
                </a:lnTo>
                <a:lnTo>
                  <a:pt x="2411" y="199"/>
                </a:lnTo>
                <a:lnTo>
                  <a:pt x="2409" y="199"/>
                </a:lnTo>
                <a:lnTo>
                  <a:pt x="2406" y="198"/>
                </a:lnTo>
                <a:lnTo>
                  <a:pt x="2403" y="197"/>
                </a:lnTo>
                <a:lnTo>
                  <a:pt x="2401" y="196"/>
                </a:lnTo>
                <a:lnTo>
                  <a:pt x="2399" y="194"/>
                </a:lnTo>
                <a:lnTo>
                  <a:pt x="2398" y="192"/>
                </a:lnTo>
                <a:lnTo>
                  <a:pt x="2397" y="190"/>
                </a:lnTo>
                <a:lnTo>
                  <a:pt x="2396" y="187"/>
                </a:lnTo>
                <a:lnTo>
                  <a:pt x="2396" y="185"/>
                </a:lnTo>
                <a:lnTo>
                  <a:pt x="2396" y="182"/>
                </a:lnTo>
                <a:lnTo>
                  <a:pt x="2397" y="180"/>
                </a:lnTo>
                <a:lnTo>
                  <a:pt x="2398" y="179"/>
                </a:lnTo>
                <a:lnTo>
                  <a:pt x="2400" y="176"/>
                </a:lnTo>
                <a:lnTo>
                  <a:pt x="2403" y="174"/>
                </a:lnTo>
                <a:lnTo>
                  <a:pt x="2407" y="173"/>
                </a:lnTo>
                <a:close/>
                <a:moveTo>
                  <a:pt x="727" y="484"/>
                </a:moveTo>
                <a:lnTo>
                  <a:pt x="730" y="484"/>
                </a:lnTo>
                <a:lnTo>
                  <a:pt x="733" y="484"/>
                </a:lnTo>
                <a:lnTo>
                  <a:pt x="735" y="485"/>
                </a:lnTo>
                <a:lnTo>
                  <a:pt x="739" y="487"/>
                </a:lnTo>
                <a:lnTo>
                  <a:pt x="741" y="489"/>
                </a:lnTo>
                <a:lnTo>
                  <a:pt x="742" y="491"/>
                </a:lnTo>
                <a:lnTo>
                  <a:pt x="743" y="494"/>
                </a:lnTo>
                <a:lnTo>
                  <a:pt x="743" y="496"/>
                </a:lnTo>
                <a:lnTo>
                  <a:pt x="743" y="499"/>
                </a:lnTo>
                <a:lnTo>
                  <a:pt x="743" y="501"/>
                </a:lnTo>
                <a:lnTo>
                  <a:pt x="742" y="503"/>
                </a:lnTo>
                <a:lnTo>
                  <a:pt x="740" y="506"/>
                </a:lnTo>
                <a:lnTo>
                  <a:pt x="739" y="506"/>
                </a:lnTo>
                <a:lnTo>
                  <a:pt x="738" y="507"/>
                </a:lnTo>
                <a:lnTo>
                  <a:pt x="737" y="509"/>
                </a:lnTo>
                <a:lnTo>
                  <a:pt x="734" y="509"/>
                </a:lnTo>
                <a:lnTo>
                  <a:pt x="731" y="510"/>
                </a:lnTo>
                <a:lnTo>
                  <a:pt x="729" y="510"/>
                </a:lnTo>
                <a:lnTo>
                  <a:pt x="726" y="510"/>
                </a:lnTo>
                <a:lnTo>
                  <a:pt x="723" y="509"/>
                </a:lnTo>
                <a:lnTo>
                  <a:pt x="720" y="507"/>
                </a:lnTo>
                <a:lnTo>
                  <a:pt x="719" y="505"/>
                </a:lnTo>
                <a:lnTo>
                  <a:pt x="717" y="503"/>
                </a:lnTo>
                <a:lnTo>
                  <a:pt x="716" y="500"/>
                </a:lnTo>
                <a:lnTo>
                  <a:pt x="716" y="498"/>
                </a:lnTo>
                <a:lnTo>
                  <a:pt x="716" y="495"/>
                </a:lnTo>
                <a:lnTo>
                  <a:pt x="717" y="493"/>
                </a:lnTo>
                <a:lnTo>
                  <a:pt x="718" y="490"/>
                </a:lnTo>
                <a:lnTo>
                  <a:pt x="719" y="488"/>
                </a:lnTo>
                <a:lnTo>
                  <a:pt x="720" y="487"/>
                </a:lnTo>
                <a:lnTo>
                  <a:pt x="721" y="487"/>
                </a:lnTo>
                <a:lnTo>
                  <a:pt x="723" y="485"/>
                </a:lnTo>
                <a:lnTo>
                  <a:pt x="725" y="484"/>
                </a:lnTo>
                <a:lnTo>
                  <a:pt x="727" y="484"/>
                </a:lnTo>
                <a:close/>
                <a:moveTo>
                  <a:pt x="2471" y="190"/>
                </a:moveTo>
                <a:lnTo>
                  <a:pt x="2473" y="190"/>
                </a:lnTo>
                <a:lnTo>
                  <a:pt x="2476" y="190"/>
                </a:lnTo>
                <a:lnTo>
                  <a:pt x="2479" y="191"/>
                </a:lnTo>
                <a:lnTo>
                  <a:pt x="2481" y="193"/>
                </a:lnTo>
                <a:lnTo>
                  <a:pt x="2483" y="194"/>
                </a:lnTo>
                <a:lnTo>
                  <a:pt x="2484" y="196"/>
                </a:lnTo>
                <a:lnTo>
                  <a:pt x="2485" y="199"/>
                </a:lnTo>
                <a:lnTo>
                  <a:pt x="2486" y="201"/>
                </a:lnTo>
                <a:lnTo>
                  <a:pt x="2486" y="204"/>
                </a:lnTo>
                <a:lnTo>
                  <a:pt x="2486" y="206"/>
                </a:lnTo>
                <a:lnTo>
                  <a:pt x="2485" y="208"/>
                </a:lnTo>
                <a:lnTo>
                  <a:pt x="2484" y="210"/>
                </a:lnTo>
                <a:lnTo>
                  <a:pt x="2482" y="213"/>
                </a:lnTo>
                <a:lnTo>
                  <a:pt x="2479" y="215"/>
                </a:lnTo>
                <a:lnTo>
                  <a:pt x="2475" y="216"/>
                </a:lnTo>
                <a:lnTo>
                  <a:pt x="2472" y="216"/>
                </a:lnTo>
                <a:lnTo>
                  <a:pt x="2469" y="216"/>
                </a:lnTo>
                <a:lnTo>
                  <a:pt x="2467" y="215"/>
                </a:lnTo>
                <a:lnTo>
                  <a:pt x="2465" y="213"/>
                </a:lnTo>
                <a:lnTo>
                  <a:pt x="2463" y="212"/>
                </a:lnTo>
                <a:lnTo>
                  <a:pt x="2461" y="210"/>
                </a:lnTo>
                <a:lnTo>
                  <a:pt x="2460" y="207"/>
                </a:lnTo>
                <a:lnTo>
                  <a:pt x="2460" y="205"/>
                </a:lnTo>
                <a:lnTo>
                  <a:pt x="2460" y="202"/>
                </a:lnTo>
                <a:lnTo>
                  <a:pt x="2460" y="199"/>
                </a:lnTo>
                <a:lnTo>
                  <a:pt x="2461" y="198"/>
                </a:lnTo>
                <a:lnTo>
                  <a:pt x="2462" y="196"/>
                </a:lnTo>
                <a:lnTo>
                  <a:pt x="2464" y="193"/>
                </a:lnTo>
                <a:lnTo>
                  <a:pt x="2467" y="191"/>
                </a:lnTo>
                <a:lnTo>
                  <a:pt x="2471" y="190"/>
                </a:lnTo>
                <a:close/>
                <a:moveTo>
                  <a:pt x="2534" y="207"/>
                </a:moveTo>
                <a:lnTo>
                  <a:pt x="2537" y="207"/>
                </a:lnTo>
                <a:lnTo>
                  <a:pt x="2540" y="207"/>
                </a:lnTo>
                <a:lnTo>
                  <a:pt x="2543" y="208"/>
                </a:lnTo>
                <a:lnTo>
                  <a:pt x="2545" y="210"/>
                </a:lnTo>
                <a:lnTo>
                  <a:pt x="2547" y="211"/>
                </a:lnTo>
                <a:lnTo>
                  <a:pt x="2548" y="214"/>
                </a:lnTo>
                <a:lnTo>
                  <a:pt x="2549" y="216"/>
                </a:lnTo>
                <a:lnTo>
                  <a:pt x="2550" y="218"/>
                </a:lnTo>
                <a:lnTo>
                  <a:pt x="2550" y="221"/>
                </a:lnTo>
                <a:lnTo>
                  <a:pt x="2550" y="224"/>
                </a:lnTo>
                <a:lnTo>
                  <a:pt x="2549" y="225"/>
                </a:lnTo>
                <a:lnTo>
                  <a:pt x="2548" y="227"/>
                </a:lnTo>
                <a:lnTo>
                  <a:pt x="2546" y="230"/>
                </a:lnTo>
                <a:lnTo>
                  <a:pt x="2543" y="232"/>
                </a:lnTo>
                <a:lnTo>
                  <a:pt x="2539" y="233"/>
                </a:lnTo>
                <a:lnTo>
                  <a:pt x="2536" y="233"/>
                </a:lnTo>
                <a:lnTo>
                  <a:pt x="2533" y="233"/>
                </a:lnTo>
                <a:lnTo>
                  <a:pt x="2531" y="232"/>
                </a:lnTo>
                <a:lnTo>
                  <a:pt x="2529" y="231"/>
                </a:lnTo>
                <a:lnTo>
                  <a:pt x="2527" y="229"/>
                </a:lnTo>
                <a:lnTo>
                  <a:pt x="2525" y="227"/>
                </a:lnTo>
                <a:lnTo>
                  <a:pt x="2524" y="224"/>
                </a:lnTo>
                <a:lnTo>
                  <a:pt x="2524" y="222"/>
                </a:lnTo>
                <a:lnTo>
                  <a:pt x="2524" y="219"/>
                </a:lnTo>
                <a:lnTo>
                  <a:pt x="2524" y="217"/>
                </a:lnTo>
                <a:lnTo>
                  <a:pt x="2525" y="215"/>
                </a:lnTo>
                <a:lnTo>
                  <a:pt x="2526" y="213"/>
                </a:lnTo>
                <a:lnTo>
                  <a:pt x="2528" y="210"/>
                </a:lnTo>
                <a:lnTo>
                  <a:pt x="2531" y="208"/>
                </a:lnTo>
                <a:lnTo>
                  <a:pt x="2534" y="207"/>
                </a:lnTo>
                <a:close/>
                <a:moveTo>
                  <a:pt x="684" y="535"/>
                </a:moveTo>
                <a:lnTo>
                  <a:pt x="687" y="534"/>
                </a:lnTo>
                <a:lnTo>
                  <a:pt x="690" y="535"/>
                </a:lnTo>
                <a:lnTo>
                  <a:pt x="692" y="536"/>
                </a:lnTo>
                <a:lnTo>
                  <a:pt x="695" y="537"/>
                </a:lnTo>
                <a:lnTo>
                  <a:pt x="697" y="539"/>
                </a:lnTo>
                <a:lnTo>
                  <a:pt x="698" y="541"/>
                </a:lnTo>
                <a:lnTo>
                  <a:pt x="700" y="546"/>
                </a:lnTo>
                <a:lnTo>
                  <a:pt x="700" y="549"/>
                </a:lnTo>
                <a:lnTo>
                  <a:pt x="699" y="551"/>
                </a:lnTo>
                <a:lnTo>
                  <a:pt x="698" y="554"/>
                </a:lnTo>
                <a:lnTo>
                  <a:pt x="697" y="556"/>
                </a:lnTo>
                <a:lnTo>
                  <a:pt x="695" y="558"/>
                </a:lnTo>
                <a:lnTo>
                  <a:pt x="693" y="559"/>
                </a:lnTo>
                <a:lnTo>
                  <a:pt x="691" y="560"/>
                </a:lnTo>
                <a:lnTo>
                  <a:pt x="689" y="561"/>
                </a:lnTo>
                <a:lnTo>
                  <a:pt x="686" y="561"/>
                </a:lnTo>
                <a:lnTo>
                  <a:pt x="683" y="560"/>
                </a:lnTo>
                <a:lnTo>
                  <a:pt x="681" y="559"/>
                </a:lnTo>
                <a:lnTo>
                  <a:pt x="678" y="558"/>
                </a:lnTo>
                <a:lnTo>
                  <a:pt x="676" y="556"/>
                </a:lnTo>
                <a:lnTo>
                  <a:pt x="675" y="554"/>
                </a:lnTo>
                <a:lnTo>
                  <a:pt x="673" y="549"/>
                </a:lnTo>
                <a:lnTo>
                  <a:pt x="673" y="546"/>
                </a:lnTo>
                <a:lnTo>
                  <a:pt x="674" y="544"/>
                </a:lnTo>
                <a:lnTo>
                  <a:pt x="675" y="542"/>
                </a:lnTo>
                <a:lnTo>
                  <a:pt x="676" y="539"/>
                </a:lnTo>
                <a:lnTo>
                  <a:pt x="678" y="538"/>
                </a:lnTo>
                <a:lnTo>
                  <a:pt x="680" y="536"/>
                </a:lnTo>
                <a:lnTo>
                  <a:pt x="682" y="535"/>
                </a:lnTo>
                <a:lnTo>
                  <a:pt x="684" y="535"/>
                </a:lnTo>
                <a:close/>
                <a:moveTo>
                  <a:pt x="2598" y="224"/>
                </a:moveTo>
                <a:lnTo>
                  <a:pt x="2601" y="224"/>
                </a:lnTo>
                <a:lnTo>
                  <a:pt x="2604" y="224"/>
                </a:lnTo>
                <a:lnTo>
                  <a:pt x="2607" y="225"/>
                </a:lnTo>
                <a:lnTo>
                  <a:pt x="2609" y="227"/>
                </a:lnTo>
                <a:lnTo>
                  <a:pt x="2611" y="228"/>
                </a:lnTo>
                <a:lnTo>
                  <a:pt x="2612" y="231"/>
                </a:lnTo>
                <a:lnTo>
                  <a:pt x="2613" y="233"/>
                </a:lnTo>
                <a:lnTo>
                  <a:pt x="2614" y="235"/>
                </a:lnTo>
                <a:lnTo>
                  <a:pt x="2614" y="238"/>
                </a:lnTo>
                <a:lnTo>
                  <a:pt x="2613" y="241"/>
                </a:lnTo>
                <a:lnTo>
                  <a:pt x="2613" y="242"/>
                </a:lnTo>
                <a:lnTo>
                  <a:pt x="2612" y="244"/>
                </a:lnTo>
                <a:lnTo>
                  <a:pt x="2610" y="247"/>
                </a:lnTo>
                <a:lnTo>
                  <a:pt x="2606" y="249"/>
                </a:lnTo>
                <a:lnTo>
                  <a:pt x="2603" y="250"/>
                </a:lnTo>
                <a:lnTo>
                  <a:pt x="2600" y="250"/>
                </a:lnTo>
                <a:lnTo>
                  <a:pt x="2597" y="250"/>
                </a:lnTo>
                <a:lnTo>
                  <a:pt x="2595" y="249"/>
                </a:lnTo>
                <a:lnTo>
                  <a:pt x="2593" y="248"/>
                </a:lnTo>
                <a:lnTo>
                  <a:pt x="2591" y="246"/>
                </a:lnTo>
                <a:lnTo>
                  <a:pt x="2589" y="244"/>
                </a:lnTo>
                <a:lnTo>
                  <a:pt x="2588" y="242"/>
                </a:lnTo>
                <a:lnTo>
                  <a:pt x="2588" y="239"/>
                </a:lnTo>
                <a:lnTo>
                  <a:pt x="2587" y="236"/>
                </a:lnTo>
                <a:lnTo>
                  <a:pt x="2588" y="234"/>
                </a:lnTo>
                <a:lnTo>
                  <a:pt x="2589" y="232"/>
                </a:lnTo>
                <a:lnTo>
                  <a:pt x="2589" y="230"/>
                </a:lnTo>
                <a:lnTo>
                  <a:pt x="2592" y="227"/>
                </a:lnTo>
                <a:lnTo>
                  <a:pt x="2595" y="225"/>
                </a:lnTo>
                <a:lnTo>
                  <a:pt x="2598" y="224"/>
                </a:lnTo>
                <a:close/>
                <a:moveTo>
                  <a:pt x="643" y="587"/>
                </a:moveTo>
                <a:lnTo>
                  <a:pt x="646" y="586"/>
                </a:lnTo>
                <a:lnTo>
                  <a:pt x="649" y="587"/>
                </a:lnTo>
                <a:lnTo>
                  <a:pt x="651" y="588"/>
                </a:lnTo>
                <a:lnTo>
                  <a:pt x="654" y="589"/>
                </a:lnTo>
                <a:lnTo>
                  <a:pt x="656" y="591"/>
                </a:lnTo>
                <a:lnTo>
                  <a:pt x="657" y="593"/>
                </a:lnTo>
                <a:lnTo>
                  <a:pt x="658" y="595"/>
                </a:lnTo>
                <a:lnTo>
                  <a:pt x="659" y="598"/>
                </a:lnTo>
                <a:lnTo>
                  <a:pt x="659" y="600"/>
                </a:lnTo>
                <a:lnTo>
                  <a:pt x="659" y="603"/>
                </a:lnTo>
                <a:lnTo>
                  <a:pt x="658" y="605"/>
                </a:lnTo>
                <a:lnTo>
                  <a:pt x="656" y="608"/>
                </a:lnTo>
                <a:lnTo>
                  <a:pt x="655" y="610"/>
                </a:lnTo>
                <a:lnTo>
                  <a:pt x="653" y="611"/>
                </a:lnTo>
                <a:lnTo>
                  <a:pt x="650" y="612"/>
                </a:lnTo>
                <a:lnTo>
                  <a:pt x="648" y="613"/>
                </a:lnTo>
                <a:lnTo>
                  <a:pt x="645" y="613"/>
                </a:lnTo>
                <a:lnTo>
                  <a:pt x="643" y="613"/>
                </a:lnTo>
                <a:lnTo>
                  <a:pt x="640" y="612"/>
                </a:lnTo>
                <a:lnTo>
                  <a:pt x="638" y="610"/>
                </a:lnTo>
                <a:lnTo>
                  <a:pt x="636" y="608"/>
                </a:lnTo>
                <a:lnTo>
                  <a:pt x="634" y="606"/>
                </a:lnTo>
                <a:lnTo>
                  <a:pt x="633" y="604"/>
                </a:lnTo>
                <a:lnTo>
                  <a:pt x="633" y="601"/>
                </a:lnTo>
                <a:lnTo>
                  <a:pt x="633" y="599"/>
                </a:lnTo>
                <a:lnTo>
                  <a:pt x="633" y="596"/>
                </a:lnTo>
                <a:lnTo>
                  <a:pt x="634" y="594"/>
                </a:lnTo>
                <a:lnTo>
                  <a:pt x="635" y="592"/>
                </a:lnTo>
                <a:lnTo>
                  <a:pt x="637" y="590"/>
                </a:lnTo>
                <a:lnTo>
                  <a:pt x="639" y="588"/>
                </a:lnTo>
                <a:lnTo>
                  <a:pt x="641" y="587"/>
                </a:lnTo>
                <a:lnTo>
                  <a:pt x="643" y="587"/>
                </a:lnTo>
                <a:close/>
                <a:moveTo>
                  <a:pt x="2662" y="241"/>
                </a:moveTo>
                <a:lnTo>
                  <a:pt x="2665" y="241"/>
                </a:lnTo>
                <a:lnTo>
                  <a:pt x="2668" y="241"/>
                </a:lnTo>
                <a:lnTo>
                  <a:pt x="2670" y="242"/>
                </a:lnTo>
                <a:lnTo>
                  <a:pt x="2673" y="244"/>
                </a:lnTo>
                <a:lnTo>
                  <a:pt x="2675" y="245"/>
                </a:lnTo>
                <a:lnTo>
                  <a:pt x="2676" y="247"/>
                </a:lnTo>
                <a:lnTo>
                  <a:pt x="2677" y="250"/>
                </a:lnTo>
                <a:lnTo>
                  <a:pt x="2678" y="252"/>
                </a:lnTo>
                <a:lnTo>
                  <a:pt x="2678" y="255"/>
                </a:lnTo>
                <a:lnTo>
                  <a:pt x="2677" y="257"/>
                </a:lnTo>
                <a:lnTo>
                  <a:pt x="2677" y="259"/>
                </a:lnTo>
                <a:lnTo>
                  <a:pt x="2676" y="261"/>
                </a:lnTo>
                <a:lnTo>
                  <a:pt x="2674" y="264"/>
                </a:lnTo>
                <a:lnTo>
                  <a:pt x="2670" y="266"/>
                </a:lnTo>
                <a:lnTo>
                  <a:pt x="2667" y="267"/>
                </a:lnTo>
                <a:lnTo>
                  <a:pt x="2664" y="267"/>
                </a:lnTo>
                <a:lnTo>
                  <a:pt x="2661" y="267"/>
                </a:lnTo>
                <a:lnTo>
                  <a:pt x="2659" y="266"/>
                </a:lnTo>
                <a:lnTo>
                  <a:pt x="2657" y="265"/>
                </a:lnTo>
                <a:lnTo>
                  <a:pt x="2655" y="263"/>
                </a:lnTo>
                <a:lnTo>
                  <a:pt x="2653" y="261"/>
                </a:lnTo>
                <a:lnTo>
                  <a:pt x="2652" y="258"/>
                </a:lnTo>
                <a:lnTo>
                  <a:pt x="2652" y="256"/>
                </a:lnTo>
                <a:lnTo>
                  <a:pt x="2651" y="253"/>
                </a:lnTo>
                <a:lnTo>
                  <a:pt x="2652" y="251"/>
                </a:lnTo>
                <a:lnTo>
                  <a:pt x="2652" y="249"/>
                </a:lnTo>
                <a:lnTo>
                  <a:pt x="2653" y="247"/>
                </a:lnTo>
                <a:lnTo>
                  <a:pt x="2656" y="244"/>
                </a:lnTo>
                <a:lnTo>
                  <a:pt x="2659" y="242"/>
                </a:lnTo>
                <a:lnTo>
                  <a:pt x="2662" y="241"/>
                </a:lnTo>
                <a:close/>
                <a:moveTo>
                  <a:pt x="2726" y="258"/>
                </a:moveTo>
                <a:lnTo>
                  <a:pt x="2729" y="257"/>
                </a:lnTo>
                <a:lnTo>
                  <a:pt x="2732" y="258"/>
                </a:lnTo>
                <a:lnTo>
                  <a:pt x="2734" y="259"/>
                </a:lnTo>
                <a:lnTo>
                  <a:pt x="2737" y="260"/>
                </a:lnTo>
                <a:lnTo>
                  <a:pt x="2739" y="262"/>
                </a:lnTo>
                <a:lnTo>
                  <a:pt x="2740" y="264"/>
                </a:lnTo>
                <a:lnTo>
                  <a:pt x="2741" y="266"/>
                </a:lnTo>
                <a:lnTo>
                  <a:pt x="2742" y="269"/>
                </a:lnTo>
                <a:lnTo>
                  <a:pt x="2742" y="271"/>
                </a:lnTo>
                <a:lnTo>
                  <a:pt x="2741" y="274"/>
                </a:lnTo>
                <a:lnTo>
                  <a:pt x="2741" y="276"/>
                </a:lnTo>
                <a:lnTo>
                  <a:pt x="2740" y="278"/>
                </a:lnTo>
                <a:lnTo>
                  <a:pt x="2738" y="280"/>
                </a:lnTo>
                <a:lnTo>
                  <a:pt x="2734" y="283"/>
                </a:lnTo>
                <a:lnTo>
                  <a:pt x="2731" y="284"/>
                </a:lnTo>
                <a:lnTo>
                  <a:pt x="2728" y="284"/>
                </a:lnTo>
                <a:lnTo>
                  <a:pt x="2725" y="284"/>
                </a:lnTo>
                <a:lnTo>
                  <a:pt x="2723" y="283"/>
                </a:lnTo>
                <a:lnTo>
                  <a:pt x="2721" y="281"/>
                </a:lnTo>
                <a:lnTo>
                  <a:pt x="2719" y="279"/>
                </a:lnTo>
                <a:lnTo>
                  <a:pt x="2717" y="277"/>
                </a:lnTo>
                <a:lnTo>
                  <a:pt x="2716" y="275"/>
                </a:lnTo>
                <a:lnTo>
                  <a:pt x="2716" y="273"/>
                </a:lnTo>
                <a:lnTo>
                  <a:pt x="2715" y="270"/>
                </a:lnTo>
                <a:lnTo>
                  <a:pt x="2716" y="267"/>
                </a:lnTo>
                <a:lnTo>
                  <a:pt x="2716" y="266"/>
                </a:lnTo>
                <a:lnTo>
                  <a:pt x="2717" y="264"/>
                </a:lnTo>
                <a:lnTo>
                  <a:pt x="2720" y="261"/>
                </a:lnTo>
                <a:lnTo>
                  <a:pt x="2723" y="259"/>
                </a:lnTo>
                <a:lnTo>
                  <a:pt x="2726" y="258"/>
                </a:lnTo>
                <a:close/>
                <a:moveTo>
                  <a:pt x="604" y="640"/>
                </a:moveTo>
                <a:lnTo>
                  <a:pt x="609" y="640"/>
                </a:lnTo>
                <a:lnTo>
                  <a:pt x="612" y="641"/>
                </a:lnTo>
                <a:lnTo>
                  <a:pt x="614" y="642"/>
                </a:lnTo>
                <a:lnTo>
                  <a:pt x="616" y="644"/>
                </a:lnTo>
                <a:lnTo>
                  <a:pt x="618" y="646"/>
                </a:lnTo>
                <a:lnTo>
                  <a:pt x="619" y="648"/>
                </a:lnTo>
                <a:lnTo>
                  <a:pt x="619" y="651"/>
                </a:lnTo>
                <a:lnTo>
                  <a:pt x="620" y="653"/>
                </a:lnTo>
                <a:lnTo>
                  <a:pt x="619" y="656"/>
                </a:lnTo>
                <a:lnTo>
                  <a:pt x="619" y="658"/>
                </a:lnTo>
                <a:lnTo>
                  <a:pt x="617" y="661"/>
                </a:lnTo>
                <a:lnTo>
                  <a:pt x="615" y="663"/>
                </a:lnTo>
                <a:lnTo>
                  <a:pt x="613" y="664"/>
                </a:lnTo>
                <a:lnTo>
                  <a:pt x="611" y="665"/>
                </a:lnTo>
                <a:lnTo>
                  <a:pt x="609" y="666"/>
                </a:lnTo>
                <a:lnTo>
                  <a:pt x="604" y="666"/>
                </a:lnTo>
                <a:lnTo>
                  <a:pt x="601" y="665"/>
                </a:lnTo>
                <a:lnTo>
                  <a:pt x="599" y="664"/>
                </a:lnTo>
                <a:lnTo>
                  <a:pt x="597" y="662"/>
                </a:lnTo>
                <a:lnTo>
                  <a:pt x="595" y="660"/>
                </a:lnTo>
                <a:lnTo>
                  <a:pt x="594" y="657"/>
                </a:lnTo>
                <a:lnTo>
                  <a:pt x="593" y="655"/>
                </a:lnTo>
                <a:lnTo>
                  <a:pt x="593" y="652"/>
                </a:lnTo>
                <a:lnTo>
                  <a:pt x="593" y="650"/>
                </a:lnTo>
                <a:lnTo>
                  <a:pt x="594" y="647"/>
                </a:lnTo>
                <a:lnTo>
                  <a:pt x="596" y="645"/>
                </a:lnTo>
                <a:lnTo>
                  <a:pt x="597" y="643"/>
                </a:lnTo>
                <a:lnTo>
                  <a:pt x="599" y="642"/>
                </a:lnTo>
                <a:lnTo>
                  <a:pt x="602" y="640"/>
                </a:lnTo>
                <a:lnTo>
                  <a:pt x="604" y="640"/>
                </a:lnTo>
                <a:close/>
                <a:moveTo>
                  <a:pt x="2790" y="274"/>
                </a:moveTo>
                <a:lnTo>
                  <a:pt x="2793" y="274"/>
                </a:lnTo>
                <a:lnTo>
                  <a:pt x="2796" y="274"/>
                </a:lnTo>
                <a:lnTo>
                  <a:pt x="2798" y="275"/>
                </a:lnTo>
                <a:lnTo>
                  <a:pt x="2801" y="276"/>
                </a:lnTo>
                <a:lnTo>
                  <a:pt x="2803" y="278"/>
                </a:lnTo>
                <a:lnTo>
                  <a:pt x="2804" y="280"/>
                </a:lnTo>
                <a:lnTo>
                  <a:pt x="2805" y="283"/>
                </a:lnTo>
                <a:lnTo>
                  <a:pt x="2806" y="285"/>
                </a:lnTo>
                <a:lnTo>
                  <a:pt x="2806" y="288"/>
                </a:lnTo>
                <a:lnTo>
                  <a:pt x="2806" y="290"/>
                </a:lnTo>
                <a:lnTo>
                  <a:pt x="2805" y="292"/>
                </a:lnTo>
                <a:lnTo>
                  <a:pt x="2804" y="294"/>
                </a:lnTo>
                <a:lnTo>
                  <a:pt x="2802" y="297"/>
                </a:lnTo>
                <a:lnTo>
                  <a:pt x="2799" y="299"/>
                </a:lnTo>
                <a:lnTo>
                  <a:pt x="2795" y="300"/>
                </a:lnTo>
                <a:lnTo>
                  <a:pt x="2792" y="300"/>
                </a:lnTo>
                <a:lnTo>
                  <a:pt x="2789" y="300"/>
                </a:lnTo>
                <a:lnTo>
                  <a:pt x="2787" y="299"/>
                </a:lnTo>
                <a:lnTo>
                  <a:pt x="2785" y="298"/>
                </a:lnTo>
                <a:lnTo>
                  <a:pt x="2783" y="296"/>
                </a:lnTo>
                <a:lnTo>
                  <a:pt x="2781" y="294"/>
                </a:lnTo>
                <a:lnTo>
                  <a:pt x="2780" y="292"/>
                </a:lnTo>
                <a:lnTo>
                  <a:pt x="2780" y="289"/>
                </a:lnTo>
                <a:lnTo>
                  <a:pt x="2780" y="286"/>
                </a:lnTo>
                <a:lnTo>
                  <a:pt x="2780" y="284"/>
                </a:lnTo>
                <a:lnTo>
                  <a:pt x="2781" y="282"/>
                </a:lnTo>
                <a:lnTo>
                  <a:pt x="2781" y="280"/>
                </a:lnTo>
                <a:lnTo>
                  <a:pt x="2784" y="277"/>
                </a:lnTo>
                <a:lnTo>
                  <a:pt x="2787" y="275"/>
                </a:lnTo>
                <a:lnTo>
                  <a:pt x="2790" y="274"/>
                </a:lnTo>
                <a:close/>
                <a:moveTo>
                  <a:pt x="2855" y="290"/>
                </a:moveTo>
                <a:lnTo>
                  <a:pt x="2857" y="290"/>
                </a:lnTo>
                <a:lnTo>
                  <a:pt x="2860" y="290"/>
                </a:lnTo>
                <a:lnTo>
                  <a:pt x="2863" y="291"/>
                </a:lnTo>
                <a:lnTo>
                  <a:pt x="2865" y="292"/>
                </a:lnTo>
                <a:lnTo>
                  <a:pt x="2867" y="294"/>
                </a:lnTo>
                <a:lnTo>
                  <a:pt x="2868" y="296"/>
                </a:lnTo>
                <a:lnTo>
                  <a:pt x="2869" y="298"/>
                </a:lnTo>
                <a:lnTo>
                  <a:pt x="2870" y="301"/>
                </a:lnTo>
                <a:lnTo>
                  <a:pt x="2870" y="303"/>
                </a:lnTo>
                <a:lnTo>
                  <a:pt x="2870" y="306"/>
                </a:lnTo>
                <a:lnTo>
                  <a:pt x="2868" y="310"/>
                </a:lnTo>
                <a:lnTo>
                  <a:pt x="2866" y="313"/>
                </a:lnTo>
                <a:lnTo>
                  <a:pt x="2863" y="315"/>
                </a:lnTo>
                <a:lnTo>
                  <a:pt x="2859" y="316"/>
                </a:lnTo>
                <a:lnTo>
                  <a:pt x="2857" y="316"/>
                </a:lnTo>
                <a:lnTo>
                  <a:pt x="2854" y="316"/>
                </a:lnTo>
                <a:lnTo>
                  <a:pt x="2851" y="315"/>
                </a:lnTo>
                <a:lnTo>
                  <a:pt x="2849" y="314"/>
                </a:lnTo>
                <a:lnTo>
                  <a:pt x="2847" y="312"/>
                </a:lnTo>
                <a:lnTo>
                  <a:pt x="2846" y="310"/>
                </a:lnTo>
                <a:lnTo>
                  <a:pt x="2845" y="308"/>
                </a:lnTo>
                <a:lnTo>
                  <a:pt x="2844" y="305"/>
                </a:lnTo>
                <a:lnTo>
                  <a:pt x="2844" y="302"/>
                </a:lnTo>
                <a:lnTo>
                  <a:pt x="2844" y="300"/>
                </a:lnTo>
                <a:lnTo>
                  <a:pt x="2846" y="296"/>
                </a:lnTo>
                <a:lnTo>
                  <a:pt x="2848" y="293"/>
                </a:lnTo>
                <a:lnTo>
                  <a:pt x="2851" y="291"/>
                </a:lnTo>
                <a:lnTo>
                  <a:pt x="2855" y="290"/>
                </a:lnTo>
                <a:close/>
                <a:moveTo>
                  <a:pt x="566" y="694"/>
                </a:moveTo>
                <a:lnTo>
                  <a:pt x="571" y="694"/>
                </a:lnTo>
                <a:lnTo>
                  <a:pt x="574" y="695"/>
                </a:lnTo>
                <a:lnTo>
                  <a:pt x="576" y="696"/>
                </a:lnTo>
                <a:lnTo>
                  <a:pt x="578" y="698"/>
                </a:lnTo>
                <a:lnTo>
                  <a:pt x="580" y="700"/>
                </a:lnTo>
                <a:lnTo>
                  <a:pt x="581" y="702"/>
                </a:lnTo>
                <a:lnTo>
                  <a:pt x="582" y="705"/>
                </a:lnTo>
                <a:lnTo>
                  <a:pt x="582" y="710"/>
                </a:lnTo>
                <a:lnTo>
                  <a:pt x="581" y="712"/>
                </a:lnTo>
                <a:lnTo>
                  <a:pt x="580" y="715"/>
                </a:lnTo>
                <a:lnTo>
                  <a:pt x="578" y="717"/>
                </a:lnTo>
                <a:lnTo>
                  <a:pt x="576" y="718"/>
                </a:lnTo>
                <a:lnTo>
                  <a:pt x="573" y="719"/>
                </a:lnTo>
                <a:lnTo>
                  <a:pt x="571" y="720"/>
                </a:lnTo>
                <a:lnTo>
                  <a:pt x="566" y="720"/>
                </a:lnTo>
                <a:lnTo>
                  <a:pt x="564" y="719"/>
                </a:lnTo>
                <a:lnTo>
                  <a:pt x="561" y="718"/>
                </a:lnTo>
                <a:lnTo>
                  <a:pt x="559" y="716"/>
                </a:lnTo>
                <a:lnTo>
                  <a:pt x="558" y="714"/>
                </a:lnTo>
                <a:lnTo>
                  <a:pt x="556" y="712"/>
                </a:lnTo>
                <a:lnTo>
                  <a:pt x="556" y="710"/>
                </a:lnTo>
                <a:lnTo>
                  <a:pt x="556" y="705"/>
                </a:lnTo>
                <a:lnTo>
                  <a:pt x="556" y="702"/>
                </a:lnTo>
                <a:lnTo>
                  <a:pt x="558" y="700"/>
                </a:lnTo>
                <a:lnTo>
                  <a:pt x="559" y="698"/>
                </a:lnTo>
                <a:lnTo>
                  <a:pt x="562" y="696"/>
                </a:lnTo>
                <a:lnTo>
                  <a:pt x="564" y="695"/>
                </a:lnTo>
                <a:lnTo>
                  <a:pt x="566" y="694"/>
                </a:lnTo>
                <a:close/>
                <a:moveTo>
                  <a:pt x="2919" y="305"/>
                </a:moveTo>
                <a:lnTo>
                  <a:pt x="2922" y="305"/>
                </a:lnTo>
                <a:lnTo>
                  <a:pt x="2924" y="305"/>
                </a:lnTo>
                <a:lnTo>
                  <a:pt x="2927" y="306"/>
                </a:lnTo>
                <a:lnTo>
                  <a:pt x="2929" y="308"/>
                </a:lnTo>
                <a:lnTo>
                  <a:pt x="2931" y="309"/>
                </a:lnTo>
                <a:lnTo>
                  <a:pt x="2932" y="311"/>
                </a:lnTo>
                <a:lnTo>
                  <a:pt x="2934" y="314"/>
                </a:lnTo>
                <a:lnTo>
                  <a:pt x="2934" y="316"/>
                </a:lnTo>
                <a:lnTo>
                  <a:pt x="2934" y="319"/>
                </a:lnTo>
                <a:lnTo>
                  <a:pt x="2934" y="321"/>
                </a:lnTo>
                <a:lnTo>
                  <a:pt x="2933" y="325"/>
                </a:lnTo>
                <a:lnTo>
                  <a:pt x="2930" y="328"/>
                </a:lnTo>
                <a:lnTo>
                  <a:pt x="2927" y="330"/>
                </a:lnTo>
                <a:lnTo>
                  <a:pt x="2924" y="331"/>
                </a:lnTo>
                <a:lnTo>
                  <a:pt x="2921" y="332"/>
                </a:lnTo>
                <a:lnTo>
                  <a:pt x="2918" y="331"/>
                </a:lnTo>
                <a:lnTo>
                  <a:pt x="2916" y="330"/>
                </a:lnTo>
                <a:lnTo>
                  <a:pt x="2913" y="329"/>
                </a:lnTo>
                <a:lnTo>
                  <a:pt x="2912" y="327"/>
                </a:lnTo>
                <a:lnTo>
                  <a:pt x="2910" y="325"/>
                </a:lnTo>
                <a:lnTo>
                  <a:pt x="2909" y="323"/>
                </a:lnTo>
                <a:lnTo>
                  <a:pt x="2908" y="321"/>
                </a:lnTo>
                <a:lnTo>
                  <a:pt x="2908" y="318"/>
                </a:lnTo>
                <a:lnTo>
                  <a:pt x="2908" y="315"/>
                </a:lnTo>
                <a:lnTo>
                  <a:pt x="2910" y="312"/>
                </a:lnTo>
                <a:lnTo>
                  <a:pt x="2912" y="309"/>
                </a:lnTo>
                <a:lnTo>
                  <a:pt x="2915" y="306"/>
                </a:lnTo>
                <a:lnTo>
                  <a:pt x="2919" y="305"/>
                </a:lnTo>
                <a:close/>
                <a:moveTo>
                  <a:pt x="530" y="749"/>
                </a:moveTo>
                <a:lnTo>
                  <a:pt x="535" y="749"/>
                </a:lnTo>
                <a:lnTo>
                  <a:pt x="537" y="750"/>
                </a:lnTo>
                <a:lnTo>
                  <a:pt x="539" y="751"/>
                </a:lnTo>
                <a:lnTo>
                  <a:pt x="542" y="753"/>
                </a:lnTo>
                <a:lnTo>
                  <a:pt x="543" y="755"/>
                </a:lnTo>
                <a:lnTo>
                  <a:pt x="544" y="757"/>
                </a:lnTo>
                <a:lnTo>
                  <a:pt x="545" y="760"/>
                </a:lnTo>
                <a:lnTo>
                  <a:pt x="546" y="762"/>
                </a:lnTo>
                <a:lnTo>
                  <a:pt x="545" y="765"/>
                </a:lnTo>
                <a:lnTo>
                  <a:pt x="545" y="767"/>
                </a:lnTo>
                <a:lnTo>
                  <a:pt x="544" y="770"/>
                </a:lnTo>
                <a:lnTo>
                  <a:pt x="542" y="772"/>
                </a:lnTo>
                <a:lnTo>
                  <a:pt x="540" y="774"/>
                </a:lnTo>
                <a:lnTo>
                  <a:pt x="537" y="775"/>
                </a:lnTo>
                <a:lnTo>
                  <a:pt x="535" y="775"/>
                </a:lnTo>
                <a:lnTo>
                  <a:pt x="530" y="775"/>
                </a:lnTo>
                <a:lnTo>
                  <a:pt x="527" y="775"/>
                </a:lnTo>
                <a:lnTo>
                  <a:pt x="525" y="774"/>
                </a:lnTo>
                <a:lnTo>
                  <a:pt x="523" y="772"/>
                </a:lnTo>
                <a:lnTo>
                  <a:pt x="521" y="770"/>
                </a:lnTo>
                <a:lnTo>
                  <a:pt x="520" y="768"/>
                </a:lnTo>
                <a:lnTo>
                  <a:pt x="519" y="765"/>
                </a:lnTo>
                <a:lnTo>
                  <a:pt x="519" y="763"/>
                </a:lnTo>
                <a:lnTo>
                  <a:pt x="519" y="760"/>
                </a:lnTo>
                <a:lnTo>
                  <a:pt x="520" y="758"/>
                </a:lnTo>
                <a:lnTo>
                  <a:pt x="521" y="755"/>
                </a:lnTo>
                <a:lnTo>
                  <a:pt x="523" y="753"/>
                </a:lnTo>
                <a:lnTo>
                  <a:pt x="525" y="751"/>
                </a:lnTo>
                <a:lnTo>
                  <a:pt x="527" y="750"/>
                </a:lnTo>
                <a:lnTo>
                  <a:pt x="530" y="749"/>
                </a:lnTo>
                <a:close/>
                <a:moveTo>
                  <a:pt x="495" y="806"/>
                </a:moveTo>
                <a:lnTo>
                  <a:pt x="500" y="806"/>
                </a:lnTo>
                <a:lnTo>
                  <a:pt x="502" y="806"/>
                </a:lnTo>
                <a:lnTo>
                  <a:pt x="504" y="807"/>
                </a:lnTo>
                <a:lnTo>
                  <a:pt x="508" y="811"/>
                </a:lnTo>
                <a:lnTo>
                  <a:pt x="510" y="816"/>
                </a:lnTo>
                <a:lnTo>
                  <a:pt x="511" y="818"/>
                </a:lnTo>
                <a:lnTo>
                  <a:pt x="511" y="821"/>
                </a:lnTo>
                <a:lnTo>
                  <a:pt x="510" y="823"/>
                </a:lnTo>
                <a:lnTo>
                  <a:pt x="509" y="826"/>
                </a:lnTo>
                <a:lnTo>
                  <a:pt x="508" y="827"/>
                </a:lnTo>
                <a:lnTo>
                  <a:pt x="507" y="828"/>
                </a:lnTo>
                <a:lnTo>
                  <a:pt x="505" y="830"/>
                </a:lnTo>
                <a:lnTo>
                  <a:pt x="502" y="831"/>
                </a:lnTo>
                <a:lnTo>
                  <a:pt x="500" y="832"/>
                </a:lnTo>
                <a:lnTo>
                  <a:pt x="495" y="832"/>
                </a:lnTo>
                <a:lnTo>
                  <a:pt x="493" y="831"/>
                </a:lnTo>
                <a:lnTo>
                  <a:pt x="491" y="830"/>
                </a:lnTo>
                <a:lnTo>
                  <a:pt x="487" y="826"/>
                </a:lnTo>
                <a:lnTo>
                  <a:pt x="485" y="822"/>
                </a:lnTo>
                <a:lnTo>
                  <a:pt x="484" y="819"/>
                </a:lnTo>
                <a:lnTo>
                  <a:pt x="484" y="817"/>
                </a:lnTo>
                <a:lnTo>
                  <a:pt x="485" y="814"/>
                </a:lnTo>
                <a:lnTo>
                  <a:pt x="486" y="812"/>
                </a:lnTo>
                <a:lnTo>
                  <a:pt x="487" y="811"/>
                </a:lnTo>
                <a:lnTo>
                  <a:pt x="488" y="810"/>
                </a:lnTo>
                <a:lnTo>
                  <a:pt x="490" y="808"/>
                </a:lnTo>
                <a:lnTo>
                  <a:pt x="493" y="806"/>
                </a:lnTo>
                <a:lnTo>
                  <a:pt x="495" y="806"/>
                </a:lnTo>
                <a:close/>
                <a:moveTo>
                  <a:pt x="462" y="863"/>
                </a:moveTo>
                <a:lnTo>
                  <a:pt x="466" y="863"/>
                </a:lnTo>
                <a:lnTo>
                  <a:pt x="468" y="863"/>
                </a:lnTo>
                <a:lnTo>
                  <a:pt x="471" y="864"/>
                </a:lnTo>
                <a:lnTo>
                  <a:pt x="473" y="866"/>
                </a:lnTo>
                <a:lnTo>
                  <a:pt x="475" y="868"/>
                </a:lnTo>
                <a:lnTo>
                  <a:pt x="476" y="870"/>
                </a:lnTo>
                <a:lnTo>
                  <a:pt x="477" y="872"/>
                </a:lnTo>
                <a:lnTo>
                  <a:pt x="477" y="875"/>
                </a:lnTo>
                <a:lnTo>
                  <a:pt x="477" y="877"/>
                </a:lnTo>
                <a:lnTo>
                  <a:pt x="477" y="880"/>
                </a:lnTo>
                <a:lnTo>
                  <a:pt x="476" y="882"/>
                </a:lnTo>
                <a:lnTo>
                  <a:pt x="474" y="885"/>
                </a:lnTo>
                <a:lnTo>
                  <a:pt x="472" y="887"/>
                </a:lnTo>
                <a:lnTo>
                  <a:pt x="469" y="888"/>
                </a:lnTo>
                <a:lnTo>
                  <a:pt x="466" y="889"/>
                </a:lnTo>
                <a:lnTo>
                  <a:pt x="462" y="889"/>
                </a:lnTo>
                <a:lnTo>
                  <a:pt x="460" y="888"/>
                </a:lnTo>
                <a:lnTo>
                  <a:pt x="458" y="887"/>
                </a:lnTo>
                <a:lnTo>
                  <a:pt x="455" y="886"/>
                </a:lnTo>
                <a:lnTo>
                  <a:pt x="454" y="884"/>
                </a:lnTo>
                <a:lnTo>
                  <a:pt x="452" y="882"/>
                </a:lnTo>
                <a:lnTo>
                  <a:pt x="451" y="879"/>
                </a:lnTo>
                <a:lnTo>
                  <a:pt x="451" y="877"/>
                </a:lnTo>
                <a:lnTo>
                  <a:pt x="451" y="874"/>
                </a:lnTo>
                <a:lnTo>
                  <a:pt x="451" y="872"/>
                </a:lnTo>
                <a:lnTo>
                  <a:pt x="453" y="869"/>
                </a:lnTo>
                <a:lnTo>
                  <a:pt x="454" y="867"/>
                </a:lnTo>
                <a:lnTo>
                  <a:pt x="457" y="865"/>
                </a:lnTo>
                <a:lnTo>
                  <a:pt x="459" y="864"/>
                </a:lnTo>
                <a:lnTo>
                  <a:pt x="462" y="863"/>
                </a:lnTo>
                <a:close/>
                <a:moveTo>
                  <a:pt x="430" y="921"/>
                </a:moveTo>
                <a:lnTo>
                  <a:pt x="434" y="921"/>
                </a:lnTo>
                <a:lnTo>
                  <a:pt x="436" y="921"/>
                </a:lnTo>
                <a:lnTo>
                  <a:pt x="438" y="922"/>
                </a:lnTo>
                <a:lnTo>
                  <a:pt x="440" y="923"/>
                </a:lnTo>
                <a:lnTo>
                  <a:pt x="442" y="925"/>
                </a:lnTo>
                <a:lnTo>
                  <a:pt x="444" y="927"/>
                </a:lnTo>
                <a:lnTo>
                  <a:pt x="445" y="930"/>
                </a:lnTo>
                <a:lnTo>
                  <a:pt x="445" y="932"/>
                </a:lnTo>
                <a:lnTo>
                  <a:pt x="445" y="935"/>
                </a:lnTo>
                <a:lnTo>
                  <a:pt x="445" y="937"/>
                </a:lnTo>
                <a:lnTo>
                  <a:pt x="444" y="940"/>
                </a:lnTo>
                <a:lnTo>
                  <a:pt x="442" y="942"/>
                </a:lnTo>
                <a:lnTo>
                  <a:pt x="440" y="944"/>
                </a:lnTo>
                <a:lnTo>
                  <a:pt x="437" y="946"/>
                </a:lnTo>
                <a:lnTo>
                  <a:pt x="434" y="947"/>
                </a:lnTo>
                <a:lnTo>
                  <a:pt x="430" y="947"/>
                </a:lnTo>
                <a:lnTo>
                  <a:pt x="428" y="946"/>
                </a:lnTo>
                <a:lnTo>
                  <a:pt x="426" y="945"/>
                </a:lnTo>
                <a:lnTo>
                  <a:pt x="423" y="944"/>
                </a:lnTo>
                <a:lnTo>
                  <a:pt x="422" y="942"/>
                </a:lnTo>
                <a:lnTo>
                  <a:pt x="420" y="940"/>
                </a:lnTo>
                <a:lnTo>
                  <a:pt x="419" y="937"/>
                </a:lnTo>
                <a:lnTo>
                  <a:pt x="419" y="935"/>
                </a:lnTo>
                <a:lnTo>
                  <a:pt x="419" y="932"/>
                </a:lnTo>
                <a:lnTo>
                  <a:pt x="419" y="930"/>
                </a:lnTo>
                <a:lnTo>
                  <a:pt x="420" y="927"/>
                </a:lnTo>
                <a:lnTo>
                  <a:pt x="422" y="925"/>
                </a:lnTo>
                <a:lnTo>
                  <a:pt x="424" y="923"/>
                </a:lnTo>
                <a:lnTo>
                  <a:pt x="427" y="921"/>
                </a:lnTo>
                <a:lnTo>
                  <a:pt x="430" y="921"/>
                </a:lnTo>
                <a:close/>
                <a:moveTo>
                  <a:pt x="399" y="979"/>
                </a:moveTo>
                <a:lnTo>
                  <a:pt x="403" y="979"/>
                </a:lnTo>
                <a:lnTo>
                  <a:pt x="407" y="980"/>
                </a:lnTo>
                <a:lnTo>
                  <a:pt x="409" y="982"/>
                </a:lnTo>
                <a:lnTo>
                  <a:pt x="411" y="984"/>
                </a:lnTo>
                <a:lnTo>
                  <a:pt x="413" y="986"/>
                </a:lnTo>
                <a:lnTo>
                  <a:pt x="414" y="988"/>
                </a:lnTo>
                <a:lnTo>
                  <a:pt x="414" y="991"/>
                </a:lnTo>
                <a:lnTo>
                  <a:pt x="414" y="993"/>
                </a:lnTo>
                <a:lnTo>
                  <a:pt x="414" y="996"/>
                </a:lnTo>
                <a:lnTo>
                  <a:pt x="413" y="998"/>
                </a:lnTo>
                <a:lnTo>
                  <a:pt x="411" y="1001"/>
                </a:lnTo>
                <a:lnTo>
                  <a:pt x="409" y="1003"/>
                </a:lnTo>
                <a:lnTo>
                  <a:pt x="406" y="1004"/>
                </a:lnTo>
                <a:lnTo>
                  <a:pt x="404" y="1005"/>
                </a:lnTo>
                <a:lnTo>
                  <a:pt x="399" y="1005"/>
                </a:lnTo>
                <a:lnTo>
                  <a:pt x="395" y="1004"/>
                </a:lnTo>
                <a:lnTo>
                  <a:pt x="393" y="1003"/>
                </a:lnTo>
                <a:lnTo>
                  <a:pt x="391" y="1001"/>
                </a:lnTo>
                <a:lnTo>
                  <a:pt x="390" y="999"/>
                </a:lnTo>
                <a:lnTo>
                  <a:pt x="389" y="996"/>
                </a:lnTo>
                <a:lnTo>
                  <a:pt x="388" y="994"/>
                </a:lnTo>
                <a:lnTo>
                  <a:pt x="388" y="991"/>
                </a:lnTo>
                <a:lnTo>
                  <a:pt x="388" y="989"/>
                </a:lnTo>
                <a:lnTo>
                  <a:pt x="389" y="986"/>
                </a:lnTo>
                <a:lnTo>
                  <a:pt x="391" y="984"/>
                </a:lnTo>
                <a:lnTo>
                  <a:pt x="393" y="981"/>
                </a:lnTo>
                <a:lnTo>
                  <a:pt x="396" y="980"/>
                </a:lnTo>
                <a:lnTo>
                  <a:pt x="399" y="979"/>
                </a:lnTo>
                <a:close/>
                <a:moveTo>
                  <a:pt x="369" y="1038"/>
                </a:moveTo>
                <a:lnTo>
                  <a:pt x="373" y="1038"/>
                </a:lnTo>
                <a:lnTo>
                  <a:pt x="376" y="1039"/>
                </a:lnTo>
                <a:lnTo>
                  <a:pt x="378" y="1040"/>
                </a:lnTo>
                <a:lnTo>
                  <a:pt x="380" y="1041"/>
                </a:lnTo>
                <a:lnTo>
                  <a:pt x="382" y="1043"/>
                </a:lnTo>
                <a:lnTo>
                  <a:pt x="383" y="1045"/>
                </a:lnTo>
                <a:lnTo>
                  <a:pt x="384" y="1047"/>
                </a:lnTo>
                <a:lnTo>
                  <a:pt x="385" y="1050"/>
                </a:lnTo>
                <a:lnTo>
                  <a:pt x="385" y="1052"/>
                </a:lnTo>
                <a:lnTo>
                  <a:pt x="385" y="1055"/>
                </a:lnTo>
                <a:lnTo>
                  <a:pt x="384" y="1057"/>
                </a:lnTo>
                <a:lnTo>
                  <a:pt x="382" y="1060"/>
                </a:lnTo>
                <a:lnTo>
                  <a:pt x="380" y="1062"/>
                </a:lnTo>
                <a:lnTo>
                  <a:pt x="377" y="1064"/>
                </a:lnTo>
                <a:lnTo>
                  <a:pt x="374" y="1064"/>
                </a:lnTo>
                <a:lnTo>
                  <a:pt x="370" y="1065"/>
                </a:lnTo>
                <a:lnTo>
                  <a:pt x="368" y="1064"/>
                </a:lnTo>
                <a:lnTo>
                  <a:pt x="366" y="1063"/>
                </a:lnTo>
                <a:lnTo>
                  <a:pt x="364" y="1062"/>
                </a:lnTo>
                <a:lnTo>
                  <a:pt x="362" y="1060"/>
                </a:lnTo>
                <a:lnTo>
                  <a:pt x="360" y="1058"/>
                </a:lnTo>
                <a:lnTo>
                  <a:pt x="359" y="1056"/>
                </a:lnTo>
                <a:lnTo>
                  <a:pt x="359" y="1053"/>
                </a:lnTo>
                <a:lnTo>
                  <a:pt x="359" y="1051"/>
                </a:lnTo>
                <a:lnTo>
                  <a:pt x="359" y="1048"/>
                </a:lnTo>
                <a:lnTo>
                  <a:pt x="360" y="1046"/>
                </a:lnTo>
                <a:lnTo>
                  <a:pt x="362" y="1043"/>
                </a:lnTo>
                <a:lnTo>
                  <a:pt x="364" y="1041"/>
                </a:lnTo>
                <a:lnTo>
                  <a:pt x="367" y="1039"/>
                </a:lnTo>
                <a:lnTo>
                  <a:pt x="369" y="1038"/>
                </a:lnTo>
                <a:close/>
                <a:moveTo>
                  <a:pt x="341" y="1098"/>
                </a:moveTo>
                <a:lnTo>
                  <a:pt x="345" y="1098"/>
                </a:lnTo>
                <a:lnTo>
                  <a:pt x="349" y="1099"/>
                </a:lnTo>
                <a:lnTo>
                  <a:pt x="351" y="1101"/>
                </a:lnTo>
                <a:lnTo>
                  <a:pt x="353" y="1102"/>
                </a:lnTo>
                <a:lnTo>
                  <a:pt x="355" y="1104"/>
                </a:lnTo>
                <a:lnTo>
                  <a:pt x="356" y="1107"/>
                </a:lnTo>
                <a:lnTo>
                  <a:pt x="357" y="1109"/>
                </a:lnTo>
                <a:lnTo>
                  <a:pt x="357" y="1112"/>
                </a:lnTo>
                <a:lnTo>
                  <a:pt x="356" y="1114"/>
                </a:lnTo>
                <a:lnTo>
                  <a:pt x="356" y="1117"/>
                </a:lnTo>
                <a:lnTo>
                  <a:pt x="354" y="1120"/>
                </a:lnTo>
                <a:lnTo>
                  <a:pt x="351" y="1122"/>
                </a:lnTo>
                <a:lnTo>
                  <a:pt x="350" y="1123"/>
                </a:lnTo>
                <a:lnTo>
                  <a:pt x="349" y="1123"/>
                </a:lnTo>
                <a:lnTo>
                  <a:pt x="346" y="1124"/>
                </a:lnTo>
                <a:lnTo>
                  <a:pt x="342" y="1124"/>
                </a:lnTo>
                <a:lnTo>
                  <a:pt x="338" y="1123"/>
                </a:lnTo>
                <a:lnTo>
                  <a:pt x="336" y="1122"/>
                </a:lnTo>
                <a:lnTo>
                  <a:pt x="334" y="1120"/>
                </a:lnTo>
                <a:lnTo>
                  <a:pt x="332" y="1118"/>
                </a:lnTo>
                <a:lnTo>
                  <a:pt x="331" y="1116"/>
                </a:lnTo>
                <a:lnTo>
                  <a:pt x="330" y="1113"/>
                </a:lnTo>
                <a:lnTo>
                  <a:pt x="330" y="1111"/>
                </a:lnTo>
                <a:lnTo>
                  <a:pt x="331" y="1108"/>
                </a:lnTo>
                <a:lnTo>
                  <a:pt x="331" y="1106"/>
                </a:lnTo>
                <a:lnTo>
                  <a:pt x="333" y="1103"/>
                </a:lnTo>
                <a:lnTo>
                  <a:pt x="335" y="1101"/>
                </a:lnTo>
                <a:lnTo>
                  <a:pt x="337" y="1100"/>
                </a:lnTo>
                <a:lnTo>
                  <a:pt x="338" y="1099"/>
                </a:lnTo>
                <a:lnTo>
                  <a:pt x="341" y="1098"/>
                </a:lnTo>
                <a:close/>
                <a:moveTo>
                  <a:pt x="314" y="1160"/>
                </a:moveTo>
                <a:lnTo>
                  <a:pt x="318" y="1159"/>
                </a:lnTo>
                <a:lnTo>
                  <a:pt x="322" y="1160"/>
                </a:lnTo>
                <a:lnTo>
                  <a:pt x="324" y="1162"/>
                </a:lnTo>
                <a:lnTo>
                  <a:pt x="326" y="1164"/>
                </a:lnTo>
                <a:lnTo>
                  <a:pt x="328" y="1166"/>
                </a:lnTo>
                <a:lnTo>
                  <a:pt x="329" y="1168"/>
                </a:lnTo>
                <a:lnTo>
                  <a:pt x="329" y="1170"/>
                </a:lnTo>
                <a:lnTo>
                  <a:pt x="330" y="1173"/>
                </a:lnTo>
                <a:lnTo>
                  <a:pt x="329" y="1175"/>
                </a:lnTo>
                <a:lnTo>
                  <a:pt x="329" y="1178"/>
                </a:lnTo>
                <a:lnTo>
                  <a:pt x="327" y="1181"/>
                </a:lnTo>
                <a:lnTo>
                  <a:pt x="325" y="1183"/>
                </a:lnTo>
                <a:lnTo>
                  <a:pt x="322" y="1185"/>
                </a:lnTo>
                <a:lnTo>
                  <a:pt x="319" y="1186"/>
                </a:lnTo>
                <a:lnTo>
                  <a:pt x="315" y="1186"/>
                </a:lnTo>
                <a:lnTo>
                  <a:pt x="311" y="1185"/>
                </a:lnTo>
                <a:lnTo>
                  <a:pt x="309" y="1183"/>
                </a:lnTo>
                <a:lnTo>
                  <a:pt x="307" y="1182"/>
                </a:lnTo>
                <a:lnTo>
                  <a:pt x="305" y="1180"/>
                </a:lnTo>
                <a:lnTo>
                  <a:pt x="304" y="1177"/>
                </a:lnTo>
                <a:lnTo>
                  <a:pt x="303" y="1175"/>
                </a:lnTo>
                <a:lnTo>
                  <a:pt x="303" y="1172"/>
                </a:lnTo>
                <a:lnTo>
                  <a:pt x="303" y="1170"/>
                </a:lnTo>
                <a:lnTo>
                  <a:pt x="304" y="1167"/>
                </a:lnTo>
                <a:lnTo>
                  <a:pt x="306" y="1164"/>
                </a:lnTo>
                <a:lnTo>
                  <a:pt x="308" y="1162"/>
                </a:lnTo>
                <a:lnTo>
                  <a:pt x="311" y="1161"/>
                </a:lnTo>
                <a:lnTo>
                  <a:pt x="314" y="1160"/>
                </a:lnTo>
                <a:close/>
                <a:moveTo>
                  <a:pt x="288" y="1220"/>
                </a:moveTo>
                <a:lnTo>
                  <a:pt x="292" y="1220"/>
                </a:lnTo>
                <a:lnTo>
                  <a:pt x="296" y="1221"/>
                </a:lnTo>
                <a:lnTo>
                  <a:pt x="298" y="1223"/>
                </a:lnTo>
                <a:lnTo>
                  <a:pt x="300" y="1224"/>
                </a:lnTo>
                <a:lnTo>
                  <a:pt x="302" y="1226"/>
                </a:lnTo>
                <a:lnTo>
                  <a:pt x="303" y="1228"/>
                </a:lnTo>
                <a:lnTo>
                  <a:pt x="304" y="1231"/>
                </a:lnTo>
                <a:lnTo>
                  <a:pt x="304" y="1233"/>
                </a:lnTo>
                <a:lnTo>
                  <a:pt x="304" y="1236"/>
                </a:lnTo>
                <a:lnTo>
                  <a:pt x="303" y="1239"/>
                </a:lnTo>
                <a:lnTo>
                  <a:pt x="301" y="1242"/>
                </a:lnTo>
                <a:lnTo>
                  <a:pt x="299" y="1244"/>
                </a:lnTo>
                <a:lnTo>
                  <a:pt x="296" y="1246"/>
                </a:lnTo>
                <a:lnTo>
                  <a:pt x="293" y="1247"/>
                </a:lnTo>
                <a:lnTo>
                  <a:pt x="289" y="1247"/>
                </a:lnTo>
                <a:lnTo>
                  <a:pt x="286" y="1246"/>
                </a:lnTo>
                <a:lnTo>
                  <a:pt x="283" y="1244"/>
                </a:lnTo>
                <a:lnTo>
                  <a:pt x="281" y="1243"/>
                </a:lnTo>
                <a:lnTo>
                  <a:pt x="280" y="1241"/>
                </a:lnTo>
                <a:lnTo>
                  <a:pt x="278" y="1239"/>
                </a:lnTo>
                <a:lnTo>
                  <a:pt x="278" y="1236"/>
                </a:lnTo>
                <a:lnTo>
                  <a:pt x="277" y="1234"/>
                </a:lnTo>
                <a:lnTo>
                  <a:pt x="278" y="1231"/>
                </a:lnTo>
                <a:lnTo>
                  <a:pt x="278" y="1228"/>
                </a:lnTo>
                <a:lnTo>
                  <a:pt x="280" y="1225"/>
                </a:lnTo>
                <a:lnTo>
                  <a:pt x="282" y="1223"/>
                </a:lnTo>
                <a:lnTo>
                  <a:pt x="285" y="1221"/>
                </a:lnTo>
                <a:lnTo>
                  <a:pt x="288" y="1220"/>
                </a:lnTo>
                <a:close/>
                <a:moveTo>
                  <a:pt x="264" y="1282"/>
                </a:moveTo>
                <a:lnTo>
                  <a:pt x="267" y="1282"/>
                </a:lnTo>
                <a:lnTo>
                  <a:pt x="271" y="1283"/>
                </a:lnTo>
                <a:lnTo>
                  <a:pt x="275" y="1285"/>
                </a:lnTo>
                <a:lnTo>
                  <a:pt x="277" y="1287"/>
                </a:lnTo>
                <a:lnTo>
                  <a:pt x="278" y="1290"/>
                </a:lnTo>
                <a:lnTo>
                  <a:pt x="279" y="1292"/>
                </a:lnTo>
                <a:lnTo>
                  <a:pt x="279" y="1295"/>
                </a:lnTo>
                <a:lnTo>
                  <a:pt x="279" y="1297"/>
                </a:lnTo>
                <a:lnTo>
                  <a:pt x="278" y="1300"/>
                </a:lnTo>
                <a:lnTo>
                  <a:pt x="276" y="1303"/>
                </a:lnTo>
                <a:lnTo>
                  <a:pt x="274" y="1305"/>
                </a:lnTo>
                <a:lnTo>
                  <a:pt x="271" y="1307"/>
                </a:lnTo>
                <a:lnTo>
                  <a:pt x="268" y="1308"/>
                </a:lnTo>
                <a:lnTo>
                  <a:pt x="265" y="1308"/>
                </a:lnTo>
                <a:lnTo>
                  <a:pt x="261" y="1307"/>
                </a:lnTo>
                <a:lnTo>
                  <a:pt x="257" y="1304"/>
                </a:lnTo>
                <a:lnTo>
                  <a:pt x="255" y="1302"/>
                </a:lnTo>
                <a:lnTo>
                  <a:pt x="254" y="1300"/>
                </a:lnTo>
                <a:lnTo>
                  <a:pt x="253" y="1298"/>
                </a:lnTo>
                <a:lnTo>
                  <a:pt x="253" y="1295"/>
                </a:lnTo>
                <a:lnTo>
                  <a:pt x="253" y="1293"/>
                </a:lnTo>
                <a:lnTo>
                  <a:pt x="254" y="1290"/>
                </a:lnTo>
                <a:lnTo>
                  <a:pt x="255" y="1287"/>
                </a:lnTo>
                <a:lnTo>
                  <a:pt x="258" y="1285"/>
                </a:lnTo>
                <a:lnTo>
                  <a:pt x="260" y="1283"/>
                </a:lnTo>
                <a:lnTo>
                  <a:pt x="264" y="1282"/>
                </a:lnTo>
                <a:close/>
                <a:moveTo>
                  <a:pt x="240" y="1344"/>
                </a:moveTo>
                <a:lnTo>
                  <a:pt x="243" y="1343"/>
                </a:lnTo>
                <a:lnTo>
                  <a:pt x="247" y="1344"/>
                </a:lnTo>
                <a:lnTo>
                  <a:pt x="249" y="1345"/>
                </a:lnTo>
                <a:lnTo>
                  <a:pt x="251" y="1347"/>
                </a:lnTo>
                <a:lnTo>
                  <a:pt x="253" y="1349"/>
                </a:lnTo>
                <a:lnTo>
                  <a:pt x="254" y="1351"/>
                </a:lnTo>
                <a:lnTo>
                  <a:pt x="255" y="1352"/>
                </a:lnTo>
                <a:lnTo>
                  <a:pt x="255" y="1354"/>
                </a:lnTo>
                <a:lnTo>
                  <a:pt x="255" y="1356"/>
                </a:lnTo>
                <a:lnTo>
                  <a:pt x="255" y="1361"/>
                </a:lnTo>
                <a:lnTo>
                  <a:pt x="253" y="1364"/>
                </a:lnTo>
                <a:lnTo>
                  <a:pt x="251" y="1367"/>
                </a:lnTo>
                <a:lnTo>
                  <a:pt x="248" y="1369"/>
                </a:lnTo>
                <a:lnTo>
                  <a:pt x="245" y="1370"/>
                </a:lnTo>
                <a:lnTo>
                  <a:pt x="241" y="1370"/>
                </a:lnTo>
                <a:lnTo>
                  <a:pt x="238" y="1369"/>
                </a:lnTo>
                <a:lnTo>
                  <a:pt x="235" y="1368"/>
                </a:lnTo>
                <a:lnTo>
                  <a:pt x="233" y="1366"/>
                </a:lnTo>
                <a:lnTo>
                  <a:pt x="231" y="1364"/>
                </a:lnTo>
                <a:lnTo>
                  <a:pt x="230" y="1362"/>
                </a:lnTo>
                <a:lnTo>
                  <a:pt x="230" y="1361"/>
                </a:lnTo>
                <a:lnTo>
                  <a:pt x="229" y="1360"/>
                </a:lnTo>
                <a:lnTo>
                  <a:pt x="229" y="1357"/>
                </a:lnTo>
                <a:lnTo>
                  <a:pt x="230" y="1352"/>
                </a:lnTo>
                <a:lnTo>
                  <a:pt x="231" y="1349"/>
                </a:lnTo>
                <a:lnTo>
                  <a:pt x="234" y="1346"/>
                </a:lnTo>
                <a:lnTo>
                  <a:pt x="237" y="1345"/>
                </a:lnTo>
                <a:lnTo>
                  <a:pt x="240" y="1344"/>
                </a:lnTo>
                <a:close/>
                <a:moveTo>
                  <a:pt x="217" y="1406"/>
                </a:moveTo>
                <a:lnTo>
                  <a:pt x="221" y="1406"/>
                </a:lnTo>
                <a:lnTo>
                  <a:pt x="224" y="1406"/>
                </a:lnTo>
                <a:lnTo>
                  <a:pt x="226" y="1408"/>
                </a:lnTo>
                <a:lnTo>
                  <a:pt x="229" y="1409"/>
                </a:lnTo>
                <a:lnTo>
                  <a:pt x="230" y="1411"/>
                </a:lnTo>
                <a:lnTo>
                  <a:pt x="232" y="1413"/>
                </a:lnTo>
                <a:lnTo>
                  <a:pt x="232" y="1414"/>
                </a:lnTo>
                <a:lnTo>
                  <a:pt x="232" y="1416"/>
                </a:lnTo>
                <a:lnTo>
                  <a:pt x="233" y="1418"/>
                </a:lnTo>
                <a:lnTo>
                  <a:pt x="232" y="1423"/>
                </a:lnTo>
                <a:lnTo>
                  <a:pt x="230" y="1426"/>
                </a:lnTo>
                <a:lnTo>
                  <a:pt x="228" y="1429"/>
                </a:lnTo>
                <a:lnTo>
                  <a:pt x="225" y="1431"/>
                </a:lnTo>
                <a:lnTo>
                  <a:pt x="222" y="1432"/>
                </a:lnTo>
                <a:lnTo>
                  <a:pt x="219" y="1432"/>
                </a:lnTo>
                <a:lnTo>
                  <a:pt x="215" y="1431"/>
                </a:lnTo>
                <a:lnTo>
                  <a:pt x="213" y="1430"/>
                </a:lnTo>
                <a:lnTo>
                  <a:pt x="211" y="1429"/>
                </a:lnTo>
                <a:lnTo>
                  <a:pt x="209" y="1427"/>
                </a:lnTo>
                <a:lnTo>
                  <a:pt x="208" y="1425"/>
                </a:lnTo>
                <a:lnTo>
                  <a:pt x="207" y="1423"/>
                </a:lnTo>
                <a:lnTo>
                  <a:pt x="207" y="1422"/>
                </a:lnTo>
                <a:lnTo>
                  <a:pt x="206" y="1420"/>
                </a:lnTo>
                <a:lnTo>
                  <a:pt x="207" y="1414"/>
                </a:lnTo>
                <a:lnTo>
                  <a:pt x="209" y="1411"/>
                </a:lnTo>
                <a:lnTo>
                  <a:pt x="211" y="1409"/>
                </a:lnTo>
                <a:lnTo>
                  <a:pt x="214" y="1407"/>
                </a:lnTo>
                <a:lnTo>
                  <a:pt x="217" y="1406"/>
                </a:lnTo>
                <a:close/>
                <a:moveTo>
                  <a:pt x="196" y="1468"/>
                </a:moveTo>
                <a:lnTo>
                  <a:pt x="199" y="1468"/>
                </a:lnTo>
                <a:lnTo>
                  <a:pt x="202" y="1469"/>
                </a:lnTo>
                <a:lnTo>
                  <a:pt x="205" y="1470"/>
                </a:lnTo>
                <a:lnTo>
                  <a:pt x="207" y="1472"/>
                </a:lnTo>
                <a:lnTo>
                  <a:pt x="209" y="1473"/>
                </a:lnTo>
                <a:lnTo>
                  <a:pt x="210" y="1476"/>
                </a:lnTo>
                <a:lnTo>
                  <a:pt x="211" y="1478"/>
                </a:lnTo>
                <a:lnTo>
                  <a:pt x="211" y="1480"/>
                </a:lnTo>
                <a:lnTo>
                  <a:pt x="211" y="1483"/>
                </a:lnTo>
                <a:lnTo>
                  <a:pt x="211" y="1486"/>
                </a:lnTo>
                <a:lnTo>
                  <a:pt x="209" y="1489"/>
                </a:lnTo>
                <a:lnTo>
                  <a:pt x="207" y="1492"/>
                </a:lnTo>
                <a:lnTo>
                  <a:pt x="204" y="1493"/>
                </a:lnTo>
                <a:lnTo>
                  <a:pt x="200" y="1494"/>
                </a:lnTo>
                <a:lnTo>
                  <a:pt x="197" y="1495"/>
                </a:lnTo>
                <a:lnTo>
                  <a:pt x="194" y="1494"/>
                </a:lnTo>
                <a:lnTo>
                  <a:pt x="192" y="1493"/>
                </a:lnTo>
                <a:lnTo>
                  <a:pt x="189" y="1491"/>
                </a:lnTo>
                <a:lnTo>
                  <a:pt x="188" y="1490"/>
                </a:lnTo>
                <a:lnTo>
                  <a:pt x="186" y="1487"/>
                </a:lnTo>
                <a:lnTo>
                  <a:pt x="185" y="1485"/>
                </a:lnTo>
                <a:lnTo>
                  <a:pt x="185" y="1482"/>
                </a:lnTo>
                <a:lnTo>
                  <a:pt x="185" y="1480"/>
                </a:lnTo>
                <a:lnTo>
                  <a:pt x="186" y="1477"/>
                </a:lnTo>
                <a:lnTo>
                  <a:pt x="187" y="1474"/>
                </a:lnTo>
                <a:lnTo>
                  <a:pt x="190" y="1471"/>
                </a:lnTo>
                <a:lnTo>
                  <a:pt x="193" y="1469"/>
                </a:lnTo>
                <a:lnTo>
                  <a:pt x="196" y="1468"/>
                </a:lnTo>
                <a:close/>
                <a:moveTo>
                  <a:pt x="175" y="1531"/>
                </a:moveTo>
                <a:lnTo>
                  <a:pt x="179" y="1531"/>
                </a:lnTo>
                <a:lnTo>
                  <a:pt x="182" y="1532"/>
                </a:lnTo>
                <a:lnTo>
                  <a:pt x="184" y="1533"/>
                </a:lnTo>
                <a:lnTo>
                  <a:pt x="186" y="1534"/>
                </a:lnTo>
                <a:lnTo>
                  <a:pt x="188" y="1536"/>
                </a:lnTo>
                <a:lnTo>
                  <a:pt x="189" y="1538"/>
                </a:lnTo>
                <a:lnTo>
                  <a:pt x="191" y="1543"/>
                </a:lnTo>
                <a:lnTo>
                  <a:pt x="191" y="1546"/>
                </a:lnTo>
                <a:lnTo>
                  <a:pt x="190" y="1548"/>
                </a:lnTo>
                <a:lnTo>
                  <a:pt x="189" y="1552"/>
                </a:lnTo>
                <a:lnTo>
                  <a:pt x="186" y="1554"/>
                </a:lnTo>
                <a:lnTo>
                  <a:pt x="183" y="1556"/>
                </a:lnTo>
                <a:lnTo>
                  <a:pt x="180" y="1557"/>
                </a:lnTo>
                <a:lnTo>
                  <a:pt x="177" y="1558"/>
                </a:lnTo>
                <a:lnTo>
                  <a:pt x="174" y="1557"/>
                </a:lnTo>
                <a:lnTo>
                  <a:pt x="171" y="1556"/>
                </a:lnTo>
                <a:lnTo>
                  <a:pt x="169" y="1554"/>
                </a:lnTo>
                <a:lnTo>
                  <a:pt x="167" y="1553"/>
                </a:lnTo>
                <a:lnTo>
                  <a:pt x="166" y="1550"/>
                </a:lnTo>
                <a:lnTo>
                  <a:pt x="165" y="1546"/>
                </a:lnTo>
                <a:lnTo>
                  <a:pt x="165" y="1543"/>
                </a:lnTo>
                <a:lnTo>
                  <a:pt x="165" y="1540"/>
                </a:lnTo>
                <a:lnTo>
                  <a:pt x="167" y="1537"/>
                </a:lnTo>
                <a:lnTo>
                  <a:pt x="169" y="1534"/>
                </a:lnTo>
                <a:lnTo>
                  <a:pt x="172" y="1532"/>
                </a:lnTo>
                <a:lnTo>
                  <a:pt x="175" y="1531"/>
                </a:lnTo>
                <a:close/>
                <a:moveTo>
                  <a:pt x="156" y="1595"/>
                </a:moveTo>
                <a:lnTo>
                  <a:pt x="159" y="1594"/>
                </a:lnTo>
                <a:lnTo>
                  <a:pt x="162" y="1595"/>
                </a:lnTo>
                <a:lnTo>
                  <a:pt x="164" y="1596"/>
                </a:lnTo>
                <a:lnTo>
                  <a:pt x="167" y="1597"/>
                </a:lnTo>
                <a:lnTo>
                  <a:pt x="168" y="1599"/>
                </a:lnTo>
                <a:lnTo>
                  <a:pt x="170" y="1601"/>
                </a:lnTo>
                <a:lnTo>
                  <a:pt x="171" y="1606"/>
                </a:lnTo>
                <a:lnTo>
                  <a:pt x="171" y="1609"/>
                </a:lnTo>
                <a:lnTo>
                  <a:pt x="171" y="1611"/>
                </a:lnTo>
                <a:lnTo>
                  <a:pt x="169" y="1615"/>
                </a:lnTo>
                <a:lnTo>
                  <a:pt x="167" y="1618"/>
                </a:lnTo>
                <a:lnTo>
                  <a:pt x="164" y="1620"/>
                </a:lnTo>
                <a:lnTo>
                  <a:pt x="162" y="1620"/>
                </a:lnTo>
                <a:lnTo>
                  <a:pt x="161" y="1621"/>
                </a:lnTo>
                <a:lnTo>
                  <a:pt x="157" y="1621"/>
                </a:lnTo>
                <a:lnTo>
                  <a:pt x="154" y="1620"/>
                </a:lnTo>
                <a:lnTo>
                  <a:pt x="152" y="1619"/>
                </a:lnTo>
                <a:lnTo>
                  <a:pt x="150" y="1618"/>
                </a:lnTo>
                <a:lnTo>
                  <a:pt x="148" y="1616"/>
                </a:lnTo>
                <a:lnTo>
                  <a:pt x="147" y="1614"/>
                </a:lnTo>
                <a:lnTo>
                  <a:pt x="145" y="1609"/>
                </a:lnTo>
                <a:lnTo>
                  <a:pt x="145" y="1606"/>
                </a:lnTo>
                <a:lnTo>
                  <a:pt x="146" y="1604"/>
                </a:lnTo>
                <a:lnTo>
                  <a:pt x="147" y="1600"/>
                </a:lnTo>
                <a:lnTo>
                  <a:pt x="150" y="1598"/>
                </a:lnTo>
                <a:lnTo>
                  <a:pt x="153" y="1596"/>
                </a:lnTo>
                <a:lnTo>
                  <a:pt x="154" y="1595"/>
                </a:lnTo>
                <a:lnTo>
                  <a:pt x="156" y="1595"/>
                </a:lnTo>
                <a:close/>
                <a:moveTo>
                  <a:pt x="137" y="1658"/>
                </a:moveTo>
                <a:lnTo>
                  <a:pt x="140" y="1658"/>
                </a:lnTo>
                <a:lnTo>
                  <a:pt x="143" y="1658"/>
                </a:lnTo>
                <a:lnTo>
                  <a:pt x="146" y="1659"/>
                </a:lnTo>
                <a:lnTo>
                  <a:pt x="148" y="1661"/>
                </a:lnTo>
                <a:lnTo>
                  <a:pt x="150" y="1663"/>
                </a:lnTo>
                <a:lnTo>
                  <a:pt x="151" y="1665"/>
                </a:lnTo>
                <a:lnTo>
                  <a:pt x="152" y="1667"/>
                </a:lnTo>
                <a:lnTo>
                  <a:pt x="153" y="1669"/>
                </a:lnTo>
                <a:lnTo>
                  <a:pt x="153" y="1672"/>
                </a:lnTo>
                <a:lnTo>
                  <a:pt x="152" y="1675"/>
                </a:lnTo>
                <a:lnTo>
                  <a:pt x="151" y="1678"/>
                </a:lnTo>
                <a:lnTo>
                  <a:pt x="149" y="1681"/>
                </a:lnTo>
                <a:lnTo>
                  <a:pt x="145" y="1683"/>
                </a:lnTo>
                <a:lnTo>
                  <a:pt x="144" y="1684"/>
                </a:lnTo>
                <a:lnTo>
                  <a:pt x="142" y="1684"/>
                </a:lnTo>
                <a:lnTo>
                  <a:pt x="139" y="1684"/>
                </a:lnTo>
                <a:lnTo>
                  <a:pt x="136" y="1684"/>
                </a:lnTo>
                <a:lnTo>
                  <a:pt x="134" y="1683"/>
                </a:lnTo>
                <a:lnTo>
                  <a:pt x="131" y="1681"/>
                </a:lnTo>
                <a:lnTo>
                  <a:pt x="130" y="1680"/>
                </a:lnTo>
                <a:lnTo>
                  <a:pt x="128" y="1678"/>
                </a:lnTo>
                <a:lnTo>
                  <a:pt x="127" y="1675"/>
                </a:lnTo>
                <a:lnTo>
                  <a:pt x="127" y="1673"/>
                </a:lnTo>
                <a:lnTo>
                  <a:pt x="127" y="1670"/>
                </a:lnTo>
                <a:lnTo>
                  <a:pt x="127" y="1667"/>
                </a:lnTo>
                <a:lnTo>
                  <a:pt x="129" y="1664"/>
                </a:lnTo>
                <a:lnTo>
                  <a:pt x="131" y="1661"/>
                </a:lnTo>
                <a:lnTo>
                  <a:pt x="134" y="1659"/>
                </a:lnTo>
                <a:lnTo>
                  <a:pt x="136" y="1659"/>
                </a:lnTo>
                <a:lnTo>
                  <a:pt x="137" y="1658"/>
                </a:lnTo>
                <a:close/>
                <a:moveTo>
                  <a:pt x="120" y="1722"/>
                </a:moveTo>
                <a:lnTo>
                  <a:pt x="123" y="1722"/>
                </a:lnTo>
                <a:lnTo>
                  <a:pt x="126" y="1722"/>
                </a:lnTo>
                <a:lnTo>
                  <a:pt x="128" y="1723"/>
                </a:lnTo>
                <a:lnTo>
                  <a:pt x="130" y="1724"/>
                </a:lnTo>
                <a:lnTo>
                  <a:pt x="132" y="1726"/>
                </a:lnTo>
                <a:lnTo>
                  <a:pt x="134" y="1728"/>
                </a:lnTo>
                <a:lnTo>
                  <a:pt x="135" y="1731"/>
                </a:lnTo>
                <a:lnTo>
                  <a:pt x="135" y="1733"/>
                </a:lnTo>
                <a:lnTo>
                  <a:pt x="135" y="1736"/>
                </a:lnTo>
                <a:lnTo>
                  <a:pt x="135" y="1738"/>
                </a:lnTo>
                <a:lnTo>
                  <a:pt x="134" y="1740"/>
                </a:lnTo>
                <a:lnTo>
                  <a:pt x="133" y="1742"/>
                </a:lnTo>
                <a:lnTo>
                  <a:pt x="131" y="1745"/>
                </a:lnTo>
                <a:lnTo>
                  <a:pt x="128" y="1747"/>
                </a:lnTo>
                <a:lnTo>
                  <a:pt x="124" y="1748"/>
                </a:lnTo>
                <a:lnTo>
                  <a:pt x="122" y="1748"/>
                </a:lnTo>
                <a:lnTo>
                  <a:pt x="119" y="1748"/>
                </a:lnTo>
                <a:lnTo>
                  <a:pt x="116" y="1747"/>
                </a:lnTo>
                <a:lnTo>
                  <a:pt x="114" y="1745"/>
                </a:lnTo>
                <a:lnTo>
                  <a:pt x="112" y="1744"/>
                </a:lnTo>
                <a:lnTo>
                  <a:pt x="111" y="1742"/>
                </a:lnTo>
                <a:lnTo>
                  <a:pt x="110" y="1739"/>
                </a:lnTo>
                <a:lnTo>
                  <a:pt x="109" y="1737"/>
                </a:lnTo>
                <a:lnTo>
                  <a:pt x="109" y="1734"/>
                </a:lnTo>
                <a:lnTo>
                  <a:pt x="109" y="1731"/>
                </a:lnTo>
                <a:lnTo>
                  <a:pt x="110" y="1730"/>
                </a:lnTo>
                <a:lnTo>
                  <a:pt x="111" y="1728"/>
                </a:lnTo>
                <a:lnTo>
                  <a:pt x="113" y="1725"/>
                </a:lnTo>
                <a:lnTo>
                  <a:pt x="116" y="1723"/>
                </a:lnTo>
                <a:lnTo>
                  <a:pt x="120" y="1722"/>
                </a:lnTo>
                <a:close/>
                <a:moveTo>
                  <a:pt x="103" y="1786"/>
                </a:moveTo>
                <a:lnTo>
                  <a:pt x="106" y="1786"/>
                </a:lnTo>
                <a:lnTo>
                  <a:pt x="109" y="1786"/>
                </a:lnTo>
                <a:lnTo>
                  <a:pt x="111" y="1787"/>
                </a:lnTo>
                <a:lnTo>
                  <a:pt x="114" y="1788"/>
                </a:lnTo>
                <a:lnTo>
                  <a:pt x="115" y="1790"/>
                </a:lnTo>
                <a:lnTo>
                  <a:pt x="117" y="1792"/>
                </a:lnTo>
                <a:lnTo>
                  <a:pt x="118" y="1794"/>
                </a:lnTo>
                <a:lnTo>
                  <a:pt x="119" y="1797"/>
                </a:lnTo>
                <a:lnTo>
                  <a:pt x="119" y="1800"/>
                </a:lnTo>
                <a:lnTo>
                  <a:pt x="118" y="1802"/>
                </a:lnTo>
                <a:lnTo>
                  <a:pt x="118" y="1804"/>
                </a:lnTo>
                <a:lnTo>
                  <a:pt x="117" y="1806"/>
                </a:lnTo>
                <a:lnTo>
                  <a:pt x="114" y="1809"/>
                </a:lnTo>
                <a:lnTo>
                  <a:pt x="111" y="1811"/>
                </a:lnTo>
                <a:lnTo>
                  <a:pt x="108" y="1812"/>
                </a:lnTo>
                <a:lnTo>
                  <a:pt x="105" y="1812"/>
                </a:lnTo>
                <a:lnTo>
                  <a:pt x="102" y="1812"/>
                </a:lnTo>
                <a:lnTo>
                  <a:pt x="100" y="1811"/>
                </a:lnTo>
                <a:lnTo>
                  <a:pt x="98" y="1809"/>
                </a:lnTo>
                <a:lnTo>
                  <a:pt x="96" y="1808"/>
                </a:lnTo>
                <a:lnTo>
                  <a:pt x="94" y="1806"/>
                </a:lnTo>
                <a:lnTo>
                  <a:pt x="93" y="1803"/>
                </a:lnTo>
                <a:lnTo>
                  <a:pt x="92" y="1801"/>
                </a:lnTo>
                <a:lnTo>
                  <a:pt x="92" y="1798"/>
                </a:lnTo>
                <a:lnTo>
                  <a:pt x="93" y="1796"/>
                </a:lnTo>
                <a:lnTo>
                  <a:pt x="93" y="1794"/>
                </a:lnTo>
                <a:lnTo>
                  <a:pt x="94" y="1792"/>
                </a:lnTo>
                <a:lnTo>
                  <a:pt x="97" y="1789"/>
                </a:lnTo>
                <a:lnTo>
                  <a:pt x="100" y="1787"/>
                </a:lnTo>
                <a:lnTo>
                  <a:pt x="103" y="1786"/>
                </a:lnTo>
                <a:close/>
                <a:moveTo>
                  <a:pt x="88" y="1850"/>
                </a:moveTo>
                <a:lnTo>
                  <a:pt x="90" y="1850"/>
                </a:lnTo>
                <a:lnTo>
                  <a:pt x="93" y="1850"/>
                </a:lnTo>
                <a:lnTo>
                  <a:pt x="95" y="1851"/>
                </a:lnTo>
                <a:lnTo>
                  <a:pt x="98" y="1853"/>
                </a:lnTo>
                <a:lnTo>
                  <a:pt x="100" y="1854"/>
                </a:lnTo>
                <a:lnTo>
                  <a:pt x="101" y="1856"/>
                </a:lnTo>
                <a:lnTo>
                  <a:pt x="102" y="1859"/>
                </a:lnTo>
                <a:lnTo>
                  <a:pt x="103" y="1861"/>
                </a:lnTo>
                <a:lnTo>
                  <a:pt x="103" y="1864"/>
                </a:lnTo>
                <a:lnTo>
                  <a:pt x="103" y="1866"/>
                </a:lnTo>
                <a:lnTo>
                  <a:pt x="101" y="1870"/>
                </a:lnTo>
                <a:lnTo>
                  <a:pt x="99" y="1873"/>
                </a:lnTo>
                <a:lnTo>
                  <a:pt x="96" y="1875"/>
                </a:lnTo>
                <a:lnTo>
                  <a:pt x="92" y="1876"/>
                </a:lnTo>
                <a:lnTo>
                  <a:pt x="89" y="1876"/>
                </a:lnTo>
                <a:lnTo>
                  <a:pt x="87" y="1876"/>
                </a:lnTo>
                <a:lnTo>
                  <a:pt x="84" y="1875"/>
                </a:lnTo>
                <a:lnTo>
                  <a:pt x="82" y="1874"/>
                </a:lnTo>
                <a:lnTo>
                  <a:pt x="80" y="1872"/>
                </a:lnTo>
                <a:lnTo>
                  <a:pt x="79" y="1870"/>
                </a:lnTo>
                <a:lnTo>
                  <a:pt x="77" y="1868"/>
                </a:lnTo>
                <a:lnTo>
                  <a:pt x="77" y="1865"/>
                </a:lnTo>
                <a:lnTo>
                  <a:pt x="77" y="1863"/>
                </a:lnTo>
                <a:lnTo>
                  <a:pt x="77" y="1860"/>
                </a:lnTo>
                <a:lnTo>
                  <a:pt x="78" y="1856"/>
                </a:lnTo>
                <a:lnTo>
                  <a:pt x="81" y="1853"/>
                </a:lnTo>
                <a:lnTo>
                  <a:pt x="84" y="1851"/>
                </a:lnTo>
                <a:lnTo>
                  <a:pt x="88" y="1850"/>
                </a:lnTo>
                <a:close/>
                <a:moveTo>
                  <a:pt x="73" y="1915"/>
                </a:moveTo>
                <a:lnTo>
                  <a:pt x="78" y="1915"/>
                </a:lnTo>
                <a:lnTo>
                  <a:pt x="80" y="1916"/>
                </a:lnTo>
                <a:lnTo>
                  <a:pt x="83" y="1917"/>
                </a:lnTo>
                <a:lnTo>
                  <a:pt x="85" y="1919"/>
                </a:lnTo>
                <a:lnTo>
                  <a:pt x="86" y="1921"/>
                </a:lnTo>
                <a:lnTo>
                  <a:pt x="87" y="1923"/>
                </a:lnTo>
                <a:lnTo>
                  <a:pt x="88" y="1925"/>
                </a:lnTo>
                <a:lnTo>
                  <a:pt x="88" y="1931"/>
                </a:lnTo>
                <a:lnTo>
                  <a:pt x="86" y="1934"/>
                </a:lnTo>
                <a:lnTo>
                  <a:pt x="85" y="1936"/>
                </a:lnTo>
                <a:lnTo>
                  <a:pt x="84" y="1937"/>
                </a:lnTo>
                <a:lnTo>
                  <a:pt x="81" y="1939"/>
                </a:lnTo>
                <a:lnTo>
                  <a:pt x="77" y="1941"/>
                </a:lnTo>
                <a:lnTo>
                  <a:pt x="72" y="1941"/>
                </a:lnTo>
                <a:lnTo>
                  <a:pt x="70" y="1940"/>
                </a:lnTo>
                <a:lnTo>
                  <a:pt x="67" y="1938"/>
                </a:lnTo>
                <a:lnTo>
                  <a:pt x="65" y="1937"/>
                </a:lnTo>
                <a:lnTo>
                  <a:pt x="64" y="1935"/>
                </a:lnTo>
                <a:lnTo>
                  <a:pt x="63" y="1933"/>
                </a:lnTo>
                <a:lnTo>
                  <a:pt x="62" y="1930"/>
                </a:lnTo>
                <a:lnTo>
                  <a:pt x="62" y="1925"/>
                </a:lnTo>
                <a:lnTo>
                  <a:pt x="63" y="1921"/>
                </a:lnTo>
                <a:lnTo>
                  <a:pt x="65" y="1919"/>
                </a:lnTo>
                <a:lnTo>
                  <a:pt x="66" y="1918"/>
                </a:lnTo>
                <a:lnTo>
                  <a:pt x="69" y="1916"/>
                </a:lnTo>
                <a:lnTo>
                  <a:pt x="73" y="1915"/>
                </a:lnTo>
                <a:close/>
                <a:moveTo>
                  <a:pt x="59" y="1979"/>
                </a:moveTo>
                <a:lnTo>
                  <a:pt x="64" y="1979"/>
                </a:lnTo>
                <a:lnTo>
                  <a:pt x="66" y="1980"/>
                </a:lnTo>
                <a:lnTo>
                  <a:pt x="69" y="1981"/>
                </a:lnTo>
                <a:lnTo>
                  <a:pt x="70" y="1983"/>
                </a:lnTo>
                <a:lnTo>
                  <a:pt x="72" y="1985"/>
                </a:lnTo>
                <a:lnTo>
                  <a:pt x="73" y="1987"/>
                </a:lnTo>
                <a:lnTo>
                  <a:pt x="74" y="1990"/>
                </a:lnTo>
                <a:lnTo>
                  <a:pt x="74" y="1995"/>
                </a:lnTo>
                <a:lnTo>
                  <a:pt x="73" y="1997"/>
                </a:lnTo>
                <a:lnTo>
                  <a:pt x="73" y="1999"/>
                </a:lnTo>
                <a:lnTo>
                  <a:pt x="71" y="2000"/>
                </a:lnTo>
                <a:lnTo>
                  <a:pt x="70" y="2002"/>
                </a:lnTo>
                <a:lnTo>
                  <a:pt x="69" y="2003"/>
                </a:lnTo>
                <a:lnTo>
                  <a:pt x="67" y="2004"/>
                </a:lnTo>
                <a:lnTo>
                  <a:pt x="63" y="2005"/>
                </a:lnTo>
                <a:lnTo>
                  <a:pt x="58" y="2005"/>
                </a:lnTo>
                <a:lnTo>
                  <a:pt x="56" y="2004"/>
                </a:lnTo>
                <a:lnTo>
                  <a:pt x="53" y="2003"/>
                </a:lnTo>
                <a:lnTo>
                  <a:pt x="51" y="2002"/>
                </a:lnTo>
                <a:lnTo>
                  <a:pt x="50" y="2000"/>
                </a:lnTo>
                <a:lnTo>
                  <a:pt x="49" y="1997"/>
                </a:lnTo>
                <a:lnTo>
                  <a:pt x="48" y="1995"/>
                </a:lnTo>
                <a:lnTo>
                  <a:pt x="48" y="1990"/>
                </a:lnTo>
                <a:lnTo>
                  <a:pt x="49" y="1988"/>
                </a:lnTo>
                <a:lnTo>
                  <a:pt x="49" y="1986"/>
                </a:lnTo>
                <a:lnTo>
                  <a:pt x="51" y="1984"/>
                </a:lnTo>
                <a:lnTo>
                  <a:pt x="52" y="1983"/>
                </a:lnTo>
                <a:lnTo>
                  <a:pt x="53" y="1982"/>
                </a:lnTo>
                <a:lnTo>
                  <a:pt x="55" y="1981"/>
                </a:lnTo>
                <a:lnTo>
                  <a:pt x="59" y="1979"/>
                </a:lnTo>
                <a:close/>
                <a:moveTo>
                  <a:pt x="46" y="2044"/>
                </a:moveTo>
                <a:lnTo>
                  <a:pt x="50" y="2044"/>
                </a:lnTo>
                <a:lnTo>
                  <a:pt x="53" y="2045"/>
                </a:lnTo>
                <a:lnTo>
                  <a:pt x="55" y="2046"/>
                </a:lnTo>
                <a:lnTo>
                  <a:pt x="57" y="2048"/>
                </a:lnTo>
                <a:lnTo>
                  <a:pt x="59" y="2050"/>
                </a:lnTo>
                <a:lnTo>
                  <a:pt x="60" y="2052"/>
                </a:lnTo>
                <a:lnTo>
                  <a:pt x="61" y="2054"/>
                </a:lnTo>
                <a:lnTo>
                  <a:pt x="61" y="2057"/>
                </a:lnTo>
                <a:lnTo>
                  <a:pt x="61" y="2060"/>
                </a:lnTo>
                <a:lnTo>
                  <a:pt x="60" y="2062"/>
                </a:lnTo>
                <a:lnTo>
                  <a:pt x="59" y="2064"/>
                </a:lnTo>
                <a:lnTo>
                  <a:pt x="57" y="2067"/>
                </a:lnTo>
                <a:lnTo>
                  <a:pt x="56" y="2068"/>
                </a:lnTo>
                <a:lnTo>
                  <a:pt x="54" y="2069"/>
                </a:lnTo>
                <a:lnTo>
                  <a:pt x="50" y="2070"/>
                </a:lnTo>
                <a:lnTo>
                  <a:pt x="45" y="2070"/>
                </a:lnTo>
                <a:lnTo>
                  <a:pt x="43" y="2069"/>
                </a:lnTo>
                <a:lnTo>
                  <a:pt x="40" y="2068"/>
                </a:lnTo>
                <a:lnTo>
                  <a:pt x="38" y="2067"/>
                </a:lnTo>
                <a:lnTo>
                  <a:pt x="37" y="2065"/>
                </a:lnTo>
                <a:lnTo>
                  <a:pt x="36" y="2062"/>
                </a:lnTo>
                <a:lnTo>
                  <a:pt x="35" y="2060"/>
                </a:lnTo>
                <a:lnTo>
                  <a:pt x="35" y="2057"/>
                </a:lnTo>
                <a:lnTo>
                  <a:pt x="35" y="2055"/>
                </a:lnTo>
                <a:lnTo>
                  <a:pt x="35" y="2053"/>
                </a:lnTo>
                <a:lnTo>
                  <a:pt x="36" y="2051"/>
                </a:lnTo>
                <a:lnTo>
                  <a:pt x="39" y="2048"/>
                </a:lnTo>
                <a:lnTo>
                  <a:pt x="40" y="2046"/>
                </a:lnTo>
                <a:lnTo>
                  <a:pt x="42" y="2045"/>
                </a:lnTo>
                <a:lnTo>
                  <a:pt x="46" y="2044"/>
                </a:lnTo>
                <a:close/>
                <a:moveTo>
                  <a:pt x="33" y="2109"/>
                </a:moveTo>
                <a:lnTo>
                  <a:pt x="38" y="2109"/>
                </a:lnTo>
                <a:lnTo>
                  <a:pt x="41" y="2110"/>
                </a:lnTo>
                <a:lnTo>
                  <a:pt x="43" y="2111"/>
                </a:lnTo>
                <a:lnTo>
                  <a:pt x="45" y="2113"/>
                </a:lnTo>
                <a:lnTo>
                  <a:pt x="46" y="2115"/>
                </a:lnTo>
                <a:lnTo>
                  <a:pt x="48" y="2117"/>
                </a:lnTo>
                <a:lnTo>
                  <a:pt x="48" y="2119"/>
                </a:lnTo>
                <a:lnTo>
                  <a:pt x="49" y="2122"/>
                </a:lnTo>
                <a:lnTo>
                  <a:pt x="49" y="2125"/>
                </a:lnTo>
                <a:lnTo>
                  <a:pt x="47" y="2128"/>
                </a:lnTo>
                <a:lnTo>
                  <a:pt x="45" y="2132"/>
                </a:lnTo>
                <a:lnTo>
                  <a:pt x="43" y="2133"/>
                </a:lnTo>
                <a:lnTo>
                  <a:pt x="42" y="2134"/>
                </a:lnTo>
                <a:lnTo>
                  <a:pt x="38" y="2135"/>
                </a:lnTo>
                <a:lnTo>
                  <a:pt x="33" y="2135"/>
                </a:lnTo>
                <a:lnTo>
                  <a:pt x="31" y="2134"/>
                </a:lnTo>
                <a:lnTo>
                  <a:pt x="28" y="2133"/>
                </a:lnTo>
                <a:lnTo>
                  <a:pt x="26" y="2132"/>
                </a:lnTo>
                <a:lnTo>
                  <a:pt x="25" y="2130"/>
                </a:lnTo>
                <a:lnTo>
                  <a:pt x="23" y="2127"/>
                </a:lnTo>
                <a:lnTo>
                  <a:pt x="23" y="2125"/>
                </a:lnTo>
                <a:lnTo>
                  <a:pt x="22" y="2122"/>
                </a:lnTo>
                <a:lnTo>
                  <a:pt x="23" y="2120"/>
                </a:lnTo>
                <a:lnTo>
                  <a:pt x="24" y="2116"/>
                </a:lnTo>
                <a:lnTo>
                  <a:pt x="26" y="2113"/>
                </a:lnTo>
                <a:lnTo>
                  <a:pt x="28" y="2111"/>
                </a:lnTo>
                <a:lnTo>
                  <a:pt x="29" y="2110"/>
                </a:lnTo>
                <a:lnTo>
                  <a:pt x="33" y="2109"/>
                </a:lnTo>
                <a:close/>
                <a:moveTo>
                  <a:pt x="22" y="2174"/>
                </a:moveTo>
                <a:lnTo>
                  <a:pt x="26" y="2174"/>
                </a:lnTo>
                <a:lnTo>
                  <a:pt x="29" y="2175"/>
                </a:lnTo>
                <a:lnTo>
                  <a:pt x="31" y="2176"/>
                </a:lnTo>
                <a:lnTo>
                  <a:pt x="33" y="2178"/>
                </a:lnTo>
                <a:lnTo>
                  <a:pt x="35" y="2180"/>
                </a:lnTo>
                <a:lnTo>
                  <a:pt x="36" y="2182"/>
                </a:lnTo>
                <a:lnTo>
                  <a:pt x="37" y="2183"/>
                </a:lnTo>
                <a:lnTo>
                  <a:pt x="37" y="2184"/>
                </a:lnTo>
                <a:lnTo>
                  <a:pt x="37" y="2187"/>
                </a:lnTo>
                <a:lnTo>
                  <a:pt x="37" y="2190"/>
                </a:lnTo>
                <a:lnTo>
                  <a:pt x="36" y="2194"/>
                </a:lnTo>
                <a:lnTo>
                  <a:pt x="33" y="2197"/>
                </a:lnTo>
                <a:lnTo>
                  <a:pt x="32" y="2198"/>
                </a:lnTo>
                <a:lnTo>
                  <a:pt x="30" y="2199"/>
                </a:lnTo>
                <a:lnTo>
                  <a:pt x="26" y="2200"/>
                </a:lnTo>
                <a:lnTo>
                  <a:pt x="22" y="2200"/>
                </a:lnTo>
                <a:lnTo>
                  <a:pt x="19" y="2200"/>
                </a:lnTo>
                <a:lnTo>
                  <a:pt x="17" y="2199"/>
                </a:lnTo>
                <a:lnTo>
                  <a:pt x="15" y="2197"/>
                </a:lnTo>
                <a:lnTo>
                  <a:pt x="13" y="2195"/>
                </a:lnTo>
                <a:lnTo>
                  <a:pt x="12" y="2193"/>
                </a:lnTo>
                <a:lnTo>
                  <a:pt x="12" y="2192"/>
                </a:lnTo>
                <a:lnTo>
                  <a:pt x="11" y="2190"/>
                </a:lnTo>
                <a:lnTo>
                  <a:pt x="11" y="2188"/>
                </a:lnTo>
                <a:lnTo>
                  <a:pt x="11" y="2185"/>
                </a:lnTo>
                <a:lnTo>
                  <a:pt x="12" y="2181"/>
                </a:lnTo>
                <a:lnTo>
                  <a:pt x="15" y="2178"/>
                </a:lnTo>
                <a:lnTo>
                  <a:pt x="16" y="2177"/>
                </a:lnTo>
                <a:lnTo>
                  <a:pt x="18" y="2176"/>
                </a:lnTo>
                <a:lnTo>
                  <a:pt x="22" y="2174"/>
                </a:lnTo>
                <a:close/>
                <a:moveTo>
                  <a:pt x="11" y="2240"/>
                </a:moveTo>
                <a:lnTo>
                  <a:pt x="15" y="2240"/>
                </a:lnTo>
                <a:lnTo>
                  <a:pt x="18" y="2240"/>
                </a:lnTo>
                <a:lnTo>
                  <a:pt x="20" y="2241"/>
                </a:lnTo>
                <a:lnTo>
                  <a:pt x="22" y="2243"/>
                </a:lnTo>
                <a:lnTo>
                  <a:pt x="24" y="2245"/>
                </a:lnTo>
                <a:lnTo>
                  <a:pt x="25" y="2247"/>
                </a:lnTo>
                <a:lnTo>
                  <a:pt x="26" y="2248"/>
                </a:lnTo>
                <a:lnTo>
                  <a:pt x="26" y="2249"/>
                </a:lnTo>
                <a:lnTo>
                  <a:pt x="27" y="2252"/>
                </a:lnTo>
                <a:lnTo>
                  <a:pt x="26" y="2255"/>
                </a:lnTo>
                <a:lnTo>
                  <a:pt x="25" y="2259"/>
                </a:lnTo>
                <a:lnTo>
                  <a:pt x="23" y="2262"/>
                </a:lnTo>
                <a:lnTo>
                  <a:pt x="19" y="2264"/>
                </a:lnTo>
                <a:lnTo>
                  <a:pt x="18" y="2265"/>
                </a:lnTo>
                <a:lnTo>
                  <a:pt x="16" y="2266"/>
                </a:lnTo>
                <a:lnTo>
                  <a:pt x="11" y="2266"/>
                </a:lnTo>
                <a:lnTo>
                  <a:pt x="9" y="2265"/>
                </a:lnTo>
                <a:lnTo>
                  <a:pt x="6" y="2264"/>
                </a:lnTo>
                <a:lnTo>
                  <a:pt x="4" y="2262"/>
                </a:lnTo>
                <a:lnTo>
                  <a:pt x="3" y="2260"/>
                </a:lnTo>
                <a:lnTo>
                  <a:pt x="1" y="2258"/>
                </a:lnTo>
                <a:lnTo>
                  <a:pt x="1" y="2257"/>
                </a:lnTo>
                <a:lnTo>
                  <a:pt x="1" y="2256"/>
                </a:lnTo>
                <a:lnTo>
                  <a:pt x="0" y="2253"/>
                </a:lnTo>
                <a:lnTo>
                  <a:pt x="0" y="2251"/>
                </a:lnTo>
                <a:lnTo>
                  <a:pt x="2" y="2247"/>
                </a:lnTo>
                <a:lnTo>
                  <a:pt x="4" y="2243"/>
                </a:lnTo>
                <a:lnTo>
                  <a:pt x="7" y="2241"/>
                </a:lnTo>
                <a:lnTo>
                  <a:pt x="9" y="2240"/>
                </a:lnTo>
                <a:lnTo>
                  <a:pt x="11" y="2240"/>
                </a:lnTo>
                <a:close/>
                <a:moveTo>
                  <a:pt x="2940" y="2220"/>
                </a:moveTo>
                <a:lnTo>
                  <a:pt x="2941" y="2215"/>
                </a:lnTo>
                <a:lnTo>
                  <a:pt x="2942" y="2213"/>
                </a:lnTo>
                <a:lnTo>
                  <a:pt x="2943" y="2212"/>
                </a:lnTo>
                <a:lnTo>
                  <a:pt x="2943" y="2227"/>
                </a:lnTo>
                <a:lnTo>
                  <a:pt x="2941" y="2224"/>
                </a:lnTo>
                <a:lnTo>
                  <a:pt x="2940" y="2222"/>
                </a:lnTo>
                <a:lnTo>
                  <a:pt x="2940" y="2220"/>
                </a:lnTo>
                <a:close/>
                <a:moveTo>
                  <a:pt x="2624" y="2258"/>
                </a:moveTo>
                <a:lnTo>
                  <a:pt x="2629" y="2258"/>
                </a:lnTo>
                <a:lnTo>
                  <a:pt x="2631" y="2258"/>
                </a:lnTo>
                <a:lnTo>
                  <a:pt x="2633" y="2259"/>
                </a:lnTo>
                <a:lnTo>
                  <a:pt x="2635" y="2261"/>
                </a:lnTo>
                <a:lnTo>
                  <a:pt x="2636" y="2262"/>
                </a:lnTo>
                <a:lnTo>
                  <a:pt x="2637" y="2264"/>
                </a:lnTo>
                <a:lnTo>
                  <a:pt x="2638" y="2266"/>
                </a:lnTo>
                <a:lnTo>
                  <a:pt x="2639" y="2269"/>
                </a:lnTo>
                <a:lnTo>
                  <a:pt x="2614" y="2269"/>
                </a:lnTo>
                <a:lnTo>
                  <a:pt x="2615" y="2265"/>
                </a:lnTo>
                <a:lnTo>
                  <a:pt x="2617" y="2262"/>
                </a:lnTo>
                <a:lnTo>
                  <a:pt x="2618" y="2261"/>
                </a:lnTo>
                <a:lnTo>
                  <a:pt x="2620" y="2260"/>
                </a:lnTo>
                <a:lnTo>
                  <a:pt x="2623" y="2258"/>
                </a:lnTo>
                <a:lnTo>
                  <a:pt x="2624" y="2258"/>
                </a:lnTo>
                <a:close/>
                <a:moveTo>
                  <a:pt x="2884" y="2211"/>
                </a:moveTo>
                <a:lnTo>
                  <a:pt x="2887" y="2211"/>
                </a:lnTo>
                <a:lnTo>
                  <a:pt x="2890" y="2211"/>
                </a:lnTo>
                <a:lnTo>
                  <a:pt x="2892" y="2212"/>
                </a:lnTo>
                <a:lnTo>
                  <a:pt x="2894" y="2213"/>
                </a:lnTo>
                <a:lnTo>
                  <a:pt x="2896" y="2215"/>
                </a:lnTo>
                <a:lnTo>
                  <a:pt x="2897" y="2217"/>
                </a:lnTo>
                <a:lnTo>
                  <a:pt x="2898" y="2219"/>
                </a:lnTo>
                <a:lnTo>
                  <a:pt x="2899" y="2222"/>
                </a:lnTo>
                <a:lnTo>
                  <a:pt x="2899" y="2224"/>
                </a:lnTo>
                <a:lnTo>
                  <a:pt x="2898" y="2226"/>
                </a:lnTo>
                <a:lnTo>
                  <a:pt x="2896" y="2230"/>
                </a:lnTo>
                <a:lnTo>
                  <a:pt x="2895" y="2232"/>
                </a:lnTo>
                <a:lnTo>
                  <a:pt x="2893" y="2233"/>
                </a:lnTo>
                <a:lnTo>
                  <a:pt x="2891" y="2234"/>
                </a:lnTo>
                <a:lnTo>
                  <a:pt x="2889" y="2235"/>
                </a:lnTo>
                <a:lnTo>
                  <a:pt x="2886" y="2235"/>
                </a:lnTo>
                <a:lnTo>
                  <a:pt x="2883" y="2234"/>
                </a:lnTo>
                <a:lnTo>
                  <a:pt x="2881" y="2233"/>
                </a:lnTo>
                <a:lnTo>
                  <a:pt x="2879" y="2232"/>
                </a:lnTo>
                <a:lnTo>
                  <a:pt x="2877" y="2230"/>
                </a:lnTo>
                <a:lnTo>
                  <a:pt x="2876" y="2228"/>
                </a:lnTo>
                <a:lnTo>
                  <a:pt x="2875" y="2226"/>
                </a:lnTo>
                <a:lnTo>
                  <a:pt x="2874" y="2224"/>
                </a:lnTo>
                <a:lnTo>
                  <a:pt x="2874" y="2221"/>
                </a:lnTo>
                <a:lnTo>
                  <a:pt x="2875" y="2219"/>
                </a:lnTo>
                <a:lnTo>
                  <a:pt x="2877" y="2215"/>
                </a:lnTo>
                <a:lnTo>
                  <a:pt x="2878" y="2214"/>
                </a:lnTo>
                <a:lnTo>
                  <a:pt x="2880" y="2212"/>
                </a:lnTo>
                <a:lnTo>
                  <a:pt x="2882" y="2211"/>
                </a:lnTo>
                <a:lnTo>
                  <a:pt x="2884" y="2211"/>
                </a:lnTo>
                <a:close/>
                <a:moveTo>
                  <a:pt x="2688" y="2241"/>
                </a:moveTo>
                <a:lnTo>
                  <a:pt x="2693" y="2241"/>
                </a:lnTo>
                <a:lnTo>
                  <a:pt x="2695" y="2242"/>
                </a:lnTo>
                <a:lnTo>
                  <a:pt x="2697" y="2243"/>
                </a:lnTo>
                <a:lnTo>
                  <a:pt x="2699" y="2244"/>
                </a:lnTo>
                <a:lnTo>
                  <a:pt x="2700" y="2246"/>
                </a:lnTo>
                <a:lnTo>
                  <a:pt x="2702" y="2248"/>
                </a:lnTo>
                <a:lnTo>
                  <a:pt x="2702" y="2250"/>
                </a:lnTo>
                <a:lnTo>
                  <a:pt x="2703" y="2253"/>
                </a:lnTo>
                <a:lnTo>
                  <a:pt x="2703" y="2255"/>
                </a:lnTo>
                <a:lnTo>
                  <a:pt x="2702" y="2257"/>
                </a:lnTo>
                <a:lnTo>
                  <a:pt x="2701" y="2260"/>
                </a:lnTo>
                <a:lnTo>
                  <a:pt x="2699" y="2261"/>
                </a:lnTo>
                <a:lnTo>
                  <a:pt x="2698" y="2263"/>
                </a:lnTo>
                <a:lnTo>
                  <a:pt x="2696" y="2264"/>
                </a:lnTo>
                <a:lnTo>
                  <a:pt x="2693" y="2265"/>
                </a:lnTo>
                <a:lnTo>
                  <a:pt x="2688" y="2265"/>
                </a:lnTo>
                <a:lnTo>
                  <a:pt x="2686" y="2264"/>
                </a:lnTo>
                <a:lnTo>
                  <a:pt x="2684" y="2263"/>
                </a:lnTo>
                <a:lnTo>
                  <a:pt x="2682" y="2262"/>
                </a:lnTo>
                <a:lnTo>
                  <a:pt x="2680" y="2260"/>
                </a:lnTo>
                <a:lnTo>
                  <a:pt x="2679" y="2258"/>
                </a:lnTo>
                <a:lnTo>
                  <a:pt x="2678" y="2256"/>
                </a:lnTo>
                <a:lnTo>
                  <a:pt x="2678" y="2253"/>
                </a:lnTo>
                <a:lnTo>
                  <a:pt x="2678" y="2251"/>
                </a:lnTo>
                <a:lnTo>
                  <a:pt x="2679" y="2249"/>
                </a:lnTo>
                <a:lnTo>
                  <a:pt x="2680" y="2247"/>
                </a:lnTo>
                <a:lnTo>
                  <a:pt x="2681" y="2245"/>
                </a:lnTo>
                <a:lnTo>
                  <a:pt x="2683" y="2243"/>
                </a:lnTo>
                <a:lnTo>
                  <a:pt x="2685" y="2242"/>
                </a:lnTo>
                <a:lnTo>
                  <a:pt x="2688" y="2241"/>
                </a:lnTo>
                <a:close/>
                <a:moveTo>
                  <a:pt x="2818" y="2217"/>
                </a:moveTo>
                <a:lnTo>
                  <a:pt x="2821" y="2217"/>
                </a:lnTo>
                <a:lnTo>
                  <a:pt x="2824" y="2218"/>
                </a:lnTo>
                <a:lnTo>
                  <a:pt x="2828" y="2220"/>
                </a:lnTo>
                <a:lnTo>
                  <a:pt x="2831" y="2223"/>
                </a:lnTo>
                <a:lnTo>
                  <a:pt x="2833" y="2228"/>
                </a:lnTo>
                <a:lnTo>
                  <a:pt x="2833" y="2230"/>
                </a:lnTo>
                <a:lnTo>
                  <a:pt x="2832" y="2233"/>
                </a:lnTo>
                <a:lnTo>
                  <a:pt x="2832" y="2235"/>
                </a:lnTo>
                <a:lnTo>
                  <a:pt x="2830" y="2237"/>
                </a:lnTo>
                <a:lnTo>
                  <a:pt x="2829" y="2238"/>
                </a:lnTo>
                <a:lnTo>
                  <a:pt x="2827" y="2240"/>
                </a:lnTo>
                <a:lnTo>
                  <a:pt x="2825" y="2241"/>
                </a:lnTo>
                <a:lnTo>
                  <a:pt x="2823" y="2242"/>
                </a:lnTo>
                <a:lnTo>
                  <a:pt x="2820" y="2242"/>
                </a:lnTo>
                <a:lnTo>
                  <a:pt x="2818" y="2241"/>
                </a:lnTo>
                <a:lnTo>
                  <a:pt x="2813" y="2239"/>
                </a:lnTo>
                <a:lnTo>
                  <a:pt x="2810" y="2236"/>
                </a:lnTo>
                <a:lnTo>
                  <a:pt x="2809" y="2233"/>
                </a:lnTo>
                <a:lnTo>
                  <a:pt x="2808" y="2231"/>
                </a:lnTo>
                <a:lnTo>
                  <a:pt x="2808" y="2229"/>
                </a:lnTo>
                <a:lnTo>
                  <a:pt x="2809" y="2226"/>
                </a:lnTo>
                <a:lnTo>
                  <a:pt x="2810" y="2224"/>
                </a:lnTo>
                <a:lnTo>
                  <a:pt x="2811" y="2222"/>
                </a:lnTo>
                <a:lnTo>
                  <a:pt x="2812" y="2220"/>
                </a:lnTo>
                <a:lnTo>
                  <a:pt x="2814" y="2219"/>
                </a:lnTo>
                <a:lnTo>
                  <a:pt x="2816" y="2218"/>
                </a:lnTo>
                <a:lnTo>
                  <a:pt x="2818" y="2217"/>
                </a:lnTo>
                <a:close/>
                <a:moveTo>
                  <a:pt x="2753" y="2228"/>
                </a:moveTo>
                <a:lnTo>
                  <a:pt x="2758" y="2228"/>
                </a:lnTo>
                <a:lnTo>
                  <a:pt x="2760" y="2228"/>
                </a:lnTo>
                <a:lnTo>
                  <a:pt x="2762" y="2230"/>
                </a:lnTo>
                <a:lnTo>
                  <a:pt x="2764" y="2231"/>
                </a:lnTo>
                <a:lnTo>
                  <a:pt x="2766" y="2233"/>
                </a:lnTo>
                <a:lnTo>
                  <a:pt x="2767" y="2235"/>
                </a:lnTo>
                <a:lnTo>
                  <a:pt x="2767" y="2237"/>
                </a:lnTo>
                <a:lnTo>
                  <a:pt x="2767" y="2242"/>
                </a:lnTo>
                <a:lnTo>
                  <a:pt x="2766" y="2245"/>
                </a:lnTo>
                <a:lnTo>
                  <a:pt x="2765" y="2247"/>
                </a:lnTo>
                <a:lnTo>
                  <a:pt x="2764" y="2248"/>
                </a:lnTo>
                <a:lnTo>
                  <a:pt x="2762" y="2250"/>
                </a:lnTo>
                <a:lnTo>
                  <a:pt x="2760" y="2251"/>
                </a:lnTo>
                <a:lnTo>
                  <a:pt x="2757" y="2252"/>
                </a:lnTo>
                <a:lnTo>
                  <a:pt x="2753" y="2252"/>
                </a:lnTo>
                <a:lnTo>
                  <a:pt x="2750" y="2251"/>
                </a:lnTo>
                <a:lnTo>
                  <a:pt x="2748" y="2250"/>
                </a:lnTo>
                <a:lnTo>
                  <a:pt x="2746" y="2248"/>
                </a:lnTo>
                <a:lnTo>
                  <a:pt x="2745" y="2246"/>
                </a:lnTo>
                <a:lnTo>
                  <a:pt x="2744" y="2244"/>
                </a:lnTo>
                <a:lnTo>
                  <a:pt x="2743" y="2242"/>
                </a:lnTo>
                <a:lnTo>
                  <a:pt x="2743" y="2237"/>
                </a:lnTo>
                <a:lnTo>
                  <a:pt x="2744" y="2235"/>
                </a:lnTo>
                <a:lnTo>
                  <a:pt x="2745" y="2233"/>
                </a:lnTo>
                <a:lnTo>
                  <a:pt x="2747" y="2231"/>
                </a:lnTo>
                <a:lnTo>
                  <a:pt x="2749" y="2229"/>
                </a:lnTo>
                <a:lnTo>
                  <a:pt x="2751" y="2228"/>
                </a:lnTo>
                <a:lnTo>
                  <a:pt x="2753" y="2228"/>
                </a:lnTo>
                <a:close/>
                <a:moveTo>
                  <a:pt x="1984" y="2257"/>
                </a:moveTo>
                <a:lnTo>
                  <a:pt x="1987" y="2257"/>
                </a:lnTo>
                <a:lnTo>
                  <a:pt x="1990" y="2258"/>
                </a:lnTo>
                <a:lnTo>
                  <a:pt x="1993" y="2260"/>
                </a:lnTo>
                <a:lnTo>
                  <a:pt x="1995" y="2261"/>
                </a:lnTo>
                <a:lnTo>
                  <a:pt x="1996" y="2262"/>
                </a:lnTo>
                <a:lnTo>
                  <a:pt x="1998" y="2266"/>
                </a:lnTo>
                <a:lnTo>
                  <a:pt x="1998" y="2269"/>
                </a:lnTo>
                <a:lnTo>
                  <a:pt x="1973" y="2269"/>
                </a:lnTo>
                <a:lnTo>
                  <a:pt x="1974" y="2266"/>
                </a:lnTo>
                <a:lnTo>
                  <a:pt x="1975" y="2264"/>
                </a:lnTo>
                <a:lnTo>
                  <a:pt x="1976" y="2261"/>
                </a:lnTo>
                <a:lnTo>
                  <a:pt x="1979" y="2259"/>
                </a:lnTo>
                <a:lnTo>
                  <a:pt x="1981" y="2258"/>
                </a:lnTo>
                <a:lnTo>
                  <a:pt x="1984" y="2257"/>
                </a:lnTo>
                <a:close/>
                <a:moveTo>
                  <a:pt x="2038" y="2220"/>
                </a:moveTo>
                <a:lnTo>
                  <a:pt x="2042" y="2220"/>
                </a:lnTo>
                <a:lnTo>
                  <a:pt x="2045" y="2221"/>
                </a:lnTo>
                <a:lnTo>
                  <a:pt x="2048" y="2223"/>
                </a:lnTo>
                <a:lnTo>
                  <a:pt x="2051" y="2226"/>
                </a:lnTo>
                <a:lnTo>
                  <a:pt x="2052" y="2228"/>
                </a:lnTo>
                <a:lnTo>
                  <a:pt x="2053" y="2230"/>
                </a:lnTo>
                <a:lnTo>
                  <a:pt x="2053" y="2235"/>
                </a:lnTo>
                <a:lnTo>
                  <a:pt x="2052" y="2237"/>
                </a:lnTo>
                <a:lnTo>
                  <a:pt x="2051" y="2239"/>
                </a:lnTo>
                <a:lnTo>
                  <a:pt x="2049" y="2241"/>
                </a:lnTo>
                <a:lnTo>
                  <a:pt x="2047" y="2243"/>
                </a:lnTo>
                <a:lnTo>
                  <a:pt x="2045" y="2244"/>
                </a:lnTo>
                <a:lnTo>
                  <a:pt x="2043" y="2245"/>
                </a:lnTo>
                <a:lnTo>
                  <a:pt x="2039" y="2245"/>
                </a:lnTo>
                <a:lnTo>
                  <a:pt x="2036" y="2244"/>
                </a:lnTo>
                <a:lnTo>
                  <a:pt x="2033" y="2242"/>
                </a:lnTo>
                <a:lnTo>
                  <a:pt x="2030" y="2239"/>
                </a:lnTo>
                <a:lnTo>
                  <a:pt x="2029" y="2237"/>
                </a:lnTo>
                <a:lnTo>
                  <a:pt x="2028" y="2235"/>
                </a:lnTo>
                <a:lnTo>
                  <a:pt x="2028" y="2230"/>
                </a:lnTo>
                <a:lnTo>
                  <a:pt x="2029" y="2227"/>
                </a:lnTo>
                <a:lnTo>
                  <a:pt x="2030" y="2225"/>
                </a:lnTo>
                <a:lnTo>
                  <a:pt x="2032" y="2224"/>
                </a:lnTo>
                <a:lnTo>
                  <a:pt x="2034" y="2222"/>
                </a:lnTo>
                <a:lnTo>
                  <a:pt x="2036" y="2221"/>
                </a:lnTo>
                <a:lnTo>
                  <a:pt x="2038" y="2220"/>
                </a:lnTo>
                <a:close/>
                <a:moveTo>
                  <a:pt x="2094" y="2185"/>
                </a:moveTo>
                <a:lnTo>
                  <a:pt x="2098" y="2185"/>
                </a:lnTo>
                <a:lnTo>
                  <a:pt x="2102" y="2186"/>
                </a:lnTo>
                <a:lnTo>
                  <a:pt x="2105" y="2188"/>
                </a:lnTo>
                <a:lnTo>
                  <a:pt x="2106" y="2189"/>
                </a:lnTo>
                <a:lnTo>
                  <a:pt x="2107" y="2191"/>
                </a:lnTo>
                <a:lnTo>
                  <a:pt x="2108" y="2193"/>
                </a:lnTo>
                <a:lnTo>
                  <a:pt x="2109" y="2195"/>
                </a:lnTo>
                <a:lnTo>
                  <a:pt x="2109" y="2198"/>
                </a:lnTo>
                <a:lnTo>
                  <a:pt x="2109" y="2200"/>
                </a:lnTo>
                <a:lnTo>
                  <a:pt x="2108" y="2202"/>
                </a:lnTo>
                <a:lnTo>
                  <a:pt x="2107" y="2204"/>
                </a:lnTo>
                <a:lnTo>
                  <a:pt x="2105" y="2206"/>
                </a:lnTo>
                <a:lnTo>
                  <a:pt x="2103" y="2208"/>
                </a:lnTo>
                <a:lnTo>
                  <a:pt x="2101" y="2209"/>
                </a:lnTo>
                <a:lnTo>
                  <a:pt x="2099" y="2209"/>
                </a:lnTo>
                <a:lnTo>
                  <a:pt x="2095" y="2209"/>
                </a:lnTo>
                <a:lnTo>
                  <a:pt x="2092" y="2208"/>
                </a:lnTo>
                <a:lnTo>
                  <a:pt x="2088" y="2206"/>
                </a:lnTo>
                <a:lnTo>
                  <a:pt x="2087" y="2205"/>
                </a:lnTo>
                <a:lnTo>
                  <a:pt x="2086" y="2204"/>
                </a:lnTo>
                <a:lnTo>
                  <a:pt x="2085" y="2201"/>
                </a:lnTo>
                <a:lnTo>
                  <a:pt x="2084" y="2199"/>
                </a:lnTo>
                <a:lnTo>
                  <a:pt x="2084" y="2197"/>
                </a:lnTo>
                <a:lnTo>
                  <a:pt x="2085" y="2194"/>
                </a:lnTo>
                <a:lnTo>
                  <a:pt x="2085" y="2192"/>
                </a:lnTo>
                <a:lnTo>
                  <a:pt x="2087" y="2190"/>
                </a:lnTo>
                <a:lnTo>
                  <a:pt x="2088" y="2188"/>
                </a:lnTo>
                <a:lnTo>
                  <a:pt x="2090" y="2187"/>
                </a:lnTo>
                <a:lnTo>
                  <a:pt x="2092" y="2186"/>
                </a:lnTo>
                <a:lnTo>
                  <a:pt x="2094" y="2185"/>
                </a:lnTo>
                <a:close/>
                <a:moveTo>
                  <a:pt x="2152" y="2152"/>
                </a:moveTo>
                <a:lnTo>
                  <a:pt x="2155" y="2152"/>
                </a:lnTo>
                <a:lnTo>
                  <a:pt x="2159" y="2153"/>
                </a:lnTo>
                <a:lnTo>
                  <a:pt x="2162" y="2155"/>
                </a:lnTo>
                <a:lnTo>
                  <a:pt x="2164" y="2156"/>
                </a:lnTo>
                <a:lnTo>
                  <a:pt x="2165" y="2158"/>
                </a:lnTo>
                <a:lnTo>
                  <a:pt x="2166" y="2160"/>
                </a:lnTo>
                <a:lnTo>
                  <a:pt x="2166" y="2163"/>
                </a:lnTo>
                <a:lnTo>
                  <a:pt x="2166" y="2165"/>
                </a:lnTo>
                <a:lnTo>
                  <a:pt x="2166" y="2167"/>
                </a:lnTo>
                <a:lnTo>
                  <a:pt x="2165" y="2170"/>
                </a:lnTo>
                <a:lnTo>
                  <a:pt x="2164" y="2172"/>
                </a:lnTo>
                <a:lnTo>
                  <a:pt x="2162" y="2173"/>
                </a:lnTo>
                <a:lnTo>
                  <a:pt x="2160" y="2175"/>
                </a:lnTo>
                <a:lnTo>
                  <a:pt x="2158" y="2176"/>
                </a:lnTo>
                <a:lnTo>
                  <a:pt x="2156" y="2176"/>
                </a:lnTo>
                <a:lnTo>
                  <a:pt x="2152" y="2176"/>
                </a:lnTo>
                <a:lnTo>
                  <a:pt x="2149" y="2175"/>
                </a:lnTo>
                <a:lnTo>
                  <a:pt x="2145" y="2173"/>
                </a:lnTo>
                <a:lnTo>
                  <a:pt x="2144" y="2172"/>
                </a:lnTo>
                <a:lnTo>
                  <a:pt x="2143" y="2170"/>
                </a:lnTo>
                <a:lnTo>
                  <a:pt x="2142" y="2168"/>
                </a:lnTo>
                <a:lnTo>
                  <a:pt x="2142" y="2165"/>
                </a:lnTo>
                <a:lnTo>
                  <a:pt x="2142" y="2163"/>
                </a:lnTo>
                <a:lnTo>
                  <a:pt x="2142" y="2161"/>
                </a:lnTo>
                <a:lnTo>
                  <a:pt x="2143" y="2158"/>
                </a:lnTo>
                <a:lnTo>
                  <a:pt x="2144" y="2156"/>
                </a:lnTo>
                <a:lnTo>
                  <a:pt x="2146" y="2155"/>
                </a:lnTo>
                <a:lnTo>
                  <a:pt x="2148" y="2153"/>
                </a:lnTo>
                <a:lnTo>
                  <a:pt x="2150" y="2152"/>
                </a:lnTo>
                <a:lnTo>
                  <a:pt x="2152" y="2152"/>
                </a:lnTo>
                <a:close/>
                <a:moveTo>
                  <a:pt x="2211" y="2121"/>
                </a:moveTo>
                <a:lnTo>
                  <a:pt x="2215" y="2121"/>
                </a:lnTo>
                <a:lnTo>
                  <a:pt x="2217" y="2121"/>
                </a:lnTo>
                <a:lnTo>
                  <a:pt x="2219" y="2122"/>
                </a:lnTo>
                <a:lnTo>
                  <a:pt x="2220" y="2123"/>
                </a:lnTo>
                <a:lnTo>
                  <a:pt x="2222" y="2124"/>
                </a:lnTo>
                <a:lnTo>
                  <a:pt x="2224" y="2128"/>
                </a:lnTo>
                <a:lnTo>
                  <a:pt x="2225" y="2130"/>
                </a:lnTo>
                <a:lnTo>
                  <a:pt x="2226" y="2132"/>
                </a:lnTo>
                <a:lnTo>
                  <a:pt x="2226" y="2135"/>
                </a:lnTo>
                <a:lnTo>
                  <a:pt x="2225" y="2137"/>
                </a:lnTo>
                <a:lnTo>
                  <a:pt x="2224" y="2139"/>
                </a:lnTo>
                <a:lnTo>
                  <a:pt x="2223" y="2141"/>
                </a:lnTo>
                <a:lnTo>
                  <a:pt x="2221" y="2143"/>
                </a:lnTo>
                <a:lnTo>
                  <a:pt x="2219" y="2144"/>
                </a:lnTo>
                <a:lnTo>
                  <a:pt x="2215" y="2145"/>
                </a:lnTo>
                <a:lnTo>
                  <a:pt x="2212" y="2145"/>
                </a:lnTo>
                <a:lnTo>
                  <a:pt x="2210" y="2145"/>
                </a:lnTo>
                <a:lnTo>
                  <a:pt x="2207" y="2144"/>
                </a:lnTo>
                <a:lnTo>
                  <a:pt x="2205" y="2143"/>
                </a:lnTo>
                <a:lnTo>
                  <a:pt x="2204" y="2142"/>
                </a:lnTo>
                <a:lnTo>
                  <a:pt x="2201" y="2139"/>
                </a:lnTo>
                <a:lnTo>
                  <a:pt x="2200" y="2136"/>
                </a:lnTo>
                <a:lnTo>
                  <a:pt x="2200" y="2134"/>
                </a:lnTo>
                <a:lnTo>
                  <a:pt x="2200" y="2132"/>
                </a:lnTo>
                <a:lnTo>
                  <a:pt x="2201" y="2129"/>
                </a:lnTo>
                <a:lnTo>
                  <a:pt x="2202" y="2127"/>
                </a:lnTo>
                <a:lnTo>
                  <a:pt x="2203" y="2125"/>
                </a:lnTo>
                <a:lnTo>
                  <a:pt x="2205" y="2123"/>
                </a:lnTo>
                <a:lnTo>
                  <a:pt x="2207" y="2122"/>
                </a:lnTo>
                <a:lnTo>
                  <a:pt x="2211" y="2121"/>
                </a:lnTo>
                <a:close/>
                <a:moveTo>
                  <a:pt x="2271" y="2092"/>
                </a:moveTo>
                <a:lnTo>
                  <a:pt x="2275" y="2092"/>
                </a:lnTo>
                <a:lnTo>
                  <a:pt x="2279" y="2093"/>
                </a:lnTo>
                <a:lnTo>
                  <a:pt x="2280" y="2095"/>
                </a:lnTo>
                <a:lnTo>
                  <a:pt x="2282" y="2096"/>
                </a:lnTo>
                <a:lnTo>
                  <a:pt x="2283" y="2097"/>
                </a:lnTo>
                <a:lnTo>
                  <a:pt x="2284" y="2099"/>
                </a:lnTo>
                <a:lnTo>
                  <a:pt x="2285" y="2102"/>
                </a:lnTo>
                <a:lnTo>
                  <a:pt x="2285" y="2104"/>
                </a:lnTo>
                <a:lnTo>
                  <a:pt x="2285" y="2109"/>
                </a:lnTo>
                <a:lnTo>
                  <a:pt x="2283" y="2111"/>
                </a:lnTo>
                <a:lnTo>
                  <a:pt x="2282" y="2113"/>
                </a:lnTo>
                <a:lnTo>
                  <a:pt x="2280" y="2114"/>
                </a:lnTo>
                <a:lnTo>
                  <a:pt x="2278" y="2116"/>
                </a:lnTo>
                <a:lnTo>
                  <a:pt x="2275" y="2117"/>
                </a:lnTo>
                <a:lnTo>
                  <a:pt x="2271" y="2117"/>
                </a:lnTo>
                <a:lnTo>
                  <a:pt x="2267" y="2115"/>
                </a:lnTo>
                <a:lnTo>
                  <a:pt x="2266" y="2114"/>
                </a:lnTo>
                <a:lnTo>
                  <a:pt x="2264" y="2113"/>
                </a:lnTo>
                <a:lnTo>
                  <a:pt x="2263" y="2111"/>
                </a:lnTo>
                <a:lnTo>
                  <a:pt x="2262" y="2110"/>
                </a:lnTo>
                <a:lnTo>
                  <a:pt x="2261" y="2107"/>
                </a:lnTo>
                <a:lnTo>
                  <a:pt x="2261" y="2105"/>
                </a:lnTo>
                <a:lnTo>
                  <a:pt x="2261" y="2100"/>
                </a:lnTo>
                <a:lnTo>
                  <a:pt x="2262" y="2098"/>
                </a:lnTo>
                <a:lnTo>
                  <a:pt x="2264" y="2096"/>
                </a:lnTo>
                <a:lnTo>
                  <a:pt x="2266" y="2094"/>
                </a:lnTo>
                <a:lnTo>
                  <a:pt x="2268" y="2093"/>
                </a:lnTo>
                <a:lnTo>
                  <a:pt x="2271" y="2092"/>
                </a:lnTo>
                <a:close/>
                <a:moveTo>
                  <a:pt x="2913" y="1968"/>
                </a:moveTo>
                <a:lnTo>
                  <a:pt x="2916" y="1968"/>
                </a:lnTo>
                <a:lnTo>
                  <a:pt x="2919" y="1968"/>
                </a:lnTo>
                <a:lnTo>
                  <a:pt x="2921" y="1969"/>
                </a:lnTo>
                <a:lnTo>
                  <a:pt x="2925" y="1972"/>
                </a:lnTo>
                <a:lnTo>
                  <a:pt x="2926" y="1974"/>
                </a:lnTo>
                <a:lnTo>
                  <a:pt x="2927" y="1976"/>
                </a:lnTo>
                <a:lnTo>
                  <a:pt x="2928" y="1981"/>
                </a:lnTo>
                <a:lnTo>
                  <a:pt x="2928" y="1983"/>
                </a:lnTo>
                <a:lnTo>
                  <a:pt x="2927" y="1985"/>
                </a:lnTo>
                <a:lnTo>
                  <a:pt x="2926" y="1987"/>
                </a:lnTo>
                <a:lnTo>
                  <a:pt x="2925" y="1988"/>
                </a:lnTo>
                <a:lnTo>
                  <a:pt x="2923" y="1990"/>
                </a:lnTo>
                <a:lnTo>
                  <a:pt x="2922" y="1991"/>
                </a:lnTo>
                <a:lnTo>
                  <a:pt x="2920" y="1992"/>
                </a:lnTo>
                <a:lnTo>
                  <a:pt x="2918" y="1992"/>
                </a:lnTo>
                <a:lnTo>
                  <a:pt x="2915" y="1992"/>
                </a:lnTo>
                <a:lnTo>
                  <a:pt x="2913" y="1992"/>
                </a:lnTo>
                <a:lnTo>
                  <a:pt x="2910" y="1991"/>
                </a:lnTo>
                <a:lnTo>
                  <a:pt x="2907" y="1988"/>
                </a:lnTo>
                <a:lnTo>
                  <a:pt x="2905" y="1987"/>
                </a:lnTo>
                <a:lnTo>
                  <a:pt x="2904" y="1984"/>
                </a:lnTo>
                <a:lnTo>
                  <a:pt x="2903" y="1980"/>
                </a:lnTo>
                <a:lnTo>
                  <a:pt x="2904" y="1977"/>
                </a:lnTo>
                <a:lnTo>
                  <a:pt x="2904" y="1975"/>
                </a:lnTo>
                <a:lnTo>
                  <a:pt x="2905" y="1974"/>
                </a:lnTo>
                <a:lnTo>
                  <a:pt x="2906" y="1972"/>
                </a:lnTo>
                <a:lnTo>
                  <a:pt x="2908" y="1970"/>
                </a:lnTo>
                <a:lnTo>
                  <a:pt x="2910" y="1969"/>
                </a:lnTo>
                <a:lnTo>
                  <a:pt x="2911" y="1968"/>
                </a:lnTo>
                <a:lnTo>
                  <a:pt x="2913" y="1968"/>
                </a:lnTo>
                <a:close/>
                <a:moveTo>
                  <a:pt x="2332" y="2066"/>
                </a:moveTo>
                <a:lnTo>
                  <a:pt x="2336" y="2066"/>
                </a:lnTo>
                <a:lnTo>
                  <a:pt x="2340" y="2067"/>
                </a:lnTo>
                <a:lnTo>
                  <a:pt x="2343" y="2070"/>
                </a:lnTo>
                <a:lnTo>
                  <a:pt x="2344" y="2072"/>
                </a:lnTo>
                <a:lnTo>
                  <a:pt x="2345" y="2074"/>
                </a:lnTo>
                <a:lnTo>
                  <a:pt x="2346" y="2076"/>
                </a:lnTo>
                <a:lnTo>
                  <a:pt x="2346" y="2078"/>
                </a:lnTo>
                <a:lnTo>
                  <a:pt x="2346" y="2081"/>
                </a:lnTo>
                <a:lnTo>
                  <a:pt x="2345" y="2083"/>
                </a:lnTo>
                <a:lnTo>
                  <a:pt x="2344" y="2085"/>
                </a:lnTo>
                <a:lnTo>
                  <a:pt x="2342" y="2087"/>
                </a:lnTo>
                <a:lnTo>
                  <a:pt x="2341" y="2089"/>
                </a:lnTo>
                <a:lnTo>
                  <a:pt x="2338" y="2090"/>
                </a:lnTo>
                <a:lnTo>
                  <a:pt x="2336" y="2090"/>
                </a:lnTo>
                <a:lnTo>
                  <a:pt x="2332" y="2090"/>
                </a:lnTo>
                <a:lnTo>
                  <a:pt x="2328" y="2089"/>
                </a:lnTo>
                <a:lnTo>
                  <a:pt x="2324" y="2087"/>
                </a:lnTo>
                <a:lnTo>
                  <a:pt x="2323" y="2085"/>
                </a:lnTo>
                <a:lnTo>
                  <a:pt x="2322" y="2083"/>
                </a:lnTo>
                <a:lnTo>
                  <a:pt x="2322" y="2081"/>
                </a:lnTo>
                <a:lnTo>
                  <a:pt x="2321" y="2078"/>
                </a:lnTo>
                <a:lnTo>
                  <a:pt x="2322" y="2076"/>
                </a:lnTo>
                <a:lnTo>
                  <a:pt x="2322" y="2073"/>
                </a:lnTo>
                <a:lnTo>
                  <a:pt x="2323" y="2071"/>
                </a:lnTo>
                <a:lnTo>
                  <a:pt x="2325" y="2070"/>
                </a:lnTo>
                <a:lnTo>
                  <a:pt x="2327" y="2068"/>
                </a:lnTo>
                <a:lnTo>
                  <a:pt x="2329" y="2067"/>
                </a:lnTo>
                <a:lnTo>
                  <a:pt x="2332" y="2066"/>
                </a:lnTo>
                <a:close/>
                <a:moveTo>
                  <a:pt x="2847" y="1965"/>
                </a:moveTo>
                <a:lnTo>
                  <a:pt x="2850" y="1965"/>
                </a:lnTo>
                <a:lnTo>
                  <a:pt x="2852" y="1966"/>
                </a:lnTo>
                <a:lnTo>
                  <a:pt x="2855" y="1966"/>
                </a:lnTo>
                <a:lnTo>
                  <a:pt x="2857" y="1968"/>
                </a:lnTo>
                <a:lnTo>
                  <a:pt x="2858" y="1969"/>
                </a:lnTo>
                <a:lnTo>
                  <a:pt x="2860" y="1971"/>
                </a:lnTo>
                <a:lnTo>
                  <a:pt x="2861" y="1973"/>
                </a:lnTo>
                <a:lnTo>
                  <a:pt x="2862" y="1975"/>
                </a:lnTo>
                <a:lnTo>
                  <a:pt x="2862" y="1978"/>
                </a:lnTo>
                <a:lnTo>
                  <a:pt x="2862" y="1980"/>
                </a:lnTo>
                <a:lnTo>
                  <a:pt x="2861" y="1982"/>
                </a:lnTo>
                <a:lnTo>
                  <a:pt x="2860" y="1984"/>
                </a:lnTo>
                <a:lnTo>
                  <a:pt x="2859" y="1986"/>
                </a:lnTo>
                <a:lnTo>
                  <a:pt x="2856" y="1988"/>
                </a:lnTo>
                <a:lnTo>
                  <a:pt x="2854" y="1989"/>
                </a:lnTo>
                <a:lnTo>
                  <a:pt x="2852" y="1990"/>
                </a:lnTo>
                <a:lnTo>
                  <a:pt x="2849" y="1990"/>
                </a:lnTo>
                <a:lnTo>
                  <a:pt x="2847" y="1990"/>
                </a:lnTo>
                <a:lnTo>
                  <a:pt x="2844" y="1989"/>
                </a:lnTo>
                <a:lnTo>
                  <a:pt x="2842" y="1988"/>
                </a:lnTo>
                <a:lnTo>
                  <a:pt x="2841" y="1986"/>
                </a:lnTo>
                <a:lnTo>
                  <a:pt x="2839" y="1984"/>
                </a:lnTo>
                <a:lnTo>
                  <a:pt x="2838" y="1982"/>
                </a:lnTo>
                <a:lnTo>
                  <a:pt x="2837" y="1980"/>
                </a:lnTo>
                <a:lnTo>
                  <a:pt x="2837" y="1977"/>
                </a:lnTo>
                <a:lnTo>
                  <a:pt x="2837" y="1975"/>
                </a:lnTo>
                <a:lnTo>
                  <a:pt x="2838" y="1973"/>
                </a:lnTo>
                <a:lnTo>
                  <a:pt x="2839" y="1971"/>
                </a:lnTo>
                <a:lnTo>
                  <a:pt x="2840" y="1970"/>
                </a:lnTo>
                <a:lnTo>
                  <a:pt x="2843" y="1967"/>
                </a:lnTo>
                <a:lnTo>
                  <a:pt x="2845" y="1966"/>
                </a:lnTo>
                <a:lnTo>
                  <a:pt x="2847" y="1965"/>
                </a:lnTo>
                <a:close/>
                <a:moveTo>
                  <a:pt x="2393" y="2043"/>
                </a:moveTo>
                <a:lnTo>
                  <a:pt x="2398" y="2043"/>
                </a:lnTo>
                <a:lnTo>
                  <a:pt x="2400" y="2043"/>
                </a:lnTo>
                <a:lnTo>
                  <a:pt x="2402" y="2044"/>
                </a:lnTo>
                <a:lnTo>
                  <a:pt x="2405" y="2047"/>
                </a:lnTo>
                <a:lnTo>
                  <a:pt x="2406" y="2049"/>
                </a:lnTo>
                <a:lnTo>
                  <a:pt x="2407" y="2051"/>
                </a:lnTo>
                <a:lnTo>
                  <a:pt x="2408" y="2055"/>
                </a:lnTo>
                <a:lnTo>
                  <a:pt x="2407" y="2058"/>
                </a:lnTo>
                <a:lnTo>
                  <a:pt x="2407" y="2060"/>
                </a:lnTo>
                <a:lnTo>
                  <a:pt x="2405" y="2062"/>
                </a:lnTo>
                <a:lnTo>
                  <a:pt x="2404" y="2064"/>
                </a:lnTo>
                <a:lnTo>
                  <a:pt x="2402" y="2065"/>
                </a:lnTo>
                <a:lnTo>
                  <a:pt x="2400" y="2066"/>
                </a:lnTo>
                <a:lnTo>
                  <a:pt x="2398" y="2067"/>
                </a:lnTo>
                <a:lnTo>
                  <a:pt x="2393" y="2067"/>
                </a:lnTo>
                <a:lnTo>
                  <a:pt x="2391" y="2066"/>
                </a:lnTo>
                <a:lnTo>
                  <a:pt x="2389" y="2065"/>
                </a:lnTo>
                <a:lnTo>
                  <a:pt x="2386" y="2063"/>
                </a:lnTo>
                <a:lnTo>
                  <a:pt x="2385" y="2061"/>
                </a:lnTo>
                <a:lnTo>
                  <a:pt x="2384" y="2059"/>
                </a:lnTo>
                <a:lnTo>
                  <a:pt x="2383" y="2054"/>
                </a:lnTo>
                <a:lnTo>
                  <a:pt x="2383" y="2052"/>
                </a:lnTo>
                <a:lnTo>
                  <a:pt x="2384" y="2049"/>
                </a:lnTo>
                <a:lnTo>
                  <a:pt x="2386" y="2047"/>
                </a:lnTo>
                <a:lnTo>
                  <a:pt x="2387" y="2046"/>
                </a:lnTo>
                <a:lnTo>
                  <a:pt x="2389" y="2044"/>
                </a:lnTo>
                <a:lnTo>
                  <a:pt x="2391" y="2043"/>
                </a:lnTo>
                <a:lnTo>
                  <a:pt x="2393" y="2043"/>
                </a:lnTo>
                <a:close/>
                <a:moveTo>
                  <a:pt x="2781" y="1966"/>
                </a:moveTo>
                <a:lnTo>
                  <a:pt x="2783" y="1966"/>
                </a:lnTo>
                <a:lnTo>
                  <a:pt x="2788" y="1967"/>
                </a:lnTo>
                <a:lnTo>
                  <a:pt x="2790" y="1968"/>
                </a:lnTo>
                <a:lnTo>
                  <a:pt x="2792" y="1969"/>
                </a:lnTo>
                <a:lnTo>
                  <a:pt x="2793" y="1971"/>
                </a:lnTo>
                <a:lnTo>
                  <a:pt x="2795" y="1973"/>
                </a:lnTo>
                <a:lnTo>
                  <a:pt x="2795" y="1975"/>
                </a:lnTo>
                <a:lnTo>
                  <a:pt x="2796" y="1978"/>
                </a:lnTo>
                <a:lnTo>
                  <a:pt x="2795" y="1982"/>
                </a:lnTo>
                <a:lnTo>
                  <a:pt x="2793" y="1986"/>
                </a:lnTo>
                <a:lnTo>
                  <a:pt x="2790" y="1989"/>
                </a:lnTo>
                <a:lnTo>
                  <a:pt x="2788" y="1990"/>
                </a:lnTo>
                <a:lnTo>
                  <a:pt x="2786" y="1990"/>
                </a:lnTo>
                <a:lnTo>
                  <a:pt x="2784" y="1991"/>
                </a:lnTo>
                <a:lnTo>
                  <a:pt x="2779" y="1990"/>
                </a:lnTo>
                <a:lnTo>
                  <a:pt x="2777" y="1989"/>
                </a:lnTo>
                <a:lnTo>
                  <a:pt x="2775" y="1987"/>
                </a:lnTo>
                <a:lnTo>
                  <a:pt x="2773" y="1986"/>
                </a:lnTo>
                <a:lnTo>
                  <a:pt x="2772" y="1983"/>
                </a:lnTo>
                <a:lnTo>
                  <a:pt x="2771" y="1981"/>
                </a:lnTo>
                <a:lnTo>
                  <a:pt x="2771" y="1979"/>
                </a:lnTo>
                <a:lnTo>
                  <a:pt x="2772" y="1974"/>
                </a:lnTo>
                <a:lnTo>
                  <a:pt x="2774" y="1970"/>
                </a:lnTo>
                <a:lnTo>
                  <a:pt x="2777" y="1968"/>
                </a:lnTo>
                <a:lnTo>
                  <a:pt x="2779" y="1967"/>
                </a:lnTo>
                <a:lnTo>
                  <a:pt x="2781" y="1966"/>
                </a:lnTo>
                <a:close/>
                <a:moveTo>
                  <a:pt x="2456" y="2022"/>
                </a:moveTo>
                <a:lnTo>
                  <a:pt x="2461" y="2022"/>
                </a:lnTo>
                <a:lnTo>
                  <a:pt x="2463" y="2022"/>
                </a:lnTo>
                <a:lnTo>
                  <a:pt x="2465" y="2023"/>
                </a:lnTo>
                <a:lnTo>
                  <a:pt x="2466" y="2025"/>
                </a:lnTo>
                <a:lnTo>
                  <a:pt x="2468" y="2026"/>
                </a:lnTo>
                <a:lnTo>
                  <a:pt x="2469" y="2028"/>
                </a:lnTo>
                <a:lnTo>
                  <a:pt x="2470" y="2030"/>
                </a:lnTo>
                <a:lnTo>
                  <a:pt x="2471" y="2033"/>
                </a:lnTo>
                <a:lnTo>
                  <a:pt x="2471" y="2035"/>
                </a:lnTo>
                <a:lnTo>
                  <a:pt x="2470" y="2038"/>
                </a:lnTo>
                <a:lnTo>
                  <a:pt x="2469" y="2040"/>
                </a:lnTo>
                <a:lnTo>
                  <a:pt x="2468" y="2042"/>
                </a:lnTo>
                <a:lnTo>
                  <a:pt x="2466" y="2044"/>
                </a:lnTo>
                <a:lnTo>
                  <a:pt x="2464" y="2045"/>
                </a:lnTo>
                <a:lnTo>
                  <a:pt x="2462" y="2046"/>
                </a:lnTo>
                <a:lnTo>
                  <a:pt x="2460" y="2046"/>
                </a:lnTo>
                <a:lnTo>
                  <a:pt x="2456" y="2046"/>
                </a:lnTo>
                <a:lnTo>
                  <a:pt x="2454" y="2046"/>
                </a:lnTo>
                <a:lnTo>
                  <a:pt x="2452" y="2045"/>
                </a:lnTo>
                <a:lnTo>
                  <a:pt x="2450" y="2043"/>
                </a:lnTo>
                <a:lnTo>
                  <a:pt x="2449" y="2042"/>
                </a:lnTo>
                <a:lnTo>
                  <a:pt x="2447" y="2040"/>
                </a:lnTo>
                <a:lnTo>
                  <a:pt x="2446" y="2038"/>
                </a:lnTo>
                <a:lnTo>
                  <a:pt x="2446" y="2035"/>
                </a:lnTo>
                <a:lnTo>
                  <a:pt x="2446" y="2033"/>
                </a:lnTo>
                <a:lnTo>
                  <a:pt x="2446" y="2030"/>
                </a:lnTo>
                <a:lnTo>
                  <a:pt x="2447" y="2028"/>
                </a:lnTo>
                <a:lnTo>
                  <a:pt x="2449" y="2026"/>
                </a:lnTo>
                <a:lnTo>
                  <a:pt x="2450" y="2025"/>
                </a:lnTo>
                <a:lnTo>
                  <a:pt x="2452" y="2023"/>
                </a:lnTo>
                <a:lnTo>
                  <a:pt x="2455" y="2022"/>
                </a:lnTo>
                <a:lnTo>
                  <a:pt x="2456" y="2022"/>
                </a:lnTo>
                <a:close/>
                <a:moveTo>
                  <a:pt x="2715" y="1970"/>
                </a:moveTo>
                <a:lnTo>
                  <a:pt x="2718" y="1970"/>
                </a:lnTo>
                <a:lnTo>
                  <a:pt x="2721" y="1971"/>
                </a:lnTo>
                <a:lnTo>
                  <a:pt x="2723" y="1972"/>
                </a:lnTo>
                <a:lnTo>
                  <a:pt x="2725" y="1973"/>
                </a:lnTo>
                <a:lnTo>
                  <a:pt x="2727" y="1975"/>
                </a:lnTo>
                <a:lnTo>
                  <a:pt x="2728" y="1977"/>
                </a:lnTo>
                <a:lnTo>
                  <a:pt x="2729" y="1979"/>
                </a:lnTo>
                <a:lnTo>
                  <a:pt x="2730" y="1981"/>
                </a:lnTo>
                <a:lnTo>
                  <a:pt x="2730" y="1984"/>
                </a:lnTo>
                <a:lnTo>
                  <a:pt x="2729" y="1986"/>
                </a:lnTo>
                <a:lnTo>
                  <a:pt x="2727" y="1990"/>
                </a:lnTo>
                <a:lnTo>
                  <a:pt x="2726" y="1992"/>
                </a:lnTo>
                <a:lnTo>
                  <a:pt x="2724" y="1993"/>
                </a:lnTo>
                <a:lnTo>
                  <a:pt x="2720" y="1995"/>
                </a:lnTo>
                <a:lnTo>
                  <a:pt x="2717" y="1995"/>
                </a:lnTo>
                <a:lnTo>
                  <a:pt x="2714" y="1994"/>
                </a:lnTo>
                <a:lnTo>
                  <a:pt x="2712" y="1993"/>
                </a:lnTo>
                <a:lnTo>
                  <a:pt x="2710" y="1992"/>
                </a:lnTo>
                <a:lnTo>
                  <a:pt x="2708" y="1990"/>
                </a:lnTo>
                <a:lnTo>
                  <a:pt x="2706" y="1988"/>
                </a:lnTo>
                <a:lnTo>
                  <a:pt x="2706" y="1986"/>
                </a:lnTo>
                <a:lnTo>
                  <a:pt x="2705" y="1984"/>
                </a:lnTo>
                <a:lnTo>
                  <a:pt x="2705" y="1981"/>
                </a:lnTo>
                <a:lnTo>
                  <a:pt x="2705" y="1979"/>
                </a:lnTo>
                <a:lnTo>
                  <a:pt x="2708" y="1975"/>
                </a:lnTo>
                <a:lnTo>
                  <a:pt x="2709" y="1973"/>
                </a:lnTo>
                <a:lnTo>
                  <a:pt x="2711" y="1972"/>
                </a:lnTo>
                <a:lnTo>
                  <a:pt x="2715" y="1970"/>
                </a:lnTo>
                <a:close/>
                <a:moveTo>
                  <a:pt x="2520" y="2004"/>
                </a:moveTo>
                <a:lnTo>
                  <a:pt x="2524" y="2004"/>
                </a:lnTo>
                <a:lnTo>
                  <a:pt x="2527" y="2005"/>
                </a:lnTo>
                <a:lnTo>
                  <a:pt x="2529" y="2006"/>
                </a:lnTo>
                <a:lnTo>
                  <a:pt x="2530" y="2007"/>
                </a:lnTo>
                <a:lnTo>
                  <a:pt x="2532" y="2009"/>
                </a:lnTo>
                <a:lnTo>
                  <a:pt x="2533" y="2011"/>
                </a:lnTo>
                <a:lnTo>
                  <a:pt x="2534" y="2013"/>
                </a:lnTo>
                <a:lnTo>
                  <a:pt x="2534" y="2016"/>
                </a:lnTo>
                <a:lnTo>
                  <a:pt x="2534" y="2018"/>
                </a:lnTo>
                <a:lnTo>
                  <a:pt x="2533" y="2023"/>
                </a:lnTo>
                <a:lnTo>
                  <a:pt x="2531" y="2025"/>
                </a:lnTo>
                <a:lnTo>
                  <a:pt x="2530" y="2025"/>
                </a:lnTo>
                <a:lnTo>
                  <a:pt x="2529" y="2026"/>
                </a:lnTo>
                <a:lnTo>
                  <a:pt x="2527" y="2027"/>
                </a:lnTo>
                <a:lnTo>
                  <a:pt x="2525" y="2028"/>
                </a:lnTo>
                <a:lnTo>
                  <a:pt x="2520" y="2028"/>
                </a:lnTo>
                <a:lnTo>
                  <a:pt x="2518" y="2028"/>
                </a:lnTo>
                <a:lnTo>
                  <a:pt x="2515" y="2027"/>
                </a:lnTo>
                <a:lnTo>
                  <a:pt x="2514" y="2025"/>
                </a:lnTo>
                <a:lnTo>
                  <a:pt x="2512" y="2024"/>
                </a:lnTo>
                <a:lnTo>
                  <a:pt x="2511" y="2022"/>
                </a:lnTo>
                <a:lnTo>
                  <a:pt x="2510" y="2019"/>
                </a:lnTo>
                <a:lnTo>
                  <a:pt x="2510" y="2017"/>
                </a:lnTo>
                <a:lnTo>
                  <a:pt x="2510" y="2014"/>
                </a:lnTo>
                <a:lnTo>
                  <a:pt x="2511" y="2010"/>
                </a:lnTo>
                <a:lnTo>
                  <a:pt x="2513" y="2008"/>
                </a:lnTo>
                <a:lnTo>
                  <a:pt x="2514" y="2007"/>
                </a:lnTo>
                <a:lnTo>
                  <a:pt x="2515" y="2006"/>
                </a:lnTo>
                <a:lnTo>
                  <a:pt x="2517" y="2005"/>
                </a:lnTo>
                <a:lnTo>
                  <a:pt x="2519" y="2004"/>
                </a:lnTo>
                <a:lnTo>
                  <a:pt x="2520" y="2004"/>
                </a:lnTo>
                <a:close/>
                <a:moveTo>
                  <a:pt x="2650" y="1978"/>
                </a:moveTo>
                <a:lnTo>
                  <a:pt x="2652" y="1978"/>
                </a:lnTo>
                <a:lnTo>
                  <a:pt x="2655" y="1978"/>
                </a:lnTo>
                <a:lnTo>
                  <a:pt x="2657" y="1979"/>
                </a:lnTo>
                <a:lnTo>
                  <a:pt x="2659" y="1980"/>
                </a:lnTo>
                <a:lnTo>
                  <a:pt x="2661" y="1982"/>
                </a:lnTo>
                <a:lnTo>
                  <a:pt x="2662" y="1984"/>
                </a:lnTo>
                <a:lnTo>
                  <a:pt x="2663" y="1986"/>
                </a:lnTo>
                <a:lnTo>
                  <a:pt x="2664" y="1989"/>
                </a:lnTo>
                <a:lnTo>
                  <a:pt x="2664" y="1991"/>
                </a:lnTo>
                <a:lnTo>
                  <a:pt x="2664" y="1993"/>
                </a:lnTo>
                <a:lnTo>
                  <a:pt x="2663" y="1996"/>
                </a:lnTo>
                <a:lnTo>
                  <a:pt x="2662" y="1998"/>
                </a:lnTo>
                <a:lnTo>
                  <a:pt x="2660" y="1999"/>
                </a:lnTo>
                <a:lnTo>
                  <a:pt x="2658" y="2001"/>
                </a:lnTo>
                <a:lnTo>
                  <a:pt x="2656" y="2002"/>
                </a:lnTo>
                <a:lnTo>
                  <a:pt x="2654" y="2003"/>
                </a:lnTo>
                <a:lnTo>
                  <a:pt x="2651" y="2003"/>
                </a:lnTo>
                <a:lnTo>
                  <a:pt x="2649" y="2002"/>
                </a:lnTo>
                <a:lnTo>
                  <a:pt x="2646" y="2001"/>
                </a:lnTo>
                <a:lnTo>
                  <a:pt x="2644" y="2000"/>
                </a:lnTo>
                <a:lnTo>
                  <a:pt x="2643" y="1999"/>
                </a:lnTo>
                <a:lnTo>
                  <a:pt x="2641" y="1997"/>
                </a:lnTo>
                <a:lnTo>
                  <a:pt x="2640" y="1995"/>
                </a:lnTo>
                <a:lnTo>
                  <a:pt x="2639" y="1992"/>
                </a:lnTo>
                <a:lnTo>
                  <a:pt x="2639" y="1990"/>
                </a:lnTo>
                <a:lnTo>
                  <a:pt x="2640" y="1987"/>
                </a:lnTo>
                <a:lnTo>
                  <a:pt x="2640" y="1985"/>
                </a:lnTo>
                <a:lnTo>
                  <a:pt x="2642" y="1983"/>
                </a:lnTo>
                <a:lnTo>
                  <a:pt x="2643" y="1981"/>
                </a:lnTo>
                <a:lnTo>
                  <a:pt x="2645" y="1980"/>
                </a:lnTo>
                <a:lnTo>
                  <a:pt x="2647" y="1979"/>
                </a:lnTo>
                <a:lnTo>
                  <a:pt x="2650" y="1978"/>
                </a:lnTo>
                <a:close/>
                <a:moveTo>
                  <a:pt x="2584" y="1989"/>
                </a:moveTo>
                <a:lnTo>
                  <a:pt x="2589" y="1990"/>
                </a:lnTo>
                <a:lnTo>
                  <a:pt x="2591" y="1990"/>
                </a:lnTo>
                <a:lnTo>
                  <a:pt x="2593" y="1991"/>
                </a:lnTo>
                <a:lnTo>
                  <a:pt x="2595" y="1993"/>
                </a:lnTo>
                <a:lnTo>
                  <a:pt x="2597" y="1995"/>
                </a:lnTo>
                <a:lnTo>
                  <a:pt x="2598" y="1997"/>
                </a:lnTo>
                <a:lnTo>
                  <a:pt x="2599" y="1999"/>
                </a:lnTo>
                <a:lnTo>
                  <a:pt x="2599" y="2004"/>
                </a:lnTo>
                <a:lnTo>
                  <a:pt x="2598" y="2006"/>
                </a:lnTo>
                <a:lnTo>
                  <a:pt x="2597" y="2009"/>
                </a:lnTo>
                <a:lnTo>
                  <a:pt x="2595" y="2010"/>
                </a:lnTo>
                <a:lnTo>
                  <a:pt x="2593" y="2012"/>
                </a:lnTo>
                <a:lnTo>
                  <a:pt x="2591" y="2013"/>
                </a:lnTo>
                <a:lnTo>
                  <a:pt x="2589" y="2014"/>
                </a:lnTo>
                <a:lnTo>
                  <a:pt x="2584" y="2014"/>
                </a:lnTo>
                <a:lnTo>
                  <a:pt x="2582" y="2013"/>
                </a:lnTo>
                <a:lnTo>
                  <a:pt x="2580" y="2012"/>
                </a:lnTo>
                <a:lnTo>
                  <a:pt x="2578" y="2010"/>
                </a:lnTo>
                <a:lnTo>
                  <a:pt x="2576" y="2009"/>
                </a:lnTo>
                <a:lnTo>
                  <a:pt x="2575" y="2006"/>
                </a:lnTo>
                <a:lnTo>
                  <a:pt x="2574" y="2004"/>
                </a:lnTo>
                <a:lnTo>
                  <a:pt x="2574" y="1999"/>
                </a:lnTo>
                <a:lnTo>
                  <a:pt x="2575" y="1997"/>
                </a:lnTo>
                <a:lnTo>
                  <a:pt x="2576" y="1995"/>
                </a:lnTo>
                <a:lnTo>
                  <a:pt x="2578" y="1993"/>
                </a:lnTo>
                <a:lnTo>
                  <a:pt x="2580" y="1991"/>
                </a:lnTo>
                <a:lnTo>
                  <a:pt x="2582" y="1990"/>
                </a:lnTo>
                <a:lnTo>
                  <a:pt x="2584" y="1990"/>
                </a:lnTo>
                <a:lnTo>
                  <a:pt x="2584" y="1989"/>
                </a:lnTo>
                <a:close/>
                <a:moveTo>
                  <a:pt x="1561" y="2260"/>
                </a:moveTo>
                <a:lnTo>
                  <a:pt x="1564" y="2259"/>
                </a:lnTo>
                <a:lnTo>
                  <a:pt x="1567" y="2260"/>
                </a:lnTo>
                <a:lnTo>
                  <a:pt x="1570" y="2261"/>
                </a:lnTo>
                <a:lnTo>
                  <a:pt x="1572" y="2263"/>
                </a:lnTo>
                <a:lnTo>
                  <a:pt x="1573" y="2264"/>
                </a:lnTo>
                <a:lnTo>
                  <a:pt x="1574" y="2266"/>
                </a:lnTo>
                <a:lnTo>
                  <a:pt x="1575" y="2269"/>
                </a:lnTo>
                <a:lnTo>
                  <a:pt x="1551" y="2269"/>
                </a:lnTo>
                <a:lnTo>
                  <a:pt x="1552" y="2266"/>
                </a:lnTo>
                <a:lnTo>
                  <a:pt x="1554" y="2263"/>
                </a:lnTo>
                <a:lnTo>
                  <a:pt x="1556" y="2262"/>
                </a:lnTo>
                <a:lnTo>
                  <a:pt x="1557" y="2261"/>
                </a:lnTo>
                <a:lnTo>
                  <a:pt x="1561" y="2260"/>
                </a:lnTo>
                <a:close/>
                <a:moveTo>
                  <a:pt x="1608" y="2213"/>
                </a:moveTo>
                <a:lnTo>
                  <a:pt x="1611" y="2213"/>
                </a:lnTo>
                <a:lnTo>
                  <a:pt x="1614" y="2213"/>
                </a:lnTo>
                <a:lnTo>
                  <a:pt x="1617" y="2215"/>
                </a:lnTo>
                <a:lnTo>
                  <a:pt x="1619" y="2217"/>
                </a:lnTo>
                <a:lnTo>
                  <a:pt x="1621" y="2219"/>
                </a:lnTo>
                <a:lnTo>
                  <a:pt x="1622" y="2221"/>
                </a:lnTo>
                <a:lnTo>
                  <a:pt x="1623" y="2223"/>
                </a:lnTo>
                <a:lnTo>
                  <a:pt x="1623" y="2226"/>
                </a:lnTo>
                <a:lnTo>
                  <a:pt x="1623" y="2228"/>
                </a:lnTo>
                <a:lnTo>
                  <a:pt x="1622" y="2230"/>
                </a:lnTo>
                <a:lnTo>
                  <a:pt x="1621" y="2232"/>
                </a:lnTo>
                <a:lnTo>
                  <a:pt x="1619" y="2234"/>
                </a:lnTo>
                <a:lnTo>
                  <a:pt x="1616" y="2237"/>
                </a:lnTo>
                <a:lnTo>
                  <a:pt x="1613" y="2238"/>
                </a:lnTo>
                <a:lnTo>
                  <a:pt x="1610" y="2238"/>
                </a:lnTo>
                <a:lnTo>
                  <a:pt x="1607" y="2237"/>
                </a:lnTo>
                <a:lnTo>
                  <a:pt x="1604" y="2236"/>
                </a:lnTo>
                <a:lnTo>
                  <a:pt x="1601" y="2234"/>
                </a:lnTo>
                <a:lnTo>
                  <a:pt x="1600" y="2232"/>
                </a:lnTo>
                <a:lnTo>
                  <a:pt x="1599" y="2230"/>
                </a:lnTo>
                <a:lnTo>
                  <a:pt x="1598" y="2228"/>
                </a:lnTo>
                <a:lnTo>
                  <a:pt x="1598" y="2225"/>
                </a:lnTo>
                <a:lnTo>
                  <a:pt x="1598" y="2223"/>
                </a:lnTo>
                <a:lnTo>
                  <a:pt x="1599" y="2220"/>
                </a:lnTo>
                <a:lnTo>
                  <a:pt x="1600" y="2218"/>
                </a:lnTo>
                <a:lnTo>
                  <a:pt x="1602" y="2216"/>
                </a:lnTo>
                <a:lnTo>
                  <a:pt x="1605" y="2214"/>
                </a:lnTo>
                <a:lnTo>
                  <a:pt x="1608" y="2213"/>
                </a:lnTo>
                <a:close/>
                <a:moveTo>
                  <a:pt x="1657" y="2168"/>
                </a:moveTo>
                <a:lnTo>
                  <a:pt x="1660" y="2168"/>
                </a:lnTo>
                <a:lnTo>
                  <a:pt x="1663" y="2168"/>
                </a:lnTo>
                <a:lnTo>
                  <a:pt x="1665" y="2170"/>
                </a:lnTo>
                <a:lnTo>
                  <a:pt x="1668" y="2172"/>
                </a:lnTo>
                <a:lnTo>
                  <a:pt x="1669" y="2174"/>
                </a:lnTo>
                <a:lnTo>
                  <a:pt x="1671" y="2176"/>
                </a:lnTo>
                <a:lnTo>
                  <a:pt x="1671" y="2181"/>
                </a:lnTo>
                <a:lnTo>
                  <a:pt x="1671" y="2183"/>
                </a:lnTo>
                <a:lnTo>
                  <a:pt x="1670" y="2186"/>
                </a:lnTo>
                <a:lnTo>
                  <a:pt x="1669" y="2188"/>
                </a:lnTo>
                <a:lnTo>
                  <a:pt x="1667" y="2190"/>
                </a:lnTo>
                <a:lnTo>
                  <a:pt x="1664" y="2191"/>
                </a:lnTo>
                <a:lnTo>
                  <a:pt x="1661" y="2193"/>
                </a:lnTo>
                <a:lnTo>
                  <a:pt x="1658" y="2193"/>
                </a:lnTo>
                <a:lnTo>
                  <a:pt x="1655" y="2192"/>
                </a:lnTo>
                <a:lnTo>
                  <a:pt x="1652" y="2191"/>
                </a:lnTo>
                <a:lnTo>
                  <a:pt x="1649" y="2189"/>
                </a:lnTo>
                <a:lnTo>
                  <a:pt x="1648" y="2187"/>
                </a:lnTo>
                <a:lnTo>
                  <a:pt x="1647" y="2184"/>
                </a:lnTo>
                <a:lnTo>
                  <a:pt x="1646" y="2180"/>
                </a:lnTo>
                <a:lnTo>
                  <a:pt x="1647" y="2177"/>
                </a:lnTo>
                <a:lnTo>
                  <a:pt x="1647" y="2175"/>
                </a:lnTo>
                <a:lnTo>
                  <a:pt x="1649" y="2173"/>
                </a:lnTo>
                <a:lnTo>
                  <a:pt x="1650" y="2171"/>
                </a:lnTo>
                <a:lnTo>
                  <a:pt x="1653" y="2169"/>
                </a:lnTo>
                <a:lnTo>
                  <a:pt x="1657" y="2168"/>
                </a:lnTo>
                <a:close/>
                <a:moveTo>
                  <a:pt x="1706" y="2124"/>
                </a:moveTo>
                <a:lnTo>
                  <a:pt x="1709" y="2124"/>
                </a:lnTo>
                <a:lnTo>
                  <a:pt x="1712" y="2125"/>
                </a:lnTo>
                <a:lnTo>
                  <a:pt x="1715" y="2126"/>
                </a:lnTo>
                <a:lnTo>
                  <a:pt x="1717" y="2127"/>
                </a:lnTo>
                <a:lnTo>
                  <a:pt x="1718" y="2128"/>
                </a:lnTo>
                <a:lnTo>
                  <a:pt x="1719" y="2131"/>
                </a:lnTo>
                <a:lnTo>
                  <a:pt x="1720" y="2133"/>
                </a:lnTo>
                <a:lnTo>
                  <a:pt x="1721" y="2135"/>
                </a:lnTo>
                <a:lnTo>
                  <a:pt x="1721" y="2138"/>
                </a:lnTo>
                <a:lnTo>
                  <a:pt x="1720" y="2140"/>
                </a:lnTo>
                <a:lnTo>
                  <a:pt x="1720" y="2142"/>
                </a:lnTo>
                <a:lnTo>
                  <a:pt x="1718" y="2144"/>
                </a:lnTo>
                <a:lnTo>
                  <a:pt x="1716" y="2146"/>
                </a:lnTo>
                <a:lnTo>
                  <a:pt x="1714" y="2148"/>
                </a:lnTo>
                <a:lnTo>
                  <a:pt x="1711" y="2149"/>
                </a:lnTo>
                <a:lnTo>
                  <a:pt x="1707" y="2149"/>
                </a:lnTo>
                <a:lnTo>
                  <a:pt x="1704" y="2148"/>
                </a:lnTo>
                <a:lnTo>
                  <a:pt x="1701" y="2147"/>
                </a:lnTo>
                <a:lnTo>
                  <a:pt x="1700" y="2146"/>
                </a:lnTo>
                <a:lnTo>
                  <a:pt x="1699" y="2145"/>
                </a:lnTo>
                <a:lnTo>
                  <a:pt x="1697" y="2143"/>
                </a:lnTo>
                <a:lnTo>
                  <a:pt x="1696" y="2140"/>
                </a:lnTo>
                <a:lnTo>
                  <a:pt x="1696" y="2138"/>
                </a:lnTo>
                <a:lnTo>
                  <a:pt x="1696" y="2136"/>
                </a:lnTo>
                <a:lnTo>
                  <a:pt x="1696" y="2133"/>
                </a:lnTo>
                <a:lnTo>
                  <a:pt x="1697" y="2131"/>
                </a:lnTo>
                <a:lnTo>
                  <a:pt x="1699" y="2129"/>
                </a:lnTo>
                <a:lnTo>
                  <a:pt x="1700" y="2127"/>
                </a:lnTo>
                <a:lnTo>
                  <a:pt x="1703" y="2125"/>
                </a:lnTo>
                <a:lnTo>
                  <a:pt x="1706" y="2124"/>
                </a:lnTo>
                <a:close/>
                <a:moveTo>
                  <a:pt x="1757" y="2082"/>
                </a:moveTo>
                <a:lnTo>
                  <a:pt x="1760" y="2082"/>
                </a:lnTo>
                <a:lnTo>
                  <a:pt x="1764" y="2083"/>
                </a:lnTo>
                <a:lnTo>
                  <a:pt x="1767" y="2084"/>
                </a:lnTo>
                <a:lnTo>
                  <a:pt x="1769" y="2087"/>
                </a:lnTo>
                <a:lnTo>
                  <a:pt x="1770" y="2089"/>
                </a:lnTo>
                <a:lnTo>
                  <a:pt x="1771" y="2091"/>
                </a:lnTo>
                <a:lnTo>
                  <a:pt x="1772" y="2093"/>
                </a:lnTo>
                <a:lnTo>
                  <a:pt x="1772" y="2096"/>
                </a:lnTo>
                <a:lnTo>
                  <a:pt x="1771" y="2098"/>
                </a:lnTo>
                <a:lnTo>
                  <a:pt x="1770" y="2100"/>
                </a:lnTo>
                <a:lnTo>
                  <a:pt x="1769" y="2102"/>
                </a:lnTo>
                <a:lnTo>
                  <a:pt x="1767" y="2104"/>
                </a:lnTo>
                <a:lnTo>
                  <a:pt x="1764" y="2106"/>
                </a:lnTo>
                <a:lnTo>
                  <a:pt x="1762" y="2107"/>
                </a:lnTo>
                <a:lnTo>
                  <a:pt x="1758" y="2107"/>
                </a:lnTo>
                <a:lnTo>
                  <a:pt x="1755" y="2106"/>
                </a:lnTo>
                <a:lnTo>
                  <a:pt x="1752" y="2105"/>
                </a:lnTo>
                <a:lnTo>
                  <a:pt x="1750" y="2102"/>
                </a:lnTo>
                <a:lnTo>
                  <a:pt x="1748" y="2100"/>
                </a:lnTo>
                <a:lnTo>
                  <a:pt x="1747" y="2098"/>
                </a:lnTo>
                <a:lnTo>
                  <a:pt x="1747" y="2095"/>
                </a:lnTo>
                <a:lnTo>
                  <a:pt x="1747" y="2093"/>
                </a:lnTo>
                <a:lnTo>
                  <a:pt x="1747" y="2091"/>
                </a:lnTo>
                <a:lnTo>
                  <a:pt x="1748" y="2088"/>
                </a:lnTo>
                <a:lnTo>
                  <a:pt x="1750" y="2086"/>
                </a:lnTo>
                <a:lnTo>
                  <a:pt x="1752" y="2085"/>
                </a:lnTo>
                <a:lnTo>
                  <a:pt x="1754" y="2083"/>
                </a:lnTo>
                <a:lnTo>
                  <a:pt x="1757" y="2082"/>
                </a:lnTo>
                <a:close/>
                <a:moveTo>
                  <a:pt x="1809" y="2041"/>
                </a:moveTo>
                <a:lnTo>
                  <a:pt x="1813" y="2041"/>
                </a:lnTo>
                <a:lnTo>
                  <a:pt x="1816" y="2042"/>
                </a:lnTo>
                <a:lnTo>
                  <a:pt x="1819" y="2044"/>
                </a:lnTo>
                <a:lnTo>
                  <a:pt x="1822" y="2046"/>
                </a:lnTo>
                <a:lnTo>
                  <a:pt x="1824" y="2051"/>
                </a:lnTo>
                <a:lnTo>
                  <a:pt x="1824" y="2053"/>
                </a:lnTo>
                <a:lnTo>
                  <a:pt x="1824" y="2056"/>
                </a:lnTo>
                <a:lnTo>
                  <a:pt x="1822" y="2060"/>
                </a:lnTo>
                <a:lnTo>
                  <a:pt x="1821" y="2062"/>
                </a:lnTo>
                <a:lnTo>
                  <a:pt x="1819" y="2064"/>
                </a:lnTo>
                <a:lnTo>
                  <a:pt x="1817" y="2065"/>
                </a:lnTo>
                <a:lnTo>
                  <a:pt x="1814" y="2066"/>
                </a:lnTo>
                <a:lnTo>
                  <a:pt x="1810" y="2066"/>
                </a:lnTo>
                <a:lnTo>
                  <a:pt x="1807" y="2065"/>
                </a:lnTo>
                <a:lnTo>
                  <a:pt x="1804" y="2064"/>
                </a:lnTo>
                <a:lnTo>
                  <a:pt x="1802" y="2061"/>
                </a:lnTo>
                <a:lnTo>
                  <a:pt x="1799" y="2057"/>
                </a:lnTo>
                <a:lnTo>
                  <a:pt x="1799" y="2054"/>
                </a:lnTo>
                <a:lnTo>
                  <a:pt x="1799" y="2052"/>
                </a:lnTo>
                <a:lnTo>
                  <a:pt x="1801" y="2047"/>
                </a:lnTo>
                <a:lnTo>
                  <a:pt x="1802" y="2045"/>
                </a:lnTo>
                <a:lnTo>
                  <a:pt x="1804" y="2044"/>
                </a:lnTo>
                <a:lnTo>
                  <a:pt x="1807" y="2042"/>
                </a:lnTo>
                <a:lnTo>
                  <a:pt x="1809" y="2041"/>
                </a:lnTo>
                <a:close/>
                <a:moveTo>
                  <a:pt x="1863" y="2003"/>
                </a:moveTo>
                <a:lnTo>
                  <a:pt x="1866" y="2003"/>
                </a:lnTo>
                <a:lnTo>
                  <a:pt x="1870" y="2003"/>
                </a:lnTo>
                <a:lnTo>
                  <a:pt x="1873" y="2005"/>
                </a:lnTo>
                <a:lnTo>
                  <a:pt x="1874" y="2006"/>
                </a:lnTo>
                <a:lnTo>
                  <a:pt x="1875" y="2008"/>
                </a:lnTo>
                <a:lnTo>
                  <a:pt x="1877" y="2010"/>
                </a:lnTo>
                <a:lnTo>
                  <a:pt x="1877" y="2012"/>
                </a:lnTo>
                <a:lnTo>
                  <a:pt x="1877" y="2017"/>
                </a:lnTo>
                <a:lnTo>
                  <a:pt x="1877" y="2019"/>
                </a:lnTo>
                <a:lnTo>
                  <a:pt x="1876" y="2022"/>
                </a:lnTo>
                <a:lnTo>
                  <a:pt x="1874" y="2023"/>
                </a:lnTo>
                <a:lnTo>
                  <a:pt x="1872" y="2025"/>
                </a:lnTo>
                <a:lnTo>
                  <a:pt x="1870" y="2026"/>
                </a:lnTo>
                <a:lnTo>
                  <a:pt x="1867" y="2027"/>
                </a:lnTo>
                <a:lnTo>
                  <a:pt x="1864" y="2027"/>
                </a:lnTo>
                <a:lnTo>
                  <a:pt x="1860" y="2026"/>
                </a:lnTo>
                <a:lnTo>
                  <a:pt x="1857" y="2025"/>
                </a:lnTo>
                <a:lnTo>
                  <a:pt x="1856" y="2024"/>
                </a:lnTo>
                <a:lnTo>
                  <a:pt x="1855" y="2022"/>
                </a:lnTo>
                <a:lnTo>
                  <a:pt x="1854" y="2020"/>
                </a:lnTo>
                <a:lnTo>
                  <a:pt x="1853" y="2018"/>
                </a:lnTo>
                <a:lnTo>
                  <a:pt x="1853" y="2013"/>
                </a:lnTo>
                <a:lnTo>
                  <a:pt x="1853" y="2010"/>
                </a:lnTo>
                <a:lnTo>
                  <a:pt x="1855" y="2008"/>
                </a:lnTo>
                <a:lnTo>
                  <a:pt x="1856" y="2006"/>
                </a:lnTo>
                <a:lnTo>
                  <a:pt x="1858" y="2005"/>
                </a:lnTo>
                <a:lnTo>
                  <a:pt x="1860" y="2003"/>
                </a:lnTo>
                <a:lnTo>
                  <a:pt x="1863" y="2003"/>
                </a:lnTo>
                <a:close/>
                <a:moveTo>
                  <a:pt x="1918" y="1966"/>
                </a:moveTo>
                <a:lnTo>
                  <a:pt x="1921" y="1966"/>
                </a:lnTo>
                <a:lnTo>
                  <a:pt x="1925" y="1966"/>
                </a:lnTo>
                <a:lnTo>
                  <a:pt x="1926" y="1967"/>
                </a:lnTo>
                <a:lnTo>
                  <a:pt x="1928" y="1968"/>
                </a:lnTo>
                <a:lnTo>
                  <a:pt x="1930" y="1971"/>
                </a:lnTo>
                <a:lnTo>
                  <a:pt x="1932" y="1973"/>
                </a:lnTo>
                <a:lnTo>
                  <a:pt x="1932" y="1976"/>
                </a:lnTo>
                <a:lnTo>
                  <a:pt x="1932" y="1981"/>
                </a:lnTo>
                <a:lnTo>
                  <a:pt x="1931" y="1983"/>
                </a:lnTo>
                <a:lnTo>
                  <a:pt x="1930" y="1985"/>
                </a:lnTo>
                <a:lnTo>
                  <a:pt x="1929" y="1987"/>
                </a:lnTo>
                <a:lnTo>
                  <a:pt x="1927" y="1988"/>
                </a:lnTo>
                <a:lnTo>
                  <a:pt x="1925" y="1990"/>
                </a:lnTo>
                <a:lnTo>
                  <a:pt x="1922" y="1990"/>
                </a:lnTo>
                <a:lnTo>
                  <a:pt x="1919" y="1990"/>
                </a:lnTo>
                <a:lnTo>
                  <a:pt x="1915" y="1989"/>
                </a:lnTo>
                <a:lnTo>
                  <a:pt x="1913" y="1989"/>
                </a:lnTo>
                <a:lnTo>
                  <a:pt x="1912" y="1988"/>
                </a:lnTo>
                <a:lnTo>
                  <a:pt x="1910" y="1985"/>
                </a:lnTo>
                <a:lnTo>
                  <a:pt x="1908" y="1982"/>
                </a:lnTo>
                <a:lnTo>
                  <a:pt x="1908" y="1980"/>
                </a:lnTo>
                <a:lnTo>
                  <a:pt x="1908" y="1975"/>
                </a:lnTo>
                <a:lnTo>
                  <a:pt x="1908" y="1973"/>
                </a:lnTo>
                <a:lnTo>
                  <a:pt x="1910" y="1971"/>
                </a:lnTo>
                <a:lnTo>
                  <a:pt x="1911" y="1969"/>
                </a:lnTo>
                <a:lnTo>
                  <a:pt x="1913" y="1967"/>
                </a:lnTo>
                <a:lnTo>
                  <a:pt x="1915" y="1966"/>
                </a:lnTo>
                <a:lnTo>
                  <a:pt x="1918" y="1966"/>
                </a:lnTo>
                <a:close/>
                <a:moveTo>
                  <a:pt x="1974" y="1931"/>
                </a:moveTo>
                <a:lnTo>
                  <a:pt x="1978" y="1931"/>
                </a:lnTo>
                <a:lnTo>
                  <a:pt x="1981" y="1932"/>
                </a:lnTo>
                <a:lnTo>
                  <a:pt x="1984" y="1934"/>
                </a:lnTo>
                <a:lnTo>
                  <a:pt x="1986" y="1935"/>
                </a:lnTo>
                <a:lnTo>
                  <a:pt x="1987" y="1937"/>
                </a:lnTo>
                <a:lnTo>
                  <a:pt x="1988" y="1939"/>
                </a:lnTo>
                <a:lnTo>
                  <a:pt x="1988" y="1941"/>
                </a:lnTo>
                <a:lnTo>
                  <a:pt x="1989" y="1944"/>
                </a:lnTo>
                <a:lnTo>
                  <a:pt x="1988" y="1946"/>
                </a:lnTo>
                <a:lnTo>
                  <a:pt x="1987" y="1948"/>
                </a:lnTo>
                <a:lnTo>
                  <a:pt x="1986" y="1950"/>
                </a:lnTo>
                <a:lnTo>
                  <a:pt x="1985" y="1952"/>
                </a:lnTo>
                <a:lnTo>
                  <a:pt x="1983" y="1954"/>
                </a:lnTo>
                <a:lnTo>
                  <a:pt x="1980" y="1955"/>
                </a:lnTo>
                <a:lnTo>
                  <a:pt x="1978" y="1955"/>
                </a:lnTo>
                <a:lnTo>
                  <a:pt x="1975" y="1955"/>
                </a:lnTo>
                <a:lnTo>
                  <a:pt x="1971" y="1954"/>
                </a:lnTo>
                <a:lnTo>
                  <a:pt x="1968" y="1952"/>
                </a:lnTo>
                <a:lnTo>
                  <a:pt x="1967" y="1951"/>
                </a:lnTo>
                <a:lnTo>
                  <a:pt x="1965" y="1949"/>
                </a:lnTo>
                <a:lnTo>
                  <a:pt x="1964" y="1947"/>
                </a:lnTo>
                <a:lnTo>
                  <a:pt x="1964" y="1945"/>
                </a:lnTo>
                <a:lnTo>
                  <a:pt x="1964" y="1942"/>
                </a:lnTo>
                <a:lnTo>
                  <a:pt x="1964" y="1940"/>
                </a:lnTo>
                <a:lnTo>
                  <a:pt x="1965" y="1938"/>
                </a:lnTo>
                <a:lnTo>
                  <a:pt x="1966" y="1936"/>
                </a:lnTo>
                <a:lnTo>
                  <a:pt x="1968" y="1934"/>
                </a:lnTo>
                <a:lnTo>
                  <a:pt x="1970" y="1932"/>
                </a:lnTo>
                <a:lnTo>
                  <a:pt x="1972" y="1931"/>
                </a:lnTo>
                <a:lnTo>
                  <a:pt x="1974" y="1931"/>
                </a:lnTo>
                <a:close/>
                <a:moveTo>
                  <a:pt x="2031" y="1898"/>
                </a:moveTo>
                <a:lnTo>
                  <a:pt x="2035" y="1898"/>
                </a:lnTo>
                <a:lnTo>
                  <a:pt x="2039" y="1899"/>
                </a:lnTo>
                <a:lnTo>
                  <a:pt x="2041" y="1900"/>
                </a:lnTo>
                <a:lnTo>
                  <a:pt x="2042" y="1901"/>
                </a:lnTo>
                <a:lnTo>
                  <a:pt x="2044" y="1904"/>
                </a:lnTo>
                <a:lnTo>
                  <a:pt x="2045" y="1906"/>
                </a:lnTo>
                <a:lnTo>
                  <a:pt x="2046" y="1909"/>
                </a:lnTo>
                <a:lnTo>
                  <a:pt x="2046" y="1911"/>
                </a:lnTo>
                <a:lnTo>
                  <a:pt x="2046" y="1914"/>
                </a:lnTo>
                <a:lnTo>
                  <a:pt x="2045" y="1916"/>
                </a:lnTo>
                <a:lnTo>
                  <a:pt x="2043" y="1918"/>
                </a:lnTo>
                <a:lnTo>
                  <a:pt x="2042" y="1920"/>
                </a:lnTo>
                <a:lnTo>
                  <a:pt x="2040" y="1921"/>
                </a:lnTo>
                <a:lnTo>
                  <a:pt x="2038" y="1922"/>
                </a:lnTo>
                <a:lnTo>
                  <a:pt x="2036" y="1922"/>
                </a:lnTo>
                <a:lnTo>
                  <a:pt x="2032" y="1922"/>
                </a:lnTo>
                <a:lnTo>
                  <a:pt x="2028" y="1921"/>
                </a:lnTo>
                <a:lnTo>
                  <a:pt x="2027" y="1920"/>
                </a:lnTo>
                <a:lnTo>
                  <a:pt x="2025" y="1919"/>
                </a:lnTo>
                <a:lnTo>
                  <a:pt x="2023" y="1916"/>
                </a:lnTo>
                <a:lnTo>
                  <a:pt x="2022" y="1914"/>
                </a:lnTo>
                <a:lnTo>
                  <a:pt x="2021" y="1911"/>
                </a:lnTo>
                <a:lnTo>
                  <a:pt x="2021" y="1909"/>
                </a:lnTo>
                <a:lnTo>
                  <a:pt x="2022" y="1907"/>
                </a:lnTo>
                <a:lnTo>
                  <a:pt x="2022" y="1904"/>
                </a:lnTo>
                <a:lnTo>
                  <a:pt x="2024" y="1902"/>
                </a:lnTo>
                <a:lnTo>
                  <a:pt x="2025" y="1901"/>
                </a:lnTo>
                <a:lnTo>
                  <a:pt x="2028" y="1899"/>
                </a:lnTo>
                <a:lnTo>
                  <a:pt x="2029" y="1898"/>
                </a:lnTo>
                <a:lnTo>
                  <a:pt x="2031" y="1898"/>
                </a:lnTo>
                <a:close/>
                <a:moveTo>
                  <a:pt x="2927" y="1739"/>
                </a:moveTo>
                <a:lnTo>
                  <a:pt x="2931" y="1738"/>
                </a:lnTo>
                <a:lnTo>
                  <a:pt x="2933" y="1739"/>
                </a:lnTo>
                <a:lnTo>
                  <a:pt x="2935" y="1740"/>
                </a:lnTo>
                <a:lnTo>
                  <a:pt x="2937" y="1741"/>
                </a:lnTo>
                <a:lnTo>
                  <a:pt x="2939" y="1743"/>
                </a:lnTo>
                <a:lnTo>
                  <a:pt x="2940" y="1745"/>
                </a:lnTo>
                <a:lnTo>
                  <a:pt x="2941" y="1747"/>
                </a:lnTo>
                <a:lnTo>
                  <a:pt x="2942" y="1749"/>
                </a:lnTo>
                <a:lnTo>
                  <a:pt x="2942" y="1752"/>
                </a:lnTo>
                <a:lnTo>
                  <a:pt x="2942" y="1754"/>
                </a:lnTo>
                <a:lnTo>
                  <a:pt x="2941" y="1756"/>
                </a:lnTo>
                <a:lnTo>
                  <a:pt x="2940" y="1758"/>
                </a:lnTo>
                <a:lnTo>
                  <a:pt x="2939" y="1759"/>
                </a:lnTo>
                <a:lnTo>
                  <a:pt x="2936" y="1762"/>
                </a:lnTo>
                <a:lnTo>
                  <a:pt x="2934" y="1763"/>
                </a:lnTo>
                <a:lnTo>
                  <a:pt x="2932" y="1763"/>
                </a:lnTo>
                <a:lnTo>
                  <a:pt x="2928" y="1763"/>
                </a:lnTo>
                <a:lnTo>
                  <a:pt x="2926" y="1763"/>
                </a:lnTo>
                <a:lnTo>
                  <a:pt x="2924" y="1762"/>
                </a:lnTo>
                <a:lnTo>
                  <a:pt x="2922" y="1761"/>
                </a:lnTo>
                <a:lnTo>
                  <a:pt x="2920" y="1759"/>
                </a:lnTo>
                <a:lnTo>
                  <a:pt x="2919" y="1757"/>
                </a:lnTo>
                <a:lnTo>
                  <a:pt x="2918" y="1755"/>
                </a:lnTo>
                <a:lnTo>
                  <a:pt x="2917" y="1752"/>
                </a:lnTo>
                <a:lnTo>
                  <a:pt x="2917" y="1750"/>
                </a:lnTo>
                <a:lnTo>
                  <a:pt x="2917" y="1748"/>
                </a:lnTo>
                <a:lnTo>
                  <a:pt x="2918" y="1746"/>
                </a:lnTo>
                <a:lnTo>
                  <a:pt x="2919" y="1744"/>
                </a:lnTo>
                <a:lnTo>
                  <a:pt x="2920" y="1742"/>
                </a:lnTo>
                <a:lnTo>
                  <a:pt x="2924" y="1740"/>
                </a:lnTo>
                <a:lnTo>
                  <a:pt x="2925" y="1739"/>
                </a:lnTo>
                <a:lnTo>
                  <a:pt x="2927" y="1739"/>
                </a:lnTo>
                <a:close/>
                <a:moveTo>
                  <a:pt x="2861" y="1733"/>
                </a:moveTo>
                <a:lnTo>
                  <a:pt x="2865" y="1733"/>
                </a:lnTo>
                <a:lnTo>
                  <a:pt x="2867" y="1733"/>
                </a:lnTo>
                <a:lnTo>
                  <a:pt x="2869" y="1734"/>
                </a:lnTo>
                <a:lnTo>
                  <a:pt x="2871" y="1736"/>
                </a:lnTo>
                <a:lnTo>
                  <a:pt x="2873" y="1737"/>
                </a:lnTo>
                <a:lnTo>
                  <a:pt x="2874" y="1739"/>
                </a:lnTo>
                <a:lnTo>
                  <a:pt x="2875" y="1741"/>
                </a:lnTo>
                <a:lnTo>
                  <a:pt x="2876" y="1744"/>
                </a:lnTo>
                <a:lnTo>
                  <a:pt x="2876" y="1746"/>
                </a:lnTo>
                <a:lnTo>
                  <a:pt x="2876" y="1748"/>
                </a:lnTo>
                <a:lnTo>
                  <a:pt x="2875" y="1750"/>
                </a:lnTo>
                <a:lnTo>
                  <a:pt x="2874" y="1752"/>
                </a:lnTo>
                <a:lnTo>
                  <a:pt x="2873" y="1754"/>
                </a:lnTo>
                <a:lnTo>
                  <a:pt x="2870" y="1756"/>
                </a:lnTo>
                <a:lnTo>
                  <a:pt x="2868" y="1757"/>
                </a:lnTo>
                <a:lnTo>
                  <a:pt x="2866" y="1758"/>
                </a:lnTo>
                <a:lnTo>
                  <a:pt x="2863" y="1758"/>
                </a:lnTo>
                <a:lnTo>
                  <a:pt x="2860" y="1757"/>
                </a:lnTo>
                <a:lnTo>
                  <a:pt x="2858" y="1756"/>
                </a:lnTo>
                <a:lnTo>
                  <a:pt x="2856" y="1755"/>
                </a:lnTo>
                <a:lnTo>
                  <a:pt x="2854" y="1754"/>
                </a:lnTo>
                <a:lnTo>
                  <a:pt x="2853" y="1752"/>
                </a:lnTo>
                <a:lnTo>
                  <a:pt x="2852" y="1749"/>
                </a:lnTo>
                <a:lnTo>
                  <a:pt x="2851" y="1747"/>
                </a:lnTo>
                <a:lnTo>
                  <a:pt x="2851" y="1744"/>
                </a:lnTo>
                <a:lnTo>
                  <a:pt x="2852" y="1742"/>
                </a:lnTo>
                <a:lnTo>
                  <a:pt x="2852" y="1740"/>
                </a:lnTo>
                <a:lnTo>
                  <a:pt x="2853" y="1739"/>
                </a:lnTo>
                <a:lnTo>
                  <a:pt x="2854" y="1737"/>
                </a:lnTo>
                <a:lnTo>
                  <a:pt x="2858" y="1734"/>
                </a:lnTo>
                <a:lnTo>
                  <a:pt x="2859" y="1734"/>
                </a:lnTo>
                <a:lnTo>
                  <a:pt x="2861" y="1733"/>
                </a:lnTo>
                <a:close/>
                <a:moveTo>
                  <a:pt x="2090" y="1867"/>
                </a:moveTo>
                <a:lnTo>
                  <a:pt x="2094" y="1867"/>
                </a:lnTo>
                <a:lnTo>
                  <a:pt x="2096" y="1868"/>
                </a:lnTo>
                <a:lnTo>
                  <a:pt x="2098" y="1868"/>
                </a:lnTo>
                <a:lnTo>
                  <a:pt x="2099" y="1869"/>
                </a:lnTo>
                <a:lnTo>
                  <a:pt x="2101" y="1871"/>
                </a:lnTo>
                <a:lnTo>
                  <a:pt x="2103" y="1874"/>
                </a:lnTo>
                <a:lnTo>
                  <a:pt x="2104" y="1876"/>
                </a:lnTo>
                <a:lnTo>
                  <a:pt x="2105" y="1879"/>
                </a:lnTo>
                <a:lnTo>
                  <a:pt x="2104" y="1884"/>
                </a:lnTo>
                <a:lnTo>
                  <a:pt x="2103" y="1886"/>
                </a:lnTo>
                <a:lnTo>
                  <a:pt x="2102" y="1888"/>
                </a:lnTo>
                <a:lnTo>
                  <a:pt x="2100" y="1889"/>
                </a:lnTo>
                <a:lnTo>
                  <a:pt x="2098" y="1891"/>
                </a:lnTo>
                <a:lnTo>
                  <a:pt x="2096" y="1891"/>
                </a:lnTo>
                <a:lnTo>
                  <a:pt x="2094" y="1892"/>
                </a:lnTo>
                <a:lnTo>
                  <a:pt x="2090" y="1892"/>
                </a:lnTo>
                <a:lnTo>
                  <a:pt x="2088" y="1891"/>
                </a:lnTo>
                <a:lnTo>
                  <a:pt x="2087" y="1891"/>
                </a:lnTo>
                <a:lnTo>
                  <a:pt x="2085" y="1890"/>
                </a:lnTo>
                <a:lnTo>
                  <a:pt x="2083" y="1888"/>
                </a:lnTo>
                <a:lnTo>
                  <a:pt x="2081" y="1885"/>
                </a:lnTo>
                <a:lnTo>
                  <a:pt x="2080" y="1883"/>
                </a:lnTo>
                <a:lnTo>
                  <a:pt x="2080" y="1880"/>
                </a:lnTo>
                <a:lnTo>
                  <a:pt x="2080" y="1878"/>
                </a:lnTo>
                <a:lnTo>
                  <a:pt x="2080" y="1876"/>
                </a:lnTo>
                <a:lnTo>
                  <a:pt x="2081" y="1873"/>
                </a:lnTo>
                <a:lnTo>
                  <a:pt x="2083" y="1871"/>
                </a:lnTo>
                <a:lnTo>
                  <a:pt x="2085" y="1870"/>
                </a:lnTo>
                <a:lnTo>
                  <a:pt x="2087" y="1868"/>
                </a:lnTo>
                <a:lnTo>
                  <a:pt x="2088" y="1868"/>
                </a:lnTo>
                <a:lnTo>
                  <a:pt x="2090" y="1867"/>
                </a:lnTo>
                <a:close/>
                <a:moveTo>
                  <a:pt x="2795" y="1728"/>
                </a:moveTo>
                <a:lnTo>
                  <a:pt x="2799" y="1728"/>
                </a:lnTo>
                <a:lnTo>
                  <a:pt x="2801" y="1728"/>
                </a:lnTo>
                <a:lnTo>
                  <a:pt x="2803" y="1729"/>
                </a:lnTo>
                <a:lnTo>
                  <a:pt x="2805" y="1731"/>
                </a:lnTo>
                <a:lnTo>
                  <a:pt x="2807" y="1732"/>
                </a:lnTo>
                <a:lnTo>
                  <a:pt x="2809" y="1736"/>
                </a:lnTo>
                <a:lnTo>
                  <a:pt x="2810" y="1739"/>
                </a:lnTo>
                <a:lnTo>
                  <a:pt x="2810" y="1741"/>
                </a:lnTo>
                <a:lnTo>
                  <a:pt x="2810" y="1743"/>
                </a:lnTo>
                <a:lnTo>
                  <a:pt x="2809" y="1745"/>
                </a:lnTo>
                <a:lnTo>
                  <a:pt x="2808" y="1747"/>
                </a:lnTo>
                <a:lnTo>
                  <a:pt x="2807" y="1749"/>
                </a:lnTo>
                <a:lnTo>
                  <a:pt x="2804" y="1751"/>
                </a:lnTo>
                <a:lnTo>
                  <a:pt x="2802" y="1752"/>
                </a:lnTo>
                <a:lnTo>
                  <a:pt x="2800" y="1753"/>
                </a:lnTo>
                <a:lnTo>
                  <a:pt x="2797" y="1753"/>
                </a:lnTo>
                <a:lnTo>
                  <a:pt x="2794" y="1753"/>
                </a:lnTo>
                <a:lnTo>
                  <a:pt x="2792" y="1752"/>
                </a:lnTo>
                <a:lnTo>
                  <a:pt x="2790" y="1750"/>
                </a:lnTo>
                <a:lnTo>
                  <a:pt x="2788" y="1749"/>
                </a:lnTo>
                <a:lnTo>
                  <a:pt x="2786" y="1745"/>
                </a:lnTo>
                <a:lnTo>
                  <a:pt x="2785" y="1742"/>
                </a:lnTo>
                <a:lnTo>
                  <a:pt x="2785" y="1740"/>
                </a:lnTo>
                <a:lnTo>
                  <a:pt x="2786" y="1737"/>
                </a:lnTo>
                <a:lnTo>
                  <a:pt x="2786" y="1736"/>
                </a:lnTo>
                <a:lnTo>
                  <a:pt x="2787" y="1734"/>
                </a:lnTo>
                <a:lnTo>
                  <a:pt x="2788" y="1732"/>
                </a:lnTo>
                <a:lnTo>
                  <a:pt x="2792" y="1730"/>
                </a:lnTo>
                <a:lnTo>
                  <a:pt x="2793" y="1729"/>
                </a:lnTo>
                <a:lnTo>
                  <a:pt x="2795" y="1728"/>
                </a:lnTo>
                <a:close/>
                <a:moveTo>
                  <a:pt x="2150" y="1839"/>
                </a:moveTo>
                <a:lnTo>
                  <a:pt x="2154" y="1839"/>
                </a:lnTo>
                <a:lnTo>
                  <a:pt x="2158" y="1840"/>
                </a:lnTo>
                <a:lnTo>
                  <a:pt x="2161" y="1843"/>
                </a:lnTo>
                <a:lnTo>
                  <a:pt x="2162" y="1844"/>
                </a:lnTo>
                <a:lnTo>
                  <a:pt x="2163" y="1846"/>
                </a:lnTo>
                <a:lnTo>
                  <a:pt x="2164" y="1849"/>
                </a:lnTo>
                <a:lnTo>
                  <a:pt x="2165" y="1851"/>
                </a:lnTo>
                <a:lnTo>
                  <a:pt x="2164" y="1856"/>
                </a:lnTo>
                <a:lnTo>
                  <a:pt x="2163" y="1858"/>
                </a:lnTo>
                <a:lnTo>
                  <a:pt x="2161" y="1860"/>
                </a:lnTo>
                <a:lnTo>
                  <a:pt x="2159" y="1862"/>
                </a:lnTo>
                <a:lnTo>
                  <a:pt x="2157" y="1863"/>
                </a:lnTo>
                <a:lnTo>
                  <a:pt x="2154" y="1864"/>
                </a:lnTo>
                <a:lnTo>
                  <a:pt x="2150" y="1864"/>
                </a:lnTo>
                <a:lnTo>
                  <a:pt x="2146" y="1862"/>
                </a:lnTo>
                <a:lnTo>
                  <a:pt x="2143" y="1860"/>
                </a:lnTo>
                <a:lnTo>
                  <a:pt x="2142" y="1858"/>
                </a:lnTo>
                <a:lnTo>
                  <a:pt x="2141" y="1856"/>
                </a:lnTo>
                <a:lnTo>
                  <a:pt x="2140" y="1854"/>
                </a:lnTo>
                <a:lnTo>
                  <a:pt x="2140" y="1852"/>
                </a:lnTo>
                <a:lnTo>
                  <a:pt x="2140" y="1847"/>
                </a:lnTo>
                <a:lnTo>
                  <a:pt x="2141" y="1845"/>
                </a:lnTo>
                <a:lnTo>
                  <a:pt x="2143" y="1843"/>
                </a:lnTo>
                <a:lnTo>
                  <a:pt x="2145" y="1841"/>
                </a:lnTo>
                <a:lnTo>
                  <a:pt x="2147" y="1840"/>
                </a:lnTo>
                <a:lnTo>
                  <a:pt x="2150" y="1839"/>
                </a:lnTo>
                <a:close/>
                <a:moveTo>
                  <a:pt x="2729" y="1724"/>
                </a:moveTo>
                <a:lnTo>
                  <a:pt x="2732" y="1724"/>
                </a:lnTo>
                <a:lnTo>
                  <a:pt x="2735" y="1724"/>
                </a:lnTo>
                <a:lnTo>
                  <a:pt x="2737" y="1725"/>
                </a:lnTo>
                <a:lnTo>
                  <a:pt x="2741" y="1728"/>
                </a:lnTo>
                <a:lnTo>
                  <a:pt x="2742" y="1730"/>
                </a:lnTo>
                <a:lnTo>
                  <a:pt x="2743" y="1732"/>
                </a:lnTo>
                <a:lnTo>
                  <a:pt x="2744" y="1734"/>
                </a:lnTo>
                <a:lnTo>
                  <a:pt x="2744" y="1737"/>
                </a:lnTo>
                <a:lnTo>
                  <a:pt x="2744" y="1739"/>
                </a:lnTo>
                <a:lnTo>
                  <a:pt x="2743" y="1741"/>
                </a:lnTo>
                <a:lnTo>
                  <a:pt x="2742" y="1743"/>
                </a:lnTo>
                <a:lnTo>
                  <a:pt x="2741" y="1744"/>
                </a:lnTo>
                <a:lnTo>
                  <a:pt x="2739" y="1746"/>
                </a:lnTo>
                <a:lnTo>
                  <a:pt x="2738" y="1747"/>
                </a:lnTo>
                <a:lnTo>
                  <a:pt x="2736" y="1748"/>
                </a:lnTo>
                <a:lnTo>
                  <a:pt x="2734" y="1748"/>
                </a:lnTo>
                <a:lnTo>
                  <a:pt x="2731" y="1749"/>
                </a:lnTo>
                <a:lnTo>
                  <a:pt x="2729" y="1748"/>
                </a:lnTo>
                <a:lnTo>
                  <a:pt x="2726" y="1747"/>
                </a:lnTo>
                <a:lnTo>
                  <a:pt x="2722" y="1745"/>
                </a:lnTo>
                <a:lnTo>
                  <a:pt x="2721" y="1743"/>
                </a:lnTo>
                <a:lnTo>
                  <a:pt x="2720" y="1740"/>
                </a:lnTo>
                <a:lnTo>
                  <a:pt x="2719" y="1738"/>
                </a:lnTo>
                <a:lnTo>
                  <a:pt x="2719" y="1736"/>
                </a:lnTo>
                <a:lnTo>
                  <a:pt x="2719" y="1733"/>
                </a:lnTo>
                <a:lnTo>
                  <a:pt x="2720" y="1731"/>
                </a:lnTo>
                <a:lnTo>
                  <a:pt x="2721" y="1730"/>
                </a:lnTo>
                <a:lnTo>
                  <a:pt x="2722" y="1728"/>
                </a:lnTo>
                <a:lnTo>
                  <a:pt x="2724" y="1726"/>
                </a:lnTo>
                <a:lnTo>
                  <a:pt x="2725" y="1725"/>
                </a:lnTo>
                <a:lnTo>
                  <a:pt x="2727" y="1724"/>
                </a:lnTo>
                <a:lnTo>
                  <a:pt x="2729" y="1724"/>
                </a:lnTo>
                <a:close/>
                <a:moveTo>
                  <a:pt x="2212" y="1814"/>
                </a:moveTo>
                <a:lnTo>
                  <a:pt x="2216" y="1814"/>
                </a:lnTo>
                <a:lnTo>
                  <a:pt x="2218" y="1814"/>
                </a:lnTo>
                <a:lnTo>
                  <a:pt x="2220" y="1815"/>
                </a:lnTo>
                <a:lnTo>
                  <a:pt x="2222" y="1816"/>
                </a:lnTo>
                <a:lnTo>
                  <a:pt x="2223" y="1818"/>
                </a:lnTo>
                <a:lnTo>
                  <a:pt x="2225" y="1819"/>
                </a:lnTo>
                <a:lnTo>
                  <a:pt x="2226" y="1821"/>
                </a:lnTo>
                <a:lnTo>
                  <a:pt x="2226" y="1824"/>
                </a:lnTo>
                <a:lnTo>
                  <a:pt x="2227" y="1826"/>
                </a:lnTo>
                <a:lnTo>
                  <a:pt x="2226" y="1829"/>
                </a:lnTo>
                <a:lnTo>
                  <a:pt x="2226" y="1831"/>
                </a:lnTo>
                <a:lnTo>
                  <a:pt x="2224" y="1833"/>
                </a:lnTo>
                <a:lnTo>
                  <a:pt x="2223" y="1835"/>
                </a:lnTo>
                <a:lnTo>
                  <a:pt x="2221" y="1836"/>
                </a:lnTo>
                <a:lnTo>
                  <a:pt x="2219" y="1838"/>
                </a:lnTo>
                <a:lnTo>
                  <a:pt x="2216" y="1838"/>
                </a:lnTo>
                <a:lnTo>
                  <a:pt x="2212" y="1838"/>
                </a:lnTo>
                <a:lnTo>
                  <a:pt x="2210" y="1838"/>
                </a:lnTo>
                <a:lnTo>
                  <a:pt x="2207" y="1837"/>
                </a:lnTo>
                <a:lnTo>
                  <a:pt x="2205" y="1836"/>
                </a:lnTo>
                <a:lnTo>
                  <a:pt x="2204" y="1834"/>
                </a:lnTo>
                <a:lnTo>
                  <a:pt x="2202" y="1832"/>
                </a:lnTo>
                <a:lnTo>
                  <a:pt x="2201" y="1830"/>
                </a:lnTo>
                <a:lnTo>
                  <a:pt x="2201" y="1828"/>
                </a:lnTo>
                <a:lnTo>
                  <a:pt x="2201" y="1826"/>
                </a:lnTo>
                <a:lnTo>
                  <a:pt x="2201" y="1823"/>
                </a:lnTo>
                <a:lnTo>
                  <a:pt x="2202" y="1821"/>
                </a:lnTo>
                <a:lnTo>
                  <a:pt x="2203" y="1819"/>
                </a:lnTo>
                <a:lnTo>
                  <a:pt x="2204" y="1817"/>
                </a:lnTo>
                <a:lnTo>
                  <a:pt x="2206" y="1815"/>
                </a:lnTo>
                <a:lnTo>
                  <a:pt x="2210" y="1814"/>
                </a:lnTo>
                <a:lnTo>
                  <a:pt x="2212" y="1814"/>
                </a:lnTo>
                <a:close/>
                <a:moveTo>
                  <a:pt x="2663" y="1723"/>
                </a:moveTo>
                <a:lnTo>
                  <a:pt x="2665" y="1722"/>
                </a:lnTo>
                <a:lnTo>
                  <a:pt x="2668" y="1723"/>
                </a:lnTo>
                <a:lnTo>
                  <a:pt x="2670" y="1723"/>
                </a:lnTo>
                <a:lnTo>
                  <a:pt x="2672" y="1724"/>
                </a:lnTo>
                <a:lnTo>
                  <a:pt x="2674" y="1726"/>
                </a:lnTo>
                <a:lnTo>
                  <a:pt x="2676" y="1728"/>
                </a:lnTo>
                <a:lnTo>
                  <a:pt x="2677" y="1730"/>
                </a:lnTo>
                <a:lnTo>
                  <a:pt x="2678" y="1732"/>
                </a:lnTo>
                <a:lnTo>
                  <a:pt x="2678" y="1735"/>
                </a:lnTo>
                <a:lnTo>
                  <a:pt x="2677" y="1739"/>
                </a:lnTo>
                <a:lnTo>
                  <a:pt x="2676" y="1741"/>
                </a:lnTo>
                <a:lnTo>
                  <a:pt x="2675" y="1743"/>
                </a:lnTo>
                <a:lnTo>
                  <a:pt x="2672" y="1746"/>
                </a:lnTo>
                <a:lnTo>
                  <a:pt x="2668" y="1747"/>
                </a:lnTo>
                <a:lnTo>
                  <a:pt x="2666" y="1747"/>
                </a:lnTo>
                <a:lnTo>
                  <a:pt x="2663" y="1747"/>
                </a:lnTo>
                <a:lnTo>
                  <a:pt x="2661" y="1746"/>
                </a:lnTo>
                <a:lnTo>
                  <a:pt x="2659" y="1745"/>
                </a:lnTo>
                <a:lnTo>
                  <a:pt x="2657" y="1744"/>
                </a:lnTo>
                <a:lnTo>
                  <a:pt x="2655" y="1742"/>
                </a:lnTo>
                <a:lnTo>
                  <a:pt x="2654" y="1740"/>
                </a:lnTo>
                <a:lnTo>
                  <a:pt x="2653" y="1737"/>
                </a:lnTo>
                <a:lnTo>
                  <a:pt x="2653" y="1735"/>
                </a:lnTo>
                <a:lnTo>
                  <a:pt x="2654" y="1731"/>
                </a:lnTo>
                <a:lnTo>
                  <a:pt x="2655" y="1729"/>
                </a:lnTo>
                <a:lnTo>
                  <a:pt x="2656" y="1727"/>
                </a:lnTo>
                <a:lnTo>
                  <a:pt x="2659" y="1724"/>
                </a:lnTo>
                <a:lnTo>
                  <a:pt x="2663" y="1723"/>
                </a:lnTo>
                <a:close/>
                <a:moveTo>
                  <a:pt x="2274" y="1791"/>
                </a:moveTo>
                <a:lnTo>
                  <a:pt x="2278" y="1791"/>
                </a:lnTo>
                <a:lnTo>
                  <a:pt x="2281" y="1791"/>
                </a:lnTo>
                <a:lnTo>
                  <a:pt x="2282" y="1792"/>
                </a:lnTo>
                <a:lnTo>
                  <a:pt x="2286" y="1795"/>
                </a:lnTo>
                <a:lnTo>
                  <a:pt x="2287" y="1797"/>
                </a:lnTo>
                <a:lnTo>
                  <a:pt x="2288" y="1799"/>
                </a:lnTo>
                <a:lnTo>
                  <a:pt x="2289" y="1804"/>
                </a:lnTo>
                <a:lnTo>
                  <a:pt x="2288" y="1806"/>
                </a:lnTo>
                <a:lnTo>
                  <a:pt x="2287" y="1809"/>
                </a:lnTo>
                <a:lnTo>
                  <a:pt x="2286" y="1811"/>
                </a:lnTo>
                <a:lnTo>
                  <a:pt x="2284" y="1812"/>
                </a:lnTo>
                <a:lnTo>
                  <a:pt x="2282" y="1814"/>
                </a:lnTo>
                <a:lnTo>
                  <a:pt x="2280" y="1815"/>
                </a:lnTo>
                <a:lnTo>
                  <a:pt x="2278" y="1815"/>
                </a:lnTo>
                <a:lnTo>
                  <a:pt x="2274" y="1815"/>
                </a:lnTo>
                <a:lnTo>
                  <a:pt x="2272" y="1815"/>
                </a:lnTo>
                <a:lnTo>
                  <a:pt x="2270" y="1814"/>
                </a:lnTo>
                <a:lnTo>
                  <a:pt x="2267" y="1811"/>
                </a:lnTo>
                <a:lnTo>
                  <a:pt x="2265" y="1809"/>
                </a:lnTo>
                <a:lnTo>
                  <a:pt x="2264" y="1807"/>
                </a:lnTo>
                <a:lnTo>
                  <a:pt x="2264" y="1802"/>
                </a:lnTo>
                <a:lnTo>
                  <a:pt x="2264" y="1800"/>
                </a:lnTo>
                <a:lnTo>
                  <a:pt x="2265" y="1798"/>
                </a:lnTo>
                <a:lnTo>
                  <a:pt x="2266" y="1796"/>
                </a:lnTo>
                <a:lnTo>
                  <a:pt x="2268" y="1794"/>
                </a:lnTo>
                <a:lnTo>
                  <a:pt x="2270" y="1792"/>
                </a:lnTo>
                <a:lnTo>
                  <a:pt x="2272" y="1791"/>
                </a:lnTo>
                <a:lnTo>
                  <a:pt x="2274" y="1791"/>
                </a:lnTo>
                <a:close/>
                <a:moveTo>
                  <a:pt x="2337" y="1771"/>
                </a:moveTo>
                <a:lnTo>
                  <a:pt x="2342" y="1771"/>
                </a:lnTo>
                <a:lnTo>
                  <a:pt x="2344" y="1772"/>
                </a:lnTo>
                <a:lnTo>
                  <a:pt x="2346" y="1773"/>
                </a:lnTo>
                <a:lnTo>
                  <a:pt x="2348" y="1774"/>
                </a:lnTo>
                <a:lnTo>
                  <a:pt x="2349" y="1776"/>
                </a:lnTo>
                <a:lnTo>
                  <a:pt x="2350" y="1778"/>
                </a:lnTo>
                <a:lnTo>
                  <a:pt x="2351" y="1780"/>
                </a:lnTo>
                <a:lnTo>
                  <a:pt x="2352" y="1782"/>
                </a:lnTo>
                <a:lnTo>
                  <a:pt x="2352" y="1785"/>
                </a:lnTo>
                <a:lnTo>
                  <a:pt x="2351" y="1787"/>
                </a:lnTo>
                <a:lnTo>
                  <a:pt x="2350" y="1789"/>
                </a:lnTo>
                <a:lnTo>
                  <a:pt x="2349" y="1791"/>
                </a:lnTo>
                <a:lnTo>
                  <a:pt x="2347" y="1793"/>
                </a:lnTo>
                <a:lnTo>
                  <a:pt x="2345" y="1794"/>
                </a:lnTo>
                <a:lnTo>
                  <a:pt x="2343" y="1795"/>
                </a:lnTo>
                <a:lnTo>
                  <a:pt x="2340" y="1796"/>
                </a:lnTo>
                <a:lnTo>
                  <a:pt x="2337" y="1796"/>
                </a:lnTo>
                <a:lnTo>
                  <a:pt x="2335" y="1795"/>
                </a:lnTo>
                <a:lnTo>
                  <a:pt x="2333" y="1794"/>
                </a:lnTo>
                <a:lnTo>
                  <a:pt x="2331" y="1793"/>
                </a:lnTo>
                <a:lnTo>
                  <a:pt x="2329" y="1791"/>
                </a:lnTo>
                <a:lnTo>
                  <a:pt x="2328" y="1789"/>
                </a:lnTo>
                <a:lnTo>
                  <a:pt x="2327" y="1787"/>
                </a:lnTo>
                <a:lnTo>
                  <a:pt x="2327" y="1784"/>
                </a:lnTo>
                <a:lnTo>
                  <a:pt x="2327" y="1782"/>
                </a:lnTo>
                <a:lnTo>
                  <a:pt x="2327" y="1780"/>
                </a:lnTo>
                <a:lnTo>
                  <a:pt x="2328" y="1777"/>
                </a:lnTo>
                <a:lnTo>
                  <a:pt x="2330" y="1775"/>
                </a:lnTo>
                <a:lnTo>
                  <a:pt x="2331" y="1774"/>
                </a:lnTo>
                <a:lnTo>
                  <a:pt x="2333" y="1772"/>
                </a:lnTo>
                <a:lnTo>
                  <a:pt x="2336" y="1771"/>
                </a:lnTo>
                <a:lnTo>
                  <a:pt x="2337" y="1771"/>
                </a:lnTo>
                <a:close/>
                <a:moveTo>
                  <a:pt x="2597" y="1725"/>
                </a:moveTo>
                <a:lnTo>
                  <a:pt x="2599" y="1725"/>
                </a:lnTo>
                <a:lnTo>
                  <a:pt x="2601" y="1725"/>
                </a:lnTo>
                <a:lnTo>
                  <a:pt x="2603" y="1726"/>
                </a:lnTo>
                <a:lnTo>
                  <a:pt x="2606" y="1727"/>
                </a:lnTo>
                <a:lnTo>
                  <a:pt x="2608" y="1728"/>
                </a:lnTo>
                <a:lnTo>
                  <a:pt x="2609" y="1730"/>
                </a:lnTo>
                <a:lnTo>
                  <a:pt x="2611" y="1732"/>
                </a:lnTo>
                <a:lnTo>
                  <a:pt x="2611" y="1734"/>
                </a:lnTo>
                <a:lnTo>
                  <a:pt x="2612" y="1737"/>
                </a:lnTo>
                <a:lnTo>
                  <a:pt x="2612" y="1739"/>
                </a:lnTo>
                <a:lnTo>
                  <a:pt x="2611" y="1741"/>
                </a:lnTo>
                <a:lnTo>
                  <a:pt x="2609" y="1745"/>
                </a:lnTo>
                <a:lnTo>
                  <a:pt x="2608" y="1747"/>
                </a:lnTo>
                <a:lnTo>
                  <a:pt x="2606" y="1748"/>
                </a:lnTo>
                <a:lnTo>
                  <a:pt x="2604" y="1749"/>
                </a:lnTo>
                <a:lnTo>
                  <a:pt x="2602" y="1750"/>
                </a:lnTo>
                <a:lnTo>
                  <a:pt x="2600" y="1750"/>
                </a:lnTo>
                <a:lnTo>
                  <a:pt x="2595" y="1749"/>
                </a:lnTo>
                <a:lnTo>
                  <a:pt x="2593" y="1748"/>
                </a:lnTo>
                <a:lnTo>
                  <a:pt x="2591" y="1747"/>
                </a:lnTo>
                <a:lnTo>
                  <a:pt x="2590" y="1745"/>
                </a:lnTo>
                <a:lnTo>
                  <a:pt x="2588" y="1743"/>
                </a:lnTo>
                <a:lnTo>
                  <a:pt x="2587" y="1741"/>
                </a:lnTo>
                <a:lnTo>
                  <a:pt x="2587" y="1738"/>
                </a:lnTo>
                <a:lnTo>
                  <a:pt x="2587" y="1736"/>
                </a:lnTo>
                <a:lnTo>
                  <a:pt x="2587" y="1734"/>
                </a:lnTo>
                <a:lnTo>
                  <a:pt x="2590" y="1730"/>
                </a:lnTo>
                <a:lnTo>
                  <a:pt x="2591" y="1728"/>
                </a:lnTo>
                <a:lnTo>
                  <a:pt x="2593" y="1727"/>
                </a:lnTo>
                <a:lnTo>
                  <a:pt x="2595" y="1726"/>
                </a:lnTo>
                <a:lnTo>
                  <a:pt x="2597" y="1725"/>
                </a:lnTo>
                <a:close/>
                <a:moveTo>
                  <a:pt x="2401" y="1754"/>
                </a:moveTo>
                <a:lnTo>
                  <a:pt x="2406" y="1755"/>
                </a:lnTo>
                <a:lnTo>
                  <a:pt x="2408" y="1755"/>
                </a:lnTo>
                <a:lnTo>
                  <a:pt x="2410" y="1756"/>
                </a:lnTo>
                <a:lnTo>
                  <a:pt x="2412" y="1758"/>
                </a:lnTo>
                <a:lnTo>
                  <a:pt x="2413" y="1760"/>
                </a:lnTo>
                <a:lnTo>
                  <a:pt x="2415" y="1762"/>
                </a:lnTo>
                <a:lnTo>
                  <a:pt x="2415" y="1764"/>
                </a:lnTo>
                <a:lnTo>
                  <a:pt x="2416" y="1766"/>
                </a:lnTo>
                <a:lnTo>
                  <a:pt x="2416" y="1769"/>
                </a:lnTo>
                <a:lnTo>
                  <a:pt x="2415" y="1771"/>
                </a:lnTo>
                <a:lnTo>
                  <a:pt x="2414" y="1773"/>
                </a:lnTo>
                <a:lnTo>
                  <a:pt x="2412" y="1775"/>
                </a:lnTo>
                <a:lnTo>
                  <a:pt x="2411" y="1777"/>
                </a:lnTo>
                <a:lnTo>
                  <a:pt x="2409" y="1778"/>
                </a:lnTo>
                <a:lnTo>
                  <a:pt x="2406" y="1779"/>
                </a:lnTo>
                <a:lnTo>
                  <a:pt x="2401" y="1779"/>
                </a:lnTo>
                <a:lnTo>
                  <a:pt x="2399" y="1778"/>
                </a:lnTo>
                <a:lnTo>
                  <a:pt x="2396" y="1777"/>
                </a:lnTo>
                <a:lnTo>
                  <a:pt x="2395" y="1776"/>
                </a:lnTo>
                <a:lnTo>
                  <a:pt x="2393" y="1774"/>
                </a:lnTo>
                <a:lnTo>
                  <a:pt x="2392" y="1772"/>
                </a:lnTo>
                <a:lnTo>
                  <a:pt x="2391" y="1770"/>
                </a:lnTo>
                <a:lnTo>
                  <a:pt x="2391" y="1767"/>
                </a:lnTo>
                <a:lnTo>
                  <a:pt x="2391" y="1765"/>
                </a:lnTo>
                <a:lnTo>
                  <a:pt x="2392" y="1762"/>
                </a:lnTo>
                <a:lnTo>
                  <a:pt x="2393" y="1760"/>
                </a:lnTo>
                <a:lnTo>
                  <a:pt x="2394" y="1758"/>
                </a:lnTo>
                <a:lnTo>
                  <a:pt x="2396" y="1757"/>
                </a:lnTo>
                <a:lnTo>
                  <a:pt x="2398" y="1755"/>
                </a:lnTo>
                <a:lnTo>
                  <a:pt x="2400" y="1755"/>
                </a:lnTo>
                <a:lnTo>
                  <a:pt x="2401" y="1754"/>
                </a:lnTo>
                <a:close/>
                <a:moveTo>
                  <a:pt x="2531" y="1731"/>
                </a:moveTo>
                <a:lnTo>
                  <a:pt x="2534" y="1731"/>
                </a:lnTo>
                <a:lnTo>
                  <a:pt x="2537" y="1732"/>
                </a:lnTo>
                <a:lnTo>
                  <a:pt x="2539" y="1732"/>
                </a:lnTo>
                <a:lnTo>
                  <a:pt x="2541" y="1734"/>
                </a:lnTo>
                <a:lnTo>
                  <a:pt x="2543" y="1735"/>
                </a:lnTo>
                <a:lnTo>
                  <a:pt x="2544" y="1737"/>
                </a:lnTo>
                <a:lnTo>
                  <a:pt x="2545" y="1740"/>
                </a:lnTo>
                <a:lnTo>
                  <a:pt x="2546" y="1742"/>
                </a:lnTo>
                <a:lnTo>
                  <a:pt x="2546" y="1745"/>
                </a:lnTo>
                <a:lnTo>
                  <a:pt x="2546" y="1747"/>
                </a:lnTo>
                <a:lnTo>
                  <a:pt x="2545" y="1749"/>
                </a:lnTo>
                <a:lnTo>
                  <a:pt x="2544" y="1751"/>
                </a:lnTo>
                <a:lnTo>
                  <a:pt x="2542" y="1753"/>
                </a:lnTo>
                <a:lnTo>
                  <a:pt x="2540" y="1754"/>
                </a:lnTo>
                <a:lnTo>
                  <a:pt x="2538" y="1755"/>
                </a:lnTo>
                <a:lnTo>
                  <a:pt x="2536" y="1756"/>
                </a:lnTo>
                <a:lnTo>
                  <a:pt x="2533" y="1756"/>
                </a:lnTo>
                <a:lnTo>
                  <a:pt x="2530" y="1756"/>
                </a:lnTo>
                <a:lnTo>
                  <a:pt x="2528" y="1755"/>
                </a:lnTo>
                <a:lnTo>
                  <a:pt x="2526" y="1753"/>
                </a:lnTo>
                <a:lnTo>
                  <a:pt x="2524" y="1752"/>
                </a:lnTo>
                <a:lnTo>
                  <a:pt x="2523" y="1750"/>
                </a:lnTo>
                <a:lnTo>
                  <a:pt x="2522" y="1748"/>
                </a:lnTo>
                <a:lnTo>
                  <a:pt x="2521" y="1745"/>
                </a:lnTo>
                <a:lnTo>
                  <a:pt x="2521" y="1743"/>
                </a:lnTo>
                <a:lnTo>
                  <a:pt x="2521" y="1740"/>
                </a:lnTo>
                <a:lnTo>
                  <a:pt x="2522" y="1738"/>
                </a:lnTo>
                <a:lnTo>
                  <a:pt x="2523" y="1736"/>
                </a:lnTo>
                <a:lnTo>
                  <a:pt x="2525" y="1734"/>
                </a:lnTo>
                <a:lnTo>
                  <a:pt x="2527" y="1733"/>
                </a:lnTo>
                <a:lnTo>
                  <a:pt x="2529" y="1732"/>
                </a:lnTo>
                <a:lnTo>
                  <a:pt x="2531" y="1731"/>
                </a:lnTo>
                <a:close/>
                <a:moveTo>
                  <a:pt x="2466" y="1741"/>
                </a:moveTo>
                <a:lnTo>
                  <a:pt x="2471" y="1741"/>
                </a:lnTo>
                <a:lnTo>
                  <a:pt x="2473" y="1742"/>
                </a:lnTo>
                <a:lnTo>
                  <a:pt x="2475" y="1743"/>
                </a:lnTo>
                <a:lnTo>
                  <a:pt x="2477" y="1745"/>
                </a:lnTo>
                <a:lnTo>
                  <a:pt x="2479" y="1747"/>
                </a:lnTo>
                <a:lnTo>
                  <a:pt x="2480" y="1749"/>
                </a:lnTo>
                <a:lnTo>
                  <a:pt x="2480" y="1751"/>
                </a:lnTo>
                <a:lnTo>
                  <a:pt x="2480" y="1756"/>
                </a:lnTo>
                <a:lnTo>
                  <a:pt x="2479" y="1758"/>
                </a:lnTo>
                <a:lnTo>
                  <a:pt x="2478" y="1761"/>
                </a:lnTo>
                <a:lnTo>
                  <a:pt x="2477" y="1762"/>
                </a:lnTo>
                <a:lnTo>
                  <a:pt x="2475" y="1764"/>
                </a:lnTo>
                <a:lnTo>
                  <a:pt x="2473" y="1765"/>
                </a:lnTo>
                <a:lnTo>
                  <a:pt x="2470" y="1766"/>
                </a:lnTo>
                <a:lnTo>
                  <a:pt x="2465" y="1766"/>
                </a:lnTo>
                <a:lnTo>
                  <a:pt x="2463" y="1765"/>
                </a:lnTo>
                <a:lnTo>
                  <a:pt x="2461" y="1764"/>
                </a:lnTo>
                <a:lnTo>
                  <a:pt x="2459" y="1762"/>
                </a:lnTo>
                <a:lnTo>
                  <a:pt x="2458" y="1760"/>
                </a:lnTo>
                <a:lnTo>
                  <a:pt x="2456" y="1758"/>
                </a:lnTo>
                <a:lnTo>
                  <a:pt x="2456" y="1756"/>
                </a:lnTo>
                <a:lnTo>
                  <a:pt x="2456" y="1751"/>
                </a:lnTo>
                <a:lnTo>
                  <a:pt x="2457" y="1748"/>
                </a:lnTo>
                <a:lnTo>
                  <a:pt x="2458" y="1746"/>
                </a:lnTo>
                <a:lnTo>
                  <a:pt x="2459" y="1744"/>
                </a:lnTo>
                <a:lnTo>
                  <a:pt x="2461" y="1743"/>
                </a:lnTo>
                <a:lnTo>
                  <a:pt x="2463" y="1742"/>
                </a:lnTo>
                <a:lnTo>
                  <a:pt x="2466" y="1741"/>
                </a:lnTo>
                <a:close/>
                <a:moveTo>
                  <a:pt x="1254" y="2223"/>
                </a:moveTo>
                <a:lnTo>
                  <a:pt x="1256" y="2223"/>
                </a:lnTo>
                <a:lnTo>
                  <a:pt x="1259" y="2224"/>
                </a:lnTo>
                <a:lnTo>
                  <a:pt x="1261" y="2224"/>
                </a:lnTo>
                <a:lnTo>
                  <a:pt x="1263" y="2226"/>
                </a:lnTo>
                <a:lnTo>
                  <a:pt x="1265" y="2228"/>
                </a:lnTo>
                <a:lnTo>
                  <a:pt x="1267" y="2230"/>
                </a:lnTo>
                <a:lnTo>
                  <a:pt x="1268" y="2234"/>
                </a:lnTo>
                <a:lnTo>
                  <a:pt x="1268" y="2237"/>
                </a:lnTo>
                <a:lnTo>
                  <a:pt x="1268" y="2239"/>
                </a:lnTo>
                <a:lnTo>
                  <a:pt x="1266" y="2243"/>
                </a:lnTo>
                <a:lnTo>
                  <a:pt x="1264" y="2245"/>
                </a:lnTo>
                <a:lnTo>
                  <a:pt x="1262" y="2247"/>
                </a:lnTo>
                <a:lnTo>
                  <a:pt x="1260" y="2248"/>
                </a:lnTo>
                <a:lnTo>
                  <a:pt x="1258" y="2248"/>
                </a:lnTo>
                <a:lnTo>
                  <a:pt x="1255" y="2248"/>
                </a:lnTo>
                <a:lnTo>
                  <a:pt x="1253" y="2248"/>
                </a:lnTo>
                <a:lnTo>
                  <a:pt x="1250" y="2247"/>
                </a:lnTo>
                <a:lnTo>
                  <a:pt x="1248" y="2246"/>
                </a:lnTo>
                <a:lnTo>
                  <a:pt x="1246" y="2244"/>
                </a:lnTo>
                <a:lnTo>
                  <a:pt x="1245" y="2242"/>
                </a:lnTo>
                <a:lnTo>
                  <a:pt x="1243" y="2237"/>
                </a:lnTo>
                <a:lnTo>
                  <a:pt x="1243" y="2235"/>
                </a:lnTo>
                <a:lnTo>
                  <a:pt x="1244" y="2233"/>
                </a:lnTo>
                <a:lnTo>
                  <a:pt x="1246" y="2228"/>
                </a:lnTo>
                <a:lnTo>
                  <a:pt x="1247" y="2226"/>
                </a:lnTo>
                <a:lnTo>
                  <a:pt x="1249" y="2225"/>
                </a:lnTo>
                <a:lnTo>
                  <a:pt x="1251" y="2224"/>
                </a:lnTo>
                <a:lnTo>
                  <a:pt x="1254" y="2223"/>
                </a:lnTo>
                <a:close/>
                <a:moveTo>
                  <a:pt x="1295" y="2172"/>
                </a:moveTo>
                <a:lnTo>
                  <a:pt x="1297" y="2171"/>
                </a:lnTo>
                <a:lnTo>
                  <a:pt x="1300" y="2172"/>
                </a:lnTo>
                <a:lnTo>
                  <a:pt x="1302" y="2173"/>
                </a:lnTo>
                <a:lnTo>
                  <a:pt x="1305" y="2174"/>
                </a:lnTo>
                <a:lnTo>
                  <a:pt x="1307" y="2176"/>
                </a:lnTo>
                <a:lnTo>
                  <a:pt x="1308" y="2178"/>
                </a:lnTo>
                <a:lnTo>
                  <a:pt x="1309" y="2183"/>
                </a:lnTo>
                <a:lnTo>
                  <a:pt x="1309" y="2185"/>
                </a:lnTo>
                <a:lnTo>
                  <a:pt x="1309" y="2187"/>
                </a:lnTo>
                <a:lnTo>
                  <a:pt x="1307" y="2192"/>
                </a:lnTo>
                <a:lnTo>
                  <a:pt x="1305" y="2194"/>
                </a:lnTo>
                <a:lnTo>
                  <a:pt x="1303" y="2195"/>
                </a:lnTo>
                <a:lnTo>
                  <a:pt x="1299" y="2196"/>
                </a:lnTo>
                <a:lnTo>
                  <a:pt x="1296" y="2197"/>
                </a:lnTo>
                <a:lnTo>
                  <a:pt x="1294" y="2196"/>
                </a:lnTo>
                <a:lnTo>
                  <a:pt x="1291" y="2195"/>
                </a:lnTo>
                <a:lnTo>
                  <a:pt x="1289" y="2194"/>
                </a:lnTo>
                <a:lnTo>
                  <a:pt x="1287" y="2192"/>
                </a:lnTo>
                <a:lnTo>
                  <a:pt x="1286" y="2190"/>
                </a:lnTo>
                <a:lnTo>
                  <a:pt x="1284" y="2185"/>
                </a:lnTo>
                <a:lnTo>
                  <a:pt x="1284" y="2183"/>
                </a:lnTo>
                <a:lnTo>
                  <a:pt x="1285" y="2180"/>
                </a:lnTo>
                <a:lnTo>
                  <a:pt x="1287" y="2176"/>
                </a:lnTo>
                <a:lnTo>
                  <a:pt x="1289" y="2174"/>
                </a:lnTo>
                <a:lnTo>
                  <a:pt x="1291" y="2173"/>
                </a:lnTo>
                <a:lnTo>
                  <a:pt x="1295" y="2172"/>
                </a:lnTo>
                <a:close/>
                <a:moveTo>
                  <a:pt x="1337" y="2121"/>
                </a:moveTo>
                <a:lnTo>
                  <a:pt x="1340" y="2121"/>
                </a:lnTo>
                <a:lnTo>
                  <a:pt x="1343" y="2121"/>
                </a:lnTo>
                <a:lnTo>
                  <a:pt x="1345" y="2122"/>
                </a:lnTo>
                <a:lnTo>
                  <a:pt x="1347" y="2124"/>
                </a:lnTo>
                <a:lnTo>
                  <a:pt x="1349" y="2125"/>
                </a:lnTo>
                <a:lnTo>
                  <a:pt x="1351" y="2128"/>
                </a:lnTo>
                <a:lnTo>
                  <a:pt x="1351" y="2130"/>
                </a:lnTo>
                <a:lnTo>
                  <a:pt x="1352" y="2132"/>
                </a:lnTo>
                <a:lnTo>
                  <a:pt x="1352" y="2135"/>
                </a:lnTo>
                <a:lnTo>
                  <a:pt x="1351" y="2137"/>
                </a:lnTo>
                <a:lnTo>
                  <a:pt x="1350" y="2139"/>
                </a:lnTo>
                <a:lnTo>
                  <a:pt x="1349" y="2141"/>
                </a:lnTo>
                <a:lnTo>
                  <a:pt x="1347" y="2143"/>
                </a:lnTo>
                <a:lnTo>
                  <a:pt x="1345" y="2144"/>
                </a:lnTo>
                <a:lnTo>
                  <a:pt x="1344" y="2145"/>
                </a:lnTo>
                <a:lnTo>
                  <a:pt x="1341" y="2146"/>
                </a:lnTo>
                <a:lnTo>
                  <a:pt x="1339" y="2146"/>
                </a:lnTo>
                <a:lnTo>
                  <a:pt x="1336" y="2145"/>
                </a:lnTo>
                <a:lnTo>
                  <a:pt x="1333" y="2144"/>
                </a:lnTo>
                <a:lnTo>
                  <a:pt x="1331" y="2143"/>
                </a:lnTo>
                <a:lnTo>
                  <a:pt x="1329" y="2141"/>
                </a:lnTo>
                <a:lnTo>
                  <a:pt x="1328" y="2139"/>
                </a:lnTo>
                <a:lnTo>
                  <a:pt x="1327" y="2137"/>
                </a:lnTo>
                <a:lnTo>
                  <a:pt x="1327" y="2134"/>
                </a:lnTo>
                <a:lnTo>
                  <a:pt x="1327" y="2132"/>
                </a:lnTo>
                <a:lnTo>
                  <a:pt x="1327" y="2129"/>
                </a:lnTo>
                <a:lnTo>
                  <a:pt x="1328" y="2127"/>
                </a:lnTo>
                <a:lnTo>
                  <a:pt x="1330" y="2125"/>
                </a:lnTo>
                <a:lnTo>
                  <a:pt x="1331" y="2123"/>
                </a:lnTo>
                <a:lnTo>
                  <a:pt x="1333" y="2122"/>
                </a:lnTo>
                <a:lnTo>
                  <a:pt x="1335" y="2121"/>
                </a:lnTo>
                <a:lnTo>
                  <a:pt x="1337" y="2121"/>
                </a:lnTo>
                <a:close/>
                <a:moveTo>
                  <a:pt x="1381" y="2071"/>
                </a:moveTo>
                <a:lnTo>
                  <a:pt x="1384" y="2071"/>
                </a:lnTo>
                <a:lnTo>
                  <a:pt x="1386" y="2071"/>
                </a:lnTo>
                <a:lnTo>
                  <a:pt x="1389" y="2072"/>
                </a:lnTo>
                <a:lnTo>
                  <a:pt x="1391" y="2074"/>
                </a:lnTo>
                <a:lnTo>
                  <a:pt x="1393" y="2076"/>
                </a:lnTo>
                <a:lnTo>
                  <a:pt x="1394" y="2078"/>
                </a:lnTo>
                <a:lnTo>
                  <a:pt x="1395" y="2080"/>
                </a:lnTo>
                <a:lnTo>
                  <a:pt x="1396" y="2083"/>
                </a:lnTo>
                <a:lnTo>
                  <a:pt x="1395" y="2088"/>
                </a:lnTo>
                <a:lnTo>
                  <a:pt x="1394" y="2090"/>
                </a:lnTo>
                <a:lnTo>
                  <a:pt x="1392" y="2092"/>
                </a:lnTo>
                <a:lnTo>
                  <a:pt x="1391" y="2093"/>
                </a:lnTo>
                <a:lnTo>
                  <a:pt x="1389" y="2095"/>
                </a:lnTo>
                <a:lnTo>
                  <a:pt x="1387" y="2095"/>
                </a:lnTo>
                <a:lnTo>
                  <a:pt x="1385" y="2096"/>
                </a:lnTo>
                <a:lnTo>
                  <a:pt x="1382" y="2096"/>
                </a:lnTo>
                <a:lnTo>
                  <a:pt x="1380" y="2096"/>
                </a:lnTo>
                <a:lnTo>
                  <a:pt x="1377" y="2095"/>
                </a:lnTo>
                <a:lnTo>
                  <a:pt x="1375" y="2093"/>
                </a:lnTo>
                <a:lnTo>
                  <a:pt x="1373" y="2091"/>
                </a:lnTo>
                <a:lnTo>
                  <a:pt x="1372" y="2089"/>
                </a:lnTo>
                <a:lnTo>
                  <a:pt x="1371" y="2087"/>
                </a:lnTo>
                <a:lnTo>
                  <a:pt x="1370" y="2084"/>
                </a:lnTo>
                <a:lnTo>
                  <a:pt x="1371" y="2079"/>
                </a:lnTo>
                <a:lnTo>
                  <a:pt x="1372" y="2077"/>
                </a:lnTo>
                <a:lnTo>
                  <a:pt x="1374" y="2075"/>
                </a:lnTo>
                <a:lnTo>
                  <a:pt x="1375" y="2074"/>
                </a:lnTo>
                <a:lnTo>
                  <a:pt x="1377" y="2072"/>
                </a:lnTo>
                <a:lnTo>
                  <a:pt x="1379" y="2072"/>
                </a:lnTo>
                <a:lnTo>
                  <a:pt x="1381" y="2071"/>
                </a:lnTo>
                <a:close/>
                <a:moveTo>
                  <a:pt x="1426" y="2023"/>
                </a:moveTo>
                <a:lnTo>
                  <a:pt x="1429" y="2022"/>
                </a:lnTo>
                <a:lnTo>
                  <a:pt x="1432" y="2023"/>
                </a:lnTo>
                <a:lnTo>
                  <a:pt x="1434" y="2024"/>
                </a:lnTo>
                <a:lnTo>
                  <a:pt x="1437" y="2026"/>
                </a:lnTo>
                <a:lnTo>
                  <a:pt x="1438" y="2028"/>
                </a:lnTo>
                <a:lnTo>
                  <a:pt x="1440" y="2030"/>
                </a:lnTo>
                <a:lnTo>
                  <a:pt x="1440" y="2032"/>
                </a:lnTo>
                <a:lnTo>
                  <a:pt x="1441" y="2035"/>
                </a:lnTo>
                <a:lnTo>
                  <a:pt x="1440" y="2039"/>
                </a:lnTo>
                <a:lnTo>
                  <a:pt x="1439" y="2042"/>
                </a:lnTo>
                <a:lnTo>
                  <a:pt x="1437" y="2044"/>
                </a:lnTo>
                <a:lnTo>
                  <a:pt x="1434" y="2046"/>
                </a:lnTo>
                <a:lnTo>
                  <a:pt x="1430" y="2047"/>
                </a:lnTo>
                <a:lnTo>
                  <a:pt x="1427" y="2048"/>
                </a:lnTo>
                <a:lnTo>
                  <a:pt x="1424" y="2047"/>
                </a:lnTo>
                <a:lnTo>
                  <a:pt x="1422" y="2046"/>
                </a:lnTo>
                <a:lnTo>
                  <a:pt x="1419" y="2044"/>
                </a:lnTo>
                <a:lnTo>
                  <a:pt x="1418" y="2042"/>
                </a:lnTo>
                <a:lnTo>
                  <a:pt x="1416" y="2040"/>
                </a:lnTo>
                <a:lnTo>
                  <a:pt x="1416" y="2038"/>
                </a:lnTo>
                <a:lnTo>
                  <a:pt x="1415" y="2035"/>
                </a:lnTo>
                <a:lnTo>
                  <a:pt x="1416" y="2031"/>
                </a:lnTo>
                <a:lnTo>
                  <a:pt x="1417" y="2028"/>
                </a:lnTo>
                <a:lnTo>
                  <a:pt x="1419" y="2026"/>
                </a:lnTo>
                <a:lnTo>
                  <a:pt x="1422" y="2024"/>
                </a:lnTo>
                <a:lnTo>
                  <a:pt x="1426" y="2023"/>
                </a:lnTo>
                <a:close/>
                <a:moveTo>
                  <a:pt x="1472" y="1975"/>
                </a:moveTo>
                <a:lnTo>
                  <a:pt x="1475" y="1975"/>
                </a:lnTo>
                <a:lnTo>
                  <a:pt x="1478" y="1976"/>
                </a:lnTo>
                <a:lnTo>
                  <a:pt x="1481" y="1977"/>
                </a:lnTo>
                <a:lnTo>
                  <a:pt x="1483" y="1979"/>
                </a:lnTo>
                <a:lnTo>
                  <a:pt x="1485" y="1981"/>
                </a:lnTo>
                <a:lnTo>
                  <a:pt x="1486" y="1983"/>
                </a:lnTo>
                <a:lnTo>
                  <a:pt x="1487" y="1985"/>
                </a:lnTo>
                <a:lnTo>
                  <a:pt x="1487" y="1988"/>
                </a:lnTo>
                <a:lnTo>
                  <a:pt x="1487" y="1990"/>
                </a:lnTo>
                <a:lnTo>
                  <a:pt x="1486" y="1993"/>
                </a:lnTo>
                <a:lnTo>
                  <a:pt x="1485" y="1995"/>
                </a:lnTo>
                <a:lnTo>
                  <a:pt x="1483" y="1997"/>
                </a:lnTo>
                <a:lnTo>
                  <a:pt x="1482" y="1998"/>
                </a:lnTo>
                <a:lnTo>
                  <a:pt x="1480" y="1999"/>
                </a:lnTo>
                <a:lnTo>
                  <a:pt x="1476" y="2000"/>
                </a:lnTo>
                <a:lnTo>
                  <a:pt x="1473" y="2000"/>
                </a:lnTo>
                <a:lnTo>
                  <a:pt x="1471" y="2000"/>
                </a:lnTo>
                <a:lnTo>
                  <a:pt x="1468" y="1999"/>
                </a:lnTo>
                <a:lnTo>
                  <a:pt x="1465" y="1997"/>
                </a:lnTo>
                <a:lnTo>
                  <a:pt x="1464" y="1995"/>
                </a:lnTo>
                <a:lnTo>
                  <a:pt x="1463" y="1992"/>
                </a:lnTo>
                <a:lnTo>
                  <a:pt x="1462" y="1990"/>
                </a:lnTo>
                <a:lnTo>
                  <a:pt x="1462" y="1988"/>
                </a:lnTo>
                <a:lnTo>
                  <a:pt x="1462" y="1985"/>
                </a:lnTo>
                <a:lnTo>
                  <a:pt x="1463" y="1983"/>
                </a:lnTo>
                <a:lnTo>
                  <a:pt x="1464" y="1981"/>
                </a:lnTo>
                <a:lnTo>
                  <a:pt x="1465" y="1979"/>
                </a:lnTo>
                <a:lnTo>
                  <a:pt x="1467" y="1978"/>
                </a:lnTo>
                <a:lnTo>
                  <a:pt x="1469" y="1977"/>
                </a:lnTo>
                <a:lnTo>
                  <a:pt x="1472" y="1975"/>
                </a:lnTo>
                <a:close/>
                <a:moveTo>
                  <a:pt x="1520" y="1929"/>
                </a:moveTo>
                <a:lnTo>
                  <a:pt x="1523" y="1929"/>
                </a:lnTo>
                <a:lnTo>
                  <a:pt x="1526" y="1930"/>
                </a:lnTo>
                <a:lnTo>
                  <a:pt x="1529" y="1931"/>
                </a:lnTo>
                <a:lnTo>
                  <a:pt x="1531" y="1933"/>
                </a:lnTo>
                <a:lnTo>
                  <a:pt x="1533" y="1935"/>
                </a:lnTo>
                <a:lnTo>
                  <a:pt x="1534" y="1937"/>
                </a:lnTo>
                <a:lnTo>
                  <a:pt x="1534" y="1942"/>
                </a:lnTo>
                <a:lnTo>
                  <a:pt x="1534" y="1945"/>
                </a:lnTo>
                <a:lnTo>
                  <a:pt x="1533" y="1947"/>
                </a:lnTo>
                <a:lnTo>
                  <a:pt x="1532" y="1949"/>
                </a:lnTo>
                <a:lnTo>
                  <a:pt x="1531" y="1951"/>
                </a:lnTo>
                <a:lnTo>
                  <a:pt x="1527" y="1953"/>
                </a:lnTo>
                <a:lnTo>
                  <a:pt x="1526" y="1954"/>
                </a:lnTo>
                <a:lnTo>
                  <a:pt x="1524" y="1954"/>
                </a:lnTo>
                <a:lnTo>
                  <a:pt x="1521" y="1954"/>
                </a:lnTo>
                <a:lnTo>
                  <a:pt x="1518" y="1954"/>
                </a:lnTo>
                <a:lnTo>
                  <a:pt x="1515" y="1952"/>
                </a:lnTo>
                <a:lnTo>
                  <a:pt x="1513" y="1950"/>
                </a:lnTo>
                <a:lnTo>
                  <a:pt x="1511" y="1948"/>
                </a:lnTo>
                <a:lnTo>
                  <a:pt x="1510" y="1946"/>
                </a:lnTo>
                <a:lnTo>
                  <a:pt x="1509" y="1941"/>
                </a:lnTo>
                <a:lnTo>
                  <a:pt x="1510" y="1939"/>
                </a:lnTo>
                <a:lnTo>
                  <a:pt x="1510" y="1937"/>
                </a:lnTo>
                <a:lnTo>
                  <a:pt x="1512" y="1935"/>
                </a:lnTo>
                <a:lnTo>
                  <a:pt x="1513" y="1933"/>
                </a:lnTo>
                <a:lnTo>
                  <a:pt x="1516" y="1931"/>
                </a:lnTo>
                <a:lnTo>
                  <a:pt x="1518" y="1930"/>
                </a:lnTo>
                <a:lnTo>
                  <a:pt x="1520" y="1929"/>
                </a:lnTo>
                <a:close/>
                <a:moveTo>
                  <a:pt x="1569" y="1885"/>
                </a:moveTo>
                <a:lnTo>
                  <a:pt x="1572" y="1885"/>
                </a:lnTo>
                <a:lnTo>
                  <a:pt x="1575" y="1885"/>
                </a:lnTo>
                <a:lnTo>
                  <a:pt x="1578" y="1887"/>
                </a:lnTo>
                <a:lnTo>
                  <a:pt x="1579" y="1888"/>
                </a:lnTo>
                <a:lnTo>
                  <a:pt x="1580" y="1889"/>
                </a:lnTo>
                <a:lnTo>
                  <a:pt x="1582" y="1891"/>
                </a:lnTo>
                <a:lnTo>
                  <a:pt x="1583" y="1893"/>
                </a:lnTo>
                <a:lnTo>
                  <a:pt x="1583" y="1896"/>
                </a:lnTo>
                <a:lnTo>
                  <a:pt x="1583" y="1898"/>
                </a:lnTo>
                <a:lnTo>
                  <a:pt x="1583" y="1901"/>
                </a:lnTo>
                <a:lnTo>
                  <a:pt x="1582" y="1903"/>
                </a:lnTo>
                <a:lnTo>
                  <a:pt x="1581" y="1905"/>
                </a:lnTo>
                <a:lnTo>
                  <a:pt x="1579" y="1907"/>
                </a:lnTo>
                <a:lnTo>
                  <a:pt x="1576" y="1909"/>
                </a:lnTo>
                <a:lnTo>
                  <a:pt x="1573" y="1910"/>
                </a:lnTo>
                <a:lnTo>
                  <a:pt x="1570" y="1910"/>
                </a:lnTo>
                <a:lnTo>
                  <a:pt x="1567" y="1909"/>
                </a:lnTo>
                <a:lnTo>
                  <a:pt x="1564" y="1908"/>
                </a:lnTo>
                <a:lnTo>
                  <a:pt x="1563" y="1907"/>
                </a:lnTo>
                <a:lnTo>
                  <a:pt x="1561" y="1906"/>
                </a:lnTo>
                <a:lnTo>
                  <a:pt x="1560" y="1904"/>
                </a:lnTo>
                <a:lnTo>
                  <a:pt x="1559" y="1901"/>
                </a:lnTo>
                <a:lnTo>
                  <a:pt x="1558" y="1899"/>
                </a:lnTo>
                <a:lnTo>
                  <a:pt x="1558" y="1897"/>
                </a:lnTo>
                <a:lnTo>
                  <a:pt x="1559" y="1894"/>
                </a:lnTo>
                <a:lnTo>
                  <a:pt x="1560" y="1892"/>
                </a:lnTo>
                <a:lnTo>
                  <a:pt x="1561" y="1890"/>
                </a:lnTo>
                <a:lnTo>
                  <a:pt x="1563" y="1888"/>
                </a:lnTo>
                <a:lnTo>
                  <a:pt x="1565" y="1886"/>
                </a:lnTo>
                <a:lnTo>
                  <a:pt x="1569" y="1885"/>
                </a:lnTo>
                <a:close/>
                <a:moveTo>
                  <a:pt x="1619" y="1842"/>
                </a:moveTo>
                <a:lnTo>
                  <a:pt x="1622" y="1842"/>
                </a:lnTo>
                <a:lnTo>
                  <a:pt x="1625" y="1843"/>
                </a:lnTo>
                <a:lnTo>
                  <a:pt x="1628" y="1844"/>
                </a:lnTo>
                <a:lnTo>
                  <a:pt x="1631" y="1846"/>
                </a:lnTo>
                <a:lnTo>
                  <a:pt x="1632" y="1848"/>
                </a:lnTo>
                <a:lnTo>
                  <a:pt x="1633" y="1851"/>
                </a:lnTo>
                <a:lnTo>
                  <a:pt x="1634" y="1853"/>
                </a:lnTo>
                <a:lnTo>
                  <a:pt x="1634" y="1856"/>
                </a:lnTo>
                <a:lnTo>
                  <a:pt x="1633" y="1858"/>
                </a:lnTo>
                <a:lnTo>
                  <a:pt x="1632" y="1860"/>
                </a:lnTo>
                <a:lnTo>
                  <a:pt x="1631" y="1862"/>
                </a:lnTo>
                <a:lnTo>
                  <a:pt x="1629" y="1864"/>
                </a:lnTo>
                <a:lnTo>
                  <a:pt x="1626" y="1866"/>
                </a:lnTo>
                <a:lnTo>
                  <a:pt x="1623" y="1867"/>
                </a:lnTo>
                <a:lnTo>
                  <a:pt x="1620" y="1867"/>
                </a:lnTo>
                <a:lnTo>
                  <a:pt x="1617" y="1866"/>
                </a:lnTo>
                <a:lnTo>
                  <a:pt x="1614" y="1865"/>
                </a:lnTo>
                <a:lnTo>
                  <a:pt x="1611" y="1862"/>
                </a:lnTo>
                <a:lnTo>
                  <a:pt x="1610" y="1860"/>
                </a:lnTo>
                <a:lnTo>
                  <a:pt x="1609" y="1858"/>
                </a:lnTo>
                <a:lnTo>
                  <a:pt x="1609" y="1856"/>
                </a:lnTo>
                <a:lnTo>
                  <a:pt x="1609" y="1853"/>
                </a:lnTo>
                <a:lnTo>
                  <a:pt x="1609" y="1851"/>
                </a:lnTo>
                <a:lnTo>
                  <a:pt x="1610" y="1849"/>
                </a:lnTo>
                <a:lnTo>
                  <a:pt x="1611" y="1846"/>
                </a:lnTo>
                <a:lnTo>
                  <a:pt x="1613" y="1845"/>
                </a:lnTo>
                <a:lnTo>
                  <a:pt x="1616" y="1843"/>
                </a:lnTo>
                <a:lnTo>
                  <a:pt x="1619" y="1842"/>
                </a:lnTo>
                <a:close/>
                <a:moveTo>
                  <a:pt x="1671" y="1801"/>
                </a:moveTo>
                <a:lnTo>
                  <a:pt x="1674" y="1801"/>
                </a:lnTo>
                <a:lnTo>
                  <a:pt x="1677" y="1801"/>
                </a:lnTo>
                <a:lnTo>
                  <a:pt x="1680" y="1803"/>
                </a:lnTo>
                <a:lnTo>
                  <a:pt x="1683" y="1805"/>
                </a:lnTo>
                <a:lnTo>
                  <a:pt x="1685" y="1810"/>
                </a:lnTo>
                <a:lnTo>
                  <a:pt x="1685" y="1812"/>
                </a:lnTo>
                <a:lnTo>
                  <a:pt x="1685" y="1815"/>
                </a:lnTo>
                <a:lnTo>
                  <a:pt x="1685" y="1817"/>
                </a:lnTo>
                <a:lnTo>
                  <a:pt x="1684" y="1819"/>
                </a:lnTo>
                <a:lnTo>
                  <a:pt x="1682" y="1821"/>
                </a:lnTo>
                <a:lnTo>
                  <a:pt x="1681" y="1823"/>
                </a:lnTo>
                <a:lnTo>
                  <a:pt x="1679" y="1824"/>
                </a:lnTo>
                <a:lnTo>
                  <a:pt x="1678" y="1825"/>
                </a:lnTo>
                <a:lnTo>
                  <a:pt x="1675" y="1825"/>
                </a:lnTo>
                <a:lnTo>
                  <a:pt x="1672" y="1826"/>
                </a:lnTo>
                <a:lnTo>
                  <a:pt x="1668" y="1825"/>
                </a:lnTo>
                <a:lnTo>
                  <a:pt x="1665" y="1823"/>
                </a:lnTo>
                <a:lnTo>
                  <a:pt x="1663" y="1821"/>
                </a:lnTo>
                <a:lnTo>
                  <a:pt x="1661" y="1816"/>
                </a:lnTo>
                <a:lnTo>
                  <a:pt x="1660" y="1814"/>
                </a:lnTo>
                <a:lnTo>
                  <a:pt x="1660" y="1811"/>
                </a:lnTo>
                <a:lnTo>
                  <a:pt x="1661" y="1809"/>
                </a:lnTo>
                <a:lnTo>
                  <a:pt x="1662" y="1807"/>
                </a:lnTo>
                <a:lnTo>
                  <a:pt x="1663" y="1805"/>
                </a:lnTo>
                <a:lnTo>
                  <a:pt x="1665" y="1803"/>
                </a:lnTo>
                <a:lnTo>
                  <a:pt x="1666" y="1802"/>
                </a:lnTo>
                <a:lnTo>
                  <a:pt x="1668" y="1802"/>
                </a:lnTo>
                <a:lnTo>
                  <a:pt x="1671" y="1801"/>
                </a:lnTo>
                <a:close/>
                <a:moveTo>
                  <a:pt x="1724" y="1761"/>
                </a:moveTo>
                <a:lnTo>
                  <a:pt x="1727" y="1761"/>
                </a:lnTo>
                <a:lnTo>
                  <a:pt x="1731" y="1762"/>
                </a:lnTo>
                <a:lnTo>
                  <a:pt x="1734" y="1764"/>
                </a:lnTo>
                <a:lnTo>
                  <a:pt x="1736" y="1766"/>
                </a:lnTo>
                <a:lnTo>
                  <a:pt x="1737" y="1768"/>
                </a:lnTo>
                <a:lnTo>
                  <a:pt x="1738" y="1771"/>
                </a:lnTo>
                <a:lnTo>
                  <a:pt x="1739" y="1773"/>
                </a:lnTo>
                <a:lnTo>
                  <a:pt x="1738" y="1776"/>
                </a:lnTo>
                <a:lnTo>
                  <a:pt x="1738" y="1778"/>
                </a:lnTo>
                <a:lnTo>
                  <a:pt x="1737" y="1780"/>
                </a:lnTo>
                <a:lnTo>
                  <a:pt x="1735" y="1782"/>
                </a:lnTo>
                <a:lnTo>
                  <a:pt x="1733" y="1784"/>
                </a:lnTo>
                <a:lnTo>
                  <a:pt x="1731" y="1785"/>
                </a:lnTo>
                <a:lnTo>
                  <a:pt x="1728" y="1786"/>
                </a:lnTo>
                <a:lnTo>
                  <a:pt x="1725" y="1786"/>
                </a:lnTo>
                <a:lnTo>
                  <a:pt x="1721" y="1785"/>
                </a:lnTo>
                <a:lnTo>
                  <a:pt x="1718" y="1784"/>
                </a:lnTo>
                <a:lnTo>
                  <a:pt x="1716" y="1781"/>
                </a:lnTo>
                <a:lnTo>
                  <a:pt x="1714" y="1779"/>
                </a:lnTo>
                <a:lnTo>
                  <a:pt x="1714" y="1776"/>
                </a:lnTo>
                <a:lnTo>
                  <a:pt x="1713" y="1774"/>
                </a:lnTo>
                <a:lnTo>
                  <a:pt x="1714" y="1772"/>
                </a:lnTo>
                <a:lnTo>
                  <a:pt x="1714" y="1769"/>
                </a:lnTo>
                <a:lnTo>
                  <a:pt x="1715" y="1767"/>
                </a:lnTo>
                <a:lnTo>
                  <a:pt x="1717" y="1765"/>
                </a:lnTo>
                <a:lnTo>
                  <a:pt x="1719" y="1763"/>
                </a:lnTo>
                <a:lnTo>
                  <a:pt x="1721" y="1762"/>
                </a:lnTo>
                <a:lnTo>
                  <a:pt x="1724" y="1761"/>
                </a:lnTo>
                <a:close/>
                <a:moveTo>
                  <a:pt x="1778" y="1724"/>
                </a:moveTo>
                <a:lnTo>
                  <a:pt x="1782" y="1723"/>
                </a:lnTo>
                <a:lnTo>
                  <a:pt x="1785" y="1724"/>
                </a:lnTo>
                <a:lnTo>
                  <a:pt x="1788" y="1726"/>
                </a:lnTo>
                <a:lnTo>
                  <a:pt x="1791" y="1729"/>
                </a:lnTo>
                <a:lnTo>
                  <a:pt x="1792" y="1731"/>
                </a:lnTo>
                <a:lnTo>
                  <a:pt x="1793" y="1734"/>
                </a:lnTo>
                <a:lnTo>
                  <a:pt x="1793" y="1738"/>
                </a:lnTo>
                <a:lnTo>
                  <a:pt x="1792" y="1741"/>
                </a:lnTo>
                <a:lnTo>
                  <a:pt x="1791" y="1743"/>
                </a:lnTo>
                <a:lnTo>
                  <a:pt x="1789" y="1745"/>
                </a:lnTo>
                <a:lnTo>
                  <a:pt x="1787" y="1746"/>
                </a:lnTo>
                <a:lnTo>
                  <a:pt x="1785" y="1748"/>
                </a:lnTo>
                <a:lnTo>
                  <a:pt x="1783" y="1748"/>
                </a:lnTo>
                <a:lnTo>
                  <a:pt x="1779" y="1748"/>
                </a:lnTo>
                <a:lnTo>
                  <a:pt x="1775" y="1748"/>
                </a:lnTo>
                <a:lnTo>
                  <a:pt x="1772" y="1746"/>
                </a:lnTo>
                <a:lnTo>
                  <a:pt x="1770" y="1743"/>
                </a:lnTo>
                <a:lnTo>
                  <a:pt x="1769" y="1741"/>
                </a:lnTo>
                <a:lnTo>
                  <a:pt x="1768" y="1738"/>
                </a:lnTo>
                <a:lnTo>
                  <a:pt x="1768" y="1733"/>
                </a:lnTo>
                <a:lnTo>
                  <a:pt x="1769" y="1731"/>
                </a:lnTo>
                <a:lnTo>
                  <a:pt x="1770" y="1729"/>
                </a:lnTo>
                <a:lnTo>
                  <a:pt x="1771" y="1727"/>
                </a:lnTo>
                <a:lnTo>
                  <a:pt x="1773" y="1725"/>
                </a:lnTo>
                <a:lnTo>
                  <a:pt x="1776" y="1724"/>
                </a:lnTo>
                <a:lnTo>
                  <a:pt x="1778" y="1724"/>
                </a:lnTo>
                <a:close/>
                <a:moveTo>
                  <a:pt x="2917" y="1515"/>
                </a:moveTo>
                <a:lnTo>
                  <a:pt x="2921" y="1515"/>
                </a:lnTo>
                <a:lnTo>
                  <a:pt x="2924" y="1516"/>
                </a:lnTo>
                <a:lnTo>
                  <a:pt x="2926" y="1517"/>
                </a:lnTo>
                <a:lnTo>
                  <a:pt x="2928" y="1518"/>
                </a:lnTo>
                <a:lnTo>
                  <a:pt x="2930" y="1520"/>
                </a:lnTo>
                <a:lnTo>
                  <a:pt x="2931" y="1522"/>
                </a:lnTo>
                <a:lnTo>
                  <a:pt x="2932" y="1524"/>
                </a:lnTo>
                <a:lnTo>
                  <a:pt x="2932" y="1527"/>
                </a:lnTo>
                <a:lnTo>
                  <a:pt x="2932" y="1529"/>
                </a:lnTo>
                <a:lnTo>
                  <a:pt x="2932" y="1531"/>
                </a:lnTo>
                <a:lnTo>
                  <a:pt x="2931" y="1533"/>
                </a:lnTo>
                <a:lnTo>
                  <a:pt x="2930" y="1535"/>
                </a:lnTo>
                <a:lnTo>
                  <a:pt x="2929" y="1536"/>
                </a:lnTo>
                <a:lnTo>
                  <a:pt x="2927" y="1538"/>
                </a:lnTo>
                <a:lnTo>
                  <a:pt x="2926" y="1539"/>
                </a:lnTo>
                <a:lnTo>
                  <a:pt x="2922" y="1540"/>
                </a:lnTo>
                <a:lnTo>
                  <a:pt x="2918" y="1540"/>
                </a:lnTo>
                <a:lnTo>
                  <a:pt x="2916" y="1540"/>
                </a:lnTo>
                <a:lnTo>
                  <a:pt x="2913" y="1539"/>
                </a:lnTo>
                <a:lnTo>
                  <a:pt x="2911" y="1537"/>
                </a:lnTo>
                <a:lnTo>
                  <a:pt x="2910" y="1535"/>
                </a:lnTo>
                <a:lnTo>
                  <a:pt x="2908" y="1533"/>
                </a:lnTo>
                <a:lnTo>
                  <a:pt x="2908" y="1531"/>
                </a:lnTo>
                <a:lnTo>
                  <a:pt x="2907" y="1529"/>
                </a:lnTo>
                <a:lnTo>
                  <a:pt x="2907" y="1526"/>
                </a:lnTo>
                <a:lnTo>
                  <a:pt x="2908" y="1524"/>
                </a:lnTo>
                <a:lnTo>
                  <a:pt x="2908" y="1522"/>
                </a:lnTo>
                <a:lnTo>
                  <a:pt x="2909" y="1521"/>
                </a:lnTo>
                <a:lnTo>
                  <a:pt x="2911" y="1519"/>
                </a:lnTo>
                <a:lnTo>
                  <a:pt x="2912" y="1518"/>
                </a:lnTo>
                <a:lnTo>
                  <a:pt x="2914" y="1517"/>
                </a:lnTo>
                <a:lnTo>
                  <a:pt x="2917" y="1515"/>
                </a:lnTo>
                <a:close/>
                <a:moveTo>
                  <a:pt x="1834" y="1688"/>
                </a:moveTo>
                <a:lnTo>
                  <a:pt x="1838" y="1688"/>
                </a:lnTo>
                <a:lnTo>
                  <a:pt x="1841" y="1689"/>
                </a:lnTo>
                <a:lnTo>
                  <a:pt x="1844" y="1691"/>
                </a:lnTo>
                <a:lnTo>
                  <a:pt x="1846" y="1692"/>
                </a:lnTo>
                <a:lnTo>
                  <a:pt x="1847" y="1694"/>
                </a:lnTo>
                <a:lnTo>
                  <a:pt x="1848" y="1696"/>
                </a:lnTo>
                <a:lnTo>
                  <a:pt x="1849" y="1698"/>
                </a:lnTo>
                <a:lnTo>
                  <a:pt x="1849" y="1701"/>
                </a:lnTo>
                <a:lnTo>
                  <a:pt x="1848" y="1703"/>
                </a:lnTo>
                <a:lnTo>
                  <a:pt x="1848" y="1706"/>
                </a:lnTo>
                <a:lnTo>
                  <a:pt x="1846" y="1708"/>
                </a:lnTo>
                <a:lnTo>
                  <a:pt x="1845" y="1710"/>
                </a:lnTo>
                <a:lnTo>
                  <a:pt x="1843" y="1711"/>
                </a:lnTo>
                <a:lnTo>
                  <a:pt x="1841" y="1712"/>
                </a:lnTo>
                <a:lnTo>
                  <a:pt x="1838" y="1713"/>
                </a:lnTo>
                <a:lnTo>
                  <a:pt x="1835" y="1713"/>
                </a:lnTo>
                <a:lnTo>
                  <a:pt x="1831" y="1712"/>
                </a:lnTo>
                <a:lnTo>
                  <a:pt x="1828" y="1710"/>
                </a:lnTo>
                <a:lnTo>
                  <a:pt x="1827" y="1709"/>
                </a:lnTo>
                <a:lnTo>
                  <a:pt x="1825" y="1707"/>
                </a:lnTo>
                <a:lnTo>
                  <a:pt x="1824" y="1705"/>
                </a:lnTo>
                <a:lnTo>
                  <a:pt x="1824" y="1702"/>
                </a:lnTo>
                <a:lnTo>
                  <a:pt x="1824" y="1700"/>
                </a:lnTo>
                <a:lnTo>
                  <a:pt x="1824" y="1697"/>
                </a:lnTo>
                <a:lnTo>
                  <a:pt x="1825" y="1695"/>
                </a:lnTo>
                <a:lnTo>
                  <a:pt x="1826" y="1693"/>
                </a:lnTo>
                <a:lnTo>
                  <a:pt x="1827" y="1691"/>
                </a:lnTo>
                <a:lnTo>
                  <a:pt x="1830" y="1690"/>
                </a:lnTo>
                <a:lnTo>
                  <a:pt x="1832" y="1689"/>
                </a:lnTo>
                <a:lnTo>
                  <a:pt x="1834" y="1688"/>
                </a:lnTo>
                <a:close/>
                <a:moveTo>
                  <a:pt x="2852" y="1507"/>
                </a:moveTo>
                <a:lnTo>
                  <a:pt x="2855" y="1507"/>
                </a:lnTo>
                <a:lnTo>
                  <a:pt x="2858" y="1508"/>
                </a:lnTo>
                <a:lnTo>
                  <a:pt x="2860" y="1509"/>
                </a:lnTo>
                <a:lnTo>
                  <a:pt x="2861" y="1509"/>
                </a:lnTo>
                <a:lnTo>
                  <a:pt x="2862" y="1510"/>
                </a:lnTo>
                <a:lnTo>
                  <a:pt x="2864" y="1512"/>
                </a:lnTo>
                <a:lnTo>
                  <a:pt x="2865" y="1514"/>
                </a:lnTo>
                <a:lnTo>
                  <a:pt x="2866" y="1516"/>
                </a:lnTo>
                <a:lnTo>
                  <a:pt x="2867" y="1519"/>
                </a:lnTo>
                <a:lnTo>
                  <a:pt x="2866" y="1521"/>
                </a:lnTo>
                <a:lnTo>
                  <a:pt x="2866" y="1523"/>
                </a:lnTo>
                <a:lnTo>
                  <a:pt x="2865" y="1525"/>
                </a:lnTo>
                <a:lnTo>
                  <a:pt x="2864" y="1527"/>
                </a:lnTo>
                <a:lnTo>
                  <a:pt x="2863" y="1529"/>
                </a:lnTo>
                <a:lnTo>
                  <a:pt x="2860" y="1531"/>
                </a:lnTo>
                <a:lnTo>
                  <a:pt x="2858" y="1532"/>
                </a:lnTo>
                <a:lnTo>
                  <a:pt x="2856" y="1532"/>
                </a:lnTo>
                <a:lnTo>
                  <a:pt x="2853" y="1532"/>
                </a:lnTo>
                <a:lnTo>
                  <a:pt x="2850" y="1532"/>
                </a:lnTo>
                <a:lnTo>
                  <a:pt x="2848" y="1531"/>
                </a:lnTo>
                <a:lnTo>
                  <a:pt x="2847" y="1530"/>
                </a:lnTo>
                <a:lnTo>
                  <a:pt x="2846" y="1529"/>
                </a:lnTo>
                <a:lnTo>
                  <a:pt x="2844" y="1528"/>
                </a:lnTo>
                <a:lnTo>
                  <a:pt x="2843" y="1526"/>
                </a:lnTo>
                <a:lnTo>
                  <a:pt x="2842" y="1523"/>
                </a:lnTo>
                <a:lnTo>
                  <a:pt x="2841" y="1521"/>
                </a:lnTo>
                <a:lnTo>
                  <a:pt x="2841" y="1518"/>
                </a:lnTo>
                <a:lnTo>
                  <a:pt x="2842" y="1516"/>
                </a:lnTo>
                <a:lnTo>
                  <a:pt x="2843" y="1514"/>
                </a:lnTo>
                <a:lnTo>
                  <a:pt x="2844" y="1513"/>
                </a:lnTo>
                <a:lnTo>
                  <a:pt x="2845" y="1511"/>
                </a:lnTo>
                <a:lnTo>
                  <a:pt x="2848" y="1509"/>
                </a:lnTo>
                <a:lnTo>
                  <a:pt x="2850" y="1508"/>
                </a:lnTo>
                <a:lnTo>
                  <a:pt x="2852" y="1507"/>
                </a:lnTo>
                <a:close/>
                <a:moveTo>
                  <a:pt x="2786" y="1500"/>
                </a:moveTo>
                <a:lnTo>
                  <a:pt x="2790" y="1500"/>
                </a:lnTo>
                <a:lnTo>
                  <a:pt x="2792" y="1500"/>
                </a:lnTo>
                <a:lnTo>
                  <a:pt x="2794" y="1501"/>
                </a:lnTo>
                <a:lnTo>
                  <a:pt x="2795" y="1502"/>
                </a:lnTo>
                <a:lnTo>
                  <a:pt x="2796" y="1503"/>
                </a:lnTo>
                <a:lnTo>
                  <a:pt x="2798" y="1504"/>
                </a:lnTo>
                <a:lnTo>
                  <a:pt x="2799" y="1506"/>
                </a:lnTo>
                <a:lnTo>
                  <a:pt x="2800" y="1509"/>
                </a:lnTo>
                <a:lnTo>
                  <a:pt x="2801" y="1511"/>
                </a:lnTo>
                <a:lnTo>
                  <a:pt x="2801" y="1514"/>
                </a:lnTo>
                <a:lnTo>
                  <a:pt x="2800" y="1518"/>
                </a:lnTo>
                <a:lnTo>
                  <a:pt x="2799" y="1519"/>
                </a:lnTo>
                <a:lnTo>
                  <a:pt x="2797" y="1521"/>
                </a:lnTo>
                <a:lnTo>
                  <a:pt x="2794" y="1523"/>
                </a:lnTo>
                <a:lnTo>
                  <a:pt x="2792" y="1524"/>
                </a:lnTo>
                <a:lnTo>
                  <a:pt x="2790" y="1525"/>
                </a:lnTo>
                <a:lnTo>
                  <a:pt x="2787" y="1525"/>
                </a:lnTo>
                <a:lnTo>
                  <a:pt x="2784" y="1524"/>
                </a:lnTo>
                <a:lnTo>
                  <a:pt x="2782" y="1523"/>
                </a:lnTo>
                <a:lnTo>
                  <a:pt x="2781" y="1523"/>
                </a:lnTo>
                <a:lnTo>
                  <a:pt x="2780" y="1522"/>
                </a:lnTo>
                <a:lnTo>
                  <a:pt x="2778" y="1520"/>
                </a:lnTo>
                <a:lnTo>
                  <a:pt x="2777" y="1518"/>
                </a:lnTo>
                <a:lnTo>
                  <a:pt x="2776" y="1516"/>
                </a:lnTo>
                <a:lnTo>
                  <a:pt x="2776" y="1514"/>
                </a:lnTo>
                <a:lnTo>
                  <a:pt x="2776" y="1511"/>
                </a:lnTo>
                <a:lnTo>
                  <a:pt x="2777" y="1507"/>
                </a:lnTo>
                <a:lnTo>
                  <a:pt x="2778" y="1505"/>
                </a:lnTo>
                <a:lnTo>
                  <a:pt x="2779" y="1504"/>
                </a:lnTo>
                <a:lnTo>
                  <a:pt x="2782" y="1501"/>
                </a:lnTo>
                <a:lnTo>
                  <a:pt x="2784" y="1500"/>
                </a:lnTo>
                <a:lnTo>
                  <a:pt x="2786" y="1500"/>
                </a:lnTo>
                <a:close/>
                <a:moveTo>
                  <a:pt x="1891" y="1655"/>
                </a:moveTo>
                <a:lnTo>
                  <a:pt x="1895" y="1654"/>
                </a:lnTo>
                <a:lnTo>
                  <a:pt x="1899" y="1656"/>
                </a:lnTo>
                <a:lnTo>
                  <a:pt x="1900" y="1656"/>
                </a:lnTo>
                <a:lnTo>
                  <a:pt x="1902" y="1658"/>
                </a:lnTo>
                <a:lnTo>
                  <a:pt x="1904" y="1661"/>
                </a:lnTo>
                <a:lnTo>
                  <a:pt x="1906" y="1666"/>
                </a:lnTo>
                <a:lnTo>
                  <a:pt x="1906" y="1668"/>
                </a:lnTo>
                <a:lnTo>
                  <a:pt x="1905" y="1670"/>
                </a:lnTo>
                <a:lnTo>
                  <a:pt x="1904" y="1673"/>
                </a:lnTo>
                <a:lnTo>
                  <a:pt x="1903" y="1675"/>
                </a:lnTo>
                <a:lnTo>
                  <a:pt x="1901" y="1676"/>
                </a:lnTo>
                <a:lnTo>
                  <a:pt x="1899" y="1678"/>
                </a:lnTo>
                <a:lnTo>
                  <a:pt x="1897" y="1679"/>
                </a:lnTo>
                <a:lnTo>
                  <a:pt x="1895" y="1679"/>
                </a:lnTo>
                <a:lnTo>
                  <a:pt x="1892" y="1679"/>
                </a:lnTo>
                <a:lnTo>
                  <a:pt x="1888" y="1678"/>
                </a:lnTo>
                <a:lnTo>
                  <a:pt x="1886" y="1677"/>
                </a:lnTo>
                <a:lnTo>
                  <a:pt x="1885" y="1676"/>
                </a:lnTo>
                <a:lnTo>
                  <a:pt x="1882" y="1673"/>
                </a:lnTo>
                <a:lnTo>
                  <a:pt x="1881" y="1668"/>
                </a:lnTo>
                <a:lnTo>
                  <a:pt x="1881" y="1666"/>
                </a:lnTo>
                <a:lnTo>
                  <a:pt x="1881" y="1664"/>
                </a:lnTo>
                <a:lnTo>
                  <a:pt x="1882" y="1661"/>
                </a:lnTo>
                <a:lnTo>
                  <a:pt x="1883" y="1659"/>
                </a:lnTo>
                <a:lnTo>
                  <a:pt x="1885" y="1657"/>
                </a:lnTo>
                <a:lnTo>
                  <a:pt x="1887" y="1656"/>
                </a:lnTo>
                <a:lnTo>
                  <a:pt x="1889" y="1655"/>
                </a:lnTo>
                <a:lnTo>
                  <a:pt x="1891" y="1655"/>
                </a:lnTo>
                <a:close/>
                <a:moveTo>
                  <a:pt x="2720" y="1493"/>
                </a:moveTo>
                <a:lnTo>
                  <a:pt x="2724" y="1493"/>
                </a:lnTo>
                <a:lnTo>
                  <a:pt x="2726" y="1493"/>
                </a:lnTo>
                <a:lnTo>
                  <a:pt x="2728" y="1494"/>
                </a:lnTo>
                <a:lnTo>
                  <a:pt x="2730" y="1495"/>
                </a:lnTo>
                <a:lnTo>
                  <a:pt x="2731" y="1496"/>
                </a:lnTo>
                <a:lnTo>
                  <a:pt x="2732" y="1497"/>
                </a:lnTo>
                <a:lnTo>
                  <a:pt x="2734" y="1499"/>
                </a:lnTo>
                <a:lnTo>
                  <a:pt x="2734" y="1502"/>
                </a:lnTo>
                <a:lnTo>
                  <a:pt x="2735" y="1504"/>
                </a:lnTo>
                <a:lnTo>
                  <a:pt x="2735" y="1507"/>
                </a:lnTo>
                <a:lnTo>
                  <a:pt x="2734" y="1511"/>
                </a:lnTo>
                <a:lnTo>
                  <a:pt x="2733" y="1512"/>
                </a:lnTo>
                <a:lnTo>
                  <a:pt x="2732" y="1514"/>
                </a:lnTo>
                <a:lnTo>
                  <a:pt x="2728" y="1516"/>
                </a:lnTo>
                <a:lnTo>
                  <a:pt x="2727" y="1517"/>
                </a:lnTo>
                <a:lnTo>
                  <a:pt x="2725" y="1518"/>
                </a:lnTo>
                <a:lnTo>
                  <a:pt x="2721" y="1518"/>
                </a:lnTo>
                <a:lnTo>
                  <a:pt x="2719" y="1517"/>
                </a:lnTo>
                <a:lnTo>
                  <a:pt x="2716" y="1516"/>
                </a:lnTo>
                <a:lnTo>
                  <a:pt x="2714" y="1515"/>
                </a:lnTo>
                <a:lnTo>
                  <a:pt x="2713" y="1513"/>
                </a:lnTo>
                <a:lnTo>
                  <a:pt x="2711" y="1511"/>
                </a:lnTo>
                <a:lnTo>
                  <a:pt x="2710" y="1509"/>
                </a:lnTo>
                <a:lnTo>
                  <a:pt x="2710" y="1507"/>
                </a:lnTo>
                <a:lnTo>
                  <a:pt x="2710" y="1504"/>
                </a:lnTo>
                <a:lnTo>
                  <a:pt x="2711" y="1500"/>
                </a:lnTo>
                <a:lnTo>
                  <a:pt x="2712" y="1498"/>
                </a:lnTo>
                <a:lnTo>
                  <a:pt x="2713" y="1497"/>
                </a:lnTo>
                <a:lnTo>
                  <a:pt x="2716" y="1494"/>
                </a:lnTo>
                <a:lnTo>
                  <a:pt x="2718" y="1493"/>
                </a:lnTo>
                <a:lnTo>
                  <a:pt x="2720" y="1493"/>
                </a:lnTo>
                <a:close/>
                <a:moveTo>
                  <a:pt x="1949" y="1624"/>
                </a:moveTo>
                <a:lnTo>
                  <a:pt x="1953" y="1623"/>
                </a:lnTo>
                <a:lnTo>
                  <a:pt x="1955" y="1624"/>
                </a:lnTo>
                <a:lnTo>
                  <a:pt x="1957" y="1625"/>
                </a:lnTo>
                <a:lnTo>
                  <a:pt x="1959" y="1626"/>
                </a:lnTo>
                <a:lnTo>
                  <a:pt x="1960" y="1627"/>
                </a:lnTo>
                <a:lnTo>
                  <a:pt x="1963" y="1630"/>
                </a:lnTo>
                <a:lnTo>
                  <a:pt x="1964" y="1633"/>
                </a:lnTo>
                <a:lnTo>
                  <a:pt x="1964" y="1635"/>
                </a:lnTo>
                <a:lnTo>
                  <a:pt x="1964" y="1637"/>
                </a:lnTo>
                <a:lnTo>
                  <a:pt x="1964" y="1640"/>
                </a:lnTo>
                <a:lnTo>
                  <a:pt x="1963" y="1642"/>
                </a:lnTo>
                <a:lnTo>
                  <a:pt x="1962" y="1643"/>
                </a:lnTo>
                <a:lnTo>
                  <a:pt x="1961" y="1644"/>
                </a:lnTo>
                <a:lnTo>
                  <a:pt x="1959" y="1646"/>
                </a:lnTo>
                <a:lnTo>
                  <a:pt x="1957" y="1647"/>
                </a:lnTo>
                <a:lnTo>
                  <a:pt x="1954" y="1648"/>
                </a:lnTo>
                <a:lnTo>
                  <a:pt x="1950" y="1648"/>
                </a:lnTo>
                <a:lnTo>
                  <a:pt x="1948" y="1648"/>
                </a:lnTo>
                <a:lnTo>
                  <a:pt x="1946" y="1647"/>
                </a:lnTo>
                <a:lnTo>
                  <a:pt x="1944" y="1646"/>
                </a:lnTo>
                <a:lnTo>
                  <a:pt x="1943" y="1645"/>
                </a:lnTo>
                <a:lnTo>
                  <a:pt x="1940" y="1642"/>
                </a:lnTo>
                <a:lnTo>
                  <a:pt x="1939" y="1639"/>
                </a:lnTo>
                <a:lnTo>
                  <a:pt x="1939" y="1637"/>
                </a:lnTo>
                <a:lnTo>
                  <a:pt x="1939" y="1634"/>
                </a:lnTo>
                <a:lnTo>
                  <a:pt x="1940" y="1632"/>
                </a:lnTo>
                <a:lnTo>
                  <a:pt x="1941" y="1630"/>
                </a:lnTo>
                <a:lnTo>
                  <a:pt x="1941" y="1629"/>
                </a:lnTo>
                <a:lnTo>
                  <a:pt x="1942" y="1628"/>
                </a:lnTo>
                <a:lnTo>
                  <a:pt x="1944" y="1626"/>
                </a:lnTo>
                <a:lnTo>
                  <a:pt x="1946" y="1625"/>
                </a:lnTo>
                <a:lnTo>
                  <a:pt x="1949" y="1624"/>
                </a:lnTo>
                <a:close/>
                <a:moveTo>
                  <a:pt x="2654" y="1486"/>
                </a:moveTo>
                <a:lnTo>
                  <a:pt x="2658" y="1486"/>
                </a:lnTo>
                <a:lnTo>
                  <a:pt x="2660" y="1487"/>
                </a:lnTo>
                <a:lnTo>
                  <a:pt x="2663" y="1488"/>
                </a:lnTo>
                <a:lnTo>
                  <a:pt x="2665" y="1489"/>
                </a:lnTo>
                <a:lnTo>
                  <a:pt x="2666" y="1491"/>
                </a:lnTo>
                <a:lnTo>
                  <a:pt x="2668" y="1493"/>
                </a:lnTo>
                <a:lnTo>
                  <a:pt x="2669" y="1495"/>
                </a:lnTo>
                <a:lnTo>
                  <a:pt x="2669" y="1497"/>
                </a:lnTo>
                <a:lnTo>
                  <a:pt x="2669" y="1500"/>
                </a:lnTo>
                <a:lnTo>
                  <a:pt x="2668" y="1504"/>
                </a:lnTo>
                <a:lnTo>
                  <a:pt x="2667" y="1506"/>
                </a:lnTo>
                <a:lnTo>
                  <a:pt x="2666" y="1507"/>
                </a:lnTo>
                <a:lnTo>
                  <a:pt x="2663" y="1510"/>
                </a:lnTo>
                <a:lnTo>
                  <a:pt x="2661" y="1511"/>
                </a:lnTo>
                <a:lnTo>
                  <a:pt x="2659" y="1511"/>
                </a:lnTo>
                <a:lnTo>
                  <a:pt x="2655" y="1511"/>
                </a:lnTo>
                <a:lnTo>
                  <a:pt x="2653" y="1511"/>
                </a:lnTo>
                <a:lnTo>
                  <a:pt x="2651" y="1510"/>
                </a:lnTo>
                <a:lnTo>
                  <a:pt x="2649" y="1508"/>
                </a:lnTo>
                <a:lnTo>
                  <a:pt x="2647" y="1507"/>
                </a:lnTo>
                <a:lnTo>
                  <a:pt x="2646" y="1505"/>
                </a:lnTo>
                <a:lnTo>
                  <a:pt x="2645" y="1503"/>
                </a:lnTo>
                <a:lnTo>
                  <a:pt x="2644" y="1500"/>
                </a:lnTo>
                <a:lnTo>
                  <a:pt x="2644" y="1498"/>
                </a:lnTo>
                <a:lnTo>
                  <a:pt x="2645" y="1493"/>
                </a:lnTo>
                <a:lnTo>
                  <a:pt x="2646" y="1492"/>
                </a:lnTo>
                <a:lnTo>
                  <a:pt x="2647" y="1490"/>
                </a:lnTo>
                <a:lnTo>
                  <a:pt x="2651" y="1488"/>
                </a:lnTo>
                <a:lnTo>
                  <a:pt x="2652" y="1487"/>
                </a:lnTo>
                <a:lnTo>
                  <a:pt x="2654" y="1486"/>
                </a:lnTo>
                <a:close/>
                <a:moveTo>
                  <a:pt x="2009" y="1595"/>
                </a:moveTo>
                <a:lnTo>
                  <a:pt x="2013" y="1595"/>
                </a:lnTo>
                <a:lnTo>
                  <a:pt x="2017" y="1596"/>
                </a:lnTo>
                <a:lnTo>
                  <a:pt x="2020" y="1599"/>
                </a:lnTo>
                <a:lnTo>
                  <a:pt x="2023" y="1602"/>
                </a:lnTo>
                <a:lnTo>
                  <a:pt x="2023" y="1603"/>
                </a:lnTo>
                <a:lnTo>
                  <a:pt x="2024" y="1605"/>
                </a:lnTo>
                <a:lnTo>
                  <a:pt x="2024" y="1607"/>
                </a:lnTo>
                <a:lnTo>
                  <a:pt x="2024" y="1610"/>
                </a:lnTo>
                <a:lnTo>
                  <a:pt x="2023" y="1612"/>
                </a:lnTo>
                <a:lnTo>
                  <a:pt x="2022" y="1614"/>
                </a:lnTo>
                <a:lnTo>
                  <a:pt x="2021" y="1616"/>
                </a:lnTo>
                <a:lnTo>
                  <a:pt x="2019" y="1618"/>
                </a:lnTo>
                <a:lnTo>
                  <a:pt x="2016" y="1619"/>
                </a:lnTo>
                <a:lnTo>
                  <a:pt x="2013" y="1620"/>
                </a:lnTo>
                <a:lnTo>
                  <a:pt x="2009" y="1620"/>
                </a:lnTo>
                <a:lnTo>
                  <a:pt x="2005" y="1619"/>
                </a:lnTo>
                <a:lnTo>
                  <a:pt x="2002" y="1616"/>
                </a:lnTo>
                <a:lnTo>
                  <a:pt x="2000" y="1613"/>
                </a:lnTo>
                <a:lnTo>
                  <a:pt x="1999" y="1611"/>
                </a:lnTo>
                <a:lnTo>
                  <a:pt x="1999" y="1610"/>
                </a:lnTo>
                <a:lnTo>
                  <a:pt x="1999" y="1608"/>
                </a:lnTo>
                <a:lnTo>
                  <a:pt x="1999" y="1605"/>
                </a:lnTo>
                <a:lnTo>
                  <a:pt x="1999" y="1603"/>
                </a:lnTo>
                <a:lnTo>
                  <a:pt x="2001" y="1601"/>
                </a:lnTo>
                <a:lnTo>
                  <a:pt x="2002" y="1599"/>
                </a:lnTo>
                <a:lnTo>
                  <a:pt x="2004" y="1597"/>
                </a:lnTo>
                <a:lnTo>
                  <a:pt x="2006" y="1596"/>
                </a:lnTo>
                <a:lnTo>
                  <a:pt x="2009" y="1595"/>
                </a:lnTo>
                <a:close/>
                <a:moveTo>
                  <a:pt x="2588" y="1481"/>
                </a:moveTo>
                <a:lnTo>
                  <a:pt x="2591" y="1481"/>
                </a:lnTo>
                <a:lnTo>
                  <a:pt x="2594" y="1481"/>
                </a:lnTo>
                <a:lnTo>
                  <a:pt x="2596" y="1482"/>
                </a:lnTo>
                <a:lnTo>
                  <a:pt x="2598" y="1483"/>
                </a:lnTo>
                <a:lnTo>
                  <a:pt x="2600" y="1485"/>
                </a:lnTo>
                <a:lnTo>
                  <a:pt x="2601" y="1487"/>
                </a:lnTo>
                <a:lnTo>
                  <a:pt x="2603" y="1489"/>
                </a:lnTo>
                <a:lnTo>
                  <a:pt x="2603" y="1491"/>
                </a:lnTo>
                <a:lnTo>
                  <a:pt x="2603" y="1494"/>
                </a:lnTo>
                <a:lnTo>
                  <a:pt x="2603" y="1496"/>
                </a:lnTo>
                <a:lnTo>
                  <a:pt x="2602" y="1498"/>
                </a:lnTo>
                <a:lnTo>
                  <a:pt x="2601" y="1500"/>
                </a:lnTo>
                <a:lnTo>
                  <a:pt x="2600" y="1502"/>
                </a:lnTo>
                <a:lnTo>
                  <a:pt x="2599" y="1503"/>
                </a:lnTo>
                <a:lnTo>
                  <a:pt x="2597" y="1504"/>
                </a:lnTo>
                <a:lnTo>
                  <a:pt x="2595" y="1505"/>
                </a:lnTo>
                <a:lnTo>
                  <a:pt x="2593" y="1506"/>
                </a:lnTo>
                <a:lnTo>
                  <a:pt x="2590" y="1506"/>
                </a:lnTo>
                <a:lnTo>
                  <a:pt x="2587" y="1505"/>
                </a:lnTo>
                <a:lnTo>
                  <a:pt x="2585" y="1505"/>
                </a:lnTo>
                <a:lnTo>
                  <a:pt x="2583" y="1503"/>
                </a:lnTo>
                <a:lnTo>
                  <a:pt x="2581" y="1502"/>
                </a:lnTo>
                <a:lnTo>
                  <a:pt x="2580" y="1500"/>
                </a:lnTo>
                <a:lnTo>
                  <a:pt x="2579" y="1497"/>
                </a:lnTo>
                <a:lnTo>
                  <a:pt x="2578" y="1495"/>
                </a:lnTo>
                <a:lnTo>
                  <a:pt x="2578" y="1492"/>
                </a:lnTo>
                <a:lnTo>
                  <a:pt x="2578" y="1490"/>
                </a:lnTo>
                <a:lnTo>
                  <a:pt x="2579" y="1488"/>
                </a:lnTo>
                <a:lnTo>
                  <a:pt x="2580" y="1486"/>
                </a:lnTo>
                <a:lnTo>
                  <a:pt x="2581" y="1485"/>
                </a:lnTo>
                <a:lnTo>
                  <a:pt x="2583" y="1483"/>
                </a:lnTo>
                <a:lnTo>
                  <a:pt x="2585" y="1482"/>
                </a:lnTo>
                <a:lnTo>
                  <a:pt x="2586" y="1481"/>
                </a:lnTo>
                <a:lnTo>
                  <a:pt x="2588" y="1481"/>
                </a:lnTo>
                <a:close/>
                <a:moveTo>
                  <a:pt x="2070" y="1569"/>
                </a:moveTo>
                <a:lnTo>
                  <a:pt x="2074" y="1569"/>
                </a:lnTo>
                <a:lnTo>
                  <a:pt x="2076" y="1570"/>
                </a:lnTo>
                <a:lnTo>
                  <a:pt x="2078" y="1571"/>
                </a:lnTo>
                <a:lnTo>
                  <a:pt x="2080" y="1572"/>
                </a:lnTo>
                <a:lnTo>
                  <a:pt x="2082" y="1573"/>
                </a:lnTo>
                <a:lnTo>
                  <a:pt x="2083" y="1575"/>
                </a:lnTo>
                <a:lnTo>
                  <a:pt x="2084" y="1577"/>
                </a:lnTo>
                <a:lnTo>
                  <a:pt x="2085" y="1579"/>
                </a:lnTo>
                <a:lnTo>
                  <a:pt x="2085" y="1582"/>
                </a:lnTo>
                <a:lnTo>
                  <a:pt x="2084" y="1584"/>
                </a:lnTo>
                <a:lnTo>
                  <a:pt x="2084" y="1587"/>
                </a:lnTo>
                <a:lnTo>
                  <a:pt x="2083" y="1589"/>
                </a:lnTo>
                <a:lnTo>
                  <a:pt x="2081" y="1591"/>
                </a:lnTo>
                <a:lnTo>
                  <a:pt x="2079" y="1592"/>
                </a:lnTo>
                <a:lnTo>
                  <a:pt x="2077" y="1593"/>
                </a:lnTo>
                <a:lnTo>
                  <a:pt x="2074" y="1594"/>
                </a:lnTo>
                <a:lnTo>
                  <a:pt x="2070" y="1594"/>
                </a:lnTo>
                <a:lnTo>
                  <a:pt x="2068" y="1593"/>
                </a:lnTo>
                <a:lnTo>
                  <a:pt x="2066" y="1593"/>
                </a:lnTo>
                <a:lnTo>
                  <a:pt x="2064" y="1591"/>
                </a:lnTo>
                <a:lnTo>
                  <a:pt x="2063" y="1590"/>
                </a:lnTo>
                <a:lnTo>
                  <a:pt x="2061" y="1588"/>
                </a:lnTo>
                <a:lnTo>
                  <a:pt x="2060" y="1586"/>
                </a:lnTo>
                <a:lnTo>
                  <a:pt x="2060" y="1584"/>
                </a:lnTo>
                <a:lnTo>
                  <a:pt x="2060" y="1581"/>
                </a:lnTo>
                <a:lnTo>
                  <a:pt x="2060" y="1579"/>
                </a:lnTo>
                <a:lnTo>
                  <a:pt x="2061" y="1577"/>
                </a:lnTo>
                <a:lnTo>
                  <a:pt x="2062" y="1574"/>
                </a:lnTo>
                <a:lnTo>
                  <a:pt x="2063" y="1573"/>
                </a:lnTo>
                <a:lnTo>
                  <a:pt x="2065" y="1571"/>
                </a:lnTo>
                <a:lnTo>
                  <a:pt x="2068" y="1570"/>
                </a:lnTo>
                <a:lnTo>
                  <a:pt x="2070" y="1569"/>
                </a:lnTo>
                <a:close/>
                <a:moveTo>
                  <a:pt x="2522" y="1479"/>
                </a:moveTo>
                <a:lnTo>
                  <a:pt x="2525" y="1479"/>
                </a:lnTo>
                <a:lnTo>
                  <a:pt x="2527" y="1479"/>
                </a:lnTo>
                <a:lnTo>
                  <a:pt x="2529" y="1480"/>
                </a:lnTo>
                <a:lnTo>
                  <a:pt x="2532" y="1481"/>
                </a:lnTo>
                <a:lnTo>
                  <a:pt x="2533" y="1482"/>
                </a:lnTo>
                <a:lnTo>
                  <a:pt x="2535" y="1484"/>
                </a:lnTo>
                <a:lnTo>
                  <a:pt x="2536" y="1486"/>
                </a:lnTo>
                <a:lnTo>
                  <a:pt x="2537" y="1489"/>
                </a:lnTo>
                <a:lnTo>
                  <a:pt x="2537" y="1491"/>
                </a:lnTo>
                <a:lnTo>
                  <a:pt x="2536" y="1496"/>
                </a:lnTo>
                <a:lnTo>
                  <a:pt x="2535" y="1498"/>
                </a:lnTo>
                <a:lnTo>
                  <a:pt x="2534" y="1499"/>
                </a:lnTo>
                <a:lnTo>
                  <a:pt x="2531" y="1502"/>
                </a:lnTo>
                <a:lnTo>
                  <a:pt x="2527" y="1504"/>
                </a:lnTo>
                <a:lnTo>
                  <a:pt x="2525" y="1504"/>
                </a:lnTo>
                <a:lnTo>
                  <a:pt x="2522" y="1504"/>
                </a:lnTo>
                <a:lnTo>
                  <a:pt x="2520" y="1503"/>
                </a:lnTo>
                <a:lnTo>
                  <a:pt x="2518" y="1502"/>
                </a:lnTo>
                <a:lnTo>
                  <a:pt x="2516" y="1500"/>
                </a:lnTo>
                <a:lnTo>
                  <a:pt x="2514" y="1498"/>
                </a:lnTo>
                <a:lnTo>
                  <a:pt x="2513" y="1496"/>
                </a:lnTo>
                <a:lnTo>
                  <a:pt x="2512" y="1494"/>
                </a:lnTo>
                <a:lnTo>
                  <a:pt x="2512" y="1491"/>
                </a:lnTo>
                <a:lnTo>
                  <a:pt x="2513" y="1487"/>
                </a:lnTo>
                <a:lnTo>
                  <a:pt x="2514" y="1485"/>
                </a:lnTo>
                <a:lnTo>
                  <a:pt x="2515" y="1483"/>
                </a:lnTo>
                <a:lnTo>
                  <a:pt x="2518" y="1480"/>
                </a:lnTo>
                <a:lnTo>
                  <a:pt x="2522" y="1479"/>
                </a:lnTo>
                <a:close/>
                <a:moveTo>
                  <a:pt x="2132" y="1546"/>
                </a:moveTo>
                <a:lnTo>
                  <a:pt x="2136" y="1546"/>
                </a:lnTo>
                <a:lnTo>
                  <a:pt x="2139" y="1547"/>
                </a:lnTo>
                <a:lnTo>
                  <a:pt x="2141" y="1548"/>
                </a:lnTo>
                <a:lnTo>
                  <a:pt x="2144" y="1551"/>
                </a:lnTo>
                <a:lnTo>
                  <a:pt x="2145" y="1552"/>
                </a:lnTo>
                <a:lnTo>
                  <a:pt x="2146" y="1555"/>
                </a:lnTo>
                <a:lnTo>
                  <a:pt x="2147" y="1560"/>
                </a:lnTo>
                <a:lnTo>
                  <a:pt x="2146" y="1562"/>
                </a:lnTo>
                <a:lnTo>
                  <a:pt x="2145" y="1564"/>
                </a:lnTo>
                <a:lnTo>
                  <a:pt x="2144" y="1566"/>
                </a:lnTo>
                <a:lnTo>
                  <a:pt x="2143" y="1568"/>
                </a:lnTo>
                <a:lnTo>
                  <a:pt x="2141" y="1569"/>
                </a:lnTo>
                <a:lnTo>
                  <a:pt x="2138" y="1571"/>
                </a:lnTo>
                <a:lnTo>
                  <a:pt x="2136" y="1571"/>
                </a:lnTo>
                <a:lnTo>
                  <a:pt x="2132" y="1571"/>
                </a:lnTo>
                <a:lnTo>
                  <a:pt x="2130" y="1570"/>
                </a:lnTo>
                <a:lnTo>
                  <a:pt x="2128" y="1570"/>
                </a:lnTo>
                <a:lnTo>
                  <a:pt x="2124" y="1567"/>
                </a:lnTo>
                <a:lnTo>
                  <a:pt x="2123" y="1565"/>
                </a:lnTo>
                <a:lnTo>
                  <a:pt x="2122" y="1563"/>
                </a:lnTo>
                <a:lnTo>
                  <a:pt x="2122" y="1558"/>
                </a:lnTo>
                <a:lnTo>
                  <a:pt x="2122" y="1555"/>
                </a:lnTo>
                <a:lnTo>
                  <a:pt x="2123" y="1553"/>
                </a:lnTo>
                <a:lnTo>
                  <a:pt x="2124" y="1551"/>
                </a:lnTo>
                <a:lnTo>
                  <a:pt x="2126" y="1549"/>
                </a:lnTo>
                <a:lnTo>
                  <a:pt x="2128" y="1548"/>
                </a:lnTo>
                <a:lnTo>
                  <a:pt x="2130" y="1547"/>
                </a:lnTo>
                <a:lnTo>
                  <a:pt x="2132" y="1546"/>
                </a:lnTo>
                <a:close/>
                <a:moveTo>
                  <a:pt x="2456" y="1481"/>
                </a:moveTo>
                <a:lnTo>
                  <a:pt x="2458" y="1481"/>
                </a:lnTo>
                <a:lnTo>
                  <a:pt x="2463" y="1482"/>
                </a:lnTo>
                <a:lnTo>
                  <a:pt x="2465" y="1483"/>
                </a:lnTo>
                <a:lnTo>
                  <a:pt x="2467" y="1484"/>
                </a:lnTo>
                <a:lnTo>
                  <a:pt x="2468" y="1486"/>
                </a:lnTo>
                <a:lnTo>
                  <a:pt x="2470" y="1488"/>
                </a:lnTo>
                <a:lnTo>
                  <a:pt x="2471" y="1490"/>
                </a:lnTo>
                <a:lnTo>
                  <a:pt x="2471" y="1493"/>
                </a:lnTo>
                <a:lnTo>
                  <a:pt x="2471" y="1495"/>
                </a:lnTo>
                <a:lnTo>
                  <a:pt x="2470" y="1497"/>
                </a:lnTo>
                <a:lnTo>
                  <a:pt x="2470" y="1499"/>
                </a:lnTo>
                <a:lnTo>
                  <a:pt x="2468" y="1501"/>
                </a:lnTo>
                <a:lnTo>
                  <a:pt x="2467" y="1503"/>
                </a:lnTo>
                <a:lnTo>
                  <a:pt x="2465" y="1504"/>
                </a:lnTo>
                <a:lnTo>
                  <a:pt x="2463" y="1505"/>
                </a:lnTo>
                <a:lnTo>
                  <a:pt x="2461" y="1506"/>
                </a:lnTo>
                <a:lnTo>
                  <a:pt x="2459" y="1506"/>
                </a:lnTo>
                <a:lnTo>
                  <a:pt x="2454" y="1505"/>
                </a:lnTo>
                <a:lnTo>
                  <a:pt x="2452" y="1504"/>
                </a:lnTo>
                <a:lnTo>
                  <a:pt x="2450" y="1503"/>
                </a:lnTo>
                <a:lnTo>
                  <a:pt x="2448" y="1501"/>
                </a:lnTo>
                <a:lnTo>
                  <a:pt x="2447" y="1499"/>
                </a:lnTo>
                <a:lnTo>
                  <a:pt x="2446" y="1497"/>
                </a:lnTo>
                <a:lnTo>
                  <a:pt x="2446" y="1494"/>
                </a:lnTo>
                <a:lnTo>
                  <a:pt x="2446" y="1492"/>
                </a:lnTo>
                <a:lnTo>
                  <a:pt x="2446" y="1490"/>
                </a:lnTo>
                <a:lnTo>
                  <a:pt x="2447" y="1487"/>
                </a:lnTo>
                <a:lnTo>
                  <a:pt x="2449" y="1486"/>
                </a:lnTo>
                <a:lnTo>
                  <a:pt x="2450" y="1484"/>
                </a:lnTo>
                <a:lnTo>
                  <a:pt x="2452" y="1483"/>
                </a:lnTo>
                <a:lnTo>
                  <a:pt x="2454" y="1482"/>
                </a:lnTo>
                <a:lnTo>
                  <a:pt x="2456" y="1481"/>
                </a:lnTo>
                <a:close/>
                <a:moveTo>
                  <a:pt x="2195" y="1526"/>
                </a:moveTo>
                <a:lnTo>
                  <a:pt x="2200" y="1526"/>
                </a:lnTo>
                <a:lnTo>
                  <a:pt x="2202" y="1527"/>
                </a:lnTo>
                <a:lnTo>
                  <a:pt x="2204" y="1528"/>
                </a:lnTo>
                <a:lnTo>
                  <a:pt x="2206" y="1529"/>
                </a:lnTo>
                <a:lnTo>
                  <a:pt x="2207" y="1531"/>
                </a:lnTo>
                <a:lnTo>
                  <a:pt x="2208" y="1533"/>
                </a:lnTo>
                <a:lnTo>
                  <a:pt x="2210" y="1535"/>
                </a:lnTo>
                <a:lnTo>
                  <a:pt x="2211" y="1538"/>
                </a:lnTo>
                <a:lnTo>
                  <a:pt x="2211" y="1540"/>
                </a:lnTo>
                <a:lnTo>
                  <a:pt x="2210" y="1543"/>
                </a:lnTo>
                <a:lnTo>
                  <a:pt x="2208" y="1545"/>
                </a:lnTo>
                <a:lnTo>
                  <a:pt x="2207" y="1547"/>
                </a:lnTo>
                <a:lnTo>
                  <a:pt x="2205" y="1549"/>
                </a:lnTo>
                <a:lnTo>
                  <a:pt x="2203" y="1550"/>
                </a:lnTo>
                <a:lnTo>
                  <a:pt x="2201" y="1551"/>
                </a:lnTo>
                <a:lnTo>
                  <a:pt x="2198" y="1551"/>
                </a:lnTo>
                <a:lnTo>
                  <a:pt x="2195" y="1551"/>
                </a:lnTo>
                <a:lnTo>
                  <a:pt x="2193" y="1550"/>
                </a:lnTo>
                <a:lnTo>
                  <a:pt x="2191" y="1549"/>
                </a:lnTo>
                <a:lnTo>
                  <a:pt x="2189" y="1548"/>
                </a:lnTo>
                <a:lnTo>
                  <a:pt x="2187" y="1546"/>
                </a:lnTo>
                <a:lnTo>
                  <a:pt x="2186" y="1544"/>
                </a:lnTo>
                <a:lnTo>
                  <a:pt x="2185" y="1542"/>
                </a:lnTo>
                <a:lnTo>
                  <a:pt x="2185" y="1540"/>
                </a:lnTo>
                <a:lnTo>
                  <a:pt x="2185" y="1537"/>
                </a:lnTo>
                <a:lnTo>
                  <a:pt x="2185" y="1535"/>
                </a:lnTo>
                <a:lnTo>
                  <a:pt x="2186" y="1533"/>
                </a:lnTo>
                <a:lnTo>
                  <a:pt x="2188" y="1531"/>
                </a:lnTo>
                <a:lnTo>
                  <a:pt x="2189" y="1529"/>
                </a:lnTo>
                <a:lnTo>
                  <a:pt x="2191" y="1528"/>
                </a:lnTo>
                <a:lnTo>
                  <a:pt x="2194" y="1527"/>
                </a:lnTo>
                <a:lnTo>
                  <a:pt x="2195" y="1526"/>
                </a:lnTo>
                <a:close/>
                <a:moveTo>
                  <a:pt x="2390" y="1487"/>
                </a:moveTo>
                <a:lnTo>
                  <a:pt x="2393" y="1487"/>
                </a:lnTo>
                <a:lnTo>
                  <a:pt x="2396" y="1487"/>
                </a:lnTo>
                <a:lnTo>
                  <a:pt x="2398" y="1488"/>
                </a:lnTo>
                <a:lnTo>
                  <a:pt x="2400" y="1489"/>
                </a:lnTo>
                <a:lnTo>
                  <a:pt x="2402" y="1491"/>
                </a:lnTo>
                <a:lnTo>
                  <a:pt x="2403" y="1493"/>
                </a:lnTo>
                <a:lnTo>
                  <a:pt x="2404" y="1495"/>
                </a:lnTo>
                <a:lnTo>
                  <a:pt x="2405" y="1498"/>
                </a:lnTo>
                <a:lnTo>
                  <a:pt x="2405" y="1500"/>
                </a:lnTo>
                <a:lnTo>
                  <a:pt x="2405" y="1503"/>
                </a:lnTo>
                <a:lnTo>
                  <a:pt x="2404" y="1505"/>
                </a:lnTo>
                <a:lnTo>
                  <a:pt x="2403" y="1507"/>
                </a:lnTo>
                <a:lnTo>
                  <a:pt x="2401" y="1509"/>
                </a:lnTo>
                <a:lnTo>
                  <a:pt x="2399" y="1510"/>
                </a:lnTo>
                <a:lnTo>
                  <a:pt x="2397" y="1511"/>
                </a:lnTo>
                <a:lnTo>
                  <a:pt x="2395" y="1512"/>
                </a:lnTo>
                <a:lnTo>
                  <a:pt x="2392" y="1512"/>
                </a:lnTo>
                <a:lnTo>
                  <a:pt x="2389" y="1511"/>
                </a:lnTo>
                <a:lnTo>
                  <a:pt x="2387" y="1510"/>
                </a:lnTo>
                <a:lnTo>
                  <a:pt x="2385" y="1509"/>
                </a:lnTo>
                <a:lnTo>
                  <a:pt x="2383" y="1508"/>
                </a:lnTo>
                <a:lnTo>
                  <a:pt x="2382" y="1506"/>
                </a:lnTo>
                <a:lnTo>
                  <a:pt x="2381" y="1503"/>
                </a:lnTo>
                <a:lnTo>
                  <a:pt x="2380" y="1501"/>
                </a:lnTo>
                <a:lnTo>
                  <a:pt x="2380" y="1498"/>
                </a:lnTo>
                <a:lnTo>
                  <a:pt x="2380" y="1496"/>
                </a:lnTo>
                <a:lnTo>
                  <a:pt x="2381" y="1494"/>
                </a:lnTo>
                <a:lnTo>
                  <a:pt x="2382" y="1492"/>
                </a:lnTo>
                <a:lnTo>
                  <a:pt x="2384" y="1490"/>
                </a:lnTo>
                <a:lnTo>
                  <a:pt x="2386" y="1489"/>
                </a:lnTo>
                <a:lnTo>
                  <a:pt x="2388" y="1488"/>
                </a:lnTo>
                <a:lnTo>
                  <a:pt x="2390" y="1487"/>
                </a:lnTo>
                <a:close/>
                <a:moveTo>
                  <a:pt x="2260" y="1510"/>
                </a:moveTo>
                <a:lnTo>
                  <a:pt x="2265" y="1510"/>
                </a:lnTo>
                <a:lnTo>
                  <a:pt x="2267" y="1511"/>
                </a:lnTo>
                <a:lnTo>
                  <a:pt x="2269" y="1512"/>
                </a:lnTo>
                <a:lnTo>
                  <a:pt x="2271" y="1513"/>
                </a:lnTo>
                <a:lnTo>
                  <a:pt x="2273" y="1515"/>
                </a:lnTo>
                <a:lnTo>
                  <a:pt x="2274" y="1517"/>
                </a:lnTo>
                <a:lnTo>
                  <a:pt x="2275" y="1519"/>
                </a:lnTo>
                <a:lnTo>
                  <a:pt x="2275" y="1522"/>
                </a:lnTo>
                <a:lnTo>
                  <a:pt x="2275" y="1524"/>
                </a:lnTo>
                <a:lnTo>
                  <a:pt x="2274" y="1527"/>
                </a:lnTo>
                <a:lnTo>
                  <a:pt x="2273" y="1529"/>
                </a:lnTo>
                <a:lnTo>
                  <a:pt x="2271" y="1531"/>
                </a:lnTo>
                <a:lnTo>
                  <a:pt x="2270" y="1532"/>
                </a:lnTo>
                <a:lnTo>
                  <a:pt x="2268" y="1534"/>
                </a:lnTo>
                <a:lnTo>
                  <a:pt x="2265" y="1534"/>
                </a:lnTo>
                <a:lnTo>
                  <a:pt x="2260" y="1534"/>
                </a:lnTo>
                <a:lnTo>
                  <a:pt x="2258" y="1534"/>
                </a:lnTo>
                <a:lnTo>
                  <a:pt x="2255" y="1533"/>
                </a:lnTo>
                <a:lnTo>
                  <a:pt x="2254" y="1531"/>
                </a:lnTo>
                <a:lnTo>
                  <a:pt x="2252" y="1529"/>
                </a:lnTo>
                <a:lnTo>
                  <a:pt x="2251" y="1527"/>
                </a:lnTo>
                <a:lnTo>
                  <a:pt x="2250" y="1525"/>
                </a:lnTo>
                <a:lnTo>
                  <a:pt x="2250" y="1522"/>
                </a:lnTo>
                <a:lnTo>
                  <a:pt x="2250" y="1520"/>
                </a:lnTo>
                <a:lnTo>
                  <a:pt x="2250" y="1518"/>
                </a:lnTo>
                <a:lnTo>
                  <a:pt x="2252" y="1515"/>
                </a:lnTo>
                <a:lnTo>
                  <a:pt x="2253" y="1514"/>
                </a:lnTo>
                <a:lnTo>
                  <a:pt x="2255" y="1512"/>
                </a:lnTo>
                <a:lnTo>
                  <a:pt x="2257" y="1511"/>
                </a:lnTo>
                <a:lnTo>
                  <a:pt x="2259" y="1510"/>
                </a:lnTo>
                <a:lnTo>
                  <a:pt x="2260" y="1510"/>
                </a:lnTo>
                <a:close/>
                <a:moveTo>
                  <a:pt x="2325" y="1497"/>
                </a:moveTo>
                <a:lnTo>
                  <a:pt x="2327" y="1496"/>
                </a:lnTo>
                <a:lnTo>
                  <a:pt x="2330" y="1497"/>
                </a:lnTo>
                <a:lnTo>
                  <a:pt x="2332" y="1497"/>
                </a:lnTo>
                <a:lnTo>
                  <a:pt x="2334" y="1499"/>
                </a:lnTo>
                <a:lnTo>
                  <a:pt x="2336" y="1500"/>
                </a:lnTo>
                <a:lnTo>
                  <a:pt x="2338" y="1502"/>
                </a:lnTo>
                <a:lnTo>
                  <a:pt x="2339" y="1504"/>
                </a:lnTo>
                <a:lnTo>
                  <a:pt x="2339" y="1507"/>
                </a:lnTo>
                <a:lnTo>
                  <a:pt x="2339" y="1512"/>
                </a:lnTo>
                <a:lnTo>
                  <a:pt x="2339" y="1514"/>
                </a:lnTo>
                <a:lnTo>
                  <a:pt x="2337" y="1516"/>
                </a:lnTo>
                <a:lnTo>
                  <a:pt x="2336" y="1518"/>
                </a:lnTo>
                <a:lnTo>
                  <a:pt x="2334" y="1520"/>
                </a:lnTo>
                <a:lnTo>
                  <a:pt x="2332" y="1521"/>
                </a:lnTo>
                <a:lnTo>
                  <a:pt x="2329" y="1521"/>
                </a:lnTo>
                <a:lnTo>
                  <a:pt x="2327" y="1522"/>
                </a:lnTo>
                <a:lnTo>
                  <a:pt x="2324" y="1521"/>
                </a:lnTo>
                <a:lnTo>
                  <a:pt x="2322" y="1520"/>
                </a:lnTo>
                <a:lnTo>
                  <a:pt x="2320" y="1519"/>
                </a:lnTo>
                <a:lnTo>
                  <a:pt x="2318" y="1518"/>
                </a:lnTo>
                <a:lnTo>
                  <a:pt x="2316" y="1516"/>
                </a:lnTo>
                <a:lnTo>
                  <a:pt x="2315" y="1514"/>
                </a:lnTo>
                <a:lnTo>
                  <a:pt x="2315" y="1511"/>
                </a:lnTo>
                <a:lnTo>
                  <a:pt x="2314" y="1509"/>
                </a:lnTo>
                <a:lnTo>
                  <a:pt x="2315" y="1506"/>
                </a:lnTo>
                <a:lnTo>
                  <a:pt x="2316" y="1504"/>
                </a:lnTo>
                <a:lnTo>
                  <a:pt x="2317" y="1502"/>
                </a:lnTo>
                <a:lnTo>
                  <a:pt x="2318" y="1500"/>
                </a:lnTo>
                <a:lnTo>
                  <a:pt x="2320" y="1498"/>
                </a:lnTo>
                <a:lnTo>
                  <a:pt x="2322" y="1497"/>
                </a:lnTo>
                <a:lnTo>
                  <a:pt x="2325" y="1497"/>
                </a:lnTo>
                <a:close/>
                <a:moveTo>
                  <a:pt x="939" y="2269"/>
                </a:moveTo>
                <a:lnTo>
                  <a:pt x="942" y="2269"/>
                </a:lnTo>
                <a:lnTo>
                  <a:pt x="945" y="2269"/>
                </a:lnTo>
                <a:lnTo>
                  <a:pt x="938" y="2269"/>
                </a:lnTo>
                <a:lnTo>
                  <a:pt x="939" y="2269"/>
                </a:lnTo>
                <a:close/>
                <a:moveTo>
                  <a:pt x="973" y="2212"/>
                </a:moveTo>
                <a:lnTo>
                  <a:pt x="978" y="2212"/>
                </a:lnTo>
                <a:lnTo>
                  <a:pt x="980" y="2213"/>
                </a:lnTo>
                <a:lnTo>
                  <a:pt x="982" y="2214"/>
                </a:lnTo>
                <a:lnTo>
                  <a:pt x="984" y="2215"/>
                </a:lnTo>
                <a:lnTo>
                  <a:pt x="986" y="2217"/>
                </a:lnTo>
                <a:lnTo>
                  <a:pt x="987" y="2219"/>
                </a:lnTo>
                <a:lnTo>
                  <a:pt x="988" y="2222"/>
                </a:lnTo>
                <a:lnTo>
                  <a:pt x="988" y="2224"/>
                </a:lnTo>
                <a:lnTo>
                  <a:pt x="988" y="2226"/>
                </a:lnTo>
                <a:lnTo>
                  <a:pt x="987" y="2229"/>
                </a:lnTo>
                <a:lnTo>
                  <a:pt x="986" y="2231"/>
                </a:lnTo>
                <a:lnTo>
                  <a:pt x="985" y="2233"/>
                </a:lnTo>
                <a:lnTo>
                  <a:pt x="982" y="2235"/>
                </a:lnTo>
                <a:lnTo>
                  <a:pt x="980" y="2236"/>
                </a:lnTo>
                <a:lnTo>
                  <a:pt x="978" y="2237"/>
                </a:lnTo>
                <a:lnTo>
                  <a:pt x="973" y="2237"/>
                </a:lnTo>
                <a:lnTo>
                  <a:pt x="971" y="2236"/>
                </a:lnTo>
                <a:lnTo>
                  <a:pt x="969" y="2235"/>
                </a:lnTo>
                <a:lnTo>
                  <a:pt x="967" y="2234"/>
                </a:lnTo>
                <a:lnTo>
                  <a:pt x="965" y="2232"/>
                </a:lnTo>
                <a:lnTo>
                  <a:pt x="964" y="2230"/>
                </a:lnTo>
                <a:lnTo>
                  <a:pt x="963" y="2228"/>
                </a:lnTo>
                <a:lnTo>
                  <a:pt x="963" y="2225"/>
                </a:lnTo>
                <a:lnTo>
                  <a:pt x="963" y="2223"/>
                </a:lnTo>
                <a:lnTo>
                  <a:pt x="963" y="2220"/>
                </a:lnTo>
                <a:lnTo>
                  <a:pt x="965" y="2218"/>
                </a:lnTo>
                <a:lnTo>
                  <a:pt x="966" y="2216"/>
                </a:lnTo>
                <a:lnTo>
                  <a:pt x="968" y="2214"/>
                </a:lnTo>
                <a:lnTo>
                  <a:pt x="971" y="2213"/>
                </a:lnTo>
                <a:lnTo>
                  <a:pt x="973" y="2212"/>
                </a:lnTo>
                <a:close/>
                <a:moveTo>
                  <a:pt x="1008" y="2156"/>
                </a:moveTo>
                <a:lnTo>
                  <a:pt x="1013" y="2156"/>
                </a:lnTo>
                <a:lnTo>
                  <a:pt x="1015" y="2157"/>
                </a:lnTo>
                <a:lnTo>
                  <a:pt x="1017" y="2158"/>
                </a:lnTo>
                <a:lnTo>
                  <a:pt x="1019" y="2159"/>
                </a:lnTo>
                <a:lnTo>
                  <a:pt x="1021" y="2161"/>
                </a:lnTo>
                <a:lnTo>
                  <a:pt x="1022" y="2163"/>
                </a:lnTo>
                <a:lnTo>
                  <a:pt x="1023" y="2166"/>
                </a:lnTo>
                <a:lnTo>
                  <a:pt x="1023" y="2168"/>
                </a:lnTo>
                <a:lnTo>
                  <a:pt x="1023" y="2171"/>
                </a:lnTo>
                <a:lnTo>
                  <a:pt x="1022" y="2173"/>
                </a:lnTo>
                <a:lnTo>
                  <a:pt x="1021" y="2175"/>
                </a:lnTo>
                <a:lnTo>
                  <a:pt x="1019" y="2177"/>
                </a:lnTo>
                <a:lnTo>
                  <a:pt x="1017" y="2179"/>
                </a:lnTo>
                <a:lnTo>
                  <a:pt x="1015" y="2180"/>
                </a:lnTo>
                <a:lnTo>
                  <a:pt x="1013" y="2181"/>
                </a:lnTo>
                <a:lnTo>
                  <a:pt x="1008" y="2181"/>
                </a:lnTo>
                <a:lnTo>
                  <a:pt x="1006" y="2180"/>
                </a:lnTo>
                <a:lnTo>
                  <a:pt x="1004" y="2179"/>
                </a:lnTo>
                <a:lnTo>
                  <a:pt x="1002" y="2178"/>
                </a:lnTo>
                <a:lnTo>
                  <a:pt x="1000" y="2176"/>
                </a:lnTo>
                <a:lnTo>
                  <a:pt x="999" y="2174"/>
                </a:lnTo>
                <a:lnTo>
                  <a:pt x="998" y="2171"/>
                </a:lnTo>
                <a:lnTo>
                  <a:pt x="998" y="2169"/>
                </a:lnTo>
                <a:lnTo>
                  <a:pt x="998" y="2166"/>
                </a:lnTo>
                <a:lnTo>
                  <a:pt x="999" y="2164"/>
                </a:lnTo>
                <a:lnTo>
                  <a:pt x="1000" y="2162"/>
                </a:lnTo>
                <a:lnTo>
                  <a:pt x="1001" y="2160"/>
                </a:lnTo>
                <a:lnTo>
                  <a:pt x="1003" y="2158"/>
                </a:lnTo>
                <a:lnTo>
                  <a:pt x="1006" y="2157"/>
                </a:lnTo>
                <a:lnTo>
                  <a:pt x="1008" y="2156"/>
                </a:lnTo>
                <a:close/>
                <a:moveTo>
                  <a:pt x="1045" y="2101"/>
                </a:moveTo>
                <a:lnTo>
                  <a:pt x="1049" y="2101"/>
                </a:lnTo>
                <a:lnTo>
                  <a:pt x="1052" y="2101"/>
                </a:lnTo>
                <a:lnTo>
                  <a:pt x="1054" y="2103"/>
                </a:lnTo>
                <a:lnTo>
                  <a:pt x="1056" y="2104"/>
                </a:lnTo>
                <a:lnTo>
                  <a:pt x="1057" y="2106"/>
                </a:lnTo>
                <a:lnTo>
                  <a:pt x="1059" y="2108"/>
                </a:lnTo>
                <a:lnTo>
                  <a:pt x="1059" y="2111"/>
                </a:lnTo>
                <a:lnTo>
                  <a:pt x="1059" y="2116"/>
                </a:lnTo>
                <a:lnTo>
                  <a:pt x="1058" y="2118"/>
                </a:lnTo>
                <a:lnTo>
                  <a:pt x="1057" y="2120"/>
                </a:lnTo>
                <a:lnTo>
                  <a:pt x="1056" y="2122"/>
                </a:lnTo>
                <a:lnTo>
                  <a:pt x="1054" y="2124"/>
                </a:lnTo>
                <a:lnTo>
                  <a:pt x="1051" y="2125"/>
                </a:lnTo>
                <a:lnTo>
                  <a:pt x="1049" y="2126"/>
                </a:lnTo>
                <a:lnTo>
                  <a:pt x="1044" y="2126"/>
                </a:lnTo>
                <a:lnTo>
                  <a:pt x="1042" y="2125"/>
                </a:lnTo>
                <a:lnTo>
                  <a:pt x="1040" y="2124"/>
                </a:lnTo>
                <a:lnTo>
                  <a:pt x="1038" y="2122"/>
                </a:lnTo>
                <a:lnTo>
                  <a:pt x="1036" y="2120"/>
                </a:lnTo>
                <a:lnTo>
                  <a:pt x="1035" y="2118"/>
                </a:lnTo>
                <a:lnTo>
                  <a:pt x="1034" y="2116"/>
                </a:lnTo>
                <a:lnTo>
                  <a:pt x="1034" y="2111"/>
                </a:lnTo>
                <a:lnTo>
                  <a:pt x="1035" y="2108"/>
                </a:lnTo>
                <a:lnTo>
                  <a:pt x="1036" y="2106"/>
                </a:lnTo>
                <a:lnTo>
                  <a:pt x="1038" y="2104"/>
                </a:lnTo>
                <a:lnTo>
                  <a:pt x="1040" y="2102"/>
                </a:lnTo>
                <a:lnTo>
                  <a:pt x="1042" y="2101"/>
                </a:lnTo>
                <a:lnTo>
                  <a:pt x="1045" y="2101"/>
                </a:lnTo>
                <a:close/>
                <a:moveTo>
                  <a:pt x="1082" y="2046"/>
                </a:moveTo>
                <a:lnTo>
                  <a:pt x="1087" y="2046"/>
                </a:lnTo>
                <a:lnTo>
                  <a:pt x="1089" y="2047"/>
                </a:lnTo>
                <a:lnTo>
                  <a:pt x="1092" y="2048"/>
                </a:lnTo>
                <a:lnTo>
                  <a:pt x="1094" y="2050"/>
                </a:lnTo>
                <a:lnTo>
                  <a:pt x="1095" y="2052"/>
                </a:lnTo>
                <a:lnTo>
                  <a:pt x="1096" y="2054"/>
                </a:lnTo>
                <a:lnTo>
                  <a:pt x="1097" y="2056"/>
                </a:lnTo>
                <a:lnTo>
                  <a:pt x="1097" y="2061"/>
                </a:lnTo>
                <a:lnTo>
                  <a:pt x="1096" y="2064"/>
                </a:lnTo>
                <a:lnTo>
                  <a:pt x="1095" y="2066"/>
                </a:lnTo>
                <a:lnTo>
                  <a:pt x="1093" y="2068"/>
                </a:lnTo>
                <a:lnTo>
                  <a:pt x="1091" y="2069"/>
                </a:lnTo>
                <a:lnTo>
                  <a:pt x="1089" y="2071"/>
                </a:lnTo>
                <a:lnTo>
                  <a:pt x="1086" y="2071"/>
                </a:lnTo>
                <a:lnTo>
                  <a:pt x="1082" y="2071"/>
                </a:lnTo>
                <a:lnTo>
                  <a:pt x="1079" y="2070"/>
                </a:lnTo>
                <a:lnTo>
                  <a:pt x="1077" y="2069"/>
                </a:lnTo>
                <a:lnTo>
                  <a:pt x="1075" y="2067"/>
                </a:lnTo>
                <a:lnTo>
                  <a:pt x="1073" y="2065"/>
                </a:lnTo>
                <a:lnTo>
                  <a:pt x="1072" y="2063"/>
                </a:lnTo>
                <a:lnTo>
                  <a:pt x="1072" y="2061"/>
                </a:lnTo>
                <a:lnTo>
                  <a:pt x="1072" y="2056"/>
                </a:lnTo>
                <a:lnTo>
                  <a:pt x="1073" y="2054"/>
                </a:lnTo>
                <a:lnTo>
                  <a:pt x="1074" y="2051"/>
                </a:lnTo>
                <a:lnTo>
                  <a:pt x="1076" y="2049"/>
                </a:lnTo>
                <a:lnTo>
                  <a:pt x="1078" y="2048"/>
                </a:lnTo>
                <a:lnTo>
                  <a:pt x="1080" y="2047"/>
                </a:lnTo>
                <a:lnTo>
                  <a:pt x="1082" y="2046"/>
                </a:lnTo>
                <a:close/>
                <a:moveTo>
                  <a:pt x="1121" y="1993"/>
                </a:moveTo>
                <a:lnTo>
                  <a:pt x="1126" y="1993"/>
                </a:lnTo>
                <a:lnTo>
                  <a:pt x="1128" y="1993"/>
                </a:lnTo>
                <a:lnTo>
                  <a:pt x="1131" y="1995"/>
                </a:lnTo>
                <a:lnTo>
                  <a:pt x="1133" y="1997"/>
                </a:lnTo>
                <a:lnTo>
                  <a:pt x="1134" y="1999"/>
                </a:lnTo>
                <a:lnTo>
                  <a:pt x="1135" y="2001"/>
                </a:lnTo>
                <a:lnTo>
                  <a:pt x="1136" y="2003"/>
                </a:lnTo>
                <a:lnTo>
                  <a:pt x="1136" y="2006"/>
                </a:lnTo>
                <a:lnTo>
                  <a:pt x="1135" y="2008"/>
                </a:lnTo>
                <a:lnTo>
                  <a:pt x="1135" y="2010"/>
                </a:lnTo>
                <a:lnTo>
                  <a:pt x="1133" y="2013"/>
                </a:lnTo>
                <a:lnTo>
                  <a:pt x="1132" y="2014"/>
                </a:lnTo>
                <a:lnTo>
                  <a:pt x="1130" y="2016"/>
                </a:lnTo>
                <a:lnTo>
                  <a:pt x="1128" y="2017"/>
                </a:lnTo>
                <a:lnTo>
                  <a:pt x="1125" y="2018"/>
                </a:lnTo>
                <a:lnTo>
                  <a:pt x="1120" y="2017"/>
                </a:lnTo>
                <a:lnTo>
                  <a:pt x="1118" y="2017"/>
                </a:lnTo>
                <a:lnTo>
                  <a:pt x="1115" y="2015"/>
                </a:lnTo>
                <a:lnTo>
                  <a:pt x="1114" y="2014"/>
                </a:lnTo>
                <a:lnTo>
                  <a:pt x="1112" y="2011"/>
                </a:lnTo>
                <a:lnTo>
                  <a:pt x="1111" y="2009"/>
                </a:lnTo>
                <a:lnTo>
                  <a:pt x="1110" y="2007"/>
                </a:lnTo>
                <a:lnTo>
                  <a:pt x="1110" y="2004"/>
                </a:lnTo>
                <a:lnTo>
                  <a:pt x="1111" y="2002"/>
                </a:lnTo>
                <a:lnTo>
                  <a:pt x="1112" y="2000"/>
                </a:lnTo>
                <a:lnTo>
                  <a:pt x="1113" y="1997"/>
                </a:lnTo>
                <a:lnTo>
                  <a:pt x="1115" y="1996"/>
                </a:lnTo>
                <a:lnTo>
                  <a:pt x="1116" y="1994"/>
                </a:lnTo>
                <a:lnTo>
                  <a:pt x="1119" y="1993"/>
                </a:lnTo>
                <a:lnTo>
                  <a:pt x="1121" y="1993"/>
                </a:lnTo>
                <a:close/>
                <a:moveTo>
                  <a:pt x="1161" y="1940"/>
                </a:moveTo>
                <a:lnTo>
                  <a:pt x="1163" y="1940"/>
                </a:lnTo>
                <a:lnTo>
                  <a:pt x="1166" y="1940"/>
                </a:lnTo>
                <a:lnTo>
                  <a:pt x="1169" y="1941"/>
                </a:lnTo>
                <a:lnTo>
                  <a:pt x="1171" y="1942"/>
                </a:lnTo>
                <a:lnTo>
                  <a:pt x="1173" y="1944"/>
                </a:lnTo>
                <a:lnTo>
                  <a:pt x="1174" y="1946"/>
                </a:lnTo>
                <a:lnTo>
                  <a:pt x="1175" y="1948"/>
                </a:lnTo>
                <a:lnTo>
                  <a:pt x="1176" y="1951"/>
                </a:lnTo>
                <a:lnTo>
                  <a:pt x="1176" y="1953"/>
                </a:lnTo>
                <a:lnTo>
                  <a:pt x="1175" y="1956"/>
                </a:lnTo>
                <a:lnTo>
                  <a:pt x="1174" y="1958"/>
                </a:lnTo>
                <a:lnTo>
                  <a:pt x="1173" y="1960"/>
                </a:lnTo>
                <a:lnTo>
                  <a:pt x="1171" y="1962"/>
                </a:lnTo>
                <a:lnTo>
                  <a:pt x="1170" y="1963"/>
                </a:lnTo>
                <a:lnTo>
                  <a:pt x="1168" y="1964"/>
                </a:lnTo>
                <a:lnTo>
                  <a:pt x="1165" y="1965"/>
                </a:lnTo>
                <a:lnTo>
                  <a:pt x="1163" y="1965"/>
                </a:lnTo>
                <a:lnTo>
                  <a:pt x="1160" y="1965"/>
                </a:lnTo>
                <a:lnTo>
                  <a:pt x="1158" y="1964"/>
                </a:lnTo>
                <a:lnTo>
                  <a:pt x="1155" y="1962"/>
                </a:lnTo>
                <a:lnTo>
                  <a:pt x="1153" y="1961"/>
                </a:lnTo>
                <a:lnTo>
                  <a:pt x="1152" y="1959"/>
                </a:lnTo>
                <a:lnTo>
                  <a:pt x="1151" y="1956"/>
                </a:lnTo>
                <a:lnTo>
                  <a:pt x="1150" y="1954"/>
                </a:lnTo>
                <a:lnTo>
                  <a:pt x="1150" y="1952"/>
                </a:lnTo>
                <a:lnTo>
                  <a:pt x="1151" y="1949"/>
                </a:lnTo>
                <a:lnTo>
                  <a:pt x="1152" y="1947"/>
                </a:lnTo>
                <a:lnTo>
                  <a:pt x="1153" y="1945"/>
                </a:lnTo>
                <a:lnTo>
                  <a:pt x="1155" y="1943"/>
                </a:lnTo>
                <a:lnTo>
                  <a:pt x="1157" y="1941"/>
                </a:lnTo>
                <a:lnTo>
                  <a:pt x="1159" y="1940"/>
                </a:lnTo>
                <a:lnTo>
                  <a:pt x="1161" y="1940"/>
                </a:lnTo>
                <a:close/>
                <a:moveTo>
                  <a:pt x="1202" y="1888"/>
                </a:moveTo>
                <a:lnTo>
                  <a:pt x="1205" y="1888"/>
                </a:lnTo>
                <a:lnTo>
                  <a:pt x="1208" y="1888"/>
                </a:lnTo>
                <a:lnTo>
                  <a:pt x="1210" y="1889"/>
                </a:lnTo>
                <a:lnTo>
                  <a:pt x="1213" y="1891"/>
                </a:lnTo>
                <a:lnTo>
                  <a:pt x="1214" y="1893"/>
                </a:lnTo>
                <a:lnTo>
                  <a:pt x="1216" y="1895"/>
                </a:lnTo>
                <a:lnTo>
                  <a:pt x="1217" y="1897"/>
                </a:lnTo>
                <a:lnTo>
                  <a:pt x="1217" y="1900"/>
                </a:lnTo>
                <a:lnTo>
                  <a:pt x="1217" y="1902"/>
                </a:lnTo>
                <a:lnTo>
                  <a:pt x="1217" y="1904"/>
                </a:lnTo>
                <a:lnTo>
                  <a:pt x="1214" y="1909"/>
                </a:lnTo>
                <a:lnTo>
                  <a:pt x="1213" y="1910"/>
                </a:lnTo>
                <a:lnTo>
                  <a:pt x="1211" y="1912"/>
                </a:lnTo>
                <a:lnTo>
                  <a:pt x="1209" y="1913"/>
                </a:lnTo>
                <a:lnTo>
                  <a:pt x="1207" y="1913"/>
                </a:lnTo>
                <a:lnTo>
                  <a:pt x="1204" y="1913"/>
                </a:lnTo>
                <a:lnTo>
                  <a:pt x="1201" y="1913"/>
                </a:lnTo>
                <a:lnTo>
                  <a:pt x="1199" y="1912"/>
                </a:lnTo>
                <a:lnTo>
                  <a:pt x="1196" y="1911"/>
                </a:lnTo>
                <a:lnTo>
                  <a:pt x="1195" y="1909"/>
                </a:lnTo>
                <a:lnTo>
                  <a:pt x="1193" y="1907"/>
                </a:lnTo>
                <a:lnTo>
                  <a:pt x="1192" y="1904"/>
                </a:lnTo>
                <a:lnTo>
                  <a:pt x="1192" y="1902"/>
                </a:lnTo>
                <a:lnTo>
                  <a:pt x="1192" y="1900"/>
                </a:lnTo>
                <a:lnTo>
                  <a:pt x="1192" y="1897"/>
                </a:lnTo>
                <a:lnTo>
                  <a:pt x="1195" y="1893"/>
                </a:lnTo>
                <a:lnTo>
                  <a:pt x="1196" y="1891"/>
                </a:lnTo>
                <a:lnTo>
                  <a:pt x="1198" y="1890"/>
                </a:lnTo>
                <a:lnTo>
                  <a:pt x="1200" y="1889"/>
                </a:lnTo>
                <a:lnTo>
                  <a:pt x="1202" y="1888"/>
                </a:lnTo>
                <a:close/>
                <a:moveTo>
                  <a:pt x="1245" y="1838"/>
                </a:moveTo>
                <a:lnTo>
                  <a:pt x="1248" y="1838"/>
                </a:lnTo>
                <a:lnTo>
                  <a:pt x="1250" y="1838"/>
                </a:lnTo>
                <a:lnTo>
                  <a:pt x="1253" y="1839"/>
                </a:lnTo>
                <a:lnTo>
                  <a:pt x="1255" y="1841"/>
                </a:lnTo>
                <a:lnTo>
                  <a:pt x="1257" y="1842"/>
                </a:lnTo>
                <a:lnTo>
                  <a:pt x="1259" y="1845"/>
                </a:lnTo>
                <a:lnTo>
                  <a:pt x="1259" y="1847"/>
                </a:lnTo>
                <a:lnTo>
                  <a:pt x="1260" y="1849"/>
                </a:lnTo>
                <a:lnTo>
                  <a:pt x="1260" y="1852"/>
                </a:lnTo>
                <a:lnTo>
                  <a:pt x="1259" y="1854"/>
                </a:lnTo>
                <a:lnTo>
                  <a:pt x="1258" y="1856"/>
                </a:lnTo>
                <a:lnTo>
                  <a:pt x="1257" y="1859"/>
                </a:lnTo>
                <a:lnTo>
                  <a:pt x="1255" y="1860"/>
                </a:lnTo>
                <a:lnTo>
                  <a:pt x="1253" y="1861"/>
                </a:lnTo>
                <a:lnTo>
                  <a:pt x="1251" y="1862"/>
                </a:lnTo>
                <a:lnTo>
                  <a:pt x="1249" y="1863"/>
                </a:lnTo>
                <a:lnTo>
                  <a:pt x="1247" y="1863"/>
                </a:lnTo>
                <a:lnTo>
                  <a:pt x="1244" y="1862"/>
                </a:lnTo>
                <a:lnTo>
                  <a:pt x="1241" y="1861"/>
                </a:lnTo>
                <a:lnTo>
                  <a:pt x="1239" y="1860"/>
                </a:lnTo>
                <a:lnTo>
                  <a:pt x="1237" y="1858"/>
                </a:lnTo>
                <a:lnTo>
                  <a:pt x="1236" y="1856"/>
                </a:lnTo>
                <a:lnTo>
                  <a:pt x="1235" y="1853"/>
                </a:lnTo>
                <a:lnTo>
                  <a:pt x="1234" y="1851"/>
                </a:lnTo>
                <a:lnTo>
                  <a:pt x="1235" y="1849"/>
                </a:lnTo>
                <a:lnTo>
                  <a:pt x="1235" y="1846"/>
                </a:lnTo>
                <a:lnTo>
                  <a:pt x="1236" y="1844"/>
                </a:lnTo>
                <a:lnTo>
                  <a:pt x="1238" y="1842"/>
                </a:lnTo>
                <a:lnTo>
                  <a:pt x="1239" y="1840"/>
                </a:lnTo>
                <a:lnTo>
                  <a:pt x="1241" y="1839"/>
                </a:lnTo>
                <a:lnTo>
                  <a:pt x="1243" y="1838"/>
                </a:lnTo>
                <a:lnTo>
                  <a:pt x="1245" y="1838"/>
                </a:lnTo>
                <a:close/>
                <a:moveTo>
                  <a:pt x="1289" y="1788"/>
                </a:moveTo>
                <a:lnTo>
                  <a:pt x="1292" y="1788"/>
                </a:lnTo>
                <a:lnTo>
                  <a:pt x="1295" y="1789"/>
                </a:lnTo>
                <a:lnTo>
                  <a:pt x="1297" y="1790"/>
                </a:lnTo>
                <a:lnTo>
                  <a:pt x="1300" y="1791"/>
                </a:lnTo>
                <a:lnTo>
                  <a:pt x="1301" y="1793"/>
                </a:lnTo>
                <a:lnTo>
                  <a:pt x="1303" y="1796"/>
                </a:lnTo>
                <a:lnTo>
                  <a:pt x="1304" y="1798"/>
                </a:lnTo>
                <a:lnTo>
                  <a:pt x="1304" y="1800"/>
                </a:lnTo>
                <a:lnTo>
                  <a:pt x="1303" y="1805"/>
                </a:lnTo>
                <a:lnTo>
                  <a:pt x="1302" y="1807"/>
                </a:lnTo>
                <a:lnTo>
                  <a:pt x="1301" y="1809"/>
                </a:lnTo>
                <a:lnTo>
                  <a:pt x="1299" y="1811"/>
                </a:lnTo>
                <a:lnTo>
                  <a:pt x="1297" y="1812"/>
                </a:lnTo>
                <a:lnTo>
                  <a:pt x="1295" y="1813"/>
                </a:lnTo>
                <a:lnTo>
                  <a:pt x="1293" y="1813"/>
                </a:lnTo>
                <a:lnTo>
                  <a:pt x="1291" y="1813"/>
                </a:lnTo>
                <a:lnTo>
                  <a:pt x="1288" y="1813"/>
                </a:lnTo>
                <a:lnTo>
                  <a:pt x="1285" y="1812"/>
                </a:lnTo>
                <a:lnTo>
                  <a:pt x="1283" y="1810"/>
                </a:lnTo>
                <a:lnTo>
                  <a:pt x="1281" y="1808"/>
                </a:lnTo>
                <a:lnTo>
                  <a:pt x="1280" y="1806"/>
                </a:lnTo>
                <a:lnTo>
                  <a:pt x="1279" y="1804"/>
                </a:lnTo>
                <a:lnTo>
                  <a:pt x="1278" y="1801"/>
                </a:lnTo>
                <a:lnTo>
                  <a:pt x="1279" y="1797"/>
                </a:lnTo>
                <a:lnTo>
                  <a:pt x="1280" y="1794"/>
                </a:lnTo>
                <a:lnTo>
                  <a:pt x="1282" y="1792"/>
                </a:lnTo>
                <a:lnTo>
                  <a:pt x="1283" y="1791"/>
                </a:lnTo>
                <a:lnTo>
                  <a:pt x="1285" y="1790"/>
                </a:lnTo>
                <a:lnTo>
                  <a:pt x="1287" y="1789"/>
                </a:lnTo>
                <a:lnTo>
                  <a:pt x="1289" y="1788"/>
                </a:lnTo>
                <a:close/>
                <a:moveTo>
                  <a:pt x="1334" y="1740"/>
                </a:moveTo>
                <a:lnTo>
                  <a:pt x="1337" y="1740"/>
                </a:lnTo>
                <a:lnTo>
                  <a:pt x="1340" y="1740"/>
                </a:lnTo>
                <a:lnTo>
                  <a:pt x="1343" y="1742"/>
                </a:lnTo>
                <a:lnTo>
                  <a:pt x="1345" y="1744"/>
                </a:lnTo>
                <a:lnTo>
                  <a:pt x="1347" y="1746"/>
                </a:lnTo>
                <a:lnTo>
                  <a:pt x="1348" y="1748"/>
                </a:lnTo>
                <a:lnTo>
                  <a:pt x="1349" y="1750"/>
                </a:lnTo>
                <a:lnTo>
                  <a:pt x="1349" y="1752"/>
                </a:lnTo>
                <a:lnTo>
                  <a:pt x="1348" y="1757"/>
                </a:lnTo>
                <a:lnTo>
                  <a:pt x="1347" y="1759"/>
                </a:lnTo>
                <a:lnTo>
                  <a:pt x="1346" y="1762"/>
                </a:lnTo>
                <a:lnTo>
                  <a:pt x="1342" y="1764"/>
                </a:lnTo>
                <a:lnTo>
                  <a:pt x="1339" y="1765"/>
                </a:lnTo>
                <a:lnTo>
                  <a:pt x="1336" y="1765"/>
                </a:lnTo>
                <a:lnTo>
                  <a:pt x="1333" y="1765"/>
                </a:lnTo>
                <a:lnTo>
                  <a:pt x="1330" y="1764"/>
                </a:lnTo>
                <a:lnTo>
                  <a:pt x="1328" y="1762"/>
                </a:lnTo>
                <a:lnTo>
                  <a:pt x="1326" y="1760"/>
                </a:lnTo>
                <a:lnTo>
                  <a:pt x="1325" y="1758"/>
                </a:lnTo>
                <a:lnTo>
                  <a:pt x="1324" y="1755"/>
                </a:lnTo>
                <a:lnTo>
                  <a:pt x="1324" y="1753"/>
                </a:lnTo>
                <a:lnTo>
                  <a:pt x="1325" y="1748"/>
                </a:lnTo>
                <a:lnTo>
                  <a:pt x="1326" y="1746"/>
                </a:lnTo>
                <a:lnTo>
                  <a:pt x="1327" y="1744"/>
                </a:lnTo>
                <a:lnTo>
                  <a:pt x="1331" y="1741"/>
                </a:lnTo>
                <a:lnTo>
                  <a:pt x="1334" y="1740"/>
                </a:lnTo>
                <a:close/>
                <a:moveTo>
                  <a:pt x="1381" y="1693"/>
                </a:moveTo>
                <a:lnTo>
                  <a:pt x="1384" y="1693"/>
                </a:lnTo>
                <a:lnTo>
                  <a:pt x="1387" y="1694"/>
                </a:lnTo>
                <a:lnTo>
                  <a:pt x="1390" y="1695"/>
                </a:lnTo>
                <a:lnTo>
                  <a:pt x="1392" y="1697"/>
                </a:lnTo>
                <a:lnTo>
                  <a:pt x="1394" y="1699"/>
                </a:lnTo>
                <a:lnTo>
                  <a:pt x="1395" y="1701"/>
                </a:lnTo>
                <a:lnTo>
                  <a:pt x="1396" y="1704"/>
                </a:lnTo>
                <a:lnTo>
                  <a:pt x="1396" y="1706"/>
                </a:lnTo>
                <a:lnTo>
                  <a:pt x="1396" y="1708"/>
                </a:lnTo>
                <a:lnTo>
                  <a:pt x="1395" y="1711"/>
                </a:lnTo>
                <a:lnTo>
                  <a:pt x="1394" y="1713"/>
                </a:lnTo>
                <a:lnTo>
                  <a:pt x="1392" y="1715"/>
                </a:lnTo>
                <a:lnTo>
                  <a:pt x="1389" y="1717"/>
                </a:lnTo>
                <a:lnTo>
                  <a:pt x="1386" y="1718"/>
                </a:lnTo>
                <a:lnTo>
                  <a:pt x="1382" y="1719"/>
                </a:lnTo>
                <a:lnTo>
                  <a:pt x="1379" y="1718"/>
                </a:lnTo>
                <a:lnTo>
                  <a:pt x="1377" y="1717"/>
                </a:lnTo>
                <a:lnTo>
                  <a:pt x="1374" y="1715"/>
                </a:lnTo>
                <a:lnTo>
                  <a:pt x="1373" y="1713"/>
                </a:lnTo>
                <a:lnTo>
                  <a:pt x="1371" y="1710"/>
                </a:lnTo>
                <a:lnTo>
                  <a:pt x="1371" y="1708"/>
                </a:lnTo>
                <a:lnTo>
                  <a:pt x="1371" y="1706"/>
                </a:lnTo>
                <a:lnTo>
                  <a:pt x="1371" y="1703"/>
                </a:lnTo>
                <a:lnTo>
                  <a:pt x="1372" y="1701"/>
                </a:lnTo>
                <a:lnTo>
                  <a:pt x="1373" y="1699"/>
                </a:lnTo>
                <a:lnTo>
                  <a:pt x="1374" y="1697"/>
                </a:lnTo>
                <a:lnTo>
                  <a:pt x="1378" y="1695"/>
                </a:lnTo>
                <a:lnTo>
                  <a:pt x="1381" y="1693"/>
                </a:lnTo>
                <a:close/>
                <a:moveTo>
                  <a:pt x="1429" y="1648"/>
                </a:moveTo>
                <a:lnTo>
                  <a:pt x="1432" y="1648"/>
                </a:lnTo>
                <a:lnTo>
                  <a:pt x="1435" y="1648"/>
                </a:lnTo>
                <a:lnTo>
                  <a:pt x="1438" y="1650"/>
                </a:lnTo>
                <a:lnTo>
                  <a:pt x="1440" y="1651"/>
                </a:lnTo>
                <a:lnTo>
                  <a:pt x="1441" y="1652"/>
                </a:lnTo>
                <a:lnTo>
                  <a:pt x="1442" y="1654"/>
                </a:lnTo>
                <a:lnTo>
                  <a:pt x="1443" y="1656"/>
                </a:lnTo>
                <a:lnTo>
                  <a:pt x="1444" y="1661"/>
                </a:lnTo>
                <a:lnTo>
                  <a:pt x="1444" y="1663"/>
                </a:lnTo>
                <a:lnTo>
                  <a:pt x="1443" y="1666"/>
                </a:lnTo>
                <a:lnTo>
                  <a:pt x="1442" y="1668"/>
                </a:lnTo>
                <a:lnTo>
                  <a:pt x="1440" y="1670"/>
                </a:lnTo>
                <a:lnTo>
                  <a:pt x="1437" y="1672"/>
                </a:lnTo>
                <a:lnTo>
                  <a:pt x="1435" y="1673"/>
                </a:lnTo>
                <a:lnTo>
                  <a:pt x="1434" y="1673"/>
                </a:lnTo>
                <a:lnTo>
                  <a:pt x="1431" y="1673"/>
                </a:lnTo>
                <a:lnTo>
                  <a:pt x="1427" y="1673"/>
                </a:lnTo>
                <a:lnTo>
                  <a:pt x="1425" y="1671"/>
                </a:lnTo>
                <a:lnTo>
                  <a:pt x="1423" y="1670"/>
                </a:lnTo>
                <a:lnTo>
                  <a:pt x="1422" y="1669"/>
                </a:lnTo>
                <a:lnTo>
                  <a:pt x="1421" y="1667"/>
                </a:lnTo>
                <a:lnTo>
                  <a:pt x="1419" y="1665"/>
                </a:lnTo>
                <a:lnTo>
                  <a:pt x="1419" y="1660"/>
                </a:lnTo>
                <a:lnTo>
                  <a:pt x="1419" y="1658"/>
                </a:lnTo>
                <a:lnTo>
                  <a:pt x="1420" y="1655"/>
                </a:lnTo>
                <a:lnTo>
                  <a:pt x="1421" y="1653"/>
                </a:lnTo>
                <a:lnTo>
                  <a:pt x="1423" y="1651"/>
                </a:lnTo>
                <a:lnTo>
                  <a:pt x="1426" y="1649"/>
                </a:lnTo>
                <a:lnTo>
                  <a:pt x="1428" y="1648"/>
                </a:lnTo>
                <a:lnTo>
                  <a:pt x="1429" y="1648"/>
                </a:lnTo>
                <a:close/>
                <a:moveTo>
                  <a:pt x="1479" y="1604"/>
                </a:moveTo>
                <a:lnTo>
                  <a:pt x="1482" y="1604"/>
                </a:lnTo>
                <a:lnTo>
                  <a:pt x="1485" y="1605"/>
                </a:lnTo>
                <a:lnTo>
                  <a:pt x="1488" y="1606"/>
                </a:lnTo>
                <a:lnTo>
                  <a:pt x="1489" y="1607"/>
                </a:lnTo>
                <a:lnTo>
                  <a:pt x="1491" y="1608"/>
                </a:lnTo>
                <a:lnTo>
                  <a:pt x="1492" y="1611"/>
                </a:lnTo>
                <a:lnTo>
                  <a:pt x="1493" y="1613"/>
                </a:lnTo>
                <a:lnTo>
                  <a:pt x="1494" y="1615"/>
                </a:lnTo>
                <a:lnTo>
                  <a:pt x="1494" y="1618"/>
                </a:lnTo>
                <a:lnTo>
                  <a:pt x="1493" y="1620"/>
                </a:lnTo>
                <a:lnTo>
                  <a:pt x="1492" y="1622"/>
                </a:lnTo>
                <a:lnTo>
                  <a:pt x="1491" y="1624"/>
                </a:lnTo>
                <a:lnTo>
                  <a:pt x="1489" y="1626"/>
                </a:lnTo>
                <a:lnTo>
                  <a:pt x="1488" y="1627"/>
                </a:lnTo>
                <a:lnTo>
                  <a:pt x="1486" y="1628"/>
                </a:lnTo>
                <a:lnTo>
                  <a:pt x="1483" y="1629"/>
                </a:lnTo>
                <a:lnTo>
                  <a:pt x="1480" y="1629"/>
                </a:lnTo>
                <a:lnTo>
                  <a:pt x="1477" y="1629"/>
                </a:lnTo>
                <a:lnTo>
                  <a:pt x="1474" y="1627"/>
                </a:lnTo>
                <a:lnTo>
                  <a:pt x="1473" y="1626"/>
                </a:lnTo>
                <a:lnTo>
                  <a:pt x="1471" y="1625"/>
                </a:lnTo>
                <a:lnTo>
                  <a:pt x="1470" y="1623"/>
                </a:lnTo>
                <a:lnTo>
                  <a:pt x="1469" y="1621"/>
                </a:lnTo>
                <a:lnTo>
                  <a:pt x="1468" y="1618"/>
                </a:lnTo>
                <a:lnTo>
                  <a:pt x="1468" y="1616"/>
                </a:lnTo>
                <a:lnTo>
                  <a:pt x="1469" y="1613"/>
                </a:lnTo>
                <a:lnTo>
                  <a:pt x="1470" y="1611"/>
                </a:lnTo>
                <a:lnTo>
                  <a:pt x="1471" y="1609"/>
                </a:lnTo>
                <a:lnTo>
                  <a:pt x="1473" y="1607"/>
                </a:lnTo>
                <a:lnTo>
                  <a:pt x="1474" y="1606"/>
                </a:lnTo>
                <a:lnTo>
                  <a:pt x="1476" y="1605"/>
                </a:lnTo>
                <a:lnTo>
                  <a:pt x="1479" y="1604"/>
                </a:lnTo>
                <a:close/>
                <a:moveTo>
                  <a:pt x="1530" y="1562"/>
                </a:moveTo>
                <a:lnTo>
                  <a:pt x="1533" y="1562"/>
                </a:lnTo>
                <a:lnTo>
                  <a:pt x="1536" y="1563"/>
                </a:lnTo>
                <a:lnTo>
                  <a:pt x="1539" y="1564"/>
                </a:lnTo>
                <a:lnTo>
                  <a:pt x="1542" y="1567"/>
                </a:lnTo>
                <a:lnTo>
                  <a:pt x="1543" y="1569"/>
                </a:lnTo>
                <a:lnTo>
                  <a:pt x="1544" y="1571"/>
                </a:lnTo>
                <a:lnTo>
                  <a:pt x="1545" y="1574"/>
                </a:lnTo>
                <a:lnTo>
                  <a:pt x="1545" y="1576"/>
                </a:lnTo>
                <a:lnTo>
                  <a:pt x="1543" y="1581"/>
                </a:lnTo>
                <a:lnTo>
                  <a:pt x="1543" y="1582"/>
                </a:lnTo>
                <a:lnTo>
                  <a:pt x="1542" y="1583"/>
                </a:lnTo>
                <a:lnTo>
                  <a:pt x="1540" y="1584"/>
                </a:lnTo>
                <a:lnTo>
                  <a:pt x="1537" y="1586"/>
                </a:lnTo>
                <a:lnTo>
                  <a:pt x="1534" y="1587"/>
                </a:lnTo>
                <a:lnTo>
                  <a:pt x="1531" y="1587"/>
                </a:lnTo>
                <a:lnTo>
                  <a:pt x="1528" y="1586"/>
                </a:lnTo>
                <a:lnTo>
                  <a:pt x="1525" y="1585"/>
                </a:lnTo>
                <a:lnTo>
                  <a:pt x="1522" y="1582"/>
                </a:lnTo>
                <a:lnTo>
                  <a:pt x="1521" y="1580"/>
                </a:lnTo>
                <a:lnTo>
                  <a:pt x="1520" y="1578"/>
                </a:lnTo>
                <a:lnTo>
                  <a:pt x="1519" y="1576"/>
                </a:lnTo>
                <a:lnTo>
                  <a:pt x="1519" y="1573"/>
                </a:lnTo>
                <a:lnTo>
                  <a:pt x="1521" y="1568"/>
                </a:lnTo>
                <a:lnTo>
                  <a:pt x="1521" y="1567"/>
                </a:lnTo>
                <a:lnTo>
                  <a:pt x="1522" y="1566"/>
                </a:lnTo>
                <a:lnTo>
                  <a:pt x="1524" y="1565"/>
                </a:lnTo>
                <a:lnTo>
                  <a:pt x="1527" y="1563"/>
                </a:lnTo>
                <a:lnTo>
                  <a:pt x="1530" y="1562"/>
                </a:lnTo>
                <a:close/>
                <a:moveTo>
                  <a:pt x="2903" y="1298"/>
                </a:moveTo>
                <a:lnTo>
                  <a:pt x="2907" y="1298"/>
                </a:lnTo>
                <a:lnTo>
                  <a:pt x="2910" y="1299"/>
                </a:lnTo>
                <a:lnTo>
                  <a:pt x="2912" y="1300"/>
                </a:lnTo>
                <a:lnTo>
                  <a:pt x="2914" y="1302"/>
                </a:lnTo>
                <a:lnTo>
                  <a:pt x="2916" y="1303"/>
                </a:lnTo>
                <a:lnTo>
                  <a:pt x="2917" y="1305"/>
                </a:lnTo>
                <a:lnTo>
                  <a:pt x="2918" y="1308"/>
                </a:lnTo>
                <a:lnTo>
                  <a:pt x="2918" y="1310"/>
                </a:lnTo>
                <a:lnTo>
                  <a:pt x="2918" y="1313"/>
                </a:lnTo>
                <a:lnTo>
                  <a:pt x="2917" y="1317"/>
                </a:lnTo>
                <a:lnTo>
                  <a:pt x="2916" y="1318"/>
                </a:lnTo>
                <a:lnTo>
                  <a:pt x="2914" y="1320"/>
                </a:lnTo>
                <a:lnTo>
                  <a:pt x="2911" y="1322"/>
                </a:lnTo>
                <a:lnTo>
                  <a:pt x="2908" y="1323"/>
                </a:lnTo>
                <a:lnTo>
                  <a:pt x="2903" y="1323"/>
                </a:lnTo>
                <a:lnTo>
                  <a:pt x="2901" y="1323"/>
                </a:lnTo>
                <a:lnTo>
                  <a:pt x="2899" y="1322"/>
                </a:lnTo>
                <a:lnTo>
                  <a:pt x="2897" y="1320"/>
                </a:lnTo>
                <a:lnTo>
                  <a:pt x="2895" y="1318"/>
                </a:lnTo>
                <a:lnTo>
                  <a:pt x="2894" y="1316"/>
                </a:lnTo>
                <a:lnTo>
                  <a:pt x="2893" y="1314"/>
                </a:lnTo>
                <a:lnTo>
                  <a:pt x="2893" y="1311"/>
                </a:lnTo>
                <a:lnTo>
                  <a:pt x="2893" y="1309"/>
                </a:lnTo>
                <a:lnTo>
                  <a:pt x="2894" y="1305"/>
                </a:lnTo>
                <a:lnTo>
                  <a:pt x="2895" y="1303"/>
                </a:lnTo>
                <a:lnTo>
                  <a:pt x="2896" y="1302"/>
                </a:lnTo>
                <a:lnTo>
                  <a:pt x="2900" y="1300"/>
                </a:lnTo>
                <a:lnTo>
                  <a:pt x="2903" y="1298"/>
                </a:lnTo>
                <a:close/>
                <a:moveTo>
                  <a:pt x="1582" y="1522"/>
                </a:moveTo>
                <a:lnTo>
                  <a:pt x="1586" y="1522"/>
                </a:lnTo>
                <a:lnTo>
                  <a:pt x="1589" y="1522"/>
                </a:lnTo>
                <a:lnTo>
                  <a:pt x="1592" y="1524"/>
                </a:lnTo>
                <a:lnTo>
                  <a:pt x="1595" y="1527"/>
                </a:lnTo>
                <a:lnTo>
                  <a:pt x="1597" y="1531"/>
                </a:lnTo>
                <a:lnTo>
                  <a:pt x="1597" y="1534"/>
                </a:lnTo>
                <a:lnTo>
                  <a:pt x="1597" y="1536"/>
                </a:lnTo>
                <a:lnTo>
                  <a:pt x="1596" y="1538"/>
                </a:lnTo>
                <a:lnTo>
                  <a:pt x="1595" y="1541"/>
                </a:lnTo>
                <a:lnTo>
                  <a:pt x="1594" y="1543"/>
                </a:lnTo>
                <a:lnTo>
                  <a:pt x="1592" y="1544"/>
                </a:lnTo>
                <a:lnTo>
                  <a:pt x="1589" y="1546"/>
                </a:lnTo>
                <a:lnTo>
                  <a:pt x="1587" y="1547"/>
                </a:lnTo>
                <a:lnTo>
                  <a:pt x="1583" y="1547"/>
                </a:lnTo>
                <a:lnTo>
                  <a:pt x="1580" y="1546"/>
                </a:lnTo>
                <a:lnTo>
                  <a:pt x="1577" y="1544"/>
                </a:lnTo>
                <a:lnTo>
                  <a:pt x="1574" y="1542"/>
                </a:lnTo>
                <a:lnTo>
                  <a:pt x="1572" y="1537"/>
                </a:lnTo>
                <a:lnTo>
                  <a:pt x="1572" y="1535"/>
                </a:lnTo>
                <a:lnTo>
                  <a:pt x="1572" y="1532"/>
                </a:lnTo>
                <a:lnTo>
                  <a:pt x="1572" y="1530"/>
                </a:lnTo>
                <a:lnTo>
                  <a:pt x="1573" y="1528"/>
                </a:lnTo>
                <a:lnTo>
                  <a:pt x="1575" y="1526"/>
                </a:lnTo>
                <a:lnTo>
                  <a:pt x="1577" y="1524"/>
                </a:lnTo>
                <a:lnTo>
                  <a:pt x="1579" y="1522"/>
                </a:lnTo>
                <a:lnTo>
                  <a:pt x="1582" y="1522"/>
                </a:lnTo>
                <a:close/>
                <a:moveTo>
                  <a:pt x="2838" y="1288"/>
                </a:moveTo>
                <a:lnTo>
                  <a:pt x="2842" y="1288"/>
                </a:lnTo>
                <a:lnTo>
                  <a:pt x="2844" y="1289"/>
                </a:lnTo>
                <a:lnTo>
                  <a:pt x="2847" y="1290"/>
                </a:lnTo>
                <a:lnTo>
                  <a:pt x="2849" y="1291"/>
                </a:lnTo>
                <a:lnTo>
                  <a:pt x="2850" y="1293"/>
                </a:lnTo>
                <a:lnTo>
                  <a:pt x="2852" y="1295"/>
                </a:lnTo>
                <a:lnTo>
                  <a:pt x="2852" y="1297"/>
                </a:lnTo>
                <a:lnTo>
                  <a:pt x="2853" y="1300"/>
                </a:lnTo>
                <a:lnTo>
                  <a:pt x="2853" y="1302"/>
                </a:lnTo>
                <a:lnTo>
                  <a:pt x="2851" y="1306"/>
                </a:lnTo>
                <a:lnTo>
                  <a:pt x="2850" y="1308"/>
                </a:lnTo>
                <a:lnTo>
                  <a:pt x="2849" y="1310"/>
                </a:lnTo>
                <a:lnTo>
                  <a:pt x="2846" y="1312"/>
                </a:lnTo>
                <a:lnTo>
                  <a:pt x="2842" y="1313"/>
                </a:lnTo>
                <a:lnTo>
                  <a:pt x="2838" y="1313"/>
                </a:lnTo>
                <a:lnTo>
                  <a:pt x="2836" y="1312"/>
                </a:lnTo>
                <a:lnTo>
                  <a:pt x="2833" y="1311"/>
                </a:lnTo>
                <a:lnTo>
                  <a:pt x="2831" y="1310"/>
                </a:lnTo>
                <a:lnTo>
                  <a:pt x="2830" y="1308"/>
                </a:lnTo>
                <a:lnTo>
                  <a:pt x="2829" y="1306"/>
                </a:lnTo>
                <a:lnTo>
                  <a:pt x="2828" y="1304"/>
                </a:lnTo>
                <a:lnTo>
                  <a:pt x="2827" y="1301"/>
                </a:lnTo>
                <a:lnTo>
                  <a:pt x="2827" y="1299"/>
                </a:lnTo>
                <a:lnTo>
                  <a:pt x="2829" y="1295"/>
                </a:lnTo>
                <a:lnTo>
                  <a:pt x="2830" y="1293"/>
                </a:lnTo>
                <a:lnTo>
                  <a:pt x="2831" y="1292"/>
                </a:lnTo>
                <a:lnTo>
                  <a:pt x="2834" y="1289"/>
                </a:lnTo>
                <a:lnTo>
                  <a:pt x="2838" y="1288"/>
                </a:lnTo>
                <a:close/>
                <a:moveTo>
                  <a:pt x="1636" y="1483"/>
                </a:moveTo>
                <a:lnTo>
                  <a:pt x="1640" y="1483"/>
                </a:lnTo>
                <a:lnTo>
                  <a:pt x="1643" y="1484"/>
                </a:lnTo>
                <a:lnTo>
                  <a:pt x="1646" y="1486"/>
                </a:lnTo>
                <a:lnTo>
                  <a:pt x="1649" y="1489"/>
                </a:lnTo>
                <a:lnTo>
                  <a:pt x="1650" y="1491"/>
                </a:lnTo>
                <a:lnTo>
                  <a:pt x="1651" y="1493"/>
                </a:lnTo>
                <a:lnTo>
                  <a:pt x="1651" y="1498"/>
                </a:lnTo>
                <a:lnTo>
                  <a:pt x="1650" y="1500"/>
                </a:lnTo>
                <a:lnTo>
                  <a:pt x="1649" y="1503"/>
                </a:lnTo>
                <a:lnTo>
                  <a:pt x="1647" y="1505"/>
                </a:lnTo>
                <a:lnTo>
                  <a:pt x="1645" y="1506"/>
                </a:lnTo>
                <a:lnTo>
                  <a:pt x="1643" y="1508"/>
                </a:lnTo>
                <a:lnTo>
                  <a:pt x="1640" y="1508"/>
                </a:lnTo>
                <a:lnTo>
                  <a:pt x="1637" y="1508"/>
                </a:lnTo>
                <a:lnTo>
                  <a:pt x="1633" y="1507"/>
                </a:lnTo>
                <a:lnTo>
                  <a:pt x="1630" y="1506"/>
                </a:lnTo>
                <a:lnTo>
                  <a:pt x="1628" y="1503"/>
                </a:lnTo>
                <a:lnTo>
                  <a:pt x="1627" y="1501"/>
                </a:lnTo>
                <a:lnTo>
                  <a:pt x="1626" y="1498"/>
                </a:lnTo>
                <a:lnTo>
                  <a:pt x="1626" y="1493"/>
                </a:lnTo>
                <a:lnTo>
                  <a:pt x="1626" y="1491"/>
                </a:lnTo>
                <a:lnTo>
                  <a:pt x="1628" y="1489"/>
                </a:lnTo>
                <a:lnTo>
                  <a:pt x="1629" y="1487"/>
                </a:lnTo>
                <a:lnTo>
                  <a:pt x="1631" y="1485"/>
                </a:lnTo>
                <a:lnTo>
                  <a:pt x="1633" y="1484"/>
                </a:lnTo>
                <a:lnTo>
                  <a:pt x="1636" y="1483"/>
                </a:lnTo>
                <a:close/>
                <a:moveTo>
                  <a:pt x="2772" y="1278"/>
                </a:moveTo>
                <a:lnTo>
                  <a:pt x="2776" y="1278"/>
                </a:lnTo>
                <a:lnTo>
                  <a:pt x="2779" y="1279"/>
                </a:lnTo>
                <a:lnTo>
                  <a:pt x="2781" y="1280"/>
                </a:lnTo>
                <a:lnTo>
                  <a:pt x="2783" y="1281"/>
                </a:lnTo>
                <a:lnTo>
                  <a:pt x="2785" y="1283"/>
                </a:lnTo>
                <a:lnTo>
                  <a:pt x="2786" y="1285"/>
                </a:lnTo>
                <a:lnTo>
                  <a:pt x="2787" y="1288"/>
                </a:lnTo>
                <a:lnTo>
                  <a:pt x="2787" y="1290"/>
                </a:lnTo>
                <a:lnTo>
                  <a:pt x="2787" y="1293"/>
                </a:lnTo>
                <a:lnTo>
                  <a:pt x="2787" y="1295"/>
                </a:lnTo>
                <a:lnTo>
                  <a:pt x="2786" y="1296"/>
                </a:lnTo>
                <a:lnTo>
                  <a:pt x="2785" y="1298"/>
                </a:lnTo>
                <a:lnTo>
                  <a:pt x="2784" y="1300"/>
                </a:lnTo>
                <a:lnTo>
                  <a:pt x="2781" y="1302"/>
                </a:lnTo>
                <a:lnTo>
                  <a:pt x="2777" y="1303"/>
                </a:lnTo>
                <a:lnTo>
                  <a:pt x="2773" y="1303"/>
                </a:lnTo>
                <a:lnTo>
                  <a:pt x="2770" y="1303"/>
                </a:lnTo>
                <a:lnTo>
                  <a:pt x="2768" y="1302"/>
                </a:lnTo>
                <a:lnTo>
                  <a:pt x="2766" y="1300"/>
                </a:lnTo>
                <a:lnTo>
                  <a:pt x="2764" y="1298"/>
                </a:lnTo>
                <a:lnTo>
                  <a:pt x="2763" y="1296"/>
                </a:lnTo>
                <a:lnTo>
                  <a:pt x="2762" y="1294"/>
                </a:lnTo>
                <a:lnTo>
                  <a:pt x="2762" y="1292"/>
                </a:lnTo>
                <a:lnTo>
                  <a:pt x="2762" y="1289"/>
                </a:lnTo>
                <a:lnTo>
                  <a:pt x="2762" y="1287"/>
                </a:lnTo>
                <a:lnTo>
                  <a:pt x="2763" y="1285"/>
                </a:lnTo>
                <a:lnTo>
                  <a:pt x="2764" y="1283"/>
                </a:lnTo>
                <a:lnTo>
                  <a:pt x="2766" y="1282"/>
                </a:lnTo>
                <a:lnTo>
                  <a:pt x="2769" y="1280"/>
                </a:lnTo>
                <a:lnTo>
                  <a:pt x="2772" y="1278"/>
                </a:lnTo>
                <a:close/>
                <a:moveTo>
                  <a:pt x="2707" y="1269"/>
                </a:moveTo>
                <a:lnTo>
                  <a:pt x="2711" y="1269"/>
                </a:lnTo>
                <a:lnTo>
                  <a:pt x="2713" y="1269"/>
                </a:lnTo>
                <a:lnTo>
                  <a:pt x="2716" y="1270"/>
                </a:lnTo>
                <a:lnTo>
                  <a:pt x="2718" y="1272"/>
                </a:lnTo>
                <a:lnTo>
                  <a:pt x="2719" y="1274"/>
                </a:lnTo>
                <a:lnTo>
                  <a:pt x="2721" y="1276"/>
                </a:lnTo>
                <a:lnTo>
                  <a:pt x="2721" y="1278"/>
                </a:lnTo>
                <a:lnTo>
                  <a:pt x="2722" y="1281"/>
                </a:lnTo>
                <a:lnTo>
                  <a:pt x="2722" y="1283"/>
                </a:lnTo>
                <a:lnTo>
                  <a:pt x="2721" y="1285"/>
                </a:lnTo>
                <a:lnTo>
                  <a:pt x="2720" y="1287"/>
                </a:lnTo>
                <a:lnTo>
                  <a:pt x="2719" y="1289"/>
                </a:lnTo>
                <a:lnTo>
                  <a:pt x="2718" y="1290"/>
                </a:lnTo>
                <a:lnTo>
                  <a:pt x="2717" y="1292"/>
                </a:lnTo>
                <a:lnTo>
                  <a:pt x="2715" y="1293"/>
                </a:lnTo>
                <a:lnTo>
                  <a:pt x="2711" y="1294"/>
                </a:lnTo>
                <a:lnTo>
                  <a:pt x="2707" y="1294"/>
                </a:lnTo>
                <a:lnTo>
                  <a:pt x="2705" y="1293"/>
                </a:lnTo>
                <a:lnTo>
                  <a:pt x="2703" y="1292"/>
                </a:lnTo>
                <a:lnTo>
                  <a:pt x="2701" y="1291"/>
                </a:lnTo>
                <a:lnTo>
                  <a:pt x="2699" y="1289"/>
                </a:lnTo>
                <a:lnTo>
                  <a:pt x="2698" y="1287"/>
                </a:lnTo>
                <a:lnTo>
                  <a:pt x="2697" y="1285"/>
                </a:lnTo>
                <a:lnTo>
                  <a:pt x="2696" y="1282"/>
                </a:lnTo>
                <a:lnTo>
                  <a:pt x="2697" y="1280"/>
                </a:lnTo>
                <a:lnTo>
                  <a:pt x="2697" y="1278"/>
                </a:lnTo>
                <a:lnTo>
                  <a:pt x="2698" y="1276"/>
                </a:lnTo>
                <a:lnTo>
                  <a:pt x="2699" y="1274"/>
                </a:lnTo>
                <a:lnTo>
                  <a:pt x="2700" y="1272"/>
                </a:lnTo>
                <a:lnTo>
                  <a:pt x="2701" y="1271"/>
                </a:lnTo>
                <a:lnTo>
                  <a:pt x="2703" y="1270"/>
                </a:lnTo>
                <a:lnTo>
                  <a:pt x="2707" y="1269"/>
                </a:lnTo>
                <a:close/>
                <a:moveTo>
                  <a:pt x="1691" y="1447"/>
                </a:moveTo>
                <a:lnTo>
                  <a:pt x="1695" y="1447"/>
                </a:lnTo>
                <a:lnTo>
                  <a:pt x="1699" y="1448"/>
                </a:lnTo>
                <a:lnTo>
                  <a:pt x="1702" y="1450"/>
                </a:lnTo>
                <a:lnTo>
                  <a:pt x="1703" y="1451"/>
                </a:lnTo>
                <a:lnTo>
                  <a:pt x="1704" y="1453"/>
                </a:lnTo>
                <a:lnTo>
                  <a:pt x="1705" y="1455"/>
                </a:lnTo>
                <a:lnTo>
                  <a:pt x="1706" y="1457"/>
                </a:lnTo>
                <a:lnTo>
                  <a:pt x="1706" y="1460"/>
                </a:lnTo>
                <a:lnTo>
                  <a:pt x="1706" y="1462"/>
                </a:lnTo>
                <a:lnTo>
                  <a:pt x="1705" y="1465"/>
                </a:lnTo>
                <a:lnTo>
                  <a:pt x="1704" y="1467"/>
                </a:lnTo>
                <a:lnTo>
                  <a:pt x="1702" y="1469"/>
                </a:lnTo>
                <a:lnTo>
                  <a:pt x="1700" y="1470"/>
                </a:lnTo>
                <a:lnTo>
                  <a:pt x="1698" y="1471"/>
                </a:lnTo>
                <a:lnTo>
                  <a:pt x="1696" y="1472"/>
                </a:lnTo>
                <a:lnTo>
                  <a:pt x="1692" y="1472"/>
                </a:lnTo>
                <a:lnTo>
                  <a:pt x="1688" y="1471"/>
                </a:lnTo>
                <a:lnTo>
                  <a:pt x="1685" y="1469"/>
                </a:lnTo>
                <a:lnTo>
                  <a:pt x="1684" y="1468"/>
                </a:lnTo>
                <a:lnTo>
                  <a:pt x="1683" y="1466"/>
                </a:lnTo>
                <a:lnTo>
                  <a:pt x="1682" y="1464"/>
                </a:lnTo>
                <a:lnTo>
                  <a:pt x="1681" y="1461"/>
                </a:lnTo>
                <a:lnTo>
                  <a:pt x="1681" y="1459"/>
                </a:lnTo>
                <a:lnTo>
                  <a:pt x="1681" y="1457"/>
                </a:lnTo>
                <a:lnTo>
                  <a:pt x="1682" y="1454"/>
                </a:lnTo>
                <a:lnTo>
                  <a:pt x="1683" y="1452"/>
                </a:lnTo>
                <a:lnTo>
                  <a:pt x="1685" y="1450"/>
                </a:lnTo>
                <a:lnTo>
                  <a:pt x="1687" y="1449"/>
                </a:lnTo>
                <a:lnTo>
                  <a:pt x="1689" y="1448"/>
                </a:lnTo>
                <a:lnTo>
                  <a:pt x="1691" y="1447"/>
                </a:lnTo>
                <a:close/>
                <a:moveTo>
                  <a:pt x="2641" y="1260"/>
                </a:moveTo>
                <a:lnTo>
                  <a:pt x="2645" y="1260"/>
                </a:lnTo>
                <a:lnTo>
                  <a:pt x="2648" y="1260"/>
                </a:lnTo>
                <a:lnTo>
                  <a:pt x="2650" y="1261"/>
                </a:lnTo>
                <a:lnTo>
                  <a:pt x="2652" y="1263"/>
                </a:lnTo>
                <a:lnTo>
                  <a:pt x="2654" y="1265"/>
                </a:lnTo>
                <a:lnTo>
                  <a:pt x="2655" y="1267"/>
                </a:lnTo>
                <a:lnTo>
                  <a:pt x="2656" y="1269"/>
                </a:lnTo>
                <a:lnTo>
                  <a:pt x="2656" y="1271"/>
                </a:lnTo>
                <a:lnTo>
                  <a:pt x="2656" y="1274"/>
                </a:lnTo>
                <a:lnTo>
                  <a:pt x="2656" y="1276"/>
                </a:lnTo>
                <a:lnTo>
                  <a:pt x="2655" y="1278"/>
                </a:lnTo>
                <a:lnTo>
                  <a:pt x="2654" y="1280"/>
                </a:lnTo>
                <a:lnTo>
                  <a:pt x="2653" y="1281"/>
                </a:lnTo>
                <a:lnTo>
                  <a:pt x="2651" y="1283"/>
                </a:lnTo>
                <a:lnTo>
                  <a:pt x="2650" y="1284"/>
                </a:lnTo>
                <a:lnTo>
                  <a:pt x="2646" y="1285"/>
                </a:lnTo>
                <a:lnTo>
                  <a:pt x="2642" y="1285"/>
                </a:lnTo>
                <a:lnTo>
                  <a:pt x="2639" y="1284"/>
                </a:lnTo>
                <a:lnTo>
                  <a:pt x="2637" y="1283"/>
                </a:lnTo>
                <a:lnTo>
                  <a:pt x="2635" y="1282"/>
                </a:lnTo>
                <a:lnTo>
                  <a:pt x="2633" y="1280"/>
                </a:lnTo>
                <a:lnTo>
                  <a:pt x="2632" y="1278"/>
                </a:lnTo>
                <a:lnTo>
                  <a:pt x="2631" y="1276"/>
                </a:lnTo>
                <a:lnTo>
                  <a:pt x="2631" y="1273"/>
                </a:lnTo>
                <a:lnTo>
                  <a:pt x="2631" y="1271"/>
                </a:lnTo>
                <a:lnTo>
                  <a:pt x="2631" y="1269"/>
                </a:lnTo>
                <a:lnTo>
                  <a:pt x="2632" y="1267"/>
                </a:lnTo>
                <a:lnTo>
                  <a:pt x="2633" y="1265"/>
                </a:lnTo>
                <a:lnTo>
                  <a:pt x="2634" y="1264"/>
                </a:lnTo>
                <a:lnTo>
                  <a:pt x="2636" y="1262"/>
                </a:lnTo>
                <a:lnTo>
                  <a:pt x="2638" y="1261"/>
                </a:lnTo>
                <a:lnTo>
                  <a:pt x="2641" y="1260"/>
                </a:lnTo>
                <a:close/>
                <a:moveTo>
                  <a:pt x="1748" y="1413"/>
                </a:moveTo>
                <a:lnTo>
                  <a:pt x="1752" y="1413"/>
                </a:lnTo>
                <a:lnTo>
                  <a:pt x="1755" y="1414"/>
                </a:lnTo>
                <a:lnTo>
                  <a:pt x="1759" y="1416"/>
                </a:lnTo>
                <a:lnTo>
                  <a:pt x="1760" y="1417"/>
                </a:lnTo>
                <a:lnTo>
                  <a:pt x="1761" y="1419"/>
                </a:lnTo>
                <a:lnTo>
                  <a:pt x="1762" y="1421"/>
                </a:lnTo>
                <a:lnTo>
                  <a:pt x="1763" y="1424"/>
                </a:lnTo>
                <a:lnTo>
                  <a:pt x="1763" y="1426"/>
                </a:lnTo>
                <a:lnTo>
                  <a:pt x="1762" y="1429"/>
                </a:lnTo>
                <a:lnTo>
                  <a:pt x="1762" y="1431"/>
                </a:lnTo>
                <a:lnTo>
                  <a:pt x="1760" y="1433"/>
                </a:lnTo>
                <a:lnTo>
                  <a:pt x="1759" y="1435"/>
                </a:lnTo>
                <a:lnTo>
                  <a:pt x="1757" y="1436"/>
                </a:lnTo>
                <a:lnTo>
                  <a:pt x="1752" y="1438"/>
                </a:lnTo>
                <a:lnTo>
                  <a:pt x="1749" y="1438"/>
                </a:lnTo>
                <a:lnTo>
                  <a:pt x="1745" y="1437"/>
                </a:lnTo>
                <a:lnTo>
                  <a:pt x="1742" y="1435"/>
                </a:lnTo>
                <a:lnTo>
                  <a:pt x="1740" y="1433"/>
                </a:lnTo>
                <a:lnTo>
                  <a:pt x="1739" y="1432"/>
                </a:lnTo>
                <a:lnTo>
                  <a:pt x="1738" y="1429"/>
                </a:lnTo>
                <a:lnTo>
                  <a:pt x="1738" y="1427"/>
                </a:lnTo>
                <a:lnTo>
                  <a:pt x="1738" y="1424"/>
                </a:lnTo>
                <a:lnTo>
                  <a:pt x="1738" y="1422"/>
                </a:lnTo>
                <a:lnTo>
                  <a:pt x="1739" y="1420"/>
                </a:lnTo>
                <a:lnTo>
                  <a:pt x="1740" y="1418"/>
                </a:lnTo>
                <a:lnTo>
                  <a:pt x="1742" y="1416"/>
                </a:lnTo>
                <a:lnTo>
                  <a:pt x="1744" y="1414"/>
                </a:lnTo>
                <a:lnTo>
                  <a:pt x="1748" y="1413"/>
                </a:lnTo>
                <a:close/>
                <a:moveTo>
                  <a:pt x="2576" y="1251"/>
                </a:moveTo>
                <a:lnTo>
                  <a:pt x="2580" y="1251"/>
                </a:lnTo>
                <a:lnTo>
                  <a:pt x="2582" y="1252"/>
                </a:lnTo>
                <a:lnTo>
                  <a:pt x="2584" y="1253"/>
                </a:lnTo>
                <a:lnTo>
                  <a:pt x="2586" y="1254"/>
                </a:lnTo>
                <a:lnTo>
                  <a:pt x="2588" y="1256"/>
                </a:lnTo>
                <a:lnTo>
                  <a:pt x="2589" y="1258"/>
                </a:lnTo>
                <a:lnTo>
                  <a:pt x="2590" y="1260"/>
                </a:lnTo>
                <a:lnTo>
                  <a:pt x="2591" y="1263"/>
                </a:lnTo>
                <a:lnTo>
                  <a:pt x="2591" y="1265"/>
                </a:lnTo>
                <a:lnTo>
                  <a:pt x="2590" y="1267"/>
                </a:lnTo>
                <a:lnTo>
                  <a:pt x="2589" y="1269"/>
                </a:lnTo>
                <a:lnTo>
                  <a:pt x="2588" y="1271"/>
                </a:lnTo>
                <a:lnTo>
                  <a:pt x="2587" y="1273"/>
                </a:lnTo>
                <a:lnTo>
                  <a:pt x="2586" y="1274"/>
                </a:lnTo>
                <a:lnTo>
                  <a:pt x="2584" y="1275"/>
                </a:lnTo>
                <a:lnTo>
                  <a:pt x="2580" y="1276"/>
                </a:lnTo>
                <a:lnTo>
                  <a:pt x="2576" y="1276"/>
                </a:lnTo>
                <a:lnTo>
                  <a:pt x="2574" y="1276"/>
                </a:lnTo>
                <a:lnTo>
                  <a:pt x="2572" y="1275"/>
                </a:lnTo>
                <a:lnTo>
                  <a:pt x="2570" y="1273"/>
                </a:lnTo>
                <a:lnTo>
                  <a:pt x="2568" y="1271"/>
                </a:lnTo>
                <a:lnTo>
                  <a:pt x="2567" y="1269"/>
                </a:lnTo>
                <a:lnTo>
                  <a:pt x="2566" y="1267"/>
                </a:lnTo>
                <a:lnTo>
                  <a:pt x="2565" y="1265"/>
                </a:lnTo>
                <a:lnTo>
                  <a:pt x="2565" y="1262"/>
                </a:lnTo>
                <a:lnTo>
                  <a:pt x="2566" y="1260"/>
                </a:lnTo>
                <a:lnTo>
                  <a:pt x="2567" y="1258"/>
                </a:lnTo>
                <a:lnTo>
                  <a:pt x="2568" y="1256"/>
                </a:lnTo>
                <a:lnTo>
                  <a:pt x="2569" y="1255"/>
                </a:lnTo>
                <a:lnTo>
                  <a:pt x="2570" y="1254"/>
                </a:lnTo>
                <a:lnTo>
                  <a:pt x="2572" y="1253"/>
                </a:lnTo>
                <a:lnTo>
                  <a:pt x="2576" y="1251"/>
                </a:lnTo>
                <a:close/>
                <a:moveTo>
                  <a:pt x="1806" y="1381"/>
                </a:moveTo>
                <a:lnTo>
                  <a:pt x="1810" y="1381"/>
                </a:lnTo>
                <a:lnTo>
                  <a:pt x="1812" y="1381"/>
                </a:lnTo>
                <a:lnTo>
                  <a:pt x="1814" y="1382"/>
                </a:lnTo>
                <a:lnTo>
                  <a:pt x="1816" y="1383"/>
                </a:lnTo>
                <a:lnTo>
                  <a:pt x="1817" y="1384"/>
                </a:lnTo>
                <a:lnTo>
                  <a:pt x="1820" y="1388"/>
                </a:lnTo>
                <a:lnTo>
                  <a:pt x="1821" y="1393"/>
                </a:lnTo>
                <a:lnTo>
                  <a:pt x="1821" y="1395"/>
                </a:lnTo>
                <a:lnTo>
                  <a:pt x="1820" y="1397"/>
                </a:lnTo>
                <a:lnTo>
                  <a:pt x="1819" y="1400"/>
                </a:lnTo>
                <a:lnTo>
                  <a:pt x="1819" y="1401"/>
                </a:lnTo>
                <a:lnTo>
                  <a:pt x="1818" y="1402"/>
                </a:lnTo>
                <a:lnTo>
                  <a:pt x="1816" y="1403"/>
                </a:lnTo>
                <a:lnTo>
                  <a:pt x="1814" y="1405"/>
                </a:lnTo>
                <a:lnTo>
                  <a:pt x="1810" y="1406"/>
                </a:lnTo>
                <a:lnTo>
                  <a:pt x="1806" y="1406"/>
                </a:lnTo>
                <a:lnTo>
                  <a:pt x="1805" y="1406"/>
                </a:lnTo>
                <a:lnTo>
                  <a:pt x="1803" y="1405"/>
                </a:lnTo>
                <a:lnTo>
                  <a:pt x="1801" y="1404"/>
                </a:lnTo>
                <a:lnTo>
                  <a:pt x="1799" y="1403"/>
                </a:lnTo>
                <a:lnTo>
                  <a:pt x="1797" y="1399"/>
                </a:lnTo>
                <a:lnTo>
                  <a:pt x="1796" y="1395"/>
                </a:lnTo>
                <a:lnTo>
                  <a:pt x="1796" y="1392"/>
                </a:lnTo>
                <a:lnTo>
                  <a:pt x="1796" y="1390"/>
                </a:lnTo>
                <a:lnTo>
                  <a:pt x="1797" y="1388"/>
                </a:lnTo>
                <a:lnTo>
                  <a:pt x="1798" y="1386"/>
                </a:lnTo>
                <a:lnTo>
                  <a:pt x="1798" y="1385"/>
                </a:lnTo>
                <a:lnTo>
                  <a:pt x="1800" y="1384"/>
                </a:lnTo>
                <a:lnTo>
                  <a:pt x="1802" y="1382"/>
                </a:lnTo>
                <a:lnTo>
                  <a:pt x="1806" y="1381"/>
                </a:lnTo>
                <a:close/>
                <a:moveTo>
                  <a:pt x="2510" y="1243"/>
                </a:moveTo>
                <a:lnTo>
                  <a:pt x="2514" y="1243"/>
                </a:lnTo>
                <a:lnTo>
                  <a:pt x="2516" y="1243"/>
                </a:lnTo>
                <a:lnTo>
                  <a:pt x="2519" y="1244"/>
                </a:lnTo>
                <a:lnTo>
                  <a:pt x="2521" y="1246"/>
                </a:lnTo>
                <a:lnTo>
                  <a:pt x="2522" y="1248"/>
                </a:lnTo>
                <a:lnTo>
                  <a:pt x="2524" y="1250"/>
                </a:lnTo>
                <a:lnTo>
                  <a:pt x="2525" y="1252"/>
                </a:lnTo>
                <a:lnTo>
                  <a:pt x="2525" y="1254"/>
                </a:lnTo>
                <a:lnTo>
                  <a:pt x="2525" y="1257"/>
                </a:lnTo>
                <a:lnTo>
                  <a:pt x="2524" y="1259"/>
                </a:lnTo>
                <a:lnTo>
                  <a:pt x="2524" y="1261"/>
                </a:lnTo>
                <a:lnTo>
                  <a:pt x="2523" y="1263"/>
                </a:lnTo>
                <a:lnTo>
                  <a:pt x="2521" y="1264"/>
                </a:lnTo>
                <a:lnTo>
                  <a:pt x="2518" y="1267"/>
                </a:lnTo>
                <a:lnTo>
                  <a:pt x="2516" y="1267"/>
                </a:lnTo>
                <a:lnTo>
                  <a:pt x="2515" y="1268"/>
                </a:lnTo>
                <a:lnTo>
                  <a:pt x="2511" y="1268"/>
                </a:lnTo>
                <a:lnTo>
                  <a:pt x="2508" y="1267"/>
                </a:lnTo>
                <a:lnTo>
                  <a:pt x="2506" y="1266"/>
                </a:lnTo>
                <a:lnTo>
                  <a:pt x="2504" y="1265"/>
                </a:lnTo>
                <a:lnTo>
                  <a:pt x="2502" y="1263"/>
                </a:lnTo>
                <a:lnTo>
                  <a:pt x="2501" y="1261"/>
                </a:lnTo>
                <a:lnTo>
                  <a:pt x="2500" y="1259"/>
                </a:lnTo>
                <a:lnTo>
                  <a:pt x="2500" y="1256"/>
                </a:lnTo>
                <a:lnTo>
                  <a:pt x="2500" y="1254"/>
                </a:lnTo>
                <a:lnTo>
                  <a:pt x="2500" y="1252"/>
                </a:lnTo>
                <a:lnTo>
                  <a:pt x="2501" y="1250"/>
                </a:lnTo>
                <a:lnTo>
                  <a:pt x="2502" y="1248"/>
                </a:lnTo>
                <a:lnTo>
                  <a:pt x="2503" y="1247"/>
                </a:lnTo>
                <a:lnTo>
                  <a:pt x="2506" y="1244"/>
                </a:lnTo>
                <a:lnTo>
                  <a:pt x="2508" y="1243"/>
                </a:lnTo>
                <a:lnTo>
                  <a:pt x="2510" y="1243"/>
                </a:lnTo>
                <a:close/>
                <a:moveTo>
                  <a:pt x="1865" y="1352"/>
                </a:moveTo>
                <a:lnTo>
                  <a:pt x="1870" y="1352"/>
                </a:lnTo>
                <a:lnTo>
                  <a:pt x="1873" y="1353"/>
                </a:lnTo>
                <a:lnTo>
                  <a:pt x="1875" y="1354"/>
                </a:lnTo>
                <a:lnTo>
                  <a:pt x="1877" y="1356"/>
                </a:lnTo>
                <a:lnTo>
                  <a:pt x="1879" y="1359"/>
                </a:lnTo>
                <a:lnTo>
                  <a:pt x="1880" y="1360"/>
                </a:lnTo>
                <a:lnTo>
                  <a:pt x="1880" y="1362"/>
                </a:lnTo>
                <a:lnTo>
                  <a:pt x="1880" y="1364"/>
                </a:lnTo>
                <a:lnTo>
                  <a:pt x="1880" y="1367"/>
                </a:lnTo>
                <a:lnTo>
                  <a:pt x="1880" y="1369"/>
                </a:lnTo>
                <a:lnTo>
                  <a:pt x="1878" y="1371"/>
                </a:lnTo>
                <a:lnTo>
                  <a:pt x="1877" y="1373"/>
                </a:lnTo>
                <a:lnTo>
                  <a:pt x="1875" y="1375"/>
                </a:lnTo>
                <a:lnTo>
                  <a:pt x="1873" y="1376"/>
                </a:lnTo>
                <a:lnTo>
                  <a:pt x="1870" y="1377"/>
                </a:lnTo>
                <a:lnTo>
                  <a:pt x="1866" y="1377"/>
                </a:lnTo>
                <a:lnTo>
                  <a:pt x="1862" y="1376"/>
                </a:lnTo>
                <a:lnTo>
                  <a:pt x="1860" y="1375"/>
                </a:lnTo>
                <a:lnTo>
                  <a:pt x="1859" y="1373"/>
                </a:lnTo>
                <a:lnTo>
                  <a:pt x="1856" y="1370"/>
                </a:lnTo>
                <a:lnTo>
                  <a:pt x="1856" y="1369"/>
                </a:lnTo>
                <a:lnTo>
                  <a:pt x="1855" y="1367"/>
                </a:lnTo>
                <a:lnTo>
                  <a:pt x="1855" y="1365"/>
                </a:lnTo>
                <a:lnTo>
                  <a:pt x="1855" y="1362"/>
                </a:lnTo>
                <a:lnTo>
                  <a:pt x="1856" y="1360"/>
                </a:lnTo>
                <a:lnTo>
                  <a:pt x="1857" y="1358"/>
                </a:lnTo>
                <a:lnTo>
                  <a:pt x="1858" y="1356"/>
                </a:lnTo>
                <a:lnTo>
                  <a:pt x="1860" y="1354"/>
                </a:lnTo>
                <a:lnTo>
                  <a:pt x="1862" y="1353"/>
                </a:lnTo>
                <a:lnTo>
                  <a:pt x="1865" y="1352"/>
                </a:lnTo>
                <a:close/>
                <a:moveTo>
                  <a:pt x="2444" y="1237"/>
                </a:moveTo>
                <a:lnTo>
                  <a:pt x="2447" y="1237"/>
                </a:lnTo>
                <a:lnTo>
                  <a:pt x="2450" y="1237"/>
                </a:lnTo>
                <a:lnTo>
                  <a:pt x="2452" y="1238"/>
                </a:lnTo>
                <a:lnTo>
                  <a:pt x="2454" y="1239"/>
                </a:lnTo>
                <a:lnTo>
                  <a:pt x="2456" y="1241"/>
                </a:lnTo>
                <a:lnTo>
                  <a:pt x="2457" y="1243"/>
                </a:lnTo>
                <a:lnTo>
                  <a:pt x="2458" y="1245"/>
                </a:lnTo>
                <a:lnTo>
                  <a:pt x="2459" y="1247"/>
                </a:lnTo>
                <a:lnTo>
                  <a:pt x="2459" y="1250"/>
                </a:lnTo>
                <a:lnTo>
                  <a:pt x="2459" y="1252"/>
                </a:lnTo>
                <a:lnTo>
                  <a:pt x="2458" y="1254"/>
                </a:lnTo>
                <a:lnTo>
                  <a:pt x="2457" y="1256"/>
                </a:lnTo>
                <a:lnTo>
                  <a:pt x="2456" y="1258"/>
                </a:lnTo>
                <a:lnTo>
                  <a:pt x="2454" y="1259"/>
                </a:lnTo>
                <a:lnTo>
                  <a:pt x="2453" y="1260"/>
                </a:lnTo>
                <a:lnTo>
                  <a:pt x="2451" y="1261"/>
                </a:lnTo>
                <a:lnTo>
                  <a:pt x="2449" y="1262"/>
                </a:lnTo>
                <a:lnTo>
                  <a:pt x="2446" y="1262"/>
                </a:lnTo>
                <a:lnTo>
                  <a:pt x="2443" y="1262"/>
                </a:lnTo>
                <a:lnTo>
                  <a:pt x="2441" y="1261"/>
                </a:lnTo>
                <a:lnTo>
                  <a:pt x="2439" y="1259"/>
                </a:lnTo>
                <a:lnTo>
                  <a:pt x="2437" y="1258"/>
                </a:lnTo>
                <a:lnTo>
                  <a:pt x="2435" y="1256"/>
                </a:lnTo>
                <a:lnTo>
                  <a:pt x="2434" y="1253"/>
                </a:lnTo>
                <a:lnTo>
                  <a:pt x="2434" y="1251"/>
                </a:lnTo>
                <a:lnTo>
                  <a:pt x="2434" y="1248"/>
                </a:lnTo>
                <a:lnTo>
                  <a:pt x="2434" y="1246"/>
                </a:lnTo>
                <a:lnTo>
                  <a:pt x="2435" y="1244"/>
                </a:lnTo>
                <a:lnTo>
                  <a:pt x="2436" y="1242"/>
                </a:lnTo>
                <a:lnTo>
                  <a:pt x="2437" y="1241"/>
                </a:lnTo>
                <a:lnTo>
                  <a:pt x="2439" y="1239"/>
                </a:lnTo>
                <a:lnTo>
                  <a:pt x="2440" y="1238"/>
                </a:lnTo>
                <a:lnTo>
                  <a:pt x="2442" y="1237"/>
                </a:lnTo>
                <a:lnTo>
                  <a:pt x="2444" y="1237"/>
                </a:lnTo>
                <a:close/>
                <a:moveTo>
                  <a:pt x="1926" y="1326"/>
                </a:moveTo>
                <a:lnTo>
                  <a:pt x="1930" y="1326"/>
                </a:lnTo>
                <a:lnTo>
                  <a:pt x="1932" y="1326"/>
                </a:lnTo>
                <a:lnTo>
                  <a:pt x="1934" y="1327"/>
                </a:lnTo>
                <a:lnTo>
                  <a:pt x="1936" y="1328"/>
                </a:lnTo>
                <a:lnTo>
                  <a:pt x="1938" y="1330"/>
                </a:lnTo>
                <a:lnTo>
                  <a:pt x="1939" y="1331"/>
                </a:lnTo>
                <a:lnTo>
                  <a:pt x="1940" y="1333"/>
                </a:lnTo>
                <a:lnTo>
                  <a:pt x="1941" y="1336"/>
                </a:lnTo>
                <a:lnTo>
                  <a:pt x="1941" y="1338"/>
                </a:lnTo>
                <a:lnTo>
                  <a:pt x="1941" y="1341"/>
                </a:lnTo>
                <a:lnTo>
                  <a:pt x="1940" y="1343"/>
                </a:lnTo>
                <a:lnTo>
                  <a:pt x="1939" y="1345"/>
                </a:lnTo>
                <a:lnTo>
                  <a:pt x="1937" y="1347"/>
                </a:lnTo>
                <a:lnTo>
                  <a:pt x="1935" y="1349"/>
                </a:lnTo>
                <a:lnTo>
                  <a:pt x="1933" y="1350"/>
                </a:lnTo>
                <a:lnTo>
                  <a:pt x="1930" y="1351"/>
                </a:lnTo>
                <a:lnTo>
                  <a:pt x="1926" y="1351"/>
                </a:lnTo>
                <a:lnTo>
                  <a:pt x="1924" y="1350"/>
                </a:lnTo>
                <a:lnTo>
                  <a:pt x="1922" y="1349"/>
                </a:lnTo>
                <a:lnTo>
                  <a:pt x="1920" y="1348"/>
                </a:lnTo>
                <a:lnTo>
                  <a:pt x="1919" y="1347"/>
                </a:lnTo>
                <a:lnTo>
                  <a:pt x="1918" y="1345"/>
                </a:lnTo>
                <a:lnTo>
                  <a:pt x="1917" y="1343"/>
                </a:lnTo>
                <a:lnTo>
                  <a:pt x="1916" y="1340"/>
                </a:lnTo>
                <a:lnTo>
                  <a:pt x="1916" y="1338"/>
                </a:lnTo>
                <a:lnTo>
                  <a:pt x="1916" y="1336"/>
                </a:lnTo>
                <a:lnTo>
                  <a:pt x="1917" y="1333"/>
                </a:lnTo>
                <a:lnTo>
                  <a:pt x="1918" y="1331"/>
                </a:lnTo>
                <a:lnTo>
                  <a:pt x="1919" y="1329"/>
                </a:lnTo>
                <a:lnTo>
                  <a:pt x="1921" y="1328"/>
                </a:lnTo>
                <a:lnTo>
                  <a:pt x="1924" y="1326"/>
                </a:lnTo>
                <a:lnTo>
                  <a:pt x="1926" y="1326"/>
                </a:lnTo>
                <a:close/>
                <a:moveTo>
                  <a:pt x="2378" y="1235"/>
                </a:moveTo>
                <a:lnTo>
                  <a:pt x="2380" y="1234"/>
                </a:lnTo>
                <a:lnTo>
                  <a:pt x="2383" y="1235"/>
                </a:lnTo>
                <a:lnTo>
                  <a:pt x="2385" y="1235"/>
                </a:lnTo>
                <a:lnTo>
                  <a:pt x="2387" y="1237"/>
                </a:lnTo>
                <a:lnTo>
                  <a:pt x="2389" y="1238"/>
                </a:lnTo>
                <a:lnTo>
                  <a:pt x="2391" y="1240"/>
                </a:lnTo>
                <a:lnTo>
                  <a:pt x="2392" y="1242"/>
                </a:lnTo>
                <a:lnTo>
                  <a:pt x="2393" y="1245"/>
                </a:lnTo>
                <a:lnTo>
                  <a:pt x="2393" y="1247"/>
                </a:lnTo>
                <a:lnTo>
                  <a:pt x="2392" y="1252"/>
                </a:lnTo>
                <a:lnTo>
                  <a:pt x="2391" y="1254"/>
                </a:lnTo>
                <a:lnTo>
                  <a:pt x="2390" y="1255"/>
                </a:lnTo>
                <a:lnTo>
                  <a:pt x="2387" y="1258"/>
                </a:lnTo>
                <a:lnTo>
                  <a:pt x="2385" y="1259"/>
                </a:lnTo>
                <a:lnTo>
                  <a:pt x="2383" y="1260"/>
                </a:lnTo>
                <a:lnTo>
                  <a:pt x="2380" y="1260"/>
                </a:lnTo>
                <a:lnTo>
                  <a:pt x="2378" y="1260"/>
                </a:lnTo>
                <a:lnTo>
                  <a:pt x="2375" y="1259"/>
                </a:lnTo>
                <a:lnTo>
                  <a:pt x="2373" y="1258"/>
                </a:lnTo>
                <a:lnTo>
                  <a:pt x="2371" y="1256"/>
                </a:lnTo>
                <a:lnTo>
                  <a:pt x="2370" y="1254"/>
                </a:lnTo>
                <a:lnTo>
                  <a:pt x="2369" y="1252"/>
                </a:lnTo>
                <a:lnTo>
                  <a:pt x="2368" y="1250"/>
                </a:lnTo>
                <a:lnTo>
                  <a:pt x="2368" y="1247"/>
                </a:lnTo>
                <a:lnTo>
                  <a:pt x="2368" y="1243"/>
                </a:lnTo>
                <a:lnTo>
                  <a:pt x="2369" y="1241"/>
                </a:lnTo>
                <a:lnTo>
                  <a:pt x="2371" y="1239"/>
                </a:lnTo>
                <a:lnTo>
                  <a:pt x="2374" y="1236"/>
                </a:lnTo>
                <a:lnTo>
                  <a:pt x="2376" y="1235"/>
                </a:lnTo>
                <a:lnTo>
                  <a:pt x="2378" y="1235"/>
                </a:lnTo>
                <a:close/>
                <a:moveTo>
                  <a:pt x="1988" y="1302"/>
                </a:moveTo>
                <a:lnTo>
                  <a:pt x="1992" y="1302"/>
                </a:lnTo>
                <a:lnTo>
                  <a:pt x="1995" y="1303"/>
                </a:lnTo>
                <a:lnTo>
                  <a:pt x="1997" y="1304"/>
                </a:lnTo>
                <a:lnTo>
                  <a:pt x="2000" y="1307"/>
                </a:lnTo>
                <a:lnTo>
                  <a:pt x="2001" y="1308"/>
                </a:lnTo>
                <a:lnTo>
                  <a:pt x="2002" y="1311"/>
                </a:lnTo>
                <a:lnTo>
                  <a:pt x="2003" y="1316"/>
                </a:lnTo>
                <a:lnTo>
                  <a:pt x="2002" y="1318"/>
                </a:lnTo>
                <a:lnTo>
                  <a:pt x="2002" y="1320"/>
                </a:lnTo>
                <a:lnTo>
                  <a:pt x="2000" y="1322"/>
                </a:lnTo>
                <a:lnTo>
                  <a:pt x="1999" y="1324"/>
                </a:lnTo>
                <a:lnTo>
                  <a:pt x="1997" y="1326"/>
                </a:lnTo>
                <a:lnTo>
                  <a:pt x="1994" y="1327"/>
                </a:lnTo>
                <a:lnTo>
                  <a:pt x="1992" y="1327"/>
                </a:lnTo>
                <a:lnTo>
                  <a:pt x="1988" y="1327"/>
                </a:lnTo>
                <a:lnTo>
                  <a:pt x="1986" y="1327"/>
                </a:lnTo>
                <a:lnTo>
                  <a:pt x="1984" y="1326"/>
                </a:lnTo>
                <a:lnTo>
                  <a:pt x="1980" y="1323"/>
                </a:lnTo>
                <a:lnTo>
                  <a:pt x="1979" y="1321"/>
                </a:lnTo>
                <a:lnTo>
                  <a:pt x="1978" y="1319"/>
                </a:lnTo>
                <a:lnTo>
                  <a:pt x="1977" y="1314"/>
                </a:lnTo>
                <a:lnTo>
                  <a:pt x="1978" y="1312"/>
                </a:lnTo>
                <a:lnTo>
                  <a:pt x="1979" y="1309"/>
                </a:lnTo>
                <a:lnTo>
                  <a:pt x="1980" y="1307"/>
                </a:lnTo>
                <a:lnTo>
                  <a:pt x="1982" y="1305"/>
                </a:lnTo>
                <a:lnTo>
                  <a:pt x="1984" y="1304"/>
                </a:lnTo>
                <a:lnTo>
                  <a:pt x="1986" y="1303"/>
                </a:lnTo>
                <a:lnTo>
                  <a:pt x="1988" y="1302"/>
                </a:lnTo>
                <a:close/>
                <a:moveTo>
                  <a:pt x="2312" y="1236"/>
                </a:moveTo>
                <a:lnTo>
                  <a:pt x="2313" y="1236"/>
                </a:lnTo>
                <a:lnTo>
                  <a:pt x="2318" y="1237"/>
                </a:lnTo>
                <a:lnTo>
                  <a:pt x="2321" y="1238"/>
                </a:lnTo>
                <a:lnTo>
                  <a:pt x="2323" y="1239"/>
                </a:lnTo>
                <a:lnTo>
                  <a:pt x="2324" y="1241"/>
                </a:lnTo>
                <a:lnTo>
                  <a:pt x="2326" y="1243"/>
                </a:lnTo>
                <a:lnTo>
                  <a:pt x="2326" y="1246"/>
                </a:lnTo>
                <a:lnTo>
                  <a:pt x="2327" y="1248"/>
                </a:lnTo>
                <a:lnTo>
                  <a:pt x="2327" y="1251"/>
                </a:lnTo>
                <a:lnTo>
                  <a:pt x="2326" y="1253"/>
                </a:lnTo>
                <a:lnTo>
                  <a:pt x="2325" y="1255"/>
                </a:lnTo>
                <a:lnTo>
                  <a:pt x="2324" y="1257"/>
                </a:lnTo>
                <a:lnTo>
                  <a:pt x="2323" y="1258"/>
                </a:lnTo>
                <a:lnTo>
                  <a:pt x="2321" y="1260"/>
                </a:lnTo>
                <a:lnTo>
                  <a:pt x="2319" y="1261"/>
                </a:lnTo>
                <a:lnTo>
                  <a:pt x="2316" y="1261"/>
                </a:lnTo>
                <a:lnTo>
                  <a:pt x="2315" y="1262"/>
                </a:lnTo>
                <a:lnTo>
                  <a:pt x="2310" y="1261"/>
                </a:lnTo>
                <a:lnTo>
                  <a:pt x="2308" y="1260"/>
                </a:lnTo>
                <a:lnTo>
                  <a:pt x="2306" y="1258"/>
                </a:lnTo>
                <a:lnTo>
                  <a:pt x="2304" y="1257"/>
                </a:lnTo>
                <a:lnTo>
                  <a:pt x="2303" y="1255"/>
                </a:lnTo>
                <a:lnTo>
                  <a:pt x="2302" y="1252"/>
                </a:lnTo>
                <a:lnTo>
                  <a:pt x="2302" y="1250"/>
                </a:lnTo>
                <a:lnTo>
                  <a:pt x="2302" y="1247"/>
                </a:lnTo>
                <a:lnTo>
                  <a:pt x="2302" y="1245"/>
                </a:lnTo>
                <a:lnTo>
                  <a:pt x="2303" y="1243"/>
                </a:lnTo>
                <a:lnTo>
                  <a:pt x="2304" y="1241"/>
                </a:lnTo>
                <a:lnTo>
                  <a:pt x="2306" y="1239"/>
                </a:lnTo>
                <a:lnTo>
                  <a:pt x="2308" y="1238"/>
                </a:lnTo>
                <a:lnTo>
                  <a:pt x="2310" y="1237"/>
                </a:lnTo>
                <a:lnTo>
                  <a:pt x="2312" y="1236"/>
                </a:lnTo>
                <a:close/>
                <a:moveTo>
                  <a:pt x="2051" y="1282"/>
                </a:moveTo>
                <a:lnTo>
                  <a:pt x="2056" y="1282"/>
                </a:lnTo>
                <a:lnTo>
                  <a:pt x="2058" y="1283"/>
                </a:lnTo>
                <a:lnTo>
                  <a:pt x="2060" y="1284"/>
                </a:lnTo>
                <a:lnTo>
                  <a:pt x="2062" y="1285"/>
                </a:lnTo>
                <a:lnTo>
                  <a:pt x="2063" y="1287"/>
                </a:lnTo>
                <a:lnTo>
                  <a:pt x="2064" y="1289"/>
                </a:lnTo>
                <a:lnTo>
                  <a:pt x="2065" y="1291"/>
                </a:lnTo>
                <a:lnTo>
                  <a:pt x="2066" y="1294"/>
                </a:lnTo>
                <a:lnTo>
                  <a:pt x="2066" y="1296"/>
                </a:lnTo>
                <a:lnTo>
                  <a:pt x="2065" y="1298"/>
                </a:lnTo>
                <a:lnTo>
                  <a:pt x="2064" y="1301"/>
                </a:lnTo>
                <a:lnTo>
                  <a:pt x="2063" y="1303"/>
                </a:lnTo>
                <a:lnTo>
                  <a:pt x="2061" y="1304"/>
                </a:lnTo>
                <a:lnTo>
                  <a:pt x="2059" y="1306"/>
                </a:lnTo>
                <a:lnTo>
                  <a:pt x="2057" y="1307"/>
                </a:lnTo>
                <a:lnTo>
                  <a:pt x="2055" y="1307"/>
                </a:lnTo>
                <a:lnTo>
                  <a:pt x="2051" y="1307"/>
                </a:lnTo>
                <a:lnTo>
                  <a:pt x="2048" y="1306"/>
                </a:lnTo>
                <a:lnTo>
                  <a:pt x="2046" y="1305"/>
                </a:lnTo>
                <a:lnTo>
                  <a:pt x="2045" y="1304"/>
                </a:lnTo>
                <a:lnTo>
                  <a:pt x="2043" y="1302"/>
                </a:lnTo>
                <a:lnTo>
                  <a:pt x="2042" y="1300"/>
                </a:lnTo>
                <a:lnTo>
                  <a:pt x="2041" y="1298"/>
                </a:lnTo>
                <a:lnTo>
                  <a:pt x="2040" y="1296"/>
                </a:lnTo>
                <a:lnTo>
                  <a:pt x="2041" y="1293"/>
                </a:lnTo>
                <a:lnTo>
                  <a:pt x="2041" y="1291"/>
                </a:lnTo>
                <a:lnTo>
                  <a:pt x="2042" y="1288"/>
                </a:lnTo>
                <a:lnTo>
                  <a:pt x="2043" y="1286"/>
                </a:lnTo>
                <a:lnTo>
                  <a:pt x="2045" y="1285"/>
                </a:lnTo>
                <a:lnTo>
                  <a:pt x="2047" y="1283"/>
                </a:lnTo>
                <a:lnTo>
                  <a:pt x="2050" y="1282"/>
                </a:lnTo>
                <a:lnTo>
                  <a:pt x="2051" y="1282"/>
                </a:lnTo>
                <a:close/>
                <a:moveTo>
                  <a:pt x="2115" y="1265"/>
                </a:moveTo>
                <a:lnTo>
                  <a:pt x="2120" y="1265"/>
                </a:lnTo>
                <a:lnTo>
                  <a:pt x="2122" y="1266"/>
                </a:lnTo>
                <a:lnTo>
                  <a:pt x="2124" y="1267"/>
                </a:lnTo>
                <a:lnTo>
                  <a:pt x="2126" y="1269"/>
                </a:lnTo>
                <a:lnTo>
                  <a:pt x="2127" y="1270"/>
                </a:lnTo>
                <a:lnTo>
                  <a:pt x="2129" y="1272"/>
                </a:lnTo>
                <a:lnTo>
                  <a:pt x="2129" y="1275"/>
                </a:lnTo>
                <a:lnTo>
                  <a:pt x="2130" y="1277"/>
                </a:lnTo>
                <a:lnTo>
                  <a:pt x="2130" y="1280"/>
                </a:lnTo>
                <a:lnTo>
                  <a:pt x="2129" y="1282"/>
                </a:lnTo>
                <a:lnTo>
                  <a:pt x="2128" y="1284"/>
                </a:lnTo>
                <a:lnTo>
                  <a:pt x="2126" y="1286"/>
                </a:lnTo>
                <a:lnTo>
                  <a:pt x="2125" y="1288"/>
                </a:lnTo>
                <a:lnTo>
                  <a:pt x="2122" y="1289"/>
                </a:lnTo>
                <a:lnTo>
                  <a:pt x="2120" y="1290"/>
                </a:lnTo>
                <a:lnTo>
                  <a:pt x="2115" y="1290"/>
                </a:lnTo>
                <a:lnTo>
                  <a:pt x="2112" y="1289"/>
                </a:lnTo>
                <a:lnTo>
                  <a:pt x="2110" y="1288"/>
                </a:lnTo>
                <a:lnTo>
                  <a:pt x="2108" y="1287"/>
                </a:lnTo>
                <a:lnTo>
                  <a:pt x="2107" y="1285"/>
                </a:lnTo>
                <a:lnTo>
                  <a:pt x="2105" y="1283"/>
                </a:lnTo>
                <a:lnTo>
                  <a:pt x="2105" y="1281"/>
                </a:lnTo>
                <a:lnTo>
                  <a:pt x="2104" y="1278"/>
                </a:lnTo>
                <a:lnTo>
                  <a:pt x="2105" y="1276"/>
                </a:lnTo>
                <a:lnTo>
                  <a:pt x="2105" y="1273"/>
                </a:lnTo>
                <a:lnTo>
                  <a:pt x="2106" y="1271"/>
                </a:lnTo>
                <a:lnTo>
                  <a:pt x="2108" y="1269"/>
                </a:lnTo>
                <a:lnTo>
                  <a:pt x="2110" y="1267"/>
                </a:lnTo>
                <a:lnTo>
                  <a:pt x="2112" y="1266"/>
                </a:lnTo>
                <a:lnTo>
                  <a:pt x="2114" y="1265"/>
                </a:lnTo>
                <a:lnTo>
                  <a:pt x="2115" y="1265"/>
                </a:lnTo>
                <a:close/>
                <a:moveTo>
                  <a:pt x="2246" y="1242"/>
                </a:moveTo>
                <a:lnTo>
                  <a:pt x="2249" y="1242"/>
                </a:lnTo>
                <a:lnTo>
                  <a:pt x="2252" y="1243"/>
                </a:lnTo>
                <a:lnTo>
                  <a:pt x="2254" y="1243"/>
                </a:lnTo>
                <a:lnTo>
                  <a:pt x="2256" y="1245"/>
                </a:lnTo>
                <a:lnTo>
                  <a:pt x="2258" y="1246"/>
                </a:lnTo>
                <a:lnTo>
                  <a:pt x="2259" y="1248"/>
                </a:lnTo>
                <a:lnTo>
                  <a:pt x="2260" y="1251"/>
                </a:lnTo>
                <a:lnTo>
                  <a:pt x="2261" y="1253"/>
                </a:lnTo>
                <a:lnTo>
                  <a:pt x="2261" y="1256"/>
                </a:lnTo>
                <a:lnTo>
                  <a:pt x="2261" y="1258"/>
                </a:lnTo>
                <a:lnTo>
                  <a:pt x="2258" y="1262"/>
                </a:lnTo>
                <a:lnTo>
                  <a:pt x="2257" y="1264"/>
                </a:lnTo>
                <a:lnTo>
                  <a:pt x="2255" y="1266"/>
                </a:lnTo>
                <a:lnTo>
                  <a:pt x="2253" y="1267"/>
                </a:lnTo>
                <a:lnTo>
                  <a:pt x="2251" y="1267"/>
                </a:lnTo>
                <a:lnTo>
                  <a:pt x="2248" y="1267"/>
                </a:lnTo>
                <a:lnTo>
                  <a:pt x="2245" y="1267"/>
                </a:lnTo>
                <a:lnTo>
                  <a:pt x="2243" y="1266"/>
                </a:lnTo>
                <a:lnTo>
                  <a:pt x="2241" y="1265"/>
                </a:lnTo>
                <a:lnTo>
                  <a:pt x="2239" y="1263"/>
                </a:lnTo>
                <a:lnTo>
                  <a:pt x="2237" y="1261"/>
                </a:lnTo>
                <a:lnTo>
                  <a:pt x="2236" y="1259"/>
                </a:lnTo>
                <a:lnTo>
                  <a:pt x="2236" y="1256"/>
                </a:lnTo>
                <a:lnTo>
                  <a:pt x="2236" y="1254"/>
                </a:lnTo>
                <a:lnTo>
                  <a:pt x="2236" y="1251"/>
                </a:lnTo>
                <a:lnTo>
                  <a:pt x="2238" y="1247"/>
                </a:lnTo>
                <a:lnTo>
                  <a:pt x="2240" y="1245"/>
                </a:lnTo>
                <a:lnTo>
                  <a:pt x="2242" y="1244"/>
                </a:lnTo>
                <a:lnTo>
                  <a:pt x="2244" y="1243"/>
                </a:lnTo>
                <a:lnTo>
                  <a:pt x="2246" y="1242"/>
                </a:lnTo>
                <a:close/>
                <a:moveTo>
                  <a:pt x="2180" y="1252"/>
                </a:moveTo>
                <a:lnTo>
                  <a:pt x="2185" y="1252"/>
                </a:lnTo>
                <a:lnTo>
                  <a:pt x="2187" y="1253"/>
                </a:lnTo>
                <a:lnTo>
                  <a:pt x="2189" y="1254"/>
                </a:lnTo>
                <a:lnTo>
                  <a:pt x="2191" y="1256"/>
                </a:lnTo>
                <a:lnTo>
                  <a:pt x="2193" y="1257"/>
                </a:lnTo>
                <a:lnTo>
                  <a:pt x="2194" y="1260"/>
                </a:lnTo>
                <a:lnTo>
                  <a:pt x="2194" y="1262"/>
                </a:lnTo>
                <a:lnTo>
                  <a:pt x="2194" y="1267"/>
                </a:lnTo>
                <a:lnTo>
                  <a:pt x="2193" y="1270"/>
                </a:lnTo>
                <a:lnTo>
                  <a:pt x="2192" y="1272"/>
                </a:lnTo>
                <a:lnTo>
                  <a:pt x="2191" y="1274"/>
                </a:lnTo>
                <a:lnTo>
                  <a:pt x="2189" y="1275"/>
                </a:lnTo>
                <a:lnTo>
                  <a:pt x="2187" y="1276"/>
                </a:lnTo>
                <a:lnTo>
                  <a:pt x="2184" y="1277"/>
                </a:lnTo>
                <a:lnTo>
                  <a:pt x="2179" y="1277"/>
                </a:lnTo>
                <a:lnTo>
                  <a:pt x="2177" y="1276"/>
                </a:lnTo>
                <a:lnTo>
                  <a:pt x="2175" y="1275"/>
                </a:lnTo>
                <a:lnTo>
                  <a:pt x="2173" y="1273"/>
                </a:lnTo>
                <a:lnTo>
                  <a:pt x="2171" y="1271"/>
                </a:lnTo>
                <a:lnTo>
                  <a:pt x="2170" y="1269"/>
                </a:lnTo>
                <a:lnTo>
                  <a:pt x="2169" y="1267"/>
                </a:lnTo>
                <a:lnTo>
                  <a:pt x="2169" y="1262"/>
                </a:lnTo>
                <a:lnTo>
                  <a:pt x="2170" y="1259"/>
                </a:lnTo>
                <a:lnTo>
                  <a:pt x="2171" y="1257"/>
                </a:lnTo>
                <a:lnTo>
                  <a:pt x="2173" y="1255"/>
                </a:lnTo>
                <a:lnTo>
                  <a:pt x="2175" y="1254"/>
                </a:lnTo>
                <a:lnTo>
                  <a:pt x="2177" y="1253"/>
                </a:lnTo>
                <a:lnTo>
                  <a:pt x="2180" y="1252"/>
                </a:lnTo>
                <a:close/>
                <a:moveTo>
                  <a:pt x="717" y="2229"/>
                </a:moveTo>
                <a:lnTo>
                  <a:pt x="721" y="2229"/>
                </a:lnTo>
                <a:lnTo>
                  <a:pt x="723" y="2229"/>
                </a:lnTo>
                <a:lnTo>
                  <a:pt x="725" y="2230"/>
                </a:lnTo>
                <a:lnTo>
                  <a:pt x="727" y="2231"/>
                </a:lnTo>
                <a:lnTo>
                  <a:pt x="729" y="2233"/>
                </a:lnTo>
                <a:lnTo>
                  <a:pt x="730" y="2235"/>
                </a:lnTo>
                <a:lnTo>
                  <a:pt x="731" y="2237"/>
                </a:lnTo>
                <a:lnTo>
                  <a:pt x="732" y="2242"/>
                </a:lnTo>
                <a:lnTo>
                  <a:pt x="732" y="2245"/>
                </a:lnTo>
                <a:lnTo>
                  <a:pt x="731" y="2247"/>
                </a:lnTo>
                <a:lnTo>
                  <a:pt x="729" y="2250"/>
                </a:lnTo>
                <a:lnTo>
                  <a:pt x="727" y="2252"/>
                </a:lnTo>
                <a:lnTo>
                  <a:pt x="724" y="2253"/>
                </a:lnTo>
                <a:lnTo>
                  <a:pt x="722" y="2254"/>
                </a:lnTo>
                <a:lnTo>
                  <a:pt x="718" y="2254"/>
                </a:lnTo>
                <a:lnTo>
                  <a:pt x="716" y="2254"/>
                </a:lnTo>
                <a:lnTo>
                  <a:pt x="714" y="2253"/>
                </a:lnTo>
                <a:lnTo>
                  <a:pt x="712" y="2252"/>
                </a:lnTo>
                <a:lnTo>
                  <a:pt x="710" y="2250"/>
                </a:lnTo>
                <a:lnTo>
                  <a:pt x="708" y="2248"/>
                </a:lnTo>
                <a:lnTo>
                  <a:pt x="707" y="2246"/>
                </a:lnTo>
                <a:lnTo>
                  <a:pt x="707" y="2241"/>
                </a:lnTo>
                <a:lnTo>
                  <a:pt x="707" y="2239"/>
                </a:lnTo>
                <a:lnTo>
                  <a:pt x="708" y="2236"/>
                </a:lnTo>
                <a:lnTo>
                  <a:pt x="710" y="2234"/>
                </a:lnTo>
                <a:lnTo>
                  <a:pt x="712" y="2231"/>
                </a:lnTo>
                <a:lnTo>
                  <a:pt x="714" y="2230"/>
                </a:lnTo>
                <a:lnTo>
                  <a:pt x="717" y="2229"/>
                </a:lnTo>
                <a:close/>
                <a:moveTo>
                  <a:pt x="747" y="2170"/>
                </a:moveTo>
                <a:lnTo>
                  <a:pt x="751" y="2169"/>
                </a:lnTo>
                <a:lnTo>
                  <a:pt x="753" y="2170"/>
                </a:lnTo>
                <a:lnTo>
                  <a:pt x="755" y="2171"/>
                </a:lnTo>
                <a:lnTo>
                  <a:pt x="757" y="2172"/>
                </a:lnTo>
                <a:lnTo>
                  <a:pt x="759" y="2174"/>
                </a:lnTo>
                <a:lnTo>
                  <a:pt x="760" y="2176"/>
                </a:lnTo>
                <a:lnTo>
                  <a:pt x="761" y="2178"/>
                </a:lnTo>
                <a:lnTo>
                  <a:pt x="762" y="2183"/>
                </a:lnTo>
                <a:lnTo>
                  <a:pt x="762" y="2185"/>
                </a:lnTo>
                <a:lnTo>
                  <a:pt x="761" y="2188"/>
                </a:lnTo>
                <a:lnTo>
                  <a:pt x="759" y="2190"/>
                </a:lnTo>
                <a:lnTo>
                  <a:pt x="757" y="2192"/>
                </a:lnTo>
                <a:lnTo>
                  <a:pt x="754" y="2194"/>
                </a:lnTo>
                <a:lnTo>
                  <a:pt x="752" y="2195"/>
                </a:lnTo>
                <a:lnTo>
                  <a:pt x="748" y="2195"/>
                </a:lnTo>
                <a:lnTo>
                  <a:pt x="746" y="2194"/>
                </a:lnTo>
                <a:lnTo>
                  <a:pt x="744" y="2194"/>
                </a:lnTo>
                <a:lnTo>
                  <a:pt x="741" y="2192"/>
                </a:lnTo>
                <a:lnTo>
                  <a:pt x="740" y="2190"/>
                </a:lnTo>
                <a:lnTo>
                  <a:pt x="738" y="2188"/>
                </a:lnTo>
                <a:lnTo>
                  <a:pt x="737" y="2186"/>
                </a:lnTo>
                <a:lnTo>
                  <a:pt x="737" y="2181"/>
                </a:lnTo>
                <a:lnTo>
                  <a:pt x="737" y="2179"/>
                </a:lnTo>
                <a:lnTo>
                  <a:pt x="738" y="2176"/>
                </a:lnTo>
                <a:lnTo>
                  <a:pt x="740" y="2174"/>
                </a:lnTo>
                <a:lnTo>
                  <a:pt x="742" y="2172"/>
                </a:lnTo>
                <a:lnTo>
                  <a:pt x="744" y="2170"/>
                </a:lnTo>
                <a:lnTo>
                  <a:pt x="747" y="2170"/>
                </a:lnTo>
                <a:close/>
                <a:moveTo>
                  <a:pt x="777" y="2111"/>
                </a:moveTo>
                <a:lnTo>
                  <a:pt x="781" y="2111"/>
                </a:lnTo>
                <a:lnTo>
                  <a:pt x="785" y="2112"/>
                </a:lnTo>
                <a:lnTo>
                  <a:pt x="787" y="2113"/>
                </a:lnTo>
                <a:lnTo>
                  <a:pt x="789" y="2115"/>
                </a:lnTo>
                <a:lnTo>
                  <a:pt x="791" y="2117"/>
                </a:lnTo>
                <a:lnTo>
                  <a:pt x="792" y="2119"/>
                </a:lnTo>
                <a:lnTo>
                  <a:pt x="792" y="2122"/>
                </a:lnTo>
                <a:lnTo>
                  <a:pt x="792" y="2124"/>
                </a:lnTo>
                <a:lnTo>
                  <a:pt x="792" y="2127"/>
                </a:lnTo>
                <a:lnTo>
                  <a:pt x="791" y="2129"/>
                </a:lnTo>
                <a:lnTo>
                  <a:pt x="789" y="2132"/>
                </a:lnTo>
                <a:lnTo>
                  <a:pt x="787" y="2134"/>
                </a:lnTo>
                <a:lnTo>
                  <a:pt x="784" y="2135"/>
                </a:lnTo>
                <a:lnTo>
                  <a:pt x="782" y="2136"/>
                </a:lnTo>
                <a:lnTo>
                  <a:pt x="777" y="2136"/>
                </a:lnTo>
                <a:lnTo>
                  <a:pt x="773" y="2135"/>
                </a:lnTo>
                <a:lnTo>
                  <a:pt x="771" y="2133"/>
                </a:lnTo>
                <a:lnTo>
                  <a:pt x="769" y="2131"/>
                </a:lnTo>
                <a:lnTo>
                  <a:pt x="768" y="2129"/>
                </a:lnTo>
                <a:lnTo>
                  <a:pt x="767" y="2127"/>
                </a:lnTo>
                <a:lnTo>
                  <a:pt x="767" y="2125"/>
                </a:lnTo>
                <a:lnTo>
                  <a:pt x="767" y="2122"/>
                </a:lnTo>
                <a:lnTo>
                  <a:pt x="767" y="2120"/>
                </a:lnTo>
                <a:lnTo>
                  <a:pt x="768" y="2117"/>
                </a:lnTo>
                <a:lnTo>
                  <a:pt x="770" y="2115"/>
                </a:lnTo>
                <a:lnTo>
                  <a:pt x="772" y="2113"/>
                </a:lnTo>
                <a:lnTo>
                  <a:pt x="774" y="2111"/>
                </a:lnTo>
                <a:lnTo>
                  <a:pt x="777" y="2111"/>
                </a:lnTo>
                <a:close/>
                <a:moveTo>
                  <a:pt x="808" y="2052"/>
                </a:moveTo>
                <a:lnTo>
                  <a:pt x="813" y="2052"/>
                </a:lnTo>
                <a:lnTo>
                  <a:pt x="817" y="2054"/>
                </a:lnTo>
                <a:lnTo>
                  <a:pt x="819" y="2055"/>
                </a:lnTo>
                <a:lnTo>
                  <a:pt x="821" y="2057"/>
                </a:lnTo>
                <a:lnTo>
                  <a:pt x="822" y="2059"/>
                </a:lnTo>
                <a:lnTo>
                  <a:pt x="823" y="2061"/>
                </a:lnTo>
                <a:lnTo>
                  <a:pt x="823" y="2064"/>
                </a:lnTo>
                <a:lnTo>
                  <a:pt x="823" y="2066"/>
                </a:lnTo>
                <a:lnTo>
                  <a:pt x="823" y="2069"/>
                </a:lnTo>
                <a:lnTo>
                  <a:pt x="822" y="2071"/>
                </a:lnTo>
                <a:lnTo>
                  <a:pt x="820" y="2073"/>
                </a:lnTo>
                <a:lnTo>
                  <a:pt x="818" y="2075"/>
                </a:lnTo>
                <a:lnTo>
                  <a:pt x="815" y="2077"/>
                </a:lnTo>
                <a:lnTo>
                  <a:pt x="813" y="2077"/>
                </a:lnTo>
                <a:lnTo>
                  <a:pt x="809" y="2078"/>
                </a:lnTo>
                <a:lnTo>
                  <a:pt x="804" y="2076"/>
                </a:lnTo>
                <a:lnTo>
                  <a:pt x="802" y="2075"/>
                </a:lnTo>
                <a:lnTo>
                  <a:pt x="801" y="2073"/>
                </a:lnTo>
                <a:lnTo>
                  <a:pt x="799" y="2071"/>
                </a:lnTo>
                <a:lnTo>
                  <a:pt x="798" y="2068"/>
                </a:lnTo>
                <a:lnTo>
                  <a:pt x="798" y="2066"/>
                </a:lnTo>
                <a:lnTo>
                  <a:pt x="798" y="2064"/>
                </a:lnTo>
                <a:lnTo>
                  <a:pt x="798" y="2061"/>
                </a:lnTo>
                <a:lnTo>
                  <a:pt x="799" y="2059"/>
                </a:lnTo>
                <a:lnTo>
                  <a:pt x="801" y="2056"/>
                </a:lnTo>
                <a:lnTo>
                  <a:pt x="803" y="2054"/>
                </a:lnTo>
                <a:lnTo>
                  <a:pt x="806" y="2053"/>
                </a:lnTo>
                <a:lnTo>
                  <a:pt x="808" y="2052"/>
                </a:lnTo>
                <a:close/>
                <a:moveTo>
                  <a:pt x="841" y="1995"/>
                </a:moveTo>
                <a:lnTo>
                  <a:pt x="845" y="1995"/>
                </a:lnTo>
                <a:lnTo>
                  <a:pt x="847" y="1995"/>
                </a:lnTo>
                <a:lnTo>
                  <a:pt x="849" y="1996"/>
                </a:lnTo>
                <a:lnTo>
                  <a:pt x="851" y="1998"/>
                </a:lnTo>
                <a:lnTo>
                  <a:pt x="853" y="1999"/>
                </a:lnTo>
                <a:lnTo>
                  <a:pt x="854" y="2002"/>
                </a:lnTo>
                <a:lnTo>
                  <a:pt x="855" y="2004"/>
                </a:lnTo>
                <a:lnTo>
                  <a:pt x="856" y="2006"/>
                </a:lnTo>
                <a:lnTo>
                  <a:pt x="856" y="2009"/>
                </a:lnTo>
                <a:lnTo>
                  <a:pt x="855" y="2011"/>
                </a:lnTo>
                <a:lnTo>
                  <a:pt x="854" y="2014"/>
                </a:lnTo>
                <a:lnTo>
                  <a:pt x="853" y="2015"/>
                </a:lnTo>
                <a:lnTo>
                  <a:pt x="852" y="2016"/>
                </a:lnTo>
                <a:lnTo>
                  <a:pt x="850" y="2018"/>
                </a:lnTo>
                <a:lnTo>
                  <a:pt x="848" y="2019"/>
                </a:lnTo>
                <a:lnTo>
                  <a:pt x="845" y="2020"/>
                </a:lnTo>
                <a:lnTo>
                  <a:pt x="841" y="2020"/>
                </a:lnTo>
                <a:lnTo>
                  <a:pt x="839" y="2019"/>
                </a:lnTo>
                <a:lnTo>
                  <a:pt x="837" y="2018"/>
                </a:lnTo>
                <a:lnTo>
                  <a:pt x="834" y="2017"/>
                </a:lnTo>
                <a:lnTo>
                  <a:pt x="833" y="2015"/>
                </a:lnTo>
                <a:lnTo>
                  <a:pt x="831" y="2013"/>
                </a:lnTo>
                <a:lnTo>
                  <a:pt x="831" y="2011"/>
                </a:lnTo>
                <a:lnTo>
                  <a:pt x="830" y="2008"/>
                </a:lnTo>
                <a:lnTo>
                  <a:pt x="830" y="2006"/>
                </a:lnTo>
                <a:lnTo>
                  <a:pt x="831" y="2003"/>
                </a:lnTo>
                <a:lnTo>
                  <a:pt x="832" y="2001"/>
                </a:lnTo>
                <a:lnTo>
                  <a:pt x="833" y="2000"/>
                </a:lnTo>
                <a:lnTo>
                  <a:pt x="834" y="1998"/>
                </a:lnTo>
                <a:lnTo>
                  <a:pt x="836" y="1997"/>
                </a:lnTo>
                <a:lnTo>
                  <a:pt x="838" y="1995"/>
                </a:lnTo>
                <a:lnTo>
                  <a:pt x="841" y="1995"/>
                </a:lnTo>
                <a:close/>
                <a:moveTo>
                  <a:pt x="874" y="1938"/>
                </a:moveTo>
                <a:lnTo>
                  <a:pt x="879" y="1938"/>
                </a:lnTo>
                <a:lnTo>
                  <a:pt x="881" y="1938"/>
                </a:lnTo>
                <a:lnTo>
                  <a:pt x="883" y="1939"/>
                </a:lnTo>
                <a:lnTo>
                  <a:pt x="885" y="1941"/>
                </a:lnTo>
                <a:lnTo>
                  <a:pt x="887" y="1943"/>
                </a:lnTo>
                <a:lnTo>
                  <a:pt x="888" y="1945"/>
                </a:lnTo>
                <a:lnTo>
                  <a:pt x="889" y="1947"/>
                </a:lnTo>
                <a:lnTo>
                  <a:pt x="889" y="1950"/>
                </a:lnTo>
                <a:lnTo>
                  <a:pt x="889" y="1952"/>
                </a:lnTo>
                <a:lnTo>
                  <a:pt x="889" y="1954"/>
                </a:lnTo>
                <a:lnTo>
                  <a:pt x="888" y="1957"/>
                </a:lnTo>
                <a:lnTo>
                  <a:pt x="886" y="1959"/>
                </a:lnTo>
                <a:lnTo>
                  <a:pt x="884" y="1961"/>
                </a:lnTo>
                <a:lnTo>
                  <a:pt x="881" y="1962"/>
                </a:lnTo>
                <a:lnTo>
                  <a:pt x="879" y="1963"/>
                </a:lnTo>
                <a:lnTo>
                  <a:pt x="874" y="1963"/>
                </a:lnTo>
                <a:lnTo>
                  <a:pt x="872" y="1962"/>
                </a:lnTo>
                <a:lnTo>
                  <a:pt x="870" y="1961"/>
                </a:lnTo>
                <a:lnTo>
                  <a:pt x="868" y="1960"/>
                </a:lnTo>
                <a:lnTo>
                  <a:pt x="866" y="1958"/>
                </a:lnTo>
                <a:lnTo>
                  <a:pt x="865" y="1956"/>
                </a:lnTo>
                <a:lnTo>
                  <a:pt x="864" y="1953"/>
                </a:lnTo>
                <a:lnTo>
                  <a:pt x="864" y="1951"/>
                </a:lnTo>
                <a:lnTo>
                  <a:pt x="864" y="1948"/>
                </a:lnTo>
                <a:lnTo>
                  <a:pt x="865" y="1946"/>
                </a:lnTo>
                <a:lnTo>
                  <a:pt x="866" y="1944"/>
                </a:lnTo>
                <a:lnTo>
                  <a:pt x="867" y="1941"/>
                </a:lnTo>
                <a:lnTo>
                  <a:pt x="869" y="1940"/>
                </a:lnTo>
                <a:lnTo>
                  <a:pt x="872" y="1938"/>
                </a:lnTo>
                <a:lnTo>
                  <a:pt x="874" y="1938"/>
                </a:lnTo>
                <a:close/>
                <a:moveTo>
                  <a:pt x="909" y="1881"/>
                </a:moveTo>
                <a:lnTo>
                  <a:pt x="914" y="1881"/>
                </a:lnTo>
                <a:lnTo>
                  <a:pt x="916" y="1882"/>
                </a:lnTo>
                <a:lnTo>
                  <a:pt x="918" y="1883"/>
                </a:lnTo>
                <a:lnTo>
                  <a:pt x="920" y="1885"/>
                </a:lnTo>
                <a:lnTo>
                  <a:pt x="922" y="1887"/>
                </a:lnTo>
                <a:lnTo>
                  <a:pt x="923" y="1889"/>
                </a:lnTo>
                <a:lnTo>
                  <a:pt x="924" y="1891"/>
                </a:lnTo>
                <a:lnTo>
                  <a:pt x="924" y="1894"/>
                </a:lnTo>
                <a:lnTo>
                  <a:pt x="924" y="1896"/>
                </a:lnTo>
                <a:lnTo>
                  <a:pt x="923" y="1899"/>
                </a:lnTo>
                <a:lnTo>
                  <a:pt x="922" y="1901"/>
                </a:lnTo>
                <a:lnTo>
                  <a:pt x="921" y="1903"/>
                </a:lnTo>
                <a:lnTo>
                  <a:pt x="918" y="1905"/>
                </a:lnTo>
                <a:lnTo>
                  <a:pt x="916" y="1906"/>
                </a:lnTo>
                <a:lnTo>
                  <a:pt x="914" y="1907"/>
                </a:lnTo>
                <a:lnTo>
                  <a:pt x="909" y="1907"/>
                </a:lnTo>
                <a:lnTo>
                  <a:pt x="907" y="1906"/>
                </a:lnTo>
                <a:lnTo>
                  <a:pt x="905" y="1905"/>
                </a:lnTo>
                <a:lnTo>
                  <a:pt x="903" y="1903"/>
                </a:lnTo>
                <a:lnTo>
                  <a:pt x="901" y="1901"/>
                </a:lnTo>
                <a:lnTo>
                  <a:pt x="900" y="1899"/>
                </a:lnTo>
                <a:lnTo>
                  <a:pt x="899" y="1897"/>
                </a:lnTo>
                <a:lnTo>
                  <a:pt x="899" y="1894"/>
                </a:lnTo>
                <a:lnTo>
                  <a:pt x="899" y="1892"/>
                </a:lnTo>
                <a:lnTo>
                  <a:pt x="899" y="1889"/>
                </a:lnTo>
                <a:lnTo>
                  <a:pt x="901" y="1887"/>
                </a:lnTo>
                <a:lnTo>
                  <a:pt x="902" y="1885"/>
                </a:lnTo>
                <a:lnTo>
                  <a:pt x="904" y="1883"/>
                </a:lnTo>
                <a:lnTo>
                  <a:pt x="907" y="1882"/>
                </a:lnTo>
                <a:lnTo>
                  <a:pt x="909" y="1881"/>
                </a:lnTo>
                <a:close/>
                <a:moveTo>
                  <a:pt x="945" y="1826"/>
                </a:moveTo>
                <a:lnTo>
                  <a:pt x="950" y="1826"/>
                </a:lnTo>
                <a:lnTo>
                  <a:pt x="952" y="1827"/>
                </a:lnTo>
                <a:lnTo>
                  <a:pt x="955" y="1828"/>
                </a:lnTo>
                <a:lnTo>
                  <a:pt x="957" y="1830"/>
                </a:lnTo>
                <a:lnTo>
                  <a:pt x="958" y="1831"/>
                </a:lnTo>
                <a:lnTo>
                  <a:pt x="959" y="1834"/>
                </a:lnTo>
                <a:lnTo>
                  <a:pt x="960" y="1836"/>
                </a:lnTo>
                <a:lnTo>
                  <a:pt x="960" y="1841"/>
                </a:lnTo>
                <a:lnTo>
                  <a:pt x="959" y="1843"/>
                </a:lnTo>
                <a:lnTo>
                  <a:pt x="958" y="1846"/>
                </a:lnTo>
                <a:lnTo>
                  <a:pt x="956" y="1848"/>
                </a:lnTo>
                <a:lnTo>
                  <a:pt x="954" y="1849"/>
                </a:lnTo>
                <a:lnTo>
                  <a:pt x="952" y="1850"/>
                </a:lnTo>
                <a:lnTo>
                  <a:pt x="950" y="1851"/>
                </a:lnTo>
                <a:lnTo>
                  <a:pt x="945" y="1851"/>
                </a:lnTo>
                <a:lnTo>
                  <a:pt x="943" y="1850"/>
                </a:lnTo>
                <a:lnTo>
                  <a:pt x="940" y="1849"/>
                </a:lnTo>
                <a:lnTo>
                  <a:pt x="938" y="1848"/>
                </a:lnTo>
                <a:lnTo>
                  <a:pt x="937" y="1846"/>
                </a:lnTo>
                <a:lnTo>
                  <a:pt x="936" y="1843"/>
                </a:lnTo>
                <a:lnTo>
                  <a:pt x="935" y="1841"/>
                </a:lnTo>
                <a:lnTo>
                  <a:pt x="935" y="1836"/>
                </a:lnTo>
                <a:lnTo>
                  <a:pt x="936" y="1834"/>
                </a:lnTo>
                <a:lnTo>
                  <a:pt x="937" y="1831"/>
                </a:lnTo>
                <a:lnTo>
                  <a:pt x="939" y="1829"/>
                </a:lnTo>
                <a:lnTo>
                  <a:pt x="941" y="1828"/>
                </a:lnTo>
                <a:lnTo>
                  <a:pt x="943" y="1827"/>
                </a:lnTo>
                <a:lnTo>
                  <a:pt x="945" y="1826"/>
                </a:lnTo>
                <a:close/>
                <a:moveTo>
                  <a:pt x="983" y="1771"/>
                </a:moveTo>
                <a:lnTo>
                  <a:pt x="988" y="1771"/>
                </a:lnTo>
                <a:lnTo>
                  <a:pt x="990" y="1772"/>
                </a:lnTo>
                <a:lnTo>
                  <a:pt x="992" y="1773"/>
                </a:lnTo>
                <a:lnTo>
                  <a:pt x="994" y="1775"/>
                </a:lnTo>
                <a:lnTo>
                  <a:pt x="996" y="1777"/>
                </a:lnTo>
                <a:lnTo>
                  <a:pt x="997" y="1779"/>
                </a:lnTo>
                <a:lnTo>
                  <a:pt x="998" y="1782"/>
                </a:lnTo>
                <a:lnTo>
                  <a:pt x="997" y="1787"/>
                </a:lnTo>
                <a:lnTo>
                  <a:pt x="997" y="1789"/>
                </a:lnTo>
                <a:lnTo>
                  <a:pt x="995" y="1791"/>
                </a:lnTo>
                <a:lnTo>
                  <a:pt x="994" y="1793"/>
                </a:lnTo>
                <a:lnTo>
                  <a:pt x="992" y="1795"/>
                </a:lnTo>
                <a:lnTo>
                  <a:pt x="990" y="1796"/>
                </a:lnTo>
                <a:lnTo>
                  <a:pt x="987" y="1797"/>
                </a:lnTo>
                <a:lnTo>
                  <a:pt x="982" y="1796"/>
                </a:lnTo>
                <a:lnTo>
                  <a:pt x="980" y="1796"/>
                </a:lnTo>
                <a:lnTo>
                  <a:pt x="978" y="1794"/>
                </a:lnTo>
                <a:lnTo>
                  <a:pt x="976" y="1793"/>
                </a:lnTo>
                <a:lnTo>
                  <a:pt x="974" y="1791"/>
                </a:lnTo>
                <a:lnTo>
                  <a:pt x="973" y="1789"/>
                </a:lnTo>
                <a:lnTo>
                  <a:pt x="972" y="1786"/>
                </a:lnTo>
                <a:lnTo>
                  <a:pt x="972" y="1781"/>
                </a:lnTo>
                <a:lnTo>
                  <a:pt x="973" y="1779"/>
                </a:lnTo>
                <a:lnTo>
                  <a:pt x="974" y="1777"/>
                </a:lnTo>
                <a:lnTo>
                  <a:pt x="976" y="1775"/>
                </a:lnTo>
                <a:lnTo>
                  <a:pt x="978" y="1773"/>
                </a:lnTo>
                <a:lnTo>
                  <a:pt x="980" y="1772"/>
                </a:lnTo>
                <a:lnTo>
                  <a:pt x="983" y="1771"/>
                </a:lnTo>
                <a:close/>
                <a:moveTo>
                  <a:pt x="1021" y="1718"/>
                </a:moveTo>
                <a:lnTo>
                  <a:pt x="1026" y="1718"/>
                </a:lnTo>
                <a:lnTo>
                  <a:pt x="1029" y="1719"/>
                </a:lnTo>
                <a:lnTo>
                  <a:pt x="1031" y="1720"/>
                </a:lnTo>
                <a:lnTo>
                  <a:pt x="1033" y="1722"/>
                </a:lnTo>
                <a:lnTo>
                  <a:pt x="1035" y="1724"/>
                </a:lnTo>
                <a:lnTo>
                  <a:pt x="1036" y="1726"/>
                </a:lnTo>
                <a:lnTo>
                  <a:pt x="1036" y="1728"/>
                </a:lnTo>
                <a:lnTo>
                  <a:pt x="1036" y="1731"/>
                </a:lnTo>
                <a:lnTo>
                  <a:pt x="1036" y="1733"/>
                </a:lnTo>
                <a:lnTo>
                  <a:pt x="1035" y="1736"/>
                </a:lnTo>
                <a:lnTo>
                  <a:pt x="1034" y="1738"/>
                </a:lnTo>
                <a:lnTo>
                  <a:pt x="1032" y="1740"/>
                </a:lnTo>
                <a:lnTo>
                  <a:pt x="1030" y="1741"/>
                </a:lnTo>
                <a:lnTo>
                  <a:pt x="1028" y="1742"/>
                </a:lnTo>
                <a:lnTo>
                  <a:pt x="1026" y="1743"/>
                </a:lnTo>
                <a:lnTo>
                  <a:pt x="1021" y="1743"/>
                </a:lnTo>
                <a:lnTo>
                  <a:pt x="1018" y="1742"/>
                </a:lnTo>
                <a:lnTo>
                  <a:pt x="1016" y="1741"/>
                </a:lnTo>
                <a:lnTo>
                  <a:pt x="1014" y="1739"/>
                </a:lnTo>
                <a:lnTo>
                  <a:pt x="1013" y="1737"/>
                </a:lnTo>
                <a:lnTo>
                  <a:pt x="1012" y="1735"/>
                </a:lnTo>
                <a:lnTo>
                  <a:pt x="1011" y="1732"/>
                </a:lnTo>
                <a:lnTo>
                  <a:pt x="1011" y="1730"/>
                </a:lnTo>
                <a:lnTo>
                  <a:pt x="1011" y="1727"/>
                </a:lnTo>
                <a:lnTo>
                  <a:pt x="1012" y="1725"/>
                </a:lnTo>
                <a:lnTo>
                  <a:pt x="1013" y="1723"/>
                </a:lnTo>
                <a:lnTo>
                  <a:pt x="1015" y="1721"/>
                </a:lnTo>
                <a:lnTo>
                  <a:pt x="1017" y="1719"/>
                </a:lnTo>
                <a:lnTo>
                  <a:pt x="1019" y="1718"/>
                </a:lnTo>
                <a:lnTo>
                  <a:pt x="1021" y="1718"/>
                </a:lnTo>
                <a:close/>
                <a:moveTo>
                  <a:pt x="1061" y="1665"/>
                </a:moveTo>
                <a:lnTo>
                  <a:pt x="1064" y="1665"/>
                </a:lnTo>
                <a:lnTo>
                  <a:pt x="1067" y="1665"/>
                </a:lnTo>
                <a:lnTo>
                  <a:pt x="1069" y="1666"/>
                </a:lnTo>
                <a:lnTo>
                  <a:pt x="1072" y="1667"/>
                </a:lnTo>
                <a:lnTo>
                  <a:pt x="1073" y="1669"/>
                </a:lnTo>
                <a:lnTo>
                  <a:pt x="1075" y="1671"/>
                </a:lnTo>
                <a:lnTo>
                  <a:pt x="1076" y="1674"/>
                </a:lnTo>
                <a:lnTo>
                  <a:pt x="1076" y="1676"/>
                </a:lnTo>
                <a:lnTo>
                  <a:pt x="1076" y="1678"/>
                </a:lnTo>
                <a:lnTo>
                  <a:pt x="1076" y="1681"/>
                </a:lnTo>
                <a:lnTo>
                  <a:pt x="1075" y="1683"/>
                </a:lnTo>
                <a:lnTo>
                  <a:pt x="1074" y="1685"/>
                </a:lnTo>
                <a:lnTo>
                  <a:pt x="1070" y="1689"/>
                </a:lnTo>
                <a:lnTo>
                  <a:pt x="1068" y="1690"/>
                </a:lnTo>
                <a:lnTo>
                  <a:pt x="1066" y="1690"/>
                </a:lnTo>
                <a:lnTo>
                  <a:pt x="1063" y="1690"/>
                </a:lnTo>
                <a:lnTo>
                  <a:pt x="1061" y="1690"/>
                </a:lnTo>
                <a:lnTo>
                  <a:pt x="1058" y="1689"/>
                </a:lnTo>
                <a:lnTo>
                  <a:pt x="1056" y="1688"/>
                </a:lnTo>
                <a:lnTo>
                  <a:pt x="1054" y="1686"/>
                </a:lnTo>
                <a:lnTo>
                  <a:pt x="1052" y="1684"/>
                </a:lnTo>
                <a:lnTo>
                  <a:pt x="1051" y="1682"/>
                </a:lnTo>
                <a:lnTo>
                  <a:pt x="1051" y="1679"/>
                </a:lnTo>
                <a:lnTo>
                  <a:pt x="1051" y="1677"/>
                </a:lnTo>
                <a:lnTo>
                  <a:pt x="1051" y="1674"/>
                </a:lnTo>
                <a:lnTo>
                  <a:pt x="1052" y="1672"/>
                </a:lnTo>
                <a:lnTo>
                  <a:pt x="1054" y="1670"/>
                </a:lnTo>
                <a:lnTo>
                  <a:pt x="1057" y="1667"/>
                </a:lnTo>
                <a:lnTo>
                  <a:pt x="1059" y="1666"/>
                </a:lnTo>
                <a:lnTo>
                  <a:pt x="1061" y="1665"/>
                </a:lnTo>
                <a:close/>
                <a:moveTo>
                  <a:pt x="1103" y="1613"/>
                </a:moveTo>
                <a:lnTo>
                  <a:pt x="1105" y="1613"/>
                </a:lnTo>
                <a:lnTo>
                  <a:pt x="1108" y="1614"/>
                </a:lnTo>
                <a:lnTo>
                  <a:pt x="1111" y="1615"/>
                </a:lnTo>
                <a:lnTo>
                  <a:pt x="1113" y="1616"/>
                </a:lnTo>
                <a:lnTo>
                  <a:pt x="1115" y="1618"/>
                </a:lnTo>
                <a:lnTo>
                  <a:pt x="1116" y="1620"/>
                </a:lnTo>
                <a:lnTo>
                  <a:pt x="1117" y="1622"/>
                </a:lnTo>
                <a:lnTo>
                  <a:pt x="1118" y="1625"/>
                </a:lnTo>
                <a:lnTo>
                  <a:pt x="1118" y="1627"/>
                </a:lnTo>
                <a:lnTo>
                  <a:pt x="1117" y="1630"/>
                </a:lnTo>
                <a:lnTo>
                  <a:pt x="1116" y="1632"/>
                </a:lnTo>
                <a:lnTo>
                  <a:pt x="1115" y="1634"/>
                </a:lnTo>
                <a:lnTo>
                  <a:pt x="1113" y="1636"/>
                </a:lnTo>
                <a:lnTo>
                  <a:pt x="1111" y="1637"/>
                </a:lnTo>
                <a:lnTo>
                  <a:pt x="1109" y="1638"/>
                </a:lnTo>
                <a:lnTo>
                  <a:pt x="1107" y="1639"/>
                </a:lnTo>
                <a:lnTo>
                  <a:pt x="1105" y="1639"/>
                </a:lnTo>
                <a:lnTo>
                  <a:pt x="1102" y="1638"/>
                </a:lnTo>
                <a:lnTo>
                  <a:pt x="1099" y="1637"/>
                </a:lnTo>
                <a:lnTo>
                  <a:pt x="1097" y="1636"/>
                </a:lnTo>
                <a:lnTo>
                  <a:pt x="1095" y="1634"/>
                </a:lnTo>
                <a:lnTo>
                  <a:pt x="1094" y="1632"/>
                </a:lnTo>
                <a:lnTo>
                  <a:pt x="1093" y="1630"/>
                </a:lnTo>
                <a:lnTo>
                  <a:pt x="1092" y="1627"/>
                </a:lnTo>
                <a:lnTo>
                  <a:pt x="1092" y="1625"/>
                </a:lnTo>
                <a:lnTo>
                  <a:pt x="1093" y="1622"/>
                </a:lnTo>
                <a:lnTo>
                  <a:pt x="1094" y="1620"/>
                </a:lnTo>
                <a:lnTo>
                  <a:pt x="1095" y="1618"/>
                </a:lnTo>
                <a:lnTo>
                  <a:pt x="1097" y="1616"/>
                </a:lnTo>
                <a:lnTo>
                  <a:pt x="1099" y="1615"/>
                </a:lnTo>
                <a:lnTo>
                  <a:pt x="1101" y="1614"/>
                </a:lnTo>
                <a:lnTo>
                  <a:pt x="1103" y="1613"/>
                </a:lnTo>
                <a:close/>
                <a:moveTo>
                  <a:pt x="1146" y="1563"/>
                </a:moveTo>
                <a:lnTo>
                  <a:pt x="1148" y="1563"/>
                </a:lnTo>
                <a:lnTo>
                  <a:pt x="1151" y="1563"/>
                </a:lnTo>
                <a:lnTo>
                  <a:pt x="1154" y="1564"/>
                </a:lnTo>
                <a:lnTo>
                  <a:pt x="1156" y="1566"/>
                </a:lnTo>
                <a:lnTo>
                  <a:pt x="1158" y="1568"/>
                </a:lnTo>
                <a:lnTo>
                  <a:pt x="1159" y="1570"/>
                </a:lnTo>
                <a:lnTo>
                  <a:pt x="1160" y="1572"/>
                </a:lnTo>
                <a:lnTo>
                  <a:pt x="1161" y="1575"/>
                </a:lnTo>
                <a:lnTo>
                  <a:pt x="1160" y="1577"/>
                </a:lnTo>
                <a:lnTo>
                  <a:pt x="1160" y="1579"/>
                </a:lnTo>
                <a:lnTo>
                  <a:pt x="1159" y="1582"/>
                </a:lnTo>
                <a:lnTo>
                  <a:pt x="1157" y="1584"/>
                </a:lnTo>
                <a:lnTo>
                  <a:pt x="1156" y="1585"/>
                </a:lnTo>
                <a:lnTo>
                  <a:pt x="1154" y="1587"/>
                </a:lnTo>
                <a:lnTo>
                  <a:pt x="1152" y="1588"/>
                </a:lnTo>
                <a:lnTo>
                  <a:pt x="1150" y="1588"/>
                </a:lnTo>
                <a:lnTo>
                  <a:pt x="1147" y="1588"/>
                </a:lnTo>
                <a:lnTo>
                  <a:pt x="1144" y="1588"/>
                </a:lnTo>
                <a:lnTo>
                  <a:pt x="1142" y="1587"/>
                </a:lnTo>
                <a:lnTo>
                  <a:pt x="1139" y="1585"/>
                </a:lnTo>
                <a:lnTo>
                  <a:pt x="1138" y="1583"/>
                </a:lnTo>
                <a:lnTo>
                  <a:pt x="1136" y="1581"/>
                </a:lnTo>
                <a:lnTo>
                  <a:pt x="1135" y="1579"/>
                </a:lnTo>
                <a:lnTo>
                  <a:pt x="1135" y="1576"/>
                </a:lnTo>
                <a:lnTo>
                  <a:pt x="1135" y="1574"/>
                </a:lnTo>
                <a:lnTo>
                  <a:pt x="1136" y="1571"/>
                </a:lnTo>
                <a:lnTo>
                  <a:pt x="1137" y="1569"/>
                </a:lnTo>
                <a:lnTo>
                  <a:pt x="1138" y="1567"/>
                </a:lnTo>
                <a:lnTo>
                  <a:pt x="1140" y="1566"/>
                </a:lnTo>
                <a:lnTo>
                  <a:pt x="1142" y="1564"/>
                </a:lnTo>
                <a:lnTo>
                  <a:pt x="1143" y="1563"/>
                </a:lnTo>
                <a:lnTo>
                  <a:pt x="1146" y="1563"/>
                </a:lnTo>
                <a:close/>
                <a:moveTo>
                  <a:pt x="1190" y="1514"/>
                </a:moveTo>
                <a:lnTo>
                  <a:pt x="1193" y="1513"/>
                </a:lnTo>
                <a:lnTo>
                  <a:pt x="1195" y="1514"/>
                </a:lnTo>
                <a:lnTo>
                  <a:pt x="1198" y="1515"/>
                </a:lnTo>
                <a:lnTo>
                  <a:pt x="1201" y="1517"/>
                </a:lnTo>
                <a:lnTo>
                  <a:pt x="1202" y="1519"/>
                </a:lnTo>
                <a:lnTo>
                  <a:pt x="1204" y="1521"/>
                </a:lnTo>
                <a:lnTo>
                  <a:pt x="1204" y="1523"/>
                </a:lnTo>
                <a:lnTo>
                  <a:pt x="1205" y="1526"/>
                </a:lnTo>
                <a:lnTo>
                  <a:pt x="1205" y="1528"/>
                </a:lnTo>
                <a:lnTo>
                  <a:pt x="1204" y="1531"/>
                </a:lnTo>
                <a:lnTo>
                  <a:pt x="1203" y="1533"/>
                </a:lnTo>
                <a:lnTo>
                  <a:pt x="1201" y="1535"/>
                </a:lnTo>
                <a:lnTo>
                  <a:pt x="1200" y="1536"/>
                </a:lnTo>
                <a:lnTo>
                  <a:pt x="1198" y="1537"/>
                </a:lnTo>
                <a:lnTo>
                  <a:pt x="1196" y="1538"/>
                </a:lnTo>
                <a:lnTo>
                  <a:pt x="1194" y="1539"/>
                </a:lnTo>
                <a:lnTo>
                  <a:pt x="1191" y="1539"/>
                </a:lnTo>
                <a:lnTo>
                  <a:pt x="1188" y="1539"/>
                </a:lnTo>
                <a:lnTo>
                  <a:pt x="1186" y="1537"/>
                </a:lnTo>
                <a:lnTo>
                  <a:pt x="1183" y="1536"/>
                </a:lnTo>
                <a:lnTo>
                  <a:pt x="1182" y="1534"/>
                </a:lnTo>
                <a:lnTo>
                  <a:pt x="1180" y="1531"/>
                </a:lnTo>
                <a:lnTo>
                  <a:pt x="1179" y="1529"/>
                </a:lnTo>
                <a:lnTo>
                  <a:pt x="1179" y="1527"/>
                </a:lnTo>
                <a:lnTo>
                  <a:pt x="1179" y="1524"/>
                </a:lnTo>
                <a:lnTo>
                  <a:pt x="1180" y="1522"/>
                </a:lnTo>
                <a:lnTo>
                  <a:pt x="1181" y="1520"/>
                </a:lnTo>
                <a:lnTo>
                  <a:pt x="1183" y="1518"/>
                </a:lnTo>
                <a:lnTo>
                  <a:pt x="1184" y="1516"/>
                </a:lnTo>
                <a:lnTo>
                  <a:pt x="1186" y="1515"/>
                </a:lnTo>
                <a:lnTo>
                  <a:pt x="1188" y="1514"/>
                </a:lnTo>
                <a:lnTo>
                  <a:pt x="1190" y="1514"/>
                </a:lnTo>
                <a:close/>
                <a:moveTo>
                  <a:pt x="1235" y="1466"/>
                </a:moveTo>
                <a:lnTo>
                  <a:pt x="1238" y="1465"/>
                </a:lnTo>
                <a:lnTo>
                  <a:pt x="1241" y="1466"/>
                </a:lnTo>
                <a:lnTo>
                  <a:pt x="1244" y="1467"/>
                </a:lnTo>
                <a:lnTo>
                  <a:pt x="1246" y="1469"/>
                </a:lnTo>
                <a:lnTo>
                  <a:pt x="1248" y="1471"/>
                </a:lnTo>
                <a:lnTo>
                  <a:pt x="1249" y="1473"/>
                </a:lnTo>
                <a:lnTo>
                  <a:pt x="1250" y="1476"/>
                </a:lnTo>
                <a:lnTo>
                  <a:pt x="1250" y="1478"/>
                </a:lnTo>
                <a:lnTo>
                  <a:pt x="1250" y="1481"/>
                </a:lnTo>
                <a:lnTo>
                  <a:pt x="1249" y="1483"/>
                </a:lnTo>
                <a:lnTo>
                  <a:pt x="1248" y="1485"/>
                </a:lnTo>
                <a:lnTo>
                  <a:pt x="1247" y="1487"/>
                </a:lnTo>
                <a:lnTo>
                  <a:pt x="1243" y="1490"/>
                </a:lnTo>
                <a:lnTo>
                  <a:pt x="1240" y="1491"/>
                </a:lnTo>
                <a:lnTo>
                  <a:pt x="1237" y="1491"/>
                </a:lnTo>
                <a:lnTo>
                  <a:pt x="1234" y="1491"/>
                </a:lnTo>
                <a:lnTo>
                  <a:pt x="1231" y="1489"/>
                </a:lnTo>
                <a:lnTo>
                  <a:pt x="1229" y="1487"/>
                </a:lnTo>
                <a:lnTo>
                  <a:pt x="1227" y="1485"/>
                </a:lnTo>
                <a:lnTo>
                  <a:pt x="1226" y="1483"/>
                </a:lnTo>
                <a:lnTo>
                  <a:pt x="1225" y="1481"/>
                </a:lnTo>
                <a:lnTo>
                  <a:pt x="1225" y="1478"/>
                </a:lnTo>
                <a:lnTo>
                  <a:pt x="1225" y="1476"/>
                </a:lnTo>
                <a:lnTo>
                  <a:pt x="1226" y="1474"/>
                </a:lnTo>
                <a:lnTo>
                  <a:pt x="1227" y="1471"/>
                </a:lnTo>
                <a:lnTo>
                  <a:pt x="1228" y="1469"/>
                </a:lnTo>
                <a:lnTo>
                  <a:pt x="1232" y="1467"/>
                </a:lnTo>
                <a:lnTo>
                  <a:pt x="1235" y="1466"/>
                </a:lnTo>
                <a:close/>
                <a:moveTo>
                  <a:pt x="1282" y="1419"/>
                </a:moveTo>
                <a:lnTo>
                  <a:pt x="1285" y="1419"/>
                </a:lnTo>
                <a:lnTo>
                  <a:pt x="1288" y="1420"/>
                </a:lnTo>
                <a:lnTo>
                  <a:pt x="1291" y="1421"/>
                </a:lnTo>
                <a:lnTo>
                  <a:pt x="1294" y="1423"/>
                </a:lnTo>
                <a:lnTo>
                  <a:pt x="1295" y="1425"/>
                </a:lnTo>
                <a:lnTo>
                  <a:pt x="1296" y="1427"/>
                </a:lnTo>
                <a:lnTo>
                  <a:pt x="1297" y="1432"/>
                </a:lnTo>
                <a:lnTo>
                  <a:pt x="1297" y="1434"/>
                </a:lnTo>
                <a:lnTo>
                  <a:pt x="1296" y="1437"/>
                </a:lnTo>
                <a:lnTo>
                  <a:pt x="1295" y="1439"/>
                </a:lnTo>
                <a:lnTo>
                  <a:pt x="1293" y="1441"/>
                </a:lnTo>
                <a:lnTo>
                  <a:pt x="1290" y="1443"/>
                </a:lnTo>
                <a:lnTo>
                  <a:pt x="1287" y="1444"/>
                </a:lnTo>
                <a:lnTo>
                  <a:pt x="1284" y="1444"/>
                </a:lnTo>
                <a:lnTo>
                  <a:pt x="1281" y="1444"/>
                </a:lnTo>
                <a:lnTo>
                  <a:pt x="1278" y="1443"/>
                </a:lnTo>
                <a:lnTo>
                  <a:pt x="1275" y="1441"/>
                </a:lnTo>
                <a:lnTo>
                  <a:pt x="1274" y="1439"/>
                </a:lnTo>
                <a:lnTo>
                  <a:pt x="1273" y="1436"/>
                </a:lnTo>
                <a:lnTo>
                  <a:pt x="1272" y="1431"/>
                </a:lnTo>
                <a:lnTo>
                  <a:pt x="1272" y="1429"/>
                </a:lnTo>
                <a:lnTo>
                  <a:pt x="1273" y="1427"/>
                </a:lnTo>
                <a:lnTo>
                  <a:pt x="1274" y="1424"/>
                </a:lnTo>
                <a:lnTo>
                  <a:pt x="1276" y="1422"/>
                </a:lnTo>
                <a:lnTo>
                  <a:pt x="1279" y="1420"/>
                </a:lnTo>
                <a:lnTo>
                  <a:pt x="1282" y="1419"/>
                </a:lnTo>
                <a:close/>
                <a:moveTo>
                  <a:pt x="2942" y="1097"/>
                </a:moveTo>
                <a:lnTo>
                  <a:pt x="2943" y="1096"/>
                </a:lnTo>
                <a:lnTo>
                  <a:pt x="2943" y="1122"/>
                </a:lnTo>
                <a:lnTo>
                  <a:pt x="2941" y="1122"/>
                </a:lnTo>
                <a:lnTo>
                  <a:pt x="2939" y="1121"/>
                </a:lnTo>
                <a:lnTo>
                  <a:pt x="2937" y="1120"/>
                </a:lnTo>
                <a:lnTo>
                  <a:pt x="2935" y="1118"/>
                </a:lnTo>
                <a:lnTo>
                  <a:pt x="2933" y="1116"/>
                </a:lnTo>
                <a:lnTo>
                  <a:pt x="2932" y="1114"/>
                </a:lnTo>
                <a:lnTo>
                  <a:pt x="2931" y="1112"/>
                </a:lnTo>
                <a:lnTo>
                  <a:pt x="2931" y="1107"/>
                </a:lnTo>
                <a:lnTo>
                  <a:pt x="2933" y="1103"/>
                </a:lnTo>
                <a:lnTo>
                  <a:pt x="2934" y="1101"/>
                </a:lnTo>
                <a:lnTo>
                  <a:pt x="2935" y="1100"/>
                </a:lnTo>
                <a:lnTo>
                  <a:pt x="2938" y="1098"/>
                </a:lnTo>
                <a:lnTo>
                  <a:pt x="2942" y="1097"/>
                </a:lnTo>
                <a:close/>
                <a:moveTo>
                  <a:pt x="1331" y="1374"/>
                </a:moveTo>
                <a:lnTo>
                  <a:pt x="1334" y="1374"/>
                </a:lnTo>
                <a:lnTo>
                  <a:pt x="1337" y="1375"/>
                </a:lnTo>
                <a:lnTo>
                  <a:pt x="1340" y="1376"/>
                </a:lnTo>
                <a:lnTo>
                  <a:pt x="1341" y="1377"/>
                </a:lnTo>
                <a:lnTo>
                  <a:pt x="1343" y="1378"/>
                </a:lnTo>
                <a:lnTo>
                  <a:pt x="1344" y="1380"/>
                </a:lnTo>
                <a:lnTo>
                  <a:pt x="1345" y="1383"/>
                </a:lnTo>
                <a:lnTo>
                  <a:pt x="1346" y="1387"/>
                </a:lnTo>
                <a:lnTo>
                  <a:pt x="1345" y="1390"/>
                </a:lnTo>
                <a:lnTo>
                  <a:pt x="1345" y="1392"/>
                </a:lnTo>
                <a:lnTo>
                  <a:pt x="1343" y="1394"/>
                </a:lnTo>
                <a:lnTo>
                  <a:pt x="1342" y="1396"/>
                </a:lnTo>
                <a:lnTo>
                  <a:pt x="1339" y="1398"/>
                </a:lnTo>
                <a:lnTo>
                  <a:pt x="1335" y="1399"/>
                </a:lnTo>
                <a:lnTo>
                  <a:pt x="1332" y="1399"/>
                </a:lnTo>
                <a:lnTo>
                  <a:pt x="1329" y="1399"/>
                </a:lnTo>
                <a:lnTo>
                  <a:pt x="1326" y="1397"/>
                </a:lnTo>
                <a:lnTo>
                  <a:pt x="1325" y="1396"/>
                </a:lnTo>
                <a:lnTo>
                  <a:pt x="1323" y="1395"/>
                </a:lnTo>
                <a:lnTo>
                  <a:pt x="1322" y="1393"/>
                </a:lnTo>
                <a:lnTo>
                  <a:pt x="1321" y="1391"/>
                </a:lnTo>
                <a:lnTo>
                  <a:pt x="1320" y="1386"/>
                </a:lnTo>
                <a:lnTo>
                  <a:pt x="1321" y="1384"/>
                </a:lnTo>
                <a:lnTo>
                  <a:pt x="1321" y="1381"/>
                </a:lnTo>
                <a:lnTo>
                  <a:pt x="1323" y="1379"/>
                </a:lnTo>
                <a:lnTo>
                  <a:pt x="1324" y="1377"/>
                </a:lnTo>
                <a:lnTo>
                  <a:pt x="1327" y="1375"/>
                </a:lnTo>
                <a:lnTo>
                  <a:pt x="1331" y="1374"/>
                </a:lnTo>
                <a:close/>
                <a:moveTo>
                  <a:pt x="2877" y="1084"/>
                </a:moveTo>
                <a:lnTo>
                  <a:pt x="2881" y="1084"/>
                </a:lnTo>
                <a:lnTo>
                  <a:pt x="2884" y="1085"/>
                </a:lnTo>
                <a:lnTo>
                  <a:pt x="2886" y="1086"/>
                </a:lnTo>
                <a:lnTo>
                  <a:pt x="2888" y="1087"/>
                </a:lnTo>
                <a:lnTo>
                  <a:pt x="2889" y="1089"/>
                </a:lnTo>
                <a:lnTo>
                  <a:pt x="2891" y="1092"/>
                </a:lnTo>
                <a:lnTo>
                  <a:pt x="2891" y="1094"/>
                </a:lnTo>
                <a:lnTo>
                  <a:pt x="2892" y="1096"/>
                </a:lnTo>
                <a:lnTo>
                  <a:pt x="2891" y="1099"/>
                </a:lnTo>
                <a:lnTo>
                  <a:pt x="2890" y="1103"/>
                </a:lnTo>
                <a:lnTo>
                  <a:pt x="2889" y="1104"/>
                </a:lnTo>
                <a:lnTo>
                  <a:pt x="2888" y="1106"/>
                </a:lnTo>
                <a:lnTo>
                  <a:pt x="2885" y="1108"/>
                </a:lnTo>
                <a:lnTo>
                  <a:pt x="2881" y="1109"/>
                </a:lnTo>
                <a:lnTo>
                  <a:pt x="2876" y="1109"/>
                </a:lnTo>
                <a:lnTo>
                  <a:pt x="2874" y="1108"/>
                </a:lnTo>
                <a:lnTo>
                  <a:pt x="2872" y="1107"/>
                </a:lnTo>
                <a:lnTo>
                  <a:pt x="2870" y="1106"/>
                </a:lnTo>
                <a:lnTo>
                  <a:pt x="2868" y="1104"/>
                </a:lnTo>
                <a:lnTo>
                  <a:pt x="2867" y="1102"/>
                </a:lnTo>
                <a:lnTo>
                  <a:pt x="2866" y="1099"/>
                </a:lnTo>
                <a:lnTo>
                  <a:pt x="2866" y="1097"/>
                </a:lnTo>
                <a:lnTo>
                  <a:pt x="2866" y="1094"/>
                </a:lnTo>
                <a:lnTo>
                  <a:pt x="2868" y="1090"/>
                </a:lnTo>
                <a:lnTo>
                  <a:pt x="2869" y="1089"/>
                </a:lnTo>
                <a:lnTo>
                  <a:pt x="2870" y="1087"/>
                </a:lnTo>
                <a:lnTo>
                  <a:pt x="2873" y="1085"/>
                </a:lnTo>
                <a:lnTo>
                  <a:pt x="2877" y="1084"/>
                </a:lnTo>
                <a:close/>
                <a:moveTo>
                  <a:pt x="1381" y="1331"/>
                </a:moveTo>
                <a:lnTo>
                  <a:pt x="1384" y="1331"/>
                </a:lnTo>
                <a:lnTo>
                  <a:pt x="1387" y="1331"/>
                </a:lnTo>
                <a:lnTo>
                  <a:pt x="1390" y="1333"/>
                </a:lnTo>
                <a:lnTo>
                  <a:pt x="1393" y="1335"/>
                </a:lnTo>
                <a:lnTo>
                  <a:pt x="1394" y="1337"/>
                </a:lnTo>
                <a:lnTo>
                  <a:pt x="1395" y="1340"/>
                </a:lnTo>
                <a:lnTo>
                  <a:pt x="1396" y="1342"/>
                </a:lnTo>
                <a:lnTo>
                  <a:pt x="1396" y="1344"/>
                </a:lnTo>
                <a:lnTo>
                  <a:pt x="1395" y="1347"/>
                </a:lnTo>
                <a:lnTo>
                  <a:pt x="1394" y="1349"/>
                </a:lnTo>
                <a:lnTo>
                  <a:pt x="1393" y="1351"/>
                </a:lnTo>
                <a:lnTo>
                  <a:pt x="1391" y="1353"/>
                </a:lnTo>
                <a:lnTo>
                  <a:pt x="1388" y="1355"/>
                </a:lnTo>
                <a:lnTo>
                  <a:pt x="1385" y="1356"/>
                </a:lnTo>
                <a:lnTo>
                  <a:pt x="1382" y="1356"/>
                </a:lnTo>
                <a:lnTo>
                  <a:pt x="1379" y="1355"/>
                </a:lnTo>
                <a:lnTo>
                  <a:pt x="1376" y="1354"/>
                </a:lnTo>
                <a:lnTo>
                  <a:pt x="1373" y="1352"/>
                </a:lnTo>
                <a:lnTo>
                  <a:pt x="1372" y="1349"/>
                </a:lnTo>
                <a:lnTo>
                  <a:pt x="1371" y="1347"/>
                </a:lnTo>
                <a:lnTo>
                  <a:pt x="1370" y="1345"/>
                </a:lnTo>
                <a:lnTo>
                  <a:pt x="1370" y="1342"/>
                </a:lnTo>
                <a:lnTo>
                  <a:pt x="1371" y="1340"/>
                </a:lnTo>
                <a:lnTo>
                  <a:pt x="1372" y="1338"/>
                </a:lnTo>
                <a:lnTo>
                  <a:pt x="1373" y="1335"/>
                </a:lnTo>
                <a:lnTo>
                  <a:pt x="1375" y="1334"/>
                </a:lnTo>
                <a:lnTo>
                  <a:pt x="1378" y="1332"/>
                </a:lnTo>
                <a:lnTo>
                  <a:pt x="1381" y="1331"/>
                </a:lnTo>
                <a:close/>
                <a:moveTo>
                  <a:pt x="2812" y="1072"/>
                </a:moveTo>
                <a:lnTo>
                  <a:pt x="2816" y="1072"/>
                </a:lnTo>
                <a:lnTo>
                  <a:pt x="2819" y="1072"/>
                </a:lnTo>
                <a:lnTo>
                  <a:pt x="2821" y="1074"/>
                </a:lnTo>
                <a:lnTo>
                  <a:pt x="2823" y="1075"/>
                </a:lnTo>
                <a:lnTo>
                  <a:pt x="2824" y="1077"/>
                </a:lnTo>
                <a:lnTo>
                  <a:pt x="2826" y="1079"/>
                </a:lnTo>
                <a:lnTo>
                  <a:pt x="2826" y="1082"/>
                </a:lnTo>
                <a:lnTo>
                  <a:pt x="2827" y="1084"/>
                </a:lnTo>
                <a:lnTo>
                  <a:pt x="2826" y="1087"/>
                </a:lnTo>
                <a:lnTo>
                  <a:pt x="2825" y="1090"/>
                </a:lnTo>
                <a:lnTo>
                  <a:pt x="2824" y="1092"/>
                </a:lnTo>
                <a:lnTo>
                  <a:pt x="2823" y="1094"/>
                </a:lnTo>
                <a:lnTo>
                  <a:pt x="2820" y="1096"/>
                </a:lnTo>
                <a:lnTo>
                  <a:pt x="2816" y="1097"/>
                </a:lnTo>
                <a:lnTo>
                  <a:pt x="2811" y="1097"/>
                </a:lnTo>
                <a:lnTo>
                  <a:pt x="2809" y="1096"/>
                </a:lnTo>
                <a:lnTo>
                  <a:pt x="2807" y="1095"/>
                </a:lnTo>
                <a:lnTo>
                  <a:pt x="2805" y="1093"/>
                </a:lnTo>
                <a:lnTo>
                  <a:pt x="2803" y="1092"/>
                </a:lnTo>
                <a:lnTo>
                  <a:pt x="2802" y="1089"/>
                </a:lnTo>
                <a:lnTo>
                  <a:pt x="2801" y="1087"/>
                </a:lnTo>
                <a:lnTo>
                  <a:pt x="2801" y="1085"/>
                </a:lnTo>
                <a:lnTo>
                  <a:pt x="2801" y="1082"/>
                </a:lnTo>
                <a:lnTo>
                  <a:pt x="2803" y="1078"/>
                </a:lnTo>
                <a:lnTo>
                  <a:pt x="2804" y="1077"/>
                </a:lnTo>
                <a:lnTo>
                  <a:pt x="2805" y="1075"/>
                </a:lnTo>
                <a:lnTo>
                  <a:pt x="2808" y="1073"/>
                </a:lnTo>
                <a:lnTo>
                  <a:pt x="2812" y="1072"/>
                </a:lnTo>
                <a:close/>
                <a:moveTo>
                  <a:pt x="2746" y="1060"/>
                </a:moveTo>
                <a:lnTo>
                  <a:pt x="2751" y="1060"/>
                </a:lnTo>
                <a:lnTo>
                  <a:pt x="2753" y="1061"/>
                </a:lnTo>
                <a:lnTo>
                  <a:pt x="2756" y="1062"/>
                </a:lnTo>
                <a:lnTo>
                  <a:pt x="2758" y="1063"/>
                </a:lnTo>
                <a:lnTo>
                  <a:pt x="2759" y="1065"/>
                </a:lnTo>
                <a:lnTo>
                  <a:pt x="2760" y="1067"/>
                </a:lnTo>
                <a:lnTo>
                  <a:pt x="2761" y="1070"/>
                </a:lnTo>
                <a:lnTo>
                  <a:pt x="2762" y="1072"/>
                </a:lnTo>
                <a:lnTo>
                  <a:pt x="2761" y="1075"/>
                </a:lnTo>
                <a:lnTo>
                  <a:pt x="2760" y="1079"/>
                </a:lnTo>
                <a:lnTo>
                  <a:pt x="2759" y="1080"/>
                </a:lnTo>
                <a:lnTo>
                  <a:pt x="2758" y="1082"/>
                </a:lnTo>
                <a:lnTo>
                  <a:pt x="2755" y="1084"/>
                </a:lnTo>
                <a:lnTo>
                  <a:pt x="2751" y="1085"/>
                </a:lnTo>
                <a:lnTo>
                  <a:pt x="2746" y="1085"/>
                </a:lnTo>
                <a:lnTo>
                  <a:pt x="2744" y="1084"/>
                </a:lnTo>
                <a:lnTo>
                  <a:pt x="2742" y="1083"/>
                </a:lnTo>
                <a:lnTo>
                  <a:pt x="2740" y="1082"/>
                </a:lnTo>
                <a:lnTo>
                  <a:pt x="2738" y="1080"/>
                </a:lnTo>
                <a:lnTo>
                  <a:pt x="2737" y="1078"/>
                </a:lnTo>
                <a:lnTo>
                  <a:pt x="2736" y="1075"/>
                </a:lnTo>
                <a:lnTo>
                  <a:pt x="2736" y="1073"/>
                </a:lnTo>
                <a:lnTo>
                  <a:pt x="2736" y="1070"/>
                </a:lnTo>
                <a:lnTo>
                  <a:pt x="2737" y="1066"/>
                </a:lnTo>
                <a:lnTo>
                  <a:pt x="2738" y="1065"/>
                </a:lnTo>
                <a:lnTo>
                  <a:pt x="2740" y="1063"/>
                </a:lnTo>
                <a:lnTo>
                  <a:pt x="2743" y="1061"/>
                </a:lnTo>
                <a:lnTo>
                  <a:pt x="2746" y="1060"/>
                </a:lnTo>
                <a:close/>
                <a:moveTo>
                  <a:pt x="1432" y="1289"/>
                </a:moveTo>
                <a:lnTo>
                  <a:pt x="1436" y="1289"/>
                </a:lnTo>
                <a:lnTo>
                  <a:pt x="1439" y="1290"/>
                </a:lnTo>
                <a:lnTo>
                  <a:pt x="1442" y="1291"/>
                </a:lnTo>
                <a:lnTo>
                  <a:pt x="1445" y="1294"/>
                </a:lnTo>
                <a:lnTo>
                  <a:pt x="1447" y="1298"/>
                </a:lnTo>
                <a:lnTo>
                  <a:pt x="1447" y="1301"/>
                </a:lnTo>
                <a:lnTo>
                  <a:pt x="1447" y="1303"/>
                </a:lnTo>
                <a:lnTo>
                  <a:pt x="1447" y="1306"/>
                </a:lnTo>
                <a:lnTo>
                  <a:pt x="1446" y="1308"/>
                </a:lnTo>
                <a:lnTo>
                  <a:pt x="1444" y="1310"/>
                </a:lnTo>
                <a:lnTo>
                  <a:pt x="1442" y="1312"/>
                </a:lnTo>
                <a:lnTo>
                  <a:pt x="1441" y="1313"/>
                </a:lnTo>
                <a:lnTo>
                  <a:pt x="1440" y="1314"/>
                </a:lnTo>
                <a:lnTo>
                  <a:pt x="1437" y="1314"/>
                </a:lnTo>
                <a:lnTo>
                  <a:pt x="1433" y="1315"/>
                </a:lnTo>
                <a:lnTo>
                  <a:pt x="1430" y="1314"/>
                </a:lnTo>
                <a:lnTo>
                  <a:pt x="1427" y="1312"/>
                </a:lnTo>
                <a:lnTo>
                  <a:pt x="1424" y="1310"/>
                </a:lnTo>
                <a:lnTo>
                  <a:pt x="1422" y="1305"/>
                </a:lnTo>
                <a:lnTo>
                  <a:pt x="1422" y="1303"/>
                </a:lnTo>
                <a:lnTo>
                  <a:pt x="1422" y="1300"/>
                </a:lnTo>
                <a:lnTo>
                  <a:pt x="1422" y="1298"/>
                </a:lnTo>
                <a:lnTo>
                  <a:pt x="1423" y="1296"/>
                </a:lnTo>
                <a:lnTo>
                  <a:pt x="1425" y="1293"/>
                </a:lnTo>
                <a:lnTo>
                  <a:pt x="1427" y="1292"/>
                </a:lnTo>
                <a:lnTo>
                  <a:pt x="1428" y="1291"/>
                </a:lnTo>
                <a:lnTo>
                  <a:pt x="1429" y="1290"/>
                </a:lnTo>
                <a:lnTo>
                  <a:pt x="1432" y="1289"/>
                </a:lnTo>
                <a:close/>
                <a:moveTo>
                  <a:pt x="2681" y="1048"/>
                </a:moveTo>
                <a:lnTo>
                  <a:pt x="2686" y="1048"/>
                </a:lnTo>
                <a:lnTo>
                  <a:pt x="2688" y="1049"/>
                </a:lnTo>
                <a:lnTo>
                  <a:pt x="2690" y="1050"/>
                </a:lnTo>
                <a:lnTo>
                  <a:pt x="2692" y="1052"/>
                </a:lnTo>
                <a:lnTo>
                  <a:pt x="2694" y="1054"/>
                </a:lnTo>
                <a:lnTo>
                  <a:pt x="2695" y="1056"/>
                </a:lnTo>
                <a:lnTo>
                  <a:pt x="2696" y="1058"/>
                </a:lnTo>
                <a:lnTo>
                  <a:pt x="2696" y="1061"/>
                </a:lnTo>
                <a:lnTo>
                  <a:pt x="2696" y="1063"/>
                </a:lnTo>
                <a:lnTo>
                  <a:pt x="2695" y="1067"/>
                </a:lnTo>
                <a:lnTo>
                  <a:pt x="2694" y="1069"/>
                </a:lnTo>
                <a:lnTo>
                  <a:pt x="2693" y="1070"/>
                </a:lnTo>
                <a:lnTo>
                  <a:pt x="2689" y="1072"/>
                </a:lnTo>
                <a:lnTo>
                  <a:pt x="2686" y="1074"/>
                </a:lnTo>
                <a:lnTo>
                  <a:pt x="2681" y="1074"/>
                </a:lnTo>
                <a:lnTo>
                  <a:pt x="2679" y="1073"/>
                </a:lnTo>
                <a:lnTo>
                  <a:pt x="2677" y="1072"/>
                </a:lnTo>
                <a:lnTo>
                  <a:pt x="2675" y="1070"/>
                </a:lnTo>
                <a:lnTo>
                  <a:pt x="2673" y="1068"/>
                </a:lnTo>
                <a:lnTo>
                  <a:pt x="2672" y="1066"/>
                </a:lnTo>
                <a:lnTo>
                  <a:pt x="2671" y="1064"/>
                </a:lnTo>
                <a:lnTo>
                  <a:pt x="2671" y="1061"/>
                </a:lnTo>
                <a:lnTo>
                  <a:pt x="2671" y="1059"/>
                </a:lnTo>
                <a:lnTo>
                  <a:pt x="2672" y="1055"/>
                </a:lnTo>
                <a:lnTo>
                  <a:pt x="2673" y="1053"/>
                </a:lnTo>
                <a:lnTo>
                  <a:pt x="2675" y="1052"/>
                </a:lnTo>
                <a:lnTo>
                  <a:pt x="2678" y="1050"/>
                </a:lnTo>
                <a:lnTo>
                  <a:pt x="2681" y="1048"/>
                </a:lnTo>
                <a:close/>
                <a:moveTo>
                  <a:pt x="1485" y="1250"/>
                </a:moveTo>
                <a:lnTo>
                  <a:pt x="1489" y="1249"/>
                </a:lnTo>
                <a:lnTo>
                  <a:pt x="1492" y="1250"/>
                </a:lnTo>
                <a:lnTo>
                  <a:pt x="1495" y="1252"/>
                </a:lnTo>
                <a:lnTo>
                  <a:pt x="1498" y="1255"/>
                </a:lnTo>
                <a:lnTo>
                  <a:pt x="1499" y="1257"/>
                </a:lnTo>
                <a:lnTo>
                  <a:pt x="1500" y="1259"/>
                </a:lnTo>
                <a:lnTo>
                  <a:pt x="1500" y="1262"/>
                </a:lnTo>
                <a:lnTo>
                  <a:pt x="1500" y="1264"/>
                </a:lnTo>
                <a:lnTo>
                  <a:pt x="1499" y="1267"/>
                </a:lnTo>
                <a:lnTo>
                  <a:pt x="1498" y="1269"/>
                </a:lnTo>
                <a:lnTo>
                  <a:pt x="1497" y="1271"/>
                </a:lnTo>
                <a:lnTo>
                  <a:pt x="1495" y="1273"/>
                </a:lnTo>
                <a:lnTo>
                  <a:pt x="1492" y="1274"/>
                </a:lnTo>
                <a:lnTo>
                  <a:pt x="1490" y="1275"/>
                </a:lnTo>
                <a:lnTo>
                  <a:pt x="1486" y="1275"/>
                </a:lnTo>
                <a:lnTo>
                  <a:pt x="1483" y="1274"/>
                </a:lnTo>
                <a:lnTo>
                  <a:pt x="1480" y="1272"/>
                </a:lnTo>
                <a:lnTo>
                  <a:pt x="1477" y="1270"/>
                </a:lnTo>
                <a:lnTo>
                  <a:pt x="1476" y="1267"/>
                </a:lnTo>
                <a:lnTo>
                  <a:pt x="1475" y="1265"/>
                </a:lnTo>
                <a:lnTo>
                  <a:pt x="1475" y="1263"/>
                </a:lnTo>
                <a:lnTo>
                  <a:pt x="1475" y="1260"/>
                </a:lnTo>
                <a:lnTo>
                  <a:pt x="1475" y="1258"/>
                </a:lnTo>
                <a:lnTo>
                  <a:pt x="1476" y="1256"/>
                </a:lnTo>
                <a:lnTo>
                  <a:pt x="1478" y="1253"/>
                </a:lnTo>
                <a:lnTo>
                  <a:pt x="1480" y="1252"/>
                </a:lnTo>
                <a:lnTo>
                  <a:pt x="1482" y="1250"/>
                </a:lnTo>
                <a:lnTo>
                  <a:pt x="1485" y="1250"/>
                </a:lnTo>
                <a:close/>
                <a:moveTo>
                  <a:pt x="2616" y="1037"/>
                </a:moveTo>
                <a:lnTo>
                  <a:pt x="2620" y="1037"/>
                </a:lnTo>
                <a:lnTo>
                  <a:pt x="2623" y="1038"/>
                </a:lnTo>
                <a:lnTo>
                  <a:pt x="2625" y="1039"/>
                </a:lnTo>
                <a:lnTo>
                  <a:pt x="2627" y="1041"/>
                </a:lnTo>
                <a:lnTo>
                  <a:pt x="2629" y="1042"/>
                </a:lnTo>
                <a:lnTo>
                  <a:pt x="2630" y="1044"/>
                </a:lnTo>
                <a:lnTo>
                  <a:pt x="2631" y="1047"/>
                </a:lnTo>
                <a:lnTo>
                  <a:pt x="2631" y="1049"/>
                </a:lnTo>
                <a:lnTo>
                  <a:pt x="2631" y="1052"/>
                </a:lnTo>
                <a:lnTo>
                  <a:pt x="2630" y="1056"/>
                </a:lnTo>
                <a:lnTo>
                  <a:pt x="2629" y="1057"/>
                </a:lnTo>
                <a:lnTo>
                  <a:pt x="2627" y="1059"/>
                </a:lnTo>
                <a:lnTo>
                  <a:pt x="2624" y="1061"/>
                </a:lnTo>
                <a:lnTo>
                  <a:pt x="2621" y="1062"/>
                </a:lnTo>
                <a:lnTo>
                  <a:pt x="2616" y="1062"/>
                </a:lnTo>
                <a:lnTo>
                  <a:pt x="2614" y="1062"/>
                </a:lnTo>
                <a:lnTo>
                  <a:pt x="2611" y="1061"/>
                </a:lnTo>
                <a:lnTo>
                  <a:pt x="2610" y="1059"/>
                </a:lnTo>
                <a:lnTo>
                  <a:pt x="2608" y="1057"/>
                </a:lnTo>
                <a:lnTo>
                  <a:pt x="2607" y="1055"/>
                </a:lnTo>
                <a:lnTo>
                  <a:pt x="2606" y="1053"/>
                </a:lnTo>
                <a:lnTo>
                  <a:pt x="2606" y="1050"/>
                </a:lnTo>
                <a:lnTo>
                  <a:pt x="2606" y="1048"/>
                </a:lnTo>
                <a:lnTo>
                  <a:pt x="2607" y="1044"/>
                </a:lnTo>
                <a:lnTo>
                  <a:pt x="2608" y="1042"/>
                </a:lnTo>
                <a:lnTo>
                  <a:pt x="2609" y="1041"/>
                </a:lnTo>
                <a:lnTo>
                  <a:pt x="2612" y="1038"/>
                </a:lnTo>
                <a:lnTo>
                  <a:pt x="2616" y="1037"/>
                </a:lnTo>
                <a:close/>
                <a:moveTo>
                  <a:pt x="1540" y="1212"/>
                </a:moveTo>
                <a:lnTo>
                  <a:pt x="1543" y="1212"/>
                </a:lnTo>
                <a:lnTo>
                  <a:pt x="1547" y="1213"/>
                </a:lnTo>
                <a:lnTo>
                  <a:pt x="1548" y="1214"/>
                </a:lnTo>
                <a:lnTo>
                  <a:pt x="1550" y="1215"/>
                </a:lnTo>
                <a:lnTo>
                  <a:pt x="1553" y="1218"/>
                </a:lnTo>
                <a:lnTo>
                  <a:pt x="1554" y="1220"/>
                </a:lnTo>
                <a:lnTo>
                  <a:pt x="1554" y="1222"/>
                </a:lnTo>
                <a:lnTo>
                  <a:pt x="1554" y="1227"/>
                </a:lnTo>
                <a:lnTo>
                  <a:pt x="1554" y="1230"/>
                </a:lnTo>
                <a:lnTo>
                  <a:pt x="1553" y="1232"/>
                </a:lnTo>
                <a:lnTo>
                  <a:pt x="1551" y="1234"/>
                </a:lnTo>
                <a:lnTo>
                  <a:pt x="1549" y="1235"/>
                </a:lnTo>
                <a:lnTo>
                  <a:pt x="1547" y="1237"/>
                </a:lnTo>
                <a:lnTo>
                  <a:pt x="1544" y="1237"/>
                </a:lnTo>
                <a:lnTo>
                  <a:pt x="1540" y="1237"/>
                </a:lnTo>
                <a:lnTo>
                  <a:pt x="1537" y="1236"/>
                </a:lnTo>
                <a:lnTo>
                  <a:pt x="1535" y="1236"/>
                </a:lnTo>
                <a:lnTo>
                  <a:pt x="1534" y="1235"/>
                </a:lnTo>
                <a:lnTo>
                  <a:pt x="1531" y="1232"/>
                </a:lnTo>
                <a:lnTo>
                  <a:pt x="1530" y="1229"/>
                </a:lnTo>
                <a:lnTo>
                  <a:pt x="1529" y="1227"/>
                </a:lnTo>
                <a:lnTo>
                  <a:pt x="1529" y="1222"/>
                </a:lnTo>
                <a:lnTo>
                  <a:pt x="1530" y="1220"/>
                </a:lnTo>
                <a:lnTo>
                  <a:pt x="1531" y="1218"/>
                </a:lnTo>
                <a:lnTo>
                  <a:pt x="1533" y="1216"/>
                </a:lnTo>
                <a:lnTo>
                  <a:pt x="1535" y="1214"/>
                </a:lnTo>
                <a:lnTo>
                  <a:pt x="1537" y="1213"/>
                </a:lnTo>
                <a:lnTo>
                  <a:pt x="1540" y="1212"/>
                </a:lnTo>
                <a:close/>
                <a:moveTo>
                  <a:pt x="2551" y="1026"/>
                </a:moveTo>
                <a:lnTo>
                  <a:pt x="2555" y="1026"/>
                </a:lnTo>
                <a:lnTo>
                  <a:pt x="2558" y="1027"/>
                </a:lnTo>
                <a:lnTo>
                  <a:pt x="2560" y="1028"/>
                </a:lnTo>
                <a:lnTo>
                  <a:pt x="2562" y="1030"/>
                </a:lnTo>
                <a:lnTo>
                  <a:pt x="2563" y="1031"/>
                </a:lnTo>
                <a:lnTo>
                  <a:pt x="2565" y="1034"/>
                </a:lnTo>
                <a:lnTo>
                  <a:pt x="2566" y="1036"/>
                </a:lnTo>
                <a:lnTo>
                  <a:pt x="2566" y="1038"/>
                </a:lnTo>
                <a:lnTo>
                  <a:pt x="2566" y="1041"/>
                </a:lnTo>
                <a:lnTo>
                  <a:pt x="2564" y="1045"/>
                </a:lnTo>
                <a:lnTo>
                  <a:pt x="2563" y="1047"/>
                </a:lnTo>
                <a:lnTo>
                  <a:pt x="2562" y="1048"/>
                </a:lnTo>
                <a:lnTo>
                  <a:pt x="2559" y="1050"/>
                </a:lnTo>
                <a:lnTo>
                  <a:pt x="2555" y="1052"/>
                </a:lnTo>
                <a:lnTo>
                  <a:pt x="2551" y="1052"/>
                </a:lnTo>
                <a:lnTo>
                  <a:pt x="2549" y="1051"/>
                </a:lnTo>
                <a:lnTo>
                  <a:pt x="2546" y="1050"/>
                </a:lnTo>
                <a:lnTo>
                  <a:pt x="2544" y="1048"/>
                </a:lnTo>
                <a:lnTo>
                  <a:pt x="2543" y="1046"/>
                </a:lnTo>
                <a:lnTo>
                  <a:pt x="2541" y="1044"/>
                </a:lnTo>
                <a:lnTo>
                  <a:pt x="2541" y="1042"/>
                </a:lnTo>
                <a:lnTo>
                  <a:pt x="2540" y="1039"/>
                </a:lnTo>
                <a:lnTo>
                  <a:pt x="2540" y="1037"/>
                </a:lnTo>
                <a:lnTo>
                  <a:pt x="2542" y="1033"/>
                </a:lnTo>
                <a:lnTo>
                  <a:pt x="2543" y="1031"/>
                </a:lnTo>
                <a:lnTo>
                  <a:pt x="2544" y="1030"/>
                </a:lnTo>
                <a:lnTo>
                  <a:pt x="2547" y="1028"/>
                </a:lnTo>
                <a:lnTo>
                  <a:pt x="2551" y="1026"/>
                </a:lnTo>
                <a:close/>
                <a:moveTo>
                  <a:pt x="1596" y="1177"/>
                </a:moveTo>
                <a:lnTo>
                  <a:pt x="1599" y="1177"/>
                </a:lnTo>
                <a:lnTo>
                  <a:pt x="1603" y="1178"/>
                </a:lnTo>
                <a:lnTo>
                  <a:pt x="1606" y="1180"/>
                </a:lnTo>
                <a:lnTo>
                  <a:pt x="1608" y="1181"/>
                </a:lnTo>
                <a:lnTo>
                  <a:pt x="1609" y="1183"/>
                </a:lnTo>
                <a:lnTo>
                  <a:pt x="1610" y="1185"/>
                </a:lnTo>
                <a:lnTo>
                  <a:pt x="1610" y="1188"/>
                </a:lnTo>
                <a:lnTo>
                  <a:pt x="1611" y="1190"/>
                </a:lnTo>
                <a:lnTo>
                  <a:pt x="1610" y="1192"/>
                </a:lnTo>
                <a:lnTo>
                  <a:pt x="1609" y="1195"/>
                </a:lnTo>
                <a:lnTo>
                  <a:pt x="1608" y="1197"/>
                </a:lnTo>
                <a:lnTo>
                  <a:pt x="1606" y="1199"/>
                </a:lnTo>
                <a:lnTo>
                  <a:pt x="1604" y="1200"/>
                </a:lnTo>
                <a:lnTo>
                  <a:pt x="1602" y="1201"/>
                </a:lnTo>
                <a:lnTo>
                  <a:pt x="1600" y="1202"/>
                </a:lnTo>
                <a:lnTo>
                  <a:pt x="1596" y="1202"/>
                </a:lnTo>
                <a:lnTo>
                  <a:pt x="1593" y="1201"/>
                </a:lnTo>
                <a:lnTo>
                  <a:pt x="1589" y="1199"/>
                </a:lnTo>
                <a:lnTo>
                  <a:pt x="1588" y="1198"/>
                </a:lnTo>
                <a:lnTo>
                  <a:pt x="1587" y="1196"/>
                </a:lnTo>
                <a:lnTo>
                  <a:pt x="1586" y="1194"/>
                </a:lnTo>
                <a:lnTo>
                  <a:pt x="1585" y="1191"/>
                </a:lnTo>
                <a:lnTo>
                  <a:pt x="1585" y="1189"/>
                </a:lnTo>
                <a:lnTo>
                  <a:pt x="1585" y="1186"/>
                </a:lnTo>
                <a:lnTo>
                  <a:pt x="1586" y="1184"/>
                </a:lnTo>
                <a:lnTo>
                  <a:pt x="1587" y="1182"/>
                </a:lnTo>
                <a:lnTo>
                  <a:pt x="1589" y="1180"/>
                </a:lnTo>
                <a:lnTo>
                  <a:pt x="1591" y="1178"/>
                </a:lnTo>
                <a:lnTo>
                  <a:pt x="1593" y="1177"/>
                </a:lnTo>
                <a:lnTo>
                  <a:pt x="1596" y="1177"/>
                </a:lnTo>
                <a:close/>
                <a:moveTo>
                  <a:pt x="2486" y="1016"/>
                </a:moveTo>
                <a:lnTo>
                  <a:pt x="2490" y="1016"/>
                </a:lnTo>
                <a:lnTo>
                  <a:pt x="2492" y="1016"/>
                </a:lnTo>
                <a:lnTo>
                  <a:pt x="2495" y="1017"/>
                </a:lnTo>
                <a:lnTo>
                  <a:pt x="2497" y="1019"/>
                </a:lnTo>
                <a:lnTo>
                  <a:pt x="2498" y="1021"/>
                </a:lnTo>
                <a:lnTo>
                  <a:pt x="2499" y="1023"/>
                </a:lnTo>
                <a:lnTo>
                  <a:pt x="2500" y="1025"/>
                </a:lnTo>
                <a:lnTo>
                  <a:pt x="2501" y="1028"/>
                </a:lnTo>
                <a:lnTo>
                  <a:pt x="2500" y="1030"/>
                </a:lnTo>
                <a:lnTo>
                  <a:pt x="2499" y="1034"/>
                </a:lnTo>
                <a:lnTo>
                  <a:pt x="2498" y="1036"/>
                </a:lnTo>
                <a:lnTo>
                  <a:pt x="2497" y="1037"/>
                </a:lnTo>
                <a:lnTo>
                  <a:pt x="2495" y="1039"/>
                </a:lnTo>
                <a:lnTo>
                  <a:pt x="2494" y="1040"/>
                </a:lnTo>
                <a:lnTo>
                  <a:pt x="2490" y="1041"/>
                </a:lnTo>
                <a:lnTo>
                  <a:pt x="2486" y="1041"/>
                </a:lnTo>
                <a:lnTo>
                  <a:pt x="2483" y="1040"/>
                </a:lnTo>
                <a:lnTo>
                  <a:pt x="2481" y="1039"/>
                </a:lnTo>
                <a:lnTo>
                  <a:pt x="2479" y="1038"/>
                </a:lnTo>
                <a:lnTo>
                  <a:pt x="2477" y="1036"/>
                </a:lnTo>
                <a:lnTo>
                  <a:pt x="2476" y="1034"/>
                </a:lnTo>
                <a:lnTo>
                  <a:pt x="2475" y="1031"/>
                </a:lnTo>
                <a:lnTo>
                  <a:pt x="2475" y="1029"/>
                </a:lnTo>
                <a:lnTo>
                  <a:pt x="2475" y="1026"/>
                </a:lnTo>
                <a:lnTo>
                  <a:pt x="2476" y="1022"/>
                </a:lnTo>
                <a:lnTo>
                  <a:pt x="2477" y="1021"/>
                </a:lnTo>
                <a:lnTo>
                  <a:pt x="2479" y="1019"/>
                </a:lnTo>
                <a:lnTo>
                  <a:pt x="2480" y="1018"/>
                </a:lnTo>
                <a:lnTo>
                  <a:pt x="2482" y="1017"/>
                </a:lnTo>
                <a:lnTo>
                  <a:pt x="2486" y="1016"/>
                </a:lnTo>
                <a:close/>
                <a:moveTo>
                  <a:pt x="1653" y="1144"/>
                </a:moveTo>
                <a:lnTo>
                  <a:pt x="1657" y="1144"/>
                </a:lnTo>
                <a:lnTo>
                  <a:pt x="1661" y="1145"/>
                </a:lnTo>
                <a:lnTo>
                  <a:pt x="1662" y="1146"/>
                </a:lnTo>
                <a:lnTo>
                  <a:pt x="1664" y="1147"/>
                </a:lnTo>
                <a:lnTo>
                  <a:pt x="1666" y="1150"/>
                </a:lnTo>
                <a:lnTo>
                  <a:pt x="1668" y="1155"/>
                </a:lnTo>
                <a:lnTo>
                  <a:pt x="1668" y="1158"/>
                </a:lnTo>
                <a:lnTo>
                  <a:pt x="1667" y="1160"/>
                </a:lnTo>
                <a:lnTo>
                  <a:pt x="1667" y="1162"/>
                </a:lnTo>
                <a:lnTo>
                  <a:pt x="1665" y="1164"/>
                </a:lnTo>
                <a:lnTo>
                  <a:pt x="1663" y="1166"/>
                </a:lnTo>
                <a:lnTo>
                  <a:pt x="1661" y="1168"/>
                </a:lnTo>
                <a:lnTo>
                  <a:pt x="1659" y="1169"/>
                </a:lnTo>
                <a:lnTo>
                  <a:pt x="1657" y="1169"/>
                </a:lnTo>
                <a:lnTo>
                  <a:pt x="1653" y="1169"/>
                </a:lnTo>
                <a:lnTo>
                  <a:pt x="1650" y="1168"/>
                </a:lnTo>
                <a:lnTo>
                  <a:pt x="1648" y="1167"/>
                </a:lnTo>
                <a:lnTo>
                  <a:pt x="1646" y="1166"/>
                </a:lnTo>
                <a:lnTo>
                  <a:pt x="1644" y="1163"/>
                </a:lnTo>
                <a:lnTo>
                  <a:pt x="1642" y="1158"/>
                </a:lnTo>
                <a:lnTo>
                  <a:pt x="1642" y="1155"/>
                </a:lnTo>
                <a:lnTo>
                  <a:pt x="1643" y="1153"/>
                </a:lnTo>
                <a:lnTo>
                  <a:pt x="1644" y="1151"/>
                </a:lnTo>
                <a:lnTo>
                  <a:pt x="1645" y="1148"/>
                </a:lnTo>
                <a:lnTo>
                  <a:pt x="1647" y="1147"/>
                </a:lnTo>
                <a:lnTo>
                  <a:pt x="1649" y="1145"/>
                </a:lnTo>
                <a:lnTo>
                  <a:pt x="1651" y="1144"/>
                </a:lnTo>
                <a:lnTo>
                  <a:pt x="1653" y="1144"/>
                </a:lnTo>
                <a:close/>
                <a:moveTo>
                  <a:pt x="2420" y="1005"/>
                </a:moveTo>
                <a:lnTo>
                  <a:pt x="2424" y="1005"/>
                </a:lnTo>
                <a:lnTo>
                  <a:pt x="2427" y="1006"/>
                </a:lnTo>
                <a:lnTo>
                  <a:pt x="2429" y="1007"/>
                </a:lnTo>
                <a:lnTo>
                  <a:pt x="2431" y="1009"/>
                </a:lnTo>
                <a:lnTo>
                  <a:pt x="2433" y="1011"/>
                </a:lnTo>
                <a:lnTo>
                  <a:pt x="2434" y="1013"/>
                </a:lnTo>
                <a:lnTo>
                  <a:pt x="2435" y="1015"/>
                </a:lnTo>
                <a:lnTo>
                  <a:pt x="2435" y="1017"/>
                </a:lnTo>
                <a:lnTo>
                  <a:pt x="2435" y="1020"/>
                </a:lnTo>
                <a:lnTo>
                  <a:pt x="2434" y="1024"/>
                </a:lnTo>
                <a:lnTo>
                  <a:pt x="2433" y="1026"/>
                </a:lnTo>
                <a:lnTo>
                  <a:pt x="2431" y="1027"/>
                </a:lnTo>
                <a:lnTo>
                  <a:pt x="2430" y="1028"/>
                </a:lnTo>
                <a:lnTo>
                  <a:pt x="2428" y="1029"/>
                </a:lnTo>
                <a:lnTo>
                  <a:pt x="2425" y="1031"/>
                </a:lnTo>
                <a:lnTo>
                  <a:pt x="2420" y="1031"/>
                </a:lnTo>
                <a:lnTo>
                  <a:pt x="2418" y="1030"/>
                </a:lnTo>
                <a:lnTo>
                  <a:pt x="2416" y="1029"/>
                </a:lnTo>
                <a:lnTo>
                  <a:pt x="2414" y="1027"/>
                </a:lnTo>
                <a:lnTo>
                  <a:pt x="2412" y="1026"/>
                </a:lnTo>
                <a:lnTo>
                  <a:pt x="2411" y="1024"/>
                </a:lnTo>
                <a:lnTo>
                  <a:pt x="2410" y="1021"/>
                </a:lnTo>
                <a:lnTo>
                  <a:pt x="2410" y="1019"/>
                </a:lnTo>
                <a:lnTo>
                  <a:pt x="2410" y="1016"/>
                </a:lnTo>
                <a:lnTo>
                  <a:pt x="2411" y="1012"/>
                </a:lnTo>
                <a:lnTo>
                  <a:pt x="2412" y="1011"/>
                </a:lnTo>
                <a:lnTo>
                  <a:pt x="2413" y="1009"/>
                </a:lnTo>
                <a:lnTo>
                  <a:pt x="2415" y="1008"/>
                </a:lnTo>
                <a:lnTo>
                  <a:pt x="2416" y="1007"/>
                </a:lnTo>
                <a:lnTo>
                  <a:pt x="2420" y="1005"/>
                </a:lnTo>
                <a:close/>
                <a:moveTo>
                  <a:pt x="1712" y="1113"/>
                </a:moveTo>
                <a:lnTo>
                  <a:pt x="1716" y="1113"/>
                </a:lnTo>
                <a:lnTo>
                  <a:pt x="1718" y="1113"/>
                </a:lnTo>
                <a:lnTo>
                  <a:pt x="1720" y="1114"/>
                </a:lnTo>
                <a:lnTo>
                  <a:pt x="1722" y="1115"/>
                </a:lnTo>
                <a:lnTo>
                  <a:pt x="1723" y="1116"/>
                </a:lnTo>
                <a:lnTo>
                  <a:pt x="1726" y="1120"/>
                </a:lnTo>
                <a:lnTo>
                  <a:pt x="1726" y="1122"/>
                </a:lnTo>
                <a:lnTo>
                  <a:pt x="1727" y="1125"/>
                </a:lnTo>
                <a:lnTo>
                  <a:pt x="1727" y="1127"/>
                </a:lnTo>
                <a:lnTo>
                  <a:pt x="1726" y="1129"/>
                </a:lnTo>
                <a:lnTo>
                  <a:pt x="1725" y="1132"/>
                </a:lnTo>
                <a:lnTo>
                  <a:pt x="1724" y="1134"/>
                </a:lnTo>
                <a:lnTo>
                  <a:pt x="1722" y="1135"/>
                </a:lnTo>
                <a:lnTo>
                  <a:pt x="1720" y="1138"/>
                </a:lnTo>
                <a:lnTo>
                  <a:pt x="1718" y="1138"/>
                </a:lnTo>
                <a:lnTo>
                  <a:pt x="1716" y="1139"/>
                </a:lnTo>
                <a:lnTo>
                  <a:pt x="1712" y="1139"/>
                </a:lnTo>
                <a:lnTo>
                  <a:pt x="1710" y="1138"/>
                </a:lnTo>
                <a:lnTo>
                  <a:pt x="1708" y="1138"/>
                </a:lnTo>
                <a:lnTo>
                  <a:pt x="1707" y="1137"/>
                </a:lnTo>
                <a:lnTo>
                  <a:pt x="1705" y="1134"/>
                </a:lnTo>
                <a:lnTo>
                  <a:pt x="1702" y="1131"/>
                </a:lnTo>
                <a:lnTo>
                  <a:pt x="1702" y="1128"/>
                </a:lnTo>
                <a:lnTo>
                  <a:pt x="1701" y="1126"/>
                </a:lnTo>
                <a:lnTo>
                  <a:pt x="1701" y="1123"/>
                </a:lnTo>
                <a:lnTo>
                  <a:pt x="1702" y="1121"/>
                </a:lnTo>
                <a:lnTo>
                  <a:pt x="1703" y="1119"/>
                </a:lnTo>
                <a:lnTo>
                  <a:pt x="1704" y="1117"/>
                </a:lnTo>
                <a:lnTo>
                  <a:pt x="1706" y="1115"/>
                </a:lnTo>
                <a:lnTo>
                  <a:pt x="1708" y="1114"/>
                </a:lnTo>
                <a:lnTo>
                  <a:pt x="1710" y="1113"/>
                </a:lnTo>
                <a:lnTo>
                  <a:pt x="1712" y="1113"/>
                </a:lnTo>
                <a:close/>
                <a:moveTo>
                  <a:pt x="2355" y="996"/>
                </a:moveTo>
                <a:lnTo>
                  <a:pt x="2358" y="996"/>
                </a:lnTo>
                <a:lnTo>
                  <a:pt x="2361" y="996"/>
                </a:lnTo>
                <a:lnTo>
                  <a:pt x="2363" y="997"/>
                </a:lnTo>
                <a:lnTo>
                  <a:pt x="2365" y="999"/>
                </a:lnTo>
                <a:lnTo>
                  <a:pt x="2367" y="1001"/>
                </a:lnTo>
                <a:lnTo>
                  <a:pt x="2368" y="1003"/>
                </a:lnTo>
                <a:lnTo>
                  <a:pt x="2369" y="1005"/>
                </a:lnTo>
                <a:lnTo>
                  <a:pt x="2370" y="1008"/>
                </a:lnTo>
                <a:lnTo>
                  <a:pt x="2370" y="1010"/>
                </a:lnTo>
                <a:lnTo>
                  <a:pt x="2369" y="1012"/>
                </a:lnTo>
                <a:lnTo>
                  <a:pt x="2368" y="1014"/>
                </a:lnTo>
                <a:lnTo>
                  <a:pt x="2367" y="1016"/>
                </a:lnTo>
                <a:lnTo>
                  <a:pt x="2366" y="1017"/>
                </a:lnTo>
                <a:lnTo>
                  <a:pt x="2363" y="1020"/>
                </a:lnTo>
                <a:lnTo>
                  <a:pt x="2361" y="1021"/>
                </a:lnTo>
                <a:lnTo>
                  <a:pt x="2359" y="1021"/>
                </a:lnTo>
                <a:lnTo>
                  <a:pt x="2355" y="1021"/>
                </a:lnTo>
                <a:lnTo>
                  <a:pt x="2353" y="1021"/>
                </a:lnTo>
                <a:lnTo>
                  <a:pt x="2351" y="1020"/>
                </a:lnTo>
                <a:lnTo>
                  <a:pt x="2349" y="1018"/>
                </a:lnTo>
                <a:lnTo>
                  <a:pt x="2347" y="1016"/>
                </a:lnTo>
                <a:lnTo>
                  <a:pt x="2346" y="1014"/>
                </a:lnTo>
                <a:lnTo>
                  <a:pt x="2345" y="1012"/>
                </a:lnTo>
                <a:lnTo>
                  <a:pt x="2344" y="1010"/>
                </a:lnTo>
                <a:lnTo>
                  <a:pt x="2344" y="1007"/>
                </a:lnTo>
                <a:lnTo>
                  <a:pt x="2345" y="1005"/>
                </a:lnTo>
                <a:lnTo>
                  <a:pt x="2345" y="1003"/>
                </a:lnTo>
                <a:lnTo>
                  <a:pt x="2346" y="1001"/>
                </a:lnTo>
                <a:lnTo>
                  <a:pt x="2348" y="1000"/>
                </a:lnTo>
                <a:lnTo>
                  <a:pt x="2351" y="997"/>
                </a:lnTo>
                <a:lnTo>
                  <a:pt x="2353" y="996"/>
                </a:lnTo>
                <a:lnTo>
                  <a:pt x="2355" y="996"/>
                </a:lnTo>
                <a:close/>
                <a:moveTo>
                  <a:pt x="1772" y="1085"/>
                </a:moveTo>
                <a:lnTo>
                  <a:pt x="1776" y="1085"/>
                </a:lnTo>
                <a:lnTo>
                  <a:pt x="1780" y="1087"/>
                </a:lnTo>
                <a:lnTo>
                  <a:pt x="1782" y="1088"/>
                </a:lnTo>
                <a:lnTo>
                  <a:pt x="1784" y="1089"/>
                </a:lnTo>
                <a:lnTo>
                  <a:pt x="1786" y="1093"/>
                </a:lnTo>
                <a:lnTo>
                  <a:pt x="1787" y="1095"/>
                </a:lnTo>
                <a:lnTo>
                  <a:pt x="1787" y="1098"/>
                </a:lnTo>
                <a:lnTo>
                  <a:pt x="1787" y="1100"/>
                </a:lnTo>
                <a:lnTo>
                  <a:pt x="1786" y="1103"/>
                </a:lnTo>
                <a:lnTo>
                  <a:pt x="1785" y="1105"/>
                </a:lnTo>
                <a:lnTo>
                  <a:pt x="1783" y="1107"/>
                </a:lnTo>
                <a:lnTo>
                  <a:pt x="1781" y="1108"/>
                </a:lnTo>
                <a:lnTo>
                  <a:pt x="1779" y="1110"/>
                </a:lnTo>
                <a:lnTo>
                  <a:pt x="1776" y="1110"/>
                </a:lnTo>
                <a:lnTo>
                  <a:pt x="1772" y="1110"/>
                </a:lnTo>
                <a:lnTo>
                  <a:pt x="1768" y="1109"/>
                </a:lnTo>
                <a:lnTo>
                  <a:pt x="1766" y="1108"/>
                </a:lnTo>
                <a:lnTo>
                  <a:pt x="1765" y="1107"/>
                </a:lnTo>
                <a:lnTo>
                  <a:pt x="1762" y="1103"/>
                </a:lnTo>
                <a:lnTo>
                  <a:pt x="1762" y="1100"/>
                </a:lnTo>
                <a:lnTo>
                  <a:pt x="1761" y="1098"/>
                </a:lnTo>
                <a:lnTo>
                  <a:pt x="1762" y="1095"/>
                </a:lnTo>
                <a:lnTo>
                  <a:pt x="1762" y="1093"/>
                </a:lnTo>
                <a:lnTo>
                  <a:pt x="1763" y="1091"/>
                </a:lnTo>
                <a:lnTo>
                  <a:pt x="1765" y="1089"/>
                </a:lnTo>
                <a:lnTo>
                  <a:pt x="1767" y="1087"/>
                </a:lnTo>
                <a:lnTo>
                  <a:pt x="1769" y="1086"/>
                </a:lnTo>
                <a:lnTo>
                  <a:pt x="1772" y="1085"/>
                </a:lnTo>
                <a:close/>
                <a:moveTo>
                  <a:pt x="2289" y="990"/>
                </a:moveTo>
                <a:lnTo>
                  <a:pt x="2292" y="990"/>
                </a:lnTo>
                <a:lnTo>
                  <a:pt x="2294" y="990"/>
                </a:lnTo>
                <a:lnTo>
                  <a:pt x="2297" y="991"/>
                </a:lnTo>
                <a:lnTo>
                  <a:pt x="2299" y="993"/>
                </a:lnTo>
                <a:lnTo>
                  <a:pt x="2301" y="994"/>
                </a:lnTo>
                <a:lnTo>
                  <a:pt x="2302" y="996"/>
                </a:lnTo>
                <a:lnTo>
                  <a:pt x="2303" y="998"/>
                </a:lnTo>
                <a:lnTo>
                  <a:pt x="2304" y="1001"/>
                </a:lnTo>
                <a:lnTo>
                  <a:pt x="2304" y="1003"/>
                </a:lnTo>
                <a:lnTo>
                  <a:pt x="2304" y="1006"/>
                </a:lnTo>
                <a:lnTo>
                  <a:pt x="2303" y="1008"/>
                </a:lnTo>
                <a:lnTo>
                  <a:pt x="2302" y="1010"/>
                </a:lnTo>
                <a:lnTo>
                  <a:pt x="2301" y="1011"/>
                </a:lnTo>
                <a:lnTo>
                  <a:pt x="2299" y="1013"/>
                </a:lnTo>
                <a:lnTo>
                  <a:pt x="2297" y="1014"/>
                </a:lnTo>
                <a:lnTo>
                  <a:pt x="2295" y="1015"/>
                </a:lnTo>
                <a:lnTo>
                  <a:pt x="2293" y="1015"/>
                </a:lnTo>
                <a:lnTo>
                  <a:pt x="2290" y="1016"/>
                </a:lnTo>
                <a:lnTo>
                  <a:pt x="2288" y="1015"/>
                </a:lnTo>
                <a:lnTo>
                  <a:pt x="2285" y="1014"/>
                </a:lnTo>
                <a:lnTo>
                  <a:pt x="2283" y="1013"/>
                </a:lnTo>
                <a:lnTo>
                  <a:pt x="2281" y="1011"/>
                </a:lnTo>
                <a:lnTo>
                  <a:pt x="2280" y="1009"/>
                </a:lnTo>
                <a:lnTo>
                  <a:pt x="2279" y="1007"/>
                </a:lnTo>
                <a:lnTo>
                  <a:pt x="2278" y="1005"/>
                </a:lnTo>
                <a:lnTo>
                  <a:pt x="2278" y="1002"/>
                </a:lnTo>
                <a:lnTo>
                  <a:pt x="2279" y="1000"/>
                </a:lnTo>
                <a:lnTo>
                  <a:pt x="2279" y="998"/>
                </a:lnTo>
                <a:lnTo>
                  <a:pt x="2280" y="996"/>
                </a:lnTo>
                <a:lnTo>
                  <a:pt x="2282" y="994"/>
                </a:lnTo>
                <a:lnTo>
                  <a:pt x="2283" y="993"/>
                </a:lnTo>
                <a:lnTo>
                  <a:pt x="2285" y="992"/>
                </a:lnTo>
                <a:lnTo>
                  <a:pt x="2287" y="991"/>
                </a:lnTo>
                <a:lnTo>
                  <a:pt x="2289" y="990"/>
                </a:lnTo>
                <a:close/>
                <a:moveTo>
                  <a:pt x="1833" y="1061"/>
                </a:moveTo>
                <a:lnTo>
                  <a:pt x="1838" y="1061"/>
                </a:lnTo>
                <a:lnTo>
                  <a:pt x="1840" y="1061"/>
                </a:lnTo>
                <a:lnTo>
                  <a:pt x="1842" y="1062"/>
                </a:lnTo>
                <a:lnTo>
                  <a:pt x="1845" y="1065"/>
                </a:lnTo>
                <a:lnTo>
                  <a:pt x="1847" y="1067"/>
                </a:lnTo>
                <a:lnTo>
                  <a:pt x="1848" y="1069"/>
                </a:lnTo>
                <a:lnTo>
                  <a:pt x="1848" y="1074"/>
                </a:lnTo>
                <a:lnTo>
                  <a:pt x="1848" y="1076"/>
                </a:lnTo>
                <a:lnTo>
                  <a:pt x="1847" y="1079"/>
                </a:lnTo>
                <a:lnTo>
                  <a:pt x="1844" y="1083"/>
                </a:lnTo>
                <a:lnTo>
                  <a:pt x="1842" y="1084"/>
                </a:lnTo>
                <a:lnTo>
                  <a:pt x="1840" y="1085"/>
                </a:lnTo>
                <a:lnTo>
                  <a:pt x="1838" y="1086"/>
                </a:lnTo>
                <a:lnTo>
                  <a:pt x="1833" y="1086"/>
                </a:lnTo>
                <a:lnTo>
                  <a:pt x="1831" y="1085"/>
                </a:lnTo>
                <a:lnTo>
                  <a:pt x="1829" y="1085"/>
                </a:lnTo>
                <a:lnTo>
                  <a:pt x="1826" y="1082"/>
                </a:lnTo>
                <a:lnTo>
                  <a:pt x="1825" y="1080"/>
                </a:lnTo>
                <a:lnTo>
                  <a:pt x="1824" y="1078"/>
                </a:lnTo>
                <a:lnTo>
                  <a:pt x="1823" y="1073"/>
                </a:lnTo>
                <a:lnTo>
                  <a:pt x="1823" y="1070"/>
                </a:lnTo>
                <a:lnTo>
                  <a:pt x="1824" y="1068"/>
                </a:lnTo>
                <a:lnTo>
                  <a:pt x="1827" y="1064"/>
                </a:lnTo>
                <a:lnTo>
                  <a:pt x="1829" y="1063"/>
                </a:lnTo>
                <a:lnTo>
                  <a:pt x="1831" y="1061"/>
                </a:lnTo>
                <a:lnTo>
                  <a:pt x="1833" y="1061"/>
                </a:lnTo>
                <a:close/>
                <a:moveTo>
                  <a:pt x="2223" y="988"/>
                </a:moveTo>
                <a:lnTo>
                  <a:pt x="2225" y="988"/>
                </a:lnTo>
                <a:lnTo>
                  <a:pt x="2227" y="989"/>
                </a:lnTo>
                <a:lnTo>
                  <a:pt x="2230" y="989"/>
                </a:lnTo>
                <a:lnTo>
                  <a:pt x="2232" y="990"/>
                </a:lnTo>
                <a:lnTo>
                  <a:pt x="2234" y="992"/>
                </a:lnTo>
                <a:lnTo>
                  <a:pt x="2235" y="994"/>
                </a:lnTo>
                <a:lnTo>
                  <a:pt x="2237" y="996"/>
                </a:lnTo>
                <a:lnTo>
                  <a:pt x="2237" y="998"/>
                </a:lnTo>
                <a:lnTo>
                  <a:pt x="2238" y="1001"/>
                </a:lnTo>
                <a:lnTo>
                  <a:pt x="2237" y="1006"/>
                </a:lnTo>
                <a:lnTo>
                  <a:pt x="2236" y="1008"/>
                </a:lnTo>
                <a:lnTo>
                  <a:pt x="2235" y="1009"/>
                </a:lnTo>
                <a:lnTo>
                  <a:pt x="2231" y="1012"/>
                </a:lnTo>
                <a:lnTo>
                  <a:pt x="2229" y="1013"/>
                </a:lnTo>
                <a:lnTo>
                  <a:pt x="2227" y="1014"/>
                </a:lnTo>
                <a:lnTo>
                  <a:pt x="2225" y="1014"/>
                </a:lnTo>
                <a:lnTo>
                  <a:pt x="2222" y="1014"/>
                </a:lnTo>
                <a:lnTo>
                  <a:pt x="2220" y="1013"/>
                </a:lnTo>
                <a:lnTo>
                  <a:pt x="2218" y="1012"/>
                </a:lnTo>
                <a:lnTo>
                  <a:pt x="2216" y="1010"/>
                </a:lnTo>
                <a:lnTo>
                  <a:pt x="2214" y="1008"/>
                </a:lnTo>
                <a:lnTo>
                  <a:pt x="2213" y="1006"/>
                </a:lnTo>
                <a:lnTo>
                  <a:pt x="2212" y="1004"/>
                </a:lnTo>
                <a:lnTo>
                  <a:pt x="2212" y="1001"/>
                </a:lnTo>
                <a:lnTo>
                  <a:pt x="2213" y="997"/>
                </a:lnTo>
                <a:lnTo>
                  <a:pt x="2214" y="995"/>
                </a:lnTo>
                <a:lnTo>
                  <a:pt x="2215" y="993"/>
                </a:lnTo>
                <a:lnTo>
                  <a:pt x="2218" y="990"/>
                </a:lnTo>
                <a:lnTo>
                  <a:pt x="2220" y="989"/>
                </a:lnTo>
                <a:lnTo>
                  <a:pt x="2223" y="988"/>
                </a:lnTo>
                <a:close/>
                <a:moveTo>
                  <a:pt x="1896" y="1040"/>
                </a:moveTo>
                <a:lnTo>
                  <a:pt x="1901" y="1040"/>
                </a:lnTo>
                <a:lnTo>
                  <a:pt x="1903" y="1040"/>
                </a:lnTo>
                <a:lnTo>
                  <a:pt x="1905" y="1041"/>
                </a:lnTo>
                <a:lnTo>
                  <a:pt x="1907" y="1043"/>
                </a:lnTo>
                <a:lnTo>
                  <a:pt x="1908" y="1044"/>
                </a:lnTo>
                <a:lnTo>
                  <a:pt x="1910" y="1046"/>
                </a:lnTo>
                <a:lnTo>
                  <a:pt x="1911" y="1048"/>
                </a:lnTo>
                <a:lnTo>
                  <a:pt x="1911" y="1051"/>
                </a:lnTo>
                <a:lnTo>
                  <a:pt x="1911" y="1054"/>
                </a:lnTo>
                <a:lnTo>
                  <a:pt x="1911" y="1056"/>
                </a:lnTo>
                <a:lnTo>
                  <a:pt x="1910" y="1058"/>
                </a:lnTo>
                <a:lnTo>
                  <a:pt x="1908" y="1060"/>
                </a:lnTo>
                <a:lnTo>
                  <a:pt x="1907" y="1062"/>
                </a:lnTo>
                <a:lnTo>
                  <a:pt x="1904" y="1063"/>
                </a:lnTo>
                <a:lnTo>
                  <a:pt x="1902" y="1064"/>
                </a:lnTo>
                <a:lnTo>
                  <a:pt x="1900" y="1065"/>
                </a:lnTo>
                <a:lnTo>
                  <a:pt x="1896" y="1065"/>
                </a:lnTo>
                <a:lnTo>
                  <a:pt x="1894" y="1064"/>
                </a:lnTo>
                <a:lnTo>
                  <a:pt x="1892" y="1063"/>
                </a:lnTo>
                <a:lnTo>
                  <a:pt x="1890" y="1062"/>
                </a:lnTo>
                <a:lnTo>
                  <a:pt x="1888" y="1060"/>
                </a:lnTo>
                <a:lnTo>
                  <a:pt x="1887" y="1058"/>
                </a:lnTo>
                <a:lnTo>
                  <a:pt x="1886" y="1056"/>
                </a:lnTo>
                <a:lnTo>
                  <a:pt x="1886" y="1053"/>
                </a:lnTo>
                <a:lnTo>
                  <a:pt x="1886" y="1051"/>
                </a:lnTo>
                <a:lnTo>
                  <a:pt x="1886" y="1049"/>
                </a:lnTo>
                <a:lnTo>
                  <a:pt x="1887" y="1046"/>
                </a:lnTo>
                <a:lnTo>
                  <a:pt x="1888" y="1044"/>
                </a:lnTo>
                <a:lnTo>
                  <a:pt x="1890" y="1042"/>
                </a:lnTo>
                <a:lnTo>
                  <a:pt x="1892" y="1041"/>
                </a:lnTo>
                <a:lnTo>
                  <a:pt x="1895" y="1040"/>
                </a:lnTo>
                <a:lnTo>
                  <a:pt x="1896" y="1040"/>
                </a:lnTo>
                <a:close/>
                <a:moveTo>
                  <a:pt x="2156" y="991"/>
                </a:moveTo>
                <a:lnTo>
                  <a:pt x="2157" y="991"/>
                </a:lnTo>
                <a:lnTo>
                  <a:pt x="2162" y="991"/>
                </a:lnTo>
                <a:lnTo>
                  <a:pt x="2164" y="992"/>
                </a:lnTo>
                <a:lnTo>
                  <a:pt x="2166" y="994"/>
                </a:lnTo>
                <a:lnTo>
                  <a:pt x="2168" y="996"/>
                </a:lnTo>
                <a:lnTo>
                  <a:pt x="2169" y="998"/>
                </a:lnTo>
                <a:lnTo>
                  <a:pt x="2170" y="1000"/>
                </a:lnTo>
                <a:lnTo>
                  <a:pt x="2171" y="1003"/>
                </a:lnTo>
                <a:lnTo>
                  <a:pt x="2171" y="1005"/>
                </a:lnTo>
                <a:lnTo>
                  <a:pt x="2170" y="1007"/>
                </a:lnTo>
                <a:lnTo>
                  <a:pt x="2169" y="1009"/>
                </a:lnTo>
                <a:lnTo>
                  <a:pt x="2168" y="1011"/>
                </a:lnTo>
                <a:lnTo>
                  <a:pt x="2166" y="1013"/>
                </a:lnTo>
                <a:lnTo>
                  <a:pt x="2164" y="1014"/>
                </a:lnTo>
                <a:lnTo>
                  <a:pt x="2160" y="1016"/>
                </a:lnTo>
                <a:lnTo>
                  <a:pt x="2159" y="1016"/>
                </a:lnTo>
                <a:lnTo>
                  <a:pt x="2154" y="1016"/>
                </a:lnTo>
                <a:lnTo>
                  <a:pt x="2151" y="1015"/>
                </a:lnTo>
                <a:lnTo>
                  <a:pt x="2149" y="1013"/>
                </a:lnTo>
                <a:lnTo>
                  <a:pt x="2148" y="1011"/>
                </a:lnTo>
                <a:lnTo>
                  <a:pt x="2146" y="1009"/>
                </a:lnTo>
                <a:lnTo>
                  <a:pt x="2145" y="1007"/>
                </a:lnTo>
                <a:lnTo>
                  <a:pt x="2145" y="1004"/>
                </a:lnTo>
                <a:lnTo>
                  <a:pt x="2145" y="1002"/>
                </a:lnTo>
                <a:lnTo>
                  <a:pt x="2146" y="1000"/>
                </a:lnTo>
                <a:lnTo>
                  <a:pt x="2146" y="997"/>
                </a:lnTo>
                <a:lnTo>
                  <a:pt x="2148" y="996"/>
                </a:lnTo>
                <a:lnTo>
                  <a:pt x="2149" y="994"/>
                </a:lnTo>
                <a:lnTo>
                  <a:pt x="2151" y="993"/>
                </a:lnTo>
                <a:lnTo>
                  <a:pt x="2156" y="991"/>
                </a:lnTo>
                <a:close/>
                <a:moveTo>
                  <a:pt x="1960" y="1022"/>
                </a:moveTo>
                <a:lnTo>
                  <a:pt x="1965" y="1022"/>
                </a:lnTo>
                <a:lnTo>
                  <a:pt x="1967" y="1023"/>
                </a:lnTo>
                <a:lnTo>
                  <a:pt x="1969" y="1024"/>
                </a:lnTo>
                <a:lnTo>
                  <a:pt x="1971" y="1025"/>
                </a:lnTo>
                <a:lnTo>
                  <a:pt x="1972" y="1027"/>
                </a:lnTo>
                <a:lnTo>
                  <a:pt x="1974" y="1029"/>
                </a:lnTo>
                <a:lnTo>
                  <a:pt x="1974" y="1031"/>
                </a:lnTo>
                <a:lnTo>
                  <a:pt x="1975" y="1034"/>
                </a:lnTo>
                <a:lnTo>
                  <a:pt x="1975" y="1036"/>
                </a:lnTo>
                <a:lnTo>
                  <a:pt x="1974" y="1039"/>
                </a:lnTo>
                <a:lnTo>
                  <a:pt x="1973" y="1041"/>
                </a:lnTo>
                <a:lnTo>
                  <a:pt x="1971" y="1043"/>
                </a:lnTo>
                <a:lnTo>
                  <a:pt x="1970" y="1045"/>
                </a:lnTo>
                <a:lnTo>
                  <a:pt x="1968" y="1046"/>
                </a:lnTo>
                <a:lnTo>
                  <a:pt x="1965" y="1047"/>
                </a:lnTo>
                <a:lnTo>
                  <a:pt x="1960" y="1047"/>
                </a:lnTo>
                <a:lnTo>
                  <a:pt x="1957" y="1046"/>
                </a:lnTo>
                <a:lnTo>
                  <a:pt x="1955" y="1045"/>
                </a:lnTo>
                <a:lnTo>
                  <a:pt x="1953" y="1044"/>
                </a:lnTo>
                <a:lnTo>
                  <a:pt x="1952" y="1042"/>
                </a:lnTo>
                <a:lnTo>
                  <a:pt x="1950" y="1040"/>
                </a:lnTo>
                <a:lnTo>
                  <a:pt x="1950" y="1038"/>
                </a:lnTo>
                <a:lnTo>
                  <a:pt x="1949" y="1035"/>
                </a:lnTo>
                <a:lnTo>
                  <a:pt x="1949" y="1032"/>
                </a:lnTo>
                <a:lnTo>
                  <a:pt x="1950" y="1030"/>
                </a:lnTo>
                <a:lnTo>
                  <a:pt x="1951" y="1028"/>
                </a:lnTo>
                <a:lnTo>
                  <a:pt x="1952" y="1026"/>
                </a:lnTo>
                <a:lnTo>
                  <a:pt x="1954" y="1024"/>
                </a:lnTo>
                <a:lnTo>
                  <a:pt x="1956" y="1023"/>
                </a:lnTo>
                <a:lnTo>
                  <a:pt x="1959" y="1022"/>
                </a:lnTo>
                <a:lnTo>
                  <a:pt x="1960" y="1022"/>
                </a:lnTo>
                <a:close/>
                <a:moveTo>
                  <a:pt x="2090" y="997"/>
                </a:moveTo>
                <a:lnTo>
                  <a:pt x="2093" y="997"/>
                </a:lnTo>
                <a:lnTo>
                  <a:pt x="2095" y="998"/>
                </a:lnTo>
                <a:lnTo>
                  <a:pt x="2098" y="999"/>
                </a:lnTo>
                <a:lnTo>
                  <a:pt x="2100" y="1000"/>
                </a:lnTo>
                <a:lnTo>
                  <a:pt x="2102" y="1001"/>
                </a:lnTo>
                <a:lnTo>
                  <a:pt x="2103" y="1003"/>
                </a:lnTo>
                <a:lnTo>
                  <a:pt x="2104" y="1006"/>
                </a:lnTo>
                <a:lnTo>
                  <a:pt x="2105" y="1008"/>
                </a:lnTo>
                <a:lnTo>
                  <a:pt x="2105" y="1011"/>
                </a:lnTo>
                <a:lnTo>
                  <a:pt x="2104" y="1013"/>
                </a:lnTo>
                <a:lnTo>
                  <a:pt x="2104" y="1015"/>
                </a:lnTo>
                <a:lnTo>
                  <a:pt x="2102" y="1018"/>
                </a:lnTo>
                <a:lnTo>
                  <a:pt x="2101" y="1019"/>
                </a:lnTo>
                <a:lnTo>
                  <a:pt x="2099" y="1021"/>
                </a:lnTo>
                <a:lnTo>
                  <a:pt x="2097" y="1022"/>
                </a:lnTo>
                <a:lnTo>
                  <a:pt x="2094" y="1023"/>
                </a:lnTo>
                <a:lnTo>
                  <a:pt x="2091" y="1023"/>
                </a:lnTo>
                <a:lnTo>
                  <a:pt x="2089" y="1022"/>
                </a:lnTo>
                <a:lnTo>
                  <a:pt x="2086" y="1021"/>
                </a:lnTo>
                <a:lnTo>
                  <a:pt x="2084" y="1020"/>
                </a:lnTo>
                <a:lnTo>
                  <a:pt x="2082" y="1018"/>
                </a:lnTo>
                <a:lnTo>
                  <a:pt x="2081" y="1016"/>
                </a:lnTo>
                <a:lnTo>
                  <a:pt x="2080" y="1014"/>
                </a:lnTo>
                <a:lnTo>
                  <a:pt x="2079" y="1012"/>
                </a:lnTo>
                <a:lnTo>
                  <a:pt x="2079" y="1009"/>
                </a:lnTo>
                <a:lnTo>
                  <a:pt x="2080" y="1007"/>
                </a:lnTo>
                <a:lnTo>
                  <a:pt x="2082" y="1002"/>
                </a:lnTo>
                <a:lnTo>
                  <a:pt x="2083" y="1001"/>
                </a:lnTo>
                <a:lnTo>
                  <a:pt x="2085" y="999"/>
                </a:lnTo>
                <a:lnTo>
                  <a:pt x="2087" y="998"/>
                </a:lnTo>
                <a:lnTo>
                  <a:pt x="2090" y="997"/>
                </a:lnTo>
                <a:close/>
                <a:moveTo>
                  <a:pt x="2024" y="1008"/>
                </a:moveTo>
                <a:lnTo>
                  <a:pt x="2029" y="1008"/>
                </a:lnTo>
                <a:lnTo>
                  <a:pt x="2032" y="1009"/>
                </a:lnTo>
                <a:lnTo>
                  <a:pt x="2034" y="1010"/>
                </a:lnTo>
                <a:lnTo>
                  <a:pt x="2036" y="1011"/>
                </a:lnTo>
                <a:lnTo>
                  <a:pt x="2037" y="1013"/>
                </a:lnTo>
                <a:lnTo>
                  <a:pt x="2038" y="1015"/>
                </a:lnTo>
                <a:lnTo>
                  <a:pt x="2039" y="1018"/>
                </a:lnTo>
                <a:lnTo>
                  <a:pt x="2039" y="1023"/>
                </a:lnTo>
                <a:lnTo>
                  <a:pt x="2038" y="1025"/>
                </a:lnTo>
                <a:lnTo>
                  <a:pt x="2037" y="1028"/>
                </a:lnTo>
                <a:lnTo>
                  <a:pt x="2036" y="1029"/>
                </a:lnTo>
                <a:lnTo>
                  <a:pt x="2034" y="1031"/>
                </a:lnTo>
                <a:lnTo>
                  <a:pt x="2031" y="1032"/>
                </a:lnTo>
                <a:lnTo>
                  <a:pt x="2029" y="1033"/>
                </a:lnTo>
                <a:lnTo>
                  <a:pt x="2024" y="1033"/>
                </a:lnTo>
                <a:lnTo>
                  <a:pt x="2022" y="1032"/>
                </a:lnTo>
                <a:lnTo>
                  <a:pt x="2019" y="1031"/>
                </a:lnTo>
                <a:lnTo>
                  <a:pt x="2017" y="1029"/>
                </a:lnTo>
                <a:lnTo>
                  <a:pt x="2016" y="1027"/>
                </a:lnTo>
                <a:lnTo>
                  <a:pt x="2015" y="1025"/>
                </a:lnTo>
                <a:lnTo>
                  <a:pt x="2014" y="1023"/>
                </a:lnTo>
                <a:lnTo>
                  <a:pt x="2014" y="1018"/>
                </a:lnTo>
                <a:lnTo>
                  <a:pt x="2015" y="1015"/>
                </a:lnTo>
                <a:lnTo>
                  <a:pt x="2016" y="1013"/>
                </a:lnTo>
                <a:lnTo>
                  <a:pt x="2018" y="1011"/>
                </a:lnTo>
                <a:lnTo>
                  <a:pt x="2020" y="1010"/>
                </a:lnTo>
                <a:lnTo>
                  <a:pt x="2022" y="1008"/>
                </a:lnTo>
                <a:lnTo>
                  <a:pt x="2024" y="1008"/>
                </a:lnTo>
                <a:close/>
                <a:moveTo>
                  <a:pt x="513" y="2208"/>
                </a:moveTo>
                <a:lnTo>
                  <a:pt x="517" y="2208"/>
                </a:lnTo>
                <a:lnTo>
                  <a:pt x="520" y="2209"/>
                </a:lnTo>
                <a:lnTo>
                  <a:pt x="522" y="2210"/>
                </a:lnTo>
                <a:lnTo>
                  <a:pt x="524" y="2211"/>
                </a:lnTo>
                <a:lnTo>
                  <a:pt x="526" y="2213"/>
                </a:lnTo>
                <a:lnTo>
                  <a:pt x="527" y="2215"/>
                </a:lnTo>
                <a:lnTo>
                  <a:pt x="528" y="2218"/>
                </a:lnTo>
                <a:lnTo>
                  <a:pt x="528" y="2220"/>
                </a:lnTo>
                <a:lnTo>
                  <a:pt x="528" y="2223"/>
                </a:lnTo>
                <a:lnTo>
                  <a:pt x="527" y="2225"/>
                </a:lnTo>
                <a:lnTo>
                  <a:pt x="526" y="2228"/>
                </a:lnTo>
                <a:lnTo>
                  <a:pt x="524" y="2231"/>
                </a:lnTo>
                <a:lnTo>
                  <a:pt x="521" y="2232"/>
                </a:lnTo>
                <a:lnTo>
                  <a:pt x="518" y="2233"/>
                </a:lnTo>
                <a:lnTo>
                  <a:pt x="514" y="2234"/>
                </a:lnTo>
                <a:lnTo>
                  <a:pt x="511" y="2233"/>
                </a:lnTo>
                <a:lnTo>
                  <a:pt x="508" y="2232"/>
                </a:lnTo>
                <a:lnTo>
                  <a:pt x="506" y="2230"/>
                </a:lnTo>
                <a:lnTo>
                  <a:pt x="505" y="2228"/>
                </a:lnTo>
                <a:lnTo>
                  <a:pt x="504" y="2226"/>
                </a:lnTo>
                <a:lnTo>
                  <a:pt x="503" y="2224"/>
                </a:lnTo>
                <a:lnTo>
                  <a:pt x="502" y="2221"/>
                </a:lnTo>
                <a:lnTo>
                  <a:pt x="503" y="2219"/>
                </a:lnTo>
                <a:lnTo>
                  <a:pt x="503" y="2216"/>
                </a:lnTo>
                <a:lnTo>
                  <a:pt x="505" y="2213"/>
                </a:lnTo>
                <a:lnTo>
                  <a:pt x="507" y="2211"/>
                </a:lnTo>
                <a:lnTo>
                  <a:pt x="510" y="2209"/>
                </a:lnTo>
                <a:lnTo>
                  <a:pt x="513" y="2208"/>
                </a:lnTo>
                <a:close/>
                <a:moveTo>
                  <a:pt x="537" y="2146"/>
                </a:moveTo>
                <a:lnTo>
                  <a:pt x="541" y="2146"/>
                </a:lnTo>
                <a:lnTo>
                  <a:pt x="544" y="2147"/>
                </a:lnTo>
                <a:lnTo>
                  <a:pt x="546" y="2148"/>
                </a:lnTo>
                <a:lnTo>
                  <a:pt x="548" y="2150"/>
                </a:lnTo>
                <a:lnTo>
                  <a:pt x="550" y="2152"/>
                </a:lnTo>
                <a:lnTo>
                  <a:pt x="551" y="2154"/>
                </a:lnTo>
                <a:lnTo>
                  <a:pt x="552" y="2156"/>
                </a:lnTo>
                <a:lnTo>
                  <a:pt x="552" y="2159"/>
                </a:lnTo>
                <a:lnTo>
                  <a:pt x="552" y="2161"/>
                </a:lnTo>
                <a:lnTo>
                  <a:pt x="551" y="2164"/>
                </a:lnTo>
                <a:lnTo>
                  <a:pt x="550" y="2167"/>
                </a:lnTo>
                <a:lnTo>
                  <a:pt x="547" y="2169"/>
                </a:lnTo>
                <a:lnTo>
                  <a:pt x="545" y="2171"/>
                </a:lnTo>
                <a:lnTo>
                  <a:pt x="542" y="2172"/>
                </a:lnTo>
                <a:lnTo>
                  <a:pt x="538" y="2172"/>
                </a:lnTo>
                <a:lnTo>
                  <a:pt x="535" y="2171"/>
                </a:lnTo>
                <a:lnTo>
                  <a:pt x="532" y="2170"/>
                </a:lnTo>
                <a:lnTo>
                  <a:pt x="530" y="2168"/>
                </a:lnTo>
                <a:lnTo>
                  <a:pt x="529" y="2166"/>
                </a:lnTo>
                <a:lnTo>
                  <a:pt x="527" y="2164"/>
                </a:lnTo>
                <a:lnTo>
                  <a:pt x="527" y="2162"/>
                </a:lnTo>
                <a:lnTo>
                  <a:pt x="526" y="2159"/>
                </a:lnTo>
                <a:lnTo>
                  <a:pt x="527" y="2157"/>
                </a:lnTo>
                <a:lnTo>
                  <a:pt x="527" y="2154"/>
                </a:lnTo>
                <a:lnTo>
                  <a:pt x="529" y="2151"/>
                </a:lnTo>
                <a:lnTo>
                  <a:pt x="531" y="2149"/>
                </a:lnTo>
                <a:lnTo>
                  <a:pt x="534" y="2147"/>
                </a:lnTo>
                <a:lnTo>
                  <a:pt x="537" y="2146"/>
                </a:lnTo>
                <a:close/>
                <a:moveTo>
                  <a:pt x="562" y="2085"/>
                </a:moveTo>
                <a:lnTo>
                  <a:pt x="566" y="2085"/>
                </a:lnTo>
                <a:lnTo>
                  <a:pt x="569" y="2086"/>
                </a:lnTo>
                <a:lnTo>
                  <a:pt x="572" y="2087"/>
                </a:lnTo>
                <a:lnTo>
                  <a:pt x="574" y="2089"/>
                </a:lnTo>
                <a:lnTo>
                  <a:pt x="575" y="2091"/>
                </a:lnTo>
                <a:lnTo>
                  <a:pt x="576" y="2093"/>
                </a:lnTo>
                <a:lnTo>
                  <a:pt x="577" y="2095"/>
                </a:lnTo>
                <a:lnTo>
                  <a:pt x="577" y="2098"/>
                </a:lnTo>
                <a:lnTo>
                  <a:pt x="577" y="2100"/>
                </a:lnTo>
                <a:lnTo>
                  <a:pt x="576" y="2103"/>
                </a:lnTo>
                <a:lnTo>
                  <a:pt x="575" y="2106"/>
                </a:lnTo>
                <a:lnTo>
                  <a:pt x="572" y="2108"/>
                </a:lnTo>
                <a:lnTo>
                  <a:pt x="570" y="2110"/>
                </a:lnTo>
                <a:lnTo>
                  <a:pt x="567" y="2111"/>
                </a:lnTo>
                <a:lnTo>
                  <a:pt x="563" y="2111"/>
                </a:lnTo>
                <a:lnTo>
                  <a:pt x="559" y="2110"/>
                </a:lnTo>
                <a:lnTo>
                  <a:pt x="557" y="2108"/>
                </a:lnTo>
                <a:lnTo>
                  <a:pt x="555" y="2107"/>
                </a:lnTo>
                <a:lnTo>
                  <a:pt x="554" y="2105"/>
                </a:lnTo>
                <a:lnTo>
                  <a:pt x="552" y="2103"/>
                </a:lnTo>
                <a:lnTo>
                  <a:pt x="552" y="2100"/>
                </a:lnTo>
                <a:lnTo>
                  <a:pt x="551" y="2098"/>
                </a:lnTo>
                <a:lnTo>
                  <a:pt x="552" y="2095"/>
                </a:lnTo>
                <a:lnTo>
                  <a:pt x="552" y="2093"/>
                </a:lnTo>
                <a:lnTo>
                  <a:pt x="554" y="2090"/>
                </a:lnTo>
                <a:lnTo>
                  <a:pt x="556" y="2088"/>
                </a:lnTo>
                <a:lnTo>
                  <a:pt x="559" y="2086"/>
                </a:lnTo>
                <a:lnTo>
                  <a:pt x="562" y="2085"/>
                </a:lnTo>
                <a:close/>
                <a:moveTo>
                  <a:pt x="588" y="2024"/>
                </a:moveTo>
                <a:lnTo>
                  <a:pt x="592" y="2024"/>
                </a:lnTo>
                <a:lnTo>
                  <a:pt x="596" y="2025"/>
                </a:lnTo>
                <a:lnTo>
                  <a:pt x="598" y="2026"/>
                </a:lnTo>
                <a:lnTo>
                  <a:pt x="600" y="2028"/>
                </a:lnTo>
                <a:lnTo>
                  <a:pt x="601" y="2030"/>
                </a:lnTo>
                <a:lnTo>
                  <a:pt x="603" y="2032"/>
                </a:lnTo>
                <a:lnTo>
                  <a:pt x="603" y="2035"/>
                </a:lnTo>
                <a:lnTo>
                  <a:pt x="603" y="2037"/>
                </a:lnTo>
                <a:lnTo>
                  <a:pt x="603" y="2040"/>
                </a:lnTo>
                <a:lnTo>
                  <a:pt x="602" y="2042"/>
                </a:lnTo>
                <a:lnTo>
                  <a:pt x="601" y="2045"/>
                </a:lnTo>
                <a:lnTo>
                  <a:pt x="598" y="2047"/>
                </a:lnTo>
                <a:lnTo>
                  <a:pt x="597" y="2048"/>
                </a:lnTo>
                <a:lnTo>
                  <a:pt x="596" y="2049"/>
                </a:lnTo>
                <a:lnTo>
                  <a:pt x="593" y="2050"/>
                </a:lnTo>
                <a:lnTo>
                  <a:pt x="589" y="2050"/>
                </a:lnTo>
                <a:lnTo>
                  <a:pt x="585" y="2049"/>
                </a:lnTo>
                <a:lnTo>
                  <a:pt x="583" y="2048"/>
                </a:lnTo>
                <a:lnTo>
                  <a:pt x="581" y="2046"/>
                </a:lnTo>
                <a:lnTo>
                  <a:pt x="580" y="2044"/>
                </a:lnTo>
                <a:lnTo>
                  <a:pt x="578" y="2042"/>
                </a:lnTo>
                <a:lnTo>
                  <a:pt x="578" y="2039"/>
                </a:lnTo>
                <a:lnTo>
                  <a:pt x="578" y="2037"/>
                </a:lnTo>
                <a:lnTo>
                  <a:pt x="578" y="2034"/>
                </a:lnTo>
                <a:lnTo>
                  <a:pt x="579" y="2032"/>
                </a:lnTo>
                <a:lnTo>
                  <a:pt x="580" y="2029"/>
                </a:lnTo>
                <a:lnTo>
                  <a:pt x="583" y="2027"/>
                </a:lnTo>
                <a:lnTo>
                  <a:pt x="584" y="2026"/>
                </a:lnTo>
                <a:lnTo>
                  <a:pt x="585" y="2025"/>
                </a:lnTo>
                <a:lnTo>
                  <a:pt x="588" y="2024"/>
                </a:lnTo>
                <a:close/>
                <a:moveTo>
                  <a:pt x="616" y="1964"/>
                </a:moveTo>
                <a:lnTo>
                  <a:pt x="619" y="1964"/>
                </a:lnTo>
                <a:lnTo>
                  <a:pt x="623" y="1965"/>
                </a:lnTo>
                <a:lnTo>
                  <a:pt x="625" y="1966"/>
                </a:lnTo>
                <a:lnTo>
                  <a:pt x="627" y="1968"/>
                </a:lnTo>
                <a:lnTo>
                  <a:pt x="629" y="1970"/>
                </a:lnTo>
                <a:lnTo>
                  <a:pt x="630" y="1972"/>
                </a:lnTo>
                <a:lnTo>
                  <a:pt x="631" y="1975"/>
                </a:lnTo>
                <a:lnTo>
                  <a:pt x="631" y="1977"/>
                </a:lnTo>
                <a:lnTo>
                  <a:pt x="630" y="1980"/>
                </a:lnTo>
                <a:lnTo>
                  <a:pt x="629" y="1982"/>
                </a:lnTo>
                <a:lnTo>
                  <a:pt x="628" y="1985"/>
                </a:lnTo>
                <a:lnTo>
                  <a:pt x="626" y="1987"/>
                </a:lnTo>
                <a:lnTo>
                  <a:pt x="623" y="1989"/>
                </a:lnTo>
                <a:lnTo>
                  <a:pt x="620" y="1989"/>
                </a:lnTo>
                <a:lnTo>
                  <a:pt x="616" y="1990"/>
                </a:lnTo>
                <a:lnTo>
                  <a:pt x="612" y="1988"/>
                </a:lnTo>
                <a:lnTo>
                  <a:pt x="610" y="1987"/>
                </a:lnTo>
                <a:lnTo>
                  <a:pt x="608" y="1985"/>
                </a:lnTo>
                <a:lnTo>
                  <a:pt x="607" y="1983"/>
                </a:lnTo>
                <a:lnTo>
                  <a:pt x="606" y="1981"/>
                </a:lnTo>
                <a:lnTo>
                  <a:pt x="605" y="1979"/>
                </a:lnTo>
                <a:lnTo>
                  <a:pt x="605" y="1976"/>
                </a:lnTo>
                <a:lnTo>
                  <a:pt x="605" y="1974"/>
                </a:lnTo>
                <a:lnTo>
                  <a:pt x="606" y="1971"/>
                </a:lnTo>
                <a:lnTo>
                  <a:pt x="608" y="1969"/>
                </a:lnTo>
                <a:lnTo>
                  <a:pt x="610" y="1966"/>
                </a:lnTo>
                <a:lnTo>
                  <a:pt x="613" y="1965"/>
                </a:lnTo>
                <a:lnTo>
                  <a:pt x="616" y="1964"/>
                </a:lnTo>
                <a:close/>
                <a:moveTo>
                  <a:pt x="644" y="1904"/>
                </a:moveTo>
                <a:lnTo>
                  <a:pt x="648" y="1904"/>
                </a:lnTo>
                <a:lnTo>
                  <a:pt x="650" y="1905"/>
                </a:lnTo>
                <a:lnTo>
                  <a:pt x="652" y="1905"/>
                </a:lnTo>
                <a:lnTo>
                  <a:pt x="654" y="1907"/>
                </a:lnTo>
                <a:lnTo>
                  <a:pt x="656" y="1908"/>
                </a:lnTo>
                <a:lnTo>
                  <a:pt x="657" y="1911"/>
                </a:lnTo>
                <a:lnTo>
                  <a:pt x="658" y="1913"/>
                </a:lnTo>
                <a:lnTo>
                  <a:pt x="659" y="1915"/>
                </a:lnTo>
                <a:lnTo>
                  <a:pt x="659" y="1918"/>
                </a:lnTo>
                <a:lnTo>
                  <a:pt x="659" y="1920"/>
                </a:lnTo>
                <a:lnTo>
                  <a:pt x="658" y="1923"/>
                </a:lnTo>
                <a:lnTo>
                  <a:pt x="656" y="1925"/>
                </a:lnTo>
                <a:lnTo>
                  <a:pt x="654" y="1927"/>
                </a:lnTo>
                <a:lnTo>
                  <a:pt x="651" y="1929"/>
                </a:lnTo>
                <a:lnTo>
                  <a:pt x="648" y="1930"/>
                </a:lnTo>
                <a:lnTo>
                  <a:pt x="644" y="1930"/>
                </a:lnTo>
                <a:lnTo>
                  <a:pt x="642" y="1929"/>
                </a:lnTo>
                <a:lnTo>
                  <a:pt x="641" y="1929"/>
                </a:lnTo>
                <a:lnTo>
                  <a:pt x="638" y="1927"/>
                </a:lnTo>
                <a:lnTo>
                  <a:pt x="636" y="1925"/>
                </a:lnTo>
                <a:lnTo>
                  <a:pt x="635" y="1923"/>
                </a:lnTo>
                <a:lnTo>
                  <a:pt x="634" y="1921"/>
                </a:lnTo>
                <a:lnTo>
                  <a:pt x="633" y="1919"/>
                </a:lnTo>
                <a:lnTo>
                  <a:pt x="633" y="1916"/>
                </a:lnTo>
                <a:lnTo>
                  <a:pt x="634" y="1914"/>
                </a:lnTo>
                <a:lnTo>
                  <a:pt x="635" y="1911"/>
                </a:lnTo>
                <a:lnTo>
                  <a:pt x="636" y="1909"/>
                </a:lnTo>
                <a:lnTo>
                  <a:pt x="638" y="1907"/>
                </a:lnTo>
                <a:lnTo>
                  <a:pt x="641" y="1905"/>
                </a:lnTo>
                <a:lnTo>
                  <a:pt x="644" y="1904"/>
                </a:lnTo>
                <a:close/>
                <a:moveTo>
                  <a:pt x="673" y="1845"/>
                </a:moveTo>
                <a:lnTo>
                  <a:pt x="678" y="1845"/>
                </a:lnTo>
                <a:lnTo>
                  <a:pt x="680" y="1845"/>
                </a:lnTo>
                <a:lnTo>
                  <a:pt x="682" y="1846"/>
                </a:lnTo>
                <a:lnTo>
                  <a:pt x="684" y="1848"/>
                </a:lnTo>
                <a:lnTo>
                  <a:pt x="686" y="1849"/>
                </a:lnTo>
                <a:lnTo>
                  <a:pt x="687" y="1852"/>
                </a:lnTo>
                <a:lnTo>
                  <a:pt x="688" y="1854"/>
                </a:lnTo>
                <a:lnTo>
                  <a:pt x="689" y="1856"/>
                </a:lnTo>
                <a:lnTo>
                  <a:pt x="689" y="1859"/>
                </a:lnTo>
                <a:lnTo>
                  <a:pt x="688" y="1861"/>
                </a:lnTo>
                <a:lnTo>
                  <a:pt x="687" y="1864"/>
                </a:lnTo>
                <a:lnTo>
                  <a:pt x="686" y="1866"/>
                </a:lnTo>
                <a:lnTo>
                  <a:pt x="683" y="1868"/>
                </a:lnTo>
                <a:lnTo>
                  <a:pt x="681" y="1870"/>
                </a:lnTo>
                <a:lnTo>
                  <a:pt x="678" y="1871"/>
                </a:lnTo>
                <a:lnTo>
                  <a:pt x="674" y="1871"/>
                </a:lnTo>
                <a:lnTo>
                  <a:pt x="672" y="1870"/>
                </a:lnTo>
                <a:lnTo>
                  <a:pt x="670" y="1869"/>
                </a:lnTo>
                <a:lnTo>
                  <a:pt x="668" y="1868"/>
                </a:lnTo>
                <a:lnTo>
                  <a:pt x="666" y="1866"/>
                </a:lnTo>
                <a:lnTo>
                  <a:pt x="664" y="1864"/>
                </a:lnTo>
                <a:lnTo>
                  <a:pt x="663" y="1862"/>
                </a:lnTo>
                <a:lnTo>
                  <a:pt x="663" y="1859"/>
                </a:lnTo>
                <a:lnTo>
                  <a:pt x="663" y="1857"/>
                </a:lnTo>
                <a:lnTo>
                  <a:pt x="663" y="1854"/>
                </a:lnTo>
                <a:lnTo>
                  <a:pt x="664" y="1852"/>
                </a:lnTo>
                <a:lnTo>
                  <a:pt x="666" y="1849"/>
                </a:lnTo>
                <a:lnTo>
                  <a:pt x="668" y="1847"/>
                </a:lnTo>
                <a:lnTo>
                  <a:pt x="671" y="1846"/>
                </a:lnTo>
                <a:lnTo>
                  <a:pt x="673" y="1845"/>
                </a:lnTo>
                <a:close/>
                <a:moveTo>
                  <a:pt x="704" y="1786"/>
                </a:moveTo>
                <a:lnTo>
                  <a:pt x="708" y="1786"/>
                </a:lnTo>
                <a:lnTo>
                  <a:pt x="713" y="1788"/>
                </a:lnTo>
                <a:lnTo>
                  <a:pt x="715" y="1789"/>
                </a:lnTo>
                <a:lnTo>
                  <a:pt x="717" y="1791"/>
                </a:lnTo>
                <a:lnTo>
                  <a:pt x="718" y="1793"/>
                </a:lnTo>
                <a:lnTo>
                  <a:pt x="719" y="1795"/>
                </a:lnTo>
                <a:lnTo>
                  <a:pt x="719" y="1798"/>
                </a:lnTo>
                <a:lnTo>
                  <a:pt x="719" y="1800"/>
                </a:lnTo>
                <a:lnTo>
                  <a:pt x="718" y="1805"/>
                </a:lnTo>
                <a:lnTo>
                  <a:pt x="716" y="1808"/>
                </a:lnTo>
                <a:lnTo>
                  <a:pt x="714" y="1810"/>
                </a:lnTo>
                <a:lnTo>
                  <a:pt x="711" y="1811"/>
                </a:lnTo>
                <a:lnTo>
                  <a:pt x="709" y="1812"/>
                </a:lnTo>
                <a:lnTo>
                  <a:pt x="704" y="1812"/>
                </a:lnTo>
                <a:lnTo>
                  <a:pt x="700" y="1811"/>
                </a:lnTo>
                <a:lnTo>
                  <a:pt x="698" y="1809"/>
                </a:lnTo>
                <a:lnTo>
                  <a:pt x="696" y="1807"/>
                </a:lnTo>
                <a:lnTo>
                  <a:pt x="695" y="1805"/>
                </a:lnTo>
                <a:lnTo>
                  <a:pt x="694" y="1803"/>
                </a:lnTo>
                <a:lnTo>
                  <a:pt x="694" y="1800"/>
                </a:lnTo>
                <a:lnTo>
                  <a:pt x="694" y="1798"/>
                </a:lnTo>
                <a:lnTo>
                  <a:pt x="695" y="1793"/>
                </a:lnTo>
                <a:lnTo>
                  <a:pt x="697" y="1791"/>
                </a:lnTo>
                <a:lnTo>
                  <a:pt x="699" y="1789"/>
                </a:lnTo>
                <a:lnTo>
                  <a:pt x="701" y="1787"/>
                </a:lnTo>
                <a:lnTo>
                  <a:pt x="704" y="1786"/>
                </a:lnTo>
                <a:close/>
                <a:moveTo>
                  <a:pt x="737" y="1729"/>
                </a:moveTo>
                <a:lnTo>
                  <a:pt x="742" y="1729"/>
                </a:lnTo>
                <a:lnTo>
                  <a:pt x="744" y="1729"/>
                </a:lnTo>
                <a:lnTo>
                  <a:pt x="746" y="1730"/>
                </a:lnTo>
                <a:lnTo>
                  <a:pt x="748" y="1732"/>
                </a:lnTo>
                <a:lnTo>
                  <a:pt x="750" y="1733"/>
                </a:lnTo>
                <a:lnTo>
                  <a:pt x="751" y="1736"/>
                </a:lnTo>
                <a:lnTo>
                  <a:pt x="752" y="1738"/>
                </a:lnTo>
                <a:lnTo>
                  <a:pt x="752" y="1740"/>
                </a:lnTo>
                <a:lnTo>
                  <a:pt x="752" y="1743"/>
                </a:lnTo>
                <a:lnTo>
                  <a:pt x="751" y="1748"/>
                </a:lnTo>
                <a:lnTo>
                  <a:pt x="749" y="1750"/>
                </a:lnTo>
                <a:lnTo>
                  <a:pt x="747" y="1752"/>
                </a:lnTo>
                <a:lnTo>
                  <a:pt x="744" y="1753"/>
                </a:lnTo>
                <a:lnTo>
                  <a:pt x="742" y="1754"/>
                </a:lnTo>
                <a:lnTo>
                  <a:pt x="737" y="1754"/>
                </a:lnTo>
                <a:lnTo>
                  <a:pt x="734" y="1753"/>
                </a:lnTo>
                <a:lnTo>
                  <a:pt x="732" y="1753"/>
                </a:lnTo>
                <a:lnTo>
                  <a:pt x="730" y="1751"/>
                </a:lnTo>
                <a:lnTo>
                  <a:pt x="728" y="1749"/>
                </a:lnTo>
                <a:lnTo>
                  <a:pt x="727" y="1747"/>
                </a:lnTo>
                <a:lnTo>
                  <a:pt x="726" y="1745"/>
                </a:lnTo>
                <a:lnTo>
                  <a:pt x="726" y="1742"/>
                </a:lnTo>
                <a:lnTo>
                  <a:pt x="726" y="1740"/>
                </a:lnTo>
                <a:lnTo>
                  <a:pt x="726" y="1737"/>
                </a:lnTo>
                <a:lnTo>
                  <a:pt x="727" y="1735"/>
                </a:lnTo>
                <a:lnTo>
                  <a:pt x="729" y="1733"/>
                </a:lnTo>
                <a:lnTo>
                  <a:pt x="731" y="1731"/>
                </a:lnTo>
                <a:lnTo>
                  <a:pt x="734" y="1729"/>
                </a:lnTo>
                <a:lnTo>
                  <a:pt x="737" y="1729"/>
                </a:lnTo>
                <a:close/>
                <a:moveTo>
                  <a:pt x="770" y="1671"/>
                </a:moveTo>
                <a:lnTo>
                  <a:pt x="775" y="1671"/>
                </a:lnTo>
                <a:lnTo>
                  <a:pt x="777" y="1672"/>
                </a:lnTo>
                <a:lnTo>
                  <a:pt x="779" y="1673"/>
                </a:lnTo>
                <a:lnTo>
                  <a:pt x="781" y="1674"/>
                </a:lnTo>
                <a:lnTo>
                  <a:pt x="783" y="1676"/>
                </a:lnTo>
                <a:lnTo>
                  <a:pt x="784" y="1679"/>
                </a:lnTo>
                <a:lnTo>
                  <a:pt x="785" y="1681"/>
                </a:lnTo>
                <a:lnTo>
                  <a:pt x="786" y="1683"/>
                </a:lnTo>
                <a:lnTo>
                  <a:pt x="785" y="1686"/>
                </a:lnTo>
                <a:lnTo>
                  <a:pt x="785" y="1688"/>
                </a:lnTo>
                <a:lnTo>
                  <a:pt x="784" y="1691"/>
                </a:lnTo>
                <a:lnTo>
                  <a:pt x="782" y="1693"/>
                </a:lnTo>
                <a:lnTo>
                  <a:pt x="780" y="1695"/>
                </a:lnTo>
                <a:lnTo>
                  <a:pt x="777" y="1696"/>
                </a:lnTo>
                <a:lnTo>
                  <a:pt x="775" y="1697"/>
                </a:lnTo>
                <a:lnTo>
                  <a:pt x="770" y="1697"/>
                </a:lnTo>
                <a:lnTo>
                  <a:pt x="768" y="1696"/>
                </a:lnTo>
                <a:lnTo>
                  <a:pt x="766" y="1695"/>
                </a:lnTo>
                <a:lnTo>
                  <a:pt x="764" y="1694"/>
                </a:lnTo>
                <a:lnTo>
                  <a:pt x="762" y="1692"/>
                </a:lnTo>
                <a:lnTo>
                  <a:pt x="761" y="1690"/>
                </a:lnTo>
                <a:lnTo>
                  <a:pt x="760" y="1687"/>
                </a:lnTo>
                <a:lnTo>
                  <a:pt x="760" y="1685"/>
                </a:lnTo>
                <a:lnTo>
                  <a:pt x="760" y="1682"/>
                </a:lnTo>
                <a:lnTo>
                  <a:pt x="760" y="1680"/>
                </a:lnTo>
                <a:lnTo>
                  <a:pt x="762" y="1677"/>
                </a:lnTo>
                <a:lnTo>
                  <a:pt x="763" y="1675"/>
                </a:lnTo>
                <a:lnTo>
                  <a:pt x="765" y="1673"/>
                </a:lnTo>
                <a:lnTo>
                  <a:pt x="768" y="1672"/>
                </a:lnTo>
                <a:lnTo>
                  <a:pt x="770" y="1671"/>
                </a:lnTo>
                <a:close/>
                <a:moveTo>
                  <a:pt x="805" y="1615"/>
                </a:moveTo>
                <a:lnTo>
                  <a:pt x="809" y="1615"/>
                </a:lnTo>
                <a:lnTo>
                  <a:pt x="812" y="1616"/>
                </a:lnTo>
                <a:lnTo>
                  <a:pt x="814" y="1617"/>
                </a:lnTo>
                <a:lnTo>
                  <a:pt x="816" y="1618"/>
                </a:lnTo>
                <a:lnTo>
                  <a:pt x="818" y="1620"/>
                </a:lnTo>
                <a:lnTo>
                  <a:pt x="819" y="1622"/>
                </a:lnTo>
                <a:lnTo>
                  <a:pt x="820" y="1625"/>
                </a:lnTo>
                <a:lnTo>
                  <a:pt x="820" y="1627"/>
                </a:lnTo>
                <a:lnTo>
                  <a:pt x="820" y="1630"/>
                </a:lnTo>
                <a:lnTo>
                  <a:pt x="819" y="1632"/>
                </a:lnTo>
                <a:lnTo>
                  <a:pt x="818" y="1634"/>
                </a:lnTo>
                <a:lnTo>
                  <a:pt x="816" y="1637"/>
                </a:lnTo>
                <a:lnTo>
                  <a:pt x="814" y="1638"/>
                </a:lnTo>
                <a:lnTo>
                  <a:pt x="812" y="1640"/>
                </a:lnTo>
                <a:lnTo>
                  <a:pt x="809" y="1640"/>
                </a:lnTo>
                <a:lnTo>
                  <a:pt x="805" y="1640"/>
                </a:lnTo>
                <a:lnTo>
                  <a:pt x="802" y="1640"/>
                </a:lnTo>
                <a:lnTo>
                  <a:pt x="800" y="1639"/>
                </a:lnTo>
                <a:lnTo>
                  <a:pt x="798" y="1637"/>
                </a:lnTo>
                <a:lnTo>
                  <a:pt x="797" y="1635"/>
                </a:lnTo>
                <a:lnTo>
                  <a:pt x="795" y="1633"/>
                </a:lnTo>
                <a:lnTo>
                  <a:pt x="794" y="1630"/>
                </a:lnTo>
                <a:lnTo>
                  <a:pt x="794" y="1628"/>
                </a:lnTo>
                <a:lnTo>
                  <a:pt x="794" y="1626"/>
                </a:lnTo>
                <a:lnTo>
                  <a:pt x="795" y="1623"/>
                </a:lnTo>
                <a:lnTo>
                  <a:pt x="796" y="1621"/>
                </a:lnTo>
                <a:lnTo>
                  <a:pt x="798" y="1619"/>
                </a:lnTo>
                <a:lnTo>
                  <a:pt x="800" y="1617"/>
                </a:lnTo>
                <a:lnTo>
                  <a:pt x="802" y="1616"/>
                </a:lnTo>
                <a:lnTo>
                  <a:pt x="805" y="1615"/>
                </a:lnTo>
                <a:close/>
                <a:moveTo>
                  <a:pt x="841" y="1559"/>
                </a:moveTo>
                <a:lnTo>
                  <a:pt x="845" y="1559"/>
                </a:lnTo>
                <a:lnTo>
                  <a:pt x="848" y="1560"/>
                </a:lnTo>
                <a:lnTo>
                  <a:pt x="850" y="1561"/>
                </a:lnTo>
                <a:lnTo>
                  <a:pt x="852" y="1563"/>
                </a:lnTo>
                <a:lnTo>
                  <a:pt x="854" y="1565"/>
                </a:lnTo>
                <a:lnTo>
                  <a:pt x="855" y="1567"/>
                </a:lnTo>
                <a:lnTo>
                  <a:pt x="855" y="1569"/>
                </a:lnTo>
                <a:lnTo>
                  <a:pt x="856" y="1574"/>
                </a:lnTo>
                <a:lnTo>
                  <a:pt x="855" y="1577"/>
                </a:lnTo>
                <a:lnTo>
                  <a:pt x="854" y="1579"/>
                </a:lnTo>
                <a:lnTo>
                  <a:pt x="852" y="1581"/>
                </a:lnTo>
                <a:lnTo>
                  <a:pt x="850" y="1583"/>
                </a:lnTo>
                <a:lnTo>
                  <a:pt x="848" y="1584"/>
                </a:lnTo>
                <a:lnTo>
                  <a:pt x="845" y="1585"/>
                </a:lnTo>
                <a:lnTo>
                  <a:pt x="840" y="1585"/>
                </a:lnTo>
                <a:lnTo>
                  <a:pt x="838" y="1584"/>
                </a:lnTo>
                <a:lnTo>
                  <a:pt x="836" y="1583"/>
                </a:lnTo>
                <a:lnTo>
                  <a:pt x="834" y="1581"/>
                </a:lnTo>
                <a:lnTo>
                  <a:pt x="832" y="1579"/>
                </a:lnTo>
                <a:lnTo>
                  <a:pt x="831" y="1577"/>
                </a:lnTo>
                <a:lnTo>
                  <a:pt x="830" y="1574"/>
                </a:lnTo>
                <a:lnTo>
                  <a:pt x="830" y="1570"/>
                </a:lnTo>
                <a:lnTo>
                  <a:pt x="831" y="1567"/>
                </a:lnTo>
                <a:lnTo>
                  <a:pt x="832" y="1565"/>
                </a:lnTo>
                <a:lnTo>
                  <a:pt x="834" y="1563"/>
                </a:lnTo>
                <a:lnTo>
                  <a:pt x="836" y="1561"/>
                </a:lnTo>
                <a:lnTo>
                  <a:pt x="838" y="1560"/>
                </a:lnTo>
                <a:lnTo>
                  <a:pt x="841" y="1559"/>
                </a:lnTo>
                <a:close/>
                <a:moveTo>
                  <a:pt x="878" y="1504"/>
                </a:moveTo>
                <a:lnTo>
                  <a:pt x="883" y="1504"/>
                </a:lnTo>
                <a:lnTo>
                  <a:pt x="885" y="1505"/>
                </a:lnTo>
                <a:lnTo>
                  <a:pt x="887" y="1506"/>
                </a:lnTo>
                <a:lnTo>
                  <a:pt x="889" y="1508"/>
                </a:lnTo>
                <a:lnTo>
                  <a:pt x="891" y="1510"/>
                </a:lnTo>
                <a:lnTo>
                  <a:pt x="892" y="1512"/>
                </a:lnTo>
                <a:lnTo>
                  <a:pt x="893" y="1515"/>
                </a:lnTo>
                <a:lnTo>
                  <a:pt x="893" y="1520"/>
                </a:lnTo>
                <a:lnTo>
                  <a:pt x="892" y="1522"/>
                </a:lnTo>
                <a:lnTo>
                  <a:pt x="891" y="1524"/>
                </a:lnTo>
                <a:lnTo>
                  <a:pt x="889" y="1526"/>
                </a:lnTo>
                <a:lnTo>
                  <a:pt x="887" y="1528"/>
                </a:lnTo>
                <a:lnTo>
                  <a:pt x="885" y="1529"/>
                </a:lnTo>
                <a:lnTo>
                  <a:pt x="882" y="1530"/>
                </a:lnTo>
                <a:lnTo>
                  <a:pt x="877" y="1530"/>
                </a:lnTo>
                <a:lnTo>
                  <a:pt x="875" y="1529"/>
                </a:lnTo>
                <a:lnTo>
                  <a:pt x="873" y="1528"/>
                </a:lnTo>
                <a:lnTo>
                  <a:pt x="871" y="1526"/>
                </a:lnTo>
                <a:lnTo>
                  <a:pt x="869" y="1524"/>
                </a:lnTo>
                <a:lnTo>
                  <a:pt x="868" y="1522"/>
                </a:lnTo>
                <a:lnTo>
                  <a:pt x="867" y="1519"/>
                </a:lnTo>
                <a:lnTo>
                  <a:pt x="867" y="1514"/>
                </a:lnTo>
                <a:lnTo>
                  <a:pt x="868" y="1512"/>
                </a:lnTo>
                <a:lnTo>
                  <a:pt x="869" y="1510"/>
                </a:lnTo>
                <a:lnTo>
                  <a:pt x="871" y="1508"/>
                </a:lnTo>
                <a:lnTo>
                  <a:pt x="873" y="1506"/>
                </a:lnTo>
                <a:lnTo>
                  <a:pt x="875" y="1505"/>
                </a:lnTo>
                <a:lnTo>
                  <a:pt x="878" y="1504"/>
                </a:lnTo>
                <a:close/>
                <a:moveTo>
                  <a:pt x="916" y="1451"/>
                </a:moveTo>
                <a:lnTo>
                  <a:pt x="921" y="1451"/>
                </a:lnTo>
                <a:lnTo>
                  <a:pt x="924" y="1451"/>
                </a:lnTo>
                <a:lnTo>
                  <a:pt x="926" y="1453"/>
                </a:lnTo>
                <a:lnTo>
                  <a:pt x="928" y="1455"/>
                </a:lnTo>
                <a:lnTo>
                  <a:pt x="929" y="1457"/>
                </a:lnTo>
                <a:lnTo>
                  <a:pt x="930" y="1459"/>
                </a:lnTo>
                <a:lnTo>
                  <a:pt x="931" y="1461"/>
                </a:lnTo>
                <a:lnTo>
                  <a:pt x="931" y="1464"/>
                </a:lnTo>
                <a:lnTo>
                  <a:pt x="931" y="1466"/>
                </a:lnTo>
                <a:lnTo>
                  <a:pt x="930" y="1469"/>
                </a:lnTo>
                <a:lnTo>
                  <a:pt x="929" y="1471"/>
                </a:lnTo>
                <a:lnTo>
                  <a:pt x="927" y="1473"/>
                </a:lnTo>
                <a:lnTo>
                  <a:pt x="925" y="1474"/>
                </a:lnTo>
                <a:lnTo>
                  <a:pt x="923" y="1475"/>
                </a:lnTo>
                <a:lnTo>
                  <a:pt x="921" y="1476"/>
                </a:lnTo>
                <a:lnTo>
                  <a:pt x="915" y="1476"/>
                </a:lnTo>
                <a:lnTo>
                  <a:pt x="913" y="1475"/>
                </a:lnTo>
                <a:lnTo>
                  <a:pt x="911" y="1474"/>
                </a:lnTo>
                <a:lnTo>
                  <a:pt x="909" y="1472"/>
                </a:lnTo>
                <a:lnTo>
                  <a:pt x="907" y="1470"/>
                </a:lnTo>
                <a:lnTo>
                  <a:pt x="906" y="1468"/>
                </a:lnTo>
                <a:lnTo>
                  <a:pt x="906" y="1465"/>
                </a:lnTo>
                <a:lnTo>
                  <a:pt x="905" y="1463"/>
                </a:lnTo>
                <a:lnTo>
                  <a:pt x="906" y="1460"/>
                </a:lnTo>
                <a:lnTo>
                  <a:pt x="907" y="1458"/>
                </a:lnTo>
                <a:lnTo>
                  <a:pt x="908" y="1456"/>
                </a:lnTo>
                <a:lnTo>
                  <a:pt x="910" y="1454"/>
                </a:lnTo>
                <a:lnTo>
                  <a:pt x="912" y="1452"/>
                </a:lnTo>
                <a:lnTo>
                  <a:pt x="914" y="1451"/>
                </a:lnTo>
                <a:lnTo>
                  <a:pt x="916" y="1451"/>
                </a:lnTo>
                <a:close/>
                <a:moveTo>
                  <a:pt x="956" y="1398"/>
                </a:moveTo>
                <a:lnTo>
                  <a:pt x="958" y="1397"/>
                </a:lnTo>
                <a:lnTo>
                  <a:pt x="961" y="1398"/>
                </a:lnTo>
                <a:lnTo>
                  <a:pt x="964" y="1399"/>
                </a:lnTo>
                <a:lnTo>
                  <a:pt x="966" y="1400"/>
                </a:lnTo>
                <a:lnTo>
                  <a:pt x="968" y="1402"/>
                </a:lnTo>
                <a:lnTo>
                  <a:pt x="969" y="1404"/>
                </a:lnTo>
                <a:lnTo>
                  <a:pt x="970" y="1406"/>
                </a:lnTo>
                <a:lnTo>
                  <a:pt x="971" y="1409"/>
                </a:lnTo>
                <a:lnTo>
                  <a:pt x="971" y="1411"/>
                </a:lnTo>
                <a:lnTo>
                  <a:pt x="971" y="1414"/>
                </a:lnTo>
                <a:lnTo>
                  <a:pt x="970" y="1416"/>
                </a:lnTo>
                <a:lnTo>
                  <a:pt x="968" y="1418"/>
                </a:lnTo>
                <a:lnTo>
                  <a:pt x="967" y="1420"/>
                </a:lnTo>
                <a:lnTo>
                  <a:pt x="965" y="1421"/>
                </a:lnTo>
                <a:lnTo>
                  <a:pt x="963" y="1422"/>
                </a:lnTo>
                <a:lnTo>
                  <a:pt x="960" y="1423"/>
                </a:lnTo>
                <a:lnTo>
                  <a:pt x="958" y="1423"/>
                </a:lnTo>
                <a:lnTo>
                  <a:pt x="955" y="1423"/>
                </a:lnTo>
                <a:lnTo>
                  <a:pt x="953" y="1422"/>
                </a:lnTo>
                <a:lnTo>
                  <a:pt x="950" y="1421"/>
                </a:lnTo>
                <a:lnTo>
                  <a:pt x="948" y="1419"/>
                </a:lnTo>
                <a:lnTo>
                  <a:pt x="947" y="1417"/>
                </a:lnTo>
                <a:lnTo>
                  <a:pt x="946" y="1414"/>
                </a:lnTo>
                <a:lnTo>
                  <a:pt x="945" y="1412"/>
                </a:lnTo>
                <a:lnTo>
                  <a:pt x="945" y="1410"/>
                </a:lnTo>
                <a:lnTo>
                  <a:pt x="946" y="1407"/>
                </a:lnTo>
                <a:lnTo>
                  <a:pt x="947" y="1405"/>
                </a:lnTo>
                <a:lnTo>
                  <a:pt x="948" y="1402"/>
                </a:lnTo>
                <a:lnTo>
                  <a:pt x="950" y="1401"/>
                </a:lnTo>
                <a:lnTo>
                  <a:pt x="951" y="1399"/>
                </a:lnTo>
                <a:lnTo>
                  <a:pt x="954" y="1398"/>
                </a:lnTo>
                <a:lnTo>
                  <a:pt x="956" y="1398"/>
                </a:lnTo>
                <a:close/>
                <a:moveTo>
                  <a:pt x="997" y="1346"/>
                </a:moveTo>
                <a:lnTo>
                  <a:pt x="1000" y="1346"/>
                </a:lnTo>
                <a:lnTo>
                  <a:pt x="1002" y="1346"/>
                </a:lnTo>
                <a:lnTo>
                  <a:pt x="1005" y="1347"/>
                </a:lnTo>
                <a:lnTo>
                  <a:pt x="1007" y="1349"/>
                </a:lnTo>
                <a:lnTo>
                  <a:pt x="1009" y="1350"/>
                </a:lnTo>
                <a:lnTo>
                  <a:pt x="1011" y="1353"/>
                </a:lnTo>
                <a:lnTo>
                  <a:pt x="1012" y="1355"/>
                </a:lnTo>
                <a:lnTo>
                  <a:pt x="1012" y="1357"/>
                </a:lnTo>
                <a:lnTo>
                  <a:pt x="1012" y="1360"/>
                </a:lnTo>
                <a:lnTo>
                  <a:pt x="1012" y="1362"/>
                </a:lnTo>
                <a:lnTo>
                  <a:pt x="1011" y="1365"/>
                </a:lnTo>
                <a:lnTo>
                  <a:pt x="1009" y="1367"/>
                </a:lnTo>
                <a:lnTo>
                  <a:pt x="1008" y="1368"/>
                </a:lnTo>
                <a:lnTo>
                  <a:pt x="1006" y="1370"/>
                </a:lnTo>
                <a:lnTo>
                  <a:pt x="1004" y="1371"/>
                </a:lnTo>
                <a:lnTo>
                  <a:pt x="1002" y="1371"/>
                </a:lnTo>
                <a:lnTo>
                  <a:pt x="999" y="1372"/>
                </a:lnTo>
                <a:lnTo>
                  <a:pt x="996" y="1371"/>
                </a:lnTo>
                <a:lnTo>
                  <a:pt x="994" y="1370"/>
                </a:lnTo>
                <a:lnTo>
                  <a:pt x="991" y="1369"/>
                </a:lnTo>
                <a:lnTo>
                  <a:pt x="989" y="1367"/>
                </a:lnTo>
                <a:lnTo>
                  <a:pt x="988" y="1365"/>
                </a:lnTo>
                <a:lnTo>
                  <a:pt x="987" y="1362"/>
                </a:lnTo>
                <a:lnTo>
                  <a:pt x="986" y="1360"/>
                </a:lnTo>
                <a:lnTo>
                  <a:pt x="986" y="1357"/>
                </a:lnTo>
                <a:lnTo>
                  <a:pt x="987" y="1355"/>
                </a:lnTo>
                <a:lnTo>
                  <a:pt x="988" y="1353"/>
                </a:lnTo>
                <a:lnTo>
                  <a:pt x="989" y="1350"/>
                </a:lnTo>
                <a:lnTo>
                  <a:pt x="991" y="1349"/>
                </a:lnTo>
                <a:lnTo>
                  <a:pt x="993" y="1347"/>
                </a:lnTo>
                <a:lnTo>
                  <a:pt x="995" y="1346"/>
                </a:lnTo>
                <a:lnTo>
                  <a:pt x="997" y="1346"/>
                </a:lnTo>
                <a:close/>
                <a:moveTo>
                  <a:pt x="1040" y="1295"/>
                </a:moveTo>
                <a:lnTo>
                  <a:pt x="1042" y="1295"/>
                </a:lnTo>
                <a:lnTo>
                  <a:pt x="1045" y="1296"/>
                </a:lnTo>
                <a:lnTo>
                  <a:pt x="1048" y="1297"/>
                </a:lnTo>
                <a:lnTo>
                  <a:pt x="1050" y="1298"/>
                </a:lnTo>
                <a:lnTo>
                  <a:pt x="1052" y="1300"/>
                </a:lnTo>
                <a:lnTo>
                  <a:pt x="1054" y="1302"/>
                </a:lnTo>
                <a:lnTo>
                  <a:pt x="1054" y="1305"/>
                </a:lnTo>
                <a:lnTo>
                  <a:pt x="1055" y="1307"/>
                </a:lnTo>
                <a:lnTo>
                  <a:pt x="1055" y="1310"/>
                </a:lnTo>
                <a:lnTo>
                  <a:pt x="1054" y="1312"/>
                </a:lnTo>
                <a:lnTo>
                  <a:pt x="1053" y="1314"/>
                </a:lnTo>
                <a:lnTo>
                  <a:pt x="1052" y="1316"/>
                </a:lnTo>
                <a:lnTo>
                  <a:pt x="1050" y="1318"/>
                </a:lnTo>
                <a:lnTo>
                  <a:pt x="1048" y="1319"/>
                </a:lnTo>
                <a:lnTo>
                  <a:pt x="1044" y="1321"/>
                </a:lnTo>
                <a:lnTo>
                  <a:pt x="1041" y="1321"/>
                </a:lnTo>
                <a:lnTo>
                  <a:pt x="1039" y="1320"/>
                </a:lnTo>
                <a:lnTo>
                  <a:pt x="1036" y="1319"/>
                </a:lnTo>
                <a:lnTo>
                  <a:pt x="1033" y="1318"/>
                </a:lnTo>
                <a:lnTo>
                  <a:pt x="1032" y="1316"/>
                </a:lnTo>
                <a:lnTo>
                  <a:pt x="1030" y="1314"/>
                </a:lnTo>
                <a:lnTo>
                  <a:pt x="1029" y="1311"/>
                </a:lnTo>
                <a:lnTo>
                  <a:pt x="1029" y="1309"/>
                </a:lnTo>
                <a:lnTo>
                  <a:pt x="1029" y="1306"/>
                </a:lnTo>
                <a:lnTo>
                  <a:pt x="1030" y="1304"/>
                </a:lnTo>
                <a:lnTo>
                  <a:pt x="1031" y="1302"/>
                </a:lnTo>
                <a:lnTo>
                  <a:pt x="1032" y="1300"/>
                </a:lnTo>
                <a:lnTo>
                  <a:pt x="1034" y="1298"/>
                </a:lnTo>
                <a:lnTo>
                  <a:pt x="1036" y="1297"/>
                </a:lnTo>
                <a:lnTo>
                  <a:pt x="1040" y="1295"/>
                </a:lnTo>
                <a:close/>
                <a:moveTo>
                  <a:pt x="1084" y="1246"/>
                </a:moveTo>
                <a:lnTo>
                  <a:pt x="1087" y="1246"/>
                </a:lnTo>
                <a:lnTo>
                  <a:pt x="1090" y="1246"/>
                </a:lnTo>
                <a:lnTo>
                  <a:pt x="1092" y="1247"/>
                </a:lnTo>
                <a:lnTo>
                  <a:pt x="1095" y="1249"/>
                </a:lnTo>
                <a:lnTo>
                  <a:pt x="1096" y="1251"/>
                </a:lnTo>
                <a:lnTo>
                  <a:pt x="1098" y="1253"/>
                </a:lnTo>
                <a:lnTo>
                  <a:pt x="1099" y="1256"/>
                </a:lnTo>
                <a:lnTo>
                  <a:pt x="1099" y="1258"/>
                </a:lnTo>
                <a:lnTo>
                  <a:pt x="1098" y="1263"/>
                </a:lnTo>
                <a:lnTo>
                  <a:pt x="1097" y="1265"/>
                </a:lnTo>
                <a:lnTo>
                  <a:pt x="1096" y="1267"/>
                </a:lnTo>
                <a:lnTo>
                  <a:pt x="1092" y="1270"/>
                </a:lnTo>
                <a:lnTo>
                  <a:pt x="1090" y="1271"/>
                </a:lnTo>
                <a:lnTo>
                  <a:pt x="1088" y="1271"/>
                </a:lnTo>
                <a:lnTo>
                  <a:pt x="1085" y="1272"/>
                </a:lnTo>
                <a:lnTo>
                  <a:pt x="1082" y="1271"/>
                </a:lnTo>
                <a:lnTo>
                  <a:pt x="1080" y="1270"/>
                </a:lnTo>
                <a:lnTo>
                  <a:pt x="1077" y="1268"/>
                </a:lnTo>
                <a:lnTo>
                  <a:pt x="1076" y="1266"/>
                </a:lnTo>
                <a:lnTo>
                  <a:pt x="1074" y="1264"/>
                </a:lnTo>
                <a:lnTo>
                  <a:pt x="1073" y="1262"/>
                </a:lnTo>
                <a:lnTo>
                  <a:pt x="1073" y="1259"/>
                </a:lnTo>
                <a:lnTo>
                  <a:pt x="1074" y="1254"/>
                </a:lnTo>
                <a:lnTo>
                  <a:pt x="1075" y="1252"/>
                </a:lnTo>
                <a:lnTo>
                  <a:pt x="1077" y="1250"/>
                </a:lnTo>
                <a:lnTo>
                  <a:pt x="1080" y="1247"/>
                </a:lnTo>
                <a:lnTo>
                  <a:pt x="1082" y="1246"/>
                </a:lnTo>
                <a:lnTo>
                  <a:pt x="1084" y="1246"/>
                </a:lnTo>
                <a:close/>
                <a:moveTo>
                  <a:pt x="2904" y="887"/>
                </a:moveTo>
                <a:lnTo>
                  <a:pt x="2909" y="887"/>
                </a:lnTo>
                <a:lnTo>
                  <a:pt x="2911" y="888"/>
                </a:lnTo>
                <a:lnTo>
                  <a:pt x="2913" y="889"/>
                </a:lnTo>
                <a:lnTo>
                  <a:pt x="2917" y="893"/>
                </a:lnTo>
                <a:lnTo>
                  <a:pt x="2918" y="895"/>
                </a:lnTo>
                <a:lnTo>
                  <a:pt x="2918" y="897"/>
                </a:lnTo>
                <a:lnTo>
                  <a:pt x="2918" y="903"/>
                </a:lnTo>
                <a:lnTo>
                  <a:pt x="2917" y="906"/>
                </a:lnTo>
                <a:lnTo>
                  <a:pt x="2915" y="909"/>
                </a:lnTo>
                <a:lnTo>
                  <a:pt x="2912" y="911"/>
                </a:lnTo>
                <a:lnTo>
                  <a:pt x="2908" y="912"/>
                </a:lnTo>
                <a:lnTo>
                  <a:pt x="2903" y="912"/>
                </a:lnTo>
                <a:lnTo>
                  <a:pt x="2900" y="912"/>
                </a:lnTo>
                <a:lnTo>
                  <a:pt x="2898" y="910"/>
                </a:lnTo>
                <a:lnTo>
                  <a:pt x="2895" y="907"/>
                </a:lnTo>
                <a:lnTo>
                  <a:pt x="2894" y="905"/>
                </a:lnTo>
                <a:lnTo>
                  <a:pt x="2893" y="902"/>
                </a:lnTo>
                <a:lnTo>
                  <a:pt x="2893" y="897"/>
                </a:lnTo>
                <a:lnTo>
                  <a:pt x="2895" y="893"/>
                </a:lnTo>
                <a:lnTo>
                  <a:pt x="2897" y="890"/>
                </a:lnTo>
                <a:lnTo>
                  <a:pt x="2900" y="888"/>
                </a:lnTo>
                <a:lnTo>
                  <a:pt x="2904" y="887"/>
                </a:lnTo>
                <a:close/>
                <a:moveTo>
                  <a:pt x="1129" y="1198"/>
                </a:moveTo>
                <a:lnTo>
                  <a:pt x="1132" y="1198"/>
                </a:lnTo>
                <a:lnTo>
                  <a:pt x="1135" y="1198"/>
                </a:lnTo>
                <a:lnTo>
                  <a:pt x="1138" y="1200"/>
                </a:lnTo>
                <a:lnTo>
                  <a:pt x="1141" y="1202"/>
                </a:lnTo>
                <a:lnTo>
                  <a:pt x="1142" y="1204"/>
                </a:lnTo>
                <a:lnTo>
                  <a:pt x="1144" y="1206"/>
                </a:lnTo>
                <a:lnTo>
                  <a:pt x="1144" y="1208"/>
                </a:lnTo>
                <a:lnTo>
                  <a:pt x="1145" y="1211"/>
                </a:lnTo>
                <a:lnTo>
                  <a:pt x="1144" y="1213"/>
                </a:lnTo>
                <a:lnTo>
                  <a:pt x="1144" y="1215"/>
                </a:lnTo>
                <a:lnTo>
                  <a:pt x="1142" y="1218"/>
                </a:lnTo>
                <a:lnTo>
                  <a:pt x="1141" y="1220"/>
                </a:lnTo>
                <a:lnTo>
                  <a:pt x="1138" y="1222"/>
                </a:lnTo>
                <a:lnTo>
                  <a:pt x="1134" y="1223"/>
                </a:lnTo>
                <a:lnTo>
                  <a:pt x="1131" y="1224"/>
                </a:lnTo>
                <a:lnTo>
                  <a:pt x="1128" y="1223"/>
                </a:lnTo>
                <a:lnTo>
                  <a:pt x="1125" y="1222"/>
                </a:lnTo>
                <a:lnTo>
                  <a:pt x="1123" y="1220"/>
                </a:lnTo>
                <a:lnTo>
                  <a:pt x="1121" y="1218"/>
                </a:lnTo>
                <a:lnTo>
                  <a:pt x="1120" y="1216"/>
                </a:lnTo>
                <a:lnTo>
                  <a:pt x="1119" y="1213"/>
                </a:lnTo>
                <a:lnTo>
                  <a:pt x="1119" y="1211"/>
                </a:lnTo>
                <a:lnTo>
                  <a:pt x="1119" y="1208"/>
                </a:lnTo>
                <a:lnTo>
                  <a:pt x="1120" y="1206"/>
                </a:lnTo>
                <a:lnTo>
                  <a:pt x="1121" y="1204"/>
                </a:lnTo>
                <a:lnTo>
                  <a:pt x="1122" y="1202"/>
                </a:lnTo>
                <a:lnTo>
                  <a:pt x="1126" y="1199"/>
                </a:lnTo>
                <a:lnTo>
                  <a:pt x="1129" y="1198"/>
                </a:lnTo>
                <a:close/>
                <a:moveTo>
                  <a:pt x="2839" y="873"/>
                </a:moveTo>
                <a:lnTo>
                  <a:pt x="2844" y="873"/>
                </a:lnTo>
                <a:lnTo>
                  <a:pt x="2846" y="874"/>
                </a:lnTo>
                <a:lnTo>
                  <a:pt x="2849" y="875"/>
                </a:lnTo>
                <a:lnTo>
                  <a:pt x="2852" y="879"/>
                </a:lnTo>
                <a:lnTo>
                  <a:pt x="2853" y="881"/>
                </a:lnTo>
                <a:lnTo>
                  <a:pt x="2854" y="883"/>
                </a:lnTo>
                <a:lnTo>
                  <a:pt x="2854" y="888"/>
                </a:lnTo>
                <a:lnTo>
                  <a:pt x="2852" y="892"/>
                </a:lnTo>
                <a:lnTo>
                  <a:pt x="2850" y="895"/>
                </a:lnTo>
                <a:lnTo>
                  <a:pt x="2847" y="897"/>
                </a:lnTo>
                <a:lnTo>
                  <a:pt x="2843" y="898"/>
                </a:lnTo>
                <a:lnTo>
                  <a:pt x="2838" y="898"/>
                </a:lnTo>
                <a:lnTo>
                  <a:pt x="2836" y="897"/>
                </a:lnTo>
                <a:lnTo>
                  <a:pt x="2834" y="896"/>
                </a:lnTo>
                <a:lnTo>
                  <a:pt x="2830" y="893"/>
                </a:lnTo>
                <a:lnTo>
                  <a:pt x="2829" y="890"/>
                </a:lnTo>
                <a:lnTo>
                  <a:pt x="2828" y="888"/>
                </a:lnTo>
                <a:lnTo>
                  <a:pt x="2828" y="883"/>
                </a:lnTo>
                <a:lnTo>
                  <a:pt x="2830" y="879"/>
                </a:lnTo>
                <a:lnTo>
                  <a:pt x="2832" y="876"/>
                </a:lnTo>
                <a:lnTo>
                  <a:pt x="2835" y="874"/>
                </a:lnTo>
                <a:lnTo>
                  <a:pt x="2839" y="873"/>
                </a:lnTo>
                <a:close/>
                <a:moveTo>
                  <a:pt x="1176" y="1152"/>
                </a:moveTo>
                <a:lnTo>
                  <a:pt x="1180" y="1151"/>
                </a:lnTo>
                <a:lnTo>
                  <a:pt x="1183" y="1152"/>
                </a:lnTo>
                <a:lnTo>
                  <a:pt x="1185" y="1153"/>
                </a:lnTo>
                <a:lnTo>
                  <a:pt x="1188" y="1155"/>
                </a:lnTo>
                <a:lnTo>
                  <a:pt x="1190" y="1157"/>
                </a:lnTo>
                <a:lnTo>
                  <a:pt x="1191" y="1160"/>
                </a:lnTo>
                <a:lnTo>
                  <a:pt x="1191" y="1162"/>
                </a:lnTo>
                <a:lnTo>
                  <a:pt x="1192" y="1165"/>
                </a:lnTo>
                <a:lnTo>
                  <a:pt x="1191" y="1167"/>
                </a:lnTo>
                <a:lnTo>
                  <a:pt x="1191" y="1169"/>
                </a:lnTo>
                <a:lnTo>
                  <a:pt x="1189" y="1172"/>
                </a:lnTo>
                <a:lnTo>
                  <a:pt x="1188" y="1174"/>
                </a:lnTo>
                <a:lnTo>
                  <a:pt x="1186" y="1175"/>
                </a:lnTo>
                <a:lnTo>
                  <a:pt x="1184" y="1176"/>
                </a:lnTo>
                <a:lnTo>
                  <a:pt x="1181" y="1177"/>
                </a:lnTo>
                <a:lnTo>
                  <a:pt x="1178" y="1177"/>
                </a:lnTo>
                <a:lnTo>
                  <a:pt x="1175" y="1177"/>
                </a:lnTo>
                <a:lnTo>
                  <a:pt x="1172" y="1175"/>
                </a:lnTo>
                <a:lnTo>
                  <a:pt x="1169" y="1173"/>
                </a:lnTo>
                <a:lnTo>
                  <a:pt x="1168" y="1171"/>
                </a:lnTo>
                <a:lnTo>
                  <a:pt x="1167" y="1169"/>
                </a:lnTo>
                <a:lnTo>
                  <a:pt x="1166" y="1166"/>
                </a:lnTo>
                <a:lnTo>
                  <a:pt x="1166" y="1164"/>
                </a:lnTo>
                <a:lnTo>
                  <a:pt x="1166" y="1162"/>
                </a:lnTo>
                <a:lnTo>
                  <a:pt x="1167" y="1159"/>
                </a:lnTo>
                <a:lnTo>
                  <a:pt x="1168" y="1157"/>
                </a:lnTo>
                <a:lnTo>
                  <a:pt x="1170" y="1155"/>
                </a:lnTo>
                <a:lnTo>
                  <a:pt x="1171" y="1154"/>
                </a:lnTo>
                <a:lnTo>
                  <a:pt x="1173" y="1153"/>
                </a:lnTo>
                <a:lnTo>
                  <a:pt x="1176" y="1152"/>
                </a:lnTo>
                <a:close/>
                <a:moveTo>
                  <a:pt x="2774" y="859"/>
                </a:moveTo>
                <a:lnTo>
                  <a:pt x="2779" y="859"/>
                </a:lnTo>
                <a:lnTo>
                  <a:pt x="2782" y="860"/>
                </a:lnTo>
                <a:lnTo>
                  <a:pt x="2784" y="861"/>
                </a:lnTo>
                <a:lnTo>
                  <a:pt x="2786" y="863"/>
                </a:lnTo>
                <a:lnTo>
                  <a:pt x="2787" y="865"/>
                </a:lnTo>
                <a:lnTo>
                  <a:pt x="2788" y="867"/>
                </a:lnTo>
                <a:lnTo>
                  <a:pt x="2789" y="869"/>
                </a:lnTo>
                <a:lnTo>
                  <a:pt x="2789" y="874"/>
                </a:lnTo>
                <a:lnTo>
                  <a:pt x="2788" y="878"/>
                </a:lnTo>
                <a:lnTo>
                  <a:pt x="2785" y="881"/>
                </a:lnTo>
                <a:lnTo>
                  <a:pt x="2782" y="883"/>
                </a:lnTo>
                <a:lnTo>
                  <a:pt x="2779" y="884"/>
                </a:lnTo>
                <a:lnTo>
                  <a:pt x="2774" y="884"/>
                </a:lnTo>
                <a:lnTo>
                  <a:pt x="2771" y="884"/>
                </a:lnTo>
                <a:lnTo>
                  <a:pt x="2769" y="882"/>
                </a:lnTo>
                <a:lnTo>
                  <a:pt x="2767" y="881"/>
                </a:lnTo>
                <a:lnTo>
                  <a:pt x="2766" y="879"/>
                </a:lnTo>
                <a:lnTo>
                  <a:pt x="2764" y="877"/>
                </a:lnTo>
                <a:lnTo>
                  <a:pt x="2764" y="874"/>
                </a:lnTo>
                <a:lnTo>
                  <a:pt x="2764" y="869"/>
                </a:lnTo>
                <a:lnTo>
                  <a:pt x="2765" y="865"/>
                </a:lnTo>
                <a:lnTo>
                  <a:pt x="2768" y="862"/>
                </a:lnTo>
                <a:lnTo>
                  <a:pt x="2771" y="860"/>
                </a:lnTo>
                <a:lnTo>
                  <a:pt x="2774" y="859"/>
                </a:lnTo>
                <a:close/>
                <a:moveTo>
                  <a:pt x="2709" y="845"/>
                </a:moveTo>
                <a:lnTo>
                  <a:pt x="2714" y="845"/>
                </a:lnTo>
                <a:lnTo>
                  <a:pt x="2717" y="846"/>
                </a:lnTo>
                <a:lnTo>
                  <a:pt x="2719" y="847"/>
                </a:lnTo>
                <a:lnTo>
                  <a:pt x="2721" y="849"/>
                </a:lnTo>
                <a:lnTo>
                  <a:pt x="2722" y="851"/>
                </a:lnTo>
                <a:lnTo>
                  <a:pt x="2724" y="853"/>
                </a:lnTo>
                <a:lnTo>
                  <a:pt x="2724" y="856"/>
                </a:lnTo>
                <a:lnTo>
                  <a:pt x="2724" y="861"/>
                </a:lnTo>
                <a:lnTo>
                  <a:pt x="2723" y="864"/>
                </a:lnTo>
                <a:lnTo>
                  <a:pt x="2721" y="867"/>
                </a:lnTo>
                <a:lnTo>
                  <a:pt x="2718" y="870"/>
                </a:lnTo>
                <a:lnTo>
                  <a:pt x="2714" y="871"/>
                </a:lnTo>
                <a:lnTo>
                  <a:pt x="2709" y="871"/>
                </a:lnTo>
                <a:lnTo>
                  <a:pt x="2707" y="870"/>
                </a:lnTo>
                <a:lnTo>
                  <a:pt x="2704" y="869"/>
                </a:lnTo>
                <a:lnTo>
                  <a:pt x="2702" y="867"/>
                </a:lnTo>
                <a:lnTo>
                  <a:pt x="2701" y="865"/>
                </a:lnTo>
                <a:lnTo>
                  <a:pt x="2700" y="863"/>
                </a:lnTo>
                <a:lnTo>
                  <a:pt x="2699" y="861"/>
                </a:lnTo>
                <a:lnTo>
                  <a:pt x="2699" y="855"/>
                </a:lnTo>
                <a:lnTo>
                  <a:pt x="2700" y="852"/>
                </a:lnTo>
                <a:lnTo>
                  <a:pt x="2703" y="849"/>
                </a:lnTo>
                <a:lnTo>
                  <a:pt x="2706" y="847"/>
                </a:lnTo>
                <a:lnTo>
                  <a:pt x="2709" y="845"/>
                </a:lnTo>
                <a:close/>
                <a:moveTo>
                  <a:pt x="1225" y="1106"/>
                </a:moveTo>
                <a:lnTo>
                  <a:pt x="1228" y="1106"/>
                </a:lnTo>
                <a:lnTo>
                  <a:pt x="1231" y="1106"/>
                </a:lnTo>
                <a:lnTo>
                  <a:pt x="1234" y="1108"/>
                </a:lnTo>
                <a:lnTo>
                  <a:pt x="1236" y="1109"/>
                </a:lnTo>
                <a:lnTo>
                  <a:pt x="1237" y="1110"/>
                </a:lnTo>
                <a:lnTo>
                  <a:pt x="1238" y="1112"/>
                </a:lnTo>
                <a:lnTo>
                  <a:pt x="1240" y="1114"/>
                </a:lnTo>
                <a:lnTo>
                  <a:pt x="1240" y="1117"/>
                </a:lnTo>
                <a:lnTo>
                  <a:pt x="1240" y="1119"/>
                </a:lnTo>
                <a:lnTo>
                  <a:pt x="1240" y="1122"/>
                </a:lnTo>
                <a:lnTo>
                  <a:pt x="1239" y="1124"/>
                </a:lnTo>
                <a:lnTo>
                  <a:pt x="1238" y="1126"/>
                </a:lnTo>
                <a:lnTo>
                  <a:pt x="1236" y="1128"/>
                </a:lnTo>
                <a:lnTo>
                  <a:pt x="1233" y="1130"/>
                </a:lnTo>
                <a:lnTo>
                  <a:pt x="1230" y="1131"/>
                </a:lnTo>
                <a:lnTo>
                  <a:pt x="1226" y="1131"/>
                </a:lnTo>
                <a:lnTo>
                  <a:pt x="1223" y="1131"/>
                </a:lnTo>
                <a:lnTo>
                  <a:pt x="1220" y="1129"/>
                </a:lnTo>
                <a:lnTo>
                  <a:pt x="1219" y="1128"/>
                </a:lnTo>
                <a:lnTo>
                  <a:pt x="1218" y="1127"/>
                </a:lnTo>
                <a:lnTo>
                  <a:pt x="1216" y="1125"/>
                </a:lnTo>
                <a:lnTo>
                  <a:pt x="1215" y="1123"/>
                </a:lnTo>
                <a:lnTo>
                  <a:pt x="1215" y="1120"/>
                </a:lnTo>
                <a:lnTo>
                  <a:pt x="1214" y="1118"/>
                </a:lnTo>
                <a:lnTo>
                  <a:pt x="1215" y="1115"/>
                </a:lnTo>
                <a:lnTo>
                  <a:pt x="1216" y="1113"/>
                </a:lnTo>
                <a:lnTo>
                  <a:pt x="1217" y="1111"/>
                </a:lnTo>
                <a:lnTo>
                  <a:pt x="1219" y="1109"/>
                </a:lnTo>
                <a:lnTo>
                  <a:pt x="1222" y="1107"/>
                </a:lnTo>
                <a:lnTo>
                  <a:pt x="1225" y="1106"/>
                </a:lnTo>
                <a:close/>
                <a:moveTo>
                  <a:pt x="2645" y="832"/>
                </a:moveTo>
                <a:lnTo>
                  <a:pt x="2649" y="832"/>
                </a:lnTo>
                <a:lnTo>
                  <a:pt x="2652" y="833"/>
                </a:lnTo>
                <a:lnTo>
                  <a:pt x="2654" y="834"/>
                </a:lnTo>
                <a:lnTo>
                  <a:pt x="2656" y="836"/>
                </a:lnTo>
                <a:lnTo>
                  <a:pt x="2658" y="838"/>
                </a:lnTo>
                <a:lnTo>
                  <a:pt x="2659" y="840"/>
                </a:lnTo>
                <a:lnTo>
                  <a:pt x="2660" y="842"/>
                </a:lnTo>
                <a:lnTo>
                  <a:pt x="2660" y="847"/>
                </a:lnTo>
                <a:lnTo>
                  <a:pt x="2658" y="851"/>
                </a:lnTo>
                <a:lnTo>
                  <a:pt x="2656" y="854"/>
                </a:lnTo>
                <a:lnTo>
                  <a:pt x="2653" y="856"/>
                </a:lnTo>
                <a:lnTo>
                  <a:pt x="2649" y="857"/>
                </a:lnTo>
                <a:lnTo>
                  <a:pt x="2644" y="857"/>
                </a:lnTo>
                <a:lnTo>
                  <a:pt x="2642" y="857"/>
                </a:lnTo>
                <a:lnTo>
                  <a:pt x="2640" y="855"/>
                </a:lnTo>
                <a:lnTo>
                  <a:pt x="2638" y="854"/>
                </a:lnTo>
                <a:lnTo>
                  <a:pt x="2636" y="852"/>
                </a:lnTo>
                <a:lnTo>
                  <a:pt x="2635" y="850"/>
                </a:lnTo>
                <a:lnTo>
                  <a:pt x="2634" y="847"/>
                </a:lnTo>
                <a:lnTo>
                  <a:pt x="2634" y="842"/>
                </a:lnTo>
                <a:lnTo>
                  <a:pt x="2636" y="838"/>
                </a:lnTo>
                <a:lnTo>
                  <a:pt x="2638" y="835"/>
                </a:lnTo>
                <a:lnTo>
                  <a:pt x="2641" y="833"/>
                </a:lnTo>
                <a:lnTo>
                  <a:pt x="2645" y="832"/>
                </a:lnTo>
                <a:close/>
                <a:moveTo>
                  <a:pt x="1275" y="1063"/>
                </a:moveTo>
                <a:lnTo>
                  <a:pt x="1279" y="1062"/>
                </a:lnTo>
                <a:lnTo>
                  <a:pt x="1282" y="1063"/>
                </a:lnTo>
                <a:lnTo>
                  <a:pt x="1285" y="1065"/>
                </a:lnTo>
                <a:lnTo>
                  <a:pt x="1287" y="1067"/>
                </a:lnTo>
                <a:lnTo>
                  <a:pt x="1289" y="1069"/>
                </a:lnTo>
                <a:lnTo>
                  <a:pt x="1290" y="1072"/>
                </a:lnTo>
                <a:lnTo>
                  <a:pt x="1290" y="1074"/>
                </a:lnTo>
                <a:lnTo>
                  <a:pt x="1290" y="1077"/>
                </a:lnTo>
                <a:lnTo>
                  <a:pt x="1290" y="1079"/>
                </a:lnTo>
                <a:lnTo>
                  <a:pt x="1289" y="1081"/>
                </a:lnTo>
                <a:lnTo>
                  <a:pt x="1288" y="1083"/>
                </a:lnTo>
                <a:lnTo>
                  <a:pt x="1286" y="1085"/>
                </a:lnTo>
                <a:lnTo>
                  <a:pt x="1283" y="1087"/>
                </a:lnTo>
                <a:lnTo>
                  <a:pt x="1280" y="1088"/>
                </a:lnTo>
                <a:lnTo>
                  <a:pt x="1276" y="1088"/>
                </a:lnTo>
                <a:lnTo>
                  <a:pt x="1273" y="1088"/>
                </a:lnTo>
                <a:lnTo>
                  <a:pt x="1270" y="1086"/>
                </a:lnTo>
                <a:lnTo>
                  <a:pt x="1268" y="1084"/>
                </a:lnTo>
                <a:lnTo>
                  <a:pt x="1266" y="1081"/>
                </a:lnTo>
                <a:lnTo>
                  <a:pt x="1265" y="1079"/>
                </a:lnTo>
                <a:lnTo>
                  <a:pt x="1265" y="1077"/>
                </a:lnTo>
                <a:lnTo>
                  <a:pt x="1265" y="1074"/>
                </a:lnTo>
                <a:lnTo>
                  <a:pt x="1265" y="1072"/>
                </a:lnTo>
                <a:lnTo>
                  <a:pt x="1266" y="1069"/>
                </a:lnTo>
                <a:lnTo>
                  <a:pt x="1267" y="1067"/>
                </a:lnTo>
                <a:lnTo>
                  <a:pt x="1269" y="1065"/>
                </a:lnTo>
                <a:lnTo>
                  <a:pt x="1272" y="1064"/>
                </a:lnTo>
                <a:lnTo>
                  <a:pt x="1275" y="1063"/>
                </a:lnTo>
                <a:close/>
                <a:moveTo>
                  <a:pt x="2580" y="819"/>
                </a:moveTo>
                <a:lnTo>
                  <a:pt x="2585" y="819"/>
                </a:lnTo>
                <a:lnTo>
                  <a:pt x="2587" y="820"/>
                </a:lnTo>
                <a:lnTo>
                  <a:pt x="2589" y="821"/>
                </a:lnTo>
                <a:lnTo>
                  <a:pt x="2591" y="823"/>
                </a:lnTo>
                <a:lnTo>
                  <a:pt x="2593" y="824"/>
                </a:lnTo>
                <a:lnTo>
                  <a:pt x="2594" y="827"/>
                </a:lnTo>
                <a:lnTo>
                  <a:pt x="2595" y="829"/>
                </a:lnTo>
                <a:lnTo>
                  <a:pt x="2595" y="834"/>
                </a:lnTo>
                <a:lnTo>
                  <a:pt x="2593" y="838"/>
                </a:lnTo>
                <a:lnTo>
                  <a:pt x="2591" y="841"/>
                </a:lnTo>
                <a:lnTo>
                  <a:pt x="2588" y="843"/>
                </a:lnTo>
                <a:lnTo>
                  <a:pt x="2584" y="844"/>
                </a:lnTo>
                <a:lnTo>
                  <a:pt x="2579" y="844"/>
                </a:lnTo>
                <a:lnTo>
                  <a:pt x="2577" y="844"/>
                </a:lnTo>
                <a:lnTo>
                  <a:pt x="2575" y="842"/>
                </a:lnTo>
                <a:lnTo>
                  <a:pt x="2573" y="841"/>
                </a:lnTo>
                <a:lnTo>
                  <a:pt x="2571" y="839"/>
                </a:lnTo>
                <a:lnTo>
                  <a:pt x="2570" y="837"/>
                </a:lnTo>
                <a:lnTo>
                  <a:pt x="2569" y="834"/>
                </a:lnTo>
                <a:lnTo>
                  <a:pt x="2569" y="829"/>
                </a:lnTo>
                <a:lnTo>
                  <a:pt x="2571" y="825"/>
                </a:lnTo>
                <a:lnTo>
                  <a:pt x="2573" y="822"/>
                </a:lnTo>
                <a:lnTo>
                  <a:pt x="2576" y="820"/>
                </a:lnTo>
                <a:lnTo>
                  <a:pt x="2580" y="819"/>
                </a:lnTo>
                <a:close/>
                <a:moveTo>
                  <a:pt x="1327" y="1021"/>
                </a:moveTo>
                <a:lnTo>
                  <a:pt x="1330" y="1021"/>
                </a:lnTo>
                <a:lnTo>
                  <a:pt x="1334" y="1022"/>
                </a:lnTo>
                <a:lnTo>
                  <a:pt x="1337" y="1024"/>
                </a:lnTo>
                <a:lnTo>
                  <a:pt x="1340" y="1026"/>
                </a:lnTo>
                <a:lnTo>
                  <a:pt x="1342" y="1031"/>
                </a:lnTo>
                <a:lnTo>
                  <a:pt x="1342" y="1033"/>
                </a:lnTo>
                <a:lnTo>
                  <a:pt x="1342" y="1036"/>
                </a:lnTo>
                <a:lnTo>
                  <a:pt x="1341" y="1038"/>
                </a:lnTo>
                <a:lnTo>
                  <a:pt x="1340" y="1041"/>
                </a:lnTo>
                <a:lnTo>
                  <a:pt x="1339" y="1043"/>
                </a:lnTo>
                <a:lnTo>
                  <a:pt x="1337" y="1044"/>
                </a:lnTo>
                <a:lnTo>
                  <a:pt x="1336" y="1045"/>
                </a:lnTo>
                <a:lnTo>
                  <a:pt x="1334" y="1046"/>
                </a:lnTo>
                <a:lnTo>
                  <a:pt x="1332" y="1047"/>
                </a:lnTo>
                <a:lnTo>
                  <a:pt x="1328" y="1047"/>
                </a:lnTo>
                <a:lnTo>
                  <a:pt x="1325" y="1046"/>
                </a:lnTo>
                <a:lnTo>
                  <a:pt x="1322" y="1045"/>
                </a:lnTo>
                <a:lnTo>
                  <a:pt x="1319" y="1042"/>
                </a:lnTo>
                <a:lnTo>
                  <a:pt x="1317" y="1037"/>
                </a:lnTo>
                <a:lnTo>
                  <a:pt x="1316" y="1035"/>
                </a:lnTo>
                <a:lnTo>
                  <a:pt x="1316" y="1032"/>
                </a:lnTo>
                <a:lnTo>
                  <a:pt x="1317" y="1030"/>
                </a:lnTo>
                <a:lnTo>
                  <a:pt x="1318" y="1028"/>
                </a:lnTo>
                <a:lnTo>
                  <a:pt x="1319" y="1026"/>
                </a:lnTo>
                <a:lnTo>
                  <a:pt x="1321" y="1024"/>
                </a:lnTo>
                <a:lnTo>
                  <a:pt x="1323" y="1023"/>
                </a:lnTo>
                <a:lnTo>
                  <a:pt x="1324" y="1022"/>
                </a:lnTo>
                <a:lnTo>
                  <a:pt x="1327" y="1021"/>
                </a:lnTo>
                <a:close/>
                <a:moveTo>
                  <a:pt x="2515" y="806"/>
                </a:moveTo>
                <a:lnTo>
                  <a:pt x="2520" y="806"/>
                </a:lnTo>
                <a:lnTo>
                  <a:pt x="2522" y="807"/>
                </a:lnTo>
                <a:lnTo>
                  <a:pt x="2524" y="808"/>
                </a:lnTo>
                <a:lnTo>
                  <a:pt x="2526" y="810"/>
                </a:lnTo>
                <a:lnTo>
                  <a:pt x="2528" y="812"/>
                </a:lnTo>
                <a:lnTo>
                  <a:pt x="2529" y="814"/>
                </a:lnTo>
                <a:lnTo>
                  <a:pt x="2530" y="816"/>
                </a:lnTo>
                <a:lnTo>
                  <a:pt x="2530" y="821"/>
                </a:lnTo>
                <a:lnTo>
                  <a:pt x="2528" y="825"/>
                </a:lnTo>
                <a:lnTo>
                  <a:pt x="2526" y="828"/>
                </a:lnTo>
                <a:lnTo>
                  <a:pt x="2523" y="830"/>
                </a:lnTo>
                <a:lnTo>
                  <a:pt x="2519" y="831"/>
                </a:lnTo>
                <a:lnTo>
                  <a:pt x="2515" y="831"/>
                </a:lnTo>
                <a:lnTo>
                  <a:pt x="2512" y="831"/>
                </a:lnTo>
                <a:lnTo>
                  <a:pt x="2510" y="829"/>
                </a:lnTo>
                <a:lnTo>
                  <a:pt x="2508" y="828"/>
                </a:lnTo>
                <a:lnTo>
                  <a:pt x="2506" y="826"/>
                </a:lnTo>
                <a:lnTo>
                  <a:pt x="2505" y="824"/>
                </a:lnTo>
                <a:lnTo>
                  <a:pt x="2504" y="821"/>
                </a:lnTo>
                <a:lnTo>
                  <a:pt x="2504" y="816"/>
                </a:lnTo>
                <a:lnTo>
                  <a:pt x="2506" y="813"/>
                </a:lnTo>
                <a:lnTo>
                  <a:pt x="2508" y="809"/>
                </a:lnTo>
                <a:lnTo>
                  <a:pt x="2511" y="807"/>
                </a:lnTo>
                <a:lnTo>
                  <a:pt x="2515" y="806"/>
                </a:lnTo>
                <a:close/>
                <a:moveTo>
                  <a:pt x="1380" y="982"/>
                </a:moveTo>
                <a:lnTo>
                  <a:pt x="1384" y="982"/>
                </a:lnTo>
                <a:lnTo>
                  <a:pt x="1387" y="983"/>
                </a:lnTo>
                <a:lnTo>
                  <a:pt x="1391" y="985"/>
                </a:lnTo>
                <a:lnTo>
                  <a:pt x="1393" y="988"/>
                </a:lnTo>
                <a:lnTo>
                  <a:pt x="1394" y="990"/>
                </a:lnTo>
                <a:lnTo>
                  <a:pt x="1395" y="992"/>
                </a:lnTo>
                <a:lnTo>
                  <a:pt x="1395" y="995"/>
                </a:lnTo>
                <a:lnTo>
                  <a:pt x="1395" y="997"/>
                </a:lnTo>
                <a:lnTo>
                  <a:pt x="1395" y="1000"/>
                </a:lnTo>
                <a:lnTo>
                  <a:pt x="1394" y="1002"/>
                </a:lnTo>
                <a:lnTo>
                  <a:pt x="1392" y="1004"/>
                </a:lnTo>
                <a:lnTo>
                  <a:pt x="1390" y="1006"/>
                </a:lnTo>
                <a:lnTo>
                  <a:pt x="1387" y="1007"/>
                </a:lnTo>
                <a:lnTo>
                  <a:pt x="1385" y="1008"/>
                </a:lnTo>
                <a:lnTo>
                  <a:pt x="1381" y="1008"/>
                </a:lnTo>
                <a:lnTo>
                  <a:pt x="1378" y="1007"/>
                </a:lnTo>
                <a:lnTo>
                  <a:pt x="1375" y="1005"/>
                </a:lnTo>
                <a:lnTo>
                  <a:pt x="1372" y="1002"/>
                </a:lnTo>
                <a:lnTo>
                  <a:pt x="1371" y="1000"/>
                </a:lnTo>
                <a:lnTo>
                  <a:pt x="1370" y="998"/>
                </a:lnTo>
                <a:lnTo>
                  <a:pt x="1370" y="995"/>
                </a:lnTo>
                <a:lnTo>
                  <a:pt x="1370" y="993"/>
                </a:lnTo>
                <a:lnTo>
                  <a:pt x="1371" y="990"/>
                </a:lnTo>
                <a:lnTo>
                  <a:pt x="1372" y="988"/>
                </a:lnTo>
                <a:lnTo>
                  <a:pt x="1373" y="986"/>
                </a:lnTo>
                <a:lnTo>
                  <a:pt x="1375" y="984"/>
                </a:lnTo>
                <a:lnTo>
                  <a:pt x="1378" y="983"/>
                </a:lnTo>
                <a:lnTo>
                  <a:pt x="1380" y="982"/>
                </a:lnTo>
                <a:close/>
                <a:moveTo>
                  <a:pt x="2450" y="793"/>
                </a:moveTo>
                <a:lnTo>
                  <a:pt x="2455" y="793"/>
                </a:lnTo>
                <a:lnTo>
                  <a:pt x="2457" y="794"/>
                </a:lnTo>
                <a:lnTo>
                  <a:pt x="2459" y="795"/>
                </a:lnTo>
                <a:lnTo>
                  <a:pt x="2461" y="797"/>
                </a:lnTo>
                <a:lnTo>
                  <a:pt x="2463" y="799"/>
                </a:lnTo>
                <a:lnTo>
                  <a:pt x="2464" y="801"/>
                </a:lnTo>
                <a:lnTo>
                  <a:pt x="2465" y="803"/>
                </a:lnTo>
                <a:lnTo>
                  <a:pt x="2465" y="806"/>
                </a:lnTo>
                <a:lnTo>
                  <a:pt x="2465" y="809"/>
                </a:lnTo>
                <a:lnTo>
                  <a:pt x="2464" y="812"/>
                </a:lnTo>
                <a:lnTo>
                  <a:pt x="2461" y="815"/>
                </a:lnTo>
                <a:lnTo>
                  <a:pt x="2458" y="818"/>
                </a:lnTo>
                <a:lnTo>
                  <a:pt x="2454" y="819"/>
                </a:lnTo>
                <a:lnTo>
                  <a:pt x="2450" y="819"/>
                </a:lnTo>
                <a:lnTo>
                  <a:pt x="2447" y="818"/>
                </a:lnTo>
                <a:lnTo>
                  <a:pt x="2445" y="817"/>
                </a:lnTo>
                <a:lnTo>
                  <a:pt x="2443" y="815"/>
                </a:lnTo>
                <a:lnTo>
                  <a:pt x="2441" y="813"/>
                </a:lnTo>
                <a:lnTo>
                  <a:pt x="2440" y="811"/>
                </a:lnTo>
                <a:lnTo>
                  <a:pt x="2440" y="809"/>
                </a:lnTo>
                <a:lnTo>
                  <a:pt x="2439" y="806"/>
                </a:lnTo>
                <a:lnTo>
                  <a:pt x="2439" y="804"/>
                </a:lnTo>
                <a:lnTo>
                  <a:pt x="2441" y="800"/>
                </a:lnTo>
                <a:lnTo>
                  <a:pt x="2443" y="797"/>
                </a:lnTo>
                <a:lnTo>
                  <a:pt x="2446" y="795"/>
                </a:lnTo>
                <a:lnTo>
                  <a:pt x="2450" y="793"/>
                </a:lnTo>
                <a:close/>
                <a:moveTo>
                  <a:pt x="2385" y="781"/>
                </a:moveTo>
                <a:lnTo>
                  <a:pt x="2390" y="781"/>
                </a:lnTo>
                <a:lnTo>
                  <a:pt x="2392" y="782"/>
                </a:lnTo>
                <a:lnTo>
                  <a:pt x="2394" y="783"/>
                </a:lnTo>
                <a:lnTo>
                  <a:pt x="2396" y="785"/>
                </a:lnTo>
                <a:lnTo>
                  <a:pt x="2398" y="786"/>
                </a:lnTo>
                <a:lnTo>
                  <a:pt x="2399" y="789"/>
                </a:lnTo>
                <a:lnTo>
                  <a:pt x="2400" y="791"/>
                </a:lnTo>
                <a:lnTo>
                  <a:pt x="2400" y="794"/>
                </a:lnTo>
                <a:lnTo>
                  <a:pt x="2400" y="796"/>
                </a:lnTo>
                <a:lnTo>
                  <a:pt x="2399" y="800"/>
                </a:lnTo>
                <a:lnTo>
                  <a:pt x="2396" y="803"/>
                </a:lnTo>
                <a:lnTo>
                  <a:pt x="2393" y="805"/>
                </a:lnTo>
                <a:lnTo>
                  <a:pt x="2389" y="806"/>
                </a:lnTo>
                <a:lnTo>
                  <a:pt x="2385" y="806"/>
                </a:lnTo>
                <a:lnTo>
                  <a:pt x="2382" y="806"/>
                </a:lnTo>
                <a:lnTo>
                  <a:pt x="2380" y="805"/>
                </a:lnTo>
                <a:lnTo>
                  <a:pt x="2378" y="803"/>
                </a:lnTo>
                <a:lnTo>
                  <a:pt x="2377" y="801"/>
                </a:lnTo>
                <a:lnTo>
                  <a:pt x="2375" y="799"/>
                </a:lnTo>
                <a:lnTo>
                  <a:pt x="2375" y="796"/>
                </a:lnTo>
                <a:lnTo>
                  <a:pt x="2374" y="794"/>
                </a:lnTo>
                <a:lnTo>
                  <a:pt x="2374" y="791"/>
                </a:lnTo>
                <a:lnTo>
                  <a:pt x="2376" y="788"/>
                </a:lnTo>
                <a:lnTo>
                  <a:pt x="2378" y="784"/>
                </a:lnTo>
                <a:lnTo>
                  <a:pt x="2381" y="782"/>
                </a:lnTo>
                <a:lnTo>
                  <a:pt x="2385" y="781"/>
                </a:lnTo>
                <a:close/>
                <a:moveTo>
                  <a:pt x="1435" y="945"/>
                </a:moveTo>
                <a:lnTo>
                  <a:pt x="1439" y="945"/>
                </a:lnTo>
                <a:lnTo>
                  <a:pt x="1443" y="946"/>
                </a:lnTo>
                <a:lnTo>
                  <a:pt x="1446" y="948"/>
                </a:lnTo>
                <a:lnTo>
                  <a:pt x="1447" y="950"/>
                </a:lnTo>
                <a:lnTo>
                  <a:pt x="1448" y="951"/>
                </a:lnTo>
                <a:lnTo>
                  <a:pt x="1450" y="953"/>
                </a:lnTo>
                <a:lnTo>
                  <a:pt x="1450" y="956"/>
                </a:lnTo>
                <a:lnTo>
                  <a:pt x="1450" y="961"/>
                </a:lnTo>
                <a:lnTo>
                  <a:pt x="1449" y="963"/>
                </a:lnTo>
                <a:lnTo>
                  <a:pt x="1448" y="965"/>
                </a:lnTo>
                <a:lnTo>
                  <a:pt x="1446" y="967"/>
                </a:lnTo>
                <a:lnTo>
                  <a:pt x="1444" y="969"/>
                </a:lnTo>
                <a:lnTo>
                  <a:pt x="1442" y="970"/>
                </a:lnTo>
                <a:lnTo>
                  <a:pt x="1440" y="971"/>
                </a:lnTo>
                <a:lnTo>
                  <a:pt x="1436" y="971"/>
                </a:lnTo>
                <a:lnTo>
                  <a:pt x="1432" y="970"/>
                </a:lnTo>
                <a:lnTo>
                  <a:pt x="1429" y="968"/>
                </a:lnTo>
                <a:lnTo>
                  <a:pt x="1428" y="967"/>
                </a:lnTo>
                <a:lnTo>
                  <a:pt x="1427" y="965"/>
                </a:lnTo>
                <a:lnTo>
                  <a:pt x="1425" y="963"/>
                </a:lnTo>
                <a:lnTo>
                  <a:pt x="1425" y="960"/>
                </a:lnTo>
                <a:lnTo>
                  <a:pt x="1425" y="955"/>
                </a:lnTo>
                <a:lnTo>
                  <a:pt x="1426" y="953"/>
                </a:lnTo>
                <a:lnTo>
                  <a:pt x="1427" y="951"/>
                </a:lnTo>
                <a:lnTo>
                  <a:pt x="1428" y="949"/>
                </a:lnTo>
                <a:lnTo>
                  <a:pt x="1430" y="947"/>
                </a:lnTo>
                <a:lnTo>
                  <a:pt x="1433" y="946"/>
                </a:lnTo>
                <a:lnTo>
                  <a:pt x="1435" y="945"/>
                </a:lnTo>
                <a:close/>
                <a:moveTo>
                  <a:pt x="2320" y="769"/>
                </a:moveTo>
                <a:lnTo>
                  <a:pt x="2325" y="769"/>
                </a:lnTo>
                <a:lnTo>
                  <a:pt x="2327" y="770"/>
                </a:lnTo>
                <a:lnTo>
                  <a:pt x="2329" y="771"/>
                </a:lnTo>
                <a:lnTo>
                  <a:pt x="2331" y="772"/>
                </a:lnTo>
                <a:lnTo>
                  <a:pt x="2333" y="774"/>
                </a:lnTo>
                <a:lnTo>
                  <a:pt x="2334" y="776"/>
                </a:lnTo>
                <a:lnTo>
                  <a:pt x="2335" y="779"/>
                </a:lnTo>
                <a:lnTo>
                  <a:pt x="2335" y="781"/>
                </a:lnTo>
                <a:lnTo>
                  <a:pt x="2335" y="784"/>
                </a:lnTo>
                <a:lnTo>
                  <a:pt x="2334" y="788"/>
                </a:lnTo>
                <a:lnTo>
                  <a:pt x="2332" y="789"/>
                </a:lnTo>
                <a:lnTo>
                  <a:pt x="2331" y="791"/>
                </a:lnTo>
                <a:lnTo>
                  <a:pt x="2328" y="793"/>
                </a:lnTo>
                <a:lnTo>
                  <a:pt x="2324" y="794"/>
                </a:lnTo>
                <a:lnTo>
                  <a:pt x="2320" y="794"/>
                </a:lnTo>
                <a:lnTo>
                  <a:pt x="2317" y="794"/>
                </a:lnTo>
                <a:lnTo>
                  <a:pt x="2315" y="792"/>
                </a:lnTo>
                <a:lnTo>
                  <a:pt x="2313" y="791"/>
                </a:lnTo>
                <a:lnTo>
                  <a:pt x="2312" y="789"/>
                </a:lnTo>
                <a:lnTo>
                  <a:pt x="2310" y="787"/>
                </a:lnTo>
                <a:lnTo>
                  <a:pt x="2310" y="784"/>
                </a:lnTo>
                <a:lnTo>
                  <a:pt x="2309" y="782"/>
                </a:lnTo>
                <a:lnTo>
                  <a:pt x="2309" y="779"/>
                </a:lnTo>
                <a:lnTo>
                  <a:pt x="2311" y="775"/>
                </a:lnTo>
                <a:lnTo>
                  <a:pt x="2313" y="772"/>
                </a:lnTo>
                <a:lnTo>
                  <a:pt x="2316" y="770"/>
                </a:lnTo>
                <a:lnTo>
                  <a:pt x="2320" y="769"/>
                </a:lnTo>
                <a:close/>
                <a:moveTo>
                  <a:pt x="1492" y="911"/>
                </a:moveTo>
                <a:lnTo>
                  <a:pt x="1496" y="911"/>
                </a:lnTo>
                <a:lnTo>
                  <a:pt x="1499" y="912"/>
                </a:lnTo>
                <a:lnTo>
                  <a:pt x="1501" y="913"/>
                </a:lnTo>
                <a:lnTo>
                  <a:pt x="1503" y="914"/>
                </a:lnTo>
                <a:lnTo>
                  <a:pt x="1505" y="917"/>
                </a:lnTo>
                <a:lnTo>
                  <a:pt x="1506" y="920"/>
                </a:lnTo>
                <a:lnTo>
                  <a:pt x="1507" y="922"/>
                </a:lnTo>
                <a:lnTo>
                  <a:pt x="1507" y="924"/>
                </a:lnTo>
                <a:lnTo>
                  <a:pt x="1506" y="927"/>
                </a:lnTo>
                <a:lnTo>
                  <a:pt x="1504" y="931"/>
                </a:lnTo>
                <a:lnTo>
                  <a:pt x="1502" y="933"/>
                </a:lnTo>
                <a:lnTo>
                  <a:pt x="1500" y="935"/>
                </a:lnTo>
                <a:lnTo>
                  <a:pt x="1498" y="936"/>
                </a:lnTo>
                <a:lnTo>
                  <a:pt x="1496" y="936"/>
                </a:lnTo>
                <a:lnTo>
                  <a:pt x="1492" y="936"/>
                </a:lnTo>
                <a:lnTo>
                  <a:pt x="1489" y="935"/>
                </a:lnTo>
                <a:lnTo>
                  <a:pt x="1487" y="934"/>
                </a:lnTo>
                <a:lnTo>
                  <a:pt x="1485" y="933"/>
                </a:lnTo>
                <a:lnTo>
                  <a:pt x="1483" y="930"/>
                </a:lnTo>
                <a:lnTo>
                  <a:pt x="1482" y="928"/>
                </a:lnTo>
                <a:lnTo>
                  <a:pt x="1481" y="925"/>
                </a:lnTo>
                <a:lnTo>
                  <a:pt x="1481" y="923"/>
                </a:lnTo>
                <a:lnTo>
                  <a:pt x="1481" y="920"/>
                </a:lnTo>
                <a:lnTo>
                  <a:pt x="1484" y="916"/>
                </a:lnTo>
                <a:lnTo>
                  <a:pt x="1485" y="914"/>
                </a:lnTo>
                <a:lnTo>
                  <a:pt x="1487" y="912"/>
                </a:lnTo>
                <a:lnTo>
                  <a:pt x="1489" y="911"/>
                </a:lnTo>
                <a:lnTo>
                  <a:pt x="1492" y="911"/>
                </a:lnTo>
                <a:close/>
                <a:moveTo>
                  <a:pt x="2255" y="757"/>
                </a:moveTo>
                <a:lnTo>
                  <a:pt x="2259" y="757"/>
                </a:lnTo>
                <a:lnTo>
                  <a:pt x="2262" y="758"/>
                </a:lnTo>
                <a:lnTo>
                  <a:pt x="2264" y="759"/>
                </a:lnTo>
                <a:lnTo>
                  <a:pt x="2266" y="760"/>
                </a:lnTo>
                <a:lnTo>
                  <a:pt x="2268" y="762"/>
                </a:lnTo>
                <a:lnTo>
                  <a:pt x="2269" y="764"/>
                </a:lnTo>
                <a:lnTo>
                  <a:pt x="2270" y="767"/>
                </a:lnTo>
                <a:lnTo>
                  <a:pt x="2270" y="769"/>
                </a:lnTo>
                <a:lnTo>
                  <a:pt x="2270" y="772"/>
                </a:lnTo>
                <a:lnTo>
                  <a:pt x="2269" y="776"/>
                </a:lnTo>
                <a:lnTo>
                  <a:pt x="2267" y="777"/>
                </a:lnTo>
                <a:lnTo>
                  <a:pt x="2266" y="779"/>
                </a:lnTo>
                <a:lnTo>
                  <a:pt x="2265" y="780"/>
                </a:lnTo>
                <a:lnTo>
                  <a:pt x="2263" y="781"/>
                </a:lnTo>
                <a:lnTo>
                  <a:pt x="2259" y="782"/>
                </a:lnTo>
                <a:lnTo>
                  <a:pt x="2255" y="782"/>
                </a:lnTo>
                <a:lnTo>
                  <a:pt x="2252" y="782"/>
                </a:lnTo>
                <a:lnTo>
                  <a:pt x="2250" y="781"/>
                </a:lnTo>
                <a:lnTo>
                  <a:pt x="2248" y="779"/>
                </a:lnTo>
                <a:lnTo>
                  <a:pt x="2247" y="777"/>
                </a:lnTo>
                <a:lnTo>
                  <a:pt x="2245" y="775"/>
                </a:lnTo>
                <a:lnTo>
                  <a:pt x="2244" y="773"/>
                </a:lnTo>
                <a:lnTo>
                  <a:pt x="2244" y="770"/>
                </a:lnTo>
                <a:lnTo>
                  <a:pt x="2244" y="768"/>
                </a:lnTo>
                <a:lnTo>
                  <a:pt x="2246" y="764"/>
                </a:lnTo>
                <a:lnTo>
                  <a:pt x="2247" y="762"/>
                </a:lnTo>
                <a:lnTo>
                  <a:pt x="2248" y="761"/>
                </a:lnTo>
                <a:lnTo>
                  <a:pt x="2249" y="759"/>
                </a:lnTo>
                <a:lnTo>
                  <a:pt x="2251" y="758"/>
                </a:lnTo>
                <a:lnTo>
                  <a:pt x="2255" y="757"/>
                </a:lnTo>
                <a:close/>
                <a:moveTo>
                  <a:pt x="1550" y="879"/>
                </a:moveTo>
                <a:lnTo>
                  <a:pt x="1554" y="879"/>
                </a:lnTo>
                <a:lnTo>
                  <a:pt x="1556" y="879"/>
                </a:lnTo>
                <a:lnTo>
                  <a:pt x="1557" y="880"/>
                </a:lnTo>
                <a:lnTo>
                  <a:pt x="1559" y="881"/>
                </a:lnTo>
                <a:lnTo>
                  <a:pt x="1561" y="882"/>
                </a:lnTo>
                <a:lnTo>
                  <a:pt x="1563" y="886"/>
                </a:lnTo>
                <a:lnTo>
                  <a:pt x="1564" y="888"/>
                </a:lnTo>
                <a:lnTo>
                  <a:pt x="1565" y="891"/>
                </a:lnTo>
                <a:lnTo>
                  <a:pt x="1565" y="893"/>
                </a:lnTo>
                <a:lnTo>
                  <a:pt x="1564" y="896"/>
                </a:lnTo>
                <a:lnTo>
                  <a:pt x="1563" y="898"/>
                </a:lnTo>
                <a:lnTo>
                  <a:pt x="1563" y="899"/>
                </a:lnTo>
                <a:lnTo>
                  <a:pt x="1562" y="900"/>
                </a:lnTo>
                <a:lnTo>
                  <a:pt x="1560" y="902"/>
                </a:lnTo>
                <a:lnTo>
                  <a:pt x="1558" y="903"/>
                </a:lnTo>
                <a:lnTo>
                  <a:pt x="1554" y="904"/>
                </a:lnTo>
                <a:lnTo>
                  <a:pt x="1550" y="905"/>
                </a:lnTo>
                <a:lnTo>
                  <a:pt x="1548" y="904"/>
                </a:lnTo>
                <a:lnTo>
                  <a:pt x="1546" y="903"/>
                </a:lnTo>
                <a:lnTo>
                  <a:pt x="1544" y="902"/>
                </a:lnTo>
                <a:lnTo>
                  <a:pt x="1543" y="901"/>
                </a:lnTo>
                <a:lnTo>
                  <a:pt x="1540" y="898"/>
                </a:lnTo>
                <a:lnTo>
                  <a:pt x="1539" y="895"/>
                </a:lnTo>
                <a:lnTo>
                  <a:pt x="1539" y="893"/>
                </a:lnTo>
                <a:lnTo>
                  <a:pt x="1539" y="890"/>
                </a:lnTo>
                <a:lnTo>
                  <a:pt x="1540" y="888"/>
                </a:lnTo>
                <a:lnTo>
                  <a:pt x="1540" y="886"/>
                </a:lnTo>
                <a:lnTo>
                  <a:pt x="1541" y="884"/>
                </a:lnTo>
                <a:lnTo>
                  <a:pt x="1542" y="883"/>
                </a:lnTo>
                <a:lnTo>
                  <a:pt x="1544" y="882"/>
                </a:lnTo>
                <a:lnTo>
                  <a:pt x="1546" y="880"/>
                </a:lnTo>
                <a:lnTo>
                  <a:pt x="1550" y="879"/>
                </a:lnTo>
                <a:close/>
                <a:moveTo>
                  <a:pt x="2188" y="748"/>
                </a:moveTo>
                <a:lnTo>
                  <a:pt x="2192" y="748"/>
                </a:lnTo>
                <a:lnTo>
                  <a:pt x="2194" y="748"/>
                </a:lnTo>
                <a:lnTo>
                  <a:pt x="2197" y="749"/>
                </a:lnTo>
                <a:lnTo>
                  <a:pt x="2199" y="751"/>
                </a:lnTo>
                <a:lnTo>
                  <a:pt x="2201" y="753"/>
                </a:lnTo>
                <a:lnTo>
                  <a:pt x="2202" y="755"/>
                </a:lnTo>
                <a:lnTo>
                  <a:pt x="2203" y="757"/>
                </a:lnTo>
                <a:lnTo>
                  <a:pt x="2203" y="759"/>
                </a:lnTo>
                <a:lnTo>
                  <a:pt x="2203" y="762"/>
                </a:lnTo>
                <a:lnTo>
                  <a:pt x="2203" y="764"/>
                </a:lnTo>
                <a:lnTo>
                  <a:pt x="2202" y="766"/>
                </a:lnTo>
                <a:lnTo>
                  <a:pt x="2200" y="770"/>
                </a:lnTo>
                <a:lnTo>
                  <a:pt x="2197" y="772"/>
                </a:lnTo>
                <a:lnTo>
                  <a:pt x="2195" y="773"/>
                </a:lnTo>
                <a:lnTo>
                  <a:pt x="2193" y="773"/>
                </a:lnTo>
                <a:lnTo>
                  <a:pt x="2189" y="774"/>
                </a:lnTo>
                <a:lnTo>
                  <a:pt x="2187" y="773"/>
                </a:lnTo>
                <a:lnTo>
                  <a:pt x="2184" y="772"/>
                </a:lnTo>
                <a:lnTo>
                  <a:pt x="2182" y="771"/>
                </a:lnTo>
                <a:lnTo>
                  <a:pt x="2180" y="769"/>
                </a:lnTo>
                <a:lnTo>
                  <a:pt x="2179" y="767"/>
                </a:lnTo>
                <a:lnTo>
                  <a:pt x="2178" y="765"/>
                </a:lnTo>
                <a:lnTo>
                  <a:pt x="2178" y="762"/>
                </a:lnTo>
                <a:lnTo>
                  <a:pt x="2178" y="759"/>
                </a:lnTo>
                <a:lnTo>
                  <a:pt x="2178" y="757"/>
                </a:lnTo>
                <a:lnTo>
                  <a:pt x="2179" y="755"/>
                </a:lnTo>
                <a:lnTo>
                  <a:pt x="2181" y="752"/>
                </a:lnTo>
                <a:lnTo>
                  <a:pt x="2184" y="749"/>
                </a:lnTo>
                <a:lnTo>
                  <a:pt x="2186" y="749"/>
                </a:lnTo>
                <a:lnTo>
                  <a:pt x="2188" y="748"/>
                </a:lnTo>
                <a:close/>
                <a:moveTo>
                  <a:pt x="1609" y="850"/>
                </a:moveTo>
                <a:lnTo>
                  <a:pt x="1613" y="850"/>
                </a:lnTo>
                <a:lnTo>
                  <a:pt x="1617" y="851"/>
                </a:lnTo>
                <a:lnTo>
                  <a:pt x="1619" y="852"/>
                </a:lnTo>
                <a:lnTo>
                  <a:pt x="1621" y="854"/>
                </a:lnTo>
                <a:lnTo>
                  <a:pt x="1623" y="857"/>
                </a:lnTo>
                <a:lnTo>
                  <a:pt x="1624" y="860"/>
                </a:lnTo>
                <a:lnTo>
                  <a:pt x="1624" y="862"/>
                </a:lnTo>
                <a:lnTo>
                  <a:pt x="1623" y="867"/>
                </a:lnTo>
                <a:lnTo>
                  <a:pt x="1622" y="869"/>
                </a:lnTo>
                <a:lnTo>
                  <a:pt x="1621" y="871"/>
                </a:lnTo>
                <a:lnTo>
                  <a:pt x="1619" y="873"/>
                </a:lnTo>
                <a:lnTo>
                  <a:pt x="1617" y="874"/>
                </a:lnTo>
                <a:lnTo>
                  <a:pt x="1613" y="875"/>
                </a:lnTo>
                <a:lnTo>
                  <a:pt x="1609" y="875"/>
                </a:lnTo>
                <a:lnTo>
                  <a:pt x="1605" y="874"/>
                </a:lnTo>
                <a:lnTo>
                  <a:pt x="1604" y="873"/>
                </a:lnTo>
                <a:lnTo>
                  <a:pt x="1602" y="872"/>
                </a:lnTo>
                <a:lnTo>
                  <a:pt x="1599" y="868"/>
                </a:lnTo>
                <a:lnTo>
                  <a:pt x="1599" y="866"/>
                </a:lnTo>
                <a:lnTo>
                  <a:pt x="1598" y="863"/>
                </a:lnTo>
                <a:lnTo>
                  <a:pt x="1599" y="858"/>
                </a:lnTo>
                <a:lnTo>
                  <a:pt x="1600" y="856"/>
                </a:lnTo>
                <a:lnTo>
                  <a:pt x="1602" y="854"/>
                </a:lnTo>
                <a:lnTo>
                  <a:pt x="1604" y="852"/>
                </a:lnTo>
                <a:lnTo>
                  <a:pt x="1606" y="851"/>
                </a:lnTo>
                <a:lnTo>
                  <a:pt x="1609" y="850"/>
                </a:lnTo>
                <a:close/>
                <a:moveTo>
                  <a:pt x="1670" y="824"/>
                </a:moveTo>
                <a:lnTo>
                  <a:pt x="1674" y="824"/>
                </a:lnTo>
                <a:lnTo>
                  <a:pt x="1676" y="824"/>
                </a:lnTo>
                <a:lnTo>
                  <a:pt x="1678" y="825"/>
                </a:lnTo>
                <a:lnTo>
                  <a:pt x="1680" y="827"/>
                </a:lnTo>
                <a:lnTo>
                  <a:pt x="1682" y="828"/>
                </a:lnTo>
                <a:lnTo>
                  <a:pt x="1683" y="830"/>
                </a:lnTo>
                <a:lnTo>
                  <a:pt x="1684" y="832"/>
                </a:lnTo>
                <a:lnTo>
                  <a:pt x="1685" y="834"/>
                </a:lnTo>
                <a:lnTo>
                  <a:pt x="1685" y="837"/>
                </a:lnTo>
                <a:lnTo>
                  <a:pt x="1685" y="839"/>
                </a:lnTo>
                <a:lnTo>
                  <a:pt x="1684" y="842"/>
                </a:lnTo>
                <a:lnTo>
                  <a:pt x="1683" y="844"/>
                </a:lnTo>
                <a:lnTo>
                  <a:pt x="1681" y="846"/>
                </a:lnTo>
                <a:lnTo>
                  <a:pt x="1679" y="847"/>
                </a:lnTo>
                <a:lnTo>
                  <a:pt x="1677" y="849"/>
                </a:lnTo>
                <a:lnTo>
                  <a:pt x="1674" y="849"/>
                </a:lnTo>
                <a:lnTo>
                  <a:pt x="1670" y="849"/>
                </a:lnTo>
                <a:lnTo>
                  <a:pt x="1668" y="849"/>
                </a:lnTo>
                <a:lnTo>
                  <a:pt x="1666" y="848"/>
                </a:lnTo>
                <a:lnTo>
                  <a:pt x="1664" y="847"/>
                </a:lnTo>
                <a:lnTo>
                  <a:pt x="1662" y="845"/>
                </a:lnTo>
                <a:lnTo>
                  <a:pt x="1661" y="843"/>
                </a:lnTo>
                <a:lnTo>
                  <a:pt x="1660" y="841"/>
                </a:lnTo>
                <a:lnTo>
                  <a:pt x="1659" y="839"/>
                </a:lnTo>
                <a:lnTo>
                  <a:pt x="1659" y="836"/>
                </a:lnTo>
                <a:lnTo>
                  <a:pt x="1659" y="834"/>
                </a:lnTo>
                <a:lnTo>
                  <a:pt x="1660" y="832"/>
                </a:lnTo>
                <a:lnTo>
                  <a:pt x="1661" y="829"/>
                </a:lnTo>
                <a:lnTo>
                  <a:pt x="1663" y="827"/>
                </a:lnTo>
                <a:lnTo>
                  <a:pt x="1665" y="826"/>
                </a:lnTo>
                <a:lnTo>
                  <a:pt x="1667" y="825"/>
                </a:lnTo>
                <a:lnTo>
                  <a:pt x="1670" y="824"/>
                </a:lnTo>
                <a:close/>
                <a:moveTo>
                  <a:pt x="2122" y="743"/>
                </a:moveTo>
                <a:lnTo>
                  <a:pt x="2125" y="743"/>
                </a:lnTo>
                <a:lnTo>
                  <a:pt x="2128" y="744"/>
                </a:lnTo>
                <a:lnTo>
                  <a:pt x="2130" y="744"/>
                </a:lnTo>
                <a:lnTo>
                  <a:pt x="2132" y="746"/>
                </a:lnTo>
                <a:lnTo>
                  <a:pt x="2134" y="747"/>
                </a:lnTo>
                <a:lnTo>
                  <a:pt x="2136" y="749"/>
                </a:lnTo>
                <a:lnTo>
                  <a:pt x="2137" y="752"/>
                </a:lnTo>
                <a:lnTo>
                  <a:pt x="2137" y="754"/>
                </a:lnTo>
                <a:lnTo>
                  <a:pt x="2137" y="757"/>
                </a:lnTo>
                <a:lnTo>
                  <a:pt x="2137" y="759"/>
                </a:lnTo>
                <a:lnTo>
                  <a:pt x="2137" y="761"/>
                </a:lnTo>
                <a:lnTo>
                  <a:pt x="2134" y="765"/>
                </a:lnTo>
                <a:lnTo>
                  <a:pt x="2131" y="767"/>
                </a:lnTo>
                <a:lnTo>
                  <a:pt x="2127" y="769"/>
                </a:lnTo>
                <a:lnTo>
                  <a:pt x="2124" y="769"/>
                </a:lnTo>
                <a:lnTo>
                  <a:pt x="2121" y="769"/>
                </a:lnTo>
                <a:lnTo>
                  <a:pt x="2119" y="768"/>
                </a:lnTo>
                <a:lnTo>
                  <a:pt x="2117" y="766"/>
                </a:lnTo>
                <a:lnTo>
                  <a:pt x="2115" y="765"/>
                </a:lnTo>
                <a:lnTo>
                  <a:pt x="2114" y="763"/>
                </a:lnTo>
                <a:lnTo>
                  <a:pt x="2112" y="761"/>
                </a:lnTo>
                <a:lnTo>
                  <a:pt x="2112" y="758"/>
                </a:lnTo>
                <a:lnTo>
                  <a:pt x="2112" y="756"/>
                </a:lnTo>
                <a:lnTo>
                  <a:pt x="2112" y="753"/>
                </a:lnTo>
                <a:lnTo>
                  <a:pt x="2113" y="751"/>
                </a:lnTo>
                <a:lnTo>
                  <a:pt x="2115" y="748"/>
                </a:lnTo>
                <a:lnTo>
                  <a:pt x="2118" y="745"/>
                </a:lnTo>
                <a:lnTo>
                  <a:pt x="2122" y="743"/>
                </a:lnTo>
                <a:close/>
                <a:moveTo>
                  <a:pt x="1732" y="801"/>
                </a:moveTo>
                <a:lnTo>
                  <a:pt x="1736" y="801"/>
                </a:lnTo>
                <a:lnTo>
                  <a:pt x="1739" y="802"/>
                </a:lnTo>
                <a:lnTo>
                  <a:pt x="1741" y="803"/>
                </a:lnTo>
                <a:lnTo>
                  <a:pt x="1742" y="804"/>
                </a:lnTo>
                <a:lnTo>
                  <a:pt x="1744" y="806"/>
                </a:lnTo>
                <a:lnTo>
                  <a:pt x="1745" y="808"/>
                </a:lnTo>
                <a:lnTo>
                  <a:pt x="1746" y="810"/>
                </a:lnTo>
                <a:lnTo>
                  <a:pt x="1747" y="815"/>
                </a:lnTo>
                <a:lnTo>
                  <a:pt x="1747" y="817"/>
                </a:lnTo>
                <a:lnTo>
                  <a:pt x="1746" y="820"/>
                </a:lnTo>
                <a:lnTo>
                  <a:pt x="1744" y="822"/>
                </a:lnTo>
                <a:lnTo>
                  <a:pt x="1743" y="824"/>
                </a:lnTo>
                <a:lnTo>
                  <a:pt x="1741" y="825"/>
                </a:lnTo>
                <a:lnTo>
                  <a:pt x="1738" y="826"/>
                </a:lnTo>
                <a:lnTo>
                  <a:pt x="1736" y="827"/>
                </a:lnTo>
                <a:lnTo>
                  <a:pt x="1732" y="827"/>
                </a:lnTo>
                <a:lnTo>
                  <a:pt x="1730" y="826"/>
                </a:lnTo>
                <a:lnTo>
                  <a:pt x="1728" y="825"/>
                </a:lnTo>
                <a:lnTo>
                  <a:pt x="1726" y="824"/>
                </a:lnTo>
                <a:lnTo>
                  <a:pt x="1724" y="822"/>
                </a:lnTo>
                <a:lnTo>
                  <a:pt x="1723" y="820"/>
                </a:lnTo>
                <a:lnTo>
                  <a:pt x="1722" y="818"/>
                </a:lnTo>
                <a:lnTo>
                  <a:pt x="1721" y="813"/>
                </a:lnTo>
                <a:lnTo>
                  <a:pt x="1722" y="810"/>
                </a:lnTo>
                <a:lnTo>
                  <a:pt x="1723" y="808"/>
                </a:lnTo>
                <a:lnTo>
                  <a:pt x="1724" y="806"/>
                </a:lnTo>
                <a:lnTo>
                  <a:pt x="1726" y="804"/>
                </a:lnTo>
                <a:lnTo>
                  <a:pt x="1728" y="803"/>
                </a:lnTo>
                <a:lnTo>
                  <a:pt x="1730" y="802"/>
                </a:lnTo>
                <a:lnTo>
                  <a:pt x="1732" y="801"/>
                </a:lnTo>
                <a:close/>
                <a:moveTo>
                  <a:pt x="2056" y="743"/>
                </a:moveTo>
                <a:lnTo>
                  <a:pt x="2058" y="743"/>
                </a:lnTo>
                <a:lnTo>
                  <a:pt x="2061" y="743"/>
                </a:lnTo>
                <a:lnTo>
                  <a:pt x="2063" y="744"/>
                </a:lnTo>
                <a:lnTo>
                  <a:pt x="2065" y="745"/>
                </a:lnTo>
                <a:lnTo>
                  <a:pt x="2067" y="746"/>
                </a:lnTo>
                <a:lnTo>
                  <a:pt x="2069" y="748"/>
                </a:lnTo>
                <a:lnTo>
                  <a:pt x="2070" y="750"/>
                </a:lnTo>
                <a:lnTo>
                  <a:pt x="2071" y="753"/>
                </a:lnTo>
                <a:lnTo>
                  <a:pt x="2071" y="755"/>
                </a:lnTo>
                <a:lnTo>
                  <a:pt x="2071" y="758"/>
                </a:lnTo>
                <a:lnTo>
                  <a:pt x="2071" y="760"/>
                </a:lnTo>
                <a:lnTo>
                  <a:pt x="2070" y="762"/>
                </a:lnTo>
                <a:lnTo>
                  <a:pt x="2068" y="764"/>
                </a:lnTo>
                <a:lnTo>
                  <a:pt x="2067" y="765"/>
                </a:lnTo>
                <a:lnTo>
                  <a:pt x="2065" y="767"/>
                </a:lnTo>
                <a:lnTo>
                  <a:pt x="2063" y="768"/>
                </a:lnTo>
                <a:lnTo>
                  <a:pt x="2061" y="768"/>
                </a:lnTo>
                <a:lnTo>
                  <a:pt x="2059" y="768"/>
                </a:lnTo>
                <a:lnTo>
                  <a:pt x="2056" y="768"/>
                </a:lnTo>
                <a:lnTo>
                  <a:pt x="2054" y="768"/>
                </a:lnTo>
                <a:lnTo>
                  <a:pt x="2051" y="766"/>
                </a:lnTo>
                <a:lnTo>
                  <a:pt x="2049" y="765"/>
                </a:lnTo>
                <a:lnTo>
                  <a:pt x="2048" y="763"/>
                </a:lnTo>
                <a:lnTo>
                  <a:pt x="2047" y="761"/>
                </a:lnTo>
                <a:lnTo>
                  <a:pt x="2046" y="758"/>
                </a:lnTo>
                <a:lnTo>
                  <a:pt x="2045" y="756"/>
                </a:lnTo>
                <a:lnTo>
                  <a:pt x="2046" y="753"/>
                </a:lnTo>
                <a:lnTo>
                  <a:pt x="2046" y="751"/>
                </a:lnTo>
                <a:lnTo>
                  <a:pt x="2047" y="749"/>
                </a:lnTo>
                <a:lnTo>
                  <a:pt x="2048" y="747"/>
                </a:lnTo>
                <a:lnTo>
                  <a:pt x="2050" y="746"/>
                </a:lnTo>
                <a:lnTo>
                  <a:pt x="2052" y="744"/>
                </a:lnTo>
                <a:lnTo>
                  <a:pt x="2054" y="743"/>
                </a:lnTo>
                <a:lnTo>
                  <a:pt x="2056" y="743"/>
                </a:lnTo>
                <a:close/>
                <a:moveTo>
                  <a:pt x="1795" y="782"/>
                </a:moveTo>
                <a:lnTo>
                  <a:pt x="1800" y="782"/>
                </a:lnTo>
                <a:lnTo>
                  <a:pt x="1802" y="783"/>
                </a:lnTo>
                <a:lnTo>
                  <a:pt x="1804" y="784"/>
                </a:lnTo>
                <a:lnTo>
                  <a:pt x="1806" y="785"/>
                </a:lnTo>
                <a:lnTo>
                  <a:pt x="1808" y="787"/>
                </a:lnTo>
                <a:lnTo>
                  <a:pt x="1809" y="789"/>
                </a:lnTo>
                <a:lnTo>
                  <a:pt x="1810" y="791"/>
                </a:lnTo>
                <a:lnTo>
                  <a:pt x="1810" y="794"/>
                </a:lnTo>
                <a:lnTo>
                  <a:pt x="1810" y="796"/>
                </a:lnTo>
                <a:lnTo>
                  <a:pt x="1810" y="799"/>
                </a:lnTo>
                <a:lnTo>
                  <a:pt x="1809" y="801"/>
                </a:lnTo>
                <a:lnTo>
                  <a:pt x="1807" y="803"/>
                </a:lnTo>
                <a:lnTo>
                  <a:pt x="1805" y="805"/>
                </a:lnTo>
                <a:lnTo>
                  <a:pt x="1803" y="806"/>
                </a:lnTo>
                <a:lnTo>
                  <a:pt x="1801" y="807"/>
                </a:lnTo>
                <a:lnTo>
                  <a:pt x="1795" y="807"/>
                </a:lnTo>
                <a:lnTo>
                  <a:pt x="1793" y="806"/>
                </a:lnTo>
                <a:lnTo>
                  <a:pt x="1791" y="805"/>
                </a:lnTo>
                <a:lnTo>
                  <a:pt x="1789" y="804"/>
                </a:lnTo>
                <a:lnTo>
                  <a:pt x="1787" y="802"/>
                </a:lnTo>
                <a:lnTo>
                  <a:pt x="1786" y="800"/>
                </a:lnTo>
                <a:lnTo>
                  <a:pt x="1785" y="798"/>
                </a:lnTo>
                <a:lnTo>
                  <a:pt x="1784" y="795"/>
                </a:lnTo>
                <a:lnTo>
                  <a:pt x="1785" y="793"/>
                </a:lnTo>
                <a:lnTo>
                  <a:pt x="1785" y="790"/>
                </a:lnTo>
                <a:lnTo>
                  <a:pt x="1786" y="788"/>
                </a:lnTo>
                <a:lnTo>
                  <a:pt x="1788" y="786"/>
                </a:lnTo>
                <a:lnTo>
                  <a:pt x="1789" y="784"/>
                </a:lnTo>
                <a:lnTo>
                  <a:pt x="1791" y="783"/>
                </a:lnTo>
                <a:lnTo>
                  <a:pt x="1794" y="782"/>
                </a:lnTo>
                <a:lnTo>
                  <a:pt x="1795" y="782"/>
                </a:lnTo>
                <a:close/>
                <a:moveTo>
                  <a:pt x="1990" y="747"/>
                </a:moveTo>
                <a:lnTo>
                  <a:pt x="1993" y="747"/>
                </a:lnTo>
                <a:lnTo>
                  <a:pt x="1996" y="747"/>
                </a:lnTo>
                <a:lnTo>
                  <a:pt x="1998" y="748"/>
                </a:lnTo>
                <a:lnTo>
                  <a:pt x="2001" y="749"/>
                </a:lnTo>
                <a:lnTo>
                  <a:pt x="2002" y="751"/>
                </a:lnTo>
                <a:lnTo>
                  <a:pt x="2004" y="753"/>
                </a:lnTo>
                <a:lnTo>
                  <a:pt x="2005" y="756"/>
                </a:lnTo>
                <a:lnTo>
                  <a:pt x="2005" y="758"/>
                </a:lnTo>
                <a:lnTo>
                  <a:pt x="2005" y="761"/>
                </a:lnTo>
                <a:lnTo>
                  <a:pt x="2005" y="763"/>
                </a:lnTo>
                <a:lnTo>
                  <a:pt x="2004" y="765"/>
                </a:lnTo>
                <a:lnTo>
                  <a:pt x="2003" y="767"/>
                </a:lnTo>
                <a:lnTo>
                  <a:pt x="1999" y="770"/>
                </a:lnTo>
                <a:lnTo>
                  <a:pt x="1997" y="771"/>
                </a:lnTo>
                <a:lnTo>
                  <a:pt x="1995" y="772"/>
                </a:lnTo>
                <a:lnTo>
                  <a:pt x="1992" y="772"/>
                </a:lnTo>
                <a:lnTo>
                  <a:pt x="1989" y="771"/>
                </a:lnTo>
                <a:lnTo>
                  <a:pt x="1986" y="771"/>
                </a:lnTo>
                <a:lnTo>
                  <a:pt x="1984" y="769"/>
                </a:lnTo>
                <a:lnTo>
                  <a:pt x="1982" y="767"/>
                </a:lnTo>
                <a:lnTo>
                  <a:pt x="1981" y="765"/>
                </a:lnTo>
                <a:lnTo>
                  <a:pt x="1980" y="763"/>
                </a:lnTo>
                <a:lnTo>
                  <a:pt x="1979" y="760"/>
                </a:lnTo>
                <a:lnTo>
                  <a:pt x="1979" y="758"/>
                </a:lnTo>
                <a:lnTo>
                  <a:pt x="1980" y="756"/>
                </a:lnTo>
                <a:lnTo>
                  <a:pt x="1981" y="753"/>
                </a:lnTo>
                <a:lnTo>
                  <a:pt x="1982" y="751"/>
                </a:lnTo>
                <a:lnTo>
                  <a:pt x="1986" y="748"/>
                </a:lnTo>
                <a:lnTo>
                  <a:pt x="1988" y="747"/>
                </a:lnTo>
                <a:lnTo>
                  <a:pt x="1990" y="747"/>
                </a:lnTo>
                <a:close/>
                <a:moveTo>
                  <a:pt x="1859" y="766"/>
                </a:moveTo>
                <a:lnTo>
                  <a:pt x="1864" y="766"/>
                </a:lnTo>
                <a:lnTo>
                  <a:pt x="1867" y="767"/>
                </a:lnTo>
                <a:lnTo>
                  <a:pt x="1869" y="768"/>
                </a:lnTo>
                <a:lnTo>
                  <a:pt x="1871" y="770"/>
                </a:lnTo>
                <a:lnTo>
                  <a:pt x="1872" y="772"/>
                </a:lnTo>
                <a:lnTo>
                  <a:pt x="1873" y="774"/>
                </a:lnTo>
                <a:lnTo>
                  <a:pt x="1874" y="776"/>
                </a:lnTo>
                <a:lnTo>
                  <a:pt x="1874" y="781"/>
                </a:lnTo>
                <a:lnTo>
                  <a:pt x="1874" y="784"/>
                </a:lnTo>
                <a:lnTo>
                  <a:pt x="1872" y="786"/>
                </a:lnTo>
                <a:lnTo>
                  <a:pt x="1871" y="788"/>
                </a:lnTo>
                <a:lnTo>
                  <a:pt x="1869" y="789"/>
                </a:lnTo>
                <a:lnTo>
                  <a:pt x="1867" y="791"/>
                </a:lnTo>
                <a:lnTo>
                  <a:pt x="1864" y="792"/>
                </a:lnTo>
                <a:lnTo>
                  <a:pt x="1859" y="791"/>
                </a:lnTo>
                <a:lnTo>
                  <a:pt x="1857" y="791"/>
                </a:lnTo>
                <a:lnTo>
                  <a:pt x="1854" y="790"/>
                </a:lnTo>
                <a:lnTo>
                  <a:pt x="1853" y="788"/>
                </a:lnTo>
                <a:lnTo>
                  <a:pt x="1851" y="786"/>
                </a:lnTo>
                <a:lnTo>
                  <a:pt x="1850" y="784"/>
                </a:lnTo>
                <a:lnTo>
                  <a:pt x="1849" y="782"/>
                </a:lnTo>
                <a:lnTo>
                  <a:pt x="1849" y="776"/>
                </a:lnTo>
                <a:lnTo>
                  <a:pt x="1850" y="774"/>
                </a:lnTo>
                <a:lnTo>
                  <a:pt x="1851" y="772"/>
                </a:lnTo>
                <a:lnTo>
                  <a:pt x="1852" y="770"/>
                </a:lnTo>
                <a:lnTo>
                  <a:pt x="1854" y="768"/>
                </a:lnTo>
                <a:lnTo>
                  <a:pt x="1856" y="767"/>
                </a:lnTo>
                <a:lnTo>
                  <a:pt x="1859" y="766"/>
                </a:lnTo>
                <a:close/>
                <a:moveTo>
                  <a:pt x="1924" y="754"/>
                </a:moveTo>
                <a:lnTo>
                  <a:pt x="1927" y="754"/>
                </a:lnTo>
                <a:lnTo>
                  <a:pt x="1930" y="755"/>
                </a:lnTo>
                <a:lnTo>
                  <a:pt x="1934" y="757"/>
                </a:lnTo>
                <a:lnTo>
                  <a:pt x="1936" y="758"/>
                </a:lnTo>
                <a:lnTo>
                  <a:pt x="1938" y="760"/>
                </a:lnTo>
                <a:lnTo>
                  <a:pt x="1939" y="763"/>
                </a:lnTo>
                <a:lnTo>
                  <a:pt x="1939" y="765"/>
                </a:lnTo>
                <a:lnTo>
                  <a:pt x="1940" y="768"/>
                </a:lnTo>
                <a:lnTo>
                  <a:pt x="1939" y="770"/>
                </a:lnTo>
                <a:lnTo>
                  <a:pt x="1938" y="773"/>
                </a:lnTo>
                <a:lnTo>
                  <a:pt x="1937" y="775"/>
                </a:lnTo>
                <a:lnTo>
                  <a:pt x="1936" y="776"/>
                </a:lnTo>
                <a:lnTo>
                  <a:pt x="1934" y="778"/>
                </a:lnTo>
                <a:lnTo>
                  <a:pt x="1931" y="779"/>
                </a:lnTo>
                <a:lnTo>
                  <a:pt x="1929" y="780"/>
                </a:lnTo>
                <a:lnTo>
                  <a:pt x="1926" y="780"/>
                </a:lnTo>
                <a:lnTo>
                  <a:pt x="1924" y="780"/>
                </a:lnTo>
                <a:lnTo>
                  <a:pt x="1919" y="777"/>
                </a:lnTo>
                <a:lnTo>
                  <a:pt x="1917" y="776"/>
                </a:lnTo>
                <a:lnTo>
                  <a:pt x="1916" y="774"/>
                </a:lnTo>
                <a:lnTo>
                  <a:pt x="1915" y="772"/>
                </a:lnTo>
                <a:lnTo>
                  <a:pt x="1914" y="769"/>
                </a:lnTo>
                <a:lnTo>
                  <a:pt x="1914" y="766"/>
                </a:lnTo>
                <a:lnTo>
                  <a:pt x="1914" y="764"/>
                </a:lnTo>
                <a:lnTo>
                  <a:pt x="1915" y="762"/>
                </a:lnTo>
                <a:lnTo>
                  <a:pt x="1916" y="760"/>
                </a:lnTo>
                <a:lnTo>
                  <a:pt x="1918" y="758"/>
                </a:lnTo>
                <a:lnTo>
                  <a:pt x="1920" y="756"/>
                </a:lnTo>
                <a:lnTo>
                  <a:pt x="1922" y="755"/>
                </a:lnTo>
                <a:lnTo>
                  <a:pt x="1924" y="754"/>
                </a:lnTo>
                <a:close/>
                <a:moveTo>
                  <a:pt x="309" y="2268"/>
                </a:moveTo>
                <a:lnTo>
                  <a:pt x="312" y="2268"/>
                </a:lnTo>
                <a:lnTo>
                  <a:pt x="315" y="2268"/>
                </a:lnTo>
                <a:lnTo>
                  <a:pt x="318" y="2269"/>
                </a:lnTo>
                <a:lnTo>
                  <a:pt x="305" y="2269"/>
                </a:lnTo>
                <a:lnTo>
                  <a:pt x="307" y="2268"/>
                </a:lnTo>
                <a:lnTo>
                  <a:pt x="309" y="2268"/>
                </a:lnTo>
                <a:close/>
                <a:moveTo>
                  <a:pt x="327" y="2204"/>
                </a:moveTo>
                <a:lnTo>
                  <a:pt x="330" y="2204"/>
                </a:lnTo>
                <a:lnTo>
                  <a:pt x="333" y="2204"/>
                </a:lnTo>
                <a:lnTo>
                  <a:pt x="336" y="2205"/>
                </a:lnTo>
                <a:lnTo>
                  <a:pt x="338" y="2207"/>
                </a:lnTo>
                <a:lnTo>
                  <a:pt x="340" y="2209"/>
                </a:lnTo>
                <a:lnTo>
                  <a:pt x="341" y="2211"/>
                </a:lnTo>
                <a:lnTo>
                  <a:pt x="342" y="2213"/>
                </a:lnTo>
                <a:lnTo>
                  <a:pt x="343" y="2215"/>
                </a:lnTo>
                <a:lnTo>
                  <a:pt x="343" y="2218"/>
                </a:lnTo>
                <a:lnTo>
                  <a:pt x="342" y="2221"/>
                </a:lnTo>
                <a:lnTo>
                  <a:pt x="341" y="2224"/>
                </a:lnTo>
                <a:lnTo>
                  <a:pt x="338" y="2227"/>
                </a:lnTo>
                <a:lnTo>
                  <a:pt x="335" y="2229"/>
                </a:lnTo>
                <a:lnTo>
                  <a:pt x="334" y="2229"/>
                </a:lnTo>
                <a:lnTo>
                  <a:pt x="332" y="2230"/>
                </a:lnTo>
                <a:lnTo>
                  <a:pt x="329" y="2230"/>
                </a:lnTo>
                <a:lnTo>
                  <a:pt x="326" y="2229"/>
                </a:lnTo>
                <a:lnTo>
                  <a:pt x="323" y="2228"/>
                </a:lnTo>
                <a:lnTo>
                  <a:pt x="321" y="2227"/>
                </a:lnTo>
                <a:lnTo>
                  <a:pt x="320" y="2225"/>
                </a:lnTo>
                <a:lnTo>
                  <a:pt x="318" y="2223"/>
                </a:lnTo>
                <a:lnTo>
                  <a:pt x="317" y="2221"/>
                </a:lnTo>
                <a:lnTo>
                  <a:pt x="317" y="2218"/>
                </a:lnTo>
                <a:lnTo>
                  <a:pt x="317" y="2216"/>
                </a:lnTo>
                <a:lnTo>
                  <a:pt x="317" y="2213"/>
                </a:lnTo>
                <a:lnTo>
                  <a:pt x="319" y="2210"/>
                </a:lnTo>
                <a:lnTo>
                  <a:pt x="321" y="2207"/>
                </a:lnTo>
                <a:lnTo>
                  <a:pt x="324" y="2205"/>
                </a:lnTo>
                <a:lnTo>
                  <a:pt x="326" y="2205"/>
                </a:lnTo>
                <a:lnTo>
                  <a:pt x="327" y="2204"/>
                </a:lnTo>
                <a:close/>
                <a:moveTo>
                  <a:pt x="347" y="2141"/>
                </a:moveTo>
                <a:lnTo>
                  <a:pt x="350" y="2141"/>
                </a:lnTo>
                <a:lnTo>
                  <a:pt x="353" y="2141"/>
                </a:lnTo>
                <a:lnTo>
                  <a:pt x="355" y="2142"/>
                </a:lnTo>
                <a:lnTo>
                  <a:pt x="357" y="2144"/>
                </a:lnTo>
                <a:lnTo>
                  <a:pt x="359" y="2145"/>
                </a:lnTo>
                <a:lnTo>
                  <a:pt x="360" y="2148"/>
                </a:lnTo>
                <a:lnTo>
                  <a:pt x="361" y="2150"/>
                </a:lnTo>
                <a:lnTo>
                  <a:pt x="362" y="2152"/>
                </a:lnTo>
                <a:lnTo>
                  <a:pt x="362" y="2155"/>
                </a:lnTo>
                <a:lnTo>
                  <a:pt x="361" y="2157"/>
                </a:lnTo>
                <a:lnTo>
                  <a:pt x="361" y="2159"/>
                </a:lnTo>
                <a:lnTo>
                  <a:pt x="360" y="2161"/>
                </a:lnTo>
                <a:lnTo>
                  <a:pt x="357" y="2163"/>
                </a:lnTo>
                <a:lnTo>
                  <a:pt x="354" y="2165"/>
                </a:lnTo>
                <a:lnTo>
                  <a:pt x="351" y="2166"/>
                </a:lnTo>
                <a:lnTo>
                  <a:pt x="348" y="2167"/>
                </a:lnTo>
                <a:lnTo>
                  <a:pt x="345" y="2166"/>
                </a:lnTo>
                <a:lnTo>
                  <a:pt x="343" y="2165"/>
                </a:lnTo>
                <a:lnTo>
                  <a:pt x="340" y="2164"/>
                </a:lnTo>
                <a:lnTo>
                  <a:pt x="339" y="2162"/>
                </a:lnTo>
                <a:lnTo>
                  <a:pt x="337" y="2160"/>
                </a:lnTo>
                <a:lnTo>
                  <a:pt x="336" y="2157"/>
                </a:lnTo>
                <a:lnTo>
                  <a:pt x="336" y="2155"/>
                </a:lnTo>
                <a:lnTo>
                  <a:pt x="336" y="2152"/>
                </a:lnTo>
                <a:lnTo>
                  <a:pt x="336" y="2150"/>
                </a:lnTo>
                <a:lnTo>
                  <a:pt x="337" y="2148"/>
                </a:lnTo>
                <a:lnTo>
                  <a:pt x="338" y="2146"/>
                </a:lnTo>
                <a:lnTo>
                  <a:pt x="340" y="2144"/>
                </a:lnTo>
                <a:lnTo>
                  <a:pt x="343" y="2142"/>
                </a:lnTo>
                <a:lnTo>
                  <a:pt x="347" y="2141"/>
                </a:lnTo>
                <a:close/>
                <a:moveTo>
                  <a:pt x="367" y="2078"/>
                </a:moveTo>
                <a:lnTo>
                  <a:pt x="370" y="2078"/>
                </a:lnTo>
                <a:lnTo>
                  <a:pt x="373" y="2078"/>
                </a:lnTo>
                <a:lnTo>
                  <a:pt x="375" y="2079"/>
                </a:lnTo>
                <a:lnTo>
                  <a:pt x="378" y="2081"/>
                </a:lnTo>
                <a:lnTo>
                  <a:pt x="379" y="2083"/>
                </a:lnTo>
                <a:lnTo>
                  <a:pt x="381" y="2085"/>
                </a:lnTo>
                <a:lnTo>
                  <a:pt x="382" y="2087"/>
                </a:lnTo>
                <a:lnTo>
                  <a:pt x="382" y="2090"/>
                </a:lnTo>
                <a:lnTo>
                  <a:pt x="382" y="2092"/>
                </a:lnTo>
                <a:lnTo>
                  <a:pt x="381" y="2095"/>
                </a:lnTo>
                <a:lnTo>
                  <a:pt x="380" y="2098"/>
                </a:lnTo>
                <a:lnTo>
                  <a:pt x="377" y="2101"/>
                </a:lnTo>
                <a:lnTo>
                  <a:pt x="376" y="2102"/>
                </a:lnTo>
                <a:lnTo>
                  <a:pt x="375" y="2102"/>
                </a:lnTo>
                <a:lnTo>
                  <a:pt x="371" y="2103"/>
                </a:lnTo>
                <a:lnTo>
                  <a:pt x="368" y="2104"/>
                </a:lnTo>
                <a:lnTo>
                  <a:pt x="365" y="2103"/>
                </a:lnTo>
                <a:lnTo>
                  <a:pt x="363" y="2102"/>
                </a:lnTo>
                <a:lnTo>
                  <a:pt x="360" y="2100"/>
                </a:lnTo>
                <a:lnTo>
                  <a:pt x="359" y="2099"/>
                </a:lnTo>
                <a:lnTo>
                  <a:pt x="357" y="2096"/>
                </a:lnTo>
                <a:lnTo>
                  <a:pt x="356" y="2094"/>
                </a:lnTo>
                <a:lnTo>
                  <a:pt x="356" y="2092"/>
                </a:lnTo>
                <a:lnTo>
                  <a:pt x="356" y="2089"/>
                </a:lnTo>
                <a:lnTo>
                  <a:pt x="357" y="2087"/>
                </a:lnTo>
                <a:lnTo>
                  <a:pt x="358" y="2083"/>
                </a:lnTo>
                <a:lnTo>
                  <a:pt x="361" y="2081"/>
                </a:lnTo>
                <a:lnTo>
                  <a:pt x="362" y="2080"/>
                </a:lnTo>
                <a:lnTo>
                  <a:pt x="363" y="2079"/>
                </a:lnTo>
                <a:lnTo>
                  <a:pt x="367" y="2078"/>
                </a:lnTo>
                <a:close/>
                <a:moveTo>
                  <a:pt x="388" y="2015"/>
                </a:moveTo>
                <a:lnTo>
                  <a:pt x="391" y="2015"/>
                </a:lnTo>
                <a:lnTo>
                  <a:pt x="394" y="2016"/>
                </a:lnTo>
                <a:lnTo>
                  <a:pt x="397" y="2017"/>
                </a:lnTo>
                <a:lnTo>
                  <a:pt x="399" y="2018"/>
                </a:lnTo>
                <a:lnTo>
                  <a:pt x="401" y="2020"/>
                </a:lnTo>
                <a:lnTo>
                  <a:pt x="402" y="2022"/>
                </a:lnTo>
                <a:lnTo>
                  <a:pt x="403" y="2025"/>
                </a:lnTo>
                <a:lnTo>
                  <a:pt x="403" y="2027"/>
                </a:lnTo>
                <a:lnTo>
                  <a:pt x="403" y="2030"/>
                </a:lnTo>
                <a:lnTo>
                  <a:pt x="403" y="2032"/>
                </a:lnTo>
                <a:lnTo>
                  <a:pt x="401" y="2035"/>
                </a:lnTo>
                <a:lnTo>
                  <a:pt x="399" y="2038"/>
                </a:lnTo>
                <a:lnTo>
                  <a:pt x="396" y="2040"/>
                </a:lnTo>
                <a:lnTo>
                  <a:pt x="392" y="2041"/>
                </a:lnTo>
                <a:lnTo>
                  <a:pt x="389" y="2041"/>
                </a:lnTo>
                <a:lnTo>
                  <a:pt x="386" y="2040"/>
                </a:lnTo>
                <a:lnTo>
                  <a:pt x="384" y="2039"/>
                </a:lnTo>
                <a:lnTo>
                  <a:pt x="381" y="2038"/>
                </a:lnTo>
                <a:lnTo>
                  <a:pt x="380" y="2036"/>
                </a:lnTo>
                <a:lnTo>
                  <a:pt x="378" y="2034"/>
                </a:lnTo>
                <a:lnTo>
                  <a:pt x="378" y="2031"/>
                </a:lnTo>
                <a:lnTo>
                  <a:pt x="377" y="2029"/>
                </a:lnTo>
                <a:lnTo>
                  <a:pt x="377" y="2026"/>
                </a:lnTo>
                <a:lnTo>
                  <a:pt x="378" y="2024"/>
                </a:lnTo>
                <a:lnTo>
                  <a:pt x="380" y="2020"/>
                </a:lnTo>
                <a:lnTo>
                  <a:pt x="382" y="2018"/>
                </a:lnTo>
                <a:lnTo>
                  <a:pt x="385" y="2016"/>
                </a:lnTo>
                <a:lnTo>
                  <a:pt x="388" y="2015"/>
                </a:lnTo>
                <a:close/>
                <a:moveTo>
                  <a:pt x="410" y="1953"/>
                </a:moveTo>
                <a:lnTo>
                  <a:pt x="414" y="1953"/>
                </a:lnTo>
                <a:lnTo>
                  <a:pt x="417" y="1953"/>
                </a:lnTo>
                <a:lnTo>
                  <a:pt x="419" y="1955"/>
                </a:lnTo>
                <a:lnTo>
                  <a:pt x="421" y="1956"/>
                </a:lnTo>
                <a:lnTo>
                  <a:pt x="423" y="1958"/>
                </a:lnTo>
                <a:lnTo>
                  <a:pt x="424" y="1960"/>
                </a:lnTo>
                <a:lnTo>
                  <a:pt x="425" y="1963"/>
                </a:lnTo>
                <a:lnTo>
                  <a:pt x="425" y="1965"/>
                </a:lnTo>
                <a:lnTo>
                  <a:pt x="425" y="1968"/>
                </a:lnTo>
                <a:lnTo>
                  <a:pt x="425" y="1970"/>
                </a:lnTo>
                <a:lnTo>
                  <a:pt x="423" y="1973"/>
                </a:lnTo>
                <a:lnTo>
                  <a:pt x="421" y="1976"/>
                </a:lnTo>
                <a:lnTo>
                  <a:pt x="418" y="1977"/>
                </a:lnTo>
                <a:lnTo>
                  <a:pt x="415" y="1978"/>
                </a:lnTo>
                <a:lnTo>
                  <a:pt x="411" y="1979"/>
                </a:lnTo>
                <a:lnTo>
                  <a:pt x="408" y="1978"/>
                </a:lnTo>
                <a:lnTo>
                  <a:pt x="406" y="1977"/>
                </a:lnTo>
                <a:lnTo>
                  <a:pt x="404" y="1975"/>
                </a:lnTo>
                <a:lnTo>
                  <a:pt x="402" y="1973"/>
                </a:lnTo>
                <a:lnTo>
                  <a:pt x="401" y="1971"/>
                </a:lnTo>
                <a:lnTo>
                  <a:pt x="400" y="1969"/>
                </a:lnTo>
                <a:lnTo>
                  <a:pt x="399" y="1966"/>
                </a:lnTo>
                <a:lnTo>
                  <a:pt x="400" y="1964"/>
                </a:lnTo>
                <a:lnTo>
                  <a:pt x="400" y="1961"/>
                </a:lnTo>
                <a:lnTo>
                  <a:pt x="402" y="1958"/>
                </a:lnTo>
                <a:lnTo>
                  <a:pt x="404" y="1956"/>
                </a:lnTo>
                <a:lnTo>
                  <a:pt x="407" y="1954"/>
                </a:lnTo>
                <a:lnTo>
                  <a:pt x="410" y="1953"/>
                </a:lnTo>
                <a:close/>
                <a:moveTo>
                  <a:pt x="433" y="1891"/>
                </a:moveTo>
                <a:lnTo>
                  <a:pt x="437" y="1891"/>
                </a:lnTo>
                <a:lnTo>
                  <a:pt x="440" y="1892"/>
                </a:lnTo>
                <a:lnTo>
                  <a:pt x="443" y="1893"/>
                </a:lnTo>
                <a:lnTo>
                  <a:pt x="445" y="1894"/>
                </a:lnTo>
                <a:lnTo>
                  <a:pt x="446" y="1896"/>
                </a:lnTo>
                <a:lnTo>
                  <a:pt x="448" y="1898"/>
                </a:lnTo>
                <a:lnTo>
                  <a:pt x="448" y="1901"/>
                </a:lnTo>
                <a:lnTo>
                  <a:pt x="449" y="1903"/>
                </a:lnTo>
                <a:lnTo>
                  <a:pt x="449" y="1906"/>
                </a:lnTo>
                <a:lnTo>
                  <a:pt x="448" y="1908"/>
                </a:lnTo>
                <a:lnTo>
                  <a:pt x="446" y="1911"/>
                </a:lnTo>
                <a:lnTo>
                  <a:pt x="444" y="1914"/>
                </a:lnTo>
                <a:lnTo>
                  <a:pt x="441" y="1916"/>
                </a:lnTo>
                <a:lnTo>
                  <a:pt x="438" y="1917"/>
                </a:lnTo>
                <a:lnTo>
                  <a:pt x="435" y="1917"/>
                </a:lnTo>
                <a:lnTo>
                  <a:pt x="431" y="1916"/>
                </a:lnTo>
                <a:lnTo>
                  <a:pt x="429" y="1915"/>
                </a:lnTo>
                <a:lnTo>
                  <a:pt x="427" y="1913"/>
                </a:lnTo>
                <a:lnTo>
                  <a:pt x="425" y="1911"/>
                </a:lnTo>
                <a:lnTo>
                  <a:pt x="424" y="1909"/>
                </a:lnTo>
                <a:lnTo>
                  <a:pt x="423" y="1907"/>
                </a:lnTo>
                <a:lnTo>
                  <a:pt x="423" y="1904"/>
                </a:lnTo>
                <a:lnTo>
                  <a:pt x="423" y="1902"/>
                </a:lnTo>
                <a:lnTo>
                  <a:pt x="424" y="1899"/>
                </a:lnTo>
                <a:lnTo>
                  <a:pt x="425" y="1896"/>
                </a:lnTo>
                <a:lnTo>
                  <a:pt x="428" y="1894"/>
                </a:lnTo>
                <a:lnTo>
                  <a:pt x="430" y="1892"/>
                </a:lnTo>
                <a:lnTo>
                  <a:pt x="433" y="1891"/>
                </a:lnTo>
                <a:close/>
                <a:moveTo>
                  <a:pt x="458" y="1829"/>
                </a:moveTo>
                <a:lnTo>
                  <a:pt x="461" y="1829"/>
                </a:lnTo>
                <a:lnTo>
                  <a:pt x="463" y="1830"/>
                </a:lnTo>
                <a:lnTo>
                  <a:pt x="465" y="1830"/>
                </a:lnTo>
                <a:lnTo>
                  <a:pt x="467" y="1831"/>
                </a:lnTo>
                <a:lnTo>
                  <a:pt x="469" y="1833"/>
                </a:lnTo>
                <a:lnTo>
                  <a:pt x="471" y="1835"/>
                </a:lnTo>
                <a:lnTo>
                  <a:pt x="472" y="1837"/>
                </a:lnTo>
                <a:lnTo>
                  <a:pt x="473" y="1840"/>
                </a:lnTo>
                <a:lnTo>
                  <a:pt x="473" y="1842"/>
                </a:lnTo>
                <a:lnTo>
                  <a:pt x="473" y="1845"/>
                </a:lnTo>
                <a:lnTo>
                  <a:pt x="472" y="1847"/>
                </a:lnTo>
                <a:lnTo>
                  <a:pt x="470" y="1850"/>
                </a:lnTo>
                <a:lnTo>
                  <a:pt x="468" y="1852"/>
                </a:lnTo>
                <a:lnTo>
                  <a:pt x="465" y="1854"/>
                </a:lnTo>
                <a:lnTo>
                  <a:pt x="462" y="1855"/>
                </a:lnTo>
                <a:lnTo>
                  <a:pt x="459" y="1855"/>
                </a:lnTo>
                <a:lnTo>
                  <a:pt x="457" y="1855"/>
                </a:lnTo>
                <a:lnTo>
                  <a:pt x="455" y="1854"/>
                </a:lnTo>
                <a:lnTo>
                  <a:pt x="453" y="1853"/>
                </a:lnTo>
                <a:lnTo>
                  <a:pt x="451" y="1851"/>
                </a:lnTo>
                <a:lnTo>
                  <a:pt x="449" y="1849"/>
                </a:lnTo>
                <a:lnTo>
                  <a:pt x="448" y="1847"/>
                </a:lnTo>
                <a:lnTo>
                  <a:pt x="447" y="1845"/>
                </a:lnTo>
                <a:lnTo>
                  <a:pt x="447" y="1842"/>
                </a:lnTo>
                <a:lnTo>
                  <a:pt x="447" y="1840"/>
                </a:lnTo>
                <a:lnTo>
                  <a:pt x="448" y="1837"/>
                </a:lnTo>
                <a:lnTo>
                  <a:pt x="450" y="1834"/>
                </a:lnTo>
                <a:lnTo>
                  <a:pt x="452" y="1832"/>
                </a:lnTo>
                <a:lnTo>
                  <a:pt x="455" y="1830"/>
                </a:lnTo>
                <a:lnTo>
                  <a:pt x="458" y="1829"/>
                </a:lnTo>
                <a:close/>
                <a:moveTo>
                  <a:pt x="483" y="1768"/>
                </a:moveTo>
                <a:lnTo>
                  <a:pt x="487" y="1768"/>
                </a:lnTo>
                <a:lnTo>
                  <a:pt x="491" y="1769"/>
                </a:lnTo>
                <a:lnTo>
                  <a:pt x="493" y="1770"/>
                </a:lnTo>
                <a:lnTo>
                  <a:pt x="495" y="1772"/>
                </a:lnTo>
                <a:lnTo>
                  <a:pt x="496" y="1774"/>
                </a:lnTo>
                <a:lnTo>
                  <a:pt x="498" y="1776"/>
                </a:lnTo>
                <a:lnTo>
                  <a:pt x="498" y="1779"/>
                </a:lnTo>
                <a:lnTo>
                  <a:pt x="499" y="1781"/>
                </a:lnTo>
                <a:lnTo>
                  <a:pt x="498" y="1784"/>
                </a:lnTo>
                <a:lnTo>
                  <a:pt x="498" y="1786"/>
                </a:lnTo>
                <a:lnTo>
                  <a:pt x="496" y="1789"/>
                </a:lnTo>
                <a:lnTo>
                  <a:pt x="494" y="1791"/>
                </a:lnTo>
                <a:lnTo>
                  <a:pt x="491" y="1793"/>
                </a:lnTo>
                <a:lnTo>
                  <a:pt x="488" y="1794"/>
                </a:lnTo>
                <a:lnTo>
                  <a:pt x="484" y="1794"/>
                </a:lnTo>
                <a:lnTo>
                  <a:pt x="480" y="1793"/>
                </a:lnTo>
                <a:lnTo>
                  <a:pt x="478" y="1792"/>
                </a:lnTo>
                <a:lnTo>
                  <a:pt x="476" y="1790"/>
                </a:lnTo>
                <a:lnTo>
                  <a:pt x="475" y="1788"/>
                </a:lnTo>
                <a:lnTo>
                  <a:pt x="473" y="1786"/>
                </a:lnTo>
                <a:lnTo>
                  <a:pt x="473" y="1784"/>
                </a:lnTo>
                <a:lnTo>
                  <a:pt x="473" y="1781"/>
                </a:lnTo>
                <a:lnTo>
                  <a:pt x="473" y="1779"/>
                </a:lnTo>
                <a:lnTo>
                  <a:pt x="474" y="1776"/>
                </a:lnTo>
                <a:lnTo>
                  <a:pt x="475" y="1773"/>
                </a:lnTo>
                <a:lnTo>
                  <a:pt x="478" y="1771"/>
                </a:lnTo>
                <a:lnTo>
                  <a:pt x="480" y="1769"/>
                </a:lnTo>
                <a:lnTo>
                  <a:pt x="483" y="1768"/>
                </a:lnTo>
                <a:close/>
                <a:moveTo>
                  <a:pt x="510" y="1708"/>
                </a:moveTo>
                <a:lnTo>
                  <a:pt x="514" y="1708"/>
                </a:lnTo>
                <a:lnTo>
                  <a:pt x="517" y="1709"/>
                </a:lnTo>
                <a:lnTo>
                  <a:pt x="520" y="1710"/>
                </a:lnTo>
                <a:lnTo>
                  <a:pt x="522" y="1712"/>
                </a:lnTo>
                <a:lnTo>
                  <a:pt x="523" y="1714"/>
                </a:lnTo>
                <a:lnTo>
                  <a:pt x="524" y="1716"/>
                </a:lnTo>
                <a:lnTo>
                  <a:pt x="525" y="1718"/>
                </a:lnTo>
                <a:lnTo>
                  <a:pt x="525" y="1721"/>
                </a:lnTo>
                <a:lnTo>
                  <a:pt x="525" y="1723"/>
                </a:lnTo>
                <a:lnTo>
                  <a:pt x="524" y="1726"/>
                </a:lnTo>
                <a:lnTo>
                  <a:pt x="522" y="1729"/>
                </a:lnTo>
                <a:lnTo>
                  <a:pt x="520" y="1731"/>
                </a:lnTo>
                <a:lnTo>
                  <a:pt x="519" y="1732"/>
                </a:lnTo>
                <a:lnTo>
                  <a:pt x="517" y="1732"/>
                </a:lnTo>
                <a:lnTo>
                  <a:pt x="514" y="1733"/>
                </a:lnTo>
                <a:lnTo>
                  <a:pt x="511" y="1733"/>
                </a:lnTo>
                <a:lnTo>
                  <a:pt x="507" y="1732"/>
                </a:lnTo>
                <a:lnTo>
                  <a:pt x="504" y="1731"/>
                </a:lnTo>
                <a:lnTo>
                  <a:pt x="503" y="1729"/>
                </a:lnTo>
                <a:lnTo>
                  <a:pt x="501" y="1727"/>
                </a:lnTo>
                <a:lnTo>
                  <a:pt x="500" y="1725"/>
                </a:lnTo>
                <a:lnTo>
                  <a:pt x="499" y="1723"/>
                </a:lnTo>
                <a:lnTo>
                  <a:pt x="499" y="1720"/>
                </a:lnTo>
                <a:lnTo>
                  <a:pt x="499" y="1718"/>
                </a:lnTo>
                <a:lnTo>
                  <a:pt x="500" y="1715"/>
                </a:lnTo>
                <a:lnTo>
                  <a:pt x="502" y="1712"/>
                </a:lnTo>
                <a:lnTo>
                  <a:pt x="504" y="1710"/>
                </a:lnTo>
                <a:lnTo>
                  <a:pt x="506" y="1709"/>
                </a:lnTo>
                <a:lnTo>
                  <a:pt x="507" y="1709"/>
                </a:lnTo>
                <a:lnTo>
                  <a:pt x="510" y="1708"/>
                </a:lnTo>
                <a:close/>
                <a:moveTo>
                  <a:pt x="538" y="1648"/>
                </a:moveTo>
                <a:lnTo>
                  <a:pt x="542" y="1648"/>
                </a:lnTo>
                <a:lnTo>
                  <a:pt x="543" y="1648"/>
                </a:lnTo>
                <a:lnTo>
                  <a:pt x="545" y="1649"/>
                </a:lnTo>
                <a:lnTo>
                  <a:pt x="548" y="1650"/>
                </a:lnTo>
                <a:lnTo>
                  <a:pt x="550" y="1652"/>
                </a:lnTo>
                <a:lnTo>
                  <a:pt x="551" y="1654"/>
                </a:lnTo>
                <a:lnTo>
                  <a:pt x="552" y="1656"/>
                </a:lnTo>
                <a:lnTo>
                  <a:pt x="553" y="1658"/>
                </a:lnTo>
                <a:lnTo>
                  <a:pt x="553" y="1661"/>
                </a:lnTo>
                <a:lnTo>
                  <a:pt x="552" y="1664"/>
                </a:lnTo>
                <a:lnTo>
                  <a:pt x="552" y="1666"/>
                </a:lnTo>
                <a:lnTo>
                  <a:pt x="550" y="1669"/>
                </a:lnTo>
                <a:lnTo>
                  <a:pt x="548" y="1671"/>
                </a:lnTo>
                <a:lnTo>
                  <a:pt x="545" y="1672"/>
                </a:lnTo>
                <a:lnTo>
                  <a:pt x="542" y="1673"/>
                </a:lnTo>
                <a:lnTo>
                  <a:pt x="538" y="1673"/>
                </a:lnTo>
                <a:lnTo>
                  <a:pt x="536" y="1673"/>
                </a:lnTo>
                <a:lnTo>
                  <a:pt x="534" y="1672"/>
                </a:lnTo>
                <a:lnTo>
                  <a:pt x="532" y="1671"/>
                </a:lnTo>
                <a:lnTo>
                  <a:pt x="530" y="1669"/>
                </a:lnTo>
                <a:lnTo>
                  <a:pt x="529" y="1667"/>
                </a:lnTo>
                <a:lnTo>
                  <a:pt x="528" y="1665"/>
                </a:lnTo>
                <a:lnTo>
                  <a:pt x="527" y="1662"/>
                </a:lnTo>
                <a:lnTo>
                  <a:pt x="527" y="1660"/>
                </a:lnTo>
                <a:lnTo>
                  <a:pt x="527" y="1657"/>
                </a:lnTo>
                <a:lnTo>
                  <a:pt x="528" y="1655"/>
                </a:lnTo>
                <a:lnTo>
                  <a:pt x="530" y="1652"/>
                </a:lnTo>
                <a:lnTo>
                  <a:pt x="532" y="1650"/>
                </a:lnTo>
                <a:lnTo>
                  <a:pt x="535" y="1649"/>
                </a:lnTo>
                <a:lnTo>
                  <a:pt x="538" y="1648"/>
                </a:lnTo>
                <a:close/>
                <a:moveTo>
                  <a:pt x="566" y="1588"/>
                </a:moveTo>
                <a:lnTo>
                  <a:pt x="571" y="1588"/>
                </a:lnTo>
                <a:lnTo>
                  <a:pt x="573" y="1588"/>
                </a:lnTo>
                <a:lnTo>
                  <a:pt x="575" y="1589"/>
                </a:lnTo>
                <a:lnTo>
                  <a:pt x="577" y="1591"/>
                </a:lnTo>
                <a:lnTo>
                  <a:pt x="579" y="1592"/>
                </a:lnTo>
                <a:lnTo>
                  <a:pt x="580" y="1595"/>
                </a:lnTo>
                <a:lnTo>
                  <a:pt x="581" y="1597"/>
                </a:lnTo>
                <a:lnTo>
                  <a:pt x="582" y="1599"/>
                </a:lnTo>
                <a:lnTo>
                  <a:pt x="582" y="1602"/>
                </a:lnTo>
                <a:lnTo>
                  <a:pt x="581" y="1604"/>
                </a:lnTo>
                <a:lnTo>
                  <a:pt x="580" y="1607"/>
                </a:lnTo>
                <a:lnTo>
                  <a:pt x="579" y="1609"/>
                </a:lnTo>
                <a:lnTo>
                  <a:pt x="576" y="1611"/>
                </a:lnTo>
                <a:lnTo>
                  <a:pt x="574" y="1613"/>
                </a:lnTo>
                <a:lnTo>
                  <a:pt x="571" y="1614"/>
                </a:lnTo>
                <a:lnTo>
                  <a:pt x="567" y="1614"/>
                </a:lnTo>
                <a:lnTo>
                  <a:pt x="565" y="1613"/>
                </a:lnTo>
                <a:lnTo>
                  <a:pt x="563" y="1613"/>
                </a:lnTo>
                <a:lnTo>
                  <a:pt x="561" y="1611"/>
                </a:lnTo>
                <a:lnTo>
                  <a:pt x="559" y="1609"/>
                </a:lnTo>
                <a:lnTo>
                  <a:pt x="557" y="1607"/>
                </a:lnTo>
                <a:lnTo>
                  <a:pt x="556" y="1605"/>
                </a:lnTo>
                <a:lnTo>
                  <a:pt x="556" y="1603"/>
                </a:lnTo>
                <a:lnTo>
                  <a:pt x="556" y="1600"/>
                </a:lnTo>
                <a:lnTo>
                  <a:pt x="556" y="1598"/>
                </a:lnTo>
                <a:lnTo>
                  <a:pt x="557" y="1595"/>
                </a:lnTo>
                <a:lnTo>
                  <a:pt x="559" y="1593"/>
                </a:lnTo>
                <a:lnTo>
                  <a:pt x="561" y="1590"/>
                </a:lnTo>
                <a:lnTo>
                  <a:pt x="564" y="1589"/>
                </a:lnTo>
                <a:lnTo>
                  <a:pt x="566" y="1588"/>
                </a:lnTo>
                <a:close/>
                <a:moveTo>
                  <a:pt x="597" y="1529"/>
                </a:moveTo>
                <a:lnTo>
                  <a:pt x="601" y="1529"/>
                </a:lnTo>
                <a:lnTo>
                  <a:pt x="605" y="1530"/>
                </a:lnTo>
                <a:lnTo>
                  <a:pt x="607" y="1532"/>
                </a:lnTo>
                <a:lnTo>
                  <a:pt x="609" y="1534"/>
                </a:lnTo>
                <a:lnTo>
                  <a:pt x="610" y="1536"/>
                </a:lnTo>
                <a:lnTo>
                  <a:pt x="611" y="1538"/>
                </a:lnTo>
                <a:lnTo>
                  <a:pt x="612" y="1541"/>
                </a:lnTo>
                <a:lnTo>
                  <a:pt x="612" y="1543"/>
                </a:lnTo>
                <a:lnTo>
                  <a:pt x="611" y="1546"/>
                </a:lnTo>
                <a:lnTo>
                  <a:pt x="610" y="1548"/>
                </a:lnTo>
                <a:lnTo>
                  <a:pt x="609" y="1551"/>
                </a:lnTo>
                <a:lnTo>
                  <a:pt x="606" y="1553"/>
                </a:lnTo>
                <a:lnTo>
                  <a:pt x="604" y="1554"/>
                </a:lnTo>
                <a:lnTo>
                  <a:pt x="601" y="1555"/>
                </a:lnTo>
                <a:lnTo>
                  <a:pt x="597" y="1555"/>
                </a:lnTo>
                <a:lnTo>
                  <a:pt x="593" y="1554"/>
                </a:lnTo>
                <a:lnTo>
                  <a:pt x="591" y="1552"/>
                </a:lnTo>
                <a:lnTo>
                  <a:pt x="589" y="1550"/>
                </a:lnTo>
                <a:lnTo>
                  <a:pt x="587" y="1548"/>
                </a:lnTo>
                <a:lnTo>
                  <a:pt x="586" y="1546"/>
                </a:lnTo>
                <a:lnTo>
                  <a:pt x="586" y="1543"/>
                </a:lnTo>
                <a:lnTo>
                  <a:pt x="586" y="1541"/>
                </a:lnTo>
                <a:lnTo>
                  <a:pt x="586" y="1538"/>
                </a:lnTo>
                <a:lnTo>
                  <a:pt x="587" y="1536"/>
                </a:lnTo>
                <a:lnTo>
                  <a:pt x="589" y="1533"/>
                </a:lnTo>
                <a:lnTo>
                  <a:pt x="591" y="1531"/>
                </a:lnTo>
                <a:lnTo>
                  <a:pt x="594" y="1530"/>
                </a:lnTo>
                <a:lnTo>
                  <a:pt x="597" y="1529"/>
                </a:lnTo>
                <a:close/>
                <a:moveTo>
                  <a:pt x="628" y="1471"/>
                </a:moveTo>
                <a:lnTo>
                  <a:pt x="632" y="1471"/>
                </a:lnTo>
                <a:lnTo>
                  <a:pt x="636" y="1472"/>
                </a:lnTo>
                <a:lnTo>
                  <a:pt x="639" y="1474"/>
                </a:lnTo>
                <a:lnTo>
                  <a:pt x="640" y="1476"/>
                </a:lnTo>
                <a:lnTo>
                  <a:pt x="642" y="1478"/>
                </a:lnTo>
                <a:lnTo>
                  <a:pt x="643" y="1480"/>
                </a:lnTo>
                <a:lnTo>
                  <a:pt x="643" y="1483"/>
                </a:lnTo>
                <a:lnTo>
                  <a:pt x="643" y="1485"/>
                </a:lnTo>
                <a:lnTo>
                  <a:pt x="642" y="1490"/>
                </a:lnTo>
                <a:lnTo>
                  <a:pt x="640" y="1492"/>
                </a:lnTo>
                <a:lnTo>
                  <a:pt x="638" y="1494"/>
                </a:lnTo>
                <a:lnTo>
                  <a:pt x="635" y="1496"/>
                </a:lnTo>
                <a:lnTo>
                  <a:pt x="632" y="1497"/>
                </a:lnTo>
                <a:lnTo>
                  <a:pt x="628" y="1497"/>
                </a:lnTo>
                <a:lnTo>
                  <a:pt x="624" y="1495"/>
                </a:lnTo>
                <a:lnTo>
                  <a:pt x="622" y="1494"/>
                </a:lnTo>
                <a:lnTo>
                  <a:pt x="620" y="1492"/>
                </a:lnTo>
                <a:lnTo>
                  <a:pt x="619" y="1490"/>
                </a:lnTo>
                <a:lnTo>
                  <a:pt x="618" y="1487"/>
                </a:lnTo>
                <a:lnTo>
                  <a:pt x="617" y="1485"/>
                </a:lnTo>
                <a:lnTo>
                  <a:pt x="617" y="1482"/>
                </a:lnTo>
                <a:lnTo>
                  <a:pt x="619" y="1477"/>
                </a:lnTo>
                <a:lnTo>
                  <a:pt x="620" y="1475"/>
                </a:lnTo>
                <a:lnTo>
                  <a:pt x="623" y="1473"/>
                </a:lnTo>
                <a:lnTo>
                  <a:pt x="625" y="1472"/>
                </a:lnTo>
                <a:lnTo>
                  <a:pt x="628" y="1471"/>
                </a:lnTo>
                <a:close/>
                <a:moveTo>
                  <a:pt x="660" y="1413"/>
                </a:moveTo>
                <a:lnTo>
                  <a:pt x="665" y="1413"/>
                </a:lnTo>
                <a:lnTo>
                  <a:pt x="667" y="1414"/>
                </a:lnTo>
                <a:lnTo>
                  <a:pt x="669" y="1415"/>
                </a:lnTo>
                <a:lnTo>
                  <a:pt x="671" y="1416"/>
                </a:lnTo>
                <a:lnTo>
                  <a:pt x="673" y="1418"/>
                </a:lnTo>
                <a:lnTo>
                  <a:pt x="674" y="1420"/>
                </a:lnTo>
                <a:lnTo>
                  <a:pt x="675" y="1423"/>
                </a:lnTo>
                <a:lnTo>
                  <a:pt x="676" y="1425"/>
                </a:lnTo>
                <a:lnTo>
                  <a:pt x="676" y="1428"/>
                </a:lnTo>
                <a:lnTo>
                  <a:pt x="675" y="1430"/>
                </a:lnTo>
                <a:lnTo>
                  <a:pt x="674" y="1433"/>
                </a:lnTo>
                <a:lnTo>
                  <a:pt x="673" y="1434"/>
                </a:lnTo>
                <a:lnTo>
                  <a:pt x="672" y="1435"/>
                </a:lnTo>
                <a:lnTo>
                  <a:pt x="670" y="1437"/>
                </a:lnTo>
                <a:lnTo>
                  <a:pt x="668" y="1438"/>
                </a:lnTo>
                <a:lnTo>
                  <a:pt x="665" y="1439"/>
                </a:lnTo>
                <a:lnTo>
                  <a:pt x="661" y="1439"/>
                </a:lnTo>
                <a:lnTo>
                  <a:pt x="658" y="1438"/>
                </a:lnTo>
                <a:lnTo>
                  <a:pt x="656" y="1437"/>
                </a:lnTo>
                <a:lnTo>
                  <a:pt x="654" y="1436"/>
                </a:lnTo>
                <a:lnTo>
                  <a:pt x="652" y="1434"/>
                </a:lnTo>
                <a:lnTo>
                  <a:pt x="651" y="1432"/>
                </a:lnTo>
                <a:lnTo>
                  <a:pt x="650" y="1430"/>
                </a:lnTo>
                <a:lnTo>
                  <a:pt x="650" y="1427"/>
                </a:lnTo>
                <a:lnTo>
                  <a:pt x="650" y="1425"/>
                </a:lnTo>
                <a:lnTo>
                  <a:pt x="650" y="1422"/>
                </a:lnTo>
                <a:lnTo>
                  <a:pt x="651" y="1420"/>
                </a:lnTo>
                <a:lnTo>
                  <a:pt x="652" y="1418"/>
                </a:lnTo>
                <a:lnTo>
                  <a:pt x="653" y="1417"/>
                </a:lnTo>
                <a:lnTo>
                  <a:pt x="655" y="1415"/>
                </a:lnTo>
                <a:lnTo>
                  <a:pt x="658" y="1414"/>
                </a:lnTo>
                <a:lnTo>
                  <a:pt x="660" y="1413"/>
                </a:lnTo>
                <a:close/>
                <a:moveTo>
                  <a:pt x="694" y="1357"/>
                </a:moveTo>
                <a:lnTo>
                  <a:pt x="699" y="1357"/>
                </a:lnTo>
                <a:lnTo>
                  <a:pt x="701" y="1357"/>
                </a:lnTo>
                <a:lnTo>
                  <a:pt x="703" y="1358"/>
                </a:lnTo>
                <a:lnTo>
                  <a:pt x="705" y="1360"/>
                </a:lnTo>
                <a:lnTo>
                  <a:pt x="707" y="1362"/>
                </a:lnTo>
                <a:lnTo>
                  <a:pt x="708" y="1364"/>
                </a:lnTo>
                <a:lnTo>
                  <a:pt x="709" y="1366"/>
                </a:lnTo>
                <a:lnTo>
                  <a:pt x="710" y="1369"/>
                </a:lnTo>
                <a:lnTo>
                  <a:pt x="709" y="1371"/>
                </a:lnTo>
                <a:lnTo>
                  <a:pt x="709" y="1374"/>
                </a:lnTo>
                <a:lnTo>
                  <a:pt x="708" y="1376"/>
                </a:lnTo>
                <a:lnTo>
                  <a:pt x="706" y="1378"/>
                </a:lnTo>
                <a:lnTo>
                  <a:pt x="704" y="1380"/>
                </a:lnTo>
                <a:lnTo>
                  <a:pt x="701" y="1381"/>
                </a:lnTo>
                <a:lnTo>
                  <a:pt x="699" y="1382"/>
                </a:lnTo>
                <a:lnTo>
                  <a:pt x="694" y="1382"/>
                </a:lnTo>
                <a:lnTo>
                  <a:pt x="692" y="1382"/>
                </a:lnTo>
                <a:lnTo>
                  <a:pt x="690" y="1380"/>
                </a:lnTo>
                <a:lnTo>
                  <a:pt x="688" y="1379"/>
                </a:lnTo>
                <a:lnTo>
                  <a:pt x="686" y="1377"/>
                </a:lnTo>
                <a:lnTo>
                  <a:pt x="685" y="1375"/>
                </a:lnTo>
                <a:lnTo>
                  <a:pt x="684" y="1372"/>
                </a:lnTo>
                <a:lnTo>
                  <a:pt x="684" y="1370"/>
                </a:lnTo>
                <a:lnTo>
                  <a:pt x="684" y="1367"/>
                </a:lnTo>
                <a:lnTo>
                  <a:pt x="684" y="1365"/>
                </a:lnTo>
                <a:lnTo>
                  <a:pt x="685" y="1363"/>
                </a:lnTo>
                <a:lnTo>
                  <a:pt x="687" y="1360"/>
                </a:lnTo>
                <a:lnTo>
                  <a:pt x="689" y="1359"/>
                </a:lnTo>
                <a:lnTo>
                  <a:pt x="692" y="1357"/>
                </a:lnTo>
                <a:lnTo>
                  <a:pt x="694" y="1357"/>
                </a:lnTo>
                <a:close/>
                <a:moveTo>
                  <a:pt x="730" y="1300"/>
                </a:moveTo>
                <a:lnTo>
                  <a:pt x="734" y="1301"/>
                </a:lnTo>
                <a:lnTo>
                  <a:pt x="738" y="1301"/>
                </a:lnTo>
                <a:lnTo>
                  <a:pt x="740" y="1302"/>
                </a:lnTo>
                <a:lnTo>
                  <a:pt x="742" y="1304"/>
                </a:lnTo>
                <a:lnTo>
                  <a:pt x="744" y="1306"/>
                </a:lnTo>
                <a:lnTo>
                  <a:pt x="745" y="1308"/>
                </a:lnTo>
                <a:lnTo>
                  <a:pt x="746" y="1311"/>
                </a:lnTo>
                <a:lnTo>
                  <a:pt x="746" y="1313"/>
                </a:lnTo>
                <a:lnTo>
                  <a:pt x="746" y="1316"/>
                </a:lnTo>
                <a:lnTo>
                  <a:pt x="745" y="1318"/>
                </a:lnTo>
                <a:lnTo>
                  <a:pt x="744" y="1320"/>
                </a:lnTo>
                <a:lnTo>
                  <a:pt x="742" y="1323"/>
                </a:lnTo>
                <a:lnTo>
                  <a:pt x="740" y="1324"/>
                </a:lnTo>
                <a:lnTo>
                  <a:pt x="738" y="1325"/>
                </a:lnTo>
                <a:lnTo>
                  <a:pt x="734" y="1326"/>
                </a:lnTo>
                <a:lnTo>
                  <a:pt x="729" y="1326"/>
                </a:lnTo>
                <a:lnTo>
                  <a:pt x="727" y="1325"/>
                </a:lnTo>
                <a:lnTo>
                  <a:pt x="725" y="1324"/>
                </a:lnTo>
                <a:lnTo>
                  <a:pt x="723" y="1323"/>
                </a:lnTo>
                <a:lnTo>
                  <a:pt x="721" y="1321"/>
                </a:lnTo>
                <a:lnTo>
                  <a:pt x="720" y="1318"/>
                </a:lnTo>
                <a:lnTo>
                  <a:pt x="719" y="1316"/>
                </a:lnTo>
                <a:lnTo>
                  <a:pt x="719" y="1314"/>
                </a:lnTo>
                <a:lnTo>
                  <a:pt x="719" y="1311"/>
                </a:lnTo>
                <a:lnTo>
                  <a:pt x="720" y="1309"/>
                </a:lnTo>
                <a:lnTo>
                  <a:pt x="721" y="1306"/>
                </a:lnTo>
                <a:lnTo>
                  <a:pt x="723" y="1304"/>
                </a:lnTo>
                <a:lnTo>
                  <a:pt x="725" y="1302"/>
                </a:lnTo>
                <a:lnTo>
                  <a:pt x="727" y="1301"/>
                </a:lnTo>
                <a:lnTo>
                  <a:pt x="730" y="1300"/>
                </a:lnTo>
                <a:close/>
                <a:moveTo>
                  <a:pt x="767" y="1245"/>
                </a:moveTo>
                <a:lnTo>
                  <a:pt x="772" y="1245"/>
                </a:lnTo>
                <a:lnTo>
                  <a:pt x="774" y="1246"/>
                </a:lnTo>
                <a:lnTo>
                  <a:pt x="777" y="1247"/>
                </a:lnTo>
                <a:lnTo>
                  <a:pt x="779" y="1249"/>
                </a:lnTo>
                <a:lnTo>
                  <a:pt x="780" y="1251"/>
                </a:lnTo>
                <a:lnTo>
                  <a:pt x="781" y="1253"/>
                </a:lnTo>
                <a:lnTo>
                  <a:pt x="782" y="1256"/>
                </a:lnTo>
                <a:lnTo>
                  <a:pt x="782" y="1261"/>
                </a:lnTo>
                <a:lnTo>
                  <a:pt x="781" y="1263"/>
                </a:lnTo>
                <a:lnTo>
                  <a:pt x="780" y="1265"/>
                </a:lnTo>
                <a:lnTo>
                  <a:pt x="778" y="1268"/>
                </a:lnTo>
                <a:lnTo>
                  <a:pt x="776" y="1269"/>
                </a:lnTo>
                <a:lnTo>
                  <a:pt x="774" y="1270"/>
                </a:lnTo>
                <a:lnTo>
                  <a:pt x="772" y="1271"/>
                </a:lnTo>
                <a:lnTo>
                  <a:pt x="767" y="1271"/>
                </a:lnTo>
                <a:lnTo>
                  <a:pt x="764" y="1270"/>
                </a:lnTo>
                <a:lnTo>
                  <a:pt x="762" y="1269"/>
                </a:lnTo>
                <a:lnTo>
                  <a:pt x="760" y="1267"/>
                </a:lnTo>
                <a:lnTo>
                  <a:pt x="758" y="1265"/>
                </a:lnTo>
                <a:lnTo>
                  <a:pt x="757" y="1263"/>
                </a:lnTo>
                <a:lnTo>
                  <a:pt x="757" y="1261"/>
                </a:lnTo>
                <a:lnTo>
                  <a:pt x="757" y="1256"/>
                </a:lnTo>
                <a:lnTo>
                  <a:pt x="757" y="1253"/>
                </a:lnTo>
                <a:lnTo>
                  <a:pt x="759" y="1251"/>
                </a:lnTo>
                <a:lnTo>
                  <a:pt x="760" y="1249"/>
                </a:lnTo>
                <a:lnTo>
                  <a:pt x="762" y="1247"/>
                </a:lnTo>
                <a:lnTo>
                  <a:pt x="765" y="1246"/>
                </a:lnTo>
                <a:lnTo>
                  <a:pt x="767" y="1245"/>
                </a:lnTo>
                <a:close/>
                <a:moveTo>
                  <a:pt x="805" y="1191"/>
                </a:moveTo>
                <a:lnTo>
                  <a:pt x="810" y="1191"/>
                </a:lnTo>
                <a:lnTo>
                  <a:pt x="813" y="1192"/>
                </a:lnTo>
                <a:lnTo>
                  <a:pt x="815" y="1193"/>
                </a:lnTo>
                <a:lnTo>
                  <a:pt x="817" y="1195"/>
                </a:lnTo>
                <a:lnTo>
                  <a:pt x="818" y="1197"/>
                </a:lnTo>
                <a:lnTo>
                  <a:pt x="819" y="1199"/>
                </a:lnTo>
                <a:lnTo>
                  <a:pt x="820" y="1202"/>
                </a:lnTo>
                <a:lnTo>
                  <a:pt x="820" y="1204"/>
                </a:lnTo>
                <a:lnTo>
                  <a:pt x="820" y="1207"/>
                </a:lnTo>
                <a:lnTo>
                  <a:pt x="819" y="1209"/>
                </a:lnTo>
                <a:lnTo>
                  <a:pt x="818" y="1212"/>
                </a:lnTo>
                <a:lnTo>
                  <a:pt x="816" y="1213"/>
                </a:lnTo>
                <a:lnTo>
                  <a:pt x="814" y="1215"/>
                </a:lnTo>
                <a:lnTo>
                  <a:pt x="812" y="1216"/>
                </a:lnTo>
                <a:lnTo>
                  <a:pt x="810" y="1217"/>
                </a:lnTo>
                <a:lnTo>
                  <a:pt x="804" y="1217"/>
                </a:lnTo>
                <a:lnTo>
                  <a:pt x="802" y="1216"/>
                </a:lnTo>
                <a:lnTo>
                  <a:pt x="800" y="1215"/>
                </a:lnTo>
                <a:lnTo>
                  <a:pt x="798" y="1213"/>
                </a:lnTo>
                <a:lnTo>
                  <a:pt x="796" y="1211"/>
                </a:lnTo>
                <a:lnTo>
                  <a:pt x="795" y="1208"/>
                </a:lnTo>
                <a:lnTo>
                  <a:pt x="794" y="1206"/>
                </a:lnTo>
                <a:lnTo>
                  <a:pt x="794" y="1204"/>
                </a:lnTo>
                <a:lnTo>
                  <a:pt x="795" y="1201"/>
                </a:lnTo>
                <a:lnTo>
                  <a:pt x="795" y="1199"/>
                </a:lnTo>
                <a:lnTo>
                  <a:pt x="797" y="1196"/>
                </a:lnTo>
                <a:lnTo>
                  <a:pt x="798" y="1194"/>
                </a:lnTo>
                <a:lnTo>
                  <a:pt x="800" y="1193"/>
                </a:lnTo>
                <a:lnTo>
                  <a:pt x="803" y="1192"/>
                </a:lnTo>
                <a:lnTo>
                  <a:pt x="805" y="1191"/>
                </a:lnTo>
                <a:close/>
                <a:moveTo>
                  <a:pt x="844" y="1138"/>
                </a:moveTo>
                <a:lnTo>
                  <a:pt x="847" y="1138"/>
                </a:lnTo>
                <a:lnTo>
                  <a:pt x="850" y="1138"/>
                </a:lnTo>
                <a:lnTo>
                  <a:pt x="852" y="1139"/>
                </a:lnTo>
                <a:lnTo>
                  <a:pt x="854" y="1140"/>
                </a:lnTo>
                <a:lnTo>
                  <a:pt x="856" y="1142"/>
                </a:lnTo>
                <a:lnTo>
                  <a:pt x="858" y="1144"/>
                </a:lnTo>
                <a:lnTo>
                  <a:pt x="859" y="1147"/>
                </a:lnTo>
                <a:lnTo>
                  <a:pt x="860" y="1149"/>
                </a:lnTo>
                <a:lnTo>
                  <a:pt x="860" y="1152"/>
                </a:lnTo>
                <a:lnTo>
                  <a:pt x="859" y="1154"/>
                </a:lnTo>
                <a:lnTo>
                  <a:pt x="858" y="1156"/>
                </a:lnTo>
                <a:lnTo>
                  <a:pt x="857" y="1159"/>
                </a:lnTo>
                <a:lnTo>
                  <a:pt x="855" y="1160"/>
                </a:lnTo>
                <a:lnTo>
                  <a:pt x="853" y="1162"/>
                </a:lnTo>
                <a:lnTo>
                  <a:pt x="851" y="1163"/>
                </a:lnTo>
                <a:lnTo>
                  <a:pt x="849" y="1164"/>
                </a:lnTo>
                <a:lnTo>
                  <a:pt x="846" y="1164"/>
                </a:lnTo>
                <a:lnTo>
                  <a:pt x="844" y="1163"/>
                </a:lnTo>
                <a:lnTo>
                  <a:pt x="841" y="1163"/>
                </a:lnTo>
                <a:lnTo>
                  <a:pt x="839" y="1161"/>
                </a:lnTo>
                <a:lnTo>
                  <a:pt x="837" y="1159"/>
                </a:lnTo>
                <a:lnTo>
                  <a:pt x="835" y="1157"/>
                </a:lnTo>
                <a:lnTo>
                  <a:pt x="834" y="1155"/>
                </a:lnTo>
                <a:lnTo>
                  <a:pt x="834" y="1153"/>
                </a:lnTo>
                <a:lnTo>
                  <a:pt x="834" y="1150"/>
                </a:lnTo>
                <a:lnTo>
                  <a:pt x="834" y="1148"/>
                </a:lnTo>
                <a:lnTo>
                  <a:pt x="835" y="1145"/>
                </a:lnTo>
                <a:lnTo>
                  <a:pt x="836" y="1143"/>
                </a:lnTo>
                <a:lnTo>
                  <a:pt x="838" y="1141"/>
                </a:lnTo>
                <a:lnTo>
                  <a:pt x="840" y="1140"/>
                </a:lnTo>
                <a:lnTo>
                  <a:pt x="842" y="1139"/>
                </a:lnTo>
                <a:lnTo>
                  <a:pt x="844" y="1138"/>
                </a:lnTo>
                <a:close/>
                <a:moveTo>
                  <a:pt x="885" y="1085"/>
                </a:moveTo>
                <a:lnTo>
                  <a:pt x="888" y="1085"/>
                </a:lnTo>
                <a:lnTo>
                  <a:pt x="891" y="1085"/>
                </a:lnTo>
                <a:lnTo>
                  <a:pt x="893" y="1086"/>
                </a:lnTo>
                <a:lnTo>
                  <a:pt x="896" y="1088"/>
                </a:lnTo>
                <a:lnTo>
                  <a:pt x="897" y="1089"/>
                </a:lnTo>
                <a:lnTo>
                  <a:pt x="899" y="1092"/>
                </a:lnTo>
                <a:lnTo>
                  <a:pt x="900" y="1094"/>
                </a:lnTo>
                <a:lnTo>
                  <a:pt x="900" y="1096"/>
                </a:lnTo>
                <a:lnTo>
                  <a:pt x="900" y="1099"/>
                </a:lnTo>
                <a:lnTo>
                  <a:pt x="900" y="1101"/>
                </a:lnTo>
                <a:lnTo>
                  <a:pt x="899" y="1104"/>
                </a:lnTo>
                <a:lnTo>
                  <a:pt x="898" y="1106"/>
                </a:lnTo>
                <a:lnTo>
                  <a:pt x="896" y="1108"/>
                </a:lnTo>
                <a:lnTo>
                  <a:pt x="894" y="1109"/>
                </a:lnTo>
                <a:lnTo>
                  <a:pt x="892" y="1110"/>
                </a:lnTo>
                <a:lnTo>
                  <a:pt x="890" y="1111"/>
                </a:lnTo>
                <a:lnTo>
                  <a:pt x="887" y="1111"/>
                </a:lnTo>
                <a:lnTo>
                  <a:pt x="884" y="1110"/>
                </a:lnTo>
                <a:lnTo>
                  <a:pt x="882" y="1109"/>
                </a:lnTo>
                <a:lnTo>
                  <a:pt x="879" y="1108"/>
                </a:lnTo>
                <a:lnTo>
                  <a:pt x="877" y="1106"/>
                </a:lnTo>
                <a:lnTo>
                  <a:pt x="876" y="1104"/>
                </a:lnTo>
                <a:lnTo>
                  <a:pt x="875" y="1102"/>
                </a:lnTo>
                <a:lnTo>
                  <a:pt x="874" y="1099"/>
                </a:lnTo>
                <a:lnTo>
                  <a:pt x="874" y="1097"/>
                </a:lnTo>
                <a:lnTo>
                  <a:pt x="875" y="1094"/>
                </a:lnTo>
                <a:lnTo>
                  <a:pt x="876" y="1092"/>
                </a:lnTo>
                <a:lnTo>
                  <a:pt x="877" y="1090"/>
                </a:lnTo>
                <a:lnTo>
                  <a:pt x="879" y="1088"/>
                </a:lnTo>
                <a:lnTo>
                  <a:pt x="881" y="1086"/>
                </a:lnTo>
                <a:lnTo>
                  <a:pt x="883" y="1085"/>
                </a:lnTo>
                <a:lnTo>
                  <a:pt x="885" y="1085"/>
                </a:lnTo>
                <a:close/>
                <a:moveTo>
                  <a:pt x="2919" y="693"/>
                </a:moveTo>
                <a:lnTo>
                  <a:pt x="2922" y="693"/>
                </a:lnTo>
                <a:lnTo>
                  <a:pt x="2924" y="693"/>
                </a:lnTo>
                <a:lnTo>
                  <a:pt x="2927" y="694"/>
                </a:lnTo>
                <a:lnTo>
                  <a:pt x="2929" y="695"/>
                </a:lnTo>
                <a:lnTo>
                  <a:pt x="2931" y="697"/>
                </a:lnTo>
                <a:lnTo>
                  <a:pt x="2932" y="699"/>
                </a:lnTo>
                <a:lnTo>
                  <a:pt x="2934" y="701"/>
                </a:lnTo>
                <a:lnTo>
                  <a:pt x="2934" y="704"/>
                </a:lnTo>
                <a:lnTo>
                  <a:pt x="2934" y="706"/>
                </a:lnTo>
                <a:lnTo>
                  <a:pt x="2934" y="709"/>
                </a:lnTo>
                <a:lnTo>
                  <a:pt x="2933" y="712"/>
                </a:lnTo>
                <a:lnTo>
                  <a:pt x="2930" y="715"/>
                </a:lnTo>
                <a:lnTo>
                  <a:pt x="2927" y="717"/>
                </a:lnTo>
                <a:lnTo>
                  <a:pt x="2924" y="719"/>
                </a:lnTo>
                <a:lnTo>
                  <a:pt x="2921" y="719"/>
                </a:lnTo>
                <a:lnTo>
                  <a:pt x="2918" y="718"/>
                </a:lnTo>
                <a:lnTo>
                  <a:pt x="2916" y="718"/>
                </a:lnTo>
                <a:lnTo>
                  <a:pt x="2914" y="716"/>
                </a:lnTo>
                <a:lnTo>
                  <a:pt x="2912" y="715"/>
                </a:lnTo>
                <a:lnTo>
                  <a:pt x="2910" y="713"/>
                </a:lnTo>
                <a:lnTo>
                  <a:pt x="2909" y="710"/>
                </a:lnTo>
                <a:lnTo>
                  <a:pt x="2909" y="708"/>
                </a:lnTo>
                <a:lnTo>
                  <a:pt x="2908" y="705"/>
                </a:lnTo>
                <a:lnTo>
                  <a:pt x="2909" y="703"/>
                </a:lnTo>
                <a:lnTo>
                  <a:pt x="2910" y="699"/>
                </a:lnTo>
                <a:lnTo>
                  <a:pt x="2913" y="696"/>
                </a:lnTo>
                <a:lnTo>
                  <a:pt x="2916" y="694"/>
                </a:lnTo>
                <a:lnTo>
                  <a:pt x="2919" y="693"/>
                </a:lnTo>
                <a:close/>
                <a:moveTo>
                  <a:pt x="927" y="1034"/>
                </a:moveTo>
                <a:lnTo>
                  <a:pt x="930" y="1034"/>
                </a:lnTo>
                <a:lnTo>
                  <a:pt x="933" y="1034"/>
                </a:lnTo>
                <a:lnTo>
                  <a:pt x="936" y="1035"/>
                </a:lnTo>
                <a:lnTo>
                  <a:pt x="938" y="1037"/>
                </a:lnTo>
                <a:lnTo>
                  <a:pt x="940" y="1039"/>
                </a:lnTo>
                <a:lnTo>
                  <a:pt x="941" y="1041"/>
                </a:lnTo>
                <a:lnTo>
                  <a:pt x="942" y="1043"/>
                </a:lnTo>
                <a:lnTo>
                  <a:pt x="943" y="1046"/>
                </a:lnTo>
                <a:lnTo>
                  <a:pt x="943" y="1048"/>
                </a:lnTo>
                <a:lnTo>
                  <a:pt x="942" y="1051"/>
                </a:lnTo>
                <a:lnTo>
                  <a:pt x="941" y="1053"/>
                </a:lnTo>
                <a:lnTo>
                  <a:pt x="940" y="1055"/>
                </a:lnTo>
                <a:lnTo>
                  <a:pt x="939" y="1056"/>
                </a:lnTo>
                <a:lnTo>
                  <a:pt x="938" y="1057"/>
                </a:lnTo>
                <a:lnTo>
                  <a:pt x="936" y="1058"/>
                </a:lnTo>
                <a:lnTo>
                  <a:pt x="932" y="1060"/>
                </a:lnTo>
                <a:lnTo>
                  <a:pt x="929" y="1060"/>
                </a:lnTo>
                <a:lnTo>
                  <a:pt x="926" y="1059"/>
                </a:lnTo>
                <a:lnTo>
                  <a:pt x="924" y="1058"/>
                </a:lnTo>
                <a:lnTo>
                  <a:pt x="921" y="1057"/>
                </a:lnTo>
                <a:lnTo>
                  <a:pt x="919" y="1055"/>
                </a:lnTo>
                <a:lnTo>
                  <a:pt x="918" y="1053"/>
                </a:lnTo>
                <a:lnTo>
                  <a:pt x="917" y="1050"/>
                </a:lnTo>
                <a:lnTo>
                  <a:pt x="917" y="1048"/>
                </a:lnTo>
                <a:lnTo>
                  <a:pt x="917" y="1045"/>
                </a:lnTo>
                <a:lnTo>
                  <a:pt x="917" y="1043"/>
                </a:lnTo>
                <a:lnTo>
                  <a:pt x="918" y="1041"/>
                </a:lnTo>
                <a:lnTo>
                  <a:pt x="920" y="1038"/>
                </a:lnTo>
                <a:lnTo>
                  <a:pt x="921" y="1037"/>
                </a:lnTo>
                <a:lnTo>
                  <a:pt x="923" y="1035"/>
                </a:lnTo>
                <a:lnTo>
                  <a:pt x="927" y="1034"/>
                </a:lnTo>
                <a:close/>
                <a:moveTo>
                  <a:pt x="2855" y="678"/>
                </a:moveTo>
                <a:lnTo>
                  <a:pt x="2857" y="678"/>
                </a:lnTo>
                <a:lnTo>
                  <a:pt x="2860" y="678"/>
                </a:lnTo>
                <a:lnTo>
                  <a:pt x="2862" y="679"/>
                </a:lnTo>
                <a:lnTo>
                  <a:pt x="2865" y="680"/>
                </a:lnTo>
                <a:lnTo>
                  <a:pt x="2867" y="682"/>
                </a:lnTo>
                <a:lnTo>
                  <a:pt x="2868" y="684"/>
                </a:lnTo>
                <a:lnTo>
                  <a:pt x="2869" y="686"/>
                </a:lnTo>
                <a:lnTo>
                  <a:pt x="2870" y="688"/>
                </a:lnTo>
                <a:lnTo>
                  <a:pt x="2870" y="691"/>
                </a:lnTo>
                <a:lnTo>
                  <a:pt x="2870" y="694"/>
                </a:lnTo>
                <a:lnTo>
                  <a:pt x="2869" y="696"/>
                </a:lnTo>
                <a:lnTo>
                  <a:pt x="2868" y="697"/>
                </a:lnTo>
                <a:lnTo>
                  <a:pt x="2866" y="700"/>
                </a:lnTo>
                <a:lnTo>
                  <a:pt x="2863" y="702"/>
                </a:lnTo>
                <a:lnTo>
                  <a:pt x="2859" y="703"/>
                </a:lnTo>
                <a:lnTo>
                  <a:pt x="2857" y="704"/>
                </a:lnTo>
                <a:lnTo>
                  <a:pt x="2854" y="703"/>
                </a:lnTo>
                <a:lnTo>
                  <a:pt x="2852" y="702"/>
                </a:lnTo>
                <a:lnTo>
                  <a:pt x="2849" y="701"/>
                </a:lnTo>
                <a:lnTo>
                  <a:pt x="2847" y="700"/>
                </a:lnTo>
                <a:lnTo>
                  <a:pt x="2846" y="698"/>
                </a:lnTo>
                <a:lnTo>
                  <a:pt x="2845" y="695"/>
                </a:lnTo>
                <a:lnTo>
                  <a:pt x="2844" y="693"/>
                </a:lnTo>
                <a:lnTo>
                  <a:pt x="2844" y="690"/>
                </a:lnTo>
                <a:lnTo>
                  <a:pt x="2844" y="688"/>
                </a:lnTo>
                <a:lnTo>
                  <a:pt x="2845" y="686"/>
                </a:lnTo>
                <a:lnTo>
                  <a:pt x="2846" y="684"/>
                </a:lnTo>
                <a:lnTo>
                  <a:pt x="2848" y="681"/>
                </a:lnTo>
                <a:lnTo>
                  <a:pt x="2851" y="679"/>
                </a:lnTo>
                <a:lnTo>
                  <a:pt x="2855" y="678"/>
                </a:lnTo>
                <a:close/>
                <a:moveTo>
                  <a:pt x="971" y="984"/>
                </a:moveTo>
                <a:lnTo>
                  <a:pt x="974" y="984"/>
                </a:lnTo>
                <a:lnTo>
                  <a:pt x="977" y="985"/>
                </a:lnTo>
                <a:lnTo>
                  <a:pt x="980" y="986"/>
                </a:lnTo>
                <a:lnTo>
                  <a:pt x="982" y="988"/>
                </a:lnTo>
                <a:lnTo>
                  <a:pt x="984" y="990"/>
                </a:lnTo>
                <a:lnTo>
                  <a:pt x="985" y="992"/>
                </a:lnTo>
                <a:lnTo>
                  <a:pt x="986" y="993"/>
                </a:lnTo>
                <a:lnTo>
                  <a:pt x="986" y="994"/>
                </a:lnTo>
                <a:lnTo>
                  <a:pt x="987" y="997"/>
                </a:lnTo>
                <a:lnTo>
                  <a:pt x="986" y="1002"/>
                </a:lnTo>
                <a:lnTo>
                  <a:pt x="985" y="1004"/>
                </a:lnTo>
                <a:lnTo>
                  <a:pt x="983" y="1006"/>
                </a:lnTo>
                <a:lnTo>
                  <a:pt x="980" y="1009"/>
                </a:lnTo>
                <a:lnTo>
                  <a:pt x="978" y="1010"/>
                </a:lnTo>
                <a:lnTo>
                  <a:pt x="976" y="1010"/>
                </a:lnTo>
                <a:lnTo>
                  <a:pt x="973" y="1010"/>
                </a:lnTo>
                <a:lnTo>
                  <a:pt x="970" y="1010"/>
                </a:lnTo>
                <a:lnTo>
                  <a:pt x="967" y="1009"/>
                </a:lnTo>
                <a:lnTo>
                  <a:pt x="965" y="1007"/>
                </a:lnTo>
                <a:lnTo>
                  <a:pt x="963" y="1005"/>
                </a:lnTo>
                <a:lnTo>
                  <a:pt x="962" y="1003"/>
                </a:lnTo>
                <a:lnTo>
                  <a:pt x="961" y="1002"/>
                </a:lnTo>
                <a:lnTo>
                  <a:pt x="961" y="1000"/>
                </a:lnTo>
                <a:lnTo>
                  <a:pt x="960" y="998"/>
                </a:lnTo>
                <a:lnTo>
                  <a:pt x="961" y="993"/>
                </a:lnTo>
                <a:lnTo>
                  <a:pt x="962" y="991"/>
                </a:lnTo>
                <a:lnTo>
                  <a:pt x="964" y="988"/>
                </a:lnTo>
                <a:lnTo>
                  <a:pt x="967" y="986"/>
                </a:lnTo>
                <a:lnTo>
                  <a:pt x="969" y="985"/>
                </a:lnTo>
                <a:lnTo>
                  <a:pt x="971" y="984"/>
                </a:lnTo>
                <a:close/>
                <a:moveTo>
                  <a:pt x="2790" y="663"/>
                </a:moveTo>
                <a:lnTo>
                  <a:pt x="2793" y="663"/>
                </a:lnTo>
                <a:lnTo>
                  <a:pt x="2796" y="663"/>
                </a:lnTo>
                <a:lnTo>
                  <a:pt x="2798" y="664"/>
                </a:lnTo>
                <a:lnTo>
                  <a:pt x="2800" y="665"/>
                </a:lnTo>
                <a:lnTo>
                  <a:pt x="2802" y="667"/>
                </a:lnTo>
                <a:lnTo>
                  <a:pt x="2804" y="669"/>
                </a:lnTo>
                <a:lnTo>
                  <a:pt x="2805" y="671"/>
                </a:lnTo>
                <a:lnTo>
                  <a:pt x="2805" y="673"/>
                </a:lnTo>
                <a:lnTo>
                  <a:pt x="2806" y="676"/>
                </a:lnTo>
                <a:lnTo>
                  <a:pt x="2805" y="679"/>
                </a:lnTo>
                <a:lnTo>
                  <a:pt x="2805" y="680"/>
                </a:lnTo>
                <a:lnTo>
                  <a:pt x="2804" y="682"/>
                </a:lnTo>
                <a:lnTo>
                  <a:pt x="2801" y="685"/>
                </a:lnTo>
                <a:lnTo>
                  <a:pt x="2798" y="687"/>
                </a:lnTo>
                <a:lnTo>
                  <a:pt x="2795" y="688"/>
                </a:lnTo>
                <a:lnTo>
                  <a:pt x="2792" y="689"/>
                </a:lnTo>
                <a:lnTo>
                  <a:pt x="2790" y="688"/>
                </a:lnTo>
                <a:lnTo>
                  <a:pt x="2787" y="687"/>
                </a:lnTo>
                <a:lnTo>
                  <a:pt x="2785" y="686"/>
                </a:lnTo>
                <a:lnTo>
                  <a:pt x="2783" y="684"/>
                </a:lnTo>
                <a:lnTo>
                  <a:pt x="2782" y="682"/>
                </a:lnTo>
                <a:lnTo>
                  <a:pt x="2780" y="680"/>
                </a:lnTo>
                <a:lnTo>
                  <a:pt x="2780" y="678"/>
                </a:lnTo>
                <a:lnTo>
                  <a:pt x="2780" y="675"/>
                </a:lnTo>
                <a:lnTo>
                  <a:pt x="2780" y="673"/>
                </a:lnTo>
                <a:lnTo>
                  <a:pt x="2781" y="671"/>
                </a:lnTo>
                <a:lnTo>
                  <a:pt x="2781" y="669"/>
                </a:lnTo>
                <a:lnTo>
                  <a:pt x="2784" y="666"/>
                </a:lnTo>
                <a:lnTo>
                  <a:pt x="2787" y="664"/>
                </a:lnTo>
                <a:lnTo>
                  <a:pt x="2790" y="663"/>
                </a:lnTo>
                <a:close/>
                <a:moveTo>
                  <a:pt x="2726" y="648"/>
                </a:moveTo>
                <a:lnTo>
                  <a:pt x="2729" y="647"/>
                </a:lnTo>
                <a:lnTo>
                  <a:pt x="2731" y="648"/>
                </a:lnTo>
                <a:lnTo>
                  <a:pt x="2734" y="649"/>
                </a:lnTo>
                <a:lnTo>
                  <a:pt x="2736" y="650"/>
                </a:lnTo>
                <a:lnTo>
                  <a:pt x="2738" y="652"/>
                </a:lnTo>
                <a:lnTo>
                  <a:pt x="2739" y="654"/>
                </a:lnTo>
                <a:lnTo>
                  <a:pt x="2740" y="656"/>
                </a:lnTo>
                <a:lnTo>
                  <a:pt x="2741" y="658"/>
                </a:lnTo>
                <a:lnTo>
                  <a:pt x="2741" y="661"/>
                </a:lnTo>
                <a:lnTo>
                  <a:pt x="2741" y="663"/>
                </a:lnTo>
                <a:lnTo>
                  <a:pt x="2740" y="665"/>
                </a:lnTo>
                <a:lnTo>
                  <a:pt x="2739" y="667"/>
                </a:lnTo>
                <a:lnTo>
                  <a:pt x="2737" y="670"/>
                </a:lnTo>
                <a:lnTo>
                  <a:pt x="2734" y="672"/>
                </a:lnTo>
                <a:lnTo>
                  <a:pt x="2730" y="673"/>
                </a:lnTo>
                <a:lnTo>
                  <a:pt x="2728" y="673"/>
                </a:lnTo>
                <a:lnTo>
                  <a:pt x="2725" y="673"/>
                </a:lnTo>
                <a:lnTo>
                  <a:pt x="2723" y="672"/>
                </a:lnTo>
                <a:lnTo>
                  <a:pt x="2721" y="671"/>
                </a:lnTo>
                <a:lnTo>
                  <a:pt x="2719" y="669"/>
                </a:lnTo>
                <a:lnTo>
                  <a:pt x="2717" y="667"/>
                </a:lnTo>
                <a:lnTo>
                  <a:pt x="2716" y="665"/>
                </a:lnTo>
                <a:lnTo>
                  <a:pt x="2715" y="663"/>
                </a:lnTo>
                <a:lnTo>
                  <a:pt x="2715" y="660"/>
                </a:lnTo>
                <a:lnTo>
                  <a:pt x="2716" y="657"/>
                </a:lnTo>
                <a:lnTo>
                  <a:pt x="2716" y="655"/>
                </a:lnTo>
                <a:lnTo>
                  <a:pt x="2717" y="654"/>
                </a:lnTo>
                <a:lnTo>
                  <a:pt x="2719" y="651"/>
                </a:lnTo>
                <a:lnTo>
                  <a:pt x="2722" y="649"/>
                </a:lnTo>
                <a:lnTo>
                  <a:pt x="2726" y="648"/>
                </a:lnTo>
                <a:close/>
                <a:moveTo>
                  <a:pt x="1017" y="936"/>
                </a:moveTo>
                <a:lnTo>
                  <a:pt x="1020" y="936"/>
                </a:lnTo>
                <a:lnTo>
                  <a:pt x="1023" y="937"/>
                </a:lnTo>
                <a:lnTo>
                  <a:pt x="1025" y="938"/>
                </a:lnTo>
                <a:lnTo>
                  <a:pt x="1028" y="940"/>
                </a:lnTo>
                <a:lnTo>
                  <a:pt x="1030" y="942"/>
                </a:lnTo>
                <a:lnTo>
                  <a:pt x="1031" y="944"/>
                </a:lnTo>
                <a:lnTo>
                  <a:pt x="1032" y="946"/>
                </a:lnTo>
                <a:lnTo>
                  <a:pt x="1032" y="949"/>
                </a:lnTo>
                <a:lnTo>
                  <a:pt x="1032" y="951"/>
                </a:lnTo>
                <a:lnTo>
                  <a:pt x="1031" y="954"/>
                </a:lnTo>
                <a:lnTo>
                  <a:pt x="1030" y="956"/>
                </a:lnTo>
                <a:lnTo>
                  <a:pt x="1028" y="958"/>
                </a:lnTo>
                <a:lnTo>
                  <a:pt x="1025" y="961"/>
                </a:lnTo>
                <a:lnTo>
                  <a:pt x="1021" y="962"/>
                </a:lnTo>
                <a:lnTo>
                  <a:pt x="1018" y="962"/>
                </a:lnTo>
                <a:lnTo>
                  <a:pt x="1015" y="962"/>
                </a:lnTo>
                <a:lnTo>
                  <a:pt x="1012" y="960"/>
                </a:lnTo>
                <a:lnTo>
                  <a:pt x="1010" y="958"/>
                </a:lnTo>
                <a:lnTo>
                  <a:pt x="1008" y="956"/>
                </a:lnTo>
                <a:lnTo>
                  <a:pt x="1007" y="954"/>
                </a:lnTo>
                <a:lnTo>
                  <a:pt x="1006" y="952"/>
                </a:lnTo>
                <a:lnTo>
                  <a:pt x="1006" y="949"/>
                </a:lnTo>
                <a:lnTo>
                  <a:pt x="1006" y="947"/>
                </a:lnTo>
                <a:lnTo>
                  <a:pt x="1007" y="944"/>
                </a:lnTo>
                <a:lnTo>
                  <a:pt x="1008" y="942"/>
                </a:lnTo>
                <a:lnTo>
                  <a:pt x="1010" y="940"/>
                </a:lnTo>
                <a:lnTo>
                  <a:pt x="1013" y="938"/>
                </a:lnTo>
                <a:lnTo>
                  <a:pt x="1017" y="936"/>
                </a:lnTo>
                <a:close/>
                <a:moveTo>
                  <a:pt x="2662" y="632"/>
                </a:moveTo>
                <a:lnTo>
                  <a:pt x="2664" y="632"/>
                </a:lnTo>
                <a:lnTo>
                  <a:pt x="2667" y="633"/>
                </a:lnTo>
                <a:lnTo>
                  <a:pt x="2669" y="633"/>
                </a:lnTo>
                <a:lnTo>
                  <a:pt x="2671" y="635"/>
                </a:lnTo>
                <a:lnTo>
                  <a:pt x="2673" y="636"/>
                </a:lnTo>
                <a:lnTo>
                  <a:pt x="2675" y="638"/>
                </a:lnTo>
                <a:lnTo>
                  <a:pt x="2676" y="641"/>
                </a:lnTo>
                <a:lnTo>
                  <a:pt x="2677" y="643"/>
                </a:lnTo>
                <a:lnTo>
                  <a:pt x="2677" y="646"/>
                </a:lnTo>
                <a:lnTo>
                  <a:pt x="2676" y="648"/>
                </a:lnTo>
                <a:lnTo>
                  <a:pt x="2675" y="652"/>
                </a:lnTo>
                <a:lnTo>
                  <a:pt x="2673" y="655"/>
                </a:lnTo>
                <a:lnTo>
                  <a:pt x="2670" y="657"/>
                </a:lnTo>
                <a:lnTo>
                  <a:pt x="2666" y="658"/>
                </a:lnTo>
                <a:lnTo>
                  <a:pt x="2663" y="658"/>
                </a:lnTo>
                <a:lnTo>
                  <a:pt x="2661" y="658"/>
                </a:lnTo>
                <a:lnTo>
                  <a:pt x="2658" y="657"/>
                </a:lnTo>
                <a:lnTo>
                  <a:pt x="2656" y="656"/>
                </a:lnTo>
                <a:lnTo>
                  <a:pt x="2654" y="654"/>
                </a:lnTo>
                <a:lnTo>
                  <a:pt x="2653" y="652"/>
                </a:lnTo>
                <a:lnTo>
                  <a:pt x="2652" y="650"/>
                </a:lnTo>
                <a:lnTo>
                  <a:pt x="2651" y="648"/>
                </a:lnTo>
                <a:lnTo>
                  <a:pt x="2651" y="645"/>
                </a:lnTo>
                <a:lnTo>
                  <a:pt x="2651" y="642"/>
                </a:lnTo>
                <a:lnTo>
                  <a:pt x="2653" y="639"/>
                </a:lnTo>
                <a:lnTo>
                  <a:pt x="2655" y="636"/>
                </a:lnTo>
                <a:lnTo>
                  <a:pt x="2658" y="634"/>
                </a:lnTo>
                <a:lnTo>
                  <a:pt x="2662" y="632"/>
                </a:lnTo>
                <a:close/>
                <a:moveTo>
                  <a:pt x="1064" y="890"/>
                </a:moveTo>
                <a:lnTo>
                  <a:pt x="1067" y="889"/>
                </a:lnTo>
                <a:lnTo>
                  <a:pt x="1070" y="890"/>
                </a:lnTo>
                <a:lnTo>
                  <a:pt x="1073" y="891"/>
                </a:lnTo>
                <a:lnTo>
                  <a:pt x="1075" y="893"/>
                </a:lnTo>
                <a:lnTo>
                  <a:pt x="1077" y="896"/>
                </a:lnTo>
                <a:lnTo>
                  <a:pt x="1078" y="898"/>
                </a:lnTo>
                <a:lnTo>
                  <a:pt x="1079" y="900"/>
                </a:lnTo>
                <a:lnTo>
                  <a:pt x="1079" y="903"/>
                </a:lnTo>
                <a:lnTo>
                  <a:pt x="1079" y="905"/>
                </a:lnTo>
                <a:lnTo>
                  <a:pt x="1078" y="908"/>
                </a:lnTo>
                <a:lnTo>
                  <a:pt x="1077" y="910"/>
                </a:lnTo>
                <a:lnTo>
                  <a:pt x="1075" y="912"/>
                </a:lnTo>
                <a:lnTo>
                  <a:pt x="1073" y="913"/>
                </a:lnTo>
                <a:lnTo>
                  <a:pt x="1072" y="914"/>
                </a:lnTo>
                <a:lnTo>
                  <a:pt x="1068" y="915"/>
                </a:lnTo>
                <a:lnTo>
                  <a:pt x="1065" y="915"/>
                </a:lnTo>
                <a:lnTo>
                  <a:pt x="1062" y="915"/>
                </a:lnTo>
                <a:lnTo>
                  <a:pt x="1059" y="914"/>
                </a:lnTo>
                <a:lnTo>
                  <a:pt x="1056" y="911"/>
                </a:lnTo>
                <a:lnTo>
                  <a:pt x="1055" y="909"/>
                </a:lnTo>
                <a:lnTo>
                  <a:pt x="1054" y="907"/>
                </a:lnTo>
                <a:lnTo>
                  <a:pt x="1053" y="905"/>
                </a:lnTo>
                <a:lnTo>
                  <a:pt x="1053" y="902"/>
                </a:lnTo>
                <a:lnTo>
                  <a:pt x="1053" y="900"/>
                </a:lnTo>
                <a:lnTo>
                  <a:pt x="1054" y="897"/>
                </a:lnTo>
                <a:lnTo>
                  <a:pt x="1055" y="895"/>
                </a:lnTo>
                <a:lnTo>
                  <a:pt x="1057" y="893"/>
                </a:lnTo>
                <a:lnTo>
                  <a:pt x="1058" y="892"/>
                </a:lnTo>
                <a:lnTo>
                  <a:pt x="1060" y="891"/>
                </a:lnTo>
                <a:lnTo>
                  <a:pt x="1064" y="890"/>
                </a:lnTo>
                <a:close/>
                <a:moveTo>
                  <a:pt x="2597" y="618"/>
                </a:moveTo>
                <a:lnTo>
                  <a:pt x="2600" y="617"/>
                </a:lnTo>
                <a:lnTo>
                  <a:pt x="2602" y="618"/>
                </a:lnTo>
                <a:lnTo>
                  <a:pt x="2605" y="619"/>
                </a:lnTo>
                <a:lnTo>
                  <a:pt x="2607" y="620"/>
                </a:lnTo>
                <a:lnTo>
                  <a:pt x="2609" y="621"/>
                </a:lnTo>
                <a:lnTo>
                  <a:pt x="2610" y="623"/>
                </a:lnTo>
                <a:lnTo>
                  <a:pt x="2611" y="626"/>
                </a:lnTo>
                <a:lnTo>
                  <a:pt x="2612" y="628"/>
                </a:lnTo>
                <a:lnTo>
                  <a:pt x="2612" y="631"/>
                </a:lnTo>
                <a:lnTo>
                  <a:pt x="2612" y="633"/>
                </a:lnTo>
                <a:lnTo>
                  <a:pt x="2611" y="637"/>
                </a:lnTo>
                <a:lnTo>
                  <a:pt x="2608" y="640"/>
                </a:lnTo>
                <a:lnTo>
                  <a:pt x="2605" y="642"/>
                </a:lnTo>
                <a:lnTo>
                  <a:pt x="2602" y="643"/>
                </a:lnTo>
                <a:lnTo>
                  <a:pt x="2599" y="643"/>
                </a:lnTo>
                <a:lnTo>
                  <a:pt x="2596" y="643"/>
                </a:lnTo>
                <a:lnTo>
                  <a:pt x="2594" y="642"/>
                </a:lnTo>
                <a:lnTo>
                  <a:pt x="2592" y="641"/>
                </a:lnTo>
                <a:lnTo>
                  <a:pt x="2590" y="639"/>
                </a:lnTo>
                <a:lnTo>
                  <a:pt x="2588" y="637"/>
                </a:lnTo>
                <a:lnTo>
                  <a:pt x="2587" y="635"/>
                </a:lnTo>
                <a:lnTo>
                  <a:pt x="2587" y="633"/>
                </a:lnTo>
                <a:lnTo>
                  <a:pt x="2586" y="630"/>
                </a:lnTo>
                <a:lnTo>
                  <a:pt x="2587" y="627"/>
                </a:lnTo>
                <a:lnTo>
                  <a:pt x="2588" y="624"/>
                </a:lnTo>
                <a:lnTo>
                  <a:pt x="2590" y="621"/>
                </a:lnTo>
                <a:lnTo>
                  <a:pt x="2594" y="619"/>
                </a:lnTo>
                <a:lnTo>
                  <a:pt x="2597" y="618"/>
                </a:lnTo>
                <a:close/>
                <a:moveTo>
                  <a:pt x="2533" y="603"/>
                </a:moveTo>
                <a:lnTo>
                  <a:pt x="2535" y="603"/>
                </a:lnTo>
                <a:lnTo>
                  <a:pt x="2538" y="603"/>
                </a:lnTo>
                <a:lnTo>
                  <a:pt x="2542" y="605"/>
                </a:lnTo>
                <a:lnTo>
                  <a:pt x="2544" y="607"/>
                </a:lnTo>
                <a:lnTo>
                  <a:pt x="2546" y="609"/>
                </a:lnTo>
                <a:lnTo>
                  <a:pt x="2547" y="611"/>
                </a:lnTo>
                <a:lnTo>
                  <a:pt x="2548" y="613"/>
                </a:lnTo>
                <a:lnTo>
                  <a:pt x="2548" y="619"/>
                </a:lnTo>
                <a:lnTo>
                  <a:pt x="2546" y="622"/>
                </a:lnTo>
                <a:lnTo>
                  <a:pt x="2544" y="625"/>
                </a:lnTo>
                <a:lnTo>
                  <a:pt x="2541" y="627"/>
                </a:lnTo>
                <a:lnTo>
                  <a:pt x="2537" y="628"/>
                </a:lnTo>
                <a:lnTo>
                  <a:pt x="2535" y="629"/>
                </a:lnTo>
                <a:lnTo>
                  <a:pt x="2532" y="628"/>
                </a:lnTo>
                <a:lnTo>
                  <a:pt x="2527" y="626"/>
                </a:lnTo>
                <a:lnTo>
                  <a:pt x="2525" y="625"/>
                </a:lnTo>
                <a:lnTo>
                  <a:pt x="2524" y="623"/>
                </a:lnTo>
                <a:lnTo>
                  <a:pt x="2523" y="620"/>
                </a:lnTo>
                <a:lnTo>
                  <a:pt x="2522" y="618"/>
                </a:lnTo>
                <a:lnTo>
                  <a:pt x="2522" y="615"/>
                </a:lnTo>
                <a:lnTo>
                  <a:pt x="2522" y="613"/>
                </a:lnTo>
                <a:lnTo>
                  <a:pt x="2524" y="609"/>
                </a:lnTo>
                <a:lnTo>
                  <a:pt x="2526" y="606"/>
                </a:lnTo>
                <a:lnTo>
                  <a:pt x="2529" y="604"/>
                </a:lnTo>
                <a:lnTo>
                  <a:pt x="2533" y="603"/>
                </a:lnTo>
                <a:close/>
                <a:moveTo>
                  <a:pt x="1112" y="845"/>
                </a:moveTo>
                <a:lnTo>
                  <a:pt x="1115" y="845"/>
                </a:lnTo>
                <a:lnTo>
                  <a:pt x="1119" y="845"/>
                </a:lnTo>
                <a:lnTo>
                  <a:pt x="1121" y="847"/>
                </a:lnTo>
                <a:lnTo>
                  <a:pt x="1123" y="848"/>
                </a:lnTo>
                <a:lnTo>
                  <a:pt x="1124" y="849"/>
                </a:lnTo>
                <a:lnTo>
                  <a:pt x="1126" y="851"/>
                </a:lnTo>
                <a:lnTo>
                  <a:pt x="1127" y="853"/>
                </a:lnTo>
                <a:lnTo>
                  <a:pt x="1127" y="856"/>
                </a:lnTo>
                <a:lnTo>
                  <a:pt x="1127" y="858"/>
                </a:lnTo>
                <a:lnTo>
                  <a:pt x="1127" y="861"/>
                </a:lnTo>
                <a:lnTo>
                  <a:pt x="1126" y="863"/>
                </a:lnTo>
                <a:lnTo>
                  <a:pt x="1125" y="865"/>
                </a:lnTo>
                <a:lnTo>
                  <a:pt x="1123" y="867"/>
                </a:lnTo>
                <a:lnTo>
                  <a:pt x="1120" y="869"/>
                </a:lnTo>
                <a:lnTo>
                  <a:pt x="1118" y="870"/>
                </a:lnTo>
                <a:lnTo>
                  <a:pt x="1117" y="870"/>
                </a:lnTo>
                <a:lnTo>
                  <a:pt x="1113" y="871"/>
                </a:lnTo>
                <a:lnTo>
                  <a:pt x="1110" y="870"/>
                </a:lnTo>
                <a:lnTo>
                  <a:pt x="1107" y="868"/>
                </a:lnTo>
                <a:lnTo>
                  <a:pt x="1106" y="867"/>
                </a:lnTo>
                <a:lnTo>
                  <a:pt x="1105" y="866"/>
                </a:lnTo>
                <a:lnTo>
                  <a:pt x="1103" y="864"/>
                </a:lnTo>
                <a:lnTo>
                  <a:pt x="1102" y="862"/>
                </a:lnTo>
                <a:lnTo>
                  <a:pt x="1101" y="859"/>
                </a:lnTo>
                <a:lnTo>
                  <a:pt x="1101" y="857"/>
                </a:lnTo>
                <a:lnTo>
                  <a:pt x="1102" y="854"/>
                </a:lnTo>
                <a:lnTo>
                  <a:pt x="1103" y="852"/>
                </a:lnTo>
                <a:lnTo>
                  <a:pt x="1104" y="850"/>
                </a:lnTo>
                <a:lnTo>
                  <a:pt x="1106" y="848"/>
                </a:lnTo>
                <a:lnTo>
                  <a:pt x="1109" y="846"/>
                </a:lnTo>
                <a:lnTo>
                  <a:pt x="1110" y="845"/>
                </a:lnTo>
                <a:lnTo>
                  <a:pt x="1112" y="845"/>
                </a:lnTo>
                <a:close/>
                <a:moveTo>
                  <a:pt x="2468" y="588"/>
                </a:moveTo>
                <a:lnTo>
                  <a:pt x="2473" y="588"/>
                </a:lnTo>
                <a:lnTo>
                  <a:pt x="2478" y="590"/>
                </a:lnTo>
                <a:lnTo>
                  <a:pt x="2480" y="592"/>
                </a:lnTo>
                <a:lnTo>
                  <a:pt x="2481" y="594"/>
                </a:lnTo>
                <a:lnTo>
                  <a:pt x="2482" y="596"/>
                </a:lnTo>
                <a:lnTo>
                  <a:pt x="2483" y="599"/>
                </a:lnTo>
                <a:lnTo>
                  <a:pt x="2483" y="604"/>
                </a:lnTo>
                <a:lnTo>
                  <a:pt x="2482" y="608"/>
                </a:lnTo>
                <a:lnTo>
                  <a:pt x="2479" y="610"/>
                </a:lnTo>
                <a:lnTo>
                  <a:pt x="2476" y="613"/>
                </a:lnTo>
                <a:lnTo>
                  <a:pt x="2473" y="614"/>
                </a:lnTo>
                <a:lnTo>
                  <a:pt x="2467" y="614"/>
                </a:lnTo>
                <a:lnTo>
                  <a:pt x="2463" y="612"/>
                </a:lnTo>
                <a:lnTo>
                  <a:pt x="2461" y="610"/>
                </a:lnTo>
                <a:lnTo>
                  <a:pt x="2459" y="608"/>
                </a:lnTo>
                <a:lnTo>
                  <a:pt x="2458" y="606"/>
                </a:lnTo>
                <a:lnTo>
                  <a:pt x="2457" y="603"/>
                </a:lnTo>
                <a:lnTo>
                  <a:pt x="2458" y="598"/>
                </a:lnTo>
                <a:lnTo>
                  <a:pt x="2459" y="594"/>
                </a:lnTo>
                <a:lnTo>
                  <a:pt x="2461" y="592"/>
                </a:lnTo>
                <a:lnTo>
                  <a:pt x="2464" y="589"/>
                </a:lnTo>
                <a:lnTo>
                  <a:pt x="2468" y="588"/>
                </a:lnTo>
                <a:close/>
                <a:moveTo>
                  <a:pt x="1162" y="802"/>
                </a:moveTo>
                <a:lnTo>
                  <a:pt x="1166" y="801"/>
                </a:lnTo>
                <a:lnTo>
                  <a:pt x="1169" y="802"/>
                </a:lnTo>
                <a:lnTo>
                  <a:pt x="1172" y="804"/>
                </a:lnTo>
                <a:lnTo>
                  <a:pt x="1175" y="806"/>
                </a:lnTo>
                <a:lnTo>
                  <a:pt x="1176" y="808"/>
                </a:lnTo>
                <a:lnTo>
                  <a:pt x="1177" y="811"/>
                </a:lnTo>
                <a:lnTo>
                  <a:pt x="1177" y="813"/>
                </a:lnTo>
                <a:lnTo>
                  <a:pt x="1177" y="816"/>
                </a:lnTo>
                <a:lnTo>
                  <a:pt x="1177" y="818"/>
                </a:lnTo>
                <a:lnTo>
                  <a:pt x="1176" y="820"/>
                </a:lnTo>
                <a:lnTo>
                  <a:pt x="1175" y="823"/>
                </a:lnTo>
                <a:lnTo>
                  <a:pt x="1173" y="824"/>
                </a:lnTo>
                <a:lnTo>
                  <a:pt x="1170" y="826"/>
                </a:lnTo>
                <a:lnTo>
                  <a:pt x="1167" y="827"/>
                </a:lnTo>
                <a:lnTo>
                  <a:pt x="1163" y="827"/>
                </a:lnTo>
                <a:lnTo>
                  <a:pt x="1160" y="827"/>
                </a:lnTo>
                <a:lnTo>
                  <a:pt x="1157" y="825"/>
                </a:lnTo>
                <a:lnTo>
                  <a:pt x="1154" y="823"/>
                </a:lnTo>
                <a:lnTo>
                  <a:pt x="1153" y="821"/>
                </a:lnTo>
                <a:lnTo>
                  <a:pt x="1152" y="818"/>
                </a:lnTo>
                <a:lnTo>
                  <a:pt x="1152" y="816"/>
                </a:lnTo>
                <a:lnTo>
                  <a:pt x="1152" y="813"/>
                </a:lnTo>
                <a:lnTo>
                  <a:pt x="1152" y="811"/>
                </a:lnTo>
                <a:lnTo>
                  <a:pt x="1153" y="808"/>
                </a:lnTo>
                <a:lnTo>
                  <a:pt x="1154" y="806"/>
                </a:lnTo>
                <a:lnTo>
                  <a:pt x="1156" y="804"/>
                </a:lnTo>
                <a:lnTo>
                  <a:pt x="1159" y="803"/>
                </a:lnTo>
                <a:lnTo>
                  <a:pt x="1162" y="802"/>
                </a:lnTo>
                <a:close/>
                <a:moveTo>
                  <a:pt x="2403" y="574"/>
                </a:moveTo>
                <a:lnTo>
                  <a:pt x="2409" y="574"/>
                </a:lnTo>
                <a:lnTo>
                  <a:pt x="2411" y="575"/>
                </a:lnTo>
                <a:lnTo>
                  <a:pt x="2413" y="576"/>
                </a:lnTo>
                <a:lnTo>
                  <a:pt x="2415" y="578"/>
                </a:lnTo>
                <a:lnTo>
                  <a:pt x="2417" y="580"/>
                </a:lnTo>
                <a:lnTo>
                  <a:pt x="2418" y="582"/>
                </a:lnTo>
                <a:lnTo>
                  <a:pt x="2419" y="584"/>
                </a:lnTo>
                <a:lnTo>
                  <a:pt x="2418" y="589"/>
                </a:lnTo>
                <a:lnTo>
                  <a:pt x="2417" y="593"/>
                </a:lnTo>
                <a:lnTo>
                  <a:pt x="2415" y="596"/>
                </a:lnTo>
                <a:lnTo>
                  <a:pt x="2412" y="598"/>
                </a:lnTo>
                <a:lnTo>
                  <a:pt x="2408" y="599"/>
                </a:lnTo>
                <a:lnTo>
                  <a:pt x="2403" y="599"/>
                </a:lnTo>
                <a:lnTo>
                  <a:pt x="2400" y="598"/>
                </a:lnTo>
                <a:lnTo>
                  <a:pt x="2398" y="597"/>
                </a:lnTo>
                <a:lnTo>
                  <a:pt x="2396" y="596"/>
                </a:lnTo>
                <a:lnTo>
                  <a:pt x="2395" y="594"/>
                </a:lnTo>
                <a:lnTo>
                  <a:pt x="2394" y="591"/>
                </a:lnTo>
                <a:lnTo>
                  <a:pt x="2393" y="589"/>
                </a:lnTo>
                <a:lnTo>
                  <a:pt x="2393" y="584"/>
                </a:lnTo>
                <a:lnTo>
                  <a:pt x="2394" y="580"/>
                </a:lnTo>
                <a:lnTo>
                  <a:pt x="2397" y="577"/>
                </a:lnTo>
                <a:lnTo>
                  <a:pt x="2400" y="575"/>
                </a:lnTo>
                <a:lnTo>
                  <a:pt x="2403" y="574"/>
                </a:lnTo>
                <a:close/>
                <a:moveTo>
                  <a:pt x="1214" y="761"/>
                </a:moveTo>
                <a:lnTo>
                  <a:pt x="1218" y="760"/>
                </a:lnTo>
                <a:lnTo>
                  <a:pt x="1221" y="761"/>
                </a:lnTo>
                <a:lnTo>
                  <a:pt x="1224" y="763"/>
                </a:lnTo>
                <a:lnTo>
                  <a:pt x="1227" y="765"/>
                </a:lnTo>
                <a:lnTo>
                  <a:pt x="1228" y="768"/>
                </a:lnTo>
                <a:lnTo>
                  <a:pt x="1229" y="770"/>
                </a:lnTo>
                <a:lnTo>
                  <a:pt x="1229" y="773"/>
                </a:lnTo>
                <a:lnTo>
                  <a:pt x="1229" y="775"/>
                </a:lnTo>
                <a:lnTo>
                  <a:pt x="1229" y="778"/>
                </a:lnTo>
                <a:lnTo>
                  <a:pt x="1228" y="780"/>
                </a:lnTo>
                <a:lnTo>
                  <a:pt x="1226" y="782"/>
                </a:lnTo>
                <a:lnTo>
                  <a:pt x="1224" y="784"/>
                </a:lnTo>
                <a:lnTo>
                  <a:pt x="1223" y="785"/>
                </a:lnTo>
                <a:lnTo>
                  <a:pt x="1222" y="785"/>
                </a:lnTo>
                <a:lnTo>
                  <a:pt x="1219" y="786"/>
                </a:lnTo>
                <a:lnTo>
                  <a:pt x="1215" y="786"/>
                </a:lnTo>
                <a:lnTo>
                  <a:pt x="1212" y="786"/>
                </a:lnTo>
                <a:lnTo>
                  <a:pt x="1209" y="784"/>
                </a:lnTo>
                <a:lnTo>
                  <a:pt x="1206" y="781"/>
                </a:lnTo>
                <a:lnTo>
                  <a:pt x="1205" y="779"/>
                </a:lnTo>
                <a:lnTo>
                  <a:pt x="1204" y="777"/>
                </a:lnTo>
                <a:lnTo>
                  <a:pt x="1203" y="774"/>
                </a:lnTo>
                <a:lnTo>
                  <a:pt x="1203" y="772"/>
                </a:lnTo>
                <a:lnTo>
                  <a:pt x="1204" y="769"/>
                </a:lnTo>
                <a:lnTo>
                  <a:pt x="1205" y="767"/>
                </a:lnTo>
                <a:lnTo>
                  <a:pt x="1207" y="765"/>
                </a:lnTo>
                <a:lnTo>
                  <a:pt x="1208" y="763"/>
                </a:lnTo>
                <a:lnTo>
                  <a:pt x="1210" y="762"/>
                </a:lnTo>
                <a:lnTo>
                  <a:pt x="1211" y="761"/>
                </a:lnTo>
                <a:lnTo>
                  <a:pt x="1214" y="761"/>
                </a:lnTo>
                <a:close/>
                <a:moveTo>
                  <a:pt x="2339" y="559"/>
                </a:moveTo>
                <a:lnTo>
                  <a:pt x="2344" y="560"/>
                </a:lnTo>
                <a:lnTo>
                  <a:pt x="2346" y="560"/>
                </a:lnTo>
                <a:lnTo>
                  <a:pt x="2349" y="562"/>
                </a:lnTo>
                <a:lnTo>
                  <a:pt x="2351" y="563"/>
                </a:lnTo>
                <a:lnTo>
                  <a:pt x="2352" y="565"/>
                </a:lnTo>
                <a:lnTo>
                  <a:pt x="2353" y="567"/>
                </a:lnTo>
                <a:lnTo>
                  <a:pt x="2354" y="570"/>
                </a:lnTo>
                <a:lnTo>
                  <a:pt x="2354" y="575"/>
                </a:lnTo>
                <a:lnTo>
                  <a:pt x="2352" y="579"/>
                </a:lnTo>
                <a:lnTo>
                  <a:pt x="2350" y="582"/>
                </a:lnTo>
                <a:lnTo>
                  <a:pt x="2347" y="584"/>
                </a:lnTo>
                <a:lnTo>
                  <a:pt x="2343" y="585"/>
                </a:lnTo>
                <a:lnTo>
                  <a:pt x="2338" y="585"/>
                </a:lnTo>
                <a:lnTo>
                  <a:pt x="2336" y="584"/>
                </a:lnTo>
                <a:lnTo>
                  <a:pt x="2334" y="583"/>
                </a:lnTo>
                <a:lnTo>
                  <a:pt x="2332" y="581"/>
                </a:lnTo>
                <a:lnTo>
                  <a:pt x="2330" y="579"/>
                </a:lnTo>
                <a:lnTo>
                  <a:pt x="2329" y="577"/>
                </a:lnTo>
                <a:lnTo>
                  <a:pt x="2328" y="575"/>
                </a:lnTo>
                <a:lnTo>
                  <a:pt x="2328" y="569"/>
                </a:lnTo>
                <a:lnTo>
                  <a:pt x="2330" y="566"/>
                </a:lnTo>
                <a:lnTo>
                  <a:pt x="2332" y="563"/>
                </a:lnTo>
                <a:lnTo>
                  <a:pt x="2335" y="561"/>
                </a:lnTo>
                <a:lnTo>
                  <a:pt x="2339" y="559"/>
                </a:lnTo>
                <a:close/>
                <a:moveTo>
                  <a:pt x="2274" y="545"/>
                </a:moveTo>
                <a:lnTo>
                  <a:pt x="2279" y="545"/>
                </a:lnTo>
                <a:lnTo>
                  <a:pt x="2282" y="546"/>
                </a:lnTo>
                <a:lnTo>
                  <a:pt x="2284" y="547"/>
                </a:lnTo>
                <a:lnTo>
                  <a:pt x="2286" y="549"/>
                </a:lnTo>
                <a:lnTo>
                  <a:pt x="2287" y="551"/>
                </a:lnTo>
                <a:lnTo>
                  <a:pt x="2289" y="553"/>
                </a:lnTo>
                <a:lnTo>
                  <a:pt x="2289" y="556"/>
                </a:lnTo>
                <a:lnTo>
                  <a:pt x="2289" y="561"/>
                </a:lnTo>
                <a:lnTo>
                  <a:pt x="2288" y="565"/>
                </a:lnTo>
                <a:lnTo>
                  <a:pt x="2285" y="568"/>
                </a:lnTo>
                <a:lnTo>
                  <a:pt x="2282" y="570"/>
                </a:lnTo>
                <a:lnTo>
                  <a:pt x="2279" y="571"/>
                </a:lnTo>
                <a:lnTo>
                  <a:pt x="2274" y="571"/>
                </a:lnTo>
                <a:lnTo>
                  <a:pt x="2271" y="570"/>
                </a:lnTo>
                <a:lnTo>
                  <a:pt x="2269" y="569"/>
                </a:lnTo>
                <a:lnTo>
                  <a:pt x="2267" y="567"/>
                </a:lnTo>
                <a:lnTo>
                  <a:pt x="2266" y="565"/>
                </a:lnTo>
                <a:lnTo>
                  <a:pt x="2264" y="563"/>
                </a:lnTo>
                <a:lnTo>
                  <a:pt x="2264" y="560"/>
                </a:lnTo>
                <a:lnTo>
                  <a:pt x="2264" y="555"/>
                </a:lnTo>
                <a:lnTo>
                  <a:pt x="2265" y="552"/>
                </a:lnTo>
                <a:lnTo>
                  <a:pt x="2268" y="549"/>
                </a:lnTo>
                <a:lnTo>
                  <a:pt x="2271" y="546"/>
                </a:lnTo>
                <a:lnTo>
                  <a:pt x="2274" y="545"/>
                </a:lnTo>
                <a:close/>
                <a:moveTo>
                  <a:pt x="1268" y="722"/>
                </a:moveTo>
                <a:lnTo>
                  <a:pt x="1271" y="721"/>
                </a:lnTo>
                <a:lnTo>
                  <a:pt x="1275" y="722"/>
                </a:lnTo>
                <a:lnTo>
                  <a:pt x="1278" y="724"/>
                </a:lnTo>
                <a:lnTo>
                  <a:pt x="1280" y="727"/>
                </a:lnTo>
                <a:lnTo>
                  <a:pt x="1282" y="729"/>
                </a:lnTo>
                <a:lnTo>
                  <a:pt x="1283" y="732"/>
                </a:lnTo>
                <a:lnTo>
                  <a:pt x="1283" y="737"/>
                </a:lnTo>
                <a:lnTo>
                  <a:pt x="1282" y="739"/>
                </a:lnTo>
                <a:lnTo>
                  <a:pt x="1281" y="741"/>
                </a:lnTo>
                <a:lnTo>
                  <a:pt x="1279" y="743"/>
                </a:lnTo>
                <a:lnTo>
                  <a:pt x="1277" y="745"/>
                </a:lnTo>
                <a:lnTo>
                  <a:pt x="1275" y="746"/>
                </a:lnTo>
                <a:lnTo>
                  <a:pt x="1272" y="747"/>
                </a:lnTo>
                <a:lnTo>
                  <a:pt x="1268" y="747"/>
                </a:lnTo>
                <a:lnTo>
                  <a:pt x="1265" y="746"/>
                </a:lnTo>
                <a:lnTo>
                  <a:pt x="1262" y="745"/>
                </a:lnTo>
                <a:lnTo>
                  <a:pt x="1259" y="742"/>
                </a:lnTo>
                <a:lnTo>
                  <a:pt x="1258" y="740"/>
                </a:lnTo>
                <a:lnTo>
                  <a:pt x="1257" y="737"/>
                </a:lnTo>
                <a:lnTo>
                  <a:pt x="1257" y="732"/>
                </a:lnTo>
                <a:lnTo>
                  <a:pt x="1258" y="730"/>
                </a:lnTo>
                <a:lnTo>
                  <a:pt x="1259" y="727"/>
                </a:lnTo>
                <a:lnTo>
                  <a:pt x="1260" y="725"/>
                </a:lnTo>
                <a:lnTo>
                  <a:pt x="1262" y="724"/>
                </a:lnTo>
                <a:lnTo>
                  <a:pt x="1265" y="722"/>
                </a:lnTo>
                <a:lnTo>
                  <a:pt x="1268" y="722"/>
                </a:lnTo>
                <a:close/>
                <a:moveTo>
                  <a:pt x="2210" y="531"/>
                </a:moveTo>
                <a:lnTo>
                  <a:pt x="2215" y="531"/>
                </a:lnTo>
                <a:lnTo>
                  <a:pt x="2217" y="532"/>
                </a:lnTo>
                <a:lnTo>
                  <a:pt x="2219" y="533"/>
                </a:lnTo>
                <a:lnTo>
                  <a:pt x="2221" y="535"/>
                </a:lnTo>
                <a:lnTo>
                  <a:pt x="2223" y="537"/>
                </a:lnTo>
                <a:lnTo>
                  <a:pt x="2224" y="539"/>
                </a:lnTo>
                <a:lnTo>
                  <a:pt x="2225" y="542"/>
                </a:lnTo>
                <a:lnTo>
                  <a:pt x="2225" y="547"/>
                </a:lnTo>
                <a:lnTo>
                  <a:pt x="2223" y="551"/>
                </a:lnTo>
                <a:lnTo>
                  <a:pt x="2221" y="554"/>
                </a:lnTo>
                <a:lnTo>
                  <a:pt x="2218" y="556"/>
                </a:lnTo>
                <a:lnTo>
                  <a:pt x="2214" y="557"/>
                </a:lnTo>
                <a:lnTo>
                  <a:pt x="2208" y="557"/>
                </a:lnTo>
                <a:lnTo>
                  <a:pt x="2206" y="556"/>
                </a:lnTo>
                <a:lnTo>
                  <a:pt x="2203" y="555"/>
                </a:lnTo>
                <a:lnTo>
                  <a:pt x="2201" y="553"/>
                </a:lnTo>
                <a:lnTo>
                  <a:pt x="2200" y="551"/>
                </a:lnTo>
                <a:lnTo>
                  <a:pt x="2199" y="549"/>
                </a:lnTo>
                <a:lnTo>
                  <a:pt x="2198" y="546"/>
                </a:lnTo>
                <a:lnTo>
                  <a:pt x="2198" y="541"/>
                </a:lnTo>
                <a:lnTo>
                  <a:pt x="2200" y="538"/>
                </a:lnTo>
                <a:lnTo>
                  <a:pt x="2202" y="535"/>
                </a:lnTo>
                <a:lnTo>
                  <a:pt x="2205" y="532"/>
                </a:lnTo>
                <a:lnTo>
                  <a:pt x="2210" y="531"/>
                </a:lnTo>
                <a:close/>
                <a:moveTo>
                  <a:pt x="1323" y="685"/>
                </a:moveTo>
                <a:lnTo>
                  <a:pt x="1326" y="685"/>
                </a:lnTo>
                <a:lnTo>
                  <a:pt x="1330" y="686"/>
                </a:lnTo>
                <a:lnTo>
                  <a:pt x="1333" y="688"/>
                </a:lnTo>
                <a:lnTo>
                  <a:pt x="1335" y="689"/>
                </a:lnTo>
                <a:lnTo>
                  <a:pt x="1336" y="691"/>
                </a:lnTo>
                <a:lnTo>
                  <a:pt x="1337" y="693"/>
                </a:lnTo>
                <a:lnTo>
                  <a:pt x="1338" y="696"/>
                </a:lnTo>
                <a:lnTo>
                  <a:pt x="1338" y="698"/>
                </a:lnTo>
                <a:lnTo>
                  <a:pt x="1338" y="701"/>
                </a:lnTo>
                <a:lnTo>
                  <a:pt x="1337" y="703"/>
                </a:lnTo>
                <a:lnTo>
                  <a:pt x="1336" y="705"/>
                </a:lnTo>
                <a:lnTo>
                  <a:pt x="1334" y="707"/>
                </a:lnTo>
                <a:lnTo>
                  <a:pt x="1332" y="709"/>
                </a:lnTo>
                <a:lnTo>
                  <a:pt x="1330" y="710"/>
                </a:lnTo>
                <a:lnTo>
                  <a:pt x="1327" y="711"/>
                </a:lnTo>
                <a:lnTo>
                  <a:pt x="1323" y="711"/>
                </a:lnTo>
                <a:lnTo>
                  <a:pt x="1320" y="710"/>
                </a:lnTo>
                <a:lnTo>
                  <a:pt x="1316" y="708"/>
                </a:lnTo>
                <a:lnTo>
                  <a:pt x="1315" y="706"/>
                </a:lnTo>
                <a:lnTo>
                  <a:pt x="1314" y="705"/>
                </a:lnTo>
                <a:lnTo>
                  <a:pt x="1313" y="702"/>
                </a:lnTo>
                <a:lnTo>
                  <a:pt x="1312" y="700"/>
                </a:lnTo>
                <a:lnTo>
                  <a:pt x="1312" y="697"/>
                </a:lnTo>
                <a:lnTo>
                  <a:pt x="1312" y="695"/>
                </a:lnTo>
                <a:lnTo>
                  <a:pt x="1313" y="693"/>
                </a:lnTo>
                <a:lnTo>
                  <a:pt x="1314" y="690"/>
                </a:lnTo>
                <a:lnTo>
                  <a:pt x="1316" y="688"/>
                </a:lnTo>
                <a:lnTo>
                  <a:pt x="1318" y="687"/>
                </a:lnTo>
                <a:lnTo>
                  <a:pt x="1320" y="686"/>
                </a:lnTo>
                <a:lnTo>
                  <a:pt x="1323" y="685"/>
                </a:lnTo>
                <a:close/>
                <a:moveTo>
                  <a:pt x="2144" y="517"/>
                </a:moveTo>
                <a:lnTo>
                  <a:pt x="2149" y="517"/>
                </a:lnTo>
                <a:lnTo>
                  <a:pt x="2151" y="518"/>
                </a:lnTo>
                <a:lnTo>
                  <a:pt x="2154" y="519"/>
                </a:lnTo>
                <a:lnTo>
                  <a:pt x="2155" y="521"/>
                </a:lnTo>
                <a:lnTo>
                  <a:pt x="2157" y="523"/>
                </a:lnTo>
                <a:lnTo>
                  <a:pt x="2158" y="525"/>
                </a:lnTo>
                <a:lnTo>
                  <a:pt x="2159" y="528"/>
                </a:lnTo>
                <a:lnTo>
                  <a:pt x="2159" y="533"/>
                </a:lnTo>
                <a:lnTo>
                  <a:pt x="2158" y="537"/>
                </a:lnTo>
                <a:lnTo>
                  <a:pt x="2155" y="540"/>
                </a:lnTo>
                <a:lnTo>
                  <a:pt x="2152" y="542"/>
                </a:lnTo>
                <a:lnTo>
                  <a:pt x="2148" y="543"/>
                </a:lnTo>
                <a:lnTo>
                  <a:pt x="2144" y="543"/>
                </a:lnTo>
                <a:lnTo>
                  <a:pt x="2141" y="542"/>
                </a:lnTo>
                <a:lnTo>
                  <a:pt x="2139" y="541"/>
                </a:lnTo>
                <a:lnTo>
                  <a:pt x="2137" y="539"/>
                </a:lnTo>
                <a:lnTo>
                  <a:pt x="2135" y="537"/>
                </a:lnTo>
                <a:lnTo>
                  <a:pt x="2134" y="535"/>
                </a:lnTo>
                <a:lnTo>
                  <a:pt x="2133" y="533"/>
                </a:lnTo>
                <a:lnTo>
                  <a:pt x="2133" y="528"/>
                </a:lnTo>
                <a:lnTo>
                  <a:pt x="2135" y="524"/>
                </a:lnTo>
                <a:lnTo>
                  <a:pt x="2137" y="521"/>
                </a:lnTo>
                <a:lnTo>
                  <a:pt x="2140" y="519"/>
                </a:lnTo>
                <a:lnTo>
                  <a:pt x="2144" y="517"/>
                </a:lnTo>
                <a:close/>
                <a:moveTo>
                  <a:pt x="1379" y="651"/>
                </a:moveTo>
                <a:lnTo>
                  <a:pt x="1383" y="651"/>
                </a:lnTo>
                <a:lnTo>
                  <a:pt x="1387" y="652"/>
                </a:lnTo>
                <a:lnTo>
                  <a:pt x="1389" y="653"/>
                </a:lnTo>
                <a:lnTo>
                  <a:pt x="1390" y="654"/>
                </a:lnTo>
                <a:lnTo>
                  <a:pt x="1393" y="657"/>
                </a:lnTo>
                <a:lnTo>
                  <a:pt x="1394" y="660"/>
                </a:lnTo>
                <a:lnTo>
                  <a:pt x="1395" y="662"/>
                </a:lnTo>
                <a:lnTo>
                  <a:pt x="1395" y="665"/>
                </a:lnTo>
                <a:lnTo>
                  <a:pt x="1394" y="667"/>
                </a:lnTo>
                <a:lnTo>
                  <a:pt x="1393" y="670"/>
                </a:lnTo>
                <a:lnTo>
                  <a:pt x="1392" y="672"/>
                </a:lnTo>
                <a:lnTo>
                  <a:pt x="1390" y="674"/>
                </a:lnTo>
                <a:lnTo>
                  <a:pt x="1388" y="675"/>
                </a:lnTo>
                <a:lnTo>
                  <a:pt x="1386" y="676"/>
                </a:lnTo>
                <a:lnTo>
                  <a:pt x="1384" y="677"/>
                </a:lnTo>
                <a:lnTo>
                  <a:pt x="1380" y="677"/>
                </a:lnTo>
                <a:lnTo>
                  <a:pt x="1376" y="676"/>
                </a:lnTo>
                <a:lnTo>
                  <a:pt x="1374" y="675"/>
                </a:lnTo>
                <a:lnTo>
                  <a:pt x="1373" y="673"/>
                </a:lnTo>
                <a:lnTo>
                  <a:pt x="1370" y="670"/>
                </a:lnTo>
                <a:lnTo>
                  <a:pt x="1369" y="668"/>
                </a:lnTo>
                <a:lnTo>
                  <a:pt x="1369" y="665"/>
                </a:lnTo>
                <a:lnTo>
                  <a:pt x="1369" y="663"/>
                </a:lnTo>
                <a:lnTo>
                  <a:pt x="1369" y="660"/>
                </a:lnTo>
                <a:lnTo>
                  <a:pt x="1370" y="658"/>
                </a:lnTo>
                <a:lnTo>
                  <a:pt x="1371" y="656"/>
                </a:lnTo>
                <a:lnTo>
                  <a:pt x="1373" y="654"/>
                </a:lnTo>
                <a:lnTo>
                  <a:pt x="1375" y="652"/>
                </a:lnTo>
                <a:lnTo>
                  <a:pt x="1377" y="652"/>
                </a:lnTo>
                <a:lnTo>
                  <a:pt x="1379" y="651"/>
                </a:lnTo>
                <a:close/>
                <a:moveTo>
                  <a:pt x="1438" y="620"/>
                </a:moveTo>
                <a:lnTo>
                  <a:pt x="1442" y="620"/>
                </a:lnTo>
                <a:lnTo>
                  <a:pt x="1444" y="620"/>
                </a:lnTo>
                <a:lnTo>
                  <a:pt x="1446" y="621"/>
                </a:lnTo>
                <a:lnTo>
                  <a:pt x="1447" y="622"/>
                </a:lnTo>
                <a:lnTo>
                  <a:pt x="1449" y="623"/>
                </a:lnTo>
                <a:lnTo>
                  <a:pt x="1452" y="627"/>
                </a:lnTo>
                <a:lnTo>
                  <a:pt x="1452" y="629"/>
                </a:lnTo>
                <a:lnTo>
                  <a:pt x="1453" y="632"/>
                </a:lnTo>
                <a:lnTo>
                  <a:pt x="1453" y="634"/>
                </a:lnTo>
                <a:lnTo>
                  <a:pt x="1452" y="637"/>
                </a:lnTo>
                <a:lnTo>
                  <a:pt x="1451" y="639"/>
                </a:lnTo>
                <a:lnTo>
                  <a:pt x="1450" y="641"/>
                </a:lnTo>
                <a:lnTo>
                  <a:pt x="1448" y="643"/>
                </a:lnTo>
                <a:lnTo>
                  <a:pt x="1446" y="644"/>
                </a:lnTo>
                <a:lnTo>
                  <a:pt x="1442" y="645"/>
                </a:lnTo>
                <a:lnTo>
                  <a:pt x="1438" y="645"/>
                </a:lnTo>
                <a:lnTo>
                  <a:pt x="1436" y="645"/>
                </a:lnTo>
                <a:lnTo>
                  <a:pt x="1434" y="644"/>
                </a:lnTo>
                <a:lnTo>
                  <a:pt x="1432" y="643"/>
                </a:lnTo>
                <a:lnTo>
                  <a:pt x="1431" y="642"/>
                </a:lnTo>
                <a:lnTo>
                  <a:pt x="1428" y="638"/>
                </a:lnTo>
                <a:lnTo>
                  <a:pt x="1427" y="636"/>
                </a:lnTo>
                <a:lnTo>
                  <a:pt x="1427" y="633"/>
                </a:lnTo>
                <a:lnTo>
                  <a:pt x="1427" y="631"/>
                </a:lnTo>
                <a:lnTo>
                  <a:pt x="1428" y="629"/>
                </a:lnTo>
                <a:lnTo>
                  <a:pt x="1429" y="626"/>
                </a:lnTo>
                <a:lnTo>
                  <a:pt x="1430" y="624"/>
                </a:lnTo>
                <a:lnTo>
                  <a:pt x="1432" y="622"/>
                </a:lnTo>
                <a:lnTo>
                  <a:pt x="1434" y="621"/>
                </a:lnTo>
                <a:lnTo>
                  <a:pt x="1438" y="620"/>
                </a:lnTo>
                <a:close/>
                <a:moveTo>
                  <a:pt x="2079" y="506"/>
                </a:moveTo>
                <a:lnTo>
                  <a:pt x="2083" y="506"/>
                </a:lnTo>
                <a:lnTo>
                  <a:pt x="2085" y="507"/>
                </a:lnTo>
                <a:lnTo>
                  <a:pt x="2088" y="508"/>
                </a:lnTo>
                <a:lnTo>
                  <a:pt x="2090" y="509"/>
                </a:lnTo>
                <a:lnTo>
                  <a:pt x="2091" y="511"/>
                </a:lnTo>
                <a:lnTo>
                  <a:pt x="2093" y="513"/>
                </a:lnTo>
                <a:lnTo>
                  <a:pt x="2094" y="515"/>
                </a:lnTo>
                <a:lnTo>
                  <a:pt x="2094" y="518"/>
                </a:lnTo>
                <a:lnTo>
                  <a:pt x="2094" y="521"/>
                </a:lnTo>
                <a:lnTo>
                  <a:pt x="2093" y="525"/>
                </a:lnTo>
                <a:lnTo>
                  <a:pt x="2092" y="526"/>
                </a:lnTo>
                <a:lnTo>
                  <a:pt x="2090" y="528"/>
                </a:lnTo>
                <a:lnTo>
                  <a:pt x="2087" y="530"/>
                </a:lnTo>
                <a:lnTo>
                  <a:pt x="2085" y="531"/>
                </a:lnTo>
                <a:lnTo>
                  <a:pt x="2083" y="532"/>
                </a:lnTo>
                <a:lnTo>
                  <a:pt x="2079" y="532"/>
                </a:lnTo>
                <a:lnTo>
                  <a:pt x="2077" y="531"/>
                </a:lnTo>
                <a:lnTo>
                  <a:pt x="2074" y="530"/>
                </a:lnTo>
                <a:lnTo>
                  <a:pt x="2072" y="528"/>
                </a:lnTo>
                <a:lnTo>
                  <a:pt x="2071" y="527"/>
                </a:lnTo>
                <a:lnTo>
                  <a:pt x="2069" y="524"/>
                </a:lnTo>
                <a:lnTo>
                  <a:pt x="2068" y="522"/>
                </a:lnTo>
                <a:lnTo>
                  <a:pt x="2068" y="520"/>
                </a:lnTo>
                <a:lnTo>
                  <a:pt x="2068" y="517"/>
                </a:lnTo>
                <a:lnTo>
                  <a:pt x="2069" y="513"/>
                </a:lnTo>
                <a:lnTo>
                  <a:pt x="2070" y="511"/>
                </a:lnTo>
                <a:lnTo>
                  <a:pt x="2072" y="510"/>
                </a:lnTo>
                <a:lnTo>
                  <a:pt x="2075" y="507"/>
                </a:lnTo>
                <a:lnTo>
                  <a:pt x="2077" y="506"/>
                </a:lnTo>
                <a:lnTo>
                  <a:pt x="2079" y="506"/>
                </a:lnTo>
                <a:close/>
                <a:moveTo>
                  <a:pt x="1497" y="592"/>
                </a:moveTo>
                <a:lnTo>
                  <a:pt x="1502" y="591"/>
                </a:lnTo>
                <a:lnTo>
                  <a:pt x="1506" y="593"/>
                </a:lnTo>
                <a:lnTo>
                  <a:pt x="1509" y="595"/>
                </a:lnTo>
                <a:lnTo>
                  <a:pt x="1512" y="599"/>
                </a:lnTo>
                <a:lnTo>
                  <a:pt x="1512" y="602"/>
                </a:lnTo>
                <a:lnTo>
                  <a:pt x="1513" y="604"/>
                </a:lnTo>
                <a:lnTo>
                  <a:pt x="1513" y="607"/>
                </a:lnTo>
                <a:lnTo>
                  <a:pt x="1512" y="609"/>
                </a:lnTo>
                <a:lnTo>
                  <a:pt x="1511" y="611"/>
                </a:lnTo>
                <a:lnTo>
                  <a:pt x="1509" y="613"/>
                </a:lnTo>
                <a:lnTo>
                  <a:pt x="1507" y="615"/>
                </a:lnTo>
                <a:lnTo>
                  <a:pt x="1505" y="616"/>
                </a:lnTo>
                <a:lnTo>
                  <a:pt x="1502" y="617"/>
                </a:lnTo>
                <a:lnTo>
                  <a:pt x="1498" y="617"/>
                </a:lnTo>
                <a:lnTo>
                  <a:pt x="1494" y="616"/>
                </a:lnTo>
                <a:lnTo>
                  <a:pt x="1490" y="613"/>
                </a:lnTo>
                <a:lnTo>
                  <a:pt x="1488" y="610"/>
                </a:lnTo>
                <a:lnTo>
                  <a:pt x="1487" y="607"/>
                </a:lnTo>
                <a:lnTo>
                  <a:pt x="1487" y="605"/>
                </a:lnTo>
                <a:lnTo>
                  <a:pt x="1487" y="602"/>
                </a:lnTo>
                <a:lnTo>
                  <a:pt x="1488" y="600"/>
                </a:lnTo>
                <a:lnTo>
                  <a:pt x="1489" y="597"/>
                </a:lnTo>
                <a:lnTo>
                  <a:pt x="1490" y="595"/>
                </a:lnTo>
                <a:lnTo>
                  <a:pt x="1492" y="594"/>
                </a:lnTo>
                <a:lnTo>
                  <a:pt x="1494" y="592"/>
                </a:lnTo>
                <a:lnTo>
                  <a:pt x="1497" y="592"/>
                </a:lnTo>
                <a:close/>
                <a:moveTo>
                  <a:pt x="2013" y="499"/>
                </a:moveTo>
                <a:lnTo>
                  <a:pt x="2016" y="499"/>
                </a:lnTo>
                <a:lnTo>
                  <a:pt x="2019" y="499"/>
                </a:lnTo>
                <a:lnTo>
                  <a:pt x="2021" y="500"/>
                </a:lnTo>
                <a:lnTo>
                  <a:pt x="2023" y="501"/>
                </a:lnTo>
                <a:lnTo>
                  <a:pt x="2025" y="503"/>
                </a:lnTo>
                <a:lnTo>
                  <a:pt x="2027" y="505"/>
                </a:lnTo>
                <a:lnTo>
                  <a:pt x="2028" y="507"/>
                </a:lnTo>
                <a:lnTo>
                  <a:pt x="2028" y="510"/>
                </a:lnTo>
                <a:lnTo>
                  <a:pt x="2028" y="513"/>
                </a:lnTo>
                <a:lnTo>
                  <a:pt x="2028" y="515"/>
                </a:lnTo>
                <a:lnTo>
                  <a:pt x="2027" y="517"/>
                </a:lnTo>
                <a:lnTo>
                  <a:pt x="2026" y="519"/>
                </a:lnTo>
                <a:lnTo>
                  <a:pt x="2025" y="520"/>
                </a:lnTo>
                <a:lnTo>
                  <a:pt x="2023" y="522"/>
                </a:lnTo>
                <a:lnTo>
                  <a:pt x="2022" y="523"/>
                </a:lnTo>
                <a:lnTo>
                  <a:pt x="2020" y="524"/>
                </a:lnTo>
                <a:lnTo>
                  <a:pt x="2018" y="524"/>
                </a:lnTo>
                <a:lnTo>
                  <a:pt x="2014" y="525"/>
                </a:lnTo>
                <a:lnTo>
                  <a:pt x="2012" y="524"/>
                </a:lnTo>
                <a:lnTo>
                  <a:pt x="2009" y="523"/>
                </a:lnTo>
                <a:lnTo>
                  <a:pt x="2007" y="522"/>
                </a:lnTo>
                <a:lnTo>
                  <a:pt x="2005" y="520"/>
                </a:lnTo>
                <a:lnTo>
                  <a:pt x="2004" y="518"/>
                </a:lnTo>
                <a:lnTo>
                  <a:pt x="2003" y="516"/>
                </a:lnTo>
                <a:lnTo>
                  <a:pt x="2002" y="513"/>
                </a:lnTo>
                <a:lnTo>
                  <a:pt x="2002" y="511"/>
                </a:lnTo>
                <a:lnTo>
                  <a:pt x="2003" y="508"/>
                </a:lnTo>
                <a:lnTo>
                  <a:pt x="2003" y="506"/>
                </a:lnTo>
                <a:lnTo>
                  <a:pt x="2004" y="505"/>
                </a:lnTo>
                <a:lnTo>
                  <a:pt x="2006" y="503"/>
                </a:lnTo>
                <a:lnTo>
                  <a:pt x="2007" y="501"/>
                </a:lnTo>
                <a:lnTo>
                  <a:pt x="2009" y="500"/>
                </a:lnTo>
                <a:lnTo>
                  <a:pt x="2011" y="499"/>
                </a:lnTo>
                <a:lnTo>
                  <a:pt x="2013" y="499"/>
                </a:lnTo>
                <a:close/>
                <a:moveTo>
                  <a:pt x="1559" y="567"/>
                </a:moveTo>
                <a:lnTo>
                  <a:pt x="1563" y="567"/>
                </a:lnTo>
                <a:lnTo>
                  <a:pt x="1567" y="568"/>
                </a:lnTo>
                <a:lnTo>
                  <a:pt x="1571" y="571"/>
                </a:lnTo>
                <a:lnTo>
                  <a:pt x="1572" y="573"/>
                </a:lnTo>
                <a:lnTo>
                  <a:pt x="1573" y="575"/>
                </a:lnTo>
                <a:lnTo>
                  <a:pt x="1574" y="577"/>
                </a:lnTo>
                <a:lnTo>
                  <a:pt x="1574" y="580"/>
                </a:lnTo>
                <a:lnTo>
                  <a:pt x="1574" y="582"/>
                </a:lnTo>
                <a:lnTo>
                  <a:pt x="1573" y="585"/>
                </a:lnTo>
                <a:lnTo>
                  <a:pt x="1572" y="587"/>
                </a:lnTo>
                <a:lnTo>
                  <a:pt x="1570" y="589"/>
                </a:lnTo>
                <a:lnTo>
                  <a:pt x="1568" y="590"/>
                </a:lnTo>
                <a:lnTo>
                  <a:pt x="1565" y="592"/>
                </a:lnTo>
                <a:lnTo>
                  <a:pt x="1563" y="592"/>
                </a:lnTo>
                <a:lnTo>
                  <a:pt x="1559" y="592"/>
                </a:lnTo>
                <a:lnTo>
                  <a:pt x="1555" y="591"/>
                </a:lnTo>
                <a:lnTo>
                  <a:pt x="1551" y="588"/>
                </a:lnTo>
                <a:lnTo>
                  <a:pt x="1550" y="586"/>
                </a:lnTo>
                <a:lnTo>
                  <a:pt x="1549" y="584"/>
                </a:lnTo>
                <a:lnTo>
                  <a:pt x="1548" y="581"/>
                </a:lnTo>
                <a:lnTo>
                  <a:pt x="1548" y="579"/>
                </a:lnTo>
                <a:lnTo>
                  <a:pt x="1548" y="576"/>
                </a:lnTo>
                <a:lnTo>
                  <a:pt x="1549" y="574"/>
                </a:lnTo>
                <a:lnTo>
                  <a:pt x="1550" y="572"/>
                </a:lnTo>
                <a:lnTo>
                  <a:pt x="1552" y="570"/>
                </a:lnTo>
                <a:lnTo>
                  <a:pt x="1554" y="568"/>
                </a:lnTo>
                <a:lnTo>
                  <a:pt x="1556" y="567"/>
                </a:lnTo>
                <a:lnTo>
                  <a:pt x="1559" y="567"/>
                </a:lnTo>
                <a:close/>
                <a:moveTo>
                  <a:pt x="1947" y="496"/>
                </a:moveTo>
                <a:lnTo>
                  <a:pt x="1949" y="496"/>
                </a:lnTo>
                <a:lnTo>
                  <a:pt x="1952" y="496"/>
                </a:lnTo>
                <a:lnTo>
                  <a:pt x="1954" y="497"/>
                </a:lnTo>
                <a:lnTo>
                  <a:pt x="1958" y="500"/>
                </a:lnTo>
                <a:lnTo>
                  <a:pt x="1960" y="502"/>
                </a:lnTo>
                <a:lnTo>
                  <a:pt x="1961" y="504"/>
                </a:lnTo>
                <a:lnTo>
                  <a:pt x="1962" y="506"/>
                </a:lnTo>
                <a:lnTo>
                  <a:pt x="1962" y="509"/>
                </a:lnTo>
                <a:lnTo>
                  <a:pt x="1961" y="513"/>
                </a:lnTo>
                <a:lnTo>
                  <a:pt x="1960" y="515"/>
                </a:lnTo>
                <a:lnTo>
                  <a:pt x="1959" y="517"/>
                </a:lnTo>
                <a:lnTo>
                  <a:pt x="1957" y="519"/>
                </a:lnTo>
                <a:lnTo>
                  <a:pt x="1956" y="520"/>
                </a:lnTo>
                <a:lnTo>
                  <a:pt x="1954" y="521"/>
                </a:lnTo>
                <a:lnTo>
                  <a:pt x="1951" y="522"/>
                </a:lnTo>
                <a:lnTo>
                  <a:pt x="1949" y="522"/>
                </a:lnTo>
                <a:lnTo>
                  <a:pt x="1946" y="521"/>
                </a:lnTo>
                <a:lnTo>
                  <a:pt x="1944" y="521"/>
                </a:lnTo>
                <a:lnTo>
                  <a:pt x="1940" y="518"/>
                </a:lnTo>
                <a:lnTo>
                  <a:pt x="1938" y="516"/>
                </a:lnTo>
                <a:lnTo>
                  <a:pt x="1937" y="514"/>
                </a:lnTo>
                <a:lnTo>
                  <a:pt x="1936" y="511"/>
                </a:lnTo>
                <a:lnTo>
                  <a:pt x="1936" y="509"/>
                </a:lnTo>
                <a:lnTo>
                  <a:pt x="1937" y="504"/>
                </a:lnTo>
                <a:lnTo>
                  <a:pt x="1938" y="502"/>
                </a:lnTo>
                <a:lnTo>
                  <a:pt x="1939" y="500"/>
                </a:lnTo>
                <a:lnTo>
                  <a:pt x="1941" y="499"/>
                </a:lnTo>
                <a:lnTo>
                  <a:pt x="1943" y="497"/>
                </a:lnTo>
                <a:lnTo>
                  <a:pt x="1945" y="497"/>
                </a:lnTo>
                <a:lnTo>
                  <a:pt x="1947" y="496"/>
                </a:lnTo>
                <a:close/>
                <a:moveTo>
                  <a:pt x="1621" y="545"/>
                </a:moveTo>
                <a:lnTo>
                  <a:pt x="1626" y="545"/>
                </a:lnTo>
                <a:lnTo>
                  <a:pt x="1628" y="546"/>
                </a:lnTo>
                <a:lnTo>
                  <a:pt x="1630" y="547"/>
                </a:lnTo>
                <a:lnTo>
                  <a:pt x="1632" y="548"/>
                </a:lnTo>
                <a:lnTo>
                  <a:pt x="1634" y="550"/>
                </a:lnTo>
                <a:lnTo>
                  <a:pt x="1635" y="552"/>
                </a:lnTo>
                <a:lnTo>
                  <a:pt x="1636" y="554"/>
                </a:lnTo>
                <a:lnTo>
                  <a:pt x="1636" y="556"/>
                </a:lnTo>
                <a:lnTo>
                  <a:pt x="1636" y="559"/>
                </a:lnTo>
                <a:lnTo>
                  <a:pt x="1636" y="562"/>
                </a:lnTo>
                <a:lnTo>
                  <a:pt x="1635" y="564"/>
                </a:lnTo>
                <a:lnTo>
                  <a:pt x="1634" y="566"/>
                </a:lnTo>
                <a:lnTo>
                  <a:pt x="1632" y="568"/>
                </a:lnTo>
                <a:lnTo>
                  <a:pt x="1630" y="569"/>
                </a:lnTo>
                <a:lnTo>
                  <a:pt x="1627" y="570"/>
                </a:lnTo>
                <a:lnTo>
                  <a:pt x="1626" y="571"/>
                </a:lnTo>
                <a:lnTo>
                  <a:pt x="1621" y="571"/>
                </a:lnTo>
                <a:lnTo>
                  <a:pt x="1619" y="570"/>
                </a:lnTo>
                <a:lnTo>
                  <a:pt x="1617" y="569"/>
                </a:lnTo>
                <a:lnTo>
                  <a:pt x="1615" y="568"/>
                </a:lnTo>
                <a:lnTo>
                  <a:pt x="1613" y="566"/>
                </a:lnTo>
                <a:lnTo>
                  <a:pt x="1612" y="564"/>
                </a:lnTo>
                <a:lnTo>
                  <a:pt x="1611" y="562"/>
                </a:lnTo>
                <a:lnTo>
                  <a:pt x="1610" y="559"/>
                </a:lnTo>
                <a:lnTo>
                  <a:pt x="1610" y="557"/>
                </a:lnTo>
                <a:lnTo>
                  <a:pt x="1611" y="554"/>
                </a:lnTo>
                <a:lnTo>
                  <a:pt x="1612" y="552"/>
                </a:lnTo>
                <a:lnTo>
                  <a:pt x="1613" y="550"/>
                </a:lnTo>
                <a:lnTo>
                  <a:pt x="1615" y="548"/>
                </a:lnTo>
                <a:lnTo>
                  <a:pt x="1617" y="546"/>
                </a:lnTo>
                <a:lnTo>
                  <a:pt x="1620" y="545"/>
                </a:lnTo>
                <a:lnTo>
                  <a:pt x="1621" y="545"/>
                </a:lnTo>
                <a:close/>
                <a:moveTo>
                  <a:pt x="1881" y="497"/>
                </a:moveTo>
                <a:lnTo>
                  <a:pt x="1882" y="497"/>
                </a:lnTo>
                <a:lnTo>
                  <a:pt x="1887" y="498"/>
                </a:lnTo>
                <a:lnTo>
                  <a:pt x="1890" y="499"/>
                </a:lnTo>
                <a:lnTo>
                  <a:pt x="1892" y="501"/>
                </a:lnTo>
                <a:lnTo>
                  <a:pt x="1893" y="502"/>
                </a:lnTo>
                <a:lnTo>
                  <a:pt x="1895" y="505"/>
                </a:lnTo>
                <a:lnTo>
                  <a:pt x="1896" y="507"/>
                </a:lnTo>
                <a:lnTo>
                  <a:pt x="1896" y="510"/>
                </a:lnTo>
                <a:lnTo>
                  <a:pt x="1895" y="514"/>
                </a:lnTo>
                <a:lnTo>
                  <a:pt x="1894" y="516"/>
                </a:lnTo>
                <a:lnTo>
                  <a:pt x="1893" y="518"/>
                </a:lnTo>
                <a:lnTo>
                  <a:pt x="1892" y="520"/>
                </a:lnTo>
                <a:lnTo>
                  <a:pt x="1890" y="521"/>
                </a:lnTo>
                <a:lnTo>
                  <a:pt x="1885" y="523"/>
                </a:lnTo>
                <a:lnTo>
                  <a:pt x="1884" y="523"/>
                </a:lnTo>
                <a:lnTo>
                  <a:pt x="1879" y="522"/>
                </a:lnTo>
                <a:lnTo>
                  <a:pt x="1876" y="521"/>
                </a:lnTo>
                <a:lnTo>
                  <a:pt x="1874" y="520"/>
                </a:lnTo>
                <a:lnTo>
                  <a:pt x="1873" y="518"/>
                </a:lnTo>
                <a:lnTo>
                  <a:pt x="1871" y="516"/>
                </a:lnTo>
                <a:lnTo>
                  <a:pt x="1870" y="514"/>
                </a:lnTo>
                <a:lnTo>
                  <a:pt x="1870" y="511"/>
                </a:lnTo>
                <a:lnTo>
                  <a:pt x="1871" y="506"/>
                </a:lnTo>
                <a:lnTo>
                  <a:pt x="1872" y="504"/>
                </a:lnTo>
                <a:lnTo>
                  <a:pt x="1873" y="502"/>
                </a:lnTo>
                <a:lnTo>
                  <a:pt x="1874" y="500"/>
                </a:lnTo>
                <a:lnTo>
                  <a:pt x="1876" y="499"/>
                </a:lnTo>
                <a:lnTo>
                  <a:pt x="1881" y="497"/>
                </a:lnTo>
                <a:close/>
                <a:moveTo>
                  <a:pt x="1685" y="527"/>
                </a:moveTo>
                <a:lnTo>
                  <a:pt x="1690" y="527"/>
                </a:lnTo>
                <a:lnTo>
                  <a:pt x="1692" y="528"/>
                </a:lnTo>
                <a:lnTo>
                  <a:pt x="1694" y="529"/>
                </a:lnTo>
                <a:lnTo>
                  <a:pt x="1696" y="530"/>
                </a:lnTo>
                <a:lnTo>
                  <a:pt x="1698" y="532"/>
                </a:lnTo>
                <a:lnTo>
                  <a:pt x="1699" y="534"/>
                </a:lnTo>
                <a:lnTo>
                  <a:pt x="1699" y="536"/>
                </a:lnTo>
                <a:lnTo>
                  <a:pt x="1700" y="537"/>
                </a:lnTo>
                <a:lnTo>
                  <a:pt x="1700" y="539"/>
                </a:lnTo>
                <a:lnTo>
                  <a:pt x="1700" y="542"/>
                </a:lnTo>
                <a:lnTo>
                  <a:pt x="1699" y="544"/>
                </a:lnTo>
                <a:lnTo>
                  <a:pt x="1698" y="547"/>
                </a:lnTo>
                <a:lnTo>
                  <a:pt x="1697" y="549"/>
                </a:lnTo>
                <a:lnTo>
                  <a:pt x="1695" y="550"/>
                </a:lnTo>
                <a:lnTo>
                  <a:pt x="1693" y="552"/>
                </a:lnTo>
                <a:lnTo>
                  <a:pt x="1690" y="553"/>
                </a:lnTo>
                <a:lnTo>
                  <a:pt x="1685" y="553"/>
                </a:lnTo>
                <a:lnTo>
                  <a:pt x="1682" y="552"/>
                </a:lnTo>
                <a:lnTo>
                  <a:pt x="1680" y="551"/>
                </a:lnTo>
                <a:lnTo>
                  <a:pt x="1678" y="549"/>
                </a:lnTo>
                <a:lnTo>
                  <a:pt x="1677" y="548"/>
                </a:lnTo>
                <a:lnTo>
                  <a:pt x="1675" y="545"/>
                </a:lnTo>
                <a:lnTo>
                  <a:pt x="1675" y="544"/>
                </a:lnTo>
                <a:lnTo>
                  <a:pt x="1674" y="543"/>
                </a:lnTo>
                <a:lnTo>
                  <a:pt x="1674" y="540"/>
                </a:lnTo>
                <a:lnTo>
                  <a:pt x="1674" y="538"/>
                </a:lnTo>
                <a:lnTo>
                  <a:pt x="1675" y="535"/>
                </a:lnTo>
                <a:lnTo>
                  <a:pt x="1676" y="533"/>
                </a:lnTo>
                <a:lnTo>
                  <a:pt x="1677" y="531"/>
                </a:lnTo>
                <a:lnTo>
                  <a:pt x="1679" y="530"/>
                </a:lnTo>
                <a:lnTo>
                  <a:pt x="1681" y="528"/>
                </a:lnTo>
                <a:lnTo>
                  <a:pt x="1684" y="527"/>
                </a:lnTo>
                <a:lnTo>
                  <a:pt x="1685" y="527"/>
                </a:lnTo>
                <a:close/>
                <a:moveTo>
                  <a:pt x="1815" y="503"/>
                </a:moveTo>
                <a:lnTo>
                  <a:pt x="1818" y="503"/>
                </a:lnTo>
                <a:lnTo>
                  <a:pt x="1820" y="504"/>
                </a:lnTo>
                <a:lnTo>
                  <a:pt x="1823" y="504"/>
                </a:lnTo>
                <a:lnTo>
                  <a:pt x="1825" y="506"/>
                </a:lnTo>
                <a:lnTo>
                  <a:pt x="1827" y="507"/>
                </a:lnTo>
                <a:lnTo>
                  <a:pt x="1828" y="510"/>
                </a:lnTo>
                <a:lnTo>
                  <a:pt x="1829" y="512"/>
                </a:lnTo>
                <a:lnTo>
                  <a:pt x="1830" y="514"/>
                </a:lnTo>
                <a:lnTo>
                  <a:pt x="1830" y="517"/>
                </a:lnTo>
                <a:lnTo>
                  <a:pt x="1830" y="519"/>
                </a:lnTo>
                <a:lnTo>
                  <a:pt x="1828" y="524"/>
                </a:lnTo>
                <a:lnTo>
                  <a:pt x="1826" y="526"/>
                </a:lnTo>
                <a:lnTo>
                  <a:pt x="1824" y="527"/>
                </a:lnTo>
                <a:lnTo>
                  <a:pt x="1822" y="528"/>
                </a:lnTo>
                <a:lnTo>
                  <a:pt x="1819" y="529"/>
                </a:lnTo>
                <a:lnTo>
                  <a:pt x="1817" y="529"/>
                </a:lnTo>
                <a:lnTo>
                  <a:pt x="1814" y="528"/>
                </a:lnTo>
                <a:lnTo>
                  <a:pt x="1811" y="528"/>
                </a:lnTo>
                <a:lnTo>
                  <a:pt x="1809" y="526"/>
                </a:lnTo>
                <a:lnTo>
                  <a:pt x="1807" y="524"/>
                </a:lnTo>
                <a:lnTo>
                  <a:pt x="1806" y="522"/>
                </a:lnTo>
                <a:lnTo>
                  <a:pt x="1805" y="520"/>
                </a:lnTo>
                <a:lnTo>
                  <a:pt x="1804" y="518"/>
                </a:lnTo>
                <a:lnTo>
                  <a:pt x="1804" y="515"/>
                </a:lnTo>
                <a:lnTo>
                  <a:pt x="1805" y="513"/>
                </a:lnTo>
                <a:lnTo>
                  <a:pt x="1807" y="508"/>
                </a:lnTo>
                <a:lnTo>
                  <a:pt x="1808" y="506"/>
                </a:lnTo>
                <a:lnTo>
                  <a:pt x="1810" y="505"/>
                </a:lnTo>
                <a:lnTo>
                  <a:pt x="1812" y="504"/>
                </a:lnTo>
                <a:lnTo>
                  <a:pt x="1815" y="503"/>
                </a:lnTo>
                <a:close/>
                <a:moveTo>
                  <a:pt x="1749" y="513"/>
                </a:moveTo>
                <a:lnTo>
                  <a:pt x="1755" y="513"/>
                </a:lnTo>
                <a:lnTo>
                  <a:pt x="1757" y="514"/>
                </a:lnTo>
                <a:lnTo>
                  <a:pt x="1759" y="515"/>
                </a:lnTo>
                <a:lnTo>
                  <a:pt x="1763" y="519"/>
                </a:lnTo>
                <a:lnTo>
                  <a:pt x="1764" y="521"/>
                </a:lnTo>
                <a:lnTo>
                  <a:pt x="1765" y="524"/>
                </a:lnTo>
                <a:lnTo>
                  <a:pt x="1764" y="529"/>
                </a:lnTo>
                <a:lnTo>
                  <a:pt x="1764" y="531"/>
                </a:lnTo>
                <a:lnTo>
                  <a:pt x="1762" y="533"/>
                </a:lnTo>
                <a:lnTo>
                  <a:pt x="1759" y="537"/>
                </a:lnTo>
                <a:lnTo>
                  <a:pt x="1757" y="538"/>
                </a:lnTo>
                <a:lnTo>
                  <a:pt x="1754" y="539"/>
                </a:lnTo>
                <a:lnTo>
                  <a:pt x="1749" y="539"/>
                </a:lnTo>
                <a:lnTo>
                  <a:pt x="1746" y="538"/>
                </a:lnTo>
                <a:lnTo>
                  <a:pt x="1744" y="537"/>
                </a:lnTo>
                <a:lnTo>
                  <a:pt x="1741" y="533"/>
                </a:lnTo>
                <a:lnTo>
                  <a:pt x="1740" y="531"/>
                </a:lnTo>
                <a:lnTo>
                  <a:pt x="1739" y="528"/>
                </a:lnTo>
                <a:lnTo>
                  <a:pt x="1739" y="523"/>
                </a:lnTo>
                <a:lnTo>
                  <a:pt x="1740" y="521"/>
                </a:lnTo>
                <a:lnTo>
                  <a:pt x="1741" y="519"/>
                </a:lnTo>
                <a:lnTo>
                  <a:pt x="1745" y="515"/>
                </a:lnTo>
                <a:lnTo>
                  <a:pt x="1747" y="514"/>
                </a:lnTo>
                <a:lnTo>
                  <a:pt x="1749" y="513"/>
                </a:lnTo>
                <a:close/>
                <a:moveTo>
                  <a:pt x="160" y="2215"/>
                </a:moveTo>
                <a:lnTo>
                  <a:pt x="162" y="2215"/>
                </a:lnTo>
                <a:lnTo>
                  <a:pt x="165" y="2215"/>
                </a:lnTo>
                <a:lnTo>
                  <a:pt x="168" y="2216"/>
                </a:lnTo>
                <a:lnTo>
                  <a:pt x="170" y="2217"/>
                </a:lnTo>
                <a:lnTo>
                  <a:pt x="172" y="2219"/>
                </a:lnTo>
                <a:lnTo>
                  <a:pt x="173" y="2221"/>
                </a:lnTo>
                <a:lnTo>
                  <a:pt x="174" y="2223"/>
                </a:lnTo>
                <a:lnTo>
                  <a:pt x="175" y="2225"/>
                </a:lnTo>
                <a:lnTo>
                  <a:pt x="175" y="2231"/>
                </a:lnTo>
                <a:lnTo>
                  <a:pt x="173" y="2234"/>
                </a:lnTo>
                <a:lnTo>
                  <a:pt x="171" y="2237"/>
                </a:lnTo>
                <a:lnTo>
                  <a:pt x="168" y="2239"/>
                </a:lnTo>
                <a:lnTo>
                  <a:pt x="164" y="2241"/>
                </a:lnTo>
                <a:lnTo>
                  <a:pt x="162" y="2241"/>
                </a:lnTo>
                <a:lnTo>
                  <a:pt x="159" y="2240"/>
                </a:lnTo>
                <a:lnTo>
                  <a:pt x="157" y="2240"/>
                </a:lnTo>
                <a:lnTo>
                  <a:pt x="154" y="2238"/>
                </a:lnTo>
                <a:lnTo>
                  <a:pt x="153" y="2237"/>
                </a:lnTo>
                <a:lnTo>
                  <a:pt x="151" y="2235"/>
                </a:lnTo>
                <a:lnTo>
                  <a:pt x="150" y="2232"/>
                </a:lnTo>
                <a:lnTo>
                  <a:pt x="149" y="2230"/>
                </a:lnTo>
                <a:lnTo>
                  <a:pt x="149" y="2225"/>
                </a:lnTo>
                <a:lnTo>
                  <a:pt x="151" y="2221"/>
                </a:lnTo>
                <a:lnTo>
                  <a:pt x="153" y="2218"/>
                </a:lnTo>
                <a:lnTo>
                  <a:pt x="156" y="2216"/>
                </a:lnTo>
                <a:lnTo>
                  <a:pt x="160" y="2215"/>
                </a:lnTo>
                <a:close/>
                <a:moveTo>
                  <a:pt x="175" y="2150"/>
                </a:moveTo>
                <a:lnTo>
                  <a:pt x="177" y="2150"/>
                </a:lnTo>
                <a:lnTo>
                  <a:pt x="180" y="2150"/>
                </a:lnTo>
                <a:lnTo>
                  <a:pt x="183" y="2151"/>
                </a:lnTo>
                <a:lnTo>
                  <a:pt x="185" y="2153"/>
                </a:lnTo>
                <a:lnTo>
                  <a:pt x="187" y="2154"/>
                </a:lnTo>
                <a:lnTo>
                  <a:pt x="188" y="2156"/>
                </a:lnTo>
                <a:lnTo>
                  <a:pt x="189" y="2159"/>
                </a:lnTo>
                <a:lnTo>
                  <a:pt x="190" y="2161"/>
                </a:lnTo>
                <a:lnTo>
                  <a:pt x="190" y="2164"/>
                </a:lnTo>
                <a:lnTo>
                  <a:pt x="190" y="2166"/>
                </a:lnTo>
                <a:lnTo>
                  <a:pt x="188" y="2170"/>
                </a:lnTo>
                <a:lnTo>
                  <a:pt x="186" y="2173"/>
                </a:lnTo>
                <a:lnTo>
                  <a:pt x="183" y="2175"/>
                </a:lnTo>
                <a:lnTo>
                  <a:pt x="179" y="2176"/>
                </a:lnTo>
                <a:lnTo>
                  <a:pt x="177" y="2176"/>
                </a:lnTo>
                <a:lnTo>
                  <a:pt x="174" y="2176"/>
                </a:lnTo>
                <a:lnTo>
                  <a:pt x="172" y="2175"/>
                </a:lnTo>
                <a:lnTo>
                  <a:pt x="169" y="2174"/>
                </a:lnTo>
                <a:lnTo>
                  <a:pt x="167" y="2172"/>
                </a:lnTo>
                <a:lnTo>
                  <a:pt x="166" y="2170"/>
                </a:lnTo>
                <a:lnTo>
                  <a:pt x="165" y="2168"/>
                </a:lnTo>
                <a:lnTo>
                  <a:pt x="164" y="2165"/>
                </a:lnTo>
                <a:lnTo>
                  <a:pt x="164" y="2163"/>
                </a:lnTo>
                <a:lnTo>
                  <a:pt x="164" y="2160"/>
                </a:lnTo>
                <a:lnTo>
                  <a:pt x="166" y="2157"/>
                </a:lnTo>
                <a:lnTo>
                  <a:pt x="168" y="2154"/>
                </a:lnTo>
                <a:lnTo>
                  <a:pt x="171" y="2151"/>
                </a:lnTo>
                <a:lnTo>
                  <a:pt x="175" y="2150"/>
                </a:lnTo>
                <a:close/>
                <a:moveTo>
                  <a:pt x="191" y="2086"/>
                </a:moveTo>
                <a:lnTo>
                  <a:pt x="193" y="2086"/>
                </a:lnTo>
                <a:lnTo>
                  <a:pt x="196" y="2086"/>
                </a:lnTo>
                <a:lnTo>
                  <a:pt x="199" y="2087"/>
                </a:lnTo>
                <a:lnTo>
                  <a:pt x="201" y="2088"/>
                </a:lnTo>
                <a:lnTo>
                  <a:pt x="203" y="2090"/>
                </a:lnTo>
                <a:lnTo>
                  <a:pt x="204" y="2092"/>
                </a:lnTo>
                <a:lnTo>
                  <a:pt x="205" y="2094"/>
                </a:lnTo>
                <a:lnTo>
                  <a:pt x="206" y="2097"/>
                </a:lnTo>
                <a:lnTo>
                  <a:pt x="206" y="2100"/>
                </a:lnTo>
                <a:lnTo>
                  <a:pt x="206" y="2102"/>
                </a:lnTo>
                <a:lnTo>
                  <a:pt x="205" y="2104"/>
                </a:lnTo>
                <a:lnTo>
                  <a:pt x="204" y="2106"/>
                </a:lnTo>
                <a:lnTo>
                  <a:pt x="202" y="2109"/>
                </a:lnTo>
                <a:lnTo>
                  <a:pt x="199" y="2111"/>
                </a:lnTo>
                <a:lnTo>
                  <a:pt x="195" y="2112"/>
                </a:lnTo>
                <a:lnTo>
                  <a:pt x="192" y="2112"/>
                </a:lnTo>
                <a:lnTo>
                  <a:pt x="190" y="2112"/>
                </a:lnTo>
                <a:lnTo>
                  <a:pt x="187" y="2111"/>
                </a:lnTo>
                <a:lnTo>
                  <a:pt x="185" y="2109"/>
                </a:lnTo>
                <a:lnTo>
                  <a:pt x="183" y="2108"/>
                </a:lnTo>
                <a:lnTo>
                  <a:pt x="182" y="2106"/>
                </a:lnTo>
                <a:lnTo>
                  <a:pt x="181" y="2103"/>
                </a:lnTo>
                <a:lnTo>
                  <a:pt x="180" y="2101"/>
                </a:lnTo>
                <a:lnTo>
                  <a:pt x="180" y="2098"/>
                </a:lnTo>
                <a:lnTo>
                  <a:pt x="180" y="2096"/>
                </a:lnTo>
                <a:lnTo>
                  <a:pt x="181" y="2094"/>
                </a:lnTo>
                <a:lnTo>
                  <a:pt x="182" y="2092"/>
                </a:lnTo>
                <a:lnTo>
                  <a:pt x="184" y="2089"/>
                </a:lnTo>
                <a:lnTo>
                  <a:pt x="187" y="2087"/>
                </a:lnTo>
                <a:lnTo>
                  <a:pt x="191" y="2086"/>
                </a:lnTo>
                <a:close/>
                <a:moveTo>
                  <a:pt x="207" y="2022"/>
                </a:moveTo>
                <a:lnTo>
                  <a:pt x="210" y="2022"/>
                </a:lnTo>
                <a:lnTo>
                  <a:pt x="213" y="2022"/>
                </a:lnTo>
                <a:lnTo>
                  <a:pt x="215" y="2023"/>
                </a:lnTo>
                <a:lnTo>
                  <a:pt x="218" y="2025"/>
                </a:lnTo>
                <a:lnTo>
                  <a:pt x="219" y="2026"/>
                </a:lnTo>
                <a:lnTo>
                  <a:pt x="221" y="2028"/>
                </a:lnTo>
                <a:lnTo>
                  <a:pt x="222" y="2031"/>
                </a:lnTo>
                <a:lnTo>
                  <a:pt x="223" y="2033"/>
                </a:lnTo>
                <a:lnTo>
                  <a:pt x="223" y="2036"/>
                </a:lnTo>
                <a:lnTo>
                  <a:pt x="222" y="2038"/>
                </a:lnTo>
                <a:lnTo>
                  <a:pt x="222" y="2040"/>
                </a:lnTo>
                <a:lnTo>
                  <a:pt x="221" y="2042"/>
                </a:lnTo>
                <a:lnTo>
                  <a:pt x="218" y="2045"/>
                </a:lnTo>
                <a:lnTo>
                  <a:pt x="215" y="2047"/>
                </a:lnTo>
                <a:lnTo>
                  <a:pt x="212" y="2048"/>
                </a:lnTo>
                <a:lnTo>
                  <a:pt x="209" y="2048"/>
                </a:lnTo>
                <a:lnTo>
                  <a:pt x="206" y="2048"/>
                </a:lnTo>
                <a:lnTo>
                  <a:pt x="204" y="2047"/>
                </a:lnTo>
                <a:lnTo>
                  <a:pt x="201" y="2045"/>
                </a:lnTo>
                <a:lnTo>
                  <a:pt x="200" y="2044"/>
                </a:lnTo>
                <a:lnTo>
                  <a:pt x="198" y="2041"/>
                </a:lnTo>
                <a:lnTo>
                  <a:pt x="197" y="2039"/>
                </a:lnTo>
                <a:lnTo>
                  <a:pt x="197" y="2037"/>
                </a:lnTo>
                <a:lnTo>
                  <a:pt x="196" y="2034"/>
                </a:lnTo>
                <a:lnTo>
                  <a:pt x="197" y="2031"/>
                </a:lnTo>
                <a:lnTo>
                  <a:pt x="197" y="2030"/>
                </a:lnTo>
                <a:lnTo>
                  <a:pt x="198" y="2028"/>
                </a:lnTo>
                <a:lnTo>
                  <a:pt x="201" y="2025"/>
                </a:lnTo>
                <a:lnTo>
                  <a:pt x="204" y="2023"/>
                </a:lnTo>
                <a:lnTo>
                  <a:pt x="207" y="2022"/>
                </a:lnTo>
                <a:close/>
                <a:moveTo>
                  <a:pt x="225" y="1958"/>
                </a:moveTo>
                <a:lnTo>
                  <a:pt x="228" y="1958"/>
                </a:lnTo>
                <a:lnTo>
                  <a:pt x="231" y="1958"/>
                </a:lnTo>
                <a:lnTo>
                  <a:pt x="233" y="1959"/>
                </a:lnTo>
                <a:lnTo>
                  <a:pt x="235" y="1961"/>
                </a:lnTo>
                <a:lnTo>
                  <a:pt x="237" y="1963"/>
                </a:lnTo>
                <a:lnTo>
                  <a:pt x="238" y="1965"/>
                </a:lnTo>
                <a:lnTo>
                  <a:pt x="240" y="1967"/>
                </a:lnTo>
                <a:lnTo>
                  <a:pt x="240" y="1969"/>
                </a:lnTo>
                <a:lnTo>
                  <a:pt x="240" y="1972"/>
                </a:lnTo>
                <a:lnTo>
                  <a:pt x="240" y="1975"/>
                </a:lnTo>
                <a:lnTo>
                  <a:pt x="238" y="1978"/>
                </a:lnTo>
                <a:lnTo>
                  <a:pt x="236" y="1981"/>
                </a:lnTo>
                <a:lnTo>
                  <a:pt x="233" y="1983"/>
                </a:lnTo>
                <a:lnTo>
                  <a:pt x="231" y="1984"/>
                </a:lnTo>
                <a:lnTo>
                  <a:pt x="229" y="1984"/>
                </a:lnTo>
                <a:lnTo>
                  <a:pt x="226" y="1984"/>
                </a:lnTo>
                <a:lnTo>
                  <a:pt x="223" y="1984"/>
                </a:lnTo>
                <a:lnTo>
                  <a:pt x="221" y="1983"/>
                </a:lnTo>
                <a:lnTo>
                  <a:pt x="219" y="1981"/>
                </a:lnTo>
                <a:lnTo>
                  <a:pt x="217" y="1980"/>
                </a:lnTo>
                <a:lnTo>
                  <a:pt x="216" y="1977"/>
                </a:lnTo>
                <a:lnTo>
                  <a:pt x="215" y="1975"/>
                </a:lnTo>
                <a:lnTo>
                  <a:pt x="214" y="1973"/>
                </a:lnTo>
                <a:lnTo>
                  <a:pt x="214" y="1970"/>
                </a:lnTo>
                <a:lnTo>
                  <a:pt x="214" y="1968"/>
                </a:lnTo>
                <a:lnTo>
                  <a:pt x="216" y="1964"/>
                </a:lnTo>
                <a:lnTo>
                  <a:pt x="218" y="1961"/>
                </a:lnTo>
                <a:lnTo>
                  <a:pt x="221" y="1959"/>
                </a:lnTo>
                <a:lnTo>
                  <a:pt x="223" y="1959"/>
                </a:lnTo>
                <a:lnTo>
                  <a:pt x="225" y="1958"/>
                </a:lnTo>
                <a:close/>
                <a:moveTo>
                  <a:pt x="243" y="1895"/>
                </a:moveTo>
                <a:lnTo>
                  <a:pt x="246" y="1894"/>
                </a:lnTo>
                <a:lnTo>
                  <a:pt x="249" y="1895"/>
                </a:lnTo>
                <a:lnTo>
                  <a:pt x="252" y="1896"/>
                </a:lnTo>
                <a:lnTo>
                  <a:pt x="254" y="1897"/>
                </a:lnTo>
                <a:lnTo>
                  <a:pt x="256" y="1899"/>
                </a:lnTo>
                <a:lnTo>
                  <a:pt x="257" y="1901"/>
                </a:lnTo>
                <a:lnTo>
                  <a:pt x="258" y="1904"/>
                </a:lnTo>
                <a:lnTo>
                  <a:pt x="259" y="1906"/>
                </a:lnTo>
                <a:lnTo>
                  <a:pt x="259" y="1909"/>
                </a:lnTo>
                <a:lnTo>
                  <a:pt x="258" y="1911"/>
                </a:lnTo>
                <a:lnTo>
                  <a:pt x="256" y="1915"/>
                </a:lnTo>
                <a:lnTo>
                  <a:pt x="254" y="1917"/>
                </a:lnTo>
                <a:lnTo>
                  <a:pt x="251" y="1919"/>
                </a:lnTo>
                <a:lnTo>
                  <a:pt x="249" y="1920"/>
                </a:lnTo>
                <a:lnTo>
                  <a:pt x="248" y="1920"/>
                </a:lnTo>
                <a:lnTo>
                  <a:pt x="245" y="1921"/>
                </a:lnTo>
                <a:lnTo>
                  <a:pt x="242" y="1920"/>
                </a:lnTo>
                <a:lnTo>
                  <a:pt x="239" y="1919"/>
                </a:lnTo>
                <a:lnTo>
                  <a:pt x="237" y="1918"/>
                </a:lnTo>
                <a:lnTo>
                  <a:pt x="235" y="1916"/>
                </a:lnTo>
                <a:lnTo>
                  <a:pt x="234" y="1914"/>
                </a:lnTo>
                <a:lnTo>
                  <a:pt x="233" y="1911"/>
                </a:lnTo>
                <a:lnTo>
                  <a:pt x="232" y="1909"/>
                </a:lnTo>
                <a:lnTo>
                  <a:pt x="232" y="1906"/>
                </a:lnTo>
                <a:lnTo>
                  <a:pt x="233" y="1904"/>
                </a:lnTo>
                <a:lnTo>
                  <a:pt x="234" y="1900"/>
                </a:lnTo>
                <a:lnTo>
                  <a:pt x="237" y="1898"/>
                </a:lnTo>
                <a:lnTo>
                  <a:pt x="240" y="1896"/>
                </a:lnTo>
                <a:lnTo>
                  <a:pt x="241" y="1895"/>
                </a:lnTo>
                <a:lnTo>
                  <a:pt x="243" y="1895"/>
                </a:lnTo>
                <a:close/>
                <a:moveTo>
                  <a:pt x="263" y="1831"/>
                </a:moveTo>
                <a:lnTo>
                  <a:pt x="266" y="1831"/>
                </a:lnTo>
                <a:lnTo>
                  <a:pt x="269" y="1832"/>
                </a:lnTo>
                <a:lnTo>
                  <a:pt x="271" y="1833"/>
                </a:lnTo>
                <a:lnTo>
                  <a:pt x="273" y="1834"/>
                </a:lnTo>
                <a:lnTo>
                  <a:pt x="275" y="1836"/>
                </a:lnTo>
                <a:lnTo>
                  <a:pt x="277" y="1838"/>
                </a:lnTo>
                <a:lnTo>
                  <a:pt x="278" y="1843"/>
                </a:lnTo>
                <a:lnTo>
                  <a:pt x="278" y="1846"/>
                </a:lnTo>
                <a:lnTo>
                  <a:pt x="277" y="1848"/>
                </a:lnTo>
                <a:lnTo>
                  <a:pt x="276" y="1852"/>
                </a:lnTo>
                <a:lnTo>
                  <a:pt x="273" y="1854"/>
                </a:lnTo>
                <a:lnTo>
                  <a:pt x="271" y="1856"/>
                </a:lnTo>
                <a:lnTo>
                  <a:pt x="267" y="1857"/>
                </a:lnTo>
                <a:lnTo>
                  <a:pt x="264" y="1857"/>
                </a:lnTo>
                <a:lnTo>
                  <a:pt x="261" y="1857"/>
                </a:lnTo>
                <a:lnTo>
                  <a:pt x="259" y="1856"/>
                </a:lnTo>
                <a:lnTo>
                  <a:pt x="256" y="1854"/>
                </a:lnTo>
                <a:lnTo>
                  <a:pt x="255" y="1852"/>
                </a:lnTo>
                <a:lnTo>
                  <a:pt x="253" y="1850"/>
                </a:lnTo>
                <a:lnTo>
                  <a:pt x="252" y="1846"/>
                </a:lnTo>
                <a:lnTo>
                  <a:pt x="252" y="1843"/>
                </a:lnTo>
                <a:lnTo>
                  <a:pt x="252" y="1840"/>
                </a:lnTo>
                <a:lnTo>
                  <a:pt x="254" y="1837"/>
                </a:lnTo>
                <a:lnTo>
                  <a:pt x="256" y="1834"/>
                </a:lnTo>
                <a:lnTo>
                  <a:pt x="259" y="1832"/>
                </a:lnTo>
                <a:lnTo>
                  <a:pt x="263" y="1831"/>
                </a:lnTo>
                <a:close/>
                <a:moveTo>
                  <a:pt x="283" y="1768"/>
                </a:moveTo>
                <a:lnTo>
                  <a:pt x="286" y="1768"/>
                </a:lnTo>
                <a:lnTo>
                  <a:pt x="289" y="1769"/>
                </a:lnTo>
                <a:lnTo>
                  <a:pt x="292" y="1770"/>
                </a:lnTo>
                <a:lnTo>
                  <a:pt x="294" y="1771"/>
                </a:lnTo>
                <a:lnTo>
                  <a:pt x="296" y="1773"/>
                </a:lnTo>
                <a:lnTo>
                  <a:pt x="297" y="1775"/>
                </a:lnTo>
                <a:lnTo>
                  <a:pt x="298" y="1778"/>
                </a:lnTo>
                <a:lnTo>
                  <a:pt x="298" y="1780"/>
                </a:lnTo>
                <a:lnTo>
                  <a:pt x="298" y="1783"/>
                </a:lnTo>
                <a:lnTo>
                  <a:pt x="298" y="1786"/>
                </a:lnTo>
                <a:lnTo>
                  <a:pt x="296" y="1789"/>
                </a:lnTo>
                <a:lnTo>
                  <a:pt x="294" y="1791"/>
                </a:lnTo>
                <a:lnTo>
                  <a:pt x="292" y="1792"/>
                </a:lnTo>
                <a:lnTo>
                  <a:pt x="291" y="1793"/>
                </a:lnTo>
                <a:lnTo>
                  <a:pt x="288" y="1794"/>
                </a:lnTo>
                <a:lnTo>
                  <a:pt x="284" y="1794"/>
                </a:lnTo>
                <a:lnTo>
                  <a:pt x="281" y="1794"/>
                </a:lnTo>
                <a:lnTo>
                  <a:pt x="279" y="1793"/>
                </a:lnTo>
                <a:lnTo>
                  <a:pt x="277" y="1791"/>
                </a:lnTo>
                <a:lnTo>
                  <a:pt x="275" y="1789"/>
                </a:lnTo>
                <a:lnTo>
                  <a:pt x="274" y="1787"/>
                </a:lnTo>
                <a:lnTo>
                  <a:pt x="273" y="1785"/>
                </a:lnTo>
                <a:lnTo>
                  <a:pt x="272" y="1782"/>
                </a:lnTo>
                <a:lnTo>
                  <a:pt x="272" y="1780"/>
                </a:lnTo>
                <a:lnTo>
                  <a:pt x="273" y="1777"/>
                </a:lnTo>
                <a:lnTo>
                  <a:pt x="274" y="1774"/>
                </a:lnTo>
                <a:lnTo>
                  <a:pt x="277" y="1771"/>
                </a:lnTo>
                <a:lnTo>
                  <a:pt x="278" y="1770"/>
                </a:lnTo>
                <a:lnTo>
                  <a:pt x="280" y="1769"/>
                </a:lnTo>
                <a:lnTo>
                  <a:pt x="283" y="1768"/>
                </a:lnTo>
                <a:close/>
                <a:moveTo>
                  <a:pt x="304" y="1706"/>
                </a:moveTo>
                <a:lnTo>
                  <a:pt x="308" y="1706"/>
                </a:lnTo>
                <a:lnTo>
                  <a:pt x="311" y="1706"/>
                </a:lnTo>
                <a:lnTo>
                  <a:pt x="314" y="1708"/>
                </a:lnTo>
                <a:lnTo>
                  <a:pt x="316" y="1709"/>
                </a:lnTo>
                <a:lnTo>
                  <a:pt x="317" y="1711"/>
                </a:lnTo>
                <a:lnTo>
                  <a:pt x="319" y="1713"/>
                </a:lnTo>
                <a:lnTo>
                  <a:pt x="319" y="1715"/>
                </a:lnTo>
                <a:lnTo>
                  <a:pt x="320" y="1718"/>
                </a:lnTo>
                <a:lnTo>
                  <a:pt x="320" y="1721"/>
                </a:lnTo>
                <a:lnTo>
                  <a:pt x="319" y="1723"/>
                </a:lnTo>
                <a:lnTo>
                  <a:pt x="317" y="1726"/>
                </a:lnTo>
                <a:lnTo>
                  <a:pt x="315" y="1729"/>
                </a:lnTo>
                <a:lnTo>
                  <a:pt x="312" y="1731"/>
                </a:lnTo>
                <a:lnTo>
                  <a:pt x="309" y="1732"/>
                </a:lnTo>
                <a:lnTo>
                  <a:pt x="306" y="1732"/>
                </a:lnTo>
                <a:lnTo>
                  <a:pt x="302" y="1731"/>
                </a:lnTo>
                <a:lnTo>
                  <a:pt x="300" y="1730"/>
                </a:lnTo>
                <a:lnTo>
                  <a:pt x="298" y="1728"/>
                </a:lnTo>
                <a:lnTo>
                  <a:pt x="296" y="1727"/>
                </a:lnTo>
                <a:lnTo>
                  <a:pt x="295" y="1724"/>
                </a:lnTo>
                <a:lnTo>
                  <a:pt x="294" y="1722"/>
                </a:lnTo>
                <a:lnTo>
                  <a:pt x="294" y="1720"/>
                </a:lnTo>
                <a:lnTo>
                  <a:pt x="294" y="1717"/>
                </a:lnTo>
                <a:lnTo>
                  <a:pt x="294" y="1714"/>
                </a:lnTo>
                <a:lnTo>
                  <a:pt x="296" y="1711"/>
                </a:lnTo>
                <a:lnTo>
                  <a:pt x="298" y="1709"/>
                </a:lnTo>
                <a:lnTo>
                  <a:pt x="301" y="1707"/>
                </a:lnTo>
                <a:lnTo>
                  <a:pt x="304" y="1706"/>
                </a:lnTo>
                <a:close/>
                <a:moveTo>
                  <a:pt x="327" y="1644"/>
                </a:moveTo>
                <a:lnTo>
                  <a:pt x="330" y="1643"/>
                </a:lnTo>
                <a:lnTo>
                  <a:pt x="334" y="1644"/>
                </a:lnTo>
                <a:lnTo>
                  <a:pt x="336" y="1645"/>
                </a:lnTo>
                <a:lnTo>
                  <a:pt x="338" y="1647"/>
                </a:lnTo>
                <a:lnTo>
                  <a:pt x="340" y="1649"/>
                </a:lnTo>
                <a:lnTo>
                  <a:pt x="341" y="1651"/>
                </a:lnTo>
                <a:lnTo>
                  <a:pt x="342" y="1652"/>
                </a:lnTo>
                <a:lnTo>
                  <a:pt x="342" y="1653"/>
                </a:lnTo>
                <a:lnTo>
                  <a:pt x="342" y="1656"/>
                </a:lnTo>
                <a:lnTo>
                  <a:pt x="342" y="1661"/>
                </a:lnTo>
                <a:lnTo>
                  <a:pt x="340" y="1664"/>
                </a:lnTo>
                <a:lnTo>
                  <a:pt x="338" y="1667"/>
                </a:lnTo>
                <a:lnTo>
                  <a:pt x="335" y="1668"/>
                </a:lnTo>
                <a:lnTo>
                  <a:pt x="331" y="1669"/>
                </a:lnTo>
                <a:lnTo>
                  <a:pt x="328" y="1670"/>
                </a:lnTo>
                <a:lnTo>
                  <a:pt x="325" y="1669"/>
                </a:lnTo>
                <a:lnTo>
                  <a:pt x="322" y="1668"/>
                </a:lnTo>
                <a:lnTo>
                  <a:pt x="320" y="1666"/>
                </a:lnTo>
                <a:lnTo>
                  <a:pt x="319" y="1664"/>
                </a:lnTo>
                <a:lnTo>
                  <a:pt x="317" y="1662"/>
                </a:lnTo>
                <a:lnTo>
                  <a:pt x="317" y="1661"/>
                </a:lnTo>
                <a:lnTo>
                  <a:pt x="316" y="1660"/>
                </a:lnTo>
                <a:lnTo>
                  <a:pt x="316" y="1657"/>
                </a:lnTo>
                <a:lnTo>
                  <a:pt x="317" y="1652"/>
                </a:lnTo>
                <a:lnTo>
                  <a:pt x="319" y="1649"/>
                </a:lnTo>
                <a:lnTo>
                  <a:pt x="321" y="1646"/>
                </a:lnTo>
                <a:lnTo>
                  <a:pt x="324" y="1645"/>
                </a:lnTo>
                <a:lnTo>
                  <a:pt x="327" y="1644"/>
                </a:lnTo>
                <a:close/>
                <a:moveTo>
                  <a:pt x="350" y="1582"/>
                </a:moveTo>
                <a:lnTo>
                  <a:pt x="354" y="1582"/>
                </a:lnTo>
                <a:lnTo>
                  <a:pt x="358" y="1582"/>
                </a:lnTo>
                <a:lnTo>
                  <a:pt x="362" y="1585"/>
                </a:lnTo>
                <a:lnTo>
                  <a:pt x="364" y="1587"/>
                </a:lnTo>
                <a:lnTo>
                  <a:pt x="365" y="1589"/>
                </a:lnTo>
                <a:lnTo>
                  <a:pt x="366" y="1592"/>
                </a:lnTo>
                <a:lnTo>
                  <a:pt x="366" y="1594"/>
                </a:lnTo>
                <a:lnTo>
                  <a:pt x="366" y="1597"/>
                </a:lnTo>
                <a:lnTo>
                  <a:pt x="365" y="1599"/>
                </a:lnTo>
                <a:lnTo>
                  <a:pt x="363" y="1603"/>
                </a:lnTo>
                <a:lnTo>
                  <a:pt x="361" y="1605"/>
                </a:lnTo>
                <a:lnTo>
                  <a:pt x="358" y="1607"/>
                </a:lnTo>
                <a:lnTo>
                  <a:pt x="355" y="1608"/>
                </a:lnTo>
                <a:lnTo>
                  <a:pt x="352" y="1608"/>
                </a:lnTo>
                <a:lnTo>
                  <a:pt x="348" y="1607"/>
                </a:lnTo>
                <a:lnTo>
                  <a:pt x="344" y="1604"/>
                </a:lnTo>
                <a:lnTo>
                  <a:pt x="342" y="1602"/>
                </a:lnTo>
                <a:lnTo>
                  <a:pt x="341" y="1600"/>
                </a:lnTo>
                <a:lnTo>
                  <a:pt x="340" y="1598"/>
                </a:lnTo>
                <a:lnTo>
                  <a:pt x="340" y="1595"/>
                </a:lnTo>
                <a:lnTo>
                  <a:pt x="340" y="1592"/>
                </a:lnTo>
                <a:lnTo>
                  <a:pt x="341" y="1590"/>
                </a:lnTo>
                <a:lnTo>
                  <a:pt x="342" y="1587"/>
                </a:lnTo>
                <a:lnTo>
                  <a:pt x="345" y="1584"/>
                </a:lnTo>
                <a:lnTo>
                  <a:pt x="347" y="1583"/>
                </a:lnTo>
                <a:lnTo>
                  <a:pt x="350" y="1582"/>
                </a:lnTo>
                <a:close/>
                <a:moveTo>
                  <a:pt x="375" y="1520"/>
                </a:moveTo>
                <a:lnTo>
                  <a:pt x="379" y="1520"/>
                </a:lnTo>
                <a:lnTo>
                  <a:pt x="382" y="1521"/>
                </a:lnTo>
                <a:lnTo>
                  <a:pt x="385" y="1522"/>
                </a:lnTo>
                <a:lnTo>
                  <a:pt x="387" y="1524"/>
                </a:lnTo>
                <a:lnTo>
                  <a:pt x="388" y="1526"/>
                </a:lnTo>
                <a:lnTo>
                  <a:pt x="389" y="1528"/>
                </a:lnTo>
                <a:lnTo>
                  <a:pt x="390" y="1531"/>
                </a:lnTo>
                <a:lnTo>
                  <a:pt x="391" y="1533"/>
                </a:lnTo>
                <a:lnTo>
                  <a:pt x="390" y="1536"/>
                </a:lnTo>
                <a:lnTo>
                  <a:pt x="390" y="1538"/>
                </a:lnTo>
                <a:lnTo>
                  <a:pt x="388" y="1541"/>
                </a:lnTo>
                <a:lnTo>
                  <a:pt x="386" y="1544"/>
                </a:lnTo>
                <a:lnTo>
                  <a:pt x="383" y="1545"/>
                </a:lnTo>
                <a:lnTo>
                  <a:pt x="380" y="1546"/>
                </a:lnTo>
                <a:lnTo>
                  <a:pt x="376" y="1546"/>
                </a:lnTo>
                <a:lnTo>
                  <a:pt x="372" y="1545"/>
                </a:lnTo>
                <a:lnTo>
                  <a:pt x="370" y="1544"/>
                </a:lnTo>
                <a:lnTo>
                  <a:pt x="368" y="1543"/>
                </a:lnTo>
                <a:lnTo>
                  <a:pt x="366" y="1541"/>
                </a:lnTo>
                <a:lnTo>
                  <a:pt x="365" y="1538"/>
                </a:lnTo>
                <a:lnTo>
                  <a:pt x="365" y="1536"/>
                </a:lnTo>
                <a:lnTo>
                  <a:pt x="364" y="1533"/>
                </a:lnTo>
                <a:lnTo>
                  <a:pt x="364" y="1531"/>
                </a:lnTo>
                <a:lnTo>
                  <a:pt x="365" y="1528"/>
                </a:lnTo>
                <a:lnTo>
                  <a:pt x="367" y="1525"/>
                </a:lnTo>
                <a:lnTo>
                  <a:pt x="369" y="1523"/>
                </a:lnTo>
                <a:lnTo>
                  <a:pt x="372" y="1521"/>
                </a:lnTo>
                <a:lnTo>
                  <a:pt x="375" y="1520"/>
                </a:lnTo>
                <a:close/>
                <a:moveTo>
                  <a:pt x="401" y="1459"/>
                </a:moveTo>
                <a:lnTo>
                  <a:pt x="405" y="1459"/>
                </a:lnTo>
                <a:lnTo>
                  <a:pt x="408" y="1460"/>
                </a:lnTo>
                <a:lnTo>
                  <a:pt x="411" y="1462"/>
                </a:lnTo>
                <a:lnTo>
                  <a:pt x="413" y="1463"/>
                </a:lnTo>
                <a:lnTo>
                  <a:pt x="414" y="1465"/>
                </a:lnTo>
                <a:lnTo>
                  <a:pt x="415" y="1468"/>
                </a:lnTo>
                <a:lnTo>
                  <a:pt x="416" y="1470"/>
                </a:lnTo>
                <a:lnTo>
                  <a:pt x="416" y="1472"/>
                </a:lnTo>
                <a:lnTo>
                  <a:pt x="416" y="1475"/>
                </a:lnTo>
                <a:lnTo>
                  <a:pt x="415" y="1478"/>
                </a:lnTo>
                <a:lnTo>
                  <a:pt x="413" y="1480"/>
                </a:lnTo>
                <a:lnTo>
                  <a:pt x="411" y="1483"/>
                </a:lnTo>
                <a:lnTo>
                  <a:pt x="408" y="1484"/>
                </a:lnTo>
                <a:lnTo>
                  <a:pt x="405" y="1485"/>
                </a:lnTo>
                <a:lnTo>
                  <a:pt x="402" y="1485"/>
                </a:lnTo>
                <a:lnTo>
                  <a:pt x="398" y="1484"/>
                </a:lnTo>
                <a:lnTo>
                  <a:pt x="396" y="1483"/>
                </a:lnTo>
                <a:lnTo>
                  <a:pt x="394" y="1481"/>
                </a:lnTo>
                <a:lnTo>
                  <a:pt x="392" y="1479"/>
                </a:lnTo>
                <a:lnTo>
                  <a:pt x="391" y="1477"/>
                </a:lnTo>
                <a:lnTo>
                  <a:pt x="390" y="1475"/>
                </a:lnTo>
                <a:lnTo>
                  <a:pt x="390" y="1472"/>
                </a:lnTo>
                <a:lnTo>
                  <a:pt x="390" y="1470"/>
                </a:lnTo>
                <a:lnTo>
                  <a:pt x="391" y="1467"/>
                </a:lnTo>
                <a:lnTo>
                  <a:pt x="393" y="1464"/>
                </a:lnTo>
                <a:lnTo>
                  <a:pt x="395" y="1462"/>
                </a:lnTo>
                <a:lnTo>
                  <a:pt x="398" y="1460"/>
                </a:lnTo>
                <a:lnTo>
                  <a:pt x="401" y="1459"/>
                </a:lnTo>
                <a:close/>
                <a:moveTo>
                  <a:pt x="428" y="1399"/>
                </a:moveTo>
                <a:lnTo>
                  <a:pt x="432" y="1399"/>
                </a:lnTo>
                <a:lnTo>
                  <a:pt x="435" y="1400"/>
                </a:lnTo>
                <a:lnTo>
                  <a:pt x="438" y="1401"/>
                </a:lnTo>
                <a:lnTo>
                  <a:pt x="440" y="1403"/>
                </a:lnTo>
                <a:lnTo>
                  <a:pt x="441" y="1405"/>
                </a:lnTo>
                <a:lnTo>
                  <a:pt x="442" y="1407"/>
                </a:lnTo>
                <a:lnTo>
                  <a:pt x="443" y="1410"/>
                </a:lnTo>
                <a:lnTo>
                  <a:pt x="443" y="1412"/>
                </a:lnTo>
                <a:lnTo>
                  <a:pt x="443" y="1415"/>
                </a:lnTo>
                <a:lnTo>
                  <a:pt x="442" y="1417"/>
                </a:lnTo>
                <a:lnTo>
                  <a:pt x="440" y="1420"/>
                </a:lnTo>
                <a:lnTo>
                  <a:pt x="438" y="1422"/>
                </a:lnTo>
                <a:lnTo>
                  <a:pt x="437" y="1423"/>
                </a:lnTo>
                <a:lnTo>
                  <a:pt x="435" y="1424"/>
                </a:lnTo>
                <a:lnTo>
                  <a:pt x="432" y="1425"/>
                </a:lnTo>
                <a:lnTo>
                  <a:pt x="428" y="1425"/>
                </a:lnTo>
                <a:lnTo>
                  <a:pt x="425" y="1424"/>
                </a:lnTo>
                <a:lnTo>
                  <a:pt x="422" y="1422"/>
                </a:lnTo>
                <a:lnTo>
                  <a:pt x="420" y="1421"/>
                </a:lnTo>
                <a:lnTo>
                  <a:pt x="419" y="1419"/>
                </a:lnTo>
                <a:lnTo>
                  <a:pt x="418" y="1416"/>
                </a:lnTo>
                <a:lnTo>
                  <a:pt x="417" y="1414"/>
                </a:lnTo>
                <a:lnTo>
                  <a:pt x="417" y="1412"/>
                </a:lnTo>
                <a:lnTo>
                  <a:pt x="417" y="1409"/>
                </a:lnTo>
                <a:lnTo>
                  <a:pt x="418" y="1406"/>
                </a:lnTo>
                <a:lnTo>
                  <a:pt x="420" y="1404"/>
                </a:lnTo>
                <a:lnTo>
                  <a:pt x="422" y="1401"/>
                </a:lnTo>
                <a:lnTo>
                  <a:pt x="423" y="1401"/>
                </a:lnTo>
                <a:lnTo>
                  <a:pt x="425" y="1400"/>
                </a:lnTo>
                <a:lnTo>
                  <a:pt x="428" y="1399"/>
                </a:lnTo>
                <a:close/>
                <a:moveTo>
                  <a:pt x="456" y="1339"/>
                </a:moveTo>
                <a:lnTo>
                  <a:pt x="460" y="1339"/>
                </a:lnTo>
                <a:lnTo>
                  <a:pt x="462" y="1339"/>
                </a:lnTo>
                <a:lnTo>
                  <a:pt x="464" y="1340"/>
                </a:lnTo>
                <a:lnTo>
                  <a:pt x="466" y="1342"/>
                </a:lnTo>
                <a:lnTo>
                  <a:pt x="468" y="1343"/>
                </a:lnTo>
                <a:lnTo>
                  <a:pt x="469" y="1345"/>
                </a:lnTo>
                <a:lnTo>
                  <a:pt x="470" y="1348"/>
                </a:lnTo>
                <a:lnTo>
                  <a:pt x="471" y="1350"/>
                </a:lnTo>
                <a:lnTo>
                  <a:pt x="471" y="1353"/>
                </a:lnTo>
                <a:lnTo>
                  <a:pt x="471" y="1355"/>
                </a:lnTo>
                <a:lnTo>
                  <a:pt x="470" y="1358"/>
                </a:lnTo>
                <a:lnTo>
                  <a:pt x="468" y="1360"/>
                </a:lnTo>
                <a:lnTo>
                  <a:pt x="466" y="1362"/>
                </a:lnTo>
                <a:lnTo>
                  <a:pt x="463" y="1364"/>
                </a:lnTo>
                <a:lnTo>
                  <a:pt x="460" y="1365"/>
                </a:lnTo>
                <a:lnTo>
                  <a:pt x="456" y="1365"/>
                </a:lnTo>
                <a:lnTo>
                  <a:pt x="454" y="1365"/>
                </a:lnTo>
                <a:lnTo>
                  <a:pt x="452" y="1364"/>
                </a:lnTo>
                <a:lnTo>
                  <a:pt x="450" y="1362"/>
                </a:lnTo>
                <a:lnTo>
                  <a:pt x="448" y="1361"/>
                </a:lnTo>
                <a:lnTo>
                  <a:pt x="447" y="1359"/>
                </a:lnTo>
                <a:lnTo>
                  <a:pt x="446" y="1356"/>
                </a:lnTo>
                <a:lnTo>
                  <a:pt x="445" y="1354"/>
                </a:lnTo>
                <a:lnTo>
                  <a:pt x="445" y="1351"/>
                </a:lnTo>
                <a:lnTo>
                  <a:pt x="445" y="1349"/>
                </a:lnTo>
                <a:lnTo>
                  <a:pt x="446" y="1346"/>
                </a:lnTo>
                <a:lnTo>
                  <a:pt x="448" y="1344"/>
                </a:lnTo>
                <a:lnTo>
                  <a:pt x="450" y="1341"/>
                </a:lnTo>
                <a:lnTo>
                  <a:pt x="453" y="1340"/>
                </a:lnTo>
                <a:lnTo>
                  <a:pt x="456" y="1339"/>
                </a:lnTo>
                <a:close/>
                <a:moveTo>
                  <a:pt x="485" y="1280"/>
                </a:moveTo>
                <a:lnTo>
                  <a:pt x="489" y="1280"/>
                </a:lnTo>
                <a:lnTo>
                  <a:pt x="491" y="1280"/>
                </a:lnTo>
                <a:lnTo>
                  <a:pt x="493" y="1281"/>
                </a:lnTo>
                <a:lnTo>
                  <a:pt x="496" y="1282"/>
                </a:lnTo>
                <a:lnTo>
                  <a:pt x="497" y="1284"/>
                </a:lnTo>
                <a:lnTo>
                  <a:pt x="499" y="1286"/>
                </a:lnTo>
                <a:lnTo>
                  <a:pt x="500" y="1289"/>
                </a:lnTo>
                <a:lnTo>
                  <a:pt x="500" y="1291"/>
                </a:lnTo>
                <a:lnTo>
                  <a:pt x="500" y="1294"/>
                </a:lnTo>
                <a:lnTo>
                  <a:pt x="500" y="1296"/>
                </a:lnTo>
                <a:lnTo>
                  <a:pt x="499" y="1299"/>
                </a:lnTo>
                <a:lnTo>
                  <a:pt x="497" y="1301"/>
                </a:lnTo>
                <a:lnTo>
                  <a:pt x="495" y="1303"/>
                </a:lnTo>
                <a:lnTo>
                  <a:pt x="492" y="1305"/>
                </a:lnTo>
                <a:lnTo>
                  <a:pt x="490" y="1306"/>
                </a:lnTo>
                <a:lnTo>
                  <a:pt x="485" y="1306"/>
                </a:lnTo>
                <a:lnTo>
                  <a:pt x="483" y="1305"/>
                </a:lnTo>
                <a:lnTo>
                  <a:pt x="481" y="1304"/>
                </a:lnTo>
                <a:lnTo>
                  <a:pt x="479" y="1303"/>
                </a:lnTo>
                <a:lnTo>
                  <a:pt x="477" y="1301"/>
                </a:lnTo>
                <a:lnTo>
                  <a:pt x="476" y="1299"/>
                </a:lnTo>
                <a:lnTo>
                  <a:pt x="475" y="1297"/>
                </a:lnTo>
                <a:lnTo>
                  <a:pt x="474" y="1294"/>
                </a:lnTo>
                <a:lnTo>
                  <a:pt x="474" y="1292"/>
                </a:lnTo>
                <a:lnTo>
                  <a:pt x="475" y="1289"/>
                </a:lnTo>
                <a:lnTo>
                  <a:pt x="476" y="1287"/>
                </a:lnTo>
                <a:lnTo>
                  <a:pt x="477" y="1284"/>
                </a:lnTo>
                <a:lnTo>
                  <a:pt x="480" y="1282"/>
                </a:lnTo>
                <a:lnTo>
                  <a:pt x="482" y="1281"/>
                </a:lnTo>
                <a:lnTo>
                  <a:pt x="485" y="1280"/>
                </a:lnTo>
                <a:close/>
                <a:moveTo>
                  <a:pt x="516" y="1221"/>
                </a:moveTo>
                <a:lnTo>
                  <a:pt x="520" y="1221"/>
                </a:lnTo>
                <a:lnTo>
                  <a:pt x="524" y="1222"/>
                </a:lnTo>
                <a:lnTo>
                  <a:pt x="526" y="1224"/>
                </a:lnTo>
                <a:lnTo>
                  <a:pt x="528" y="1226"/>
                </a:lnTo>
                <a:lnTo>
                  <a:pt x="529" y="1228"/>
                </a:lnTo>
                <a:lnTo>
                  <a:pt x="530" y="1230"/>
                </a:lnTo>
                <a:lnTo>
                  <a:pt x="531" y="1233"/>
                </a:lnTo>
                <a:lnTo>
                  <a:pt x="531" y="1235"/>
                </a:lnTo>
                <a:lnTo>
                  <a:pt x="530" y="1238"/>
                </a:lnTo>
                <a:lnTo>
                  <a:pt x="529" y="1240"/>
                </a:lnTo>
                <a:lnTo>
                  <a:pt x="528" y="1243"/>
                </a:lnTo>
                <a:lnTo>
                  <a:pt x="525" y="1245"/>
                </a:lnTo>
                <a:lnTo>
                  <a:pt x="523" y="1246"/>
                </a:lnTo>
                <a:lnTo>
                  <a:pt x="520" y="1247"/>
                </a:lnTo>
                <a:lnTo>
                  <a:pt x="516" y="1247"/>
                </a:lnTo>
                <a:lnTo>
                  <a:pt x="512" y="1246"/>
                </a:lnTo>
                <a:lnTo>
                  <a:pt x="509" y="1244"/>
                </a:lnTo>
                <a:lnTo>
                  <a:pt x="508" y="1242"/>
                </a:lnTo>
                <a:lnTo>
                  <a:pt x="506" y="1240"/>
                </a:lnTo>
                <a:lnTo>
                  <a:pt x="505" y="1238"/>
                </a:lnTo>
                <a:lnTo>
                  <a:pt x="505" y="1235"/>
                </a:lnTo>
                <a:lnTo>
                  <a:pt x="505" y="1233"/>
                </a:lnTo>
                <a:lnTo>
                  <a:pt x="505" y="1230"/>
                </a:lnTo>
                <a:lnTo>
                  <a:pt x="506" y="1228"/>
                </a:lnTo>
                <a:lnTo>
                  <a:pt x="508" y="1225"/>
                </a:lnTo>
                <a:lnTo>
                  <a:pt x="510" y="1223"/>
                </a:lnTo>
                <a:lnTo>
                  <a:pt x="513" y="1222"/>
                </a:lnTo>
                <a:lnTo>
                  <a:pt x="516" y="1221"/>
                </a:lnTo>
                <a:close/>
                <a:moveTo>
                  <a:pt x="547" y="1163"/>
                </a:moveTo>
                <a:lnTo>
                  <a:pt x="552" y="1163"/>
                </a:lnTo>
                <a:lnTo>
                  <a:pt x="554" y="1164"/>
                </a:lnTo>
                <a:lnTo>
                  <a:pt x="556" y="1164"/>
                </a:lnTo>
                <a:lnTo>
                  <a:pt x="558" y="1166"/>
                </a:lnTo>
                <a:lnTo>
                  <a:pt x="560" y="1168"/>
                </a:lnTo>
                <a:lnTo>
                  <a:pt x="561" y="1170"/>
                </a:lnTo>
                <a:lnTo>
                  <a:pt x="562" y="1172"/>
                </a:lnTo>
                <a:lnTo>
                  <a:pt x="563" y="1175"/>
                </a:lnTo>
                <a:lnTo>
                  <a:pt x="563" y="1177"/>
                </a:lnTo>
                <a:lnTo>
                  <a:pt x="562" y="1180"/>
                </a:lnTo>
                <a:lnTo>
                  <a:pt x="561" y="1182"/>
                </a:lnTo>
                <a:lnTo>
                  <a:pt x="559" y="1185"/>
                </a:lnTo>
                <a:lnTo>
                  <a:pt x="557" y="1187"/>
                </a:lnTo>
                <a:lnTo>
                  <a:pt x="555" y="1188"/>
                </a:lnTo>
                <a:lnTo>
                  <a:pt x="552" y="1189"/>
                </a:lnTo>
                <a:lnTo>
                  <a:pt x="547" y="1189"/>
                </a:lnTo>
                <a:lnTo>
                  <a:pt x="545" y="1188"/>
                </a:lnTo>
                <a:lnTo>
                  <a:pt x="543" y="1187"/>
                </a:lnTo>
                <a:lnTo>
                  <a:pt x="541" y="1186"/>
                </a:lnTo>
                <a:lnTo>
                  <a:pt x="539" y="1184"/>
                </a:lnTo>
                <a:lnTo>
                  <a:pt x="538" y="1182"/>
                </a:lnTo>
                <a:lnTo>
                  <a:pt x="537" y="1179"/>
                </a:lnTo>
                <a:lnTo>
                  <a:pt x="537" y="1177"/>
                </a:lnTo>
                <a:lnTo>
                  <a:pt x="537" y="1174"/>
                </a:lnTo>
                <a:lnTo>
                  <a:pt x="537" y="1172"/>
                </a:lnTo>
                <a:lnTo>
                  <a:pt x="538" y="1169"/>
                </a:lnTo>
                <a:lnTo>
                  <a:pt x="540" y="1167"/>
                </a:lnTo>
                <a:lnTo>
                  <a:pt x="542" y="1165"/>
                </a:lnTo>
                <a:lnTo>
                  <a:pt x="545" y="1164"/>
                </a:lnTo>
                <a:lnTo>
                  <a:pt x="547" y="1163"/>
                </a:lnTo>
                <a:close/>
                <a:moveTo>
                  <a:pt x="580" y="1105"/>
                </a:moveTo>
                <a:lnTo>
                  <a:pt x="585" y="1105"/>
                </a:lnTo>
                <a:lnTo>
                  <a:pt x="587" y="1105"/>
                </a:lnTo>
                <a:lnTo>
                  <a:pt x="589" y="1106"/>
                </a:lnTo>
                <a:lnTo>
                  <a:pt x="592" y="1108"/>
                </a:lnTo>
                <a:lnTo>
                  <a:pt x="593" y="1110"/>
                </a:lnTo>
                <a:lnTo>
                  <a:pt x="595" y="1112"/>
                </a:lnTo>
                <a:lnTo>
                  <a:pt x="595" y="1114"/>
                </a:lnTo>
                <a:lnTo>
                  <a:pt x="596" y="1117"/>
                </a:lnTo>
                <a:lnTo>
                  <a:pt x="596" y="1119"/>
                </a:lnTo>
                <a:lnTo>
                  <a:pt x="595" y="1122"/>
                </a:lnTo>
                <a:lnTo>
                  <a:pt x="594" y="1124"/>
                </a:lnTo>
                <a:lnTo>
                  <a:pt x="593" y="1126"/>
                </a:lnTo>
                <a:lnTo>
                  <a:pt x="592" y="1127"/>
                </a:lnTo>
                <a:lnTo>
                  <a:pt x="590" y="1128"/>
                </a:lnTo>
                <a:lnTo>
                  <a:pt x="588" y="1130"/>
                </a:lnTo>
                <a:lnTo>
                  <a:pt x="585" y="1131"/>
                </a:lnTo>
                <a:lnTo>
                  <a:pt x="580" y="1131"/>
                </a:lnTo>
                <a:lnTo>
                  <a:pt x="578" y="1130"/>
                </a:lnTo>
                <a:lnTo>
                  <a:pt x="576" y="1129"/>
                </a:lnTo>
                <a:lnTo>
                  <a:pt x="574" y="1127"/>
                </a:lnTo>
                <a:lnTo>
                  <a:pt x="572" y="1125"/>
                </a:lnTo>
                <a:lnTo>
                  <a:pt x="571" y="1123"/>
                </a:lnTo>
                <a:lnTo>
                  <a:pt x="570" y="1121"/>
                </a:lnTo>
                <a:lnTo>
                  <a:pt x="570" y="1118"/>
                </a:lnTo>
                <a:lnTo>
                  <a:pt x="570" y="1116"/>
                </a:lnTo>
                <a:lnTo>
                  <a:pt x="570" y="1113"/>
                </a:lnTo>
                <a:lnTo>
                  <a:pt x="571" y="1111"/>
                </a:lnTo>
                <a:lnTo>
                  <a:pt x="572" y="1110"/>
                </a:lnTo>
                <a:lnTo>
                  <a:pt x="573" y="1109"/>
                </a:lnTo>
                <a:lnTo>
                  <a:pt x="575" y="1107"/>
                </a:lnTo>
                <a:lnTo>
                  <a:pt x="578" y="1105"/>
                </a:lnTo>
                <a:lnTo>
                  <a:pt x="580" y="1105"/>
                </a:lnTo>
                <a:close/>
                <a:moveTo>
                  <a:pt x="615" y="1048"/>
                </a:moveTo>
                <a:lnTo>
                  <a:pt x="620" y="1048"/>
                </a:lnTo>
                <a:lnTo>
                  <a:pt x="622" y="1049"/>
                </a:lnTo>
                <a:lnTo>
                  <a:pt x="624" y="1050"/>
                </a:lnTo>
                <a:lnTo>
                  <a:pt x="626" y="1052"/>
                </a:lnTo>
                <a:lnTo>
                  <a:pt x="628" y="1054"/>
                </a:lnTo>
                <a:lnTo>
                  <a:pt x="629" y="1056"/>
                </a:lnTo>
                <a:lnTo>
                  <a:pt x="630" y="1058"/>
                </a:lnTo>
                <a:lnTo>
                  <a:pt x="630" y="1061"/>
                </a:lnTo>
                <a:lnTo>
                  <a:pt x="630" y="1063"/>
                </a:lnTo>
                <a:lnTo>
                  <a:pt x="629" y="1066"/>
                </a:lnTo>
                <a:lnTo>
                  <a:pt x="628" y="1068"/>
                </a:lnTo>
                <a:lnTo>
                  <a:pt x="627" y="1070"/>
                </a:lnTo>
                <a:lnTo>
                  <a:pt x="624" y="1072"/>
                </a:lnTo>
                <a:lnTo>
                  <a:pt x="622" y="1073"/>
                </a:lnTo>
                <a:lnTo>
                  <a:pt x="619" y="1074"/>
                </a:lnTo>
                <a:lnTo>
                  <a:pt x="615" y="1074"/>
                </a:lnTo>
                <a:lnTo>
                  <a:pt x="612" y="1073"/>
                </a:lnTo>
                <a:lnTo>
                  <a:pt x="610" y="1072"/>
                </a:lnTo>
                <a:lnTo>
                  <a:pt x="608" y="1071"/>
                </a:lnTo>
                <a:lnTo>
                  <a:pt x="606" y="1069"/>
                </a:lnTo>
                <a:lnTo>
                  <a:pt x="605" y="1066"/>
                </a:lnTo>
                <a:lnTo>
                  <a:pt x="604" y="1064"/>
                </a:lnTo>
                <a:lnTo>
                  <a:pt x="604" y="1062"/>
                </a:lnTo>
                <a:lnTo>
                  <a:pt x="604" y="1059"/>
                </a:lnTo>
                <a:lnTo>
                  <a:pt x="605" y="1057"/>
                </a:lnTo>
                <a:lnTo>
                  <a:pt x="606" y="1054"/>
                </a:lnTo>
                <a:lnTo>
                  <a:pt x="608" y="1052"/>
                </a:lnTo>
                <a:lnTo>
                  <a:pt x="610" y="1050"/>
                </a:lnTo>
                <a:lnTo>
                  <a:pt x="612" y="1049"/>
                </a:lnTo>
                <a:lnTo>
                  <a:pt x="615" y="1048"/>
                </a:lnTo>
                <a:close/>
                <a:moveTo>
                  <a:pt x="651" y="993"/>
                </a:moveTo>
                <a:lnTo>
                  <a:pt x="656" y="993"/>
                </a:lnTo>
                <a:lnTo>
                  <a:pt x="658" y="993"/>
                </a:lnTo>
                <a:lnTo>
                  <a:pt x="660" y="995"/>
                </a:lnTo>
                <a:lnTo>
                  <a:pt x="662" y="996"/>
                </a:lnTo>
                <a:lnTo>
                  <a:pt x="664" y="998"/>
                </a:lnTo>
                <a:lnTo>
                  <a:pt x="665" y="1000"/>
                </a:lnTo>
                <a:lnTo>
                  <a:pt x="666" y="1003"/>
                </a:lnTo>
                <a:lnTo>
                  <a:pt x="666" y="1008"/>
                </a:lnTo>
                <a:lnTo>
                  <a:pt x="665" y="1010"/>
                </a:lnTo>
                <a:lnTo>
                  <a:pt x="664" y="1013"/>
                </a:lnTo>
                <a:lnTo>
                  <a:pt x="662" y="1015"/>
                </a:lnTo>
                <a:lnTo>
                  <a:pt x="660" y="1017"/>
                </a:lnTo>
                <a:lnTo>
                  <a:pt x="658" y="1018"/>
                </a:lnTo>
                <a:lnTo>
                  <a:pt x="655" y="1018"/>
                </a:lnTo>
                <a:lnTo>
                  <a:pt x="650" y="1018"/>
                </a:lnTo>
                <a:lnTo>
                  <a:pt x="648" y="1018"/>
                </a:lnTo>
                <a:lnTo>
                  <a:pt x="646" y="1016"/>
                </a:lnTo>
                <a:lnTo>
                  <a:pt x="644" y="1015"/>
                </a:lnTo>
                <a:lnTo>
                  <a:pt x="642" y="1013"/>
                </a:lnTo>
                <a:lnTo>
                  <a:pt x="641" y="1011"/>
                </a:lnTo>
                <a:lnTo>
                  <a:pt x="640" y="1008"/>
                </a:lnTo>
                <a:lnTo>
                  <a:pt x="640" y="1003"/>
                </a:lnTo>
                <a:lnTo>
                  <a:pt x="641" y="1001"/>
                </a:lnTo>
                <a:lnTo>
                  <a:pt x="642" y="998"/>
                </a:lnTo>
                <a:lnTo>
                  <a:pt x="644" y="996"/>
                </a:lnTo>
                <a:lnTo>
                  <a:pt x="646" y="994"/>
                </a:lnTo>
                <a:lnTo>
                  <a:pt x="648" y="993"/>
                </a:lnTo>
                <a:lnTo>
                  <a:pt x="651" y="993"/>
                </a:lnTo>
                <a:close/>
                <a:moveTo>
                  <a:pt x="688" y="938"/>
                </a:moveTo>
                <a:lnTo>
                  <a:pt x="693" y="938"/>
                </a:lnTo>
                <a:lnTo>
                  <a:pt x="695" y="939"/>
                </a:lnTo>
                <a:lnTo>
                  <a:pt x="698" y="940"/>
                </a:lnTo>
                <a:lnTo>
                  <a:pt x="700" y="942"/>
                </a:lnTo>
                <a:lnTo>
                  <a:pt x="701" y="944"/>
                </a:lnTo>
                <a:lnTo>
                  <a:pt x="702" y="946"/>
                </a:lnTo>
                <a:lnTo>
                  <a:pt x="703" y="949"/>
                </a:lnTo>
                <a:lnTo>
                  <a:pt x="703" y="954"/>
                </a:lnTo>
                <a:lnTo>
                  <a:pt x="702" y="956"/>
                </a:lnTo>
                <a:lnTo>
                  <a:pt x="701" y="958"/>
                </a:lnTo>
                <a:lnTo>
                  <a:pt x="699" y="960"/>
                </a:lnTo>
                <a:lnTo>
                  <a:pt x="697" y="962"/>
                </a:lnTo>
                <a:lnTo>
                  <a:pt x="695" y="963"/>
                </a:lnTo>
                <a:lnTo>
                  <a:pt x="692" y="964"/>
                </a:lnTo>
                <a:lnTo>
                  <a:pt x="687" y="964"/>
                </a:lnTo>
                <a:lnTo>
                  <a:pt x="685" y="963"/>
                </a:lnTo>
                <a:lnTo>
                  <a:pt x="683" y="962"/>
                </a:lnTo>
                <a:lnTo>
                  <a:pt x="681" y="960"/>
                </a:lnTo>
                <a:lnTo>
                  <a:pt x="679" y="958"/>
                </a:lnTo>
                <a:lnTo>
                  <a:pt x="678" y="956"/>
                </a:lnTo>
                <a:lnTo>
                  <a:pt x="677" y="953"/>
                </a:lnTo>
                <a:lnTo>
                  <a:pt x="677" y="948"/>
                </a:lnTo>
                <a:lnTo>
                  <a:pt x="678" y="946"/>
                </a:lnTo>
                <a:lnTo>
                  <a:pt x="679" y="943"/>
                </a:lnTo>
                <a:lnTo>
                  <a:pt x="681" y="941"/>
                </a:lnTo>
                <a:lnTo>
                  <a:pt x="683" y="940"/>
                </a:lnTo>
                <a:lnTo>
                  <a:pt x="685" y="939"/>
                </a:lnTo>
                <a:lnTo>
                  <a:pt x="688" y="938"/>
                </a:lnTo>
                <a:close/>
                <a:moveTo>
                  <a:pt x="2925" y="500"/>
                </a:moveTo>
                <a:lnTo>
                  <a:pt x="2927" y="499"/>
                </a:lnTo>
                <a:lnTo>
                  <a:pt x="2930" y="500"/>
                </a:lnTo>
                <a:lnTo>
                  <a:pt x="2933" y="501"/>
                </a:lnTo>
                <a:lnTo>
                  <a:pt x="2935" y="502"/>
                </a:lnTo>
                <a:lnTo>
                  <a:pt x="2937" y="504"/>
                </a:lnTo>
                <a:lnTo>
                  <a:pt x="2938" y="506"/>
                </a:lnTo>
                <a:lnTo>
                  <a:pt x="2939" y="508"/>
                </a:lnTo>
                <a:lnTo>
                  <a:pt x="2940" y="510"/>
                </a:lnTo>
                <a:lnTo>
                  <a:pt x="2940" y="513"/>
                </a:lnTo>
                <a:lnTo>
                  <a:pt x="2940" y="516"/>
                </a:lnTo>
                <a:lnTo>
                  <a:pt x="2938" y="519"/>
                </a:lnTo>
                <a:lnTo>
                  <a:pt x="2936" y="522"/>
                </a:lnTo>
                <a:lnTo>
                  <a:pt x="2933" y="524"/>
                </a:lnTo>
                <a:lnTo>
                  <a:pt x="2929" y="526"/>
                </a:lnTo>
                <a:lnTo>
                  <a:pt x="2927" y="526"/>
                </a:lnTo>
                <a:lnTo>
                  <a:pt x="2924" y="525"/>
                </a:lnTo>
                <a:lnTo>
                  <a:pt x="2921" y="524"/>
                </a:lnTo>
                <a:lnTo>
                  <a:pt x="2919" y="523"/>
                </a:lnTo>
                <a:lnTo>
                  <a:pt x="2917" y="521"/>
                </a:lnTo>
                <a:lnTo>
                  <a:pt x="2916" y="519"/>
                </a:lnTo>
                <a:lnTo>
                  <a:pt x="2915" y="517"/>
                </a:lnTo>
                <a:lnTo>
                  <a:pt x="2914" y="515"/>
                </a:lnTo>
                <a:lnTo>
                  <a:pt x="2914" y="512"/>
                </a:lnTo>
                <a:lnTo>
                  <a:pt x="2914" y="510"/>
                </a:lnTo>
                <a:lnTo>
                  <a:pt x="2916" y="506"/>
                </a:lnTo>
                <a:lnTo>
                  <a:pt x="2918" y="503"/>
                </a:lnTo>
                <a:lnTo>
                  <a:pt x="2921" y="501"/>
                </a:lnTo>
                <a:lnTo>
                  <a:pt x="2925" y="500"/>
                </a:lnTo>
                <a:close/>
                <a:moveTo>
                  <a:pt x="727" y="884"/>
                </a:moveTo>
                <a:lnTo>
                  <a:pt x="729" y="884"/>
                </a:lnTo>
                <a:lnTo>
                  <a:pt x="732" y="884"/>
                </a:lnTo>
                <a:lnTo>
                  <a:pt x="734" y="885"/>
                </a:lnTo>
                <a:lnTo>
                  <a:pt x="738" y="887"/>
                </a:lnTo>
                <a:lnTo>
                  <a:pt x="740" y="888"/>
                </a:lnTo>
                <a:lnTo>
                  <a:pt x="741" y="890"/>
                </a:lnTo>
                <a:lnTo>
                  <a:pt x="742" y="893"/>
                </a:lnTo>
                <a:lnTo>
                  <a:pt x="743" y="895"/>
                </a:lnTo>
                <a:lnTo>
                  <a:pt x="743" y="898"/>
                </a:lnTo>
                <a:lnTo>
                  <a:pt x="743" y="900"/>
                </a:lnTo>
                <a:lnTo>
                  <a:pt x="742" y="903"/>
                </a:lnTo>
                <a:lnTo>
                  <a:pt x="740" y="905"/>
                </a:lnTo>
                <a:lnTo>
                  <a:pt x="739" y="907"/>
                </a:lnTo>
                <a:lnTo>
                  <a:pt x="737" y="908"/>
                </a:lnTo>
                <a:lnTo>
                  <a:pt x="734" y="909"/>
                </a:lnTo>
                <a:lnTo>
                  <a:pt x="731" y="910"/>
                </a:lnTo>
                <a:lnTo>
                  <a:pt x="729" y="910"/>
                </a:lnTo>
                <a:lnTo>
                  <a:pt x="726" y="910"/>
                </a:lnTo>
                <a:lnTo>
                  <a:pt x="723" y="909"/>
                </a:lnTo>
                <a:lnTo>
                  <a:pt x="721" y="908"/>
                </a:lnTo>
                <a:lnTo>
                  <a:pt x="719" y="906"/>
                </a:lnTo>
                <a:lnTo>
                  <a:pt x="718" y="904"/>
                </a:lnTo>
                <a:lnTo>
                  <a:pt x="717" y="902"/>
                </a:lnTo>
                <a:lnTo>
                  <a:pt x="716" y="899"/>
                </a:lnTo>
                <a:lnTo>
                  <a:pt x="716" y="897"/>
                </a:lnTo>
                <a:lnTo>
                  <a:pt x="716" y="894"/>
                </a:lnTo>
                <a:lnTo>
                  <a:pt x="717" y="892"/>
                </a:lnTo>
                <a:lnTo>
                  <a:pt x="718" y="889"/>
                </a:lnTo>
                <a:lnTo>
                  <a:pt x="720" y="887"/>
                </a:lnTo>
                <a:lnTo>
                  <a:pt x="722" y="886"/>
                </a:lnTo>
                <a:lnTo>
                  <a:pt x="724" y="885"/>
                </a:lnTo>
                <a:lnTo>
                  <a:pt x="727" y="884"/>
                </a:lnTo>
                <a:close/>
                <a:moveTo>
                  <a:pt x="2860" y="484"/>
                </a:moveTo>
                <a:lnTo>
                  <a:pt x="2863" y="484"/>
                </a:lnTo>
                <a:lnTo>
                  <a:pt x="2866" y="484"/>
                </a:lnTo>
                <a:lnTo>
                  <a:pt x="2868" y="485"/>
                </a:lnTo>
                <a:lnTo>
                  <a:pt x="2871" y="487"/>
                </a:lnTo>
                <a:lnTo>
                  <a:pt x="2872" y="488"/>
                </a:lnTo>
                <a:lnTo>
                  <a:pt x="2874" y="490"/>
                </a:lnTo>
                <a:lnTo>
                  <a:pt x="2875" y="493"/>
                </a:lnTo>
                <a:lnTo>
                  <a:pt x="2876" y="495"/>
                </a:lnTo>
                <a:lnTo>
                  <a:pt x="2876" y="498"/>
                </a:lnTo>
                <a:lnTo>
                  <a:pt x="2875" y="500"/>
                </a:lnTo>
                <a:lnTo>
                  <a:pt x="2875" y="502"/>
                </a:lnTo>
                <a:lnTo>
                  <a:pt x="2874" y="504"/>
                </a:lnTo>
                <a:lnTo>
                  <a:pt x="2872" y="507"/>
                </a:lnTo>
                <a:lnTo>
                  <a:pt x="2869" y="509"/>
                </a:lnTo>
                <a:lnTo>
                  <a:pt x="2865" y="510"/>
                </a:lnTo>
                <a:lnTo>
                  <a:pt x="2862" y="510"/>
                </a:lnTo>
                <a:lnTo>
                  <a:pt x="2860" y="510"/>
                </a:lnTo>
                <a:lnTo>
                  <a:pt x="2857" y="509"/>
                </a:lnTo>
                <a:lnTo>
                  <a:pt x="2855" y="508"/>
                </a:lnTo>
                <a:lnTo>
                  <a:pt x="2853" y="506"/>
                </a:lnTo>
                <a:lnTo>
                  <a:pt x="2852" y="504"/>
                </a:lnTo>
                <a:lnTo>
                  <a:pt x="2850" y="502"/>
                </a:lnTo>
                <a:lnTo>
                  <a:pt x="2850" y="499"/>
                </a:lnTo>
                <a:lnTo>
                  <a:pt x="2850" y="497"/>
                </a:lnTo>
                <a:lnTo>
                  <a:pt x="2850" y="494"/>
                </a:lnTo>
                <a:lnTo>
                  <a:pt x="2851" y="492"/>
                </a:lnTo>
                <a:lnTo>
                  <a:pt x="2851" y="490"/>
                </a:lnTo>
                <a:lnTo>
                  <a:pt x="2854" y="487"/>
                </a:lnTo>
                <a:lnTo>
                  <a:pt x="2857" y="485"/>
                </a:lnTo>
                <a:lnTo>
                  <a:pt x="2860" y="484"/>
                </a:lnTo>
                <a:close/>
                <a:moveTo>
                  <a:pt x="768" y="832"/>
                </a:moveTo>
                <a:lnTo>
                  <a:pt x="770" y="831"/>
                </a:lnTo>
                <a:lnTo>
                  <a:pt x="773" y="832"/>
                </a:lnTo>
                <a:lnTo>
                  <a:pt x="776" y="833"/>
                </a:lnTo>
                <a:lnTo>
                  <a:pt x="778" y="834"/>
                </a:lnTo>
                <a:lnTo>
                  <a:pt x="780" y="836"/>
                </a:lnTo>
                <a:lnTo>
                  <a:pt x="782" y="838"/>
                </a:lnTo>
                <a:lnTo>
                  <a:pt x="783" y="841"/>
                </a:lnTo>
                <a:lnTo>
                  <a:pt x="783" y="843"/>
                </a:lnTo>
                <a:lnTo>
                  <a:pt x="783" y="846"/>
                </a:lnTo>
                <a:lnTo>
                  <a:pt x="783" y="848"/>
                </a:lnTo>
                <a:lnTo>
                  <a:pt x="782" y="850"/>
                </a:lnTo>
                <a:lnTo>
                  <a:pt x="780" y="853"/>
                </a:lnTo>
                <a:lnTo>
                  <a:pt x="779" y="855"/>
                </a:lnTo>
                <a:lnTo>
                  <a:pt x="777" y="856"/>
                </a:lnTo>
                <a:lnTo>
                  <a:pt x="775" y="857"/>
                </a:lnTo>
                <a:lnTo>
                  <a:pt x="772" y="858"/>
                </a:lnTo>
                <a:lnTo>
                  <a:pt x="770" y="858"/>
                </a:lnTo>
                <a:lnTo>
                  <a:pt x="767" y="857"/>
                </a:lnTo>
                <a:lnTo>
                  <a:pt x="764" y="856"/>
                </a:lnTo>
                <a:lnTo>
                  <a:pt x="762" y="855"/>
                </a:lnTo>
                <a:lnTo>
                  <a:pt x="760" y="853"/>
                </a:lnTo>
                <a:lnTo>
                  <a:pt x="759" y="851"/>
                </a:lnTo>
                <a:lnTo>
                  <a:pt x="758" y="849"/>
                </a:lnTo>
                <a:lnTo>
                  <a:pt x="757" y="846"/>
                </a:lnTo>
                <a:lnTo>
                  <a:pt x="757" y="844"/>
                </a:lnTo>
                <a:lnTo>
                  <a:pt x="757" y="841"/>
                </a:lnTo>
                <a:lnTo>
                  <a:pt x="758" y="839"/>
                </a:lnTo>
                <a:lnTo>
                  <a:pt x="760" y="836"/>
                </a:lnTo>
                <a:lnTo>
                  <a:pt x="761" y="835"/>
                </a:lnTo>
                <a:lnTo>
                  <a:pt x="763" y="833"/>
                </a:lnTo>
                <a:lnTo>
                  <a:pt x="766" y="832"/>
                </a:lnTo>
                <a:lnTo>
                  <a:pt x="768" y="832"/>
                </a:lnTo>
                <a:close/>
                <a:moveTo>
                  <a:pt x="2796" y="468"/>
                </a:moveTo>
                <a:lnTo>
                  <a:pt x="2799" y="468"/>
                </a:lnTo>
                <a:lnTo>
                  <a:pt x="2802" y="469"/>
                </a:lnTo>
                <a:lnTo>
                  <a:pt x="2804" y="469"/>
                </a:lnTo>
                <a:lnTo>
                  <a:pt x="2806" y="471"/>
                </a:lnTo>
                <a:lnTo>
                  <a:pt x="2808" y="473"/>
                </a:lnTo>
                <a:lnTo>
                  <a:pt x="2810" y="475"/>
                </a:lnTo>
                <a:lnTo>
                  <a:pt x="2811" y="477"/>
                </a:lnTo>
                <a:lnTo>
                  <a:pt x="2811" y="479"/>
                </a:lnTo>
                <a:lnTo>
                  <a:pt x="2812" y="482"/>
                </a:lnTo>
                <a:lnTo>
                  <a:pt x="2811" y="484"/>
                </a:lnTo>
                <a:lnTo>
                  <a:pt x="2811" y="486"/>
                </a:lnTo>
                <a:lnTo>
                  <a:pt x="2810" y="488"/>
                </a:lnTo>
                <a:lnTo>
                  <a:pt x="2807" y="491"/>
                </a:lnTo>
                <a:lnTo>
                  <a:pt x="2804" y="493"/>
                </a:lnTo>
                <a:lnTo>
                  <a:pt x="2801" y="494"/>
                </a:lnTo>
                <a:lnTo>
                  <a:pt x="2798" y="494"/>
                </a:lnTo>
                <a:lnTo>
                  <a:pt x="2795" y="494"/>
                </a:lnTo>
                <a:lnTo>
                  <a:pt x="2793" y="493"/>
                </a:lnTo>
                <a:lnTo>
                  <a:pt x="2791" y="492"/>
                </a:lnTo>
                <a:lnTo>
                  <a:pt x="2789" y="490"/>
                </a:lnTo>
                <a:lnTo>
                  <a:pt x="2787" y="488"/>
                </a:lnTo>
                <a:lnTo>
                  <a:pt x="2786" y="486"/>
                </a:lnTo>
                <a:lnTo>
                  <a:pt x="2786" y="483"/>
                </a:lnTo>
                <a:lnTo>
                  <a:pt x="2785" y="481"/>
                </a:lnTo>
                <a:lnTo>
                  <a:pt x="2786" y="478"/>
                </a:lnTo>
                <a:lnTo>
                  <a:pt x="2786" y="476"/>
                </a:lnTo>
                <a:lnTo>
                  <a:pt x="2787" y="475"/>
                </a:lnTo>
                <a:lnTo>
                  <a:pt x="2790" y="472"/>
                </a:lnTo>
                <a:lnTo>
                  <a:pt x="2793" y="470"/>
                </a:lnTo>
                <a:lnTo>
                  <a:pt x="2796" y="468"/>
                </a:lnTo>
                <a:close/>
                <a:moveTo>
                  <a:pt x="2732" y="452"/>
                </a:moveTo>
                <a:lnTo>
                  <a:pt x="2735" y="452"/>
                </a:lnTo>
                <a:lnTo>
                  <a:pt x="2737" y="453"/>
                </a:lnTo>
                <a:lnTo>
                  <a:pt x="2740" y="454"/>
                </a:lnTo>
                <a:lnTo>
                  <a:pt x="2742" y="455"/>
                </a:lnTo>
                <a:lnTo>
                  <a:pt x="2744" y="457"/>
                </a:lnTo>
                <a:lnTo>
                  <a:pt x="2746" y="459"/>
                </a:lnTo>
                <a:lnTo>
                  <a:pt x="2747" y="461"/>
                </a:lnTo>
                <a:lnTo>
                  <a:pt x="2747" y="463"/>
                </a:lnTo>
                <a:lnTo>
                  <a:pt x="2747" y="466"/>
                </a:lnTo>
                <a:lnTo>
                  <a:pt x="2747" y="469"/>
                </a:lnTo>
                <a:lnTo>
                  <a:pt x="2746" y="470"/>
                </a:lnTo>
                <a:lnTo>
                  <a:pt x="2746" y="472"/>
                </a:lnTo>
                <a:lnTo>
                  <a:pt x="2743" y="475"/>
                </a:lnTo>
                <a:lnTo>
                  <a:pt x="2740" y="477"/>
                </a:lnTo>
                <a:lnTo>
                  <a:pt x="2737" y="478"/>
                </a:lnTo>
                <a:lnTo>
                  <a:pt x="2734" y="478"/>
                </a:lnTo>
                <a:lnTo>
                  <a:pt x="2731" y="478"/>
                </a:lnTo>
                <a:lnTo>
                  <a:pt x="2729" y="477"/>
                </a:lnTo>
                <a:lnTo>
                  <a:pt x="2726" y="476"/>
                </a:lnTo>
                <a:lnTo>
                  <a:pt x="2725" y="474"/>
                </a:lnTo>
                <a:lnTo>
                  <a:pt x="2723" y="472"/>
                </a:lnTo>
                <a:lnTo>
                  <a:pt x="2722" y="470"/>
                </a:lnTo>
                <a:lnTo>
                  <a:pt x="2721" y="467"/>
                </a:lnTo>
                <a:lnTo>
                  <a:pt x="2721" y="465"/>
                </a:lnTo>
                <a:lnTo>
                  <a:pt x="2722" y="462"/>
                </a:lnTo>
                <a:lnTo>
                  <a:pt x="2722" y="460"/>
                </a:lnTo>
                <a:lnTo>
                  <a:pt x="2723" y="459"/>
                </a:lnTo>
                <a:lnTo>
                  <a:pt x="2725" y="456"/>
                </a:lnTo>
                <a:lnTo>
                  <a:pt x="2728" y="454"/>
                </a:lnTo>
                <a:lnTo>
                  <a:pt x="2732" y="452"/>
                </a:lnTo>
                <a:close/>
                <a:moveTo>
                  <a:pt x="810" y="780"/>
                </a:moveTo>
                <a:lnTo>
                  <a:pt x="812" y="780"/>
                </a:lnTo>
                <a:lnTo>
                  <a:pt x="815" y="781"/>
                </a:lnTo>
                <a:lnTo>
                  <a:pt x="818" y="782"/>
                </a:lnTo>
                <a:lnTo>
                  <a:pt x="820" y="783"/>
                </a:lnTo>
                <a:lnTo>
                  <a:pt x="822" y="785"/>
                </a:lnTo>
                <a:lnTo>
                  <a:pt x="823" y="787"/>
                </a:lnTo>
                <a:lnTo>
                  <a:pt x="825" y="792"/>
                </a:lnTo>
                <a:lnTo>
                  <a:pt x="825" y="795"/>
                </a:lnTo>
                <a:lnTo>
                  <a:pt x="824" y="797"/>
                </a:lnTo>
                <a:lnTo>
                  <a:pt x="823" y="800"/>
                </a:lnTo>
                <a:lnTo>
                  <a:pt x="822" y="802"/>
                </a:lnTo>
                <a:lnTo>
                  <a:pt x="820" y="803"/>
                </a:lnTo>
                <a:lnTo>
                  <a:pt x="818" y="805"/>
                </a:lnTo>
                <a:lnTo>
                  <a:pt x="816" y="806"/>
                </a:lnTo>
                <a:lnTo>
                  <a:pt x="814" y="806"/>
                </a:lnTo>
                <a:lnTo>
                  <a:pt x="811" y="806"/>
                </a:lnTo>
                <a:lnTo>
                  <a:pt x="808" y="806"/>
                </a:lnTo>
                <a:lnTo>
                  <a:pt x="806" y="805"/>
                </a:lnTo>
                <a:lnTo>
                  <a:pt x="803" y="803"/>
                </a:lnTo>
                <a:lnTo>
                  <a:pt x="802" y="801"/>
                </a:lnTo>
                <a:lnTo>
                  <a:pt x="800" y="799"/>
                </a:lnTo>
                <a:lnTo>
                  <a:pt x="799" y="794"/>
                </a:lnTo>
                <a:lnTo>
                  <a:pt x="799" y="792"/>
                </a:lnTo>
                <a:lnTo>
                  <a:pt x="799" y="789"/>
                </a:lnTo>
                <a:lnTo>
                  <a:pt x="800" y="787"/>
                </a:lnTo>
                <a:lnTo>
                  <a:pt x="802" y="785"/>
                </a:lnTo>
                <a:lnTo>
                  <a:pt x="803" y="783"/>
                </a:lnTo>
                <a:lnTo>
                  <a:pt x="805" y="782"/>
                </a:lnTo>
                <a:lnTo>
                  <a:pt x="807" y="781"/>
                </a:lnTo>
                <a:lnTo>
                  <a:pt x="810" y="780"/>
                </a:lnTo>
                <a:close/>
                <a:moveTo>
                  <a:pt x="2668" y="436"/>
                </a:moveTo>
                <a:lnTo>
                  <a:pt x="2671" y="436"/>
                </a:lnTo>
                <a:lnTo>
                  <a:pt x="2673" y="437"/>
                </a:lnTo>
                <a:lnTo>
                  <a:pt x="2676" y="437"/>
                </a:lnTo>
                <a:lnTo>
                  <a:pt x="2678" y="439"/>
                </a:lnTo>
                <a:lnTo>
                  <a:pt x="2680" y="441"/>
                </a:lnTo>
                <a:lnTo>
                  <a:pt x="2681" y="443"/>
                </a:lnTo>
                <a:lnTo>
                  <a:pt x="2682" y="445"/>
                </a:lnTo>
                <a:lnTo>
                  <a:pt x="2683" y="447"/>
                </a:lnTo>
                <a:lnTo>
                  <a:pt x="2683" y="450"/>
                </a:lnTo>
                <a:lnTo>
                  <a:pt x="2683" y="452"/>
                </a:lnTo>
                <a:lnTo>
                  <a:pt x="2682" y="454"/>
                </a:lnTo>
                <a:lnTo>
                  <a:pt x="2681" y="456"/>
                </a:lnTo>
                <a:lnTo>
                  <a:pt x="2679" y="459"/>
                </a:lnTo>
                <a:lnTo>
                  <a:pt x="2676" y="461"/>
                </a:lnTo>
                <a:lnTo>
                  <a:pt x="2672" y="462"/>
                </a:lnTo>
                <a:lnTo>
                  <a:pt x="2670" y="462"/>
                </a:lnTo>
                <a:lnTo>
                  <a:pt x="2667" y="462"/>
                </a:lnTo>
                <a:lnTo>
                  <a:pt x="2664" y="461"/>
                </a:lnTo>
                <a:lnTo>
                  <a:pt x="2662" y="460"/>
                </a:lnTo>
                <a:lnTo>
                  <a:pt x="2660" y="458"/>
                </a:lnTo>
                <a:lnTo>
                  <a:pt x="2659" y="456"/>
                </a:lnTo>
                <a:lnTo>
                  <a:pt x="2658" y="454"/>
                </a:lnTo>
                <a:lnTo>
                  <a:pt x="2657" y="451"/>
                </a:lnTo>
                <a:lnTo>
                  <a:pt x="2657" y="449"/>
                </a:lnTo>
                <a:lnTo>
                  <a:pt x="2657" y="446"/>
                </a:lnTo>
                <a:lnTo>
                  <a:pt x="2658" y="444"/>
                </a:lnTo>
                <a:lnTo>
                  <a:pt x="2659" y="442"/>
                </a:lnTo>
                <a:lnTo>
                  <a:pt x="2661" y="440"/>
                </a:lnTo>
                <a:lnTo>
                  <a:pt x="2664" y="438"/>
                </a:lnTo>
                <a:lnTo>
                  <a:pt x="2668" y="436"/>
                </a:lnTo>
                <a:close/>
                <a:moveTo>
                  <a:pt x="853" y="730"/>
                </a:moveTo>
                <a:lnTo>
                  <a:pt x="856" y="730"/>
                </a:lnTo>
                <a:lnTo>
                  <a:pt x="859" y="731"/>
                </a:lnTo>
                <a:lnTo>
                  <a:pt x="861" y="732"/>
                </a:lnTo>
                <a:lnTo>
                  <a:pt x="864" y="733"/>
                </a:lnTo>
                <a:lnTo>
                  <a:pt x="866" y="735"/>
                </a:lnTo>
                <a:lnTo>
                  <a:pt x="867" y="738"/>
                </a:lnTo>
                <a:lnTo>
                  <a:pt x="867" y="739"/>
                </a:lnTo>
                <a:lnTo>
                  <a:pt x="868" y="740"/>
                </a:lnTo>
                <a:lnTo>
                  <a:pt x="868" y="743"/>
                </a:lnTo>
                <a:lnTo>
                  <a:pt x="868" y="748"/>
                </a:lnTo>
                <a:lnTo>
                  <a:pt x="866" y="750"/>
                </a:lnTo>
                <a:lnTo>
                  <a:pt x="865" y="752"/>
                </a:lnTo>
                <a:lnTo>
                  <a:pt x="863" y="754"/>
                </a:lnTo>
                <a:lnTo>
                  <a:pt x="861" y="755"/>
                </a:lnTo>
                <a:lnTo>
                  <a:pt x="857" y="756"/>
                </a:lnTo>
                <a:lnTo>
                  <a:pt x="854" y="756"/>
                </a:lnTo>
                <a:lnTo>
                  <a:pt x="852" y="756"/>
                </a:lnTo>
                <a:lnTo>
                  <a:pt x="849" y="755"/>
                </a:lnTo>
                <a:lnTo>
                  <a:pt x="846" y="753"/>
                </a:lnTo>
                <a:lnTo>
                  <a:pt x="845" y="751"/>
                </a:lnTo>
                <a:lnTo>
                  <a:pt x="843" y="749"/>
                </a:lnTo>
                <a:lnTo>
                  <a:pt x="843" y="748"/>
                </a:lnTo>
                <a:lnTo>
                  <a:pt x="842" y="746"/>
                </a:lnTo>
                <a:lnTo>
                  <a:pt x="842" y="744"/>
                </a:lnTo>
                <a:lnTo>
                  <a:pt x="843" y="739"/>
                </a:lnTo>
                <a:lnTo>
                  <a:pt x="844" y="737"/>
                </a:lnTo>
                <a:lnTo>
                  <a:pt x="845" y="735"/>
                </a:lnTo>
                <a:lnTo>
                  <a:pt x="847" y="733"/>
                </a:lnTo>
                <a:lnTo>
                  <a:pt x="849" y="732"/>
                </a:lnTo>
                <a:lnTo>
                  <a:pt x="853" y="730"/>
                </a:lnTo>
                <a:close/>
                <a:moveTo>
                  <a:pt x="2604" y="420"/>
                </a:moveTo>
                <a:lnTo>
                  <a:pt x="2606" y="420"/>
                </a:lnTo>
                <a:lnTo>
                  <a:pt x="2609" y="420"/>
                </a:lnTo>
                <a:lnTo>
                  <a:pt x="2612" y="421"/>
                </a:lnTo>
                <a:lnTo>
                  <a:pt x="2614" y="423"/>
                </a:lnTo>
                <a:lnTo>
                  <a:pt x="2616" y="424"/>
                </a:lnTo>
                <a:lnTo>
                  <a:pt x="2617" y="426"/>
                </a:lnTo>
                <a:lnTo>
                  <a:pt x="2618" y="429"/>
                </a:lnTo>
                <a:lnTo>
                  <a:pt x="2619" y="431"/>
                </a:lnTo>
                <a:lnTo>
                  <a:pt x="2619" y="434"/>
                </a:lnTo>
                <a:lnTo>
                  <a:pt x="2619" y="436"/>
                </a:lnTo>
                <a:lnTo>
                  <a:pt x="2618" y="438"/>
                </a:lnTo>
                <a:lnTo>
                  <a:pt x="2617" y="440"/>
                </a:lnTo>
                <a:lnTo>
                  <a:pt x="2615" y="443"/>
                </a:lnTo>
                <a:lnTo>
                  <a:pt x="2612" y="445"/>
                </a:lnTo>
                <a:lnTo>
                  <a:pt x="2608" y="446"/>
                </a:lnTo>
                <a:lnTo>
                  <a:pt x="2606" y="446"/>
                </a:lnTo>
                <a:lnTo>
                  <a:pt x="2603" y="446"/>
                </a:lnTo>
                <a:lnTo>
                  <a:pt x="2600" y="445"/>
                </a:lnTo>
                <a:lnTo>
                  <a:pt x="2598" y="444"/>
                </a:lnTo>
                <a:lnTo>
                  <a:pt x="2596" y="442"/>
                </a:lnTo>
                <a:lnTo>
                  <a:pt x="2595" y="440"/>
                </a:lnTo>
                <a:lnTo>
                  <a:pt x="2594" y="438"/>
                </a:lnTo>
                <a:lnTo>
                  <a:pt x="2593" y="435"/>
                </a:lnTo>
                <a:lnTo>
                  <a:pt x="2593" y="433"/>
                </a:lnTo>
                <a:lnTo>
                  <a:pt x="2593" y="430"/>
                </a:lnTo>
                <a:lnTo>
                  <a:pt x="2594" y="428"/>
                </a:lnTo>
                <a:lnTo>
                  <a:pt x="2595" y="426"/>
                </a:lnTo>
                <a:lnTo>
                  <a:pt x="2597" y="423"/>
                </a:lnTo>
                <a:lnTo>
                  <a:pt x="2600" y="421"/>
                </a:lnTo>
                <a:lnTo>
                  <a:pt x="2604" y="420"/>
                </a:lnTo>
                <a:close/>
                <a:moveTo>
                  <a:pt x="2540" y="404"/>
                </a:moveTo>
                <a:lnTo>
                  <a:pt x="2542" y="404"/>
                </a:lnTo>
                <a:lnTo>
                  <a:pt x="2545" y="404"/>
                </a:lnTo>
                <a:lnTo>
                  <a:pt x="2548" y="405"/>
                </a:lnTo>
                <a:lnTo>
                  <a:pt x="2550" y="406"/>
                </a:lnTo>
                <a:lnTo>
                  <a:pt x="2552" y="408"/>
                </a:lnTo>
                <a:lnTo>
                  <a:pt x="2553" y="410"/>
                </a:lnTo>
                <a:lnTo>
                  <a:pt x="2554" y="412"/>
                </a:lnTo>
                <a:lnTo>
                  <a:pt x="2555" y="415"/>
                </a:lnTo>
                <a:lnTo>
                  <a:pt x="2555" y="417"/>
                </a:lnTo>
                <a:lnTo>
                  <a:pt x="2555" y="420"/>
                </a:lnTo>
                <a:lnTo>
                  <a:pt x="2554" y="422"/>
                </a:lnTo>
                <a:lnTo>
                  <a:pt x="2553" y="424"/>
                </a:lnTo>
                <a:lnTo>
                  <a:pt x="2551" y="427"/>
                </a:lnTo>
                <a:lnTo>
                  <a:pt x="2548" y="429"/>
                </a:lnTo>
                <a:lnTo>
                  <a:pt x="2544" y="430"/>
                </a:lnTo>
                <a:lnTo>
                  <a:pt x="2541" y="430"/>
                </a:lnTo>
                <a:lnTo>
                  <a:pt x="2539" y="430"/>
                </a:lnTo>
                <a:lnTo>
                  <a:pt x="2536" y="429"/>
                </a:lnTo>
                <a:lnTo>
                  <a:pt x="2534" y="427"/>
                </a:lnTo>
                <a:lnTo>
                  <a:pt x="2532" y="426"/>
                </a:lnTo>
                <a:lnTo>
                  <a:pt x="2531" y="424"/>
                </a:lnTo>
                <a:lnTo>
                  <a:pt x="2529" y="421"/>
                </a:lnTo>
                <a:lnTo>
                  <a:pt x="2529" y="419"/>
                </a:lnTo>
                <a:lnTo>
                  <a:pt x="2529" y="416"/>
                </a:lnTo>
                <a:lnTo>
                  <a:pt x="2529" y="414"/>
                </a:lnTo>
                <a:lnTo>
                  <a:pt x="2530" y="412"/>
                </a:lnTo>
                <a:lnTo>
                  <a:pt x="2531" y="410"/>
                </a:lnTo>
                <a:lnTo>
                  <a:pt x="2533" y="407"/>
                </a:lnTo>
                <a:lnTo>
                  <a:pt x="2536" y="405"/>
                </a:lnTo>
                <a:lnTo>
                  <a:pt x="2540" y="404"/>
                </a:lnTo>
                <a:close/>
                <a:moveTo>
                  <a:pt x="898" y="682"/>
                </a:moveTo>
                <a:lnTo>
                  <a:pt x="901" y="682"/>
                </a:lnTo>
                <a:lnTo>
                  <a:pt x="904" y="682"/>
                </a:lnTo>
                <a:lnTo>
                  <a:pt x="907" y="683"/>
                </a:lnTo>
                <a:lnTo>
                  <a:pt x="909" y="685"/>
                </a:lnTo>
                <a:lnTo>
                  <a:pt x="911" y="687"/>
                </a:lnTo>
                <a:lnTo>
                  <a:pt x="912" y="689"/>
                </a:lnTo>
                <a:lnTo>
                  <a:pt x="913" y="692"/>
                </a:lnTo>
                <a:lnTo>
                  <a:pt x="913" y="694"/>
                </a:lnTo>
                <a:lnTo>
                  <a:pt x="912" y="699"/>
                </a:lnTo>
                <a:lnTo>
                  <a:pt x="911" y="702"/>
                </a:lnTo>
                <a:lnTo>
                  <a:pt x="909" y="704"/>
                </a:lnTo>
                <a:lnTo>
                  <a:pt x="906" y="706"/>
                </a:lnTo>
                <a:lnTo>
                  <a:pt x="904" y="707"/>
                </a:lnTo>
                <a:lnTo>
                  <a:pt x="902" y="708"/>
                </a:lnTo>
                <a:lnTo>
                  <a:pt x="899" y="708"/>
                </a:lnTo>
                <a:lnTo>
                  <a:pt x="896" y="707"/>
                </a:lnTo>
                <a:lnTo>
                  <a:pt x="893" y="706"/>
                </a:lnTo>
                <a:lnTo>
                  <a:pt x="891" y="704"/>
                </a:lnTo>
                <a:lnTo>
                  <a:pt x="889" y="702"/>
                </a:lnTo>
                <a:lnTo>
                  <a:pt x="888" y="700"/>
                </a:lnTo>
                <a:lnTo>
                  <a:pt x="887" y="697"/>
                </a:lnTo>
                <a:lnTo>
                  <a:pt x="887" y="695"/>
                </a:lnTo>
                <a:lnTo>
                  <a:pt x="888" y="690"/>
                </a:lnTo>
                <a:lnTo>
                  <a:pt x="889" y="688"/>
                </a:lnTo>
                <a:lnTo>
                  <a:pt x="891" y="686"/>
                </a:lnTo>
                <a:lnTo>
                  <a:pt x="894" y="683"/>
                </a:lnTo>
                <a:lnTo>
                  <a:pt x="896" y="682"/>
                </a:lnTo>
                <a:lnTo>
                  <a:pt x="898" y="682"/>
                </a:lnTo>
                <a:close/>
                <a:moveTo>
                  <a:pt x="2475" y="388"/>
                </a:moveTo>
                <a:lnTo>
                  <a:pt x="2478" y="388"/>
                </a:lnTo>
                <a:lnTo>
                  <a:pt x="2481" y="388"/>
                </a:lnTo>
                <a:lnTo>
                  <a:pt x="2483" y="389"/>
                </a:lnTo>
                <a:lnTo>
                  <a:pt x="2486" y="390"/>
                </a:lnTo>
                <a:lnTo>
                  <a:pt x="2487" y="392"/>
                </a:lnTo>
                <a:lnTo>
                  <a:pt x="2489" y="394"/>
                </a:lnTo>
                <a:lnTo>
                  <a:pt x="2490" y="396"/>
                </a:lnTo>
                <a:lnTo>
                  <a:pt x="2491" y="399"/>
                </a:lnTo>
                <a:lnTo>
                  <a:pt x="2491" y="401"/>
                </a:lnTo>
                <a:lnTo>
                  <a:pt x="2490" y="404"/>
                </a:lnTo>
                <a:lnTo>
                  <a:pt x="2490" y="406"/>
                </a:lnTo>
                <a:lnTo>
                  <a:pt x="2489" y="408"/>
                </a:lnTo>
                <a:lnTo>
                  <a:pt x="2487" y="410"/>
                </a:lnTo>
                <a:lnTo>
                  <a:pt x="2483" y="413"/>
                </a:lnTo>
                <a:lnTo>
                  <a:pt x="2480" y="414"/>
                </a:lnTo>
                <a:lnTo>
                  <a:pt x="2477" y="414"/>
                </a:lnTo>
                <a:lnTo>
                  <a:pt x="2474" y="413"/>
                </a:lnTo>
                <a:lnTo>
                  <a:pt x="2472" y="413"/>
                </a:lnTo>
                <a:lnTo>
                  <a:pt x="2470" y="411"/>
                </a:lnTo>
                <a:lnTo>
                  <a:pt x="2468" y="409"/>
                </a:lnTo>
                <a:lnTo>
                  <a:pt x="2466" y="407"/>
                </a:lnTo>
                <a:lnTo>
                  <a:pt x="2465" y="405"/>
                </a:lnTo>
                <a:lnTo>
                  <a:pt x="2465" y="403"/>
                </a:lnTo>
                <a:lnTo>
                  <a:pt x="2465" y="400"/>
                </a:lnTo>
                <a:lnTo>
                  <a:pt x="2465" y="398"/>
                </a:lnTo>
                <a:lnTo>
                  <a:pt x="2466" y="396"/>
                </a:lnTo>
                <a:lnTo>
                  <a:pt x="2466" y="394"/>
                </a:lnTo>
                <a:lnTo>
                  <a:pt x="2469" y="391"/>
                </a:lnTo>
                <a:lnTo>
                  <a:pt x="2472" y="389"/>
                </a:lnTo>
                <a:lnTo>
                  <a:pt x="2475" y="388"/>
                </a:lnTo>
                <a:close/>
                <a:moveTo>
                  <a:pt x="944" y="635"/>
                </a:moveTo>
                <a:lnTo>
                  <a:pt x="947" y="635"/>
                </a:lnTo>
                <a:lnTo>
                  <a:pt x="950" y="635"/>
                </a:lnTo>
                <a:lnTo>
                  <a:pt x="953" y="637"/>
                </a:lnTo>
                <a:lnTo>
                  <a:pt x="956" y="639"/>
                </a:lnTo>
                <a:lnTo>
                  <a:pt x="958" y="641"/>
                </a:lnTo>
                <a:lnTo>
                  <a:pt x="959" y="643"/>
                </a:lnTo>
                <a:lnTo>
                  <a:pt x="959" y="645"/>
                </a:lnTo>
                <a:lnTo>
                  <a:pt x="960" y="648"/>
                </a:lnTo>
                <a:lnTo>
                  <a:pt x="959" y="650"/>
                </a:lnTo>
                <a:lnTo>
                  <a:pt x="959" y="653"/>
                </a:lnTo>
                <a:lnTo>
                  <a:pt x="957" y="655"/>
                </a:lnTo>
                <a:lnTo>
                  <a:pt x="956" y="657"/>
                </a:lnTo>
                <a:lnTo>
                  <a:pt x="954" y="658"/>
                </a:lnTo>
                <a:lnTo>
                  <a:pt x="952" y="659"/>
                </a:lnTo>
                <a:lnTo>
                  <a:pt x="949" y="661"/>
                </a:lnTo>
                <a:lnTo>
                  <a:pt x="946" y="661"/>
                </a:lnTo>
                <a:lnTo>
                  <a:pt x="943" y="660"/>
                </a:lnTo>
                <a:lnTo>
                  <a:pt x="940" y="659"/>
                </a:lnTo>
                <a:lnTo>
                  <a:pt x="937" y="657"/>
                </a:lnTo>
                <a:lnTo>
                  <a:pt x="936" y="655"/>
                </a:lnTo>
                <a:lnTo>
                  <a:pt x="934" y="652"/>
                </a:lnTo>
                <a:lnTo>
                  <a:pt x="934" y="650"/>
                </a:lnTo>
                <a:lnTo>
                  <a:pt x="933" y="648"/>
                </a:lnTo>
                <a:lnTo>
                  <a:pt x="934" y="645"/>
                </a:lnTo>
                <a:lnTo>
                  <a:pt x="934" y="643"/>
                </a:lnTo>
                <a:lnTo>
                  <a:pt x="936" y="640"/>
                </a:lnTo>
                <a:lnTo>
                  <a:pt x="937" y="638"/>
                </a:lnTo>
                <a:lnTo>
                  <a:pt x="939" y="637"/>
                </a:lnTo>
                <a:lnTo>
                  <a:pt x="941" y="636"/>
                </a:lnTo>
                <a:lnTo>
                  <a:pt x="944" y="635"/>
                </a:lnTo>
                <a:close/>
                <a:moveTo>
                  <a:pt x="2411" y="372"/>
                </a:moveTo>
                <a:lnTo>
                  <a:pt x="2414" y="371"/>
                </a:lnTo>
                <a:lnTo>
                  <a:pt x="2417" y="372"/>
                </a:lnTo>
                <a:lnTo>
                  <a:pt x="2419" y="373"/>
                </a:lnTo>
                <a:lnTo>
                  <a:pt x="2421" y="374"/>
                </a:lnTo>
                <a:lnTo>
                  <a:pt x="2423" y="376"/>
                </a:lnTo>
                <a:lnTo>
                  <a:pt x="2425" y="378"/>
                </a:lnTo>
                <a:lnTo>
                  <a:pt x="2426" y="380"/>
                </a:lnTo>
                <a:lnTo>
                  <a:pt x="2426" y="383"/>
                </a:lnTo>
                <a:lnTo>
                  <a:pt x="2427" y="385"/>
                </a:lnTo>
                <a:lnTo>
                  <a:pt x="2426" y="388"/>
                </a:lnTo>
                <a:lnTo>
                  <a:pt x="2426" y="390"/>
                </a:lnTo>
                <a:lnTo>
                  <a:pt x="2425" y="391"/>
                </a:lnTo>
                <a:lnTo>
                  <a:pt x="2422" y="394"/>
                </a:lnTo>
                <a:lnTo>
                  <a:pt x="2419" y="396"/>
                </a:lnTo>
                <a:lnTo>
                  <a:pt x="2416" y="398"/>
                </a:lnTo>
                <a:lnTo>
                  <a:pt x="2413" y="398"/>
                </a:lnTo>
                <a:lnTo>
                  <a:pt x="2410" y="397"/>
                </a:lnTo>
                <a:lnTo>
                  <a:pt x="2408" y="396"/>
                </a:lnTo>
                <a:lnTo>
                  <a:pt x="2406" y="395"/>
                </a:lnTo>
                <a:lnTo>
                  <a:pt x="2404" y="393"/>
                </a:lnTo>
                <a:lnTo>
                  <a:pt x="2402" y="391"/>
                </a:lnTo>
                <a:lnTo>
                  <a:pt x="2401" y="389"/>
                </a:lnTo>
                <a:lnTo>
                  <a:pt x="2401" y="387"/>
                </a:lnTo>
                <a:lnTo>
                  <a:pt x="2400" y="384"/>
                </a:lnTo>
                <a:lnTo>
                  <a:pt x="2401" y="381"/>
                </a:lnTo>
                <a:lnTo>
                  <a:pt x="2401" y="380"/>
                </a:lnTo>
                <a:lnTo>
                  <a:pt x="2402" y="378"/>
                </a:lnTo>
                <a:lnTo>
                  <a:pt x="2405" y="375"/>
                </a:lnTo>
                <a:lnTo>
                  <a:pt x="2408" y="373"/>
                </a:lnTo>
                <a:lnTo>
                  <a:pt x="2411" y="372"/>
                </a:lnTo>
                <a:close/>
                <a:moveTo>
                  <a:pt x="2347" y="356"/>
                </a:moveTo>
                <a:lnTo>
                  <a:pt x="2350" y="355"/>
                </a:lnTo>
                <a:lnTo>
                  <a:pt x="2352" y="356"/>
                </a:lnTo>
                <a:lnTo>
                  <a:pt x="2355" y="357"/>
                </a:lnTo>
                <a:lnTo>
                  <a:pt x="2357" y="358"/>
                </a:lnTo>
                <a:lnTo>
                  <a:pt x="2359" y="360"/>
                </a:lnTo>
                <a:lnTo>
                  <a:pt x="2361" y="362"/>
                </a:lnTo>
                <a:lnTo>
                  <a:pt x="2362" y="364"/>
                </a:lnTo>
                <a:lnTo>
                  <a:pt x="2362" y="367"/>
                </a:lnTo>
                <a:lnTo>
                  <a:pt x="2362" y="369"/>
                </a:lnTo>
                <a:lnTo>
                  <a:pt x="2362" y="372"/>
                </a:lnTo>
                <a:lnTo>
                  <a:pt x="2361" y="374"/>
                </a:lnTo>
                <a:lnTo>
                  <a:pt x="2361" y="375"/>
                </a:lnTo>
                <a:lnTo>
                  <a:pt x="2358" y="378"/>
                </a:lnTo>
                <a:lnTo>
                  <a:pt x="2355" y="380"/>
                </a:lnTo>
                <a:lnTo>
                  <a:pt x="2352" y="381"/>
                </a:lnTo>
                <a:lnTo>
                  <a:pt x="2349" y="382"/>
                </a:lnTo>
                <a:lnTo>
                  <a:pt x="2346" y="381"/>
                </a:lnTo>
                <a:lnTo>
                  <a:pt x="2344" y="380"/>
                </a:lnTo>
                <a:lnTo>
                  <a:pt x="2341" y="379"/>
                </a:lnTo>
                <a:lnTo>
                  <a:pt x="2340" y="377"/>
                </a:lnTo>
                <a:lnTo>
                  <a:pt x="2338" y="375"/>
                </a:lnTo>
                <a:lnTo>
                  <a:pt x="2337" y="373"/>
                </a:lnTo>
                <a:lnTo>
                  <a:pt x="2336" y="371"/>
                </a:lnTo>
                <a:lnTo>
                  <a:pt x="2336" y="368"/>
                </a:lnTo>
                <a:lnTo>
                  <a:pt x="2337" y="365"/>
                </a:lnTo>
                <a:lnTo>
                  <a:pt x="2337" y="363"/>
                </a:lnTo>
                <a:lnTo>
                  <a:pt x="2338" y="362"/>
                </a:lnTo>
                <a:lnTo>
                  <a:pt x="2340" y="359"/>
                </a:lnTo>
                <a:lnTo>
                  <a:pt x="2343" y="357"/>
                </a:lnTo>
                <a:lnTo>
                  <a:pt x="2347" y="356"/>
                </a:lnTo>
                <a:close/>
                <a:moveTo>
                  <a:pt x="993" y="590"/>
                </a:moveTo>
                <a:lnTo>
                  <a:pt x="996" y="589"/>
                </a:lnTo>
                <a:lnTo>
                  <a:pt x="999" y="590"/>
                </a:lnTo>
                <a:lnTo>
                  <a:pt x="1002" y="591"/>
                </a:lnTo>
                <a:lnTo>
                  <a:pt x="1003" y="592"/>
                </a:lnTo>
                <a:lnTo>
                  <a:pt x="1005" y="594"/>
                </a:lnTo>
                <a:lnTo>
                  <a:pt x="1006" y="596"/>
                </a:lnTo>
                <a:lnTo>
                  <a:pt x="1007" y="598"/>
                </a:lnTo>
                <a:lnTo>
                  <a:pt x="1008" y="601"/>
                </a:lnTo>
                <a:lnTo>
                  <a:pt x="1008" y="603"/>
                </a:lnTo>
                <a:lnTo>
                  <a:pt x="1008" y="606"/>
                </a:lnTo>
                <a:lnTo>
                  <a:pt x="1007" y="608"/>
                </a:lnTo>
                <a:lnTo>
                  <a:pt x="1005" y="610"/>
                </a:lnTo>
                <a:lnTo>
                  <a:pt x="1004" y="612"/>
                </a:lnTo>
                <a:lnTo>
                  <a:pt x="1001" y="614"/>
                </a:lnTo>
                <a:lnTo>
                  <a:pt x="999" y="615"/>
                </a:lnTo>
                <a:lnTo>
                  <a:pt x="997" y="615"/>
                </a:lnTo>
                <a:lnTo>
                  <a:pt x="994" y="616"/>
                </a:lnTo>
                <a:lnTo>
                  <a:pt x="991" y="615"/>
                </a:lnTo>
                <a:lnTo>
                  <a:pt x="988" y="613"/>
                </a:lnTo>
                <a:lnTo>
                  <a:pt x="986" y="612"/>
                </a:lnTo>
                <a:lnTo>
                  <a:pt x="985" y="611"/>
                </a:lnTo>
                <a:lnTo>
                  <a:pt x="983" y="609"/>
                </a:lnTo>
                <a:lnTo>
                  <a:pt x="982" y="607"/>
                </a:lnTo>
                <a:lnTo>
                  <a:pt x="982" y="604"/>
                </a:lnTo>
                <a:lnTo>
                  <a:pt x="982" y="602"/>
                </a:lnTo>
                <a:lnTo>
                  <a:pt x="982" y="599"/>
                </a:lnTo>
                <a:lnTo>
                  <a:pt x="983" y="597"/>
                </a:lnTo>
                <a:lnTo>
                  <a:pt x="984" y="595"/>
                </a:lnTo>
                <a:lnTo>
                  <a:pt x="986" y="593"/>
                </a:lnTo>
                <a:lnTo>
                  <a:pt x="989" y="591"/>
                </a:lnTo>
                <a:lnTo>
                  <a:pt x="991" y="590"/>
                </a:lnTo>
                <a:lnTo>
                  <a:pt x="993" y="590"/>
                </a:lnTo>
                <a:close/>
                <a:moveTo>
                  <a:pt x="2283" y="340"/>
                </a:moveTo>
                <a:lnTo>
                  <a:pt x="2286" y="339"/>
                </a:lnTo>
                <a:lnTo>
                  <a:pt x="2288" y="340"/>
                </a:lnTo>
                <a:lnTo>
                  <a:pt x="2291" y="341"/>
                </a:lnTo>
                <a:lnTo>
                  <a:pt x="2293" y="342"/>
                </a:lnTo>
                <a:lnTo>
                  <a:pt x="2295" y="344"/>
                </a:lnTo>
                <a:lnTo>
                  <a:pt x="2296" y="346"/>
                </a:lnTo>
                <a:lnTo>
                  <a:pt x="2297" y="348"/>
                </a:lnTo>
                <a:lnTo>
                  <a:pt x="2298" y="350"/>
                </a:lnTo>
                <a:lnTo>
                  <a:pt x="2298" y="353"/>
                </a:lnTo>
                <a:lnTo>
                  <a:pt x="2298" y="356"/>
                </a:lnTo>
                <a:lnTo>
                  <a:pt x="2297" y="358"/>
                </a:lnTo>
                <a:lnTo>
                  <a:pt x="2296" y="359"/>
                </a:lnTo>
                <a:lnTo>
                  <a:pt x="2294" y="362"/>
                </a:lnTo>
                <a:lnTo>
                  <a:pt x="2291" y="364"/>
                </a:lnTo>
                <a:lnTo>
                  <a:pt x="2287" y="365"/>
                </a:lnTo>
                <a:lnTo>
                  <a:pt x="2285" y="366"/>
                </a:lnTo>
                <a:lnTo>
                  <a:pt x="2282" y="365"/>
                </a:lnTo>
                <a:lnTo>
                  <a:pt x="2279" y="364"/>
                </a:lnTo>
                <a:lnTo>
                  <a:pt x="2277" y="363"/>
                </a:lnTo>
                <a:lnTo>
                  <a:pt x="2275" y="361"/>
                </a:lnTo>
                <a:lnTo>
                  <a:pt x="2274" y="359"/>
                </a:lnTo>
                <a:lnTo>
                  <a:pt x="2273" y="357"/>
                </a:lnTo>
                <a:lnTo>
                  <a:pt x="2272" y="355"/>
                </a:lnTo>
                <a:lnTo>
                  <a:pt x="2272" y="352"/>
                </a:lnTo>
                <a:lnTo>
                  <a:pt x="2272" y="349"/>
                </a:lnTo>
                <a:lnTo>
                  <a:pt x="2273" y="347"/>
                </a:lnTo>
                <a:lnTo>
                  <a:pt x="2274" y="346"/>
                </a:lnTo>
                <a:lnTo>
                  <a:pt x="2276" y="343"/>
                </a:lnTo>
                <a:lnTo>
                  <a:pt x="2279" y="341"/>
                </a:lnTo>
                <a:lnTo>
                  <a:pt x="2283" y="340"/>
                </a:lnTo>
                <a:close/>
                <a:moveTo>
                  <a:pt x="1042" y="546"/>
                </a:moveTo>
                <a:lnTo>
                  <a:pt x="1046" y="546"/>
                </a:lnTo>
                <a:lnTo>
                  <a:pt x="1049" y="547"/>
                </a:lnTo>
                <a:lnTo>
                  <a:pt x="1052" y="548"/>
                </a:lnTo>
                <a:lnTo>
                  <a:pt x="1055" y="551"/>
                </a:lnTo>
                <a:lnTo>
                  <a:pt x="1056" y="553"/>
                </a:lnTo>
                <a:lnTo>
                  <a:pt x="1057" y="555"/>
                </a:lnTo>
                <a:lnTo>
                  <a:pt x="1058" y="558"/>
                </a:lnTo>
                <a:lnTo>
                  <a:pt x="1058" y="560"/>
                </a:lnTo>
                <a:lnTo>
                  <a:pt x="1057" y="563"/>
                </a:lnTo>
                <a:lnTo>
                  <a:pt x="1056" y="565"/>
                </a:lnTo>
                <a:lnTo>
                  <a:pt x="1055" y="567"/>
                </a:lnTo>
                <a:lnTo>
                  <a:pt x="1053" y="569"/>
                </a:lnTo>
                <a:lnTo>
                  <a:pt x="1050" y="571"/>
                </a:lnTo>
                <a:lnTo>
                  <a:pt x="1047" y="572"/>
                </a:lnTo>
                <a:lnTo>
                  <a:pt x="1044" y="572"/>
                </a:lnTo>
                <a:lnTo>
                  <a:pt x="1040" y="571"/>
                </a:lnTo>
                <a:lnTo>
                  <a:pt x="1037" y="570"/>
                </a:lnTo>
                <a:lnTo>
                  <a:pt x="1035" y="567"/>
                </a:lnTo>
                <a:lnTo>
                  <a:pt x="1033" y="565"/>
                </a:lnTo>
                <a:lnTo>
                  <a:pt x="1032" y="563"/>
                </a:lnTo>
                <a:lnTo>
                  <a:pt x="1032" y="560"/>
                </a:lnTo>
                <a:lnTo>
                  <a:pt x="1032" y="558"/>
                </a:lnTo>
                <a:lnTo>
                  <a:pt x="1032" y="555"/>
                </a:lnTo>
                <a:lnTo>
                  <a:pt x="1033" y="553"/>
                </a:lnTo>
                <a:lnTo>
                  <a:pt x="1034" y="551"/>
                </a:lnTo>
                <a:lnTo>
                  <a:pt x="1036" y="549"/>
                </a:lnTo>
                <a:lnTo>
                  <a:pt x="1039" y="547"/>
                </a:lnTo>
                <a:lnTo>
                  <a:pt x="1042" y="546"/>
                </a:lnTo>
                <a:close/>
                <a:moveTo>
                  <a:pt x="2219" y="324"/>
                </a:moveTo>
                <a:lnTo>
                  <a:pt x="2221" y="323"/>
                </a:lnTo>
                <a:lnTo>
                  <a:pt x="2224" y="324"/>
                </a:lnTo>
                <a:lnTo>
                  <a:pt x="2227" y="325"/>
                </a:lnTo>
                <a:lnTo>
                  <a:pt x="2229" y="326"/>
                </a:lnTo>
                <a:lnTo>
                  <a:pt x="2231" y="328"/>
                </a:lnTo>
                <a:lnTo>
                  <a:pt x="2232" y="330"/>
                </a:lnTo>
                <a:lnTo>
                  <a:pt x="2233" y="332"/>
                </a:lnTo>
                <a:lnTo>
                  <a:pt x="2234" y="335"/>
                </a:lnTo>
                <a:lnTo>
                  <a:pt x="2234" y="337"/>
                </a:lnTo>
                <a:lnTo>
                  <a:pt x="2234" y="340"/>
                </a:lnTo>
                <a:lnTo>
                  <a:pt x="2233" y="342"/>
                </a:lnTo>
                <a:lnTo>
                  <a:pt x="2232" y="343"/>
                </a:lnTo>
                <a:lnTo>
                  <a:pt x="2230" y="346"/>
                </a:lnTo>
                <a:lnTo>
                  <a:pt x="2227" y="348"/>
                </a:lnTo>
                <a:lnTo>
                  <a:pt x="2223" y="350"/>
                </a:lnTo>
                <a:lnTo>
                  <a:pt x="2220" y="350"/>
                </a:lnTo>
                <a:lnTo>
                  <a:pt x="2218" y="349"/>
                </a:lnTo>
                <a:lnTo>
                  <a:pt x="2215" y="348"/>
                </a:lnTo>
                <a:lnTo>
                  <a:pt x="2213" y="347"/>
                </a:lnTo>
                <a:lnTo>
                  <a:pt x="2211" y="345"/>
                </a:lnTo>
                <a:lnTo>
                  <a:pt x="2210" y="343"/>
                </a:lnTo>
                <a:lnTo>
                  <a:pt x="2208" y="341"/>
                </a:lnTo>
                <a:lnTo>
                  <a:pt x="2207" y="339"/>
                </a:lnTo>
                <a:lnTo>
                  <a:pt x="2207" y="336"/>
                </a:lnTo>
                <a:lnTo>
                  <a:pt x="2207" y="333"/>
                </a:lnTo>
                <a:lnTo>
                  <a:pt x="2208" y="332"/>
                </a:lnTo>
                <a:lnTo>
                  <a:pt x="2210" y="330"/>
                </a:lnTo>
                <a:lnTo>
                  <a:pt x="2212" y="327"/>
                </a:lnTo>
                <a:lnTo>
                  <a:pt x="2215" y="325"/>
                </a:lnTo>
                <a:lnTo>
                  <a:pt x="2219" y="324"/>
                </a:lnTo>
                <a:close/>
                <a:moveTo>
                  <a:pt x="1094" y="505"/>
                </a:moveTo>
                <a:lnTo>
                  <a:pt x="1098" y="505"/>
                </a:lnTo>
                <a:lnTo>
                  <a:pt x="1101" y="506"/>
                </a:lnTo>
                <a:lnTo>
                  <a:pt x="1104" y="507"/>
                </a:lnTo>
                <a:lnTo>
                  <a:pt x="1107" y="510"/>
                </a:lnTo>
                <a:lnTo>
                  <a:pt x="1108" y="512"/>
                </a:lnTo>
                <a:lnTo>
                  <a:pt x="1109" y="514"/>
                </a:lnTo>
                <a:lnTo>
                  <a:pt x="1110" y="517"/>
                </a:lnTo>
                <a:lnTo>
                  <a:pt x="1109" y="520"/>
                </a:lnTo>
                <a:lnTo>
                  <a:pt x="1109" y="522"/>
                </a:lnTo>
                <a:lnTo>
                  <a:pt x="1108" y="524"/>
                </a:lnTo>
                <a:lnTo>
                  <a:pt x="1106" y="526"/>
                </a:lnTo>
                <a:lnTo>
                  <a:pt x="1104" y="528"/>
                </a:lnTo>
                <a:lnTo>
                  <a:pt x="1103" y="529"/>
                </a:lnTo>
                <a:lnTo>
                  <a:pt x="1102" y="530"/>
                </a:lnTo>
                <a:lnTo>
                  <a:pt x="1099" y="531"/>
                </a:lnTo>
                <a:lnTo>
                  <a:pt x="1095" y="531"/>
                </a:lnTo>
                <a:lnTo>
                  <a:pt x="1092" y="530"/>
                </a:lnTo>
                <a:lnTo>
                  <a:pt x="1089" y="528"/>
                </a:lnTo>
                <a:lnTo>
                  <a:pt x="1086" y="526"/>
                </a:lnTo>
                <a:lnTo>
                  <a:pt x="1085" y="523"/>
                </a:lnTo>
                <a:lnTo>
                  <a:pt x="1084" y="521"/>
                </a:lnTo>
                <a:lnTo>
                  <a:pt x="1083" y="519"/>
                </a:lnTo>
                <a:lnTo>
                  <a:pt x="1083" y="516"/>
                </a:lnTo>
                <a:lnTo>
                  <a:pt x="1084" y="514"/>
                </a:lnTo>
                <a:lnTo>
                  <a:pt x="1085" y="511"/>
                </a:lnTo>
                <a:lnTo>
                  <a:pt x="1086" y="509"/>
                </a:lnTo>
                <a:lnTo>
                  <a:pt x="1088" y="507"/>
                </a:lnTo>
                <a:lnTo>
                  <a:pt x="1090" y="506"/>
                </a:lnTo>
                <a:lnTo>
                  <a:pt x="1091" y="506"/>
                </a:lnTo>
                <a:lnTo>
                  <a:pt x="1094" y="505"/>
                </a:lnTo>
                <a:close/>
                <a:moveTo>
                  <a:pt x="2153" y="308"/>
                </a:moveTo>
                <a:lnTo>
                  <a:pt x="2156" y="308"/>
                </a:lnTo>
                <a:lnTo>
                  <a:pt x="2159" y="308"/>
                </a:lnTo>
                <a:lnTo>
                  <a:pt x="2161" y="309"/>
                </a:lnTo>
                <a:lnTo>
                  <a:pt x="2164" y="310"/>
                </a:lnTo>
                <a:lnTo>
                  <a:pt x="2165" y="312"/>
                </a:lnTo>
                <a:lnTo>
                  <a:pt x="2167" y="314"/>
                </a:lnTo>
                <a:lnTo>
                  <a:pt x="2168" y="316"/>
                </a:lnTo>
                <a:lnTo>
                  <a:pt x="2169" y="319"/>
                </a:lnTo>
                <a:lnTo>
                  <a:pt x="2169" y="321"/>
                </a:lnTo>
                <a:lnTo>
                  <a:pt x="2168" y="324"/>
                </a:lnTo>
                <a:lnTo>
                  <a:pt x="2168" y="326"/>
                </a:lnTo>
                <a:lnTo>
                  <a:pt x="2167" y="327"/>
                </a:lnTo>
                <a:lnTo>
                  <a:pt x="2165" y="330"/>
                </a:lnTo>
                <a:lnTo>
                  <a:pt x="2161" y="332"/>
                </a:lnTo>
                <a:lnTo>
                  <a:pt x="2158" y="334"/>
                </a:lnTo>
                <a:lnTo>
                  <a:pt x="2155" y="334"/>
                </a:lnTo>
                <a:lnTo>
                  <a:pt x="2153" y="333"/>
                </a:lnTo>
                <a:lnTo>
                  <a:pt x="2150" y="333"/>
                </a:lnTo>
                <a:lnTo>
                  <a:pt x="2148" y="331"/>
                </a:lnTo>
                <a:lnTo>
                  <a:pt x="2146" y="330"/>
                </a:lnTo>
                <a:lnTo>
                  <a:pt x="2144" y="327"/>
                </a:lnTo>
                <a:lnTo>
                  <a:pt x="2143" y="325"/>
                </a:lnTo>
                <a:lnTo>
                  <a:pt x="2143" y="323"/>
                </a:lnTo>
                <a:lnTo>
                  <a:pt x="2143" y="320"/>
                </a:lnTo>
                <a:lnTo>
                  <a:pt x="2143" y="318"/>
                </a:lnTo>
                <a:lnTo>
                  <a:pt x="2144" y="316"/>
                </a:lnTo>
                <a:lnTo>
                  <a:pt x="2144" y="314"/>
                </a:lnTo>
                <a:lnTo>
                  <a:pt x="2147" y="311"/>
                </a:lnTo>
                <a:lnTo>
                  <a:pt x="2150" y="309"/>
                </a:lnTo>
                <a:lnTo>
                  <a:pt x="2153" y="308"/>
                </a:lnTo>
                <a:close/>
                <a:moveTo>
                  <a:pt x="1147" y="466"/>
                </a:moveTo>
                <a:lnTo>
                  <a:pt x="1151" y="466"/>
                </a:lnTo>
                <a:lnTo>
                  <a:pt x="1155" y="467"/>
                </a:lnTo>
                <a:lnTo>
                  <a:pt x="1158" y="468"/>
                </a:lnTo>
                <a:lnTo>
                  <a:pt x="1161" y="471"/>
                </a:lnTo>
                <a:lnTo>
                  <a:pt x="1162" y="474"/>
                </a:lnTo>
                <a:lnTo>
                  <a:pt x="1163" y="476"/>
                </a:lnTo>
                <a:lnTo>
                  <a:pt x="1163" y="481"/>
                </a:lnTo>
                <a:lnTo>
                  <a:pt x="1162" y="483"/>
                </a:lnTo>
                <a:lnTo>
                  <a:pt x="1161" y="486"/>
                </a:lnTo>
                <a:lnTo>
                  <a:pt x="1159" y="488"/>
                </a:lnTo>
                <a:lnTo>
                  <a:pt x="1157" y="490"/>
                </a:lnTo>
                <a:lnTo>
                  <a:pt x="1155" y="491"/>
                </a:lnTo>
                <a:lnTo>
                  <a:pt x="1152" y="492"/>
                </a:lnTo>
                <a:lnTo>
                  <a:pt x="1148" y="492"/>
                </a:lnTo>
                <a:lnTo>
                  <a:pt x="1145" y="491"/>
                </a:lnTo>
                <a:lnTo>
                  <a:pt x="1142" y="489"/>
                </a:lnTo>
                <a:lnTo>
                  <a:pt x="1139" y="486"/>
                </a:lnTo>
                <a:lnTo>
                  <a:pt x="1138" y="484"/>
                </a:lnTo>
                <a:lnTo>
                  <a:pt x="1137" y="481"/>
                </a:lnTo>
                <a:lnTo>
                  <a:pt x="1137" y="476"/>
                </a:lnTo>
                <a:lnTo>
                  <a:pt x="1138" y="474"/>
                </a:lnTo>
                <a:lnTo>
                  <a:pt x="1139" y="472"/>
                </a:lnTo>
                <a:lnTo>
                  <a:pt x="1140" y="470"/>
                </a:lnTo>
                <a:lnTo>
                  <a:pt x="1142" y="468"/>
                </a:lnTo>
                <a:lnTo>
                  <a:pt x="1145" y="467"/>
                </a:lnTo>
                <a:lnTo>
                  <a:pt x="1147" y="466"/>
                </a:lnTo>
                <a:close/>
                <a:moveTo>
                  <a:pt x="2089" y="292"/>
                </a:moveTo>
                <a:lnTo>
                  <a:pt x="2092" y="292"/>
                </a:lnTo>
                <a:lnTo>
                  <a:pt x="2095" y="292"/>
                </a:lnTo>
                <a:lnTo>
                  <a:pt x="2097" y="293"/>
                </a:lnTo>
                <a:lnTo>
                  <a:pt x="2099" y="294"/>
                </a:lnTo>
                <a:lnTo>
                  <a:pt x="2101" y="296"/>
                </a:lnTo>
                <a:lnTo>
                  <a:pt x="2103" y="298"/>
                </a:lnTo>
                <a:lnTo>
                  <a:pt x="2104" y="300"/>
                </a:lnTo>
                <a:lnTo>
                  <a:pt x="2104" y="303"/>
                </a:lnTo>
                <a:lnTo>
                  <a:pt x="2105" y="305"/>
                </a:lnTo>
                <a:lnTo>
                  <a:pt x="2104" y="308"/>
                </a:lnTo>
                <a:lnTo>
                  <a:pt x="2104" y="310"/>
                </a:lnTo>
                <a:lnTo>
                  <a:pt x="2103" y="312"/>
                </a:lnTo>
                <a:lnTo>
                  <a:pt x="2100" y="315"/>
                </a:lnTo>
                <a:lnTo>
                  <a:pt x="2097" y="317"/>
                </a:lnTo>
                <a:lnTo>
                  <a:pt x="2094" y="318"/>
                </a:lnTo>
                <a:lnTo>
                  <a:pt x="2091" y="318"/>
                </a:lnTo>
                <a:lnTo>
                  <a:pt x="2088" y="318"/>
                </a:lnTo>
                <a:lnTo>
                  <a:pt x="2086" y="317"/>
                </a:lnTo>
                <a:lnTo>
                  <a:pt x="2084" y="315"/>
                </a:lnTo>
                <a:lnTo>
                  <a:pt x="2082" y="314"/>
                </a:lnTo>
                <a:lnTo>
                  <a:pt x="2080" y="312"/>
                </a:lnTo>
                <a:lnTo>
                  <a:pt x="2079" y="309"/>
                </a:lnTo>
                <a:lnTo>
                  <a:pt x="2078" y="307"/>
                </a:lnTo>
                <a:lnTo>
                  <a:pt x="2078" y="304"/>
                </a:lnTo>
                <a:lnTo>
                  <a:pt x="2079" y="302"/>
                </a:lnTo>
                <a:lnTo>
                  <a:pt x="2079" y="300"/>
                </a:lnTo>
                <a:lnTo>
                  <a:pt x="2080" y="298"/>
                </a:lnTo>
                <a:lnTo>
                  <a:pt x="2083" y="295"/>
                </a:lnTo>
                <a:lnTo>
                  <a:pt x="2086" y="293"/>
                </a:lnTo>
                <a:lnTo>
                  <a:pt x="2089" y="292"/>
                </a:lnTo>
                <a:close/>
                <a:moveTo>
                  <a:pt x="1203" y="429"/>
                </a:moveTo>
                <a:lnTo>
                  <a:pt x="1206" y="429"/>
                </a:lnTo>
                <a:lnTo>
                  <a:pt x="1210" y="430"/>
                </a:lnTo>
                <a:lnTo>
                  <a:pt x="1213" y="432"/>
                </a:lnTo>
                <a:lnTo>
                  <a:pt x="1215" y="434"/>
                </a:lnTo>
                <a:lnTo>
                  <a:pt x="1216" y="435"/>
                </a:lnTo>
                <a:lnTo>
                  <a:pt x="1217" y="438"/>
                </a:lnTo>
                <a:lnTo>
                  <a:pt x="1218" y="440"/>
                </a:lnTo>
                <a:lnTo>
                  <a:pt x="1218" y="443"/>
                </a:lnTo>
                <a:lnTo>
                  <a:pt x="1218" y="445"/>
                </a:lnTo>
                <a:lnTo>
                  <a:pt x="1217" y="447"/>
                </a:lnTo>
                <a:lnTo>
                  <a:pt x="1216" y="450"/>
                </a:lnTo>
                <a:lnTo>
                  <a:pt x="1214" y="452"/>
                </a:lnTo>
                <a:lnTo>
                  <a:pt x="1212" y="453"/>
                </a:lnTo>
                <a:lnTo>
                  <a:pt x="1210" y="454"/>
                </a:lnTo>
                <a:lnTo>
                  <a:pt x="1207" y="455"/>
                </a:lnTo>
                <a:lnTo>
                  <a:pt x="1203" y="455"/>
                </a:lnTo>
                <a:lnTo>
                  <a:pt x="1200" y="454"/>
                </a:lnTo>
                <a:lnTo>
                  <a:pt x="1196" y="452"/>
                </a:lnTo>
                <a:lnTo>
                  <a:pt x="1195" y="451"/>
                </a:lnTo>
                <a:lnTo>
                  <a:pt x="1194" y="449"/>
                </a:lnTo>
                <a:lnTo>
                  <a:pt x="1193" y="447"/>
                </a:lnTo>
                <a:lnTo>
                  <a:pt x="1192" y="444"/>
                </a:lnTo>
                <a:lnTo>
                  <a:pt x="1192" y="442"/>
                </a:lnTo>
                <a:lnTo>
                  <a:pt x="1192" y="439"/>
                </a:lnTo>
                <a:lnTo>
                  <a:pt x="1193" y="437"/>
                </a:lnTo>
                <a:lnTo>
                  <a:pt x="1194" y="435"/>
                </a:lnTo>
                <a:lnTo>
                  <a:pt x="1196" y="433"/>
                </a:lnTo>
                <a:lnTo>
                  <a:pt x="1198" y="431"/>
                </a:lnTo>
                <a:lnTo>
                  <a:pt x="1200" y="430"/>
                </a:lnTo>
                <a:lnTo>
                  <a:pt x="1203" y="429"/>
                </a:lnTo>
                <a:close/>
                <a:moveTo>
                  <a:pt x="2025" y="276"/>
                </a:moveTo>
                <a:lnTo>
                  <a:pt x="2028" y="276"/>
                </a:lnTo>
                <a:lnTo>
                  <a:pt x="2030" y="276"/>
                </a:lnTo>
                <a:lnTo>
                  <a:pt x="2033" y="277"/>
                </a:lnTo>
                <a:lnTo>
                  <a:pt x="2035" y="279"/>
                </a:lnTo>
                <a:lnTo>
                  <a:pt x="2037" y="280"/>
                </a:lnTo>
                <a:lnTo>
                  <a:pt x="2038" y="282"/>
                </a:lnTo>
                <a:lnTo>
                  <a:pt x="2039" y="285"/>
                </a:lnTo>
                <a:lnTo>
                  <a:pt x="2040" y="287"/>
                </a:lnTo>
                <a:lnTo>
                  <a:pt x="2040" y="290"/>
                </a:lnTo>
                <a:lnTo>
                  <a:pt x="2040" y="292"/>
                </a:lnTo>
                <a:lnTo>
                  <a:pt x="2038" y="296"/>
                </a:lnTo>
                <a:lnTo>
                  <a:pt x="2036" y="299"/>
                </a:lnTo>
                <a:lnTo>
                  <a:pt x="2033" y="301"/>
                </a:lnTo>
                <a:lnTo>
                  <a:pt x="2029" y="302"/>
                </a:lnTo>
                <a:lnTo>
                  <a:pt x="2027" y="302"/>
                </a:lnTo>
                <a:lnTo>
                  <a:pt x="2024" y="302"/>
                </a:lnTo>
                <a:lnTo>
                  <a:pt x="2022" y="301"/>
                </a:lnTo>
                <a:lnTo>
                  <a:pt x="2019" y="300"/>
                </a:lnTo>
                <a:lnTo>
                  <a:pt x="2017" y="298"/>
                </a:lnTo>
                <a:lnTo>
                  <a:pt x="2016" y="296"/>
                </a:lnTo>
                <a:lnTo>
                  <a:pt x="2015" y="294"/>
                </a:lnTo>
                <a:lnTo>
                  <a:pt x="2014" y="291"/>
                </a:lnTo>
                <a:lnTo>
                  <a:pt x="2014" y="289"/>
                </a:lnTo>
                <a:lnTo>
                  <a:pt x="2014" y="286"/>
                </a:lnTo>
                <a:lnTo>
                  <a:pt x="2016" y="282"/>
                </a:lnTo>
                <a:lnTo>
                  <a:pt x="2018" y="280"/>
                </a:lnTo>
                <a:lnTo>
                  <a:pt x="2021" y="277"/>
                </a:lnTo>
                <a:lnTo>
                  <a:pt x="2025" y="276"/>
                </a:lnTo>
                <a:close/>
                <a:moveTo>
                  <a:pt x="1259" y="395"/>
                </a:moveTo>
                <a:lnTo>
                  <a:pt x="1263" y="395"/>
                </a:lnTo>
                <a:lnTo>
                  <a:pt x="1267" y="396"/>
                </a:lnTo>
                <a:lnTo>
                  <a:pt x="1269" y="397"/>
                </a:lnTo>
                <a:lnTo>
                  <a:pt x="1271" y="399"/>
                </a:lnTo>
                <a:lnTo>
                  <a:pt x="1272" y="400"/>
                </a:lnTo>
                <a:lnTo>
                  <a:pt x="1273" y="402"/>
                </a:lnTo>
                <a:lnTo>
                  <a:pt x="1274" y="404"/>
                </a:lnTo>
                <a:lnTo>
                  <a:pt x="1275" y="407"/>
                </a:lnTo>
                <a:lnTo>
                  <a:pt x="1275" y="409"/>
                </a:lnTo>
                <a:lnTo>
                  <a:pt x="1274" y="412"/>
                </a:lnTo>
                <a:lnTo>
                  <a:pt x="1273" y="414"/>
                </a:lnTo>
                <a:lnTo>
                  <a:pt x="1272" y="416"/>
                </a:lnTo>
                <a:lnTo>
                  <a:pt x="1270" y="418"/>
                </a:lnTo>
                <a:lnTo>
                  <a:pt x="1268" y="420"/>
                </a:lnTo>
                <a:lnTo>
                  <a:pt x="1266" y="421"/>
                </a:lnTo>
                <a:lnTo>
                  <a:pt x="1264" y="421"/>
                </a:lnTo>
                <a:lnTo>
                  <a:pt x="1260" y="421"/>
                </a:lnTo>
                <a:lnTo>
                  <a:pt x="1256" y="420"/>
                </a:lnTo>
                <a:lnTo>
                  <a:pt x="1254" y="419"/>
                </a:lnTo>
                <a:lnTo>
                  <a:pt x="1253" y="418"/>
                </a:lnTo>
                <a:lnTo>
                  <a:pt x="1251" y="416"/>
                </a:lnTo>
                <a:lnTo>
                  <a:pt x="1250" y="415"/>
                </a:lnTo>
                <a:lnTo>
                  <a:pt x="1249" y="412"/>
                </a:lnTo>
                <a:lnTo>
                  <a:pt x="1249" y="410"/>
                </a:lnTo>
                <a:lnTo>
                  <a:pt x="1249" y="407"/>
                </a:lnTo>
                <a:lnTo>
                  <a:pt x="1249" y="405"/>
                </a:lnTo>
                <a:lnTo>
                  <a:pt x="1250" y="402"/>
                </a:lnTo>
                <a:lnTo>
                  <a:pt x="1251" y="400"/>
                </a:lnTo>
                <a:lnTo>
                  <a:pt x="1253" y="398"/>
                </a:lnTo>
                <a:lnTo>
                  <a:pt x="1255" y="397"/>
                </a:lnTo>
                <a:lnTo>
                  <a:pt x="1257" y="396"/>
                </a:lnTo>
                <a:lnTo>
                  <a:pt x="1259" y="395"/>
                </a:lnTo>
                <a:close/>
                <a:moveTo>
                  <a:pt x="1960" y="263"/>
                </a:moveTo>
                <a:lnTo>
                  <a:pt x="1965" y="263"/>
                </a:lnTo>
                <a:lnTo>
                  <a:pt x="1967" y="264"/>
                </a:lnTo>
                <a:lnTo>
                  <a:pt x="1969" y="265"/>
                </a:lnTo>
                <a:lnTo>
                  <a:pt x="1971" y="266"/>
                </a:lnTo>
                <a:lnTo>
                  <a:pt x="1973" y="268"/>
                </a:lnTo>
                <a:lnTo>
                  <a:pt x="1974" y="270"/>
                </a:lnTo>
                <a:lnTo>
                  <a:pt x="1975" y="273"/>
                </a:lnTo>
                <a:lnTo>
                  <a:pt x="1975" y="275"/>
                </a:lnTo>
                <a:lnTo>
                  <a:pt x="1975" y="278"/>
                </a:lnTo>
                <a:lnTo>
                  <a:pt x="1974" y="282"/>
                </a:lnTo>
                <a:lnTo>
                  <a:pt x="1972" y="285"/>
                </a:lnTo>
                <a:lnTo>
                  <a:pt x="1970" y="286"/>
                </a:lnTo>
                <a:lnTo>
                  <a:pt x="1968" y="288"/>
                </a:lnTo>
                <a:lnTo>
                  <a:pt x="1965" y="289"/>
                </a:lnTo>
                <a:lnTo>
                  <a:pt x="1960" y="289"/>
                </a:lnTo>
                <a:lnTo>
                  <a:pt x="1958" y="288"/>
                </a:lnTo>
                <a:lnTo>
                  <a:pt x="1955" y="287"/>
                </a:lnTo>
                <a:lnTo>
                  <a:pt x="1953" y="285"/>
                </a:lnTo>
                <a:lnTo>
                  <a:pt x="1952" y="283"/>
                </a:lnTo>
                <a:lnTo>
                  <a:pt x="1950" y="281"/>
                </a:lnTo>
                <a:lnTo>
                  <a:pt x="1950" y="279"/>
                </a:lnTo>
                <a:lnTo>
                  <a:pt x="1949" y="276"/>
                </a:lnTo>
                <a:lnTo>
                  <a:pt x="1949" y="274"/>
                </a:lnTo>
                <a:lnTo>
                  <a:pt x="1951" y="270"/>
                </a:lnTo>
                <a:lnTo>
                  <a:pt x="1953" y="267"/>
                </a:lnTo>
                <a:lnTo>
                  <a:pt x="1955" y="265"/>
                </a:lnTo>
                <a:lnTo>
                  <a:pt x="1956" y="264"/>
                </a:lnTo>
                <a:lnTo>
                  <a:pt x="1960" y="263"/>
                </a:lnTo>
                <a:close/>
                <a:moveTo>
                  <a:pt x="1318" y="364"/>
                </a:moveTo>
                <a:lnTo>
                  <a:pt x="1322" y="364"/>
                </a:lnTo>
                <a:lnTo>
                  <a:pt x="1324" y="365"/>
                </a:lnTo>
                <a:lnTo>
                  <a:pt x="1326" y="366"/>
                </a:lnTo>
                <a:lnTo>
                  <a:pt x="1328" y="367"/>
                </a:lnTo>
                <a:lnTo>
                  <a:pt x="1329" y="368"/>
                </a:lnTo>
                <a:lnTo>
                  <a:pt x="1332" y="371"/>
                </a:lnTo>
                <a:lnTo>
                  <a:pt x="1333" y="374"/>
                </a:lnTo>
                <a:lnTo>
                  <a:pt x="1333" y="376"/>
                </a:lnTo>
                <a:lnTo>
                  <a:pt x="1333" y="379"/>
                </a:lnTo>
                <a:lnTo>
                  <a:pt x="1333" y="381"/>
                </a:lnTo>
                <a:lnTo>
                  <a:pt x="1331" y="384"/>
                </a:lnTo>
                <a:lnTo>
                  <a:pt x="1330" y="386"/>
                </a:lnTo>
                <a:lnTo>
                  <a:pt x="1328" y="388"/>
                </a:lnTo>
                <a:lnTo>
                  <a:pt x="1326" y="389"/>
                </a:lnTo>
                <a:lnTo>
                  <a:pt x="1322" y="390"/>
                </a:lnTo>
                <a:lnTo>
                  <a:pt x="1318" y="390"/>
                </a:lnTo>
                <a:lnTo>
                  <a:pt x="1316" y="390"/>
                </a:lnTo>
                <a:lnTo>
                  <a:pt x="1314" y="389"/>
                </a:lnTo>
                <a:lnTo>
                  <a:pt x="1312" y="388"/>
                </a:lnTo>
                <a:lnTo>
                  <a:pt x="1311" y="387"/>
                </a:lnTo>
                <a:lnTo>
                  <a:pt x="1308" y="383"/>
                </a:lnTo>
                <a:lnTo>
                  <a:pt x="1307" y="381"/>
                </a:lnTo>
                <a:lnTo>
                  <a:pt x="1307" y="378"/>
                </a:lnTo>
                <a:lnTo>
                  <a:pt x="1307" y="376"/>
                </a:lnTo>
                <a:lnTo>
                  <a:pt x="1308" y="373"/>
                </a:lnTo>
                <a:lnTo>
                  <a:pt x="1309" y="371"/>
                </a:lnTo>
                <a:lnTo>
                  <a:pt x="1310" y="369"/>
                </a:lnTo>
                <a:lnTo>
                  <a:pt x="1312" y="367"/>
                </a:lnTo>
                <a:lnTo>
                  <a:pt x="1314" y="366"/>
                </a:lnTo>
                <a:lnTo>
                  <a:pt x="1318" y="364"/>
                </a:lnTo>
                <a:close/>
                <a:moveTo>
                  <a:pt x="1895" y="254"/>
                </a:moveTo>
                <a:lnTo>
                  <a:pt x="1898" y="254"/>
                </a:lnTo>
                <a:lnTo>
                  <a:pt x="1901" y="254"/>
                </a:lnTo>
                <a:lnTo>
                  <a:pt x="1903" y="255"/>
                </a:lnTo>
                <a:lnTo>
                  <a:pt x="1905" y="257"/>
                </a:lnTo>
                <a:lnTo>
                  <a:pt x="1907" y="259"/>
                </a:lnTo>
                <a:lnTo>
                  <a:pt x="1908" y="261"/>
                </a:lnTo>
                <a:lnTo>
                  <a:pt x="1909" y="263"/>
                </a:lnTo>
                <a:lnTo>
                  <a:pt x="1910" y="266"/>
                </a:lnTo>
                <a:lnTo>
                  <a:pt x="1910" y="268"/>
                </a:lnTo>
                <a:lnTo>
                  <a:pt x="1909" y="270"/>
                </a:lnTo>
                <a:lnTo>
                  <a:pt x="1909" y="272"/>
                </a:lnTo>
                <a:lnTo>
                  <a:pt x="1906" y="276"/>
                </a:lnTo>
                <a:lnTo>
                  <a:pt x="1903" y="278"/>
                </a:lnTo>
                <a:lnTo>
                  <a:pt x="1901" y="279"/>
                </a:lnTo>
                <a:lnTo>
                  <a:pt x="1899" y="280"/>
                </a:lnTo>
                <a:lnTo>
                  <a:pt x="1895" y="280"/>
                </a:lnTo>
                <a:lnTo>
                  <a:pt x="1893" y="279"/>
                </a:lnTo>
                <a:lnTo>
                  <a:pt x="1891" y="278"/>
                </a:lnTo>
                <a:lnTo>
                  <a:pt x="1888" y="277"/>
                </a:lnTo>
                <a:lnTo>
                  <a:pt x="1887" y="275"/>
                </a:lnTo>
                <a:lnTo>
                  <a:pt x="1885" y="273"/>
                </a:lnTo>
                <a:lnTo>
                  <a:pt x="1884" y="271"/>
                </a:lnTo>
                <a:lnTo>
                  <a:pt x="1884" y="268"/>
                </a:lnTo>
                <a:lnTo>
                  <a:pt x="1884" y="265"/>
                </a:lnTo>
                <a:lnTo>
                  <a:pt x="1884" y="263"/>
                </a:lnTo>
                <a:lnTo>
                  <a:pt x="1885" y="261"/>
                </a:lnTo>
                <a:lnTo>
                  <a:pt x="1887" y="258"/>
                </a:lnTo>
                <a:lnTo>
                  <a:pt x="1891" y="255"/>
                </a:lnTo>
                <a:lnTo>
                  <a:pt x="1893" y="254"/>
                </a:lnTo>
                <a:lnTo>
                  <a:pt x="1895" y="254"/>
                </a:lnTo>
                <a:close/>
                <a:moveTo>
                  <a:pt x="1378" y="337"/>
                </a:moveTo>
                <a:lnTo>
                  <a:pt x="1382" y="337"/>
                </a:lnTo>
                <a:lnTo>
                  <a:pt x="1386" y="338"/>
                </a:lnTo>
                <a:lnTo>
                  <a:pt x="1388" y="339"/>
                </a:lnTo>
                <a:lnTo>
                  <a:pt x="1390" y="341"/>
                </a:lnTo>
                <a:lnTo>
                  <a:pt x="1392" y="344"/>
                </a:lnTo>
                <a:lnTo>
                  <a:pt x="1393" y="347"/>
                </a:lnTo>
                <a:lnTo>
                  <a:pt x="1393" y="349"/>
                </a:lnTo>
                <a:lnTo>
                  <a:pt x="1393" y="352"/>
                </a:lnTo>
                <a:lnTo>
                  <a:pt x="1392" y="354"/>
                </a:lnTo>
                <a:lnTo>
                  <a:pt x="1391" y="357"/>
                </a:lnTo>
                <a:lnTo>
                  <a:pt x="1390" y="359"/>
                </a:lnTo>
                <a:lnTo>
                  <a:pt x="1388" y="360"/>
                </a:lnTo>
                <a:lnTo>
                  <a:pt x="1385" y="362"/>
                </a:lnTo>
                <a:lnTo>
                  <a:pt x="1382" y="362"/>
                </a:lnTo>
                <a:lnTo>
                  <a:pt x="1378" y="362"/>
                </a:lnTo>
                <a:lnTo>
                  <a:pt x="1374" y="361"/>
                </a:lnTo>
                <a:lnTo>
                  <a:pt x="1372" y="360"/>
                </a:lnTo>
                <a:lnTo>
                  <a:pt x="1370" y="358"/>
                </a:lnTo>
                <a:lnTo>
                  <a:pt x="1368" y="355"/>
                </a:lnTo>
                <a:lnTo>
                  <a:pt x="1367" y="352"/>
                </a:lnTo>
                <a:lnTo>
                  <a:pt x="1367" y="350"/>
                </a:lnTo>
                <a:lnTo>
                  <a:pt x="1367" y="347"/>
                </a:lnTo>
                <a:lnTo>
                  <a:pt x="1368" y="345"/>
                </a:lnTo>
                <a:lnTo>
                  <a:pt x="1369" y="342"/>
                </a:lnTo>
                <a:lnTo>
                  <a:pt x="1371" y="340"/>
                </a:lnTo>
                <a:lnTo>
                  <a:pt x="1373" y="339"/>
                </a:lnTo>
                <a:lnTo>
                  <a:pt x="1375" y="337"/>
                </a:lnTo>
                <a:lnTo>
                  <a:pt x="1378" y="337"/>
                </a:lnTo>
                <a:close/>
                <a:moveTo>
                  <a:pt x="1829" y="249"/>
                </a:moveTo>
                <a:lnTo>
                  <a:pt x="1831" y="249"/>
                </a:lnTo>
                <a:lnTo>
                  <a:pt x="1834" y="249"/>
                </a:lnTo>
                <a:lnTo>
                  <a:pt x="1836" y="250"/>
                </a:lnTo>
                <a:lnTo>
                  <a:pt x="1839" y="252"/>
                </a:lnTo>
                <a:lnTo>
                  <a:pt x="1840" y="253"/>
                </a:lnTo>
                <a:lnTo>
                  <a:pt x="1842" y="255"/>
                </a:lnTo>
                <a:lnTo>
                  <a:pt x="1843" y="257"/>
                </a:lnTo>
                <a:lnTo>
                  <a:pt x="1844" y="260"/>
                </a:lnTo>
                <a:lnTo>
                  <a:pt x="1844" y="263"/>
                </a:lnTo>
                <a:lnTo>
                  <a:pt x="1844" y="265"/>
                </a:lnTo>
                <a:lnTo>
                  <a:pt x="1843" y="267"/>
                </a:lnTo>
                <a:lnTo>
                  <a:pt x="1842" y="269"/>
                </a:lnTo>
                <a:lnTo>
                  <a:pt x="1841" y="271"/>
                </a:lnTo>
                <a:lnTo>
                  <a:pt x="1839" y="272"/>
                </a:lnTo>
                <a:lnTo>
                  <a:pt x="1837" y="274"/>
                </a:lnTo>
                <a:lnTo>
                  <a:pt x="1835" y="274"/>
                </a:lnTo>
                <a:lnTo>
                  <a:pt x="1833" y="275"/>
                </a:lnTo>
                <a:lnTo>
                  <a:pt x="1830" y="275"/>
                </a:lnTo>
                <a:lnTo>
                  <a:pt x="1828" y="275"/>
                </a:lnTo>
                <a:lnTo>
                  <a:pt x="1825" y="274"/>
                </a:lnTo>
                <a:lnTo>
                  <a:pt x="1823" y="273"/>
                </a:lnTo>
                <a:lnTo>
                  <a:pt x="1821" y="271"/>
                </a:lnTo>
                <a:lnTo>
                  <a:pt x="1820" y="269"/>
                </a:lnTo>
                <a:lnTo>
                  <a:pt x="1819" y="267"/>
                </a:lnTo>
                <a:lnTo>
                  <a:pt x="1818" y="264"/>
                </a:lnTo>
                <a:lnTo>
                  <a:pt x="1818" y="262"/>
                </a:lnTo>
                <a:lnTo>
                  <a:pt x="1818" y="259"/>
                </a:lnTo>
                <a:lnTo>
                  <a:pt x="1819" y="257"/>
                </a:lnTo>
                <a:lnTo>
                  <a:pt x="1820" y="255"/>
                </a:lnTo>
                <a:lnTo>
                  <a:pt x="1821" y="253"/>
                </a:lnTo>
                <a:lnTo>
                  <a:pt x="1823" y="252"/>
                </a:lnTo>
                <a:lnTo>
                  <a:pt x="1824" y="251"/>
                </a:lnTo>
                <a:lnTo>
                  <a:pt x="1826" y="250"/>
                </a:lnTo>
                <a:lnTo>
                  <a:pt x="1829" y="249"/>
                </a:lnTo>
                <a:close/>
                <a:moveTo>
                  <a:pt x="1439" y="312"/>
                </a:moveTo>
                <a:lnTo>
                  <a:pt x="1444" y="312"/>
                </a:lnTo>
                <a:lnTo>
                  <a:pt x="1446" y="313"/>
                </a:lnTo>
                <a:lnTo>
                  <a:pt x="1448" y="314"/>
                </a:lnTo>
                <a:lnTo>
                  <a:pt x="1452" y="317"/>
                </a:lnTo>
                <a:lnTo>
                  <a:pt x="1453" y="318"/>
                </a:lnTo>
                <a:lnTo>
                  <a:pt x="1454" y="321"/>
                </a:lnTo>
                <a:lnTo>
                  <a:pt x="1455" y="326"/>
                </a:lnTo>
                <a:lnTo>
                  <a:pt x="1454" y="328"/>
                </a:lnTo>
                <a:lnTo>
                  <a:pt x="1453" y="331"/>
                </a:lnTo>
                <a:lnTo>
                  <a:pt x="1452" y="333"/>
                </a:lnTo>
                <a:lnTo>
                  <a:pt x="1450" y="335"/>
                </a:lnTo>
                <a:lnTo>
                  <a:pt x="1448" y="336"/>
                </a:lnTo>
                <a:lnTo>
                  <a:pt x="1446" y="337"/>
                </a:lnTo>
                <a:lnTo>
                  <a:pt x="1444" y="338"/>
                </a:lnTo>
                <a:lnTo>
                  <a:pt x="1439" y="338"/>
                </a:lnTo>
                <a:lnTo>
                  <a:pt x="1437" y="337"/>
                </a:lnTo>
                <a:lnTo>
                  <a:pt x="1435" y="336"/>
                </a:lnTo>
                <a:lnTo>
                  <a:pt x="1432" y="334"/>
                </a:lnTo>
                <a:lnTo>
                  <a:pt x="1430" y="332"/>
                </a:lnTo>
                <a:lnTo>
                  <a:pt x="1429" y="330"/>
                </a:lnTo>
                <a:lnTo>
                  <a:pt x="1428" y="324"/>
                </a:lnTo>
                <a:lnTo>
                  <a:pt x="1429" y="322"/>
                </a:lnTo>
                <a:lnTo>
                  <a:pt x="1430" y="320"/>
                </a:lnTo>
                <a:lnTo>
                  <a:pt x="1431" y="317"/>
                </a:lnTo>
                <a:lnTo>
                  <a:pt x="1433" y="315"/>
                </a:lnTo>
                <a:lnTo>
                  <a:pt x="1435" y="314"/>
                </a:lnTo>
                <a:lnTo>
                  <a:pt x="1437" y="313"/>
                </a:lnTo>
                <a:lnTo>
                  <a:pt x="1439" y="312"/>
                </a:lnTo>
                <a:close/>
                <a:moveTo>
                  <a:pt x="1762" y="249"/>
                </a:moveTo>
                <a:lnTo>
                  <a:pt x="1764" y="249"/>
                </a:lnTo>
                <a:lnTo>
                  <a:pt x="1767" y="249"/>
                </a:lnTo>
                <a:lnTo>
                  <a:pt x="1769" y="250"/>
                </a:lnTo>
                <a:lnTo>
                  <a:pt x="1772" y="251"/>
                </a:lnTo>
                <a:lnTo>
                  <a:pt x="1774" y="252"/>
                </a:lnTo>
                <a:lnTo>
                  <a:pt x="1775" y="254"/>
                </a:lnTo>
                <a:lnTo>
                  <a:pt x="1777" y="256"/>
                </a:lnTo>
                <a:lnTo>
                  <a:pt x="1777" y="258"/>
                </a:lnTo>
                <a:lnTo>
                  <a:pt x="1777" y="259"/>
                </a:lnTo>
                <a:lnTo>
                  <a:pt x="1778" y="262"/>
                </a:lnTo>
                <a:lnTo>
                  <a:pt x="1778" y="264"/>
                </a:lnTo>
                <a:lnTo>
                  <a:pt x="1777" y="266"/>
                </a:lnTo>
                <a:lnTo>
                  <a:pt x="1776" y="268"/>
                </a:lnTo>
                <a:lnTo>
                  <a:pt x="1775" y="270"/>
                </a:lnTo>
                <a:lnTo>
                  <a:pt x="1773" y="272"/>
                </a:lnTo>
                <a:lnTo>
                  <a:pt x="1771" y="273"/>
                </a:lnTo>
                <a:lnTo>
                  <a:pt x="1769" y="274"/>
                </a:lnTo>
                <a:lnTo>
                  <a:pt x="1767" y="275"/>
                </a:lnTo>
                <a:lnTo>
                  <a:pt x="1765" y="275"/>
                </a:lnTo>
                <a:lnTo>
                  <a:pt x="1762" y="275"/>
                </a:lnTo>
                <a:lnTo>
                  <a:pt x="1760" y="274"/>
                </a:lnTo>
                <a:lnTo>
                  <a:pt x="1758" y="273"/>
                </a:lnTo>
                <a:lnTo>
                  <a:pt x="1756" y="271"/>
                </a:lnTo>
                <a:lnTo>
                  <a:pt x="1754" y="270"/>
                </a:lnTo>
                <a:lnTo>
                  <a:pt x="1753" y="267"/>
                </a:lnTo>
                <a:lnTo>
                  <a:pt x="1752" y="266"/>
                </a:lnTo>
                <a:lnTo>
                  <a:pt x="1752" y="265"/>
                </a:lnTo>
                <a:lnTo>
                  <a:pt x="1752" y="262"/>
                </a:lnTo>
                <a:lnTo>
                  <a:pt x="1752" y="260"/>
                </a:lnTo>
                <a:lnTo>
                  <a:pt x="1752" y="258"/>
                </a:lnTo>
                <a:lnTo>
                  <a:pt x="1753" y="255"/>
                </a:lnTo>
                <a:lnTo>
                  <a:pt x="1755" y="254"/>
                </a:lnTo>
                <a:lnTo>
                  <a:pt x="1756" y="252"/>
                </a:lnTo>
                <a:lnTo>
                  <a:pt x="1758" y="251"/>
                </a:lnTo>
                <a:lnTo>
                  <a:pt x="1760" y="250"/>
                </a:lnTo>
                <a:lnTo>
                  <a:pt x="1762" y="249"/>
                </a:lnTo>
                <a:close/>
                <a:moveTo>
                  <a:pt x="1502" y="291"/>
                </a:moveTo>
                <a:lnTo>
                  <a:pt x="1507" y="291"/>
                </a:lnTo>
                <a:lnTo>
                  <a:pt x="1509" y="292"/>
                </a:lnTo>
                <a:lnTo>
                  <a:pt x="1511" y="293"/>
                </a:lnTo>
                <a:lnTo>
                  <a:pt x="1513" y="295"/>
                </a:lnTo>
                <a:lnTo>
                  <a:pt x="1514" y="295"/>
                </a:lnTo>
                <a:lnTo>
                  <a:pt x="1515" y="296"/>
                </a:lnTo>
                <a:lnTo>
                  <a:pt x="1516" y="298"/>
                </a:lnTo>
                <a:lnTo>
                  <a:pt x="1517" y="301"/>
                </a:lnTo>
                <a:lnTo>
                  <a:pt x="1517" y="303"/>
                </a:lnTo>
                <a:lnTo>
                  <a:pt x="1517" y="306"/>
                </a:lnTo>
                <a:lnTo>
                  <a:pt x="1517" y="308"/>
                </a:lnTo>
                <a:lnTo>
                  <a:pt x="1516" y="311"/>
                </a:lnTo>
                <a:lnTo>
                  <a:pt x="1515" y="312"/>
                </a:lnTo>
                <a:lnTo>
                  <a:pt x="1514" y="313"/>
                </a:lnTo>
                <a:lnTo>
                  <a:pt x="1513" y="314"/>
                </a:lnTo>
                <a:lnTo>
                  <a:pt x="1510" y="316"/>
                </a:lnTo>
                <a:lnTo>
                  <a:pt x="1508" y="317"/>
                </a:lnTo>
                <a:lnTo>
                  <a:pt x="1507" y="317"/>
                </a:lnTo>
                <a:lnTo>
                  <a:pt x="1502" y="317"/>
                </a:lnTo>
                <a:lnTo>
                  <a:pt x="1500" y="317"/>
                </a:lnTo>
                <a:lnTo>
                  <a:pt x="1497" y="316"/>
                </a:lnTo>
                <a:lnTo>
                  <a:pt x="1496" y="314"/>
                </a:lnTo>
                <a:lnTo>
                  <a:pt x="1495" y="313"/>
                </a:lnTo>
                <a:lnTo>
                  <a:pt x="1494" y="312"/>
                </a:lnTo>
                <a:lnTo>
                  <a:pt x="1493" y="310"/>
                </a:lnTo>
                <a:lnTo>
                  <a:pt x="1492" y="308"/>
                </a:lnTo>
                <a:lnTo>
                  <a:pt x="1491" y="305"/>
                </a:lnTo>
                <a:lnTo>
                  <a:pt x="1491" y="303"/>
                </a:lnTo>
                <a:lnTo>
                  <a:pt x="1492" y="300"/>
                </a:lnTo>
                <a:lnTo>
                  <a:pt x="1493" y="298"/>
                </a:lnTo>
                <a:lnTo>
                  <a:pt x="1493" y="297"/>
                </a:lnTo>
                <a:lnTo>
                  <a:pt x="1494" y="296"/>
                </a:lnTo>
                <a:lnTo>
                  <a:pt x="1496" y="294"/>
                </a:lnTo>
                <a:lnTo>
                  <a:pt x="1498" y="293"/>
                </a:lnTo>
                <a:lnTo>
                  <a:pt x="1501" y="292"/>
                </a:lnTo>
                <a:lnTo>
                  <a:pt x="1502" y="291"/>
                </a:lnTo>
                <a:close/>
                <a:moveTo>
                  <a:pt x="1696" y="253"/>
                </a:moveTo>
                <a:lnTo>
                  <a:pt x="1699" y="253"/>
                </a:lnTo>
                <a:lnTo>
                  <a:pt x="1702" y="254"/>
                </a:lnTo>
                <a:lnTo>
                  <a:pt x="1705" y="255"/>
                </a:lnTo>
                <a:lnTo>
                  <a:pt x="1707" y="256"/>
                </a:lnTo>
                <a:lnTo>
                  <a:pt x="1709" y="258"/>
                </a:lnTo>
                <a:lnTo>
                  <a:pt x="1710" y="260"/>
                </a:lnTo>
                <a:lnTo>
                  <a:pt x="1711" y="262"/>
                </a:lnTo>
                <a:lnTo>
                  <a:pt x="1712" y="265"/>
                </a:lnTo>
                <a:lnTo>
                  <a:pt x="1712" y="267"/>
                </a:lnTo>
                <a:lnTo>
                  <a:pt x="1711" y="270"/>
                </a:lnTo>
                <a:lnTo>
                  <a:pt x="1710" y="272"/>
                </a:lnTo>
                <a:lnTo>
                  <a:pt x="1709" y="274"/>
                </a:lnTo>
                <a:lnTo>
                  <a:pt x="1706" y="277"/>
                </a:lnTo>
                <a:lnTo>
                  <a:pt x="1703" y="278"/>
                </a:lnTo>
                <a:lnTo>
                  <a:pt x="1701" y="279"/>
                </a:lnTo>
                <a:lnTo>
                  <a:pt x="1698" y="279"/>
                </a:lnTo>
                <a:lnTo>
                  <a:pt x="1695" y="279"/>
                </a:lnTo>
                <a:lnTo>
                  <a:pt x="1693" y="278"/>
                </a:lnTo>
                <a:lnTo>
                  <a:pt x="1690" y="276"/>
                </a:lnTo>
                <a:lnTo>
                  <a:pt x="1689" y="274"/>
                </a:lnTo>
                <a:lnTo>
                  <a:pt x="1687" y="272"/>
                </a:lnTo>
                <a:lnTo>
                  <a:pt x="1686" y="270"/>
                </a:lnTo>
                <a:lnTo>
                  <a:pt x="1686" y="267"/>
                </a:lnTo>
                <a:lnTo>
                  <a:pt x="1686" y="265"/>
                </a:lnTo>
                <a:lnTo>
                  <a:pt x="1686" y="262"/>
                </a:lnTo>
                <a:lnTo>
                  <a:pt x="1687" y="260"/>
                </a:lnTo>
                <a:lnTo>
                  <a:pt x="1688" y="258"/>
                </a:lnTo>
                <a:lnTo>
                  <a:pt x="1692" y="255"/>
                </a:lnTo>
                <a:lnTo>
                  <a:pt x="1694" y="254"/>
                </a:lnTo>
                <a:lnTo>
                  <a:pt x="1696" y="253"/>
                </a:lnTo>
                <a:close/>
                <a:moveTo>
                  <a:pt x="1566" y="275"/>
                </a:moveTo>
                <a:lnTo>
                  <a:pt x="1571" y="275"/>
                </a:lnTo>
                <a:lnTo>
                  <a:pt x="1573" y="275"/>
                </a:lnTo>
                <a:lnTo>
                  <a:pt x="1575" y="277"/>
                </a:lnTo>
                <a:lnTo>
                  <a:pt x="1577" y="278"/>
                </a:lnTo>
                <a:lnTo>
                  <a:pt x="1579" y="280"/>
                </a:lnTo>
                <a:lnTo>
                  <a:pt x="1580" y="282"/>
                </a:lnTo>
                <a:lnTo>
                  <a:pt x="1581" y="285"/>
                </a:lnTo>
                <a:lnTo>
                  <a:pt x="1581" y="287"/>
                </a:lnTo>
                <a:lnTo>
                  <a:pt x="1581" y="290"/>
                </a:lnTo>
                <a:lnTo>
                  <a:pt x="1580" y="292"/>
                </a:lnTo>
                <a:lnTo>
                  <a:pt x="1579" y="294"/>
                </a:lnTo>
                <a:lnTo>
                  <a:pt x="1578" y="296"/>
                </a:lnTo>
                <a:lnTo>
                  <a:pt x="1576" y="298"/>
                </a:lnTo>
                <a:lnTo>
                  <a:pt x="1574" y="299"/>
                </a:lnTo>
                <a:lnTo>
                  <a:pt x="1571" y="300"/>
                </a:lnTo>
                <a:lnTo>
                  <a:pt x="1566" y="300"/>
                </a:lnTo>
                <a:lnTo>
                  <a:pt x="1563" y="300"/>
                </a:lnTo>
                <a:lnTo>
                  <a:pt x="1561" y="298"/>
                </a:lnTo>
                <a:lnTo>
                  <a:pt x="1559" y="297"/>
                </a:lnTo>
                <a:lnTo>
                  <a:pt x="1557" y="295"/>
                </a:lnTo>
                <a:lnTo>
                  <a:pt x="1556" y="293"/>
                </a:lnTo>
                <a:lnTo>
                  <a:pt x="1555" y="290"/>
                </a:lnTo>
                <a:lnTo>
                  <a:pt x="1555" y="288"/>
                </a:lnTo>
                <a:lnTo>
                  <a:pt x="1555" y="285"/>
                </a:lnTo>
                <a:lnTo>
                  <a:pt x="1556" y="283"/>
                </a:lnTo>
                <a:lnTo>
                  <a:pt x="1557" y="281"/>
                </a:lnTo>
                <a:lnTo>
                  <a:pt x="1559" y="279"/>
                </a:lnTo>
                <a:lnTo>
                  <a:pt x="1561" y="277"/>
                </a:lnTo>
                <a:lnTo>
                  <a:pt x="1563" y="276"/>
                </a:lnTo>
                <a:lnTo>
                  <a:pt x="1565" y="275"/>
                </a:lnTo>
                <a:lnTo>
                  <a:pt x="1566" y="275"/>
                </a:lnTo>
                <a:close/>
                <a:moveTo>
                  <a:pt x="1631" y="262"/>
                </a:moveTo>
                <a:lnTo>
                  <a:pt x="1634" y="262"/>
                </a:lnTo>
                <a:lnTo>
                  <a:pt x="1636" y="262"/>
                </a:lnTo>
                <a:lnTo>
                  <a:pt x="1639" y="263"/>
                </a:lnTo>
                <a:lnTo>
                  <a:pt x="1641" y="264"/>
                </a:lnTo>
                <a:lnTo>
                  <a:pt x="1643" y="266"/>
                </a:lnTo>
                <a:lnTo>
                  <a:pt x="1644" y="268"/>
                </a:lnTo>
                <a:lnTo>
                  <a:pt x="1645" y="270"/>
                </a:lnTo>
                <a:lnTo>
                  <a:pt x="1646" y="273"/>
                </a:lnTo>
                <a:lnTo>
                  <a:pt x="1646" y="275"/>
                </a:lnTo>
                <a:lnTo>
                  <a:pt x="1646" y="278"/>
                </a:lnTo>
                <a:lnTo>
                  <a:pt x="1645" y="280"/>
                </a:lnTo>
                <a:lnTo>
                  <a:pt x="1644" y="282"/>
                </a:lnTo>
                <a:lnTo>
                  <a:pt x="1640" y="286"/>
                </a:lnTo>
                <a:lnTo>
                  <a:pt x="1638" y="287"/>
                </a:lnTo>
                <a:lnTo>
                  <a:pt x="1635" y="288"/>
                </a:lnTo>
                <a:lnTo>
                  <a:pt x="1633" y="288"/>
                </a:lnTo>
                <a:lnTo>
                  <a:pt x="1630" y="287"/>
                </a:lnTo>
                <a:lnTo>
                  <a:pt x="1628" y="287"/>
                </a:lnTo>
                <a:lnTo>
                  <a:pt x="1625" y="285"/>
                </a:lnTo>
                <a:lnTo>
                  <a:pt x="1624" y="284"/>
                </a:lnTo>
                <a:lnTo>
                  <a:pt x="1622" y="282"/>
                </a:lnTo>
                <a:lnTo>
                  <a:pt x="1621" y="279"/>
                </a:lnTo>
                <a:lnTo>
                  <a:pt x="1620" y="277"/>
                </a:lnTo>
                <a:lnTo>
                  <a:pt x="1620" y="274"/>
                </a:lnTo>
                <a:lnTo>
                  <a:pt x="1620" y="272"/>
                </a:lnTo>
                <a:lnTo>
                  <a:pt x="1621" y="269"/>
                </a:lnTo>
                <a:lnTo>
                  <a:pt x="1622" y="267"/>
                </a:lnTo>
                <a:lnTo>
                  <a:pt x="1626" y="264"/>
                </a:lnTo>
                <a:lnTo>
                  <a:pt x="1628" y="262"/>
                </a:lnTo>
                <a:lnTo>
                  <a:pt x="1631" y="262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766763" y="2565400"/>
            <a:ext cx="2592933" cy="3671888"/>
          </a:xfrm>
          <a:prstGeom prst="roundRect">
            <a:avLst>
              <a:gd name="adj" fmla="val 5672"/>
            </a:avLst>
          </a:prstGeom>
          <a:solidFill>
            <a:schemeClr val="accent1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714375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6168008" y="2565400"/>
            <a:ext cx="2520280" cy="3671888"/>
          </a:xfrm>
          <a:prstGeom prst="roundRect">
            <a:avLst>
              <a:gd name="adj" fmla="val 5631"/>
            </a:avLst>
          </a:prstGeom>
          <a:solidFill>
            <a:schemeClr val="accent4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714375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3503712" y="2565400"/>
            <a:ext cx="2520280" cy="3671888"/>
          </a:xfrm>
          <a:prstGeom prst="roundRect">
            <a:avLst>
              <a:gd name="adj" fmla="val 5907"/>
            </a:avLst>
          </a:prstGeom>
          <a:solidFill>
            <a:schemeClr val="accent2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714375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25"/>
          </p:nvPr>
        </p:nvSpPr>
        <p:spPr>
          <a:xfrm>
            <a:off x="8832305" y="2565400"/>
            <a:ext cx="2592934" cy="3671888"/>
          </a:xfrm>
          <a:prstGeom prst="roundRect">
            <a:avLst>
              <a:gd name="adj" fmla="val 5806"/>
            </a:avLst>
          </a:prstGeom>
          <a:solidFill>
            <a:srgbClr val="2C495A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714375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766763" y="1916112"/>
            <a:ext cx="2592933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8"/>
          </p:nvPr>
        </p:nvSpPr>
        <p:spPr>
          <a:xfrm>
            <a:off x="3503712" y="1916112"/>
            <a:ext cx="2520280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9"/>
          </p:nvPr>
        </p:nvSpPr>
        <p:spPr>
          <a:xfrm>
            <a:off x="6168008" y="1916112"/>
            <a:ext cx="2520280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30"/>
          </p:nvPr>
        </p:nvSpPr>
        <p:spPr>
          <a:xfrm>
            <a:off x="8832304" y="1916112"/>
            <a:ext cx="2592934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Freeform 24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95557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Wide" preserve="1" userDrawn="1">
  <p:cSld name="slide_5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6"/>
          <p:cNvSpPr>
            <a:spLocks noEditPoints="1"/>
          </p:cNvSpPr>
          <p:nvPr userDrawn="1"/>
        </p:nvSpPr>
        <p:spPr bwMode="auto">
          <a:xfrm>
            <a:off x="0" y="-1"/>
            <a:ext cx="2776617" cy="1916113"/>
          </a:xfrm>
          <a:custGeom>
            <a:avLst/>
            <a:gdLst>
              <a:gd name="T0" fmla="*/ 538 w 3259"/>
              <a:gd name="T1" fmla="*/ 418 h 2249"/>
              <a:gd name="T2" fmla="*/ 417 w 3259"/>
              <a:gd name="T3" fmla="*/ 389 h 2249"/>
              <a:gd name="T4" fmla="*/ 294 w 3259"/>
              <a:gd name="T5" fmla="*/ 300 h 2249"/>
              <a:gd name="T6" fmla="*/ 930 w 3259"/>
              <a:gd name="T7" fmla="*/ 266 h 2249"/>
              <a:gd name="T8" fmla="*/ 1044 w 3259"/>
              <a:gd name="T9" fmla="*/ 177 h 2249"/>
              <a:gd name="T10" fmla="*/ 1145 w 3259"/>
              <a:gd name="T11" fmla="*/ 46 h 2249"/>
              <a:gd name="T12" fmla="*/ 589 w 3259"/>
              <a:gd name="T13" fmla="*/ 862 h 2249"/>
              <a:gd name="T14" fmla="*/ 455 w 3259"/>
              <a:gd name="T15" fmla="*/ 846 h 2249"/>
              <a:gd name="T16" fmla="*/ 344 w 3259"/>
              <a:gd name="T17" fmla="*/ 764 h 2249"/>
              <a:gd name="T18" fmla="*/ 982 w 3259"/>
              <a:gd name="T19" fmla="*/ 711 h 2249"/>
              <a:gd name="T20" fmla="*/ 1085 w 3259"/>
              <a:gd name="T21" fmla="*/ 631 h 2249"/>
              <a:gd name="T22" fmla="*/ 1192 w 3259"/>
              <a:gd name="T23" fmla="*/ 510 h 2249"/>
              <a:gd name="T24" fmla="*/ 1657 w 3259"/>
              <a:gd name="T25" fmla="*/ 357 h 2249"/>
              <a:gd name="T26" fmla="*/ 1505 w 3259"/>
              <a:gd name="T27" fmla="*/ 347 h 2249"/>
              <a:gd name="T28" fmla="*/ 1387 w 3259"/>
              <a:gd name="T29" fmla="*/ 322 h 2249"/>
              <a:gd name="T30" fmla="*/ 2026 w 3259"/>
              <a:gd name="T31" fmla="*/ 140 h 2249"/>
              <a:gd name="T32" fmla="*/ 2112 w 3259"/>
              <a:gd name="T33" fmla="*/ 50 h 2249"/>
              <a:gd name="T34" fmla="*/ 793 w 3259"/>
              <a:gd name="T35" fmla="*/ 1325 h 2249"/>
              <a:gd name="T36" fmla="*/ 926 w 3259"/>
              <a:gd name="T37" fmla="*/ 1252 h 2249"/>
              <a:gd name="T38" fmla="*/ 366 w 3259"/>
              <a:gd name="T39" fmla="*/ 1213 h 2249"/>
              <a:gd name="T40" fmla="*/ 253 w 3259"/>
              <a:gd name="T41" fmla="*/ 1152 h 2249"/>
              <a:gd name="T42" fmla="*/ 145 w 3259"/>
              <a:gd name="T43" fmla="*/ 1055 h 2249"/>
              <a:gd name="T44" fmla="*/ 1235 w 3259"/>
              <a:gd name="T45" fmla="*/ 970 h 2249"/>
              <a:gd name="T46" fmla="*/ 1702 w 3259"/>
              <a:gd name="T47" fmla="*/ 813 h 2249"/>
              <a:gd name="T48" fmla="*/ 1551 w 3259"/>
              <a:gd name="T49" fmla="*/ 802 h 2249"/>
              <a:gd name="T50" fmla="*/ 1425 w 3259"/>
              <a:gd name="T51" fmla="*/ 777 h 2249"/>
              <a:gd name="T52" fmla="*/ 2080 w 3259"/>
              <a:gd name="T53" fmla="*/ 601 h 2249"/>
              <a:gd name="T54" fmla="*/ 2161 w 3259"/>
              <a:gd name="T55" fmla="*/ 496 h 2249"/>
              <a:gd name="T56" fmla="*/ 2339 w 3259"/>
              <a:gd name="T57" fmla="*/ 285 h 2249"/>
              <a:gd name="T58" fmla="*/ 2473 w 3259"/>
              <a:gd name="T59" fmla="*/ 4 h 2249"/>
              <a:gd name="T60" fmla="*/ 675 w 3259"/>
              <a:gd name="T61" fmla="*/ 1786 h 2249"/>
              <a:gd name="T62" fmla="*/ 549 w 3259"/>
              <a:gd name="T63" fmla="*/ 1756 h 2249"/>
              <a:gd name="T64" fmla="*/ 434 w 3259"/>
              <a:gd name="T65" fmla="*/ 1678 h 2249"/>
              <a:gd name="T66" fmla="*/ 306 w 3259"/>
              <a:gd name="T67" fmla="*/ 1583 h 2249"/>
              <a:gd name="T68" fmla="*/ 1169 w 3259"/>
              <a:gd name="T69" fmla="*/ 1534 h 2249"/>
              <a:gd name="T70" fmla="*/ 58 w 3259"/>
              <a:gd name="T71" fmla="*/ 1466 h 2249"/>
              <a:gd name="T72" fmla="*/ 1367 w 3259"/>
              <a:gd name="T73" fmla="*/ 1294 h 2249"/>
              <a:gd name="T74" fmla="*/ 1736 w 3259"/>
              <a:gd name="T75" fmla="*/ 1277 h 2249"/>
              <a:gd name="T76" fmla="*/ 1886 w 3259"/>
              <a:gd name="T77" fmla="*/ 1244 h 2249"/>
              <a:gd name="T78" fmla="*/ 2016 w 3259"/>
              <a:gd name="T79" fmla="*/ 1156 h 2249"/>
              <a:gd name="T80" fmla="*/ 2110 w 3259"/>
              <a:gd name="T81" fmla="*/ 1051 h 2249"/>
              <a:gd name="T82" fmla="*/ 2299 w 3259"/>
              <a:gd name="T83" fmla="*/ 857 h 2249"/>
              <a:gd name="T84" fmla="*/ 2471 w 3259"/>
              <a:gd name="T85" fmla="*/ 606 h 2249"/>
              <a:gd name="T86" fmla="*/ 2510 w 3259"/>
              <a:gd name="T87" fmla="*/ 455 h 2249"/>
              <a:gd name="T88" fmla="*/ 2616 w 3259"/>
              <a:gd name="T89" fmla="*/ 203 h 2249"/>
              <a:gd name="T90" fmla="*/ 738 w 3259"/>
              <a:gd name="T91" fmla="*/ 2247 h 2249"/>
              <a:gd name="T92" fmla="*/ 601 w 3259"/>
              <a:gd name="T93" fmla="*/ 2188 h 2249"/>
              <a:gd name="T94" fmla="*/ 471 w 3259"/>
              <a:gd name="T95" fmla="*/ 2118 h 2249"/>
              <a:gd name="T96" fmla="*/ 1113 w 3259"/>
              <a:gd name="T97" fmla="*/ 2086 h 2249"/>
              <a:gd name="T98" fmla="*/ 1222 w 3259"/>
              <a:gd name="T99" fmla="*/ 1996 h 2249"/>
              <a:gd name="T100" fmla="*/ 108 w 3259"/>
              <a:gd name="T101" fmla="*/ 1910 h 2249"/>
              <a:gd name="T102" fmla="*/ 1414 w 3259"/>
              <a:gd name="T103" fmla="*/ 1751 h 2249"/>
              <a:gd name="T104" fmla="*/ 1782 w 3259"/>
              <a:gd name="T105" fmla="*/ 1730 h 2249"/>
              <a:gd name="T106" fmla="*/ 1925 w 3259"/>
              <a:gd name="T107" fmla="*/ 1699 h 2249"/>
              <a:gd name="T108" fmla="*/ 2061 w 3259"/>
              <a:gd name="T109" fmla="*/ 1613 h 2249"/>
              <a:gd name="T110" fmla="*/ 2160 w 3259"/>
              <a:gd name="T111" fmla="*/ 1505 h 2249"/>
              <a:gd name="T112" fmla="*/ 2342 w 3259"/>
              <a:gd name="T113" fmla="*/ 1300 h 2249"/>
              <a:gd name="T114" fmla="*/ 2505 w 3259"/>
              <a:gd name="T115" fmla="*/ 1070 h 2249"/>
              <a:gd name="T116" fmla="*/ 2623 w 3259"/>
              <a:gd name="T117" fmla="*/ 792 h 2249"/>
              <a:gd name="T118" fmla="*/ 2751 w 3259"/>
              <a:gd name="T119" fmla="*/ 523 h 2249"/>
              <a:gd name="T120" fmla="*/ 2814 w 3259"/>
              <a:gd name="T121" fmla="*/ 409 h 2249"/>
              <a:gd name="T122" fmla="*/ 3017 w 3259"/>
              <a:gd name="T123" fmla="*/ 212 h 2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259" h="2249">
                <a:moveTo>
                  <a:pt x="3247" y="16"/>
                </a:moveTo>
                <a:lnTo>
                  <a:pt x="3250" y="16"/>
                </a:lnTo>
                <a:lnTo>
                  <a:pt x="3253" y="17"/>
                </a:lnTo>
                <a:lnTo>
                  <a:pt x="3255" y="19"/>
                </a:lnTo>
                <a:lnTo>
                  <a:pt x="3257" y="22"/>
                </a:lnTo>
                <a:lnTo>
                  <a:pt x="3259" y="26"/>
                </a:lnTo>
                <a:lnTo>
                  <a:pt x="3259" y="28"/>
                </a:lnTo>
                <a:lnTo>
                  <a:pt x="3258" y="31"/>
                </a:lnTo>
                <a:lnTo>
                  <a:pt x="3258" y="33"/>
                </a:lnTo>
                <a:lnTo>
                  <a:pt x="3256" y="35"/>
                </a:lnTo>
                <a:lnTo>
                  <a:pt x="3255" y="37"/>
                </a:lnTo>
                <a:lnTo>
                  <a:pt x="3253" y="38"/>
                </a:lnTo>
                <a:lnTo>
                  <a:pt x="3250" y="39"/>
                </a:lnTo>
                <a:lnTo>
                  <a:pt x="3247" y="40"/>
                </a:lnTo>
                <a:lnTo>
                  <a:pt x="3244" y="39"/>
                </a:lnTo>
                <a:lnTo>
                  <a:pt x="3241" y="38"/>
                </a:lnTo>
                <a:lnTo>
                  <a:pt x="3238" y="36"/>
                </a:lnTo>
                <a:lnTo>
                  <a:pt x="3236" y="34"/>
                </a:lnTo>
                <a:lnTo>
                  <a:pt x="3235" y="29"/>
                </a:lnTo>
                <a:lnTo>
                  <a:pt x="3235" y="27"/>
                </a:lnTo>
                <a:lnTo>
                  <a:pt x="3235" y="25"/>
                </a:lnTo>
                <a:lnTo>
                  <a:pt x="3236" y="23"/>
                </a:lnTo>
                <a:lnTo>
                  <a:pt x="3237" y="21"/>
                </a:lnTo>
                <a:lnTo>
                  <a:pt x="3239" y="19"/>
                </a:lnTo>
                <a:lnTo>
                  <a:pt x="3241" y="17"/>
                </a:lnTo>
                <a:lnTo>
                  <a:pt x="3244" y="16"/>
                </a:lnTo>
                <a:lnTo>
                  <a:pt x="3247" y="16"/>
                </a:lnTo>
                <a:close/>
                <a:moveTo>
                  <a:pt x="550" y="404"/>
                </a:moveTo>
                <a:lnTo>
                  <a:pt x="552" y="404"/>
                </a:lnTo>
                <a:lnTo>
                  <a:pt x="554" y="405"/>
                </a:lnTo>
                <a:lnTo>
                  <a:pt x="556" y="406"/>
                </a:lnTo>
                <a:lnTo>
                  <a:pt x="558" y="407"/>
                </a:lnTo>
                <a:lnTo>
                  <a:pt x="560" y="409"/>
                </a:lnTo>
                <a:lnTo>
                  <a:pt x="561" y="411"/>
                </a:lnTo>
                <a:lnTo>
                  <a:pt x="562" y="413"/>
                </a:lnTo>
                <a:lnTo>
                  <a:pt x="563" y="416"/>
                </a:lnTo>
                <a:lnTo>
                  <a:pt x="563" y="418"/>
                </a:lnTo>
                <a:lnTo>
                  <a:pt x="561" y="423"/>
                </a:lnTo>
                <a:lnTo>
                  <a:pt x="558" y="426"/>
                </a:lnTo>
                <a:lnTo>
                  <a:pt x="557" y="428"/>
                </a:lnTo>
                <a:lnTo>
                  <a:pt x="555" y="429"/>
                </a:lnTo>
                <a:lnTo>
                  <a:pt x="550" y="429"/>
                </a:lnTo>
                <a:lnTo>
                  <a:pt x="549" y="429"/>
                </a:lnTo>
                <a:lnTo>
                  <a:pt x="546" y="429"/>
                </a:lnTo>
                <a:lnTo>
                  <a:pt x="544" y="428"/>
                </a:lnTo>
                <a:lnTo>
                  <a:pt x="542" y="426"/>
                </a:lnTo>
                <a:lnTo>
                  <a:pt x="540" y="425"/>
                </a:lnTo>
                <a:lnTo>
                  <a:pt x="539" y="423"/>
                </a:lnTo>
                <a:lnTo>
                  <a:pt x="538" y="420"/>
                </a:lnTo>
                <a:lnTo>
                  <a:pt x="538" y="418"/>
                </a:lnTo>
                <a:lnTo>
                  <a:pt x="538" y="415"/>
                </a:lnTo>
                <a:lnTo>
                  <a:pt x="539" y="411"/>
                </a:lnTo>
                <a:lnTo>
                  <a:pt x="542" y="407"/>
                </a:lnTo>
                <a:lnTo>
                  <a:pt x="544" y="406"/>
                </a:lnTo>
                <a:lnTo>
                  <a:pt x="546" y="405"/>
                </a:lnTo>
                <a:lnTo>
                  <a:pt x="550" y="404"/>
                </a:lnTo>
                <a:close/>
                <a:moveTo>
                  <a:pt x="693" y="394"/>
                </a:moveTo>
                <a:lnTo>
                  <a:pt x="697" y="395"/>
                </a:lnTo>
                <a:lnTo>
                  <a:pt x="699" y="395"/>
                </a:lnTo>
                <a:lnTo>
                  <a:pt x="700" y="397"/>
                </a:lnTo>
                <a:lnTo>
                  <a:pt x="702" y="398"/>
                </a:lnTo>
                <a:lnTo>
                  <a:pt x="703" y="399"/>
                </a:lnTo>
                <a:lnTo>
                  <a:pt x="705" y="403"/>
                </a:lnTo>
                <a:lnTo>
                  <a:pt x="705" y="406"/>
                </a:lnTo>
                <a:lnTo>
                  <a:pt x="705" y="408"/>
                </a:lnTo>
                <a:lnTo>
                  <a:pt x="705" y="411"/>
                </a:lnTo>
                <a:lnTo>
                  <a:pt x="704" y="413"/>
                </a:lnTo>
                <a:lnTo>
                  <a:pt x="702" y="415"/>
                </a:lnTo>
                <a:lnTo>
                  <a:pt x="700" y="417"/>
                </a:lnTo>
                <a:lnTo>
                  <a:pt x="698" y="418"/>
                </a:lnTo>
                <a:lnTo>
                  <a:pt x="696" y="419"/>
                </a:lnTo>
                <a:lnTo>
                  <a:pt x="693" y="419"/>
                </a:lnTo>
                <a:lnTo>
                  <a:pt x="689" y="419"/>
                </a:lnTo>
                <a:lnTo>
                  <a:pt x="687" y="418"/>
                </a:lnTo>
                <a:lnTo>
                  <a:pt x="685" y="417"/>
                </a:lnTo>
                <a:lnTo>
                  <a:pt x="684" y="415"/>
                </a:lnTo>
                <a:lnTo>
                  <a:pt x="682" y="414"/>
                </a:lnTo>
                <a:lnTo>
                  <a:pt x="681" y="410"/>
                </a:lnTo>
                <a:lnTo>
                  <a:pt x="680" y="407"/>
                </a:lnTo>
                <a:lnTo>
                  <a:pt x="680" y="405"/>
                </a:lnTo>
                <a:lnTo>
                  <a:pt x="681" y="402"/>
                </a:lnTo>
                <a:lnTo>
                  <a:pt x="682" y="400"/>
                </a:lnTo>
                <a:lnTo>
                  <a:pt x="683" y="398"/>
                </a:lnTo>
                <a:lnTo>
                  <a:pt x="685" y="397"/>
                </a:lnTo>
                <a:lnTo>
                  <a:pt x="687" y="395"/>
                </a:lnTo>
                <a:lnTo>
                  <a:pt x="690" y="394"/>
                </a:lnTo>
                <a:lnTo>
                  <a:pt x="693" y="394"/>
                </a:lnTo>
                <a:close/>
                <a:moveTo>
                  <a:pt x="412" y="365"/>
                </a:moveTo>
                <a:lnTo>
                  <a:pt x="415" y="365"/>
                </a:lnTo>
                <a:lnTo>
                  <a:pt x="417" y="366"/>
                </a:lnTo>
                <a:lnTo>
                  <a:pt x="421" y="369"/>
                </a:lnTo>
                <a:lnTo>
                  <a:pt x="423" y="371"/>
                </a:lnTo>
                <a:lnTo>
                  <a:pt x="424" y="373"/>
                </a:lnTo>
                <a:lnTo>
                  <a:pt x="425" y="376"/>
                </a:lnTo>
                <a:lnTo>
                  <a:pt x="425" y="378"/>
                </a:lnTo>
                <a:lnTo>
                  <a:pt x="425" y="380"/>
                </a:lnTo>
                <a:lnTo>
                  <a:pt x="424" y="383"/>
                </a:lnTo>
                <a:lnTo>
                  <a:pt x="422" y="386"/>
                </a:lnTo>
                <a:lnTo>
                  <a:pt x="419" y="388"/>
                </a:lnTo>
                <a:lnTo>
                  <a:pt x="417" y="389"/>
                </a:lnTo>
                <a:lnTo>
                  <a:pt x="416" y="390"/>
                </a:lnTo>
                <a:lnTo>
                  <a:pt x="412" y="390"/>
                </a:lnTo>
                <a:lnTo>
                  <a:pt x="410" y="390"/>
                </a:lnTo>
                <a:lnTo>
                  <a:pt x="407" y="389"/>
                </a:lnTo>
                <a:lnTo>
                  <a:pt x="403" y="386"/>
                </a:lnTo>
                <a:lnTo>
                  <a:pt x="402" y="385"/>
                </a:lnTo>
                <a:lnTo>
                  <a:pt x="400" y="382"/>
                </a:lnTo>
                <a:lnTo>
                  <a:pt x="400" y="380"/>
                </a:lnTo>
                <a:lnTo>
                  <a:pt x="400" y="378"/>
                </a:lnTo>
                <a:lnTo>
                  <a:pt x="400" y="375"/>
                </a:lnTo>
                <a:lnTo>
                  <a:pt x="401" y="373"/>
                </a:lnTo>
                <a:lnTo>
                  <a:pt x="403" y="370"/>
                </a:lnTo>
                <a:lnTo>
                  <a:pt x="405" y="367"/>
                </a:lnTo>
                <a:lnTo>
                  <a:pt x="407" y="366"/>
                </a:lnTo>
                <a:lnTo>
                  <a:pt x="409" y="366"/>
                </a:lnTo>
                <a:lnTo>
                  <a:pt x="412" y="365"/>
                </a:lnTo>
                <a:close/>
                <a:moveTo>
                  <a:pt x="826" y="338"/>
                </a:moveTo>
                <a:lnTo>
                  <a:pt x="829" y="338"/>
                </a:lnTo>
                <a:lnTo>
                  <a:pt x="832" y="339"/>
                </a:lnTo>
                <a:lnTo>
                  <a:pt x="835" y="341"/>
                </a:lnTo>
                <a:lnTo>
                  <a:pt x="837" y="344"/>
                </a:lnTo>
                <a:lnTo>
                  <a:pt x="838" y="346"/>
                </a:lnTo>
                <a:lnTo>
                  <a:pt x="838" y="349"/>
                </a:lnTo>
                <a:lnTo>
                  <a:pt x="838" y="351"/>
                </a:lnTo>
                <a:lnTo>
                  <a:pt x="838" y="354"/>
                </a:lnTo>
                <a:lnTo>
                  <a:pt x="837" y="356"/>
                </a:lnTo>
                <a:lnTo>
                  <a:pt x="836" y="358"/>
                </a:lnTo>
                <a:lnTo>
                  <a:pt x="834" y="360"/>
                </a:lnTo>
                <a:lnTo>
                  <a:pt x="832" y="361"/>
                </a:lnTo>
                <a:lnTo>
                  <a:pt x="829" y="363"/>
                </a:lnTo>
                <a:lnTo>
                  <a:pt x="826" y="363"/>
                </a:lnTo>
                <a:lnTo>
                  <a:pt x="823" y="363"/>
                </a:lnTo>
                <a:lnTo>
                  <a:pt x="820" y="361"/>
                </a:lnTo>
                <a:lnTo>
                  <a:pt x="817" y="359"/>
                </a:lnTo>
                <a:lnTo>
                  <a:pt x="815" y="357"/>
                </a:lnTo>
                <a:lnTo>
                  <a:pt x="813" y="354"/>
                </a:lnTo>
                <a:lnTo>
                  <a:pt x="812" y="352"/>
                </a:lnTo>
                <a:lnTo>
                  <a:pt x="812" y="349"/>
                </a:lnTo>
                <a:lnTo>
                  <a:pt x="813" y="347"/>
                </a:lnTo>
                <a:lnTo>
                  <a:pt x="813" y="345"/>
                </a:lnTo>
                <a:lnTo>
                  <a:pt x="816" y="343"/>
                </a:lnTo>
                <a:lnTo>
                  <a:pt x="817" y="341"/>
                </a:lnTo>
                <a:lnTo>
                  <a:pt x="820" y="339"/>
                </a:lnTo>
                <a:lnTo>
                  <a:pt x="823" y="338"/>
                </a:lnTo>
                <a:lnTo>
                  <a:pt x="826" y="338"/>
                </a:lnTo>
                <a:close/>
                <a:moveTo>
                  <a:pt x="286" y="297"/>
                </a:moveTo>
                <a:lnTo>
                  <a:pt x="289" y="297"/>
                </a:lnTo>
                <a:lnTo>
                  <a:pt x="291" y="298"/>
                </a:lnTo>
                <a:lnTo>
                  <a:pt x="292" y="299"/>
                </a:lnTo>
                <a:lnTo>
                  <a:pt x="294" y="300"/>
                </a:lnTo>
                <a:lnTo>
                  <a:pt x="296" y="302"/>
                </a:lnTo>
                <a:lnTo>
                  <a:pt x="297" y="304"/>
                </a:lnTo>
                <a:lnTo>
                  <a:pt x="298" y="306"/>
                </a:lnTo>
                <a:lnTo>
                  <a:pt x="298" y="309"/>
                </a:lnTo>
                <a:lnTo>
                  <a:pt x="298" y="311"/>
                </a:lnTo>
                <a:lnTo>
                  <a:pt x="298" y="314"/>
                </a:lnTo>
                <a:lnTo>
                  <a:pt x="296" y="316"/>
                </a:lnTo>
                <a:lnTo>
                  <a:pt x="294" y="318"/>
                </a:lnTo>
                <a:lnTo>
                  <a:pt x="292" y="320"/>
                </a:lnTo>
                <a:lnTo>
                  <a:pt x="289" y="321"/>
                </a:lnTo>
                <a:lnTo>
                  <a:pt x="286" y="322"/>
                </a:lnTo>
                <a:lnTo>
                  <a:pt x="282" y="321"/>
                </a:lnTo>
                <a:lnTo>
                  <a:pt x="281" y="321"/>
                </a:lnTo>
                <a:lnTo>
                  <a:pt x="279" y="320"/>
                </a:lnTo>
                <a:lnTo>
                  <a:pt x="277" y="318"/>
                </a:lnTo>
                <a:lnTo>
                  <a:pt x="275" y="316"/>
                </a:lnTo>
                <a:lnTo>
                  <a:pt x="274" y="314"/>
                </a:lnTo>
                <a:lnTo>
                  <a:pt x="273" y="312"/>
                </a:lnTo>
                <a:lnTo>
                  <a:pt x="273" y="310"/>
                </a:lnTo>
                <a:lnTo>
                  <a:pt x="273" y="307"/>
                </a:lnTo>
                <a:lnTo>
                  <a:pt x="274" y="305"/>
                </a:lnTo>
                <a:lnTo>
                  <a:pt x="275" y="303"/>
                </a:lnTo>
                <a:lnTo>
                  <a:pt x="277" y="300"/>
                </a:lnTo>
                <a:lnTo>
                  <a:pt x="280" y="298"/>
                </a:lnTo>
                <a:lnTo>
                  <a:pt x="283" y="297"/>
                </a:lnTo>
                <a:lnTo>
                  <a:pt x="286" y="297"/>
                </a:lnTo>
                <a:close/>
                <a:moveTo>
                  <a:pt x="943" y="254"/>
                </a:moveTo>
                <a:lnTo>
                  <a:pt x="945" y="254"/>
                </a:lnTo>
                <a:lnTo>
                  <a:pt x="948" y="255"/>
                </a:lnTo>
                <a:lnTo>
                  <a:pt x="950" y="256"/>
                </a:lnTo>
                <a:lnTo>
                  <a:pt x="952" y="258"/>
                </a:lnTo>
                <a:lnTo>
                  <a:pt x="954" y="260"/>
                </a:lnTo>
                <a:lnTo>
                  <a:pt x="955" y="263"/>
                </a:lnTo>
                <a:lnTo>
                  <a:pt x="955" y="265"/>
                </a:lnTo>
                <a:lnTo>
                  <a:pt x="955" y="267"/>
                </a:lnTo>
                <a:lnTo>
                  <a:pt x="955" y="270"/>
                </a:lnTo>
                <a:lnTo>
                  <a:pt x="954" y="272"/>
                </a:lnTo>
                <a:lnTo>
                  <a:pt x="953" y="274"/>
                </a:lnTo>
                <a:lnTo>
                  <a:pt x="951" y="276"/>
                </a:lnTo>
                <a:lnTo>
                  <a:pt x="949" y="277"/>
                </a:lnTo>
                <a:lnTo>
                  <a:pt x="947" y="278"/>
                </a:lnTo>
                <a:lnTo>
                  <a:pt x="943" y="279"/>
                </a:lnTo>
                <a:lnTo>
                  <a:pt x="940" y="279"/>
                </a:lnTo>
                <a:lnTo>
                  <a:pt x="937" y="278"/>
                </a:lnTo>
                <a:lnTo>
                  <a:pt x="935" y="277"/>
                </a:lnTo>
                <a:lnTo>
                  <a:pt x="933" y="275"/>
                </a:lnTo>
                <a:lnTo>
                  <a:pt x="932" y="273"/>
                </a:lnTo>
                <a:lnTo>
                  <a:pt x="931" y="270"/>
                </a:lnTo>
                <a:lnTo>
                  <a:pt x="930" y="268"/>
                </a:lnTo>
                <a:lnTo>
                  <a:pt x="930" y="266"/>
                </a:lnTo>
                <a:lnTo>
                  <a:pt x="930" y="263"/>
                </a:lnTo>
                <a:lnTo>
                  <a:pt x="931" y="261"/>
                </a:lnTo>
                <a:lnTo>
                  <a:pt x="932" y="259"/>
                </a:lnTo>
                <a:lnTo>
                  <a:pt x="934" y="257"/>
                </a:lnTo>
                <a:lnTo>
                  <a:pt x="936" y="256"/>
                </a:lnTo>
                <a:lnTo>
                  <a:pt x="938" y="255"/>
                </a:lnTo>
                <a:lnTo>
                  <a:pt x="943" y="254"/>
                </a:lnTo>
                <a:close/>
                <a:moveTo>
                  <a:pt x="166" y="217"/>
                </a:moveTo>
                <a:lnTo>
                  <a:pt x="169" y="218"/>
                </a:lnTo>
                <a:lnTo>
                  <a:pt x="173" y="219"/>
                </a:lnTo>
                <a:lnTo>
                  <a:pt x="175" y="221"/>
                </a:lnTo>
                <a:lnTo>
                  <a:pt x="176" y="223"/>
                </a:lnTo>
                <a:lnTo>
                  <a:pt x="177" y="225"/>
                </a:lnTo>
                <a:lnTo>
                  <a:pt x="178" y="227"/>
                </a:lnTo>
                <a:lnTo>
                  <a:pt x="178" y="232"/>
                </a:lnTo>
                <a:lnTo>
                  <a:pt x="177" y="235"/>
                </a:lnTo>
                <a:lnTo>
                  <a:pt x="176" y="237"/>
                </a:lnTo>
                <a:lnTo>
                  <a:pt x="174" y="239"/>
                </a:lnTo>
                <a:lnTo>
                  <a:pt x="171" y="241"/>
                </a:lnTo>
                <a:lnTo>
                  <a:pt x="169" y="242"/>
                </a:lnTo>
                <a:lnTo>
                  <a:pt x="166" y="242"/>
                </a:lnTo>
                <a:lnTo>
                  <a:pt x="162" y="242"/>
                </a:lnTo>
                <a:lnTo>
                  <a:pt x="158" y="240"/>
                </a:lnTo>
                <a:lnTo>
                  <a:pt x="157" y="239"/>
                </a:lnTo>
                <a:lnTo>
                  <a:pt x="155" y="237"/>
                </a:lnTo>
                <a:lnTo>
                  <a:pt x="154" y="235"/>
                </a:lnTo>
                <a:lnTo>
                  <a:pt x="153" y="232"/>
                </a:lnTo>
                <a:lnTo>
                  <a:pt x="153" y="227"/>
                </a:lnTo>
                <a:lnTo>
                  <a:pt x="154" y="225"/>
                </a:lnTo>
                <a:lnTo>
                  <a:pt x="155" y="223"/>
                </a:lnTo>
                <a:lnTo>
                  <a:pt x="157" y="220"/>
                </a:lnTo>
                <a:lnTo>
                  <a:pt x="160" y="219"/>
                </a:lnTo>
                <a:lnTo>
                  <a:pt x="163" y="218"/>
                </a:lnTo>
                <a:lnTo>
                  <a:pt x="166" y="217"/>
                </a:lnTo>
                <a:close/>
                <a:moveTo>
                  <a:pt x="1044" y="151"/>
                </a:moveTo>
                <a:lnTo>
                  <a:pt x="1048" y="152"/>
                </a:lnTo>
                <a:lnTo>
                  <a:pt x="1050" y="153"/>
                </a:lnTo>
                <a:lnTo>
                  <a:pt x="1052" y="155"/>
                </a:lnTo>
                <a:lnTo>
                  <a:pt x="1054" y="156"/>
                </a:lnTo>
                <a:lnTo>
                  <a:pt x="1055" y="159"/>
                </a:lnTo>
                <a:lnTo>
                  <a:pt x="1056" y="161"/>
                </a:lnTo>
                <a:lnTo>
                  <a:pt x="1056" y="163"/>
                </a:lnTo>
                <a:lnTo>
                  <a:pt x="1056" y="166"/>
                </a:lnTo>
                <a:lnTo>
                  <a:pt x="1056" y="168"/>
                </a:lnTo>
                <a:lnTo>
                  <a:pt x="1055" y="170"/>
                </a:lnTo>
                <a:lnTo>
                  <a:pt x="1053" y="172"/>
                </a:lnTo>
                <a:lnTo>
                  <a:pt x="1051" y="174"/>
                </a:lnTo>
                <a:lnTo>
                  <a:pt x="1049" y="176"/>
                </a:lnTo>
                <a:lnTo>
                  <a:pt x="1046" y="176"/>
                </a:lnTo>
                <a:lnTo>
                  <a:pt x="1044" y="177"/>
                </a:lnTo>
                <a:lnTo>
                  <a:pt x="1039" y="176"/>
                </a:lnTo>
                <a:lnTo>
                  <a:pt x="1037" y="175"/>
                </a:lnTo>
                <a:lnTo>
                  <a:pt x="1035" y="174"/>
                </a:lnTo>
                <a:lnTo>
                  <a:pt x="1034" y="172"/>
                </a:lnTo>
                <a:lnTo>
                  <a:pt x="1032" y="170"/>
                </a:lnTo>
                <a:lnTo>
                  <a:pt x="1031" y="167"/>
                </a:lnTo>
                <a:lnTo>
                  <a:pt x="1031" y="165"/>
                </a:lnTo>
                <a:lnTo>
                  <a:pt x="1031" y="163"/>
                </a:lnTo>
                <a:lnTo>
                  <a:pt x="1032" y="160"/>
                </a:lnTo>
                <a:lnTo>
                  <a:pt x="1033" y="158"/>
                </a:lnTo>
                <a:lnTo>
                  <a:pt x="1034" y="156"/>
                </a:lnTo>
                <a:lnTo>
                  <a:pt x="1036" y="154"/>
                </a:lnTo>
                <a:lnTo>
                  <a:pt x="1039" y="153"/>
                </a:lnTo>
                <a:lnTo>
                  <a:pt x="1041" y="152"/>
                </a:lnTo>
                <a:lnTo>
                  <a:pt x="1044" y="151"/>
                </a:lnTo>
                <a:close/>
                <a:moveTo>
                  <a:pt x="44" y="140"/>
                </a:moveTo>
                <a:lnTo>
                  <a:pt x="47" y="140"/>
                </a:lnTo>
                <a:lnTo>
                  <a:pt x="50" y="142"/>
                </a:lnTo>
                <a:lnTo>
                  <a:pt x="52" y="143"/>
                </a:lnTo>
                <a:lnTo>
                  <a:pt x="54" y="145"/>
                </a:lnTo>
                <a:lnTo>
                  <a:pt x="55" y="147"/>
                </a:lnTo>
                <a:lnTo>
                  <a:pt x="56" y="149"/>
                </a:lnTo>
                <a:lnTo>
                  <a:pt x="56" y="152"/>
                </a:lnTo>
                <a:lnTo>
                  <a:pt x="56" y="154"/>
                </a:lnTo>
                <a:lnTo>
                  <a:pt x="56" y="157"/>
                </a:lnTo>
                <a:lnTo>
                  <a:pt x="55" y="159"/>
                </a:lnTo>
                <a:lnTo>
                  <a:pt x="53" y="162"/>
                </a:lnTo>
                <a:lnTo>
                  <a:pt x="50" y="164"/>
                </a:lnTo>
                <a:lnTo>
                  <a:pt x="47" y="165"/>
                </a:lnTo>
                <a:lnTo>
                  <a:pt x="44" y="165"/>
                </a:lnTo>
                <a:lnTo>
                  <a:pt x="41" y="165"/>
                </a:lnTo>
                <a:lnTo>
                  <a:pt x="38" y="164"/>
                </a:lnTo>
                <a:lnTo>
                  <a:pt x="36" y="162"/>
                </a:lnTo>
                <a:lnTo>
                  <a:pt x="34" y="160"/>
                </a:lnTo>
                <a:lnTo>
                  <a:pt x="33" y="158"/>
                </a:lnTo>
                <a:lnTo>
                  <a:pt x="32" y="156"/>
                </a:lnTo>
                <a:lnTo>
                  <a:pt x="31" y="153"/>
                </a:lnTo>
                <a:lnTo>
                  <a:pt x="31" y="151"/>
                </a:lnTo>
                <a:lnTo>
                  <a:pt x="32" y="149"/>
                </a:lnTo>
                <a:lnTo>
                  <a:pt x="33" y="146"/>
                </a:lnTo>
                <a:lnTo>
                  <a:pt x="35" y="144"/>
                </a:lnTo>
                <a:lnTo>
                  <a:pt x="38" y="142"/>
                </a:lnTo>
                <a:lnTo>
                  <a:pt x="41" y="140"/>
                </a:lnTo>
                <a:lnTo>
                  <a:pt x="44" y="140"/>
                </a:lnTo>
                <a:close/>
                <a:moveTo>
                  <a:pt x="1134" y="39"/>
                </a:moveTo>
                <a:lnTo>
                  <a:pt x="1138" y="40"/>
                </a:lnTo>
                <a:lnTo>
                  <a:pt x="1140" y="41"/>
                </a:lnTo>
                <a:lnTo>
                  <a:pt x="1142" y="42"/>
                </a:lnTo>
                <a:lnTo>
                  <a:pt x="1144" y="44"/>
                </a:lnTo>
                <a:lnTo>
                  <a:pt x="1145" y="46"/>
                </a:lnTo>
                <a:lnTo>
                  <a:pt x="1147" y="50"/>
                </a:lnTo>
                <a:lnTo>
                  <a:pt x="1147" y="53"/>
                </a:lnTo>
                <a:lnTo>
                  <a:pt x="1146" y="55"/>
                </a:lnTo>
                <a:lnTo>
                  <a:pt x="1144" y="60"/>
                </a:lnTo>
                <a:lnTo>
                  <a:pt x="1142" y="62"/>
                </a:lnTo>
                <a:lnTo>
                  <a:pt x="1141" y="63"/>
                </a:lnTo>
                <a:lnTo>
                  <a:pt x="1140" y="63"/>
                </a:lnTo>
                <a:lnTo>
                  <a:pt x="1137" y="64"/>
                </a:lnTo>
                <a:lnTo>
                  <a:pt x="1134" y="65"/>
                </a:lnTo>
                <a:lnTo>
                  <a:pt x="1130" y="64"/>
                </a:lnTo>
                <a:lnTo>
                  <a:pt x="1128" y="63"/>
                </a:lnTo>
                <a:lnTo>
                  <a:pt x="1126" y="62"/>
                </a:lnTo>
                <a:lnTo>
                  <a:pt x="1125" y="60"/>
                </a:lnTo>
                <a:lnTo>
                  <a:pt x="1123" y="58"/>
                </a:lnTo>
                <a:lnTo>
                  <a:pt x="1122" y="54"/>
                </a:lnTo>
                <a:lnTo>
                  <a:pt x="1121" y="51"/>
                </a:lnTo>
                <a:lnTo>
                  <a:pt x="1122" y="49"/>
                </a:lnTo>
                <a:lnTo>
                  <a:pt x="1124" y="44"/>
                </a:lnTo>
                <a:lnTo>
                  <a:pt x="1126" y="42"/>
                </a:lnTo>
                <a:lnTo>
                  <a:pt x="1127" y="41"/>
                </a:lnTo>
                <a:lnTo>
                  <a:pt x="1129" y="41"/>
                </a:lnTo>
                <a:lnTo>
                  <a:pt x="1131" y="40"/>
                </a:lnTo>
                <a:lnTo>
                  <a:pt x="1134" y="39"/>
                </a:lnTo>
                <a:close/>
                <a:moveTo>
                  <a:pt x="596" y="860"/>
                </a:moveTo>
                <a:lnTo>
                  <a:pt x="597" y="860"/>
                </a:lnTo>
                <a:lnTo>
                  <a:pt x="599" y="861"/>
                </a:lnTo>
                <a:lnTo>
                  <a:pt x="602" y="862"/>
                </a:lnTo>
                <a:lnTo>
                  <a:pt x="604" y="863"/>
                </a:lnTo>
                <a:lnTo>
                  <a:pt x="605" y="865"/>
                </a:lnTo>
                <a:lnTo>
                  <a:pt x="607" y="867"/>
                </a:lnTo>
                <a:lnTo>
                  <a:pt x="608" y="869"/>
                </a:lnTo>
                <a:lnTo>
                  <a:pt x="608" y="871"/>
                </a:lnTo>
                <a:lnTo>
                  <a:pt x="608" y="874"/>
                </a:lnTo>
                <a:lnTo>
                  <a:pt x="607" y="878"/>
                </a:lnTo>
                <a:lnTo>
                  <a:pt x="604" y="882"/>
                </a:lnTo>
                <a:lnTo>
                  <a:pt x="602" y="883"/>
                </a:lnTo>
                <a:lnTo>
                  <a:pt x="600" y="884"/>
                </a:lnTo>
                <a:lnTo>
                  <a:pt x="596" y="885"/>
                </a:lnTo>
                <a:lnTo>
                  <a:pt x="594" y="885"/>
                </a:lnTo>
                <a:lnTo>
                  <a:pt x="592" y="884"/>
                </a:lnTo>
                <a:lnTo>
                  <a:pt x="589" y="883"/>
                </a:lnTo>
                <a:lnTo>
                  <a:pt x="587" y="882"/>
                </a:lnTo>
                <a:lnTo>
                  <a:pt x="586" y="880"/>
                </a:lnTo>
                <a:lnTo>
                  <a:pt x="585" y="878"/>
                </a:lnTo>
                <a:lnTo>
                  <a:pt x="584" y="876"/>
                </a:lnTo>
                <a:lnTo>
                  <a:pt x="583" y="873"/>
                </a:lnTo>
                <a:lnTo>
                  <a:pt x="583" y="871"/>
                </a:lnTo>
                <a:lnTo>
                  <a:pt x="585" y="867"/>
                </a:lnTo>
                <a:lnTo>
                  <a:pt x="587" y="863"/>
                </a:lnTo>
                <a:lnTo>
                  <a:pt x="589" y="862"/>
                </a:lnTo>
                <a:lnTo>
                  <a:pt x="591" y="861"/>
                </a:lnTo>
                <a:lnTo>
                  <a:pt x="596" y="860"/>
                </a:lnTo>
                <a:close/>
                <a:moveTo>
                  <a:pt x="738" y="850"/>
                </a:moveTo>
                <a:lnTo>
                  <a:pt x="742" y="850"/>
                </a:lnTo>
                <a:lnTo>
                  <a:pt x="744" y="851"/>
                </a:lnTo>
                <a:lnTo>
                  <a:pt x="746" y="852"/>
                </a:lnTo>
                <a:lnTo>
                  <a:pt x="747" y="854"/>
                </a:lnTo>
                <a:lnTo>
                  <a:pt x="749" y="855"/>
                </a:lnTo>
                <a:lnTo>
                  <a:pt x="750" y="859"/>
                </a:lnTo>
                <a:lnTo>
                  <a:pt x="751" y="861"/>
                </a:lnTo>
                <a:lnTo>
                  <a:pt x="751" y="864"/>
                </a:lnTo>
                <a:lnTo>
                  <a:pt x="750" y="866"/>
                </a:lnTo>
                <a:lnTo>
                  <a:pt x="749" y="868"/>
                </a:lnTo>
                <a:lnTo>
                  <a:pt x="748" y="870"/>
                </a:lnTo>
                <a:lnTo>
                  <a:pt x="746" y="872"/>
                </a:lnTo>
                <a:lnTo>
                  <a:pt x="744" y="873"/>
                </a:lnTo>
                <a:lnTo>
                  <a:pt x="741" y="874"/>
                </a:lnTo>
                <a:lnTo>
                  <a:pt x="738" y="875"/>
                </a:lnTo>
                <a:lnTo>
                  <a:pt x="734" y="874"/>
                </a:lnTo>
                <a:lnTo>
                  <a:pt x="732" y="873"/>
                </a:lnTo>
                <a:lnTo>
                  <a:pt x="731" y="872"/>
                </a:lnTo>
                <a:lnTo>
                  <a:pt x="729" y="871"/>
                </a:lnTo>
                <a:lnTo>
                  <a:pt x="728" y="869"/>
                </a:lnTo>
                <a:lnTo>
                  <a:pt x="726" y="865"/>
                </a:lnTo>
                <a:lnTo>
                  <a:pt x="726" y="863"/>
                </a:lnTo>
                <a:lnTo>
                  <a:pt x="726" y="860"/>
                </a:lnTo>
                <a:lnTo>
                  <a:pt x="727" y="858"/>
                </a:lnTo>
                <a:lnTo>
                  <a:pt x="728" y="856"/>
                </a:lnTo>
                <a:lnTo>
                  <a:pt x="729" y="854"/>
                </a:lnTo>
                <a:lnTo>
                  <a:pt x="731" y="852"/>
                </a:lnTo>
                <a:lnTo>
                  <a:pt x="733" y="851"/>
                </a:lnTo>
                <a:lnTo>
                  <a:pt x="735" y="850"/>
                </a:lnTo>
                <a:lnTo>
                  <a:pt x="738" y="850"/>
                </a:lnTo>
                <a:close/>
                <a:moveTo>
                  <a:pt x="458" y="821"/>
                </a:moveTo>
                <a:lnTo>
                  <a:pt x="460" y="821"/>
                </a:lnTo>
                <a:lnTo>
                  <a:pt x="463" y="822"/>
                </a:lnTo>
                <a:lnTo>
                  <a:pt x="467" y="825"/>
                </a:lnTo>
                <a:lnTo>
                  <a:pt x="468" y="827"/>
                </a:lnTo>
                <a:lnTo>
                  <a:pt x="469" y="829"/>
                </a:lnTo>
                <a:lnTo>
                  <a:pt x="470" y="831"/>
                </a:lnTo>
                <a:lnTo>
                  <a:pt x="470" y="834"/>
                </a:lnTo>
                <a:lnTo>
                  <a:pt x="470" y="836"/>
                </a:lnTo>
                <a:lnTo>
                  <a:pt x="469" y="838"/>
                </a:lnTo>
                <a:lnTo>
                  <a:pt x="467" y="842"/>
                </a:lnTo>
                <a:lnTo>
                  <a:pt x="466" y="843"/>
                </a:lnTo>
                <a:lnTo>
                  <a:pt x="464" y="844"/>
                </a:lnTo>
                <a:lnTo>
                  <a:pt x="463" y="845"/>
                </a:lnTo>
                <a:lnTo>
                  <a:pt x="461" y="845"/>
                </a:lnTo>
                <a:lnTo>
                  <a:pt x="458" y="846"/>
                </a:lnTo>
                <a:lnTo>
                  <a:pt x="455" y="846"/>
                </a:lnTo>
                <a:lnTo>
                  <a:pt x="453" y="845"/>
                </a:lnTo>
                <a:lnTo>
                  <a:pt x="449" y="842"/>
                </a:lnTo>
                <a:lnTo>
                  <a:pt x="447" y="840"/>
                </a:lnTo>
                <a:lnTo>
                  <a:pt x="446" y="838"/>
                </a:lnTo>
                <a:lnTo>
                  <a:pt x="445" y="836"/>
                </a:lnTo>
                <a:lnTo>
                  <a:pt x="445" y="833"/>
                </a:lnTo>
                <a:lnTo>
                  <a:pt x="446" y="831"/>
                </a:lnTo>
                <a:lnTo>
                  <a:pt x="446" y="828"/>
                </a:lnTo>
                <a:lnTo>
                  <a:pt x="448" y="825"/>
                </a:lnTo>
                <a:lnTo>
                  <a:pt x="450" y="824"/>
                </a:lnTo>
                <a:lnTo>
                  <a:pt x="451" y="823"/>
                </a:lnTo>
                <a:lnTo>
                  <a:pt x="453" y="822"/>
                </a:lnTo>
                <a:lnTo>
                  <a:pt x="454" y="821"/>
                </a:lnTo>
                <a:lnTo>
                  <a:pt x="458" y="821"/>
                </a:lnTo>
                <a:close/>
                <a:moveTo>
                  <a:pt x="871" y="793"/>
                </a:moveTo>
                <a:lnTo>
                  <a:pt x="875" y="794"/>
                </a:lnTo>
                <a:lnTo>
                  <a:pt x="878" y="795"/>
                </a:lnTo>
                <a:lnTo>
                  <a:pt x="880" y="797"/>
                </a:lnTo>
                <a:lnTo>
                  <a:pt x="882" y="800"/>
                </a:lnTo>
                <a:lnTo>
                  <a:pt x="883" y="802"/>
                </a:lnTo>
                <a:lnTo>
                  <a:pt x="884" y="804"/>
                </a:lnTo>
                <a:lnTo>
                  <a:pt x="884" y="807"/>
                </a:lnTo>
                <a:lnTo>
                  <a:pt x="883" y="809"/>
                </a:lnTo>
                <a:lnTo>
                  <a:pt x="883" y="811"/>
                </a:lnTo>
                <a:lnTo>
                  <a:pt x="881" y="813"/>
                </a:lnTo>
                <a:lnTo>
                  <a:pt x="880" y="815"/>
                </a:lnTo>
                <a:lnTo>
                  <a:pt x="878" y="817"/>
                </a:lnTo>
                <a:lnTo>
                  <a:pt x="875" y="818"/>
                </a:lnTo>
                <a:lnTo>
                  <a:pt x="871" y="818"/>
                </a:lnTo>
                <a:lnTo>
                  <a:pt x="868" y="818"/>
                </a:lnTo>
                <a:lnTo>
                  <a:pt x="865" y="817"/>
                </a:lnTo>
                <a:lnTo>
                  <a:pt x="863" y="815"/>
                </a:lnTo>
                <a:lnTo>
                  <a:pt x="861" y="812"/>
                </a:lnTo>
                <a:lnTo>
                  <a:pt x="860" y="810"/>
                </a:lnTo>
                <a:lnTo>
                  <a:pt x="859" y="807"/>
                </a:lnTo>
                <a:lnTo>
                  <a:pt x="859" y="805"/>
                </a:lnTo>
                <a:lnTo>
                  <a:pt x="859" y="803"/>
                </a:lnTo>
                <a:lnTo>
                  <a:pt x="861" y="798"/>
                </a:lnTo>
                <a:lnTo>
                  <a:pt x="863" y="797"/>
                </a:lnTo>
                <a:lnTo>
                  <a:pt x="865" y="795"/>
                </a:lnTo>
                <a:lnTo>
                  <a:pt x="868" y="794"/>
                </a:lnTo>
                <a:lnTo>
                  <a:pt x="871" y="793"/>
                </a:lnTo>
                <a:close/>
                <a:moveTo>
                  <a:pt x="331" y="752"/>
                </a:moveTo>
                <a:lnTo>
                  <a:pt x="335" y="753"/>
                </a:lnTo>
                <a:lnTo>
                  <a:pt x="338" y="754"/>
                </a:lnTo>
                <a:lnTo>
                  <a:pt x="340" y="756"/>
                </a:lnTo>
                <a:lnTo>
                  <a:pt x="341" y="758"/>
                </a:lnTo>
                <a:lnTo>
                  <a:pt x="343" y="760"/>
                </a:lnTo>
                <a:lnTo>
                  <a:pt x="343" y="762"/>
                </a:lnTo>
                <a:lnTo>
                  <a:pt x="344" y="764"/>
                </a:lnTo>
                <a:lnTo>
                  <a:pt x="344" y="767"/>
                </a:lnTo>
                <a:lnTo>
                  <a:pt x="343" y="769"/>
                </a:lnTo>
                <a:lnTo>
                  <a:pt x="342" y="771"/>
                </a:lnTo>
                <a:lnTo>
                  <a:pt x="340" y="774"/>
                </a:lnTo>
                <a:lnTo>
                  <a:pt x="337" y="776"/>
                </a:lnTo>
                <a:lnTo>
                  <a:pt x="334" y="777"/>
                </a:lnTo>
                <a:lnTo>
                  <a:pt x="331" y="777"/>
                </a:lnTo>
                <a:lnTo>
                  <a:pt x="328" y="777"/>
                </a:lnTo>
                <a:lnTo>
                  <a:pt x="325" y="775"/>
                </a:lnTo>
                <a:lnTo>
                  <a:pt x="323" y="774"/>
                </a:lnTo>
                <a:lnTo>
                  <a:pt x="321" y="772"/>
                </a:lnTo>
                <a:lnTo>
                  <a:pt x="320" y="770"/>
                </a:lnTo>
                <a:lnTo>
                  <a:pt x="319" y="768"/>
                </a:lnTo>
                <a:lnTo>
                  <a:pt x="319" y="765"/>
                </a:lnTo>
                <a:lnTo>
                  <a:pt x="319" y="763"/>
                </a:lnTo>
                <a:lnTo>
                  <a:pt x="320" y="760"/>
                </a:lnTo>
                <a:lnTo>
                  <a:pt x="321" y="758"/>
                </a:lnTo>
                <a:lnTo>
                  <a:pt x="323" y="756"/>
                </a:lnTo>
                <a:lnTo>
                  <a:pt x="325" y="754"/>
                </a:lnTo>
                <a:lnTo>
                  <a:pt x="328" y="753"/>
                </a:lnTo>
                <a:lnTo>
                  <a:pt x="331" y="752"/>
                </a:lnTo>
                <a:close/>
                <a:moveTo>
                  <a:pt x="988" y="710"/>
                </a:moveTo>
                <a:lnTo>
                  <a:pt x="991" y="710"/>
                </a:lnTo>
                <a:lnTo>
                  <a:pt x="993" y="711"/>
                </a:lnTo>
                <a:lnTo>
                  <a:pt x="995" y="712"/>
                </a:lnTo>
                <a:lnTo>
                  <a:pt x="997" y="714"/>
                </a:lnTo>
                <a:lnTo>
                  <a:pt x="999" y="716"/>
                </a:lnTo>
                <a:lnTo>
                  <a:pt x="1000" y="718"/>
                </a:lnTo>
                <a:lnTo>
                  <a:pt x="1000" y="720"/>
                </a:lnTo>
                <a:lnTo>
                  <a:pt x="1000" y="723"/>
                </a:lnTo>
                <a:lnTo>
                  <a:pt x="1000" y="725"/>
                </a:lnTo>
                <a:lnTo>
                  <a:pt x="999" y="727"/>
                </a:lnTo>
                <a:lnTo>
                  <a:pt x="998" y="730"/>
                </a:lnTo>
                <a:lnTo>
                  <a:pt x="996" y="731"/>
                </a:lnTo>
                <a:lnTo>
                  <a:pt x="994" y="733"/>
                </a:lnTo>
                <a:lnTo>
                  <a:pt x="992" y="734"/>
                </a:lnTo>
                <a:lnTo>
                  <a:pt x="988" y="734"/>
                </a:lnTo>
                <a:lnTo>
                  <a:pt x="985" y="734"/>
                </a:lnTo>
                <a:lnTo>
                  <a:pt x="983" y="733"/>
                </a:lnTo>
                <a:lnTo>
                  <a:pt x="981" y="732"/>
                </a:lnTo>
                <a:lnTo>
                  <a:pt x="979" y="730"/>
                </a:lnTo>
                <a:lnTo>
                  <a:pt x="977" y="728"/>
                </a:lnTo>
                <a:lnTo>
                  <a:pt x="976" y="726"/>
                </a:lnTo>
                <a:lnTo>
                  <a:pt x="976" y="724"/>
                </a:lnTo>
                <a:lnTo>
                  <a:pt x="976" y="721"/>
                </a:lnTo>
                <a:lnTo>
                  <a:pt x="976" y="719"/>
                </a:lnTo>
                <a:lnTo>
                  <a:pt x="977" y="717"/>
                </a:lnTo>
                <a:lnTo>
                  <a:pt x="978" y="714"/>
                </a:lnTo>
                <a:lnTo>
                  <a:pt x="980" y="713"/>
                </a:lnTo>
                <a:lnTo>
                  <a:pt x="982" y="711"/>
                </a:lnTo>
                <a:lnTo>
                  <a:pt x="984" y="710"/>
                </a:lnTo>
                <a:lnTo>
                  <a:pt x="988" y="710"/>
                </a:lnTo>
                <a:close/>
                <a:moveTo>
                  <a:pt x="211" y="673"/>
                </a:moveTo>
                <a:lnTo>
                  <a:pt x="215" y="673"/>
                </a:lnTo>
                <a:lnTo>
                  <a:pt x="216" y="674"/>
                </a:lnTo>
                <a:lnTo>
                  <a:pt x="218" y="675"/>
                </a:lnTo>
                <a:lnTo>
                  <a:pt x="220" y="677"/>
                </a:lnTo>
                <a:lnTo>
                  <a:pt x="221" y="679"/>
                </a:lnTo>
                <a:lnTo>
                  <a:pt x="223" y="681"/>
                </a:lnTo>
                <a:lnTo>
                  <a:pt x="223" y="683"/>
                </a:lnTo>
                <a:lnTo>
                  <a:pt x="223" y="688"/>
                </a:lnTo>
                <a:lnTo>
                  <a:pt x="223" y="690"/>
                </a:lnTo>
                <a:lnTo>
                  <a:pt x="221" y="692"/>
                </a:lnTo>
                <a:lnTo>
                  <a:pt x="220" y="694"/>
                </a:lnTo>
                <a:lnTo>
                  <a:pt x="219" y="695"/>
                </a:lnTo>
                <a:lnTo>
                  <a:pt x="217" y="696"/>
                </a:lnTo>
                <a:lnTo>
                  <a:pt x="214" y="697"/>
                </a:lnTo>
                <a:lnTo>
                  <a:pt x="211" y="698"/>
                </a:lnTo>
                <a:lnTo>
                  <a:pt x="207" y="697"/>
                </a:lnTo>
                <a:lnTo>
                  <a:pt x="206" y="697"/>
                </a:lnTo>
                <a:lnTo>
                  <a:pt x="204" y="696"/>
                </a:lnTo>
                <a:lnTo>
                  <a:pt x="202" y="694"/>
                </a:lnTo>
                <a:lnTo>
                  <a:pt x="201" y="692"/>
                </a:lnTo>
                <a:lnTo>
                  <a:pt x="199" y="690"/>
                </a:lnTo>
                <a:lnTo>
                  <a:pt x="199" y="688"/>
                </a:lnTo>
                <a:lnTo>
                  <a:pt x="199" y="683"/>
                </a:lnTo>
                <a:lnTo>
                  <a:pt x="200" y="681"/>
                </a:lnTo>
                <a:lnTo>
                  <a:pt x="201" y="678"/>
                </a:lnTo>
                <a:lnTo>
                  <a:pt x="202" y="677"/>
                </a:lnTo>
                <a:lnTo>
                  <a:pt x="203" y="676"/>
                </a:lnTo>
                <a:lnTo>
                  <a:pt x="205" y="674"/>
                </a:lnTo>
                <a:lnTo>
                  <a:pt x="208" y="673"/>
                </a:lnTo>
                <a:lnTo>
                  <a:pt x="211" y="673"/>
                </a:lnTo>
                <a:close/>
                <a:moveTo>
                  <a:pt x="1089" y="607"/>
                </a:moveTo>
                <a:lnTo>
                  <a:pt x="1094" y="608"/>
                </a:lnTo>
                <a:lnTo>
                  <a:pt x="1096" y="609"/>
                </a:lnTo>
                <a:lnTo>
                  <a:pt x="1097" y="610"/>
                </a:lnTo>
                <a:lnTo>
                  <a:pt x="1099" y="612"/>
                </a:lnTo>
                <a:lnTo>
                  <a:pt x="1100" y="614"/>
                </a:lnTo>
                <a:lnTo>
                  <a:pt x="1101" y="616"/>
                </a:lnTo>
                <a:lnTo>
                  <a:pt x="1102" y="619"/>
                </a:lnTo>
                <a:lnTo>
                  <a:pt x="1102" y="621"/>
                </a:lnTo>
                <a:lnTo>
                  <a:pt x="1101" y="624"/>
                </a:lnTo>
                <a:lnTo>
                  <a:pt x="1100" y="626"/>
                </a:lnTo>
                <a:lnTo>
                  <a:pt x="1099" y="628"/>
                </a:lnTo>
                <a:lnTo>
                  <a:pt x="1097" y="630"/>
                </a:lnTo>
                <a:lnTo>
                  <a:pt x="1094" y="631"/>
                </a:lnTo>
                <a:lnTo>
                  <a:pt x="1092" y="632"/>
                </a:lnTo>
                <a:lnTo>
                  <a:pt x="1089" y="632"/>
                </a:lnTo>
                <a:lnTo>
                  <a:pt x="1085" y="631"/>
                </a:lnTo>
                <a:lnTo>
                  <a:pt x="1083" y="630"/>
                </a:lnTo>
                <a:lnTo>
                  <a:pt x="1081" y="629"/>
                </a:lnTo>
                <a:lnTo>
                  <a:pt x="1079" y="627"/>
                </a:lnTo>
                <a:lnTo>
                  <a:pt x="1078" y="625"/>
                </a:lnTo>
                <a:lnTo>
                  <a:pt x="1077" y="623"/>
                </a:lnTo>
                <a:lnTo>
                  <a:pt x="1077" y="621"/>
                </a:lnTo>
                <a:lnTo>
                  <a:pt x="1077" y="618"/>
                </a:lnTo>
                <a:lnTo>
                  <a:pt x="1077" y="616"/>
                </a:lnTo>
                <a:lnTo>
                  <a:pt x="1078" y="614"/>
                </a:lnTo>
                <a:lnTo>
                  <a:pt x="1080" y="611"/>
                </a:lnTo>
                <a:lnTo>
                  <a:pt x="1082" y="610"/>
                </a:lnTo>
                <a:lnTo>
                  <a:pt x="1084" y="608"/>
                </a:lnTo>
                <a:lnTo>
                  <a:pt x="1087" y="607"/>
                </a:lnTo>
                <a:lnTo>
                  <a:pt x="1089" y="607"/>
                </a:lnTo>
                <a:close/>
                <a:moveTo>
                  <a:pt x="89" y="596"/>
                </a:moveTo>
                <a:lnTo>
                  <a:pt x="93" y="596"/>
                </a:lnTo>
                <a:lnTo>
                  <a:pt x="96" y="597"/>
                </a:lnTo>
                <a:lnTo>
                  <a:pt x="98" y="599"/>
                </a:lnTo>
                <a:lnTo>
                  <a:pt x="99" y="601"/>
                </a:lnTo>
                <a:lnTo>
                  <a:pt x="101" y="603"/>
                </a:lnTo>
                <a:lnTo>
                  <a:pt x="101" y="605"/>
                </a:lnTo>
                <a:lnTo>
                  <a:pt x="102" y="607"/>
                </a:lnTo>
                <a:lnTo>
                  <a:pt x="102" y="610"/>
                </a:lnTo>
                <a:lnTo>
                  <a:pt x="100" y="614"/>
                </a:lnTo>
                <a:lnTo>
                  <a:pt x="98" y="617"/>
                </a:lnTo>
                <a:lnTo>
                  <a:pt x="96" y="619"/>
                </a:lnTo>
                <a:lnTo>
                  <a:pt x="93" y="620"/>
                </a:lnTo>
                <a:lnTo>
                  <a:pt x="89" y="621"/>
                </a:lnTo>
                <a:lnTo>
                  <a:pt x="86" y="620"/>
                </a:lnTo>
                <a:lnTo>
                  <a:pt x="83" y="619"/>
                </a:lnTo>
                <a:lnTo>
                  <a:pt x="81" y="617"/>
                </a:lnTo>
                <a:lnTo>
                  <a:pt x="79" y="616"/>
                </a:lnTo>
                <a:lnTo>
                  <a:pt x="78" y="614"/>
                </a:lnTo>
                <a:lnTo>
                  <a:pt x="77" y="611"/>
                </a:lnTo>
                <a:lnTo>
                  <a:pt x="77" y="609"/>
                </a:lnTo>
                <a:lnTo>
                  <a:pt x="77" y="607"/>
                </a:lnTo>
                <a:lnTo>
                  <a:pt x="79" y="602"/>
                </a:lnTo>
                <a:lnTo>
                  <a:pt x="81" y="599"/>
                </a:lnTo>
                <a:lnTo>
                  <a:pt x="83" y="597"/>
                </a:lnTo>
                <a:lnTo>
                  <a:pt x="86" y="596"/>
                </a:lnTo>
                <a:lnTo>
                  <a:pt x="89" y="596"/>
                </a:lnTo>
                <a:close/>
                <a:moveTo>
                  <a:pt x="1180" y="494"/>
                </a:moveTo>
                <a:lnTo>
                  <a:pt x="1184" y="495"/>
                </a:lnTo>
                <a:lnTo>
                  <a:pt x="1185" y="495"/>
                </a:lnTo>
                <a:lnTo>
                  <a:pt x="1187" y="497"/>
                </a:lnTo>
                <a:lnTo>
                  <a:pt x="1189" y="498"/>
                </a:lnTo>
                <a:lnTo>
                  <a:pt x="1190" y="500"/>
                </a:lnTo>
                <a:lnTo>
                  <a:pt x="1192" y="505"/>
                </a:lnTo>
                <a:lnTo>
                  <a:pt x="1192" y="507"/>
                </a:lnTo>
                <a:lnTo>
                  <a:pt x="1192" y="510"/>
                </a:lnTo>
                <a:lnTo>
                  <a:pt x="1189" y="514"/>
                </a:lnTo>
                <a:lnTo>
                  <a:pt x="1187" y="516"/>
                </a:lnTo>
                <a:lnTo>
                  <a:pt x="1185" y="518"/>
                </a:lnTo>
                <a:lnTo>
                  <a:pt x="1182" y="519"/>
                </a:lnTo>
                <a:lnTo>
                  <a:pt x="1180" y="519"/>
                </a:lnTo>
                <a:lnTo>
                  <a:pt x="1176" y="518"/>
                </a:lnTo>
                <a:lnTo>
                  <a:pt x="1174" y="518"/>
                </a:lnTo>
                <a:lnTo>
                  <a:pt x="1172" y="516"/>
                </a:lnTo>
                <a:lnTo>
                  <a:pt x="1170" y="515"/>
                </a:lnTo>
                <a:lnTo>
                  <a:pt x="1169" y="513"/>
                </a:lnTo>
                <a:lnTo>
                  <a:pt x="1167" y="508"/>
                </a:lnTo>
                <a:lnTo>
                  <a:pt x="1167" y="506"/>
                </a:lnTo>
                <a:lnTo>
                  <a:pt x="1168" y="503"/>
                </a:lnTo>
                <a:lnTo>
                  <a:pt x="1170" y="499"/>
                </a:lnTo>
                <a:lnTo>
                  <a:pt x="1172" y="497"/>
                </a:lnTo>
                <a:lnTo>
                  <a:pt x="1174" y="495"/>
                </a:lnTo>
                <a:lnTo>
                  <a:pt x="1177" y="494"/>
                </a:lnTo>
                <a:lnTo>
                  <a:pt x="1180" y="494"/>
                </a:lnTo>
                <a:close/>
                <a:moveTo>
                  <a:pt x="1270" y="382"/>
                </a:moveTo>
                <a:lnTo>
                  <a:pt x="1274" y="382"/>
                </a:lnTo>
                <a:lnTo>
                  <a:pt x="1276" y="383"/>
                </a:lnTo>
                <a:lnTo>
                  <a:pt x="1278" y="385"/>
                </a:lnTo>
                <a:lnTo>
                  <a:pt x="1280" y="387"/>
                </a:lnTo>
                <a:lnTo>
                  <a:pt x="1281" y="389"/>
                </a:lnTo>
                <a:lnTo>
                  <a:pt x="1282" y="391"/>
                </a:lnTo>
                <a:lnTo>
                  <a:pt x="1282" y="393"/>
                </a:lnTo>
                <a:lnTo>
                  <a:pt x="1282" y="396"/>
                </a:lnTo>
                <a:lnTo>
                  <a:pt x="1281" y="398"/>
                </a:lnTo>
                <a:lnTo>
                  <a:pt x="1280" y="400"/>
                </a:lnTo>
                <a:lnTo>
                  <a:pt x="1279" y="402"/>
                </a:lnTo>
                <a:lnTo>
                  <a:pt x="1277" y="404"/>
                </a:lnTo>
                <a:lnTo>
                  <a:pt x="1275" y="405"/>
                </a:lnTo>
                <a:lnTo>
                  <a:pt x="1272" y="406"/>
                </a:lnTo>
                <a:lnTo>
                  <a:pt x="1270" y="406"/>
                </a:lnTo>
                <a:lnTo>
                  <a:pt x="1265" y="406"/>
                </a:lnTo>
                <a:lnTo>
                  <a:pt x="1263" y="405"/>
                </a:lnTo>
                <a:lnTo>
                  <a:pt x="1261" y="403"/>
                </a:lnTo>
                <a:lnTo>
                  <a:pt x="1260" y="401"/>
                </a:lnTo>
                <a:lnTo>
                  <a:pt x="1258" y="399"/>
                </a:lnTo>
                <a:lnTo>
                  <a:pt x="1258" y="397"/>
                </a:lnTo>
                <a:lnTo>
                  <a:pt x="1257" y="395"/>
                </a:lnTo>
                <a:lnTo>
                  <a:pt x="1257" y="392"/>
                </a:lnTo>
                <a:lnTo>
                  <a:pt x="1258" y="390"/>
                </a:lnTo>
                <a:lnTo>
                  <a:pt x="1259" y="388"/>
                </a:lnTo>
                <a:lnTo>
                  <a:pt x="1260" y="386"/>
                </a:lnTo>
                <a:lnTo>
                  <a:pt x="1262" y="384"/>
                </a:lnTo>
                <a:lnTo>
                  <a:pt x="1265" y="383"/>
                </a:lnTo>
                <a:lnTo>
                  <a:pt x="1267" y="382"/>
                </a:lnTo>
                <a:lnTo>
                  <a:pt x="1270" y="382"/>
                </a:lnTo>
                <a:close/>
                <a:moveTo>
                  <a:pt x="1657" y="357"/>
                </a:moveTo>
                <a:lnTo>
                  <a:pt x="1661" y="358"/>
                </a:lnTo>
                <a:lnTo>
                  <a:pt x="1665" y="360"/>
                </a:lnTo>
                <a:lnTo>
                  <a:pt x="1668" y="363"/>
                </a:lnTo>
                <a:lnTo>
                  <a:pt x="1668" y="365"/>
                </a:lnTo>
                <a:lnTo>
                  <a:pt x="1669" y="367"/>
                </a:lnTo>
                <a:lnTo>
                  <a:pt x="1669" y="370"/>
                </a:lnTo>
                <a:lnTo>
                  <a:pt x="1669" y="372"/>
                </a:lnTo>
                <a:lnTo>
                  <a:pt x="1668" y="375"/>
                </a:lnTo>
                <a:lnTo>
                  <a:pt x="1667" y="377"/>
                </a:lnTo>
                <a:lnTo>
                  <a:pt x="1665" y="379"/>
                </a:lnTo>
                <a:lnTo>
                  <a:pt x="1663" y="380"/>
                </a:lnTo>
                <a:lnTo>
                  <a:pt x="1661" y="381"/>
                </a:lnTo>
                <a:lnTo>
                  <a:pt x="1659" y="382"/>
                </a:lnTo>
                <a:lnTo>
                  <a:pt x="1657" y="382"/>
                </a:lnTo>
                <a:lnTo>
                  <a:pt x="1652" y="381"/>
                </a:lnTo>
                <a:lnTo>
                  <a:pt x="1649" y="379"/>
                </a:lnTo>
                <a:lnTo>
                  <a:pt x="1646" y="376"/>
                </a:lnTo>
                <a:lnTo>
                  <a:pt x="1645" y="373"/>
                </a:lnTo>
                <a:lnTo>
                  <a:pt x="1644" y="371"/>
                </a:lnTo>
                <a:lnTo>
                  <a:pt x="1644" y="369"/>
                </a:lnTo>
                <a:lnTo>
                  <a:pt x="1645" y="366"/>
                </a:lnTo>
                <a:lnTo>
                  <a:pt x="1645" y="364"/>
                </a:lnTo>
                <a:lnTo>
                  <a:pt x="1647" y="362"/>
                </a:lnTo>
                <a:lnTo>
                  <a:pt x="1648" y="360"/>
                </a:lnTo>
                <a:lnTo>
                  <a:pt x="1650" y="359"/>
                </a:lnTo>
                <a:lnTo>
                  <a:pt x="1652" y="358"/>
                </a:lnTo>
                <a:lnTo>
                  <a:pt x="1655" y="357"/>
                </a:lnTo>
                <a:lnTo>
                  <a:pt x="1657" y="357"/>
                </a:lnTo>
                <a:close/>
                <a:moveTo>
                  <a:pt x="1518" y="334"/>
                </a:moveTo>
                <a:lnTo>
                  <a:pt x="1521" y="334"/>
                </a:lnTo>
                <a:lnTo>
                  <a:pt x="1524" y="336"/>
                </a:lnTo>
                <a:lnTo>
                  <a:pt x="1526" y="337"/>
                </a:lnTo>
                <a:lnTo>
                  <a:pt x="1528" y="339"/>
                </a:lnTo>
                <a:lnTo>
                  <a:pt x="1529" y="341"/>
                </a:lnTo>
                <a:lnTo>
                  <a:pt x="1530" y="343"/>
                </a:lnTo>
                <a:lnTo>
                  <a:pt x="1530" y="346"/>
                </a:lnTo>
                <a:lnTo>
                  <a:pt x="1530" y="348"/>
                </a:lnTo>
                <a:lnTo>
                  <a:pt x="1529" y="351"/>
                </a:lnTo>
                <a:lnTo>
                  <a:pt x="1528" y="353"/>
                </a:lnTo>
                <a:lnTo>
                  <a:pt x="1526" y="355"/>
                </a:lnTo>
                <a:lnTo>
                  <a:pt x="1524" y="357"/>
                </a:lnTo>
                <a:lnTo>
                  <a:pt x="1521" y="358"/>
                </a:lnTo>
                <a:lnTo>
                  <a:pt x="1518" y="359"/>
                </a:lnTo>
                <a:lnTo>
                  <a:pt x="1514" y="358"/>
                </a:lnTo>
                <a:lnTo>
                  <a:pt x="1511" y="357"/>
                </a:lnTo>
                <a:lnTo>
                  <a:pt x="1509" y="355"/>
                </a:lnTo>
                <a:lnTo>
                  <a:pt x="1508" y="354"/>
                </a:lnTo>
                <a:lnTo>
                  <a:pt x="1506" y="351"/>
                </a:lnTo>
                <a:lnTo>
                  <a:pt x="1506" y="349"/>
                </a:lnTo>
                <a:lnTo>
                  <a:pt x="1505" y="347"/>
                </a:lnTo>
                <a:lnTo>
                  <a:pt x="1505" y="344"/>
                </a:lnTo>
                <a:lnTo>
                  <a:pt x="1506" y="342"/>
                </a:lnTo>
                <a:lnTo>
                  <a:pt x="1507" y="340"/>
                </a:lnTo>
                <a:lnTo>
                  <a:pt x="1509" y="337"/>
                </a:lnTo>
                <a:lnTo>
                  <a:pt x="1512" y="335"/>
                </a:lnTo>
                <a:lnTo>
                  <a:pt x="1515" y="334"/>
                </a:lnTo>
                <a:lnTo>
                  <a:pt x="1518" y="334"/>
                </a:lnTo>
                <a:close/>
                <a:moveTo>
                  <a:pt x="1792" y="309"/>
                </a:moveTo>
                <a:lnTo>
                  <a:pt x="1795" y="310"/>
                </a:lnTo>
                <a:lnTo>
                  <a:pt x="1798" y="311"/>
                </a:lnTo>
                <a:lnTo>
                  <a:pt x="1801" y="313"/>
                </a:lnTo>
                <a:lnTo>
                  <a:pt x="1803" y="316"/>
                </a:lnTo>
                <a:lnTo>
                  <a:pt x="1804" y="318"/>
                </a:lnTo>
                <a:lnTo>
                  <a:pt x="1804" y="321"/>
                </a:lnTo>
                <a:lnTo>
                  <a:pt x="1804" y="323"/>
                </a:lnTo>
                <a:lnTo>
                  <a:pt x="1804" y="326"/>
                </a:lnTo>
                <a:lnTo>
                  <a:pt x="1803" y="328"/>
                </a:lnTo>
                <a:lnTo>
                  <a:pt x="1802" y="330"/>
                </a:lnTo>
                <a:lnTo>
                  <a:pt x="1800" y="332"/>
                </a:lnTo>
                <a:lnTo>
                  <a:pt x="1798" y="333"/>
                </a:lnTo>
                <a:lnTo>
                  <a:pt x="1795" y="334"/>
                </a:lnTo>
                <a:lnTo>
                  <a:pt x="1792" y="334"/>
                </a:lnTo>
                <a:lnTo>
                  <a:pt x="1789" y="334"/>
                </a:lnTo>
                <a:lnTo>
                  <a:pt x="1786" y="333"/>
                </a:lnTo>
                <a:lnTo>
                  <a:pt x="1783" y="330"/>
                </a:lnTo>
                <a:lnTo>
                  <a:pt x="1781" y="328"/>
                </a:lnTo>
                <a:lnTo>
                  <a:pt x="1780" y="325"/>
                </a:lnTo>
                <a:lnTo>
                  <a:pt x="1780" y="323"/>
                </a:lnTo>
                <a:lnTo>
                  <a:pt x="1780" y="320"/>
                </a:lnTo>
                <a:lnTo>
                  <a:pt x="1780" y="318"/>
                </a:lnTo>
                <a:lnTo>
                  <a:pt x="1781" y="316"/>
                </a:lnTo>
                <a:lnTo>
                  <a:pt x="1782" y="314"/>
                </a:lnTo>
                <a:lnTo>
                  <a:pt x="1784" y="312"/>
                </a:lnTo>
                <a:lnTo>
                  <a:pt x="1786" y="311"/>
                </a:lnTo>
                <a:lnTo>
                  <a:pt x="1789" y="310"/>
                </a:lnTo>
                <a:lnTo>
                  <a:pt x="1792" y="309"/>
                </a:lnTo>
                <a:close/>
                <a:moveTo>
                  <a:pt x="1384" y="298"/>
                </a:moveTo>
                <a:lnTo>
                  <a:pt x="1388" y="298"/>
                </a:lnTo>
                <a:lnTo>
                  <a:pt x="1391" y="300"/>
                </a:lnTo>
                <a:lnTo>
                  <a:pt x="1393" y="301"/>
                </a:lnTo>
                <a:lnTo>
                  <a:pt x="1394" y="303"/>
                </a:lnTo>
                <a:lnTo>
                  <a:pt x="1396" y="307"/>
                </a:lnTo>
                <a:lnTo>
                  <a:pt x="1396" y="309"/>
                </a:lnTo>
                <a:lnTo>
                  <a:pt x="1396" y="312"/>
                </a:lnTo>
                <a:lnTo>
                  <a:pt x="1396" y="314"/>
                </a:lnTo>
                <a:lnTo>
                  <a:pt x="1395" y="316"/>
                </a:lnTo>
                <a:lnTo>
                  <a:pt x="1393" y="318"/>
                </a:lnTo>
                <a:lnTo>
                  <a:pt x="1392" y="320"/>
                </a:lnTo>
                <a:lnTo>
                  <a:pt x="1389" y="321"/>
                </a:lnTo>
                <a:lnTo>
                  <a:pt x="1387" y="322"/>
                </a:lnTo>
                <a:lnTo>
                  <a:pt x="1384" y="322"/>
                </a:lnTo>
                <a:lnTo>
                  <a:pt x="1380" y="322"/>
                </a:lnTo>
                <a:lnTo>
                  <a:pt x="1376" y="320"/>
                </a:lnTo>
                <a:lnTo>
                  <a:pt x="1375" y="319"/>
                </a:lnTo>
                <a:lnTo>
                  <a:pt x="1374" y="317"/>
                </a:lnTo>
                <a:lnTo>
                  <a:pt x="1372" y="313"/>
                </a:lnTo>
                <a:lnTo>
                  <a:pt x="1371" y="311"/>
                </a:lnTo>
                <a:lnTo>
                  <a:pt x="1372" y="308"/>
                </a:lnTo>
                <a:lnTo>
                  <a:pt x="1372" y="306"/>
                </a:lnTo>
                <a:lnTo>
                  <a:pt x="1373" y="304"/>
                </a:lnTo>
                <a:lnTo>
                  <a:pt x="1374" y="302"/>
                </a:lnTo>
                <a:lnTo>
                  <a:pt x="1376" y="300"/>
                </a:lnTo>
                <a:lnTo>
                  <a:pt x="1378" y="299"/>
                </a:lnTo>
                <a:lnTo>
                  <a:pt x="1381" y="298"/>
                </a:lnTo>
                <a:lnTo>
                  <a:pt x="1384" y="298"/>
                </a:lnTo>
                <a:close/>
                <a:moveTo>
                  <a:pt x="1913" y="232"/>
                </a:moveTo>
                <a:lnTo>
                  <a:pt x="1916" y="232"/>
                </a:lnTo>
                <a:lnTo>
                  <a:pt x="1919" y="233"/>
                </a:lnTo>
                <a:lnTo>
                  <a:pt x="1921" y="235"/>
                </a:lnTo>
                <a:lnTo>
                  <a:pt x="1922" y="236"/>
                </a:lnTo>
                <a:lnTo>
                  <a:pt x="1923" y="237"/>
                </a:lnTo>
                <a:lnTo>
                  <a:pt x="1925" y="239"/>
                </a:lnTo>
                <a:lnTo>
                  <a:pt x="1925" y="242"/>
                </a:lnTo>
                <a:lnTo>
                  <a:pt x="1926" y="244"/>
                </a:lnTo>
                <a:lnTo>
                  <a:pt x="1926" y="246"/>
                </a:lnTo>
                <a:lnTo>
                  <a:pt x="1924" y="251"/>
                </a:lnTo>
                <a:lnTo>
                  <a:pt x="1923" y="253"/>
                </a:lnTo>
                <a:lnTo>
                  <a:pt x="1921" y="255"/>
                </a:lnTo>
                <a:lnTo>
                  <a:pt x="1919" y="256"/>
                </a:lnTo>
                <a:lnTo>
                  <a:pt x="1917" y="256"/>
                </a:lnTo>
                <a:lnTo>
                  <a:pt x="1915" y="257"/>
                </a:lnTo>
                <a:lnTo>
                  <a:pt x="1913" y="257"/>
                </a:lnTo>
                <a:lnTo>
                  <a:pt x="1911" y="257"/>
                </a:lnTo>
                <a:lnTo>
                  <a:pt x="1908" y="256"/>
                </a:lnTo>
                <a:lnTo>
                  <a:pt x="1905" y="254"/>
                </a:lnTo>
                <a:lnTo>
                  <a:pt x="1904" y="253"/>
                </a:lnTo>
                <a:lnTo>
                  <a:pt x="1903" y="252"/>
                </a:lnTo>
                <a:lnTo>
                  <a:pt x="1902" y="250"/>
                </a:lnTo>
                <a:lnTo>
                  <a:pt x="1901" y="248"/>
                </a:lnTo>
                <a:lnTo>
                  <a:pt x="1901" y="245"/>
                </a:lnTo>
                <a:lnTo>
                  <a:pt x="1901" y="243"/>
                </a:lnTo>
                <a:lnTo>
                  <a:pt x="1903" y="238"/>
                </a:lnTo>
                <a:lnTo>
                  <a:pt x="1904" y="236"/>
                </a:lnTo>
                <a:lnTo>
                  <a:pt x="1906" y="235"/>
                </a:lnTo>
                <a:lnTo>
                  <a:pt x="1908" y="233"/>
                </a:lnTo>
                <a:lnTo>
                  <a:pt x="1909" y="233"/>
                </a:lnTo>
                <a:lnTo>
                  <a:pt x="1911" y="232"/>
                </a:lnTo>
                <a:lnTo>
                  <a:pt x="1913" y="232"/>
                </a:lnTo>
                <a:close/>
                <a:moveTo>
                  <a:pt x="2024" y="139"/>
                </a:moveTo>
                <a:lnTo>
                  <a:pt x="2026" y="140"/>
                </a:lnTo>
                <a:lnTo>
                  <a:pt x="2029" y="140"/>
                </a:lnTo>
                <a:lnTo>
                  <a:pt x="2031" y="142"/>
                </a:lnTo>
                <a:lnTo>
                  <a:pt x="2033" y="143"/>
                </a:lnTo>
                <a:lnTo>
                  <a:pt x="2034" y="145"/>
                </a:lnTo>
                <a:lnTo>
                  <a:pt x="2035" y="148"/>
                </a:lnTo>
                <a:lnTo>
                  <a:pt x="2036" y="150"/>
                </a:lnTo>
                <a:lnTo>
                  <a:pt x="2036" y="152"/>
                </a:lnTo>
                <a:lnTo>
                  <a:pt x="2036" y="155"/>
                </a:lnTo>
                <a:lnTo>
                  <a:pt x="2035" y="157"/>
                </a:lnTo>
                <a:lnTo>
                  <a:pt x="2034" y="159"/>
                </a:lnTo>
                <a:lnTo>
                  <a:pt x="2032" y="161"/>
                </a:lnTo>
                <a:lnTo>
                  <a:pt x="2030" y="162"/>
                </a:lnTo>
                <a:lnTo>
                  <a:pt x="2028" y="164"/>
                </a:lnTo>
                <a:lnTo>
                  <a:pt x="2024" y="164"/>
                </a:lnTo>
                <a:lnTo>
                  <a:pt x="2021" y="164"/>
                </a:lnTo>
                <a:lnTo>
                  <a:pt x="2019" y="163"/>
                </a:lnTo>
                <a:lnTo>
                  <a:pt x="2017" y="162"/>
                </a:lnTo>
                <a:lnTo>
                  <a:pt x="2015" y="160"/>
                </a:lnTo>
                <a:lnTo>
                  <a:pt x="2013" y="158"/>
                </a:lnTo>
                <a:lnTo>
                  <a:pt x="2012" y="156"/>
                </a:lnTo>
                <a:lnTo>
                  <a:pt x="2011" y="151"/>
                </a:lnTo>
                <a:lnTo>
                  <a:pt x="2012" y="149"/>
                </a:lnTo>
                <a:lnTo>
                  <a:pt x="2012" y="147"/>
                </a:lnTo>
                <a:lnTo>
                  <a:pt x="2014" y="145"/>
                </a:lnTo>
                <a:lnTo>
                  <a:pt x="2015" y="143"/>
                </a:lnTo>
                <a:lnTo>
                  <a:pt x="2017" y="141"/>
                </a:lnTo>
                <a:lnTo>
                  <a:pt x="2019" y="140"/>
                </a:lnTo>
                <a:lnTo>
                  <a:pt x="2024" y="139"/>
                </a:lnTo>
                <a:close/>
                <a:moveTo>
                  <a:pt x="2125" y="37"/>
                </a:moveTo>
                <a:lnTo>
                  <a:pt x="2129" y="38"/>
                </a:lnTo>
                <a:lnTo>
                  <a:pt x="2131" y="39"/>
                </a:lnTo>
                <a:lnTo>
                  <a:pt x="2133" y="40"/>
                </a:lnTo>
                <a:lnTo>
                  <a:pt x="2135" y="42"/>
                </a:lnTo>
                <a:lnTo>
                  <a:pt x="2136" y="44"/>
                </a:lnTo>
                <a:lnTo>
                  <a:pt x="2137" y="46"/>
                </a:lnTo>
                <a:lnTo>
                  <a:pt x="2137" y="49"/>
                </a:lnTo>
                <a:lnTo>
                  <a:pt x="2137" y="53"/>
                </a:lnTo>
                <a:lnTo>
                  <a:pt x="2136" y="56"/>
                </a:lnTo>
                <a:lnTo>
                  <a:pt x="2134" y="58"/>
                </a:lnTo>
                <a:lnTo>
                  <a:pt x="2132" y="59"/>
                </a:lnTo>
                <a:lnTo>
                  <a:pt x="2130" y="61"/>
                </a:lnTo>
                <a:lnTo>
                  <a:pt x="2127" y="61"/>
                </a:lnTo>
                <a:lnTo>
                  <a:pt x="2125" y="62"/>
                </a:lnTo>
                <a:lnTo>
                  <a:pt x="2120" y="61"/>
                </a:lnTo>
                <a:lnTo>
                  <a:pt x="2118" y="60"/>
                </a:lnTo>
                <a:lnTo>
                  <a:pt x="2116" y="58"/>
                </a:lnTo>
                <a:lnTo>
                  <a:pt x="2115" y="57"/>
                </a:lnTo>
                <a:lnTo>
                  <a:pt x="2114" y="54"/>
                </a:lnTo>
                <a:lnTo>
                  <a:pt x="2113" y="52"/>
                </a:lnTo>
                <a:lnTo>
                  <a:pt x="2112" y="50"/>
                </a:lnTo>
                <a:lnTo>
                  <a:pt x="2113" y="45"/>
                </a:lnTo>
                <a:lnTo>
                  <a:pt x="2114" y="43"/>
                </a:lnTo>
                <a:lnTo>
                  <a:pt x="2116" y="41"/>
                </a:lnTo>
                <a:lnTo>
                  <a:pt x="2118" y="39"/>
                </a:lnTo>
                <a:lnTo>
                  <a:pt x="2120" y="38"/>
                </a:lnTo>
                <a:lnTo>
                  <a:pt x="2122" y="37"/>
                </a:lnTo>
                <a:lnTo>
                  <a:pt x="2125" y="37"/>
                </a:lnTo>
                <a:close/>
                <a:moveTo>
                  <a:pt x="641" y="1315"/>
                </a:moveTo>
                <a:lnTo>
                  <a:pt x="643" y="1315"/>
                </a:lnTo>
                <a:lnTo>
                  <a:pt x="645" y="1315"/>
                </a:lnTo>
                <a:lnTo>
                  <a:pt x="647" y="1316"/>
                </a:lnTo>
                <a:lnTo>
                  <a:pt x="649" y="1318"/>
                </a:lnTo>
                <a:lnTo>
                  <a:pt x="651" y="1319"/>
                </a:lnTo>
                <a:lnTo>
                  <a:pt x="652" y="1321"/>
                </a:lnTo>
                <a:lnTo>
                  <a:pt x="653" y="1324"/>
                </a:lnTo>
                <a:lnTo>
                  <a:pt x="653" y="1326"/>
                </a:lnTo>
                <a:lnTo>
                  <a:pt x="653" y="1328"/>
                </a:lnTo>
                <a:lnTo>
                  <a:pt x="652" y="1333"/>
                </a:lnTo>
                <a:lnTo>
                  <a:pt x="651" y="1335"/>
                </a:lnTo>
                <a:lnTo>
                  <a:pt x="649" y="1336"/>
                </a:lnTo>
                <a:lnTo>
                  <a:pt x="648" y="1338"/>
                </a:lnTo>
                <a:lnTo>
                  <a:pt x="646" y="1338"/>
                </a:lnTo>
                <a:lnTo>
                  <a:pt x="643" y="1339"/>
                </a:lnTo>
                <a:lnTo>
                  <a:pt x="641" y="1339"/>
                </a:lnTo>
                <a:lnTo>
                  <a:pt x="640" y="1339"/>
                </a:lnTo>
                <a:lnTo>
                  <a:pt x="637" y="1339"/>
                </a:lnTo>
                <a:lnTo>
                  <a:pt x="635" y="1338"/>
                </a:lnTo>
                <a:lnTo>
                  <a:pt x="633" y="1336"/>
                </a:lnTo>
                <a:lnTo>
                  <a:pt x="631" y="1335"/>
                </a:lnTo>
                <a:lnTo>
                  <a:pt x="630" y="1333"/>
                </a:lnTo>
                <a:lnTo>
                  <a:pt x="629" y="1330"/>
                </a:lnTo>
                <a:lnTo>
                  <a:pt x="629" y="1328"/>
                </a:lnTo>
                <a:lnTo>
                  <a:pt x="629" y="1326"/>
                </a:lnTo>
                <a:lnTo>
                  <a:pt x="630" y="1321"/>
                </a:lnTo>
                <a:lnTo>
                  <a:pt x="631" y="1319"/>
                </a:lnTo>
                <a:lnTo>
                  <a:pt x="633" y="1318"/>
                </a:lnTo>
                <a:lnTo>
                  <a:pt x="635" y="1316"/>
                </a:lnTo>
                <a:lnTo>
                  <a:pt x="637" y="1315"/>
                </a:lnTo>
                <a:lnTo>
                  <a:pt x="639" y="1315"/>
                </a:lnTo>
                <a:lnTo>
                  <a:pt x="641" y="1315"/>
                </a:lnTo>
                <a:close/>
                <a:moveTo>
                  <a:pt x="784" y="1304"/>
                </a:moveTo>
                <a:lnTo>
                  <a:pt x="788" y="1305"/>
                </a:lnTo>
                <a:lnTo>
                  <a:pt x="791" y="1307"/>
                </a:lnTo>
                <a:lnTo>
                  <a:pt x="793" y="1308"/>
                </a:lnTo>
                <a:lnTo>
                  <a:pt x="794" y="1310"/>
                </a:lnTo>
                <a:lnTo>
                  <a:pt x="796" y="1314"/>
                </a:lnTo>
                <a:lnTo>
                  <a:pt x="796" y="1316"/>
                </a:lnTo>
                <a:lnTo>
                  <a:pt x="796" y="1318"/>
                </a:lnTo>
                <a:lnTo>
                  <a:pt x="794" y="1323"/>
                </a:lnTo>
                <a:lnTo>
                  <a:pt x="793" y="1325"/>
                </a:lnTo>
                <a:lnTo>
                  <a:pt x="791" y="1326"/>
                </a:lnTo>
                <a:lnTo>
                  <a:pt x="789" y="1328"/>
                </a:lnTo>
                <a:lnTo>
                  <a:pt x="787" y="1329"/>
                </a:lnTo>
                <a:lnTo>
                  <a:pt x="784" y="1329"/>
                </a:lnTo>
                <a:lnTo>
                  <a:pt x="780" y="1328"/>
                </a:lnTo>
                <a:lnTo>
                  <a:pt x="776" y="1326"/>
                </a:lnTo>
                <a:lnTo>
                  <a:pt x="775" y="1325"/>
                </a:lnTo>
                <a:lnTo>
                  <a:pt x="774" y="1324"/>
                </a:lnTo>
                <a:lnTo>
                  <a:pt x="772" y="1320"/>
                </a:lnTo>
                <a:lnTo>
                  <a:pt x="772" y="1317"/>
                </a:lnTo>
                <a:lnTo>
                  <a:pt x="772" y="1315"/>
                </a:lnTo>
                <a:lnTo>
                  <a:pt x="773" y="1310"/>
                </a:lnTo>
                <a:lnTo>
                  <a:pt x="775" y="1309"/>
                </a:lnTo>
                <a:lnTo>
                  <a:pt x="776" y="1307"/>
                </a:lnTo>
                <a:lnTo>
                  <a:pt x="778" y="1306"/>
                </a:lnTo>
                <a:lnTo>
                  <a:pt x="781" y="1305"/>
                </a:lnTo>
                <a:lnTo>
                  <a:pt x="784" y="1304"/>
                </a:lnTo>
                <a:close/>
                <a:moveTo>
                  <a:pt x="503" y="1276"/>
                </a:moveTo>
                <a:lnTo>
                  <a:pt x="506" y="1276"/>
                </a:lnTo>
                <a:lnTo>
                  <a:pt x="508" y="1277"/>
                </a:lnTo>
                <a:lnTo>
                  <a:pt x="512" y="1279"/>
                </a:lnTo>
                <a:lnTo>
                  <a:pt x="514" y="1281"/>
                </a:lnTo>
                <a:lnTo>
                  <a:pt x="515" y="1283"/>
                </a:lnTo>
                <a:lnTo>
                  <a:pt x="515" y="1286"/>
                </a:lnTo>
                <a:lnTo>
                  <a:pt x="516" y="1288"/>
                </a:lnTo>
                <a:lnTo>
                  <a:pt x="515" y="1290"/>
                </a:lnTo>
                <a:lnTo>
                  <a:pt x="515" y="1293"/>
                </a:lnTo>
                <a:lnTo>
                  <a:pt x="513" y="1296"/>
                </a:lnTo>
                <a:lnTo>
                  <a:pt x="511" y="1297"/>
                </a:lnTo>
                <a:lnTo>
                  <a:pt x="510" y="1298"/>
                </a:lnTo>
                <a:lnTo>
                  <a:pt x="507" y="1300"/>
                </a:lnTo>
                <a:lnTo>
                  <a:pt x="503" y="1300"/>
                </a:lnTo>
                <a:lnTo>
                  <a:pt x="501" y="1300"/>
                </a:lnTo>
                <a:lnTo>
                  <a:pt x="498" y="1299"/>
                </a:lnTo>
                <a:lnTo>
                  <a:pt x="494" y="1296"/>
                </a:lnTo>
                <a:lnTo>
                  <a:pt x="493" y="1295"/>
                </a:lnTo>
                <a:lnTo>
                  <a:pt x="492" y="1292"/>
                </a:lnTo>
                <a:lnTo>
                  <a:pt x="491" y="1290"/>
                </a:lnTo>
                <a:lnTo>
                  <a:pt x="491" y="1288"/>
                </a:lnTo>
                <a:lnTo>
                  <a:pt x="491" y="1285"/>
                </a:lnTo>
                <a:lnTo>
                  <a:pt x="492" y="1283"/>
                </a:lnTo>
                <a:lnTo>
                  <a:pt x="494" y="1280"/>
                </a:lnTo>
                <a:lnTo>
                  <a:pt x="495" y="1279"/>
                </a:lnTo>
                <a:lnTo>
                  <a:pt x="497" y="1278"/>
                </a:lnTo>
                <a:lnTo>
                  <a:pt x="500" y="1276"/>
                </a:lnTo>
                <a:lnTo>
                  <a:pt x="503" y="1276"/>
                </a:lnTo>
                <a:close/>
                <a:moveTo>
                  <a:pt x="917" y="1248"/>
                </a:moveTo>
                <a:lnTo>
                  <a:pt x="920" y="1249"/>
                </a:lnTo>
                <a:lnTo>
                  <a:pt x="923" y="1250"/>
                </a:lnTo>
                <a:lnTo>
                  <a:pt x="926" y="1252"/>
                </a:lnTo>
                <a:lnTo>
                  <a:pt x="928" y="1254"/>
                </a:lnTo>
                <a:lnTo>
                  <a:pt x="929" y="1257"/>
                </a:lnTo>
                <a:lnTo>
                  <a:pt x="929" y="1259"/>
                </a:lnTo>
                <a:lnTo>
                  <a:pt x="929" y="1261"/>
                </a:lnTo>
                <a:lnTo>
                  <a:pt x="929" y="1264"/>
                </a:lnTo>
                <a:lnTo>
                  <a:pt x="928" y="1266"/>
                </a:lnTo>
                <a:lnTo>
                  <a:pt x="927" y="1268"/>
                </a:lnTo>
                <a:lnTo>
                  <a:pt x="925" y="1270"/>
                </a:lnTo>
                <a:lnTo>
                  <a:pt x="923" y="1271"/>
                </a:lnTo>
                <a:lnTo>
                  <a:pt x="920" y="1272"/>
                </a:lnTo>
                <a:lnTo>
                  <a:pt x="917" y="1273"/>
                </a:lnTo>
                <a:lnTo>
                  <a:pt x="914" y="1272"/>
                </a:lnTo>
                <a:lnTo>
                  <a:pt x="911" y="1271"/>
                </a:lnTo>
                <a:lnTo>
                  <a:pt x="908" y="1269"/>
                </a:lnTo>
                <a:lnTo>
                  <a:pt x="906" y="1267"/>
                </a:lnTo>
                <a:lnTo>
                  <a:pt x="905" y="1264"/>
                </a:lnTo>
                <a:lnTo>
                  <a:pt x="905" y="1262"/>
                </a:lnTo>
                <a:lnTo>
                  <a:pt x="905" y="1260"/>
                </a:lnTo>
                <a:lnTo>
                  <a:pt x="905" y="1257"/>
                </a:lnTo>
                <a:lnTo>
                  <a:pt x="906" y="1255"/>
                </a:lnTo>
                <a:lnTo>
                  <a:pt x="907" y="1253"/>
                </a:lnTo>
                <a:lnTo>
                  <a:pt x="909" y="1251"/>
                </a:lnTo>
                <a:lnTo>
                  <a:pt x="911" y="1250"/>
                </a:lnTo>
                <a:lnTo>
                  <a:pt x="914" y="1249"/>
                </a:lnTo>
                <a:lnTo>
                  <a:pt x="917" y="1248"/>
                </a:lnTo>
                <a:close/>
                <a:moveTo>
                  <a:pt x="377" y="1207"/>
                </a:moveTo>
                <a:lnTo>
                  <a:pt x="380" y="1208"/>
                </a:lnTo>
                <a:lnTo>
                  <a:pt x="383" y="1209"/>
                </a:lnTo>
                <a:lnTo>
                  <a:pt x="385" y="1210"/>
                </a:lnTo>
                <a:lnTo>
                  <a:pt x="387" y="1212"/>
                </a:lnTo>
                <a:lnTo>
                  <a:pt x="388" y="1214"/>
                </a:lnTo>
                <a:lnTo>
                  <a:pt x="389" y="1217"/>
                </a:lnTo>
                <a:lnTo>
                  <a:pt x="389" y="1219"/>
                </a:lnTo>
                <a:lnTo>
                  <a:pt x="389" y="1221"/>
                </a:lnTo>
                <a:lnTo>
                  <a:pt x="388" y="1224"/>
                </a:lnTo>
                <a:lnTo>
                  <a:pt x="387" y="1226"/>
                </a:lnTo>
                <a:lnTo>
                  <a:pt x="385" y="1228"/>
                </a:lnTo>
                <a:lnTo>
                  <a:pt x="383" y="1230"/>
                </a:lnTo>
                <a:lnTo>
                  <a:pt x="380" y="1231"/>
                </a:lnTo>
                <a:lnTo>
                  <a:pt x="377" y="1232"/>
                </a:lnTo>
                <a:lnTo>
                  <a:pt x="373" y="1231"/>
                </a:lnTo>
                <a:lnTo>
                  <a:pt x="370" y="1230"/>
                </a:lnTo>
                <a:lnTo>
                  <a:pt x="368" y="1228"/>
                </a:lnTo>
                <a:lnTo>
                  <a:pt x="367" y="1226"/>
                </a:lnTo>
                <a:lnTo>
                  <a:pt x="366" y="1224"/>
                </a:lnTo>
                <a:lnTo>
                  <a:pt x="365" y="1222"/>
                </a:lnTo>
                <a:lnTo>
                  <a:pt x="364" y="1220"/>
                </a:lnTo>
                <a:lnTo>
                  <a:pt x="365" y="1217"/>
                </a:lnTo>
                <a:lnTo>
                  <a:pt x="365" y="1215"/>
                </a:lnTo>
                <a:lnTo>
                  <a:pt x="366" y="1213"/>
                </a:lnTo>
                <a:lnTo>
                  <a:pt x="368" y="1210"/>
                </a:lnTo>
                <a:lnTo>
                  <a:pt x="371" y="1209"/>
                </a:lnTo>
                <a:lnTo>
                  <a:pt x="374" y="1207"/>
                </a:lnTo>
                <a:lnTo>
                  <a:pt x="377" y="1207"/>
                </a:lnTo>
                <a:close/>
                <a:moveTo>
                  <a:pt x="1034" y="1164"/>
                </a:moveTo>
                <a:lnTo>
                  <a:pt x="1036" y="1165"/>
                </a:lnTo>
                <a:lnTo>
                  <a:pt x="1039" y="1165"/>
                </a:lnTo>
                <a:lnTo>
                  <a:pt x="1041" y="1167"/>
                </a:lnTo>
                <a:lnTo>
                  <a:pt x="1043" y="1168"/>
                </a:lnTo>
                <a:lnTo>
                  <a:pt x="1044" y="1171"/>
                </a:lnTo>
                <a:lnTo>
                  <a:pt x="1045" y="1173"/>
                </a:lnTo>
                <a:lnTo>
                  <a:pt x="1046" y="1175"/>
                </a:lnTo>
                <a:lnTo>
                  <a:pt x="1046" y="1177"/>
                </a:lnTo>
                <a:lnTo>
                  <a:pt x="1045" y="1180"/>
                </a:lnTo>
                <a:lnTo>
                  <a:pt x="1045" y="1182"/>
                </a:lnTo>
                <a:lnTo>
                  <a:pt x="1043" y="1184"/>
                </a:lnTo>
                <a:lnTo>
                  <a:pt x="1042" y="1186"/>
                </a:lnTo>
                <a:lnTo>
                  <a:pt x="1038" y="1188"/>
                </a:lnTo>
                <a:lnTo>
                  <a:pt x="1034" y="1189"/>
                </a:lnTo>
                <a:lnTo>
                  <a:pt x="1031" y="1189"/>
                </a:lnTo>
                <a:lnTo>
                  <a:pt x="1029" y="1188"/>
                </a:lnTo>
                <a:lnTo>
                  <a:pt x="1026" y="1187"/>
                </a:lnTo>
                <a:lnTo>
                  <a:pt x="1024" y="1185"/>
                </a:lnTo>
                <a:lnTo>
                  <a:pt x="1023" y="1183"/>
                </a:lnTo>
                <a:lnTo>
                  <a:pt x="1022" y="1180"/>
                </a:lnTo>
                <a:lnTo>
                  <a:pt x="1021" y="1178"/>
                </a:lnTo>
                <a:lnTo>
                  <a:pt x="1021" y="1176"/>
                </a:lnTo>
                <a:lnTo>
                  <a:pt x="1022" y="1173"/>
                </a:lnTo>
                <a:lnTo>
                  <a:pt x="1023" y="1171"/>
                </a:lnTo>
                <a:lnTo>
                  <a:pt x="1024" y="1169"/>
                </a:lnTo>
                <a:lnTo>
                  <a:pt x="1026" y="1167"/>
                </a:lnTo>
                <a:lnTo>
                  <a:pt x="1029" y="1165"/>
                </a:lnTo>
                <a:lnTo>
                  <a:pt x="1034" y="1164"/>
                </a:lnTo>
                <a:close/>
                <a:moveTo>
                  <a:pt x="257" y="1128"/>
                </a:moveTo>
                <a:lnTo>
                  <a:pt x="260" y="1128"/>
                </a:lnTo>
                <a:lnTo>
                  <a:pt x="262" y="1129"/>
                </a:lnTo>
                <a:lnTo>
                  <a:pt x="263" y="1130"/>
                </a:lnTo>
                <a:lnTo>
                  <a:pt x="265" y="1131"/>
                </a:lnTo>
                <a:lnTo>
                  <a:pt x="267" y="1133"/>
                </a:lnTo>
                <a:lnTo>
                  <a:pt x="268" y="1135"/>
                </a:lnTo>
                <a:lnTo>
                  <a:pt x="269" y="1138"/>
                </a:lnTo>
                <a:lnTo>
                  <a:pt x="269" y="1142"/>
                </a:lnTo>
                <a:lnTo>
                  <a:pt x="268" y="1145"/>
                </a:lnTo>
                <a:lnTo>
                  <a:pt x="267" y="1147"/>
                </a:lnTo>
                <a:lnTo>
                  <a:pt x="266" y="1148"/>
                </a:lnTo>
                <a:lnTo>
                  <a:pt x="265" y="1149"/>
                </a:lnTo>
                <a:lnTo>
                  <a:pt x="262" y="1151"/>
                </a:lnTo>
                <a:lnTo>
                  <a:pt x="259" y="1152"/>
                </a:lnTo>
                <a:lnTo>
                  <a:pt x="257" y="1152"/>
                </a:lnTo>
                <a:lnTo>
                  <a:pt x="253" y="1152"/>
                </a:lnTo>
                <a:lnTo>
                  <a:pt x="251" y="1151"/>
                </a:lnTo>
                <a:lnTo>
                  <a:pt x="250" y="1150"/>
                </a:lnTo>
                <a:lnTo>
                  <a:pt x="248" y="1149"/>
                </a:lnTo>
                <a:lnTo>
                  <a:pt x="246" y="1147"/>
                </a:lnTo>
                <a:lnTo>
                  <a:pt x="245" y="1145"/>
                </a:lnTo>
                <a:lnTo>
                  <a:pt x="245" y="1142"/>
                </a:lnTo>
                <a:lnTo>
                  <a:pt x="244" y="1138"/>
                </a:lnTo>
                <a:lnTo>
                  <a:pt x="245" y="1135"/>
                </a:lnTo>
                <a:lnTo>
                  <a:pt x="246" y="1133"/>
                </a:lnTo>
                <a:lnTo>
                  <a:pt x="247" y="1132"/>
                </a:lnTo>
                <a:lnTo>
                  <a:pt x="248" y="1131"/>
                </a:lnTo>
                <a:lnTo>
                  <a:pt x="251" y="1129"/>
                </a:lnTo>
                <a:lnTo>
                  <a:pt x="254" y="1128"/>
                </a:lnTo>
                <a:lnTo>
                  <a:pt x="257" y="1128"/>
                </a:lnTo>
                <a:close/>
                <a:moveTo>
                  <a:pt x="1135" y="1062"/>
                </a:moveTo>
                <a:lnTo>
                  <a:pt x="1139" y="1063"/>
                </a:lnTo>
                <a:lnTo>
                  <a:pt x="1141" y="1064"/>
                </a:lnTo>
                <a:lnTo>
                  <a:pt x="1143" y="1065"/>
                </a:lnTo>
                <a:lnTo>
                  <a:pt x="1145" y="1067"/>
                </a:lnTo>
                <a:lnTo>
                  <a:pt x="1146" y="1069"/>
                </a:lnTo>
                <a:lnTo>
                  <a:pt x="1147" y="1071"/>
                </a:lnTo>
                <a:lnTo>
                  <a:pt x="1147" y="1073"/>
                </a:lnTo>
                <a:lnTo>
                  <a:pt x="1147" y="1076"/>
                </a:lnTo>
                <a:lnTo>
                  <a:pt x="1146" y="1078"/>
                </a:lnTo>
                <a:lnTo>
                  <a:pt x="1145" y="1080"/>
                </a:lnTo>
                <a:lnTo>
                  <a:pt x="1144" y="1082"/>
                </a:lnTo>
                <a:lnTo>
                  <a:pt x="1142" y="1084"/>
                </a:lnTo>
                <a:lnTo>
                  <a:pt x="1140" y="1085"/>
                </a:lnTo>
                <a:lnTo>
                  <a:pt x="1137" y="1086"/>
                </a:lnTo>
                <a:lnTo>
                  <a:pt x="1135" y="1087"/>
                </a:lnTo>
                <a:lnTo>
                  <a:pt x="1131" y="1086"/>
                </a:lnTo>
                <a:lnTo>
                  <a:pt x="1129" y="1085"/>
                </a:lnTo>
                <a:lnTo>
                  <a:pt x="1127" y="1084"/>
                </a:lnTo>
                <a:lnTo>
                  <a:pt x="1125" y="1082"/>
                </a:lnTo>
                <a:lnTo>
                  <a:pt x="1124" y="1080"/>
                </a:lnTo>
                <a:lnTo>
                  <a:pt x="1123" y="1077"/>
                </a:lnTo>
                <a:lnTo>
                  <a:pt x="1122" y="1075"/>
                </a:lnTo>
                <a:lnTo>
                  <a:pt x="1123" y="1073"/>
                </a:lnTo>
                <a:lnTo>
                  <a:pt x="1123" y="1070"/>
                </a:lnTo>
                <a:lnTo>
                  <a:pt x="1124" y="1068"/>
                </a:lnTo>
                <a:lnTo>
                  <a:pt x="1125" y="1066"/>
                </a:lnTo>
                <a:lnTo>
                  <a:pt x="1127" y="1064"/>
                </a:lnTo>
                <a:lnTo>
                  <a:pt x="1130" y="1063"/>
                </a:lnTo>
                <a:lnTo>
                  <a:pt x="1132" y="1062"/>
                </a:lnTo>
                <a:lnTo>
                  <a:pt x="1135" y="1062"/>
                </a:lnTo>
                <a:close/>
                <a:moveTo>
                  <a:pt x="135" y="1050"/>
                </a:moveTo>
                <a:lnTo>
                  <a:pt x="138" y="1051"/>
                </a:lnTo>
                <a:lnTo>
                  <a:pt x="141" y="1052"/>
                </a:lnTo>
                <a:lnTo>
                  <a:pt x="143" y="1054"/>
                </a:lnTo>
                <a:lnTo>
                  <a:pt x="145" y="1055"/>
                </a:lnTo>
                <a:lnTo>
                  <a:pt x="146" y="1057"/>
                </a:lnTo>
                <a:lnTo>
                  <a:pt x="147" y="1060"/>
                </a:lnTo>
                <a:lnTo>
                  <a:pt x="147" y="1062"/>
                </a:lnTo>
                <a:lnTo>
                  <a:pt x="147" y="1064"/>
                </a:lnTo>
                <a:lnTo>
                  <a:pt x="146" y="1069"/>
                </a:lnTo>
                <a:lnTo>
                  <a:pt x="144" y="1072"/>
                </a:lnTo>
                <a:lnTo>
                  <a:pt x="141" y="1073"/>
                </a:lnTo>
                <a:lnTo>
                  <a:pt x="138" y="1075"/>
                </a:lnTo>
                <a:lnTo>
                  <a:pt x="135" y="1075"/>
                </a:lnTo>
                <a:lnTo>
                  <a:pt x="132" y="1075"/>
                </a:lnTo>
                <a:lnTo>
                  <a:pt x="129" y="1073"/>
                </a:lnTo>
                <a:lnTo>
                  <a:pt x="127" y="1072"/>
                </a:lnTo>
                <a:lnTo>
                  <a:pt x="125" y="1070"/>
                </a:lnTo>
                <a:lnTo>
                  <a:pt x="124" y="1068"/>
                </a:lnTo>
                <a:lnTo>
                  <a:pt x="123" y="1066"/>
                </a:lnTo>
                <a:lnTo>
                  <a:pt x="123" y="1064"/>
                </a:lnTo>
                <a:lnTo>
                  <a:pt x="123" y="1061"/>
                </a:lnTo>
                <a:lnTo>
                  <a:pt x="124" y="1057"/>
                </a:lnTo>
                <a:lnTo>
                  <a:pt x="126" y="1054"/>
                </a:lnTo>
                <a:lnTo>
                  <a:pt x="129" y="1052"/>
                </a:lnTo>
                <a:lnTo>
                  <a:pt x="132" y="1051"/>
                </a:lnTo>
                <a:lnTo>
                  <a:pt x="135" y="1050"/>
                </a:lnTo>
                <a:close/>
                <a:moveTo>
                  <a:pt x="5" y="989"/>
                </a:moveTo>
                <a:lnTo>
                  <a:pt x="9" y="989"/>
                </a:lnTo>
                <a:lnTo>
                  <a:pt x="12" y="991"/>
                </a:lnTo>
                <a:lnTo>
                  <a:pt x="14" y="992"/>
                </a:lnTo>
                <a:lnTo>
                  <a:pt x="15" y="994"/>
                </a:lnTo>
                <a:lnTo>
                  <a:pt x="16" y="996"/>
                </a:lnTo>
                <a:lnTo>
                  <a:pt x="17" y="998"/>
                </a:lnTo>
                <a:lnTo>
                  <a:pt x="17" y="1000"/>
                </a:lnTo>
                <a:lnTo>
                  <a:pt x="17" y="1005"/>
                </a:lnTo>
                <a:lnTo>
                  <a:pt x="15" y="1009"/>
                </a:lnTo>
                <a:lnTo>
                  <a:pt x="12" y="1011"/>
                </a:lnTo>
                <a:lnTo>
                  <a:pt x="9" y="1013"/>
                </a:lnTo>
                <a:lnTo>
                  <a:pt x="5" y="1013"/>
                </a:lnTo>
                <a:lnTo>
                  <a:pt x="1" y="1013"/>
                </a:lnTo>
                <a:lnTo>
                  <a:pt x="0" y="990"/>
                </a:lnTo>
                <a:lnTo>
                  <a:pt x="3" y="989"/>
                </a:lnTo>
                <a:lnTo>
                  <a:pt x="5" y="989"/>
                </a:lnTo>
                <a:close/>
                <a:moveTo>
                  <a:pt x="1225" y="950"/>
                </a:moveTo>
                <a:lnTo>
                  <a:pt x="1229" y="950"/>
                </a:lnTo>
                <a:lnTo>
                  <a:pt x="1231" y="951"/>
                </a:lnTo>
                <a:lnTo>
                  <a:pt x="1233" y="952"/>
                </a:lnTo>
                <a:lnTo>
                  <a:pt x="1234" y="954"/>
                </a:lnTo>
                <a:lnTo>
                  <a:pt x="1236" y="956"/>
                </a:lnTo>
                <a:lnTo>
                  <a:pt x="1237" y="960"/>
                </a:lnTo>
                <a:lnTo>
                  <a:pt x="1237" y="963"/>
                </a:lnTo>
                <a:lnTo>
                  <a:pt x="1237" y="965"/>
                </a:lnTo>
                <a:lnTo>
                  <a:pt x="1236" y="967"/>
                </a:lnTo>
                <a:lnTo>
                  <a:pt x="1235" y="970"/>
                </a:lnTo>
                <a:lnTo>
                  <a:pt x="1233" y="972"/>
                </a:lnTo>
                <a:lnTo>
                  <a:pt x="1231" y="973"/>
                </a:lnTo>
                <a:lnTo>
                  <a:pt x="1228" y="974"/>
                </a:lnTo>
                <a:lnTo>
                  <a:pt x="1225" y="974"/>
                </a:lnTo>
                <a:lnTo>
                  <a:pt x="1221" y="974"/>
                </a:lnTo>
                <a:lnTo>
                  <a:pt x="1219" y="973"/>
                </a:lnTo>
                <a:lnTo>
                  <a:pt x="1218" y="972"/>
                </a:lnTo>
                <a:lnTo>
                  <a:pt x="1216" y="970"/>
                </a:lnTo>
                <a:lnTo>
                  <a:pt x="1214" y="968"/>
                </a:lnTo>
                <a:lnTo>
                  <a:pt x="1213" y="964"/>
                </a:lnTo>
                <a:lnTo>
                  <a:pt x="1213" y="961"/>
                </a:lnTo>
                <a:lnTo>
                  <a:pt x="1213" y="959"/>
                </a:lnTo>
                <a:lnTo>
                  <a:pt x="1214" y="957"/>
                </a:lnTo>
                <a:lnTo>
                  <a:pt x="1215" y="955"/>
                </a:lnTo>
                <a:lnTo>
                  <a:pt x="1217" y="952"/>
                </a:lnTo>
                <a:lnTo>
                  <a:pt x="1220" y="951"/>
                </a:lnTo>
                <a:lnTo>
                  <a:pt x="1222" y="950"/>
                </a:lnTo>
                <a:lnTo>
                  <a:pt x="1225" y="950"/>
                </a:lnTo>
                <a:close/>
                <a:moveTo>
                  <a:pt x="1315" y="837"/>
                </a:moveTo>
                <a:lnTo>
                  <a:pt x="1319" y="838"/>
                </a:lnTo>
                <a:lnTo>
                  <a:pt x="1322" y="839"/>
                </a:lnTo>
                <a:lnTo>
                  <a:pt x="1323" y="840"/>
                </a:lnTo>
                <a:lnTo>
                  <a:pt x="1325" y="842"/>
                </a:lnTo>
                <a:lnTo>
                  <a:pt x="1326" y="844"/>
                </a:lnTo>
                <a:lnTo>
                  <a:pt x="1327" y="847"/>
                </a:lnTo>
                <a:lnTo>
                  <a:pt x="1327" y="849"/>
                </a:lnTo>
                <a:lnTo>
                  <a:pt x="1327" y="851"/>
                </a:lnTo>
                <a:lnTo>
                  <a:pt x="1327" y="854"/>
                </a:lnTo>
                <a:lnTo>
                  <a:pt x="1326" y="856"/>
                </a:lnTo>
                <a:lnTo>
                  <a:pt x="1324" y="858"/>
                </a:lnTo>
                <a:lnTo>
                  <a:pt x="1322" y="860"/>
                </a:lnTo>
                <a:lnTo>
                  <a:pt x="1320" y="861"/>
                </a:lnTo>
                <a:lnTo>
                  <a:pt x="1318" y="862"/>
                </a:lnTo>
                <a:lnTo>
                  <a:pt x="1315" y="862"/>
                </a:lnTo>
                <a:lnTo>
                  <a:pt x="1311" y="861"/>
                </a:lnTo>
                <a:lnTo>
                  <a:pt x="1309" y="860"/>
                </a:lnTo>
                <a:lnTo>
                  <a:pt x="1307" y="859"/>
                </a:lnTo>
                <a:lnTo>
                  <a:pt x="1305" y="857"/>
                </a:lnTo>
                <a:lnTo>
                  <a:pt x="1304" y="855"/>
                </a:lnTo>
                <a:lnTo>
                  <a:pt x="1303" y="853"/>
                </a:lnTo>
                <a:lnTo>
                  <a:pt x="1303" y="850"/>
                </a:lnTo>
                <a:lnTo>
                  <a:pt x="1303" y="848"/>
                </a:lnTo>
                <a:lnTo>
                  <a:pt x="1304" y="846"/>
                </a:lnTo>
                <a:lnTo>
                  <a:pt x="1305" y="843"/>
                </a:lnTo>
                <a:lnTo>
                  <a:pt x="1306" y="841"/>
                </a:lnTo>
                <a:lnTo>
                  <a:pt x="1308" y="840"/>
                </a:lnTo>
                <a:lnTo>
                  <a:pt x="1310" y="838"/>
                </a:lnTo>
                <a:lnTo>
                  <a:pt x="1313" y="838"/>
                </a:lnTo>
                <a:lnTo>
                  <a:pt x="1315" y="837"/>
                </a:lnTo>
                <a:close/>
                <a:moveTo>
                  <a:pt x="1702" y="813"/>
                </a:moveTo>
                <a:lnTo>
                  <a:pt x="1707" y="813"/>
                </a:lnTo>
                <a:lnTo>
                  <a:pt x="1710" y="816"/>
                </a:lnTo>
                <a:lnTo>
                  <a:pt x="1713" y="819"/>
                </a:lnTo>
                <a:lnTo>
                  <a:pt x="1714" y="821"/>
                </a:lnTo>
                <a:lnTo>
                  <a:pt x="1714" y="823"/>
                </a:lnTo>
                <a:lnTo>
                  <a:pt x="1715" y="826"/>
                </a:lnTo>
                <a:lnTo>
                  <a:pt x="1714" y="828"/>
                </a:lnTo>
                <a:lnTo>
                  <a:pt x="1713" y="830"/>
                </a:lnTo>
                <a:lnTo>
                  <a:pt x="1712" y="832"/>
                </a:lnTo>
                <a:lnTo>
                  <a:pt x="1711" y="834"/>
                </a:lnTo>
                <a:lnTo>
                  <a:pt x="1709" y="835"/>
                </a:lnTo>
                <a:lnTo>
                  <a:pt x="1707" y="836"/>
                </a:lnTo>
                <a:lnTo>
                  <a:pt x="1704" y="837"/>
                </a:lnTo>
                <a:lnTo>
                  <a:pt x="1702" y="837"/>
                </a:lnTo>
                <a:lnTo>
                  <a:pt x="1698" y="836"/>
                </a:lnTo>
                <a:lnTo>
                  <a:pt x="1694" y="834"/>
                </a:lnTo>
                <a:lnTo>
                  <a:pt x="1692" y="831"/>
                </a:lnTo>
                <a:lnTo>
                  <a:pt x="1691" y="829"/>
                </a:lnTo>
                <a:lnTo>
                  <a:pt x="1690" y="827"/>
                </a:lnTo>
                <a:lnTo>
                  <a:pt x="1690" y="824"/>
                </a:lnTo>
                <a:lnTo>
                  <a:pt x="1690" y="822"/>
                </a:lnTo>
                <a:lnTo>
                  <a:pt x="1691" y="820"/>
                </a:lnTo>
                <a:lnTo>
                  <a:pt x="1692" y="818"/>
                </a:lnTo>
                <a:lnTo>
                  <a:pt x="1694" y="816"/>
                </a:lnTo>
                <a:lnTo>
                  <a:pt x="1696" y="814"/>
                </a:lnTo>
                <a:lnTo>
                  <a:pt x="1698" y="813"/>
                </a:lnTo>
                <a:lnTo>
                  <a:pt x="1700" y="813"/>
                </a:lnTo>
                <a:lnTo>
                  <a:pt x="1702" y="813"/>
                </a:lnTo>
                <a:close/>
                <a:moveTo>
                  <a:pt x="1563" y="790"/>
                </a:moveTo>
                <a:lnTo>
                  <a:pt x="1567" y="790"/>
                </a:lnTo>
                <a:lnTo>
                  <a:pt x="1570" y="791"/>
                </a:lnTo>
                <a:lnTo>
                  <a:pt x="1572" y="793"/>
                </a:lnTo>
                <a:lnTo>
                  <a:pt x="1573" y="795"/>
                </a:lnTo>
                <a:lnTo>
                  <a:pt x="1574" y="797"/>
                </a:lnTo>
                <a:lnTo>
                  <a:pt x="1575" y="799"/>
                </a:lnTo>
                <a:lnTo>
                  <a:pt x="1576" y="801"/>
                </a:lnTo>
                <a:lnTo>
                  <a:pt x="1575" y="804"/>
                </a:lnTo>
                <a:lnTo>
                  <a:pt x="1575" y="806"/>
                </a:lnTo>
                <a:lnTo>
                  <a:pt x="1574" y="808"/>
                </a:lnTo>
                <a:lnTo>
                  <a:pt x="1572" y="811"/>
                </a:lnTo>
                <a:lnTo>
                  <a:pt x="1569" y="813"/>
                </a:lnTo>
                <a:lnTo>
                  <a:pt x="1566" y="814"/>
                </a:lnTo>
                <a:lnTo>
                  <a:pt x="1563" y="814"/>
                </a:lnTo>
                <a:lnTo>
                  <a:pt x="1560" y="814"/>
                </a:lnTo>
                <a:lnTo>
                  <a:pt x="1557" y="812"/>
                </a:lnTo>
                <a:lnTo>
                  <a:pt x="1555" y="811"/>
                </a:lnTo>
                <a:lnTo>
                  <a:pt x="1553" y="809"/>
                </a:lnTo>
                <a:lnTo>
                  <a:pt x="1552" y="807"/>
                </a:lnTo>
                <a:lnTo>
                  <a:pt x="1551" y="805"/>
                </a:lnTo>
                <a:lnTo>
                  <a:pt x="1551" y="802"/>
                </a:lnTo>
                <a:lnTo>
                  <a:pt x="1551" y="800"/>
                </a:lnTo>
                <a:lnTo>
                  <a:pt x="1552" y="798"/>
                </a:lnTo>
                <a:lnTo>
                  <a:pt x="1553" y="795"/>
                </a:lnTo>
                <a:lnTo>
                  <a:pt x="1555" y="793"/>
                </a:lnTo>
                <a:lnTo>
                  <a:pt x="1557" y="791"/>
                </a:lnTo>
                <a:lnTo>
                  <a:pt x="1560" y="790"/>
                </a:lnTo>
                <a:lnTo>
                  <a:pt x="1563" y="790"/>
                </a:lnTo>
                <a:close/>
                <a:moveTo>
                  <a:pt x="1837" y="765"/>
                </a:moveTo>
                <a:lnTo>
                  <a:pt x="1841" y="766"/>
                </a:lnTo>
                <a:lnTo>
                  <a:pt x="1844" y="767"/>
                </a:lnTo>
                <a:lnTo>
                  <a:pt x="1846" y="769"/>
                </a:lnTo>
                <a:lnTo>
                  <a:pt x="1848" y="772"/>
                </a:lnTo>
                <a:lnTo>
                  <a:pt x="1849" y="774"/>
                </a:lnTo>
                <a:lnTo>
                  <a:pt x="1850" y="776"/>
                </a:lnTo>
                <a:lnTo>
                  <a:pt x="1850" y="779"/>
                </a:lnTo>
                <a:lnTo>
                  <a:pt x="1849" y="781"/>
                </a:lnTo>
                <a:lnTo>
                  <a:pt x="1848" y="783"/>
                </a:lnTo>
                <a:lnTo>
                  <a:pt x="1847" y="785"/>
                </a:lnTo>
                <a:lnTo>
                  <a:pt x="1845" y="787"/>
                </a:lnTo>
                <a:lnTo>
                  <a:pt x="1843" y="788"/>
                </a:lnTo>
                <a:lnTo>
                  <a:pt x="1840" y="789"/>
                </a:lnTo>
                <a:lnTo>
                  <a:pt x="1838" y="790"/>
                </a:lnTo>
                <a:lnTo>
                  <a:pt x="1834" y="789"/>
                </a:lnTo>
                <a:lnTo>
                  <a:pt x="1831" y="788"/>
                </a:lnTo>
                <a:lnTo>
                  <a:pt x="1829" y="786"/>
                </a:lnTo>
                <a:lnTo>
                  <a:pt x="1827" y="783"/>
                </a:lnTo>
                <a:lnTo>
                  <a:pt x="1826" y="781"/>
                </a:lnTo>
                <a:lnTo>
                  <a:pt x="1825" y="778"/>
                </a:lnTo>
                <a:lnTo>
                  <a:pt x="1825" y="776"/>
                </a:lnTo>
                <a:lnTo>
                  <a:pt x="1826" y="774"/>
                </a:lnTo>
                <a:lnTo>
                  <a:pt x="1827" y="772"/>
                </a:lnTo>
                <a:lnTo>
                  <a:pt x="1828" y="770"/>
                </a:lnTo>
                <a:lnTo>
                  <a:pt x="1830" y="768"/>
                </a:lnTo>
                <a:lnTo>
                  <a:pt x="1832" y="767"/>
                </a:lnTo>
                <a:lnTo>
                  <a:pt x="1835" y="765"/>
                </a:lnTo>
                <a:lnTo>
                  <a:pt x="1837" y="765"/>
                </a:lnTo>
                <a:close/>
                <a:moveTo>
                  <a:pt x="1429" y="753"/>
                </a:moveTo>
                <a:lnTo>
                  <a:pt x="1433" y="754"/>
                </a:lnTo>
                <a:lnTo>
                  <a:pt x="1437" y="756"/>
                </a:lnTo>
                <a:lnTo>
                  <a:pt x="1440" y="759"/>
                </a:lnTo>
                <a:lnTo>
                  <a:pt x="1441" y="762"/>
                </a:lnTo>
                <a:lnTo>
                  <a:pt x="1442" y="765"/>
                </a:lnTo>
                <a:lnTo>
                  <a:pt x="1442" y="767"/>
                </a:lnTo>
                <a:lnTo>
                  <a:pt x="1440" y="772"/>
                </a:lnTo>
                <a:lnTo>
                  <a:pt x="1439" y="774"/>
                </a:lnTo>
                <a:lnTo>
                  <a:pt x="1437" y="775"/>
                </a:lnTo>
                <a:lnTo>
                  <a:pt x="1435" y="777"/>
                </a:lnTo>
                <a:lnTo>
                  <a:pt x="1433" y="777"/>
                </a:lnTo>
                <a:lnTo>
                  <a:pt x="1429" y="778"/>
                </a:lnTo>
                <a:lnTo>
                  <a:pt x="1425" y="777"/>
                </a:lnTo>
                <a:lnTo>
                  <a:pt x="1422" y="775"/>
                </a:lnTo>
                <a:lnTo>
                  <a:pt x="1419" y="773"/>
                </a:lnTo>
                <a:lnTo>
                  <a:pt x="1418" y="769"/>
                </a:lnTo>
                <a:lnTo>
                  <a:pt x="1417" y="766"/>
                </a:lnTo>
                <a:lnTo>
                  <a:pt x="1417" y="764"/>
                </a:lnTo>
                <a:lnTo>
                  <a:pt x="1419" y="759"/>
                </a:lnTo>
                <a:lnTo>
                  <a:pt x="1420" y="758"/>
                </a:lnTo>
                <a:lnTo>
                  <a:pt x="1422" y="756"/>
                </a:lnTo>
                <a:lnTo>
                  <a:pt x="1424" y="755"/>
                </a:lnTo>
                <a:lnTo>
                  <a:pt x="1426" y="754"/>
                </a:lnTo>
                <a:lnTo>
                  <a:pt x="1429" y="753"/>
                </a:lnTo>
                <a:close/>
                <a:moveTo>
                  <a:pt x="1959" y="688"/>
                </a:moveTo>
                <a:lnTo>
                  <a:pt x="1962" y="688"/>
                </a:lnTo>
                <a:lnTo>
                  <a:pt x="1964" y="689"/>
                </a:lnTo>
                <a:lnTo>
                  <a:pt x="1967" y="691"/>
                </a:lnTo>
                <a:lnTo>
                  <a:pt x="1968" y="692"/>
                </a:lnTo>
                <a:lnTo>
                  <a:pt x="1969" y="693"/>
                </a:lnTo>
                <a:lnTo>
                  <a:pt x="1970" y="695"/>
                </a:lnTo>
                <a:lnTo>
                  <a:pt x="1971" y="697"/>
                </a:lnTo>
                <a:lnTo>
                  <a:pt x="1971" y="700"/>
                </a:lnTo>
                <a:lnTo>
                  <a:pt x="1971" y="702"/>
                </a:lnTo>
                <a:lnTo>
                  <a:pt x="1970" y="706"/>
                </a:lnTo>
                <a:lnTo>
                  <a:pt x="1968" y="708"/>
                </a:lnTo>
                <a:lnTo>
                  <a:pt x="1966" y="710"/>
                </a:lnTo>
                <a:lnTo>
                  <a:pt x="1965" y="711"/>
                </a:lnTo>
                <a:lnTo>
                  <a:pt x="1963" y="712"/>
                </a:lnTo>
                <a:lnTo>
                  <a:pt x="1961" y="712"/>
                </a:lnTo>
                <a:lnTo>
                  <a:pt x="1959" y="712"/>
                </a:lnTo>
                <a:lnTo>
                  <a:pt x="1956" y="712"/>
                </a:lnTo>
                <a:lnTo>
                  <a:pt x="1953" y="711"/>
                </a:lnTo>
                <a:lnTo>
                  <a:pt x="1951" y="710"/>
                </a:lnTo>
                <a:lnTo>
                  <a:pt x="1950" y="709"/>
                </a:lnTo>
                <a:lnTo>
                  <a:pt x="1949" y="707"/>
                </a:lnTo>
                <a:lnTo>
                  <a:pt x="1948" y="705"/>
                </a:lnTo>
                <a:lnTo>
                  <a:pt x="1947" y="703"/>
                </a:lnTo>
                <a:lnTo>
                  <a:pt x="1947" y="701"/>
                </a:lnTo>
                <a:lnTo>
                  <a:pt x="1947" y="698"/>
                </a:lnTo>
                <a:lnTo>
                  <a:pt x="1948" y="694"/>
                </a:lnTo>
                <a:lnTo>
                  <a:pt x="1950" y="692"/>
                </a:lnTo>
                <a:lnTo>
                  <a:pt x="1952" y="690"/>
                </a:lnTo>
                <a:lnTo>
                  <a:pt x="1953" y="689"/>
                </a:lnTo>
                <a:lnTo>
                  <a:pt x="1955" y="688"/>
                </a:lnTo>
                <a:lnTo>
                  <a:pt x="1957" y="688"/>
                </a:lnTo>
                <a:lnTo>
                  <a:pt x="1959" y="688"/>
                </a:lnTo>
                <a:close/>
                <a:moveTo>
                  <a:pt x="2069" y="595"/>
                </a:moveTo>
                <a:lnTo>
                  <a:pt x="2072" y="595"/>
                </a:lnTo>
                <a:lnTo>
                  <a:pt x="2074" y="596"/>
                </a:lnTo>
                <a:lnTo>
                  <a:pt x="2076" y="597"/>
                </a:lnTo>
                <a:lnTo>
                  <a:pt x="2078" y="599"/>
                </a:lnTo>
                <a:lnTo>
                  <a:pt x="2080" y="601"/>
                </a:lnTo>
                <a:lnTo>
                  <a:pt x="2081" y="603"/>
                </a:lnTo>
                <a:lnTo>
                  <a:pt x="2081" y="606"/>
                </a:lnTo>
                <a:lnTo>
                  <a:pt x="2082" y="608"/>
                </a:lnTo>
                <a:lnTo>
                  <a:pt x="2081" y="610"/>
                </a:lnTo>
                <a:lnTo>
                  <a:pt x="2080" y="613"/>
                </a:lnTo>
                <a:lnTo>
                  <a:pt x="2079" y="615"/>
                </a:lnTo>
                <a:lnTo>
                  <a:pt x="2078" y="616"/>
                </a:lnTo>
                <a:lnTo>
                  <a:pt x="2076" y="618"/>
                </a:lnTo>
                <a:lnTo>
                  <a:pt x="2074" y="619"/>
                </a:lnTo>
                <a:lnTo>
                  <a:pt x="2069" y="620"/>
                </a:lnTo>
                <a:lnTo>
                  <a:pt x="2067" y="620"/>
                </a:lnTo>
                <a:lnTo>
                  <a:pt x="2064" y="619"/>
                </a:lnTo>
                <a:lnTo>
                  <a:pt x="2062" y="618"/>
                </a:lnTo>
                <a:lnTo>
                  <a:pt x="2060" y="616"/>
                </a:lnTo>
                <a:lnTo>
                  <a:pt x="2059" y="614"/>
                </a:lnTo>
                <a:lnTo>
                  <a:pt x="2058" y="612"/>
                </a:lnTo>
                <a:lnTo>
                  <a:pt x="2057" y="609"/>
                </a:lnTo>
                <a:lnTo>
                  <a:pt x="2057" y="607"/>
                </a:lnTo>
                <a:lnTo>
                  <a:pt x="2057" y="605"/>
                </a:lnTo>
                <a:lnTo>
                  <a:pt x="2058" y="602"/>
                </a:lnTo>
                <a:lnTo>
                  <a:pt x="2059" y="600"/>
                </a:lnTo>
                <a:lnTo>
                  <a:pt x="2061" y="598"/>
                </a:lnTo>
                <a:lnTo>
                  <a:pt x="2063" y="597"/>
                </a:lnTo>
                <a:lnTo>
                  <a:pt x="2065" y="596"/>
                </a:lnTo>
                <a:lnTo>
                  <a:pt x="2069" y="595"/>
                </a:lnTo>
                <a:close/>
                <a:moveTo>
                  <a:pt x="2170" y="492"/>
                </a:moveTo>
                <a:lnTo>
                  <a:pt x="2175" y="492"/>
                </a:lnTo>
                <a:lnTo>
                  <a:pt x="2177" y="493"/>
                </a:lnTo>
                <a:lnTo>
                  <a:pt x="2179" y="495"/>
                </a:lnTo>
                <a:lnTo>
                  <a:pt x="2180" y="497"/>
                </a:lnTo>
                <a:lnTo>
                  <a:pt x="2182" y="499"/>
                </a:lnTo>
                <a:lnTo>
                  <a:pt x="2182" y="501"/>
                </a:lnTo>
                <a:lnTo>
                  <a:pt x="2183" y="503"/>
                </a:lnTo>
                <a:lnTo>
                  <a:pt x="2182" y="508"/>
                </a:lnTo>
                <a:lnTo>
                  <a:pt x="2181" y="510"/>
                </a:lnTo>
                <a:lnTo>
                  <a:pt x="2180" y="512"/>
                </a:lnTo>
                <a:lnTo>
                  <a:pt x="2178" y="514"/>
                </a:lnTo>
                <a:lnTo>
                  <a:pt x="2175" y="515"/>
                </a:lnTo>
                <a:lnTo>
                  <a:pt x="2173" y="516"/>
                </a:lnTo>
                <a:lnTo>
                  <a:pt x="2170" y="516"/>
                </a:lnTo>
                <a:lnTo>
                  <a:pt x="2166" y="515"/>
                </a:lnTo>
                <a:lnTo>
                  <a:pt x="2164" y="514"/>
                </a:lnTo>
                <a:lnTo>
                  <a:pt x="2162" y="513"/>
                </a:lnTo>
                <a:lnTo>
                  <a:pt x="2160" y="511"/>
                </a:lnTo>
                <a:lnTo>
                  <a:pt x="2159" y="509"/>
                </a:lnTo>
                <a:lnTo>
                  <a:pt x="2158" y="507"/>
                </a:lnTo>
                <a:lnTo>
                  <a:pt x="2158" y="504"/>
                </a:lnTo>
                <a:lnTo>
                  <a:pt x="2159" y="500"/>
                </a:lnTo>
                <a:lnTo>
                  <a:pt x="2160" y="498"/>
                </a:lnTo>
                <a:lnTo>
                  <a:pt x="2161" y="496"/>
                </a:lnTo>
                <a:lnTo>
                  <a:pt x="2163" y="494"/>
                </a:lnTo>
                <a:lnTo>
                  <a:pt x="2165" y="493"/>
                </a:lnTo>
                <a:lnTo>
                  <a:pt x="2168" y="492"/>
                </a:lnTo>
                <a:lnTo>
                  <a:pt x="2170" y="492"/>
                </a:lnTo>
                <a:close/>
                <a:moveTo>
                  <a:pt x="2263" y="381"/>
                </a:moveTo>
                <a:lnTo>
                  <a:pt x="2267" y="381"/>
                </a:lnTo>
                <a:lnTo>
                  <a:pt x="2268" y="382"/>
                </a:lnTo>
                <a:lnTo>
                  <a:pt x="2270" y="383"/>
                </a:lnTo>
                <a:lnTo>
                  <a:pt x="2272" y="385"/>
                </a:lnTo>
                <a:lnTo>
                  <a:pt x="2273" y="387"/>
                </a:lnTo>
                <a:lnTo>
                  <a:pt x="2275" y="392"/>
                </a:lnTo>
                <a:lnTo>
                  <a:pt x="2275" y="394"/>
                </a:lnTo>
                <a:lnTo>
                  <a:pt x="2275" y="396"/>
                </a:lnTo>
                <a:lnTo>
                  <a:pt x="2274" y="399"/>
                </a:lnTo>
                <a:lnTo>
                  <a:pt x="2273" y="401"/>
                </a:lnTo>
                <a:lnTo>
                  <a:pt x="2270" y="403"/>
                </a:lnTo>
                <a:lnTo>
                  <a:pt x="2268" y="404"/>
                </a:lnTo>
                <a:lnTo>
                  <a:pt x="2265" y="405"/>
                </a:lnTo>
                <a:lnTo>
                  <a:pt x="2263" y="405"/>
                </a:lnTo>
                <a:lnTo>
                  <a:pt x="2259" y="405"/>
                </a:lnTo>
                <a:lnTo>
                  <a:pt x="2257" y="404"/>
                </a:lnTo>
                <a:lnTo>
                  <a:pt x="2255" y="403"/>
                </a:lnTo>
                <a:lnTo>
                  <a:pt x="2253" y="401"/>
                </a:lnTo>
                <a:lnTo>
                  <a:pt x="2252" y="399"/>
                </a:lnTo>
                <a:lnTo>
                  <a:pt x="2251" y="395"/>
                </a:lnTo>
                <a:lnTo>
                  <a:pt x="2250" y="392"/>
                </a:lnTo>
                <a:lnTo>
                  <a:pt x="2251" y="390"/>
                </a:lnTo>
                <a:lnTo>
                  <a:pt x="2252" y="388"/>
                </a:lnTo>
                <a:lnTo>
                  <a:pt x="2253" y="386"/>
                </a:lnTo>
                <a:lnTo>
                  <a:pt x="2255" y="384"/>
                </a:lnTo>
                <a:lnTo>
                  <a:pt x="2257" y="382"/>
                </a:lnTo>
                <a:lnTo>
                  <a:pt x="2260" y="381"/>
                </a:lnTo>
                <a:lnTo>
                  <a:pt x="2263" y="381"/>
                </a:lnTo>
                <a:close/>
                <a:moveTo>
                  <a:pt x="2345" y="263"/>
                </a:moveTo>
                <a:lnTo>
                  <a:pt x="2348" y="263"/>
                </a:lnTo>
                <a:lnTo>
                  <a:pt x="2352" y="264"/>
                </a:lnTo>
                <a:lnTo>
                  <a:pt x="2354" y="266"/>
                </a:lnTo>
                <a:lnTo>
                  <a:pt x="2355" y="268"/>
                </a:lnTo>
                <a:lnTo>
                  <a:pt x="2356" y="270"/>
                </a:lnTo>
                <a:lnTo>
                  <a:pt x="2357" y="272"/>
                </a:lnTo>
                <a:lnTo>
                  <a:pt x="2357" y="274"/>
                </a:lnTo>
                <a:lnTo>
                  <a:pt x="2357" y="277"/>
                </a:lnTo>
                <a:lnTo>
                  <a:pt x="2357" y="279"/>
                </a:lnTo>
                <a:lnTo>
                  <a:pt x="2355" y="281"/>
                </a:lnTo>
                <a:lnTo>
                  <a:pt x="2353" y="284"/>
                </a:lnTo>
                <a:lnTo>
                  <a:pt x="2351" y="286"/>
                </a:lnTo>
                <a:lnTo>
                  <a:pt x="2348" y="287"/>
                </a:lnTo>
                <a:lnTo>
                  <a:pt x="2345" y="287"/>
                </a:lnTo>
                <a:lnTo>
                  <a:pt x="2342" y="287"/>
                </a:lnTo>
                <a:lnTo>
                  <a:pt x="2339" y="285"/>
                </a:lnTo>
                <a:lnTo>
                  <a:pt x="2337" y="284"/>
                </a:lnTo>
                <a:lnTo>
                  <a:pt x="2335" y="282"/>
                </a:lnTo>
                <a:lnTo>
                  <a:pt x="2334" y="280"/>
                </a:lnTo>
                <a:lnTo>
                  <a:pt x="2333" y="278"/>
                </a:lnTo>
                <a:lnTo>
                  <a:pt x="2333" y="275"/>
                </a:lnTo>
                <a:lnTo>
                  <a:pt x="2333" y="273"/>
                </a:lnTo>
                <a:lnTo>
                  <a:pt x="2333" y="271"/>
                </a:lnTo>
                <a:lnTo>
                  <a:pt x="2335" y="268"/>
                </a:lnTo>
                <a:lnTo>
                  <a:pt x="2337" y="266"/>
                </a:lnTo>
                <a:lnTo>
                  <a:pt x="2339" y="264"/>
                </a:lnTo>
                <a:lnTo>
                  <a:pt x="2342" y="263"/>
                </a:lnTo>
                <a:lnTo>
                  <a:pt x="2345" y="263"/>
                </a:lnTo>
                <a:close/>
                <a:moveTo>
                  <a:pt x="2413" y="135"/>
                </a:moveTo>
                <a:lnTo>
                  <a:pt x="2415" y="136"/>
                </a:lnTo>
                <a:lnTo>
                  <a:pt x="2417" y="136"/>
                </a:lnTo>
                <a:lnTo>
                  <a:pt x="2420" y="138"/>
                </a:lnTo>
                <a:lnTo>
                  <a:pt x="2421" y="139"/>
                </a:lnTo>
                <a:lnTo>
                  <a:pt x="2423" y="141"/>
                </a:lnTo>
                <a:lnTo>
                  <a:pt x="2424" y="143"/>
                </a:lnTo>
                <a:lnTo>
                  <a:pt x="2425" y="145"/>
                </a:lnTo>
                <a:lnTo>
                  <a:pt x="2425" y="148"/>
                </a:lnTo>
                <a:lnTo>
                  <a:pt x="2425" y="150"/>
                </a:lnTo>
                <a:lnTo>
                  <a:pt x="2424" y="152"/>
                </a:lnTo>
                <a:lnTo>
                  <a:pt x="2422" y="156"/>
                </a:lnTo>
                <a:lnTo>
                  <a:pt x="2421" y="157"/>
                </a:lnTo>
                <a:lnTo>
                  <a:pt x="2419" y="158"/>
                </a:lnTo>
                <a:lnTo>
                  <a:pt x="2418" y="159"/>
                </a:lnTo>
                <a:lnTo>
                  <a:pt x="2416" y="159"/>
                </a:lnTo>
                <a:lnTo>
                  <a:pt x="2413" y="160"/>
                </a:lnTo>
                <a:lnTo>
                  <a:pt x="2410" y="160"/>
                </a:lnTo>
                <a:lnTo>
                  <a:pt x="2408" y="159"/>
                </a:lnTo>
                <a:lnTo>
                  <a:pt x="2406" y="158"/>
                </a:lnTo>
                <a:lnTo>
                  <a:pt x="2404" y="156"/>
                </a:lnTo>
                <a:lnTo>
                  <a:pt x="2402" y="154"/>
                </a:lnTo>
                <a:lnTo>
                  <a:pt x="2401" y="152"/>
                </a:lnTo>
                <a:lnTo>
                  <a:pt x="2400" y="150"/>
                </a:lnTo>
                <a:lnTo>
                  <a:pt x="2400" y="148"/>
                </a:lnTo>
                <a:lnTo>
                  <a:pt x="2400" y="145"/>
                </a:lnTo>
                <a:lnTo>
                  <a:pt x="2401" y="143"/>
                </a:lnTo>
                <a:lnTo>
                  <a:pt x="2403" y="140"/>
                </a:lnTo>
                <a:lnTo>
                  <a:pt x="2404" y="138"/>
                </a:lnTo>
                <a:lnTo>
                  <a:pt x="2406" y="137"/>
                </a:lnTo>
                <a:lnTo>
                  <a:pt x="2407" y="136"/>
                </a:lnTo>
                <a:lnTo>
                  <a:pt x="2409" y="136"/>
                </a:lnTo>
                <a:lnTo>
                  <a:pt x="2413" y="135"/>
                </a:lnTo>
                <a:close/>
                <a:moveTo>
                  <a:pt x="2465" y="0"/>
                </a:moveTo>
                <a:lnTo>
                  <a:pt x="2466" y="1"/>
                </a:lnTo>
                <a:lnTo>
                  <a:pt x="2469" y="1"/>
                </a:lnTo>
                <a:lnTo>
                  <a:pt x="2471" y="2"/>
                </a:lnTo>
                <a:lnTo>
                  <a:pt x="2473" y="4"/>
                </a:lnTo>
                <a:lnTo>
                  <a:pt x="2475" y="6"/>
                </a:lnTo>
                <a:lnTo>
                  <a:pt x="2476" y="8"/>
                </a:lnTo>
                <a:lnTo>
                  <a:pt x="2477" y="10"/>
                </a:lnTo>
                <a:lnTo>
                  <a:pt x="2477" y="12"/>
                </a:lnTo>
                <a:lnTo>
                  <a:pt x="2476" y="17"/>
                </a:lnTo>
                <a:lnTo>
                  <a:pt x="2475" y="19"/>
                </a:lnTo>
                <a:lnTo>
                  <a:pt x="2474" y="20"/>
                </a:lnTo>
                <a:lnTo>
                  <a:pt x="2472" y="23"/>
                </a:lnTo>
                <a:lnTo>
                  <a:pt x="2470" y="24"/>
                </a:lnTo>
                <a:lnTo>
                  <a:pt x="2468" y="25"/>
                </a:lnTo>
                <a:lnTo>
                  <a:pt x="2465" y="25"/>
                </a:lnTo>
                <a:lnTo>
                  <a:pt x="2460" y="24"/>
                </a:lnTo>
                <a:lnTo>
                  <a:pt x="2458" y="23"/>
                </a:lnTo>
                <a:lnTo>
                  <a:pt x="2456" y="22"/>
                </a:lnTo>
                <a:lnTo>
                  <a:pt x="2455" y="20"/>
                </a:lnTo>
                <a:lnTo>
                  <a:pt x="2453" y="18"/>
                </a:lnTo>
                <a:lnTo>
                  <a:pt x="2453" y="16"/>
                </a:lnTo>
                <a:lnTo>
                  <a:pt x="2452" y="13"/>
                </a:lnTo>
                <a:lnTo>
                  <a:pt x="2453" y="8"/>
                </a:lnTo>
                <a:lnTo>
                  <a:pt x="2455" y="5"/>
                </a:lnTo>
                <a:lnTo>
                  <a:pt x="2457" y="3"/>
                </a:lnTo>
                <a:lnTo>
                  <a:pt x="2459" y="2"/>
                </a:lnTo>
                <a:lnTo>
                  <a:pt x="2460" y="1"/>
                </a:lnTo>
                <a:lnTo>
                  <a:pt x="2463" y="1"/>
                </a:lnTo>
                <a:lnTo>
                  <a:pt x="2465" y="0"/>
                </a:lnTo>
                <a:close/>
                <a:moveTo>
                  <a:pt x="687" y="1770"/>
                </a:moveTo>
                <a:lnTo>
                  <a:pt x="688" y="1770"/>
                </a:lnTo>
                <a:lnTo>
                  <a:pt x="690" y="1771"/>
                </a:lnTo>
                <a:lnTo>
                  <a:pt x="693" y="1772"/>
                </a:lnTo>
                <a:lnTo>
                  <a:pt x="695" y="1773"/>
                </a:lnTo>
                <a:lnTo>
                  <a:pt x="695" y="1774"/>
                </a:lnTo>
                <a:lnTo>
                  <a:pt x="696" y="1775"/>
                </a:lnTo>
                <a:lnTo>
                  <a:pt x="697" y="1777"/>
                </a:lnTo>
                <a:lnTo>
                  <a:pt x="698" y="1779"/>
                </a:lnTo>
                <a:lnTo>
                  <a:pt x="699" y="1782"/>
                </a:lnTo>
                <a:lnTo>
                  <a:pt x="699" y="1784"/>
                </a:lnTo>
                <a:lnTo>
                  <a:pt x="697" y="1788"/>
                </a:lnTo>
                <a:lnTo>
                  <a:pt x="696" y="1790"/>
                </a:lnTo>
                <a:lnTo>
                  <a:pt x="695" y="1792"/>
                </a:lnTo>
                <a:lnTo>
                  <a:pt x="693" y="1793"/>
                </a:lnTo>
                <a:lnTo>
                  <a:pt x="691" y="1794"/>
                </a:lnTo>
                <a:lnTo>
                  <a:pt x="687" y="1795"/>
                </a:lnTo>
                <a:lnTo>
                  <a:pt x="685" y="1795"/>
                </a:lnTo>
                <a:lnTo>
                  <a:pt x="683" y="1794"/>
                </a:lnTo>
                <a:lnTo>
                  <a:pt x="681" y="1793"/>
                </a:lnTo>
                <a:lnTo>
                  <a:pt x="679" y="1792"/>
                </a:lnTo>
                <a:lnTo>
                  <a:pt x="678" y="1791"/>
                </a:lnTo>
                <a:lnTo>
                  <a:pt x="677" y="1790"/>
                </a:lnTo>
                <a:lnTo>
                  <a:pt x="676" y="1788"/>
                </a:lnTo>
                <a:lnTo>
                  <a:pt x="675" y="1786"/>
                </a:lnTo>
                <a:lnTo>
                  <a:pt x="675" y="1784"/>
                </a:lnTo>
                <a:lnTo>
                  <a:pt x="675" y="1781"/>
                </a:lnTo>
                <a:lnTo>
                  <a:pt x="676" y="1777"/>
                </a:lnTo>
                <a:lnTo>
                  <a:pt x="677" y="1775"/>
                </a:lnTo>
                <a:lnTo>
                  <a:pt x="679" y="1773"/>
                </a:lnTo>
                <a:lnTo>
                  <a:pt x="680" y="1772"/>
                </a:lnTo>
                <a:lnTo>
                  <a:pt x="682" y="1771"/>
                </a:lnTo>
                <a:lnTo>
                  <a:pt x="687" y="1770"/>
                </a:lnTo>
                <a:close/>
                <a:moveTo>
                  <a:pt x="830" y="1760"/>
                </a:moveTo>
                <a:lnTo>
                  <a:pt x="834" y="1761"/>
                </a:lnTo>
                <a:lnTo>
                  <a:pt x="838" y="1763"/>
                </a:lnTo>
                <a:lnTo>
                  <a:pt x="840" y="1765"/>
                </a:lnTo>
                <a:lnTo>
                  <a:pt x="842" y="1769"/>
                </a:lnTo>
                <a:lnTo>
                  <a:pt x="843" y="1772"/>
                </a:lnTo>
                <a:lnTo>
                  <a:pt x="842" y="1774"/>
                </a:lnTo>
                <a:lnTo>
                  <a:pt x="841" y="1778"/>
                </a:lnTo>
                <a:lnTo>
                  <a:pt x="840" y="1780"/>
                </a:lnTo>
                <a:lnTo>
                  <a:pt x="839" y="1781"/>
                </a:lnTo>
                <a:lnTo>
                  <a:pt x="838" y="1782"/>
                </a:lnTo>
                <a:lnTo>
                  <a:pt x="836" y="1783"/>
                </a:lnTo>
                <a:lnTo>
                  <a:pt x="833" y="1784"/>
                </a:lnTo>
                <a:lnTo>
                  <a:pt x="830" y="1784"/>
                </a:lnTo>
                <a:lnTo>
                  <a:pt x="826" y="1784"/>
                </a:lnTo>
                <a:lnTo>
                  <a:pt x="823" y="1782"/>
                </a:lnTo>
                <a:lnTo>
                  <a:pt x="820" y="1779"/>
                </a:lnTo>
                <a:lnTo>
                  <a:pt x="819" y="1775"/>
                </a:lnTo>
                <a:lnTo>
                  <a:pt x="818" y="1773"/>
                </a:lnTo>
                <a:lnTo>
                  <a:pt x="818" y="1771"/>
                </a:lnTo>
                <a:lnTo>
                  <a:pt x="820" y="1766"/>
                </a:lnTo>
                <a:lnTo>
                  <a:pt x="821" y="1764"/>
                </a:lnTo>
                <a:lnTo>
                  <a:pt x="822" y="1763"/>
                </a:lnTo>
                <a:lnTo>
                  <a:pt x="823" y="1763"/>
                </a:lnTo>
                <a:lnTo>
                  <a:pt x="825" y="1761"/>
                </a:lnTo>
                <a:lnTo>
                  <a:pt x="827" y="1761"/>
                </a:lnTo>
                <a:lnTo>
                  <a:pt x="830" y="1760"/>
                </a:lnTo>
                <a:close/>
                <a:moveTo>
                  <a:pt x="549" y="1731"/>
                </a:moveTo>
                <a:lnTo>
                  <a:pt x="551" y="1732"/>
                </a:lnTo>
                <a:lnTo>
                  <a:pt x="554" y="1732"/>
                </a:lnTo>
                <a:lnTo>
                  <a:pt x="556" y="1734"/>
                </a:lnTo>
                <a:lnTo>
                  <a:pt x="558" y="1735"/>
                </a:lnTo>
                <a:lnTo>
                  <a:pt x="559" y="1737"/>
                </a:lnTo>
                <a:lnTo>
                  <a:pt x="560" y="1739"/>
                </a:lnTo>
                <a:lnTo>
                  <a:pt x="561" y="1744"/>
                </a:lnTo>
                <a:lnTo>
                  <a:pt x="561" y="1746"/>
                </a:lnTo>
                <a:lnTo>
                  <a:pt x="560" y="1748"/>
                </a:lnTo>
                <a:lnTo>
                  <a:pt x="558" y="1751"/>
                </a:lnTo>
                <a:lnTo>
                  <a:pt x="557" y="1753"/>
                </a:lnTo>
                <a:lnTo>
                  <a:pt x="555" y="1754"/>
                </a:lnTo>
                <a:lnTo>
                  <a:pt x="552" y="1755"/>
                </a:lnTo>
                <a:lnTo>
                  <a:pt x="549" y="1756"/>
                </a:lnTo>
                <a:lnTo>
                  <a:pt x="546" y="1755"/>
                </a:lnTo>
                <a:lnTo>
                  <a:pt x="544" y="1755"/>
                </a:lnTo>
                <a:lnTo>
                  <a:pt x="542" y="1753"/>
                </a:lnTo>
                <a:lnTo>
                  <a:pt x="540" y="1752"/>
                </a:lnTo>
                <a:lnTo>
                  <a:pt x="539" y="1750"/>
                </a:lnTo>
                <a:lnTo>
                  <a:pt x="537" y="1748"/>
                </a:lnTo>
                <a:lnTo>
                  <a:pt x="537" y="1743"/>
                </a:lnTo>
                <a:lnTo>
                  <a:pt x="537" y="1741"/>
                </a:lnTo>
                <a:lnTo>
                  <a:pt x="538" y="1739"/>
                </a:lnTo>
                <a:lnTo>
                  <a:pt x="540" y="1736"/>
                </a:lnTo>
                <a:lnTo>
                  <a:pt x="541" y="1734"/>
                </a:lnTo>
                <a:lnTo>
                  <a:pt x="542" y="1733"/>
                </a:lnTo>
                <a:lnTo>
                  <a:pt x="545" y="1732"/>
                </a:lnTo>
                <a:lnTo>
                  <a:pt x="549" y="1731"/>
                </a:lnTo>
                <a:close/>
                <a:moveTo>
                  <a:pt x="962" y="1704"/>
                </a:moveTo>
                <a:lnTo>
                  <a:pt x="966" y="1704"/>
                </a:lnTo>
                <a:lnTo>
                  <a:pt x="968" y="1705"/>
                </a:lnTo>
                <a:lnTo>
                  <a:pt x="971" y="1707"/>
                </a:lnTo>
                <a:lnTo>
                  <a:pt x="973" y="1710"/>
                </a:lnTo>
                <a:lnTo>
                  <a:pt x="974" y="1715"/>
                </a:lnTo>
                <a:lnTo>
                  <a:pt x="975" y="1717"/>
                </a:lnTo>
                <a:lnTo>
                  <a:pt x="974" y="1719"/>
                </a:lnTo>
                <a:lnTo>
                  <a:pt x="973" y="1721"/>
                </a:lnTo>
                <a:lnTo>
                  <a:pt x="972" y="1723"/>
                </a:lnTo>
                <a:lnTo>
                  <a:pt x="968" y="1727"/>
                </a:lnTo>
                <a:lnTo>
                  <a:pt x="966" y="1728"/>
                </a:lnTo>
                <a:lnTo>
                  <a:pt x="962" y="1728"/>
                </a:lnTo>
                <a:lnTo>
                  <a:pt x="959" y="1728"/>
                </a:lnTo>
                <a:lnTo>
                  <a:pt x="956" y="1727"/>
                </a:lnTo>
                <a:lnTo>
                  <a:pt x="954" y="1725"/>
                </a:lnTo>
                <a:lnTo>
                  <a:pt x="952" y="1722"/>
                </a:lnTo>
                <a:lnTo>
                  <a:pt x="950" y="1717"/>
                </a:lnTo>
                <a:lnTo>
                  <a:pt x="950" y="1715"/>
                </a:lnTo>
                <a:lnTo>
                  <a:pt x="951" y="1713"/>
                </a:lnTo>
                <a:lnTo>
                  <a:pt x="952" y="1711"/>
                </a:lnTo>
                <a:lnTo>
                  <a:pt x="953" y="1709"/>
                </a:lnTo>
                <a:lnTo>
                  <a:pt x="954" y="1707"/>
                </a:lnTo>
                <a:lnTo>
                  <a:pt x="956" y="1705"/>
                </a:lnTo>
                <a:lnTo>
                  <a:pt x="959" y="1704"/>
                </a:lnTo>
                <a:lnTo>
                  <a:pt x="962" y="1704"/>
                </a:lnTo>
                <a:close/>
                <a:moveTo>
                  <a:pt x="422" y="1662"/>
                </a:moveTo>
                <a:lnTo>
                  <a:pt x="426" y="1662"/>
                </a:lnTo>
                <a:lnTo>
                  <a:pt x="429" y="1664"/>
                </a:lnTo>
                <a:lnTo>
                  <a:pt x="431" y="1665"/>
                </a:lnTo>
                <a:lnTo>
                  <a:pt x="432" y="1667"/>
                </a:lnTo>
                <a:lnTo>
                  <a:pt x="433" y="1669"/>
                </a:lnTo>
                <a:lnTo>
                  <a:pt x="434" y="1671"/>
                </a:lnTo>
                <a:lnTo>
                  <a:pt x="434" y="1674"/>
                </a:lnTo>
                <a:lnTo>
                  <a:pt x="434" y="1676"/>
                </a:lnTo>
                <a:lnTo>
                  <a:pt x="434" y="1678"/>
                </a:lnTo>
                <a:lnTo>
                  <a:pt x="433" y="1680"/>
                </a:lnTo>
                <a:lnTo>
                  <a:pt x="431" y="1683"/>
                </a:lnTo>
                <a:lnTo>
                  <a:pt x="428" y="1685"/>
                </a:lnTo>
                <a:lnTo>
                  <a:pt x="425" y="1687"/>
                </a:lnTo>
                <a:lnTo>
                  <a:pt x="422" y="1687"/>
                </a:lnTo>
                <a:lnTo>
                  <a:pt x="419" y="1687"/>
                </a:lnTo>
                <a:lnTo>
                  <a:pt x="416" y="1684"/>
                </a:lnTo>
                <a:lnTo>
                  <a:pt x="414" y="1683"/>
                </a:lnTo>
                <a:lnTo>
                  <a:pt x="412" y="1681"/>
                </a:lnTo>
                <a:lnTo>
                  <a:pt x="411" y="1679"/>
                </a:lnTo>
                <a:lnTo>
                  <a:pt x="410" y="1677"/>
                </a:lnTo>
                <a:lnTo>
                  <a:pt x="410" y="1674"/>
                </a:lnTo>
                <a:lnTo>
                  <a:pt x="410" y="1672"/>
                </a:lnTo>
                <a:lnTo>
                  <a:pt x="411" y="1670"/>
                </a:lnTo>
                <a:lnTo>
                  <a:pt x="412" y="1667"/>
                </a:lnTo>
                <a:lnTo>
                  <a:pt x="414" y="1665"/>
                </a:lnTo>
                <a:lnTo>
                  <a:pt x="417" y="1663"/>
                </a:lnTo>
                <a:lnTo>
                  <a:pt x="419" y="1662"/>
                </a:lnTo>
                <a:lnTo>
                  <a:pt x="422" y="1662"/>
                </a:lnTo>
                <a:close/>
                <a:moveTo>
                  <a:pt x="1079" y="1619"/>
                </a:moveTo>
                <a:lnTo>
                  <a:pt x="1082" y="1619"/>
                </a:lnTo>
                <a:lnTo>
                  <a:pt x="1084" y="1620"/>
                </a:lnTo>
                <a:lnTo>
                  <a:pt x="1086" y="1621"/>
                </a:lnTo>
                <a:lnTo>
                  <a:pt x="1088" y="1623"/>
                </a:lnTo>
                <a:lnTo>
                  <a:pt x="1090" y="1625"/>
                </a:lnTo>
                <a:lnTo>
                  <a:pt x="1091" y="1627"/>
                </a:lnTo>
                <a:lnTo>
                  <a:pt x="1091" y="1630"/>
                </a:lnTo>
                <a:lnTo>
                  <a:pt x="1091" y="1632"/>
                </a:lnTo>
                <a:lnTo>
                  <a:pt x="1091" y="1634"/>
                </a:lnTo>
                <a:lnTo>
                  <a:pt x="1090" y="1636"/>
                </a:lnTo>
                <a:lnTo>
                  <a:pt x="1089" y="1639"/>
                </a:lnTo>
                <a:lnTo>
                  <a:pt x="1087" y="1640"/>
                </a:lnTo>
                <a:lnTo>
                  <a:pt x="1083" y="1643"/>
                </a:lnTo>
                <a:lnTo>
                  <a:pt x="1079" y="1643"/>
                </a:lnTo>
                <a:lnTo>
                  <a:pt x="1077" y="1643"/>
                </a:lnTo>
                <a:lnTo>
                  <a:pt x="1074" y="1642"/>
                </a:lnTo>
                <a:lnTo>
                  <a:pt x="1072" y="1641"/>
                </a:lnTo>
                <a:lnTo>
                  <a:pt x="1070" y="1639"/>
                </a:lnTo>
                <a:lnTo>
                  <a:pt x="1069" y="1637"/>
                </a:lnTo>
                <a:lnTo>
                  <a:pt x="1068" y="1635"/>
                </a:lnTo>
                <a:lnTo>
                  <a:pt x="1067" y="1633"/>
                </a:lnTo>
                <a:lnTo>
                  <a:pt x="1067" y="1630"/>
                </a:lnTo>
                <a:lnTo>
                  <a:pt x="1067" y="1628"/>
                </a:lnTo>
                <a:lnTo>
                  <a:pt x="1068" y="1626"/>
                </a:lnTo>
                <a:lnTo>
                  <a:pt x="1069" y="1624"/>
                </a:lnTo>
                <a:lnTo>
                  <a:pt x="1071" y="1622"/>
                </a:lnTo>
                <a:lnTo>
                  <a:pt x="1075" y="1620"/>
                </a:lnTo>
                <a:lnTo>
                  <a:pt x="1079" y="1619"/>
                </a:lnTo>
                <a:close/>
                <a:moveTo>
                  <a:pt x="302" y="1582"/>
                </a:moveTo>
                <a:lnTo>
                  <a:pt x="306" y="1583"/>
                </a:lnTo>
                <a:lnTo>
                  <a:pt x="307" y="1583"/>
                </a:lnTo>
                <a:lnTo>
                  <a:pt x="309" y="1584"/>
                </a:lnTo>
                <a:lnTo>
                  <a:pt x="311" y="1586"/>
                </a:lnTo>
                <a:lnTo>
                  <a:pt x="312" y="1588"/>
                </a:lnTo>
                <a:lnTo>
                  <a:pt x="313" y="1590"/>
                </a:lnTo>
                <a:lnTo>
                  <a:pt x="314" y="1592"/>
                </a:lnTo>
                <a:lnTo>
                  <a:pt x="314" y="1597"/>
                </a:lnTo>
                <a:lnTo>
                  <a:pt x="313" y="1599"/>
                </a:lnTo>
                <a:lnTo>
                  <a:pt x="312" y="1601"/>
                </a:lnTo>
                <a:lnTo>
                  <a:pt x="310" y="1604"/>
                </a:lnTo>
                <a:lnTo>
                  <a:pt x="308" y="1605"/>
                </a:lnTo>
                <a:lnTo>
                  <a:pt x="305" y="1606"/>
                </a:lnTo>
                <a:lnTo>
                  <a:pt x="302" y="1607"/>
                </a:lnTo>
                <a:lnTo>
                  <a:pt x="299" y="1606"/>
                </a:lnTo>
                <a:lnTo>
                  <a:pt x="297" y="1606"/>
                </a:lnTo>
                <a:lnTo>
                  <a:pt x="295" y="1605"/>
                </a:lnTo>
                <a:lnTo>
                  <a:pt x="293" y="1603"/>
                </a:lnTo>
                <a:lnTo>
                  <a:pt x="292" y="1601"/>
                </a:lnTo>
                <a:lnTo>
                  <a:pt x="291" y="1599"/>
                </a:lnTo>
                <a:lnTo>
                  <a:pt x="290" y="1597"/>
                </a:lnTo>
                <a:lnTo>
                  <a:pt x="290" y="1592"/>
                </a:lnTo>
                <a:lnTo>
                  <a:pt x="291" y="1590"/>
                </a:lnTo>
                <a:lnTo>
                  <a:pt x="292" y="1588"/>
                </a:lnTo>
                <a:lnTo>
                  <a:pt x="293" y="1586"/>
                </a:lnTo>
                <a:lnTo>
                  <a:pt x="294" y="1585"/>
                </a:lnTo>
                <a:lnTo>
                  <a:pt x="296" y="1584"/>
                </a:lnTo>
                <a:lnTo>
                  <a:pt x="299" y="1583"/>
                </a:lnTo>
                <a:lnTo>
                  <a:pt x="302" y="1582"/>
                </a:lnTo>
                <a:close/>
                <a:moveTo>
                  <a:pt x="1180" y="1517"/>
                </a:moveTo>
                <a:lnTo>
                  <a:pt x="1184" y="1517"/>
                </a:lnTo>
                <a:lnTo>
                  <a:pt x="1186" y="1518"/>
                </a:lnTo>
                <a:lnTo>
                  <a:pt x="1188" y="1520"/>
                </a:lnTo>
                <a:lnTo>
                  <a:pt x="1190" y="1521"/>
                </a:lnTo>
                <a:lnTo>
                  <a:pt x="1191" y="1523"/>
                </a:lnTo>
                <a:lnTo>
                  <a:pt x="1192" y="1526"/>
                </a:lnTo>
                <a:lnTo>
                  <a:pt x="1192" y="1528"/>
                </a:lnTo>
                <a:lnTo>
                  <a:pt x="1192" y="1530"/>
                </a:lnTo>
                <a:lnTo>
                  <a:pt x="1192" y="1533"/>
                </a:lnTo>
                <a:lnTo>
                  <a:pt x="1191" y="1535"/>
                </a:lnTo>
                <a:lnTo>
                  <a:pt x="1190" y="1536"/>
                </a:lnTo>
                <a:lnTo>
                  <a:pt x="1189" y="1537"/>
                </a:lnTo>
                <a:lnTo>
                  <a:pt x="1187" y="1539"/>
                </a:lnTo>
                <a:lnTo>
                  <a:pt x="1185" y="1540"/>
                </a:lnTo>
                <a:lnTo>
                  <a:pt x="1183" y="1541"/>
                </a:lnTo>
                <a:lnTo>
                  <a:pt x="1180" y="1541"/>
                </a:lnTo>
                <a:lnTo>
                  <a:pt x="1176" y="1540"/>
                </a:lnTo>
                <a:lnTo>
                  <a:pt x="1174" y="1539"/>
                </a:lnTo>
                <a:lnTo>
                  <a:pt x="1172" y="1538"/>
                </a:lnTo>
                <a:lnTo>
                  <a:pt x="1171" y="1536"/>
                </a:lnTo>
                <a:lnTo>
                  <a:pt x="1169" y="1534"/>
                </a:lnTo>
                <a:lnTo>
                  <a:pt x="1169" y="1532"/>
                </a:lnTo>
                <a:lnTo>
                  <a:pt x="1168" y="1530"/>
                </a:lnTo>
                <a:lnTo>
                  <a:pt x="1168" y="1527"/>
                </a:lnTo>
                <a:lnTo>
                  <a:pt x="1169" y="1525"/>
                </a:lnTo>
                <a:lnTo>
                  <a:pt x="1170" y="1523"/>
                </a:lnTo>
                <a:lnTo>
                  <a:pt x="1170" y="1522"/>
                </a:lnTo>
                <a:lnTo>
                  <a:pt x="1171" y="1521"/>
                </a:lnTo>
                <a:lnTo>
                  <a:pt x="1173" y="1519"/>
                </a:lnTo>
                <a:lnTo>
                  <a:pt x="1175" y="1518"/>
                </a:lnTo>
                <a:lnTo>
                  <a:pt x="1178" y="1517"/>
                </a:lnTo>
                <a:lnTo>
                  <a:pt x="1180" y="1517"/>
                </a:lnTo>
                <a:close/>
                <a:moveTo>
                  <a:pt x="181" y="1505"/>
                </a:moveTo>
                <a:lnTo>
                  <a:pt x="184" y="1506"/>
                </a:lnTo>
                <a:lnTo>
                  <a:pt x="187" y="1507"/>
                </a:lnTo>
                <a:lnTo>
                  <a:pt x="189" y="1508"/>
                </a:lnTo>
                <a:lnTo>
                  <a:pt x="189" y="1509"/>
                </a:lnTo>
                <a:lnTo>
                  <a:pt x="190" y="1510"/>
                </a:lnTo>
                <a:lnTo>
                  <a:pt x="191" y="1512"/>
                </a:lnTo>
                <a:lnTo>
                  <a:pt x="192" y="1514"/>
                </a:lnTo>
                <a:lnTo>
                  <a:pt x="193" y="1516"/>
                </a:lnTo>
                <a:lnTo>
                  <a:pt x="193" y="1519"/>
                </a:lnTo>
                <a:lnTo>
                  <a:pt x="191" y="1523"/>
                </a:lnTo>
                <a:lnTo>
                  <a:pt x="189" y="1526"/>
                </a:lnTo>
                <a:lnTo>
                  <a:pt x="186" y="1528"/>
                </a:lnTo>
                <a:lnTo>
                  <a:pt x="184" y="1529"/>
                </a:lnTo>
                <a:lnTo>
                  <a:pt x="181" y="1529"/>
                </a:lnTo>
                <a:lnTo>
                  <a:pt x="177" y="1529"/>
                </a:lnTo>
                <a:lnTo>
                  <a:pt x="174" y="1528"/>
                </a:lnTo>
                <a:lnTo>
                  <a:pt x="172" y="1526"/>
                </a:lnTo>
                <a:lnTo>
                  <a:pt x="171" y="1525"/>
                </a:lnTo>
                <a:lnTo>
                  <a:pt x="170" y="1523"/>
                </a:lnTo>
                <a:lnTo>
                  <a:pt x="169" y="1520"/>
                </a:lnTo>
                <a:lnTo>
                  <a:pt x="168" y="1518"/>
                </a:lnTo>
                <a:lnTo>
                  <a:pt x="168" y="1516"/>
                </a:lnTo>
                <a:lnTo>
                  <a:pt x="170" y="1511"/>
                </a:lnTo>
                <a:lnTo>
                  <a:pt x="172" y="1509"/>
                </a:lnTo>
                <a:lnTo>
                  <a:pt x="175" y="1507"/>
                </a:lnTo>
                <a:lnTo>
                  <a:pt x="177" y="1506"/>
                </a:lnTo>
                <a:lnTo>
                  <a:pt x="181" y="1505"/>
                </a:lnTo>
                <a:close/>
                <a:moveTo>
                  <a:pt x="51" y="1443"/>
                </a:moveTo>
                <a:lnTo>
                  <a:pt x="55" y="1444"/>
                </a:lnTo>
                <a:lnTo>
                  <a:pt x="57" y="1445"/>
                </a:lnTo>
                <a:lnTo>
                  <a:pt x="59" y="1447"/>
                </a:lnTo>
                <a:lnTo>
                  <a:pt x="61" y="1448"/>
                </a:lnTo>
                <a:lnTo>
                  <a:pt x="62" y="1450"/>
                </a:lnTo>
                <a:lnTo>
                  <a:pt x="62" y="1453"/>
                </a:lnTo>
                <a:lnTo>
                  <a:pt x="63" y="1455"/>
                </a:lnTo>
                <a:lnTo>
                  <a:pt x="62" y="1460"/>
                </a:lnTo>
                <a:lnTo>
                  <a:pt x="60" y="1463"/>
                </a:lnTo>
                <a:lnTo>
                  <a:pt x="58" y="1466"/>
                </a:lnTo>
                <a:lnTo>
                  <a:pt x="56" y="1467"/>
                </a:lnTo>
                <a:lnTo>
                  <a:pt x="54" y="1467"/>
                </a:lnTo>
                <a:lnTo>
                  <a:pt x="51" y="1468"/>
                </a:lnTo>
                <a:lnTo>
                  <a:pt x="47" y="1467"/>
                </a:lnTo>
                <a:lnTo>
                  <a:pt x="44" y="1466"/>
                </a:lnTo>
                <a:lnTo>
                  <a:pt x="42" y="1465"/>
                </a:lnTo>
                <a:lnTo>
                  <a:pt x="41" y="1463"/>
                </a:lnTo>
                <a:lnTo>
                  <a:pt x="40" y="1461"/>
                </a:lnTo>
                <a:lnTo>
                  <a:pt x="39" y="1459"/>
                </a:lnTo>
                <a:lnTo>
                  <a:pt x="39" y="1456"/>
                </a:lnTo>
                <a:lnTo>
                  <a:pt x="39" y="1451"/>
                </a:lnTo>
                <a:lnTo>
                  <a:pt x="41" y="1448"/>
                </a:lnTo>
                <a:lnTo>
                  <a:pt x="44" y="1446"/>
                </a:lnTo>
                <a:lnTo>
                  <a:pt x="45" y="1445"/>
                </a:lnTo>
                <a:lnTo>
                  <a:pt x="47" y="1444"/>
                </a:lnTo>
                <a:lnTo>
                  <a:pt x="51" y="1443"/>
                </a:lnTo>
                <a:close/>
                <a:moveTo>
                  <a:pt x="1271" y="1404"/>
                </a:moveTo>
                <a:lnTo>
                  <a:pt x="1275" y="1405"/>
                </a:lnTo>
                <a:lnTo>
                  <a:pt x="1276" y="1406"/>
                </a:lnTo>
                <a:lnTo>
                  <a:pt x="1278" y="1407"/>
                </a:lnTo>
                <a:lnTo>
                  <a:pt x="1280" y="1409"/>
                </a:lnTo>
                <a:lnTo>
                  <a:pt x="1281" y="1411"/>
                </a:lnTo>
                <a:lnTo>
                  <a:pt x="1282" y="1413"/>
                </a:lnTo>
                <a:lnTo>
                  <a:pt x="1283" y="1415"/>
                </a:lnTo>
                <a:lnTo>
                  <a:pt x="1283" y="1417"/>
                </a:lnTo>
                <a:lnTo>
                  <a:pt x="1282" y="1420"/>
                </a:lnTo>
                <a:lnTo>
                  <a:pt x="1282" y="1422"/>
                </a:lnTo>
                <a:lnTo>
                  <a:pt x="1280" y="1424"/>
                </a:lnTo>
                <a:lnTo>
                  <a:pt x="1278" y="1426"/>
                </a:lnTo>
                <a:lnTo>
                  <a:pt x="1276" y="1428"/>
                </a:lnTo>
                <a:lnTo>
                  <a:pt x="1273" y="1428"/>
                </a:lnTo>
                <a:lnTo>
                  <a:pt x="1271" y="1429"/>
                </a:lnTo>
                <a:lnTo>
                  <a:pt x="1267" y="1428"/>
                </a:lnTo>
                <a:lnTo>
                  <a:pt x="1265" y="1427"/>
                </a:lnTo>
                <a:lnTo>
                  <a:pt x="1263" y="1426"/>
                </a:lnTo>
                <a:lnTo>
                  <a:pt x="1262" y="1425"/>
                </a:lnTo>
                <a:lnTo>
                  <a:pt x="1260" y="1423"/>
                </a:lnTo>
                <a:lnTo>
                  <a:pt x="1259" y="1420"/>
                </a:lnTo>
                <a:lnTo>
                  <a:pt x="1259" y="1418"/>
                </a:lnTo>
                <a:lnTo>
                  <a:pt x="1259" y="1416"/>
                </a:lnTo>
                <a:lnTo>
                  <a:pt x="1259" y="1414"/>
                </a:lnTo>
                <a:lnTo>
                  <a:pt x="1260" y="1411"/>
                </a:lnTo>
                <a:lnTo>
                  <a:pt x="1261" y="1409"/>
                </a:lnTo>
                <a:lnTo>
                  <a:pt x="1263" y="1407"/>
                </a:lnTo>
                <a:lnTo>
                  <a:pt x="1265" y="1406"/>
                </a:lnTo>
                <a:lnTo>
                  <a:pt x="1268" y="1405"/>
                </a:lnTo>
                <a:lnTo>
                  <a:pt x="1271" y="1404"/>
                </a:lnTo>
                <a:close/>
                <a:moveTo>
                  <a:pt x="1361" y="1292"/>
                </a:moveTo>
                <a:lnTo>
                  <a:pt x="1365" y="1293"/>
                </a:lnTo>
                <a:lnTo>
                  <a:pt x="1367" y="1294"/>
                </a:lnTo>
                <a:lnTo>
                  <a:pt x="1369" y="1295"/>
                </a:lnTo>
                <a:lnTo>
                  <a:pt x="1370" y="1297"/>
                </a:lnTo>
                <a:lnTo>
                  <a:pt x="1372" y="1299"/>
                </a:lnTo>
                <a:lnTo>
                  <a:pt x="1372" y="1301"/>
                </a:lnTo>
                <a:lnTo>
                  <a:pt x="1373" y="1303"/>
                </a:lnTo>
                <a:lnTo>
                  <a:pt x="1373" y="1306"/>
                </a:lnTo>
                <a:lnTo>
                  <a:pt x="1372" y="1308"/>
                </a:lnTo>
                <a:lnTo>
                  <a:pt x="1371" y="1310"/>
                </a:lnTo>
                <a:lnTo>
                  <a:pt x="1370" y="1312"/>
                </a:lnTo>
                <a:lnTo>
                  <a:pt x="1368" y="1314"/>
                </a:lnTo>
                <a:lnTo>
                  <a:pt x="1366" y="1315"/>
                </a:lnTo>
                <a:lnTo>
                  <a:pt x="1363" y="1316"/>
                </a:lnTo>
                <a:lnTo>
                  <a:pt x="1361" y="1316"/>
                </a:lnTo>
                <a:lnTo>
                  <a:pt x="1356" y="1316"/>
                </a:lnTo>
                <a:lnTo>
                  <a:pt x="1354" y="1315"/>
                </a:lnTo>
                <a:lnTo>
                  <a:pt x="1353" y="1313"/>
                </a:lnTo>
                <a:lnTo>
                  <a:pt x="1351" y="1311"/>
                </a:lnTo>
                <a:lnTo>
                  <a:pt x="1350" y="1309"/>
                </a:lnTo>
                <a:lnTo>
                  <a:pt x="1349" y="1307"/>
                </a:lnTo>
                <a:lnTo>
                  <a:pt x="1349" y="1305"/>
                </a:lnTo>
                <a:lnTo>
                  <a:pt x="1349" y="1303"/>
                </a:lnTo>
                <a:lnTo>
                  <a:pt x="1349" y="1300"/>
                </a:lnTo>
                <a:lnTo>
                  <a:pt x="1350" y="1298"/>
                </a:lnTo>
                <a:lnTo>
                  <a:pt x="1352" y="1296"/>
                </a:lnTo>
                <a:lnTo>
                  <a:pt x="1354" y="1294"/>
                </a:lnTo>
                <a:lnTo>
                  <a:pt x="1356" y="1293"/>
                </a:lnTo>
                <a:lnTo>
                  <a:pt x="1358" y="1292"/>
                </a:lnTo>
                <a:lnTo>
                  <a:pt x="1361" y="1292"/>
                </a:lnTo>
                <a:close/>
                <a:moveTo>
                  <a:pt x="1748" y="1267"/>
                </a:moveTo>
                <a:lnTo>
                  <a:pt x="1752" y="1268"/>
                </a:lnTo>
                <a:lnTo>
                  <a:pt x="1756" y="1270"/>
                </a:lnTo>
                <a:lnTo>
                  <a:pt x="1758" y="1274"/>
                </a:lnTo>
                <a:lnTo>
                  <a:pt x="1759" y="1275"/>
                </a:lnTo>
                <a:lnTo>
                  <a:pt x="1760" y="1278"/>
                </a:lnTo>
                <a:lnTo>
                  <a:pt x="1760" y="1280"/>
                </a:lnTo>
                <a:lnTo>
                  <a:pt x="1760" y="1282"/>
                </a:lnTo>
                <a:lnTo>
                  <a:pt x="1759" y="1285"/>
                </a:lnTo>
                <a:lnTo>
                  <a:pt x="1758" y="1287"/>
                </a:lnTo>
                <a:lnTo>
                  <a:pt x="1756" y="1288"/>
                </a:lnTo>
                <a:lnTo>
                  <a:pt x="1754" y="1290"/>
                </a:lnTo>
                <a:lnTo>
                  <a:pt x="1752" y="1291"/>
                </a:lnTo>
                <a:lnTo>
                  <a:pt x="1750" y="1292"/>
                </a:lnTo>
                <a:lnTo>
                  <a:pt x="1748" y="1292"/>
                </a:lnTo>
                <a:lnTo>
                  <a:pt x="1744" y="1291"/>
                </a:lnTo>
                <a:lnTo>
                  <a:pt x="1740" y="1289"/>
                </a:lnTo>
                <a:lnTo>
                  <a:pt x="1737" y="1286"/>
                </a:lnTo>
                <a:lnTo>
                  <a:pt x="1736" y="1284"/>
                </a:lnTo>
                <a:lnTo>
                  <a:pt x="1736" y="1281"/>
                </a:lnTo>
                <a:lnTo>
                  <a:pt x="1736" y="1279"/>
                </a:lnTo>
                <a:lnTo>
                  <a:pt x="1736" y="1277"/>
                </a:lnTo>
                <a:lnTo>
                  <a:pt x="1737" y="1274"/>
                </a:lnTo>
                <a:lnTo>
                  <a:pt x="1738" y="1272"/>
                </a:lnTo>
                <a:lnTo>
                  <a:pt x="1740" y="1271"/>
                </a:lnTo>
                <a:lnTo>
                  <a:pt x="1741" y="1269"/>
                </a:lnTo>
                <a:lnTo>
                  <a:pt x="1744" y="1268"/>
                </a:lnTo>
                <a:lnTo>
                  <a:pt x="1746" y="1267"/>
                </a:lnTo>
                <a:lnTo>
                  <a:pt x="1748" y="1267"/>
                </a:lnTo>
                <a:close/>
                <a:moveTo>
                  <a:pt x="1609" y="1244"/>
                </a:moveTo>
                <a:lnTo>
                  <a:pt x="1612" y="1245"/>
                </a:lnTo>
                <a:lnTo>
                  <a:pt x="1615" y="1246"/>
                </a:lnTo>
                <a:lnTo>
                  <a:pt x="1617" y="1248"/>
                </a:lnTo>
                <a:lnTo>
                  <a:pt x="1619" y="1249"/>
                </a:lnTo>
                <a:lnTo>
                  <a:pt x="1620" y="1251"/>
                </a:lnTo>
                <a:lnTo>
                  <a:pt x="1621" y="1254"/>
                </a:lnTo>
                <a:lnTo>
                  <a:pt x="1621" y="1256"/>
                </a:lnTo>
                <a:lnTo>
                  <a:pt x="1621" y="1258"/>
                </a:lnTo>
                <a:lnTo>
                  <a:pt x="1620" y="1261"/>
                </a:lnTo>
                <a:lnTo>
                  <a:pt x="1619" y="1263"/>
                </a:lnTo>
                <a:lnTo>
                  <a:pt x="1617" y="1265"/>
                </a:lnTo>
                <a:lnTo>
                  <a:pt x="1615" y="1267"/>
                </a:lnTo>
                <a:lnTo>
                  <a:pt x="1612" y="1268"/>
                </a:lnTo>
                <a:lnTo>
                  <a:pt x="1609" y="1269"/>
                </a:lnTo>
                <a:lnTo>
                  <a:pt x="1606" y="1268"/>
                </a:lnTo>
                <a:lnTo>
                  <a:pt x="1602" y="1267"/>
                </a:lnTo>
                <a:lnTo>
                  <a:pt x="1600" y="1265"/>
                </a:lnTo>
                <a:lnTo>
                  <a:pt x="1599" y="1264"/>
                </a:lnTo>
                <a:lnTo>
                  <a:pt x="1598" y="1262"/>
                </a:lnTo>
                <a:lnTo>
                  <a:pt x="1597" y="1259"/>
                </a:lnTo>
                <a:lnTo>
                  <a:pt x="1597" y="1257"/>
                </a:lnTo>
                <a:lnTo>
                  <a:pt x="1597" y="1255"/>
                </a:lnTo>
                <a:lnTo>
                  <a:pt x="1597" y="1252"/>
                </a:lnTo>
                <a:lnTo>
                  <a:pt x="1598" y="1250"/>
                </a:lnTo>
                <a:lnTo>
                  <a:pt x="1600" y="1248"/>
                </a:lnTo>
                <a:lnTo>
                  <a:pt x="1603" y="1246"/>
                </a:lnTo>
                <a:lnTo>
                  <a:pt x="1606" y="1245"/>
                </a:lnTo>
                <a:lnTo>
                  <a:pt x="1609" y="1244"/>
                </a:lnTo>
                <a:close/>
                <a:moveTo>
                  <a:pt x="1883" y="1220"/>
                </a:moveTo>
                <a:lnTo>
                  <a:pt x="1886" y="1220"/>
                </a:lnTo>
                <a:lnTo>
                  <a:pt x="1889" y="1222"/>
                </a:lnTo>
                <a:lnTo>
                  <a:pt x="1892" y="1224"/>
                </a:lnTo>
                <a:lnTo>
                  <a:pt x="1894" y="1226"/>
                </a:lnTo>
                <a:lnTo>
                  <a:pt x="1895" y="1229"/>
                </a:lnTo>
                <a:lnTo>
                  <a:pt x="1895" y="1231"/>
                </a:lnTo>
                <a:lnTo>
                  <a:pt x="1895" y="1233"/>
                </a:lnTo>
                <a:lnTo>
                  <a:pt x="1895" y="1236"/>
                </a:lnTo>
                <a:lnTo>
                  <a:pt x="1894" y="1238"/>
                </a:lnTo>
                <a:lnTo>
                  <a:pt x="1892" y="1240"/>
                </a:lnTo>
                <a:lnTo>
                  <a:pt x="1891" y="1241"/>
                </a:lnTo>
                <a:lnTo>
                  <a:pt x="1889" y="1243"/>
                </a:lnTo>
                <a:lnTo>
                  <a:pt x="1886" y="1244"/>
                </a:lnTo>
                <a:lnTo>
                  <a:pt x="1883" y="1244"/>
                </a:lnTo>
                <a:lnTo>
                  <a:pt x="1880" y="1244"/>
                </a:lnTo>
                <a:lnTo>
                  <a:pt x="1877" y="1242"/>
                </a:lnTo>
                <a:lnTo>
                  <a:pt x="1874" y="1240"/>
                </a:lnTo>
                <a:lnTo>
                  <a:pt x="1872" y="1238"/>
                </a:lnTo>
                <a:lnTo>
                  <a:pt x="1871" y="1235"/>
                </a:lnTo>
                <a:lnTo>
                  <a:pt x="1871" y="1233"/>
                </a:lnTo>
                <a:lnTo>
                  <a:pt x="1871" y="1231"/>
                </a:lnTo>
                <a:lnTo>
                  <a:pt x="1871" y="1228"/>
                </a:lnTo>
                <a:lnTo>
                  <a:pt x="1872" y="1226"/>
                </a:lnTo>
                <a:lnTo>
                  <a:pt x="1874" y="1224"/>
                </a:lnTo>
                <a:lnTo>
                  <a:pt x="1875" y="1223"/>
                </a:lnTo>
                <a:lnTo>
                  <a:pt x="1877" y="1221"/>
                </a:lnTo>
                <a:lnTo>
                  <a:pt x="1880" y="1220"/>
                </a:lnTo>
                <a:lnTo>
                  <a:pt x="1883" y="1220"/>
                </a:lnTo>
                <a:close/>
                <a:moveTo>
                  <a:pt x="1475" y="1208"/>
                </a:moveTo>
                <a:lnTo>
                  <a:pt x="1479" y="1209"/>
                </a:lnTo>
                <a:lnTo>
                  <a:pt x="1482" y="1210"/>
                </a:lnTo>
                <a:lnTo>
                  <a:pt x="1485" y="1213"/>
                </a:lnTo>
                <a:lnTo>
                  <a:pt x="1487" y="1217"/>
                </a:lnTo>
                <a:lnTo>
                  <a:pt x="1487" y="1219"/>
                </a:lnTo>
                <a:lnTo>
                  <a:pt x="1487" y="1222"/>
                </a:lnTo>
                <a:lnTo>
                  <a:pt x="1485" y="1226"/>
                </a:lnTo>
                <a:lnTo>
                  <a:pt x="1484" y="1228"/>
                </a:lnTo>
                <a:lnTo>
                  <a:pt x="1483" y="1229"/>
                </a:lnTo>
                <a:lnTo>
                  <a:pt x="1482" y="1230"/>
                </a:lnTo>
                <a:lnTo>
                  <a:pt x="1480" y="1231"/>
                </a:lnTo>
                <a:lnTo>
                  <a:pt x="1478" y="1232"/>
                </a:lnTo>
                <a:lnTo>
                  <a:pt x="1475" y="1232"/>
                </a:lnTo>
                <a:lnTo>
                  <a:pt x="1471" y="1232"/>
                </a:lnTo>
                <a:lnTo>
                  <a:pt x="1468" y="1230"/>
                </a:lnTo>
                <a:lnTo>
                  <a:pt x="1465" y="1227"/>
                </a:lnTo>
                <a:lnTo>
                  <a:pt x="1463" y="1223"/>
                </a:lnTo>
                <a:lnTo>
                  <a:pt x="1463" y="1221"/>
                </a:lnTo>
                <a:lnTo>
                  <a:pt x="1463" y="1218"/>
                </a:lnTo>
                <a:lnTo>
                  <a:pt x="1464" y="1214"/>
                </a:lnTo>
                <a:lnTo>
                  <a:pt x="1466" y="1212"/>
                </a:lnTo>
                <a:lnTo>
                  <a:pt x="1467" y="1211"/>
                </a:lnTo>
                <a:lnTo>
                  <a:pt x="1469" y="1209"/>
                </a:lnTo>
                <a:lnTo>
                  <a:pt x="1472" y="1208"/>
                </a:lnTo>
                <a:lnTo>
                  <a:pt x="1475" y="1208"/>
                </a:lnTo>
                <a:close/>
                <a:moveTo>
                  <a:pt x="2004" y="1143"/>
                </a:moveTo>
                <a:lnTo>
                  <a:pt x="2007" y="1143"/>
                </a:lnTo>
                <a:lnTo>
                  <a:pt x="2010" y="1144"/>
                </a:lnTo>
                <a:lnTo>
                  <a:pt x="2012" y="1145"/>
                </a:lnTo>
                <a:lnTo>
                  <a:pt x="2014" y="1147"/>
                </a:lnTo>
                <a:lnTo>
                  <a:pt x="2015" y="1150"/>
                </a:lnTo>
                <a:lnTo>
                  <a:pt x="2016" y="1152"/>
                </a:lnTo>
                <a:lnTo>
                  <a:pt x="2017" y="1154"/>
                </a:lnTo>
                <a:lnTo>
                  <a:pt x="2016" y="1156"/>
                </a:lnTo>
                <a:lnTo>
                  <a:pt x="2015" y="1161"/>
                </a:lnTo>
                <a:lnTo>
                  <a:pt x="2014" y="1163"/>
                </a:lnTo>
                <a:lnTo>
                  <a:pt x="2012" y="1164"/>
                </a:lnTo>
                <a:lnTo>
                  <a:pt x="2010" y="1165"/>
                </a:lnTo>
                <a:lnTo>
                  <a:pt x="2008" y="1166"/>
                </a:lnTo>
                <a:lnTo>
                  <a:pt x="2006" y="1167"/>
                </a:lnTo>
                <a:lnTo>
                  <a:pt x="2004" y="1167"/>
                </a:lnTo>
                <a:lnTo>
                  <a:pt x="2002" y="1167"/>
                </a:lnTo>
                <a:lnTo>
                  <a:pt x="1999" y="1166"/>
                </a:lnTo>
                <a:lnTo>
                  <a:pt x="1997" y="1164"/>
                </a:lnTo>
                <a:lnTo>
                  <a:pt x="1995" y="1162"/>
                </a:lnTo>
                <a:lnTo>
                  <a:pt x="1993" y="1160"/>
                </a:lnTo>
                <a:lnTo>
                  <a:pt x="1993" y="1158"/>
                </a:lnTo>
                <a:lnTo>
                  <a:pt x="1992" y="1155"/>
                </a:lnTo>
                <a:lnTo>
                  <a:pt x="1992" y="1153"/>
                </a:lnTo>
                <a:lnTo>
                  <a:pt x="1994" y="1149"/>
                </a:lnTo>
                <a:lnTo>
                  <a:pt x="1995" y="1147"/>
                </a:lnTo>
                <a:lnTo>
                  <a:pt x="1997" y="1145"/>
                </a:lnTo>
                <a:lnTo>
                  <a:pt x="1999" y="1144"/>
                </a:lnTo>
                <a:lnTo>
                  <a:pt x="2001" y="1143"/>
                </a:lnTo>
                <a:lnTo>
                  <a:pt x="2003" y="1143"/>
                </a:lnTo>
                <a:lnTo>
                  <a:pt x="2004" y="1143"/>
                </a:lnTo>
                <a:close/>
                <a:moveTo>
                  <a:pt x="2115" y="1050"/>
                </a:moveTo>
                <a:lnTo>
                  <a:pt x="2117" y="1050"/>
                </a:lnTo>
                <a:lnTo>
                  <a:pt x="2120" y="1051"/>
                </a:lnTo>
                <a:lnTo>
                  <a:pt x="2122" y="1052"/>
                </a:lnTo>
                <a:lnTo>
                  <a:pt x="2124" y="1054"/>
                </a:lnTo>
                <a:lnTo>
                  <a:pt x="2125" y="1056"/>
                </a:lnTo>
                <a:lnTo>
                  <a:pt x="2126" y="1058"/>
                </a:lnTo>
                <a:lnTo>
                  <a:pt x="2127" y="1062"/>
                </a:lnTo>
                <a:lnTo>
                  <a:pt x="2127" y="1065"/>
                </a:lnTo>
                <a:lnTo>
                  <a:pt x="2126" y="1067"/>
                </a:lnTo>
                <a:lnTo>
                  <a:pt x="2125" y="1069"/>
                </a:lnTo>
                <a:lnTo>
                  <a:pt x="2123" y="1071"/>
                </a:lnTo>
                <a:lnTo>
                  <a:pt x="2121" y="1072"/>
                </a:lnTo>
                <a:lnTo>
                  <a:pt x="2119" y="1073"/>
                </a:lnTo>
                <a:lnTo>
                  <a:pt x="2115" y="1074"/>
                </a:lnTo>
                <a:lnTo>
                  <a:pt x="2112" y="1074"/>
                </a:lnTo>
                <a:lnTo>
                  <a:pt x="2110" y="1073"/>
                </a:lnTo>
                <a:lnTo>
                  <a:pt x="2108" y="1072"/>
                </a:lnTo>
                <a:lnTo>
                  <a:pt x="2106" y="1070"/>
                </a:lnTo>
                <a:lnTo>
                  <a:pt x="2104" y="1068"/>
                </a:lnTo>
                <a:lnTo>
                  <a:pt x="2103" y="1066"/>
                </a:lnTo>
                <a:lnTo>
                  <a:pt x="2103" y="1062"/>
                </a:lnTo>
                <a:lnTo>
                  <a:pt x="2103" y="1059"/>
                </a:lnTo>
                <a:lnTo>
                  <a:pt x="2104" y="1057"/>
                </a:lnTo>
                <a:lnTo>
                  <a:pt x="2105" y="1055"/>
                </a:lnTo>
                <a:lnTo>
                  <a:pt x="2107" y="1053"/>
                </a:lnTo>
                <a:lnTo>
                  <a:pt x="2108" y="1052"/>
                </a:lnTo>
                <a:lnTo>
                  <a:pt x="2110" y="1051"/>
                </a:lnTo>
                <a:lnTo>
                  <a:pt x="2115" y="1050"/>
                </a:lnTo>
                <a:close/>
                <a:moveTo>
                  <a:pt x="2216" y="947"/>
                </a:moveTo>
                <a:lnTo>
                  <a:pt x="2220" y="948"/>
                </a:lnTo>
                <a:lnTo>
                  <a:pt x="2222" y="949"/>
                </a:lnTo>
                <a:lnTo>
                  <a:pt x="2224" y="950"/>
                </a:lnTo>
                <a:lnTo>
                  <a:pt x="2226" y="952"/>
                </a:lnTo>
                <a:lnTo>
                  <a:pt x="2227" y="954"/>
                </a:lnTo>
                <a:lnTo>
                  <a:pt x="2228" y="956"/>
                </a:lnTo>
                <a:lnTo>
                  <a:pt x="2228" y="959"/>
                </a:lnTo>
                <a:lnTo>
                  <a:pt x="2227" y="963"/>
                </a:lnTo>
                <a:lnTo>
                  <a:pt x="2226" y="966"/>
                </a:lnTo>
                <a:lnTo>
                  <a:pt x="2225" y="968"/>
                </a:lnTo>
                <a:lnTo>
                  <a:pt x="2223" y="969"/>
                </a:lnTo>
                <a:lnTo>
                  <a:pt x="2221" y="971"/>
                </a:lnTo>
                <a:lnTo>
                  <a:pt x="2218" y="971"/>
                </a:lnTo>
                <a:lnTo>
                  <a:pt x="2216" y="972"/>
                </a:lnTo>
                <a:lnTo>
                  <a:pt x="2212" y="971"/>
                </a:lnTo>
                <a:lnTo>
                  <a:pt x="2210" y="970"/>
                </a:lnTo>
                <a:lnTo>
                  <a:pt x="2208" y="968"/>
                </a:lnTo>
                <a:lnTo>
                  <a:pt x="2206" y="967"/>
                </a:lnTo>
                <a:lnTo>
                  <a:pt x="2205" y="965"/>
                </a:lnTo>
                <a:lnTo>
                  <a:pt x="2204" y="962"/>
                </a:lnTo>
                <a:lnTo>
                  <a:pt x="2204" y="960"/>
                </a:lnTo>
                <a:lnTo>
                  <a:pt x="2204" y="955"/>
                </a:lnTo>
                <a:lnTo>
                  <a:pt x="2205" y="953"/>
                </a:lnTo>
                <a:lnTo>
                  <a:pt x="2207" y="951"/>
                </a:lnTo>
                <a:lnTo>
                  <a:pt x="2209" y="949"/>
                </a:lnTo>
                <a:lnTo>
                  <a:pt x="2211" y="948"/>
                </a:lnTo>
                <a:lnTo>
                  <a:pt x="2213" y="947"/>
                </a:lnTo>
                <a:lnTo>
                  <a:pt x="2216" y="947"/>
                </a:lnTo>
                <a:close/>
                <a:moveTo>
                  <a:pt x="2308" y="837"/>
                </a:moveTo>
                <a:lnTo>
                  <a:pt x="2312" y="837"/>
                </a:lnTo>
                <a:lnTo>
                  <a:pt x="2314" y="838"/>
                </a:lnTo>
                <a:lnTo>
                  <a:pt x="2316" y="839"/>
                </a:lnTo>
                <a:lnTo>
                  <a:pt x="2317" y="841"/>
                </a:lnTo>
                <a:lnTo>
                  <a:pt x="2319" y="843"/>
                </a:lnTo>
                <a:lnTo>
                  <a:pt x="2320" y="845"/>
                </a:lnTo>
                <a:lnTo>
                  <a:pt x="2320" y="847"/>
                </a:lnTo>
                <a:lnTo>
                  <a:pt x="2320" y="849"/>
                </a:lnTo>
                <a:lnTo>
                  <a:pt x="2320" y="852"/>
                </a:lnTo>
                <a:lnTo>
                  <a:pt x="2319" y="854"/>
                </a:lnTo>
                <a:lnTo>
                  <a:pt x="2318" y="856"/>
                </a:lnTo>
                <a:lnTo>
                  <a:pt x="2316" y="858"/>
                </a:lnTo>
                <a:lnTo>
                  <a:pt x="2314" y="860"/>
                </a:lnTo>
                <a:lnTo>
                  <a:pt x="2311" y="861"/>
                </a:lnTo>
                <a:lnTo>
                  <a:pt x="2308" y="861"/>
                </a:lnTo>
                <a:lnTo>
                  <a:pt x="2304" y="860"/>
                </a:lnTo>
                <a:lnTo>
                  <a:pt x="2303" y="859"/>
                </a:lnTo>
                <a:lnTo>
                  <a:pt x="2301" y="858"/>
                </a:lnTo>
                <a:lnTo>
                  <a:pt x="2299" y="857"/>
                </a:lnTo>
                <a:lnTo>
                  <a:pt x="2298" y="855"/>
                </a:lnTo>
                <a:lnTo>
                  <a:pt x="2297" y="853"/>
                </a:lnTo>
                <a:lnTo>
                  <a:pt x="2296" y="850"/>
                </a:lnTo>
                <a:lnTo>
                  <a:pt x="2296" y="848"/>
                </a:lnTo>
                <a:lnTo>
                  <a:pt x="2297" y="846"/>
                </a:lnTo>
                <a:lnTo>
                  <a:pt x="2297" y="843"/>
                </a:lnTo>
                <a:lnTo>
                  <a:pt x="2299" y="841"/>
                </a:lnTo>
                <a:lnTo>
                  <a:pt x="2301" y="839"/>
                </a:lnTo>
                <a:lnTo>
                  <a:pt x="2303" y="838"/>
                </a:lnTo>
                <a:lnTo>
                  <a:pt x="2306" y="837"/>
                </a:lnTo>
                <a:lnTo>
                  <a:pt x="2308" y="837"/>
                </a:lnTo>
                <a:close/>
                <a:moveTo>
                  <a:pt x="2391" y="718"/>
                </a:moveTo>
                <a:lnTo>
                  <a:pt x="2394" y="719"/>
                </a:lnTo>
                <a:lnTo>
                  <a:pt x="2397" y="720"/>
                </a:lnTo>
                <a:lnTo>
                  <a:pt x="2399" y="722"/>
                </a:lnTo>
                <a:lnTo>
                  <a:pt x="2401" y="723"/>
                </a:lnTo>
                <a:lnTo>
                  <a:pt x="2402" y="725"/>
                </a:lnTo>
                <a:lnTo>
                  <a:pt x="2402" y="728"/>
                </a:lnTo>
                <a:lnTo>
                  <a:pt x="2403" y="730"/>
                </a:lnTo>
                <a:lnTo>
                  <a:pt x="2403" y="732"/>
                </a:lnTo>
                <a:lnTo>
                  <a:pt x="2402" y="735"/>
                </a:lnTo>
                <a:lnTo>
                  <a:pt x="2401" y="737"/>
                </a:lnTo>
                <a:lnTo>
                  <a:pt x="2399" y="739"/>
                </a:lnTo>
                <a:lnTo>
                  <a:pt x="2396" y="741"/>
                </a:lnTo>
                <a:lnTo>
                  <a:pt x="2394" y="742"/>
                </a:lnTo>
                <a:lnTo>
                  <a:pt x="2391" y="743"/>
                </a:lnTo>
                <a:lnTo>
                  <a:pt x="2387" y="742"/>
                </a:lnTo>
                <a:lnTo>
                  <a:pt x="2384" y="741"/>
                </a:lnTo>
                <a:lnTo>
                  <a:pt x="2382" y="739"/>
                </a:lnTo>
                <a:lnTo>
                  <a:pt x="2381" y="737"/>
                </a:lnTo>
                <a:lnTo>
                  <a:pt x="2379" y="735"/>
                </a:lnTo>
                <a:lnTo>
                  <a:pt x="2379" y="733"/>
                </a:lnTo>
                <a:lnTo>
                  <a:pt x="2378" y="731"/>
                </a:lnTo>
                <a:lnTo>
                  <a:pt x="2379" y="729"/>
                </a:lnTo>
                <a:lnTo>
                  <a:pt x="2379" y="726"/>
                </a:lnTo>
                <a:lnTo>
                  <a:pt x="2380" y="724"/>
                </a:lnTo>
                <a:lnTo>
                  <a:pt x="2382" y="722"/>
                </a:lnTo>
                <a:lnTo>
                  <a:pt x="2385" y="720"/>
                </a:lnTo>
                <a:lnTo>
                  <a:pt x="2388" y="719"/>
                </a:lnTo>
                <a:lnTo>
                  <a:pt x="2391" y="718"/>
                </a:lnTo>
                <a:close/>
                <a:moveTo>
                  <a:pt x="2459" y="591"/>
                </a:moveTo>
                <a:lnTo>
                  <a:pt x="2461" y="591"/>
                </a:lnTo>
                <a:lnTo>
                  <a:pt x="2464" y="592"/>
                </a:lnTo>
                <a:lnTo>
                  <a:pt x="2466" y="593"/>
                </a:lnTo>
                <a:lnTo>
                  <a:pt x="2468" y="595"/>
                </a:lnTo>
                <a:lnTo>
                  <a:pt x="2469" y="597"/>
                </a:lnTo>
                <a:lnTo>
                  <a:pt x="2470" y="599"/>
                </a:lnTo>
                <a:lnTo>
                  <a:pt x="2471" y="601"/>
                </a:lnTo>
                <a:lnTo>
                  <a:pt x="2471" y="603"/>
                </a:lnTo>
                <a:lnTo>
                  <a:pt x="2471" y="606"/>
                </a:lnTo>
                <a:lnTo>
                  <a:pt x="2470" y="608"/>
                </a:lnTo>
                <a:lnTo>
                  <a:pt x="2468" y="611"/>
                </a:lnTo>
                <a:lnTo>
                  <a:pt x="2467" y="612"/>
                </a:lnTo>
                <a:lnTo>
                  <a:pt x="2466" y="613"/>
                </a:lnTo>
                <a:lnTo>
                  <a:pt x="2464" y="614"/>
                </a:lnTo>
                <a:lnTo>
                  <a:pt x="2463" y="615"/>
                </a:lnTo>
                <a:lnTo>
                  <a:pt x="2459" y="615"/>
                </a:lnTo>
                <a:lnTo>
                  <a:pt x="2457" y="615"/>
                </a:lnTo>
                <a:lnTo>
                  <a:pt x="2454" y="614"/>
                </a:lnTo>
                <a:lnTo>
                  <a:pt x="2452" y="613"/>
                </a:lnTo>
                <a:lnTo>
                  <a:pt x="2450" y="612"/>
                </a:lnTo>
                <a:lnTo>
                  <a:pt x="2449" y="610"/>
                </a:lnTo>
                <a:lnTo>
                  <a:pt x="2448" y="608"/>
                </a:lnTo>
                <a:lnTo>
                  <a:pt x="2447" y="606"/>
                </a:lnTo>
                <a:lnTo>
                  <a:pt x="2447" y="603"/>
                </a:lnTo>
                <a:lnTo>
                  <a:pt x="2447" y="601"/>
                </a:lnTo>
                <a:lnTo>
                  <a:pt x="2448" y="598"/>
                </a:lnTo>
                <a:lnTo>
                  <a:pt x="2450" y="595"/>
                </a:lnTo>
                <a:lnTo>
                  <a:pt x="2451" y="594"/>
                </a:lnTo>
                <a:lnTo>
                  <a:pt x="2452" y="593"/>
                </a:lnTo>
                <a:lnTo>
                  <a:pt x="2454" y="592"/>
                </a:lnTo>
                <a:lnTo>
                  <a:pt x="2456" y="592"/>
                </a:lnTo>
                <a:lnTo>
                  <a:pt x="2459" y="591"/>
                </a:lnTo>
                <a:close/>
                <a:moveTo>
                  <a:pt x="2510" y="455"/>
                </a:moveTo>
                <a:lnTo>
                  <a:pt x="2515" y="456"/>
                </a:lnTo>
                <a:lnTo>
                  <a:pt x="2517" y="457"/>
                </a:lnTo>
                <a:lnTo>
                  <a:pt x="2519" y="459"/>
                </a:lnTo>
                <a:lnTo>
                  <a:pt x="2520" y="460"/>
                </a:lnTo>
                <a:lnTo>
                  <a:pt x="2521" y="462"/>
                </a:lnTo>
                <a:lnTo>
                  <a:pt x="2522" y="465"/>
                </a:lnTo>
                <a:lnTo>
                  <a:pt x="2522" y="467"/>
                </a:lnTo>
                <a:lnTo>
                  <a:pt x="2522" y="472"/>
                </a:lnTo>
                <a:lnTo>
                  <a:pt x="2520" y="475"/>
                </a:lnTo>
                <a:lnTo>
                  <a:pt x="2517" y="477"/>
                </a:lnTo>
                <a:lnTo>
                  <a:pt x="2515" y="478"/>
                </a:lnTo>
                <a:lnTo>
                  <a:pt x="2514" y="479"/>
                </a:lnTo>
                <a:lnTo>
                  <a:pt x="2510" y="479"/>
                </a:lnTo>
                <a:lnTo>
                  <a:pt x="2506" y="479"/>
                </a:lnTo>
                <a:lnTo>
                  <a:pt x="2504" y="478"/>
                </a:lnTo>
                <a:lnTo>
                  <a:pt x="2502" y="476"/>
                </a:lnTo>
                <a:lnTo>
                  <a:pt x="2500" y="474"/>
                </a:lnTo>
                <a:lnTo>
                  <a:pt x="2499" y="472"/>
                </a:lnTo>
                <a:lnTo>
                  <a:pt x="2498" y="470"/>
                </a:lnTo>
                <a:lnTo>
                  <a:pt x="2498" y="468"/>
                </a:lnTo>
                <a:lnTo>
                  <a:pt x="2499" y="463"/>
                </a:lnTo>
                <a:lnTo>
                  <a:pt x="2501" y="460"/>
                </a:lnTo>
                <a:lnTo>
                  <a:pt x="2503" y="457"/>
                </a:lnTo>
                <a:lnTo>
                  <a:pt x="2505" y="456"/>
                </a:lnTo>
                <a:lnTo>
                  <a:pt x="2507" y="456"/>
                </a:lnTo>
                <a:lnTo>
                  <a:pt x="2510" y="455"/>
                </a:lnTo>
                <a:close/>
                <a:moveTo>
                  <a:pt x="2565" y="322"/>
                </a:moveTo>
                <a:lnTo>
                  <a:pt x="2568" y="322"/>
                </a:lnTo>
                <a:lnTo>
                  <a:pt x="2570" y="323"/>
                </a:lnTo>
                <a:lnTo>
                  <a:pt x="2574" y="326"/>
                </a:lnTo>
                <a:lnTo>
                  <a:pt x="2576" y="328"/>
                </a:lnTo>
                <a:lnTo>
                  <a:pt x="2577" y="330"/>
                </a:lnTo>
                <a:lnTo>
                  <a:pt x="2577" y="334"/>
                </a:lnTo>
                <a:lnTo>
                  <a:pt x="2577" y="337"/>
                </a:lnTo>
                <a:lnTo>
                  <a:pt x="2576" y="339"/>
                </a:lnTo>
                <a:lnTo>
                  <a:pt x="2574" y="342"/>
                </a:lnTo>
                <a:lnTo>
                  <a:pt x="2573" y="343"/>
                </a:lnTo>
                <a:lnTo>
                  <a:pt x="2572" y="344"/>
                </a:lnTo>
                <a:lnTo>
                  <a:pt x="2569" y="346"/>
                </a:lnTo>
                <a:lnTo>
                  <a:pt x="2565" y="346"/>
                </a:lnTo>
                <a:lnTo>
                  <a:pt x="2563" y="346"/>
                </a:lnTo>
                <a:lnTo>
                  <a:pt x="2560" y="345"/>
                </a:lnTo>
                <a:lnTo>
                  <a:pt x="2556" y="342"/>
                </a:lnTo>
                <a:lnTo>
                  <a:pt x="2555" y="340"/>
                </a:lnTo>
                <a:lnTo>
                  <a:pt x="2554" y="338"/>
                </a:lnTo>
                <a:lnTo>
                  <a:pt x="2553" y="334"/>
                </a:lnTo>
                <a:lnTo>
                  <a:pt x="2553" y="331"/>
                </a:lnTo>
                <a:lnTo>
                  <a:pt x="2554" y="329"/>
                </a:lnTo>
                <a:lnTo>
                  <a:pt x="2556" y="326"/>
                </a:lnTo>
                <a:lnTo>
                  <a:pt x="2557" y="325"/>
                </a:lnTo>
                <a:lnTo>
                  <a:pt x="2559" y="324"/>
                </a:lnTo>
                <a:lnTo>
                  <a:pt x="2562" y="322"/>
                </a:lnTo>
                <a:lnTo>
                  <a:pt x="2565" y="322"/>
                </a:lnTo>
                <a:close/>
                <a:moveTo>
                  <a:pt x="2628" y="192"/>
                </a:moveTo>
                <a:lnTo>
                  <a:pt x="2631" y="192"/>
                </a:lnTo>
                <a:lnTo>
                  <a:pt x="2633" y="193"/>
                </a:lnTo>
                <a:lnTo>
                  <a:pt x="2635" y="195"/>
                </a:lnTo>
                <a:lnTo>
                  <a:pt x="2637" y="196"/>
                </a:lnTo>
                <a:lnTo>
                  <a:pt x="2638" y="198"/>
                </a:lnTo>
                <a:lnTo>
                  <a:pt x="2639" y="201"/>
                </a:lnTo>
                <a:lnTo>
                  <a:pt x="2640" y="203"/>
                </a:lnTo>
                <a:lnTo>
                  <a:pt x="2640" y="205"/>
                </a:lnTo>
                <a:lnTo>
                  <a:pt x="2639" y="207"/>
                </a:lnTo>
                <a:lnTo>
                  <a:pt x="2638" y="210"/>
                </a:lnTo>
                <a:lnTo>
                  <a:pt x="2637" y="213"/>
                </a:lnTo>
                <a:lnTo>
                  <a:pt x="2634" y="215"/>
                </a:lnTo>
                <a:lnTo>
                  <a:pt x="2631" y="216"/>
                </a:lnTo>
                <a:lnTo>
                  <a:pt x="2628" y="216"/>
                </a:lnTo>
                <a:lnTo>
                  <a:pt x="2625" y="216"/>
                </a:lnTo>
                <a:lnTo>
                  <a:pt x="2622" y="215"/>
                </a:lnTo>
                <a:lnTo>
                  <a:pt x="2620" y="214"/>
                </a:lnTo>
                <a:lnTo>
                  <a:pt x="2618" y="212"/>
                </a:lnTo>
                <a:lnTo>
                  <a:pt x="2617" y="210"/>
                </a:lnTo>
                <a:lnTo>
                  <a:pt x="2616" y="208"/>
                </a:lnTo>
                <a:lnTo>
                  <a:pt x="2616" y="206"/>
                </a:lnTo>
                <a:lnTo>
                  <a:pt x="2616" y="203"/>
                </a:lnTo>
                <a:lnTo>
                  <a:pt x="2616" y="201"/>
                </a:lnTo>
                <a:lnTo>
                  <a:pt x="2617" y="199"/>
                </a:lnTo>
                <a:lnTo>
                  <a:pt x="2619" y="196"/>
                </a:lnTo>
                <a:lnTo>
                  <a:pt x="2622" y="194"/>
                </a:lnTo>
                <a:lnTo>
                  <a:pt x="2625" y="192"/>
                </a:lnTo>
                <a:lnTo>
                  <a:pt x="2628" y="192"/>
                </a:lnTo>
                <a:close/>
                <a:moveTo>
                  <a:pt x="2699" y="67"/>
                </a:moveTo>
                <a:lnTo>
                  <a:pt x="2702" y="67"/>
                </a:lnTo>
                <a:lnTo>
                  <a:pt x="2705" y="69"/>
                </a:lnTo>
                <a:lnTo>
                  <a:pt x="2707" y="70"/>
                </a:lnTo>
                <a:lnTo>
                  <a:pt x="2709" y="72"/>
                </a:lnTo>
                <a:lnTo>
                  <a:pt x="2710" y="74"/>
                </a:lnTo>
                <a:lnTo>
                  <a:pt x="2711" y="76"/>
                </a:lnTo>
                <a:lnTo>
                  <a:pt x="2711" y="78"/>
                </a:lnTo>
                <a:lnTo>
                  <a:pt x="2711" y="81"/>
                </a:lnTo>
                <a:lnTo>
                  <a:pt x="2710" y="83"/>
                </a:lnTo>
                <a:lnTo>
                  <a:pt x="2709" y="85"/>
                </a:lnTo>
                <a:lnTo>
                  <a:pt x="2707" y="88"/>
                </a:lnTo>
                <a:lnTo>
                  <a:pt x="2705" y="90"/>
                </a:lnTo>
                <a:lnTo>
                  <a:pt x="2702" y="91"/>
                </a:lnTo>
                <a:lnTo>
                  <a:pt x="2699" y="91"/>
                </a:lnTo>
                <a:lnTo>
                  <a:pt x="2696" y="91"/>
                </a:lnTo>
                <a:lnTo>
                  <a:pt x="2694" y="90"/>
                </a:lnTo>
                <a:lnTo>
                  <a:pt x="2693" y="89"/>
                </a:lnTo>
                <a:lnTo>
                  <a:pt x="2691" y="88"/>
                </a:lnTo>
                <a:lnTo>
                  <a:pt x="2689" y="86"/>
                </a:lnTo>
                <a:lnTo>
                  <a:pt x="2688" y="84"/>
                </a:lnTo>
                <a:lnTo>
                  <a:pt x="2687" y="82"/>
                </a:lnTo>
                <a:lnTo>
                  <a:pt x="2687" y="79"/>
                </a:lnTo>
                <a:lnTo>
                  <a:pt x="2687" y="77"/>
                </a:lnTo>
                <a:lnTo>
                  <a:pt x="2687" y="75"/>
                </a:lnTo>
                <a:lnTo>
                  <a:pt x="2689" y="72"/>
                </a:lnTo>
                <a:lnTo>
                  <a:pt x="2691" y="70"/>
                </a:lnTo>
                <a:lnTo>
                  <a:pt x="2693" y="68"/>
                </a:lnTo>
                <a:lnTo>
                  <a:pt x="2696" y="67"/>
                </a:lnTo>
                <a:lnTo>
                  <a:pt x="2699" y="67"/>
                </a:lnTo>
                <a:close/>
                <a:moveTo>
                  <a:pt x="732" y="2225"/>
                </a:moveTo>
                <a:lnTo>
                  <a:pt x="734" y="2225"/>
                </a:lnTo>
                <a:lnTo>
                  <a:pt x="736" y="2226"/>
                </a:lnTo>
                <a:lnTo>
                  <a:pt x="738" y="2227"/>
                </a:lnTo>
                <a:lnTo>
                  <a:pt x="740" y="2228"/>
                </a:lnTo>
                <a:lnTo>
                  <a:pt x="742" y="2230"/>
                </a:lnTo>
                <a:lnTo>
                  <a:pt x="743" y="2232"/>
                </a:lnTo>
                <a:lnTo>
                  <a:pt x="744" y="2234"/>
                </a:lnTo>
                <a:lnTo>
                  <a:pt x="744" y="2236"/>
                </a:lnTo>
                <a:lnTo>
                  <a:pt x="744" y="2239"/>
                </a:lnTo>
                <a:lnTo>
                  <a:pt x="743" y="2243"/>
                </a:lnTo>
                <a:lnTo>
                  <a:pt x="742" y="2245"/>
                </a:lnTo>
                <a:lnTo>
                  <a:pt x="740" y="2246"/>
                </a:lnTo>
                <a:lnTo>
                  <a:pt x="738" y="2247"/>
                </a:lnTo>
                <a:lnTo>
                  <a:pt x="737" y="2248"/>
                </a:lnTo>
                <a:lnTo>
                  <a:pt x="732" y="2249"/>
                </a:lnTo>
                <a:lnTo>
                  <a:pt x="731" y="2249"/>
                </a:lnTo>
                <a:lnTo>
                  <a:pt x="728" y="2249"/>
                </a:lnTo>
                <a:lnTo>
                  <a:pt x="726" y="2248"/>
                </a:lnTo>
                <a:lnTo>
                  <a:pt x="724" y="2246"/>
                </a:lnTo>
                <a:lnTo>
                  <a:pt x="723" y="2245"/>
                </a:lnTo>
                <a:lnTo>
                  <a:pt x="722" y="2243"/>
                </a:lnTo>
                <a:lnTo>
                  <a:pt x="721" y="2240"/>
                </a:lnTo>
                <a:lnTo>
                  <a:pt x="720" y="2238"/>
                </a:lnTo>
                <a:lnTo>
                  <a:pt x="720" y="2236"/>
                </a:lnTo>
                <a:lnTo>
                  <a:pt x="722" y="2232"/>
                </a:lnTo>
                <a:lnTo>
                  <a:pt x="723" y="2230"/>
                </a:lnTo>
                <a:lnTo>
                  <a:pt x="724" y="2228"/>
                </a:lnTo>
                <a:lnTo>
                  <a:pt x="726" y="2227"/>
                </a:lnTo>
                <a:lnTo>
                  <a:pt x="728" y="2226"/>
                </a:lnTo>
                <a:lnTo>
                  <a:pt x="732" y="2225"/>
                </a:lnTo>
                <a:close/>
                <a:moveTo>
                  <a:pt x="876" y="2215"/>
                </a:moveTo>
                <a:lnTo>
                  <a:pt x="878" y="2215"/>
                </a:lnTo>
                <a:lnTo>
                  <a:pt x="880" y="2215"/>
                </a:lnTo>
                <a:lnTo>
                  <a:pt x="883" y="2217"/>
                </a:lnTo>
                <a:lnTo>
                  <a:pt x="886" y="2220"/>
                </a:lnTo>
                <a:lnTo>
                  <a:pt x="888" y="2224"/>
                </a:lnTo>
                <a:lnTo>
                  <a:pt x="888" y="2226"/>
                </a:lnTo>
                <a:lnTo>
                  <a:pt x="888" y="2229"/>
                </a:lnTo>
                <a:lnTo>
                  <a:pt x="887" y="2231"/>
                </a:lnTo>
                <a:lnTo>
                  <a:pt x="886" y="2233"/>
                </a:lnTo>
                <a:lnTo>
                  <a:pt x="885" y="2235"/>
                </a:lnTo>
                <a:lnTo>
                  <a:pt x="883" y="2236"/>
                </a:lnTo>
                <a:lnTo>
                  <a:pt x="881" y="2238"/>
                </a:lnTo>
                <a:lnTo>
                  <a:pt x="879" y="2238"/>
                </a:lnTo>
                <a:lnTo>
                  <a:pt x="876" y="2239"/>
                </a:lnTo>
                <a:lnTo>
                  <a:pt x="874" y="2239"/>
                </a:lnTo>
                <a:lnTo>
                  <a:pt x="872" y="2238"/>
                </a:lnTo>
                <a:lnTo>
                  <a:pt x="869" y="2236"/>
                </a:lnTo>
                <a:lnTo>
                  <a:pt x="866" y="2234"/>
                </a:lnTo>
                <a:lnTo>
                  <a:pt x="864" y="2230"/>
                </a:lnTo>
                <a:lnTo>
                  <a:pt x="864" y="2227"/>
                </a:lnTo>
                <a:lnTo>
                  <a:pt x="864" y="2225"/>
                </a:lnTo>
                <a:lnTo>
                  <a:pt x="865" y="2223"/>
                </a:lnTo>
                <a:lnTo>
                  <a:pt x="866" y="2221"/>
                </a:lnTo>
                <a:lnTo>
                  <a:pt x="867" y="2219"/>
                </a:lnTo>
                <a:lnTo>
                  <a:pt x="869" y="2217"/>
                </a:lnTo>
                <a:lnTo>
                  <a:pt x="871" y="2216"/>
                </a:lnTo>
                <a:lnTo>
                  <a:pt x="873" y="2215"/>
                </a:lnTo>
                <a:lnTo>
                  <a:pt x="876" y="2215"/>
                </a:lnTo>
                <a:close/>
                <a:moveTo>
                  <a:pt x="594" y="2186"/>
                </a:moveTo>
                <a:lnTo>
                  <a:pt x="597" y="2186"/>
                </a:lnTo>
                <a:lnTo>
                  <a:pt x="599" y="2187"/>
                </a:lnTo>
                <a:lnTo>
                  <a:pt x="601" y="2188"/>
                </a:lnTo>
                <a:lnTo>
                  <a:pt x="603" y="2190"/>
                </a:lnTo>
                <a:lnTo>
                  <a:pt x="604" y="2192"/>
                </a:lnTo>
                <a:lnTo>
                  <a:pt x="605" y="2194"/>
                </a:lnTo>
                <a:lnTo>
                  <a:pt x="606" y="2198"/>
                </a:lnTo>
                <a:lnTo>
                  <a:pt x="606" y="2201"/>
                </a:lnTo>
                <a:lnTo>
                  <a:pt x="605" y="2203"/>
                </a:lnTo>
                <a:lnTo>
                  <a:pt x="603" y="2206"/>
                </a:lnTo>
                <a:lnTo>
                  <a:pt x="601" y="2208"/>
                </a:lnTo>
                <a:lnTo>
                  <a:pt x="598" y="2210"/>
                </a:lnTo>
                <a:lnTo>
                  <a:pt x="594" y="2210"/>
                </a:lnTo>
                <a:lnTo>
                  <a:pt x="592" y="2210"/>
                </a:lnTo>
                <a:lnTo>
                  <a:pt x="590" y="2209"/>
                </a:lnTo>
                <a:lnTo>
                  <a:pt x="587" y="2208"/>
                </a:lnTo>
                <a:lnTo>
                  <a:pt x="586" y="2206"/>
                </a:lnTo>
                <a:lnTo>
                  <a:pt x="584" y="2205"/>
                </a:lnTo>
                <a:lnTo>
                  <a:pt x="583" y="2202"/>
                </a:lnTo>
                <a:lnTo>
                  <a:pt x="582" y="2198"/>
                </a:lnTo>
                <a:lnTo>
                  <a:pt x="583" y="2196"/>
                </a:lnTo>
                <a:lnTo>
                  <a:pt x="583" y="2193"/>
                </a:lnTo>
                <a:lnTo>
                  <a:pt x="585" y="2190"/>
                </a:lnTo>
                <a:lnTo>
                  <a:pt x="588" y="2188"/>
                </a:lnTo>
                <a:lnTo>
                  <a:pt x="591" y="2187"/>
                </a:lnTo>
                <a:lnTo>
                  <a:pt x="594" y="2186"/>
                </a:lnTo>
                <a:close/>
                <a:moveTo>
                  <a:pt x="1008" y="2159"/>
                </a:moveTo>
                <a:lnTo>
                  <a:pt x="1011" y="2159"/>
                </a:lnTo>
                <a:lnTo>
                  <a:pt x="1014" y="2160"/>
                </a:lnTo>
                <a:lnTo>
                  <a:pt x="1016" y="2162"/>
                </a:lnTo>
                <a:lnTo>
                  <a:pt x="1018" y="2165"/>
                </a:lnTo>
                <a:lnTo>
                  <a:pt x="1020" y="2169"/>
                </a:lnTo>
                <a:lnTo>
                  <a:pt x="1020" y="2171"/>
                </a:lnTo>
                <a:lnTo>
                  <a:pt x="1020" y="2174"/>
                </a:lnTo>
                <a:lnTo>
                  <a:pt x="1019" y="2176"/>
                </a:lnTo>
                <a:lnTo>
                  <a:pt x="1018" y="2178"/>
                </a:lnTo>
                <a:lnTo>
                  <a:pt x="1014" y="2181"/>
                </a:lnTo>
                <a:lnTo>
                  <a:pt x="1011" y="2182"/>
                </a:lnTo>
                <a:lnTo>
                  <a:pt x="1008" y="2183"/>
                </a:lnTo>
                <a:lnTo>
                  <a:pt x="1005" y="2182"/>
                </a:lnTo>
                <a:lnTo>
                  <a:pt x="1002" y="2181"/>
                </a:lnTo>
                <a:lnTo>
                  <a:pt x="1000" y="2179"/>
                </a:lnTo>
                <a:lnTo>
                  <a:pt x="998" y="2177"/>
                </a:lnTo>
                <a:lnTo>
                  <a:pt x="996" y="2172"/>
                </a:lnTo>
                <a:lnTo>
                  <a:pt x="996" y="2170"/>
                </a:lnTo>
                <a:lnTo>
                  <a:pt x="996" y="2167"/>
                </a:lnTo>
                <a:lnTo>
                  <a:pt x="997" y="2165"/>
                </a:lnTo>
                <a:lnTo>
                  <a:pt x="998" y="2163"/>
                </a:lnTo>
                <a:lnTo>
                  <a:pt x="1002" y="2160"/>
                </a:lnTo>
                <a:lnTo>
                  <a:pt x="1005" y="2159"/>
                </a:lnTo>
                <a:lnTo>
                  <a:pt x="1008" y="2159"/>
                </a:lnTo>
                <a:close/>
                <a:moveTo>
                  <a:pt x="468" y="2117"/>
                </a:moveTo>
                <a:lnTo>
                  <a:pt x="471" y="2118"/>
                </a:lnTo>
                <a:lnTo>
                  <a:pt x="474" y="2119"/>
                </a:lnTo>
                <a:lnTo>
                  <a:pt x="476" y="2121"/>
                </a:lnTo>
                <a:lnTo>
                  <a:pt x="478" y="2123"/>
                </a:lnTo>
                <a:lnTo>
                  <a:pt x="479" y="2125"/>
                </a:lnTo>
                <a:lnTo>
                  <a:pt x="480" y="2127"/>
                </a:lnTo>
                <a:lnTo>
                  <a:pt x="480" y="2129"/>
                </a:lnTo>
                <a:lnTo>
                  <a:pt x="480" y="2131"/>
                </a:lnTo>
                <a:lnTo>
                  <a:pt x="479" y="2134"/>
                </a:lnTo>
                <a:lnTo>
                  <a:pt x="478" y="2136"/>
                </a:lnTo>
                <a:lnTo>
                  <a:pt x="476" y="2138"/>
                </a:lnTo>
                <a:lnTo>
                  <a:pt x="474" y="2140"/>
                </a:lnTo>
                <a:lnTo>
                  <a:pt x="471" y="2141"/>
                </a:lnTo>
                <a:lnTo>
                  <a:pt x="468" y="2141"/>
                </a:lnTo>
                <a:lnTo>
                  <a:pt x="465" y="2141"/>
                </a:lnTo>
                <a:lnTo>
                  <a:pt x="461" y="2140"/>
                </a:lnTo>
                <a:lnTo>
                  <a:pt x="460" y="2138"/>
                </a:lnTo>
                <a:lnTo>
                  <a:pt x="458" y="2136"/>
                </a:lnTo>
                <a:lnTo>
                  <a:pt x="457" y="2134"/>
                </a:lnTo>
                <a:lnTo>
                  <a:pt x="456" y="2132"/>
                </a:lnTo>
                <a:lnTo>
                  <a:pt x="456" y="2130"/>
                </a:lnTo>
                <a:lnTo>
                  <a:pt x="456" y="2128"/>
                </a:lnTo>
                <a:lnTo>
                  <a:pt x="457" y="2125"/>
                </a:lnTo>
                <a:lnTo>
                  <a:pt x="458" y="2123"/>
                </a:lnTo>
                <a:lnTo>
                  <a:pt x="460" y="2121"/>
                </a:lnTo>
                <a:lnTo>
                  <a:pt x="462" y="2119"/>
                </a:lnTo>
                <a:lnTo>
                  <a:pt x="465" y="2118"/>
                </a:lnTo>
                <a:lnTo>
                  <a:pt x="468" y="2117"/>
                </a:lnTo>
                <a:close/>
                <a:moveTo>
                  <a:pt x="1125" y="2075"/>
                </a:moveTo>
                <a:lnTo>
                  <a:pt x="1127" y="2075"/>
                </a:lnTo>
                <a:lnTo>
                  <a:pt x="1130" y="2076"/>
                </a:lnTo>
                <a:lnTo>
                  <a:pt x="1132" y="2077"/>
                </a:lnTo>
                <a:lnTo>
                  <a:pt x="1134" y="2079"/>
                </a:lnTo>
                <a:lnTo>
                  <a:pt x="1135" y="2081"/>
                </a:lnTo>
                <a:lnTo>
                  <a:pt x="1136" y="2083"/>
                </a:lnTo>
                <a:lnTo>
                  <a:pt x="1137" y="2085"/>
                </a:lnTo>
                <a:lnTo>
                  <a:pt x="1137" y="2088"/>
                </a:lnTo>
                <a:lnTo>
                  <a:pt x="1136" y="2090"/>
                </a:lnTo>
                <a:lnTo>
                  <a:pt x="1135" y="2092"/>
                </a:lnTo>
                <a:lnTo>
                  <a:pt x="1134" y="2094"/>
                </a:lnTo>
                <a:lnTo>
                  <a:pt x="1133" y="2096"/>
                </a:lnTo>
                <a:lnTo>
                  <a:pt x="1129" y="2098"/>
                </a:lnTo>
                <a:lnTo>
                  <a:pt x="1125" y="2099"/>
                </a:lnTo>
                <a:lnTo>
                  <a:pt x="1122" y="2098"/>
                </a:lnTo>
                <a:lnTo>
                  <a:pt x="1120" y="2098"/>
                </a:lnTo>
                <a:lnTo>
                  <a:pt x="1118" y="2096"/>
                </a:lnTo>
                <a:lnTo>
                  <a:pt x="1116" y="2095"/>
                </a:lnTo>
                <a:lnTo>
                  <a:pt x="1114" y="2093"/>
                </a:lnTo>
                <a:lnTo>
                  <a:pt x="1113" y="2090"/>
                </a:lnTo>
                <a:lnTo>
                  <a:pt x="1113" y="2088"/>
                </a:lnTo>
                <a:lnTo>
                  <a:pt x="1113" y="2086"/>
                </a:lnTo>
                <a:lnTo>
                  <a:pt x="1113" y="2084"/>
                </a:lnTo>
                <a:lnTo>
                  <a:pt x="1114" y="2081"/>
                </a:lnTo>
                <a:lnTo>
                  <a:pt x="1115" y="2079"/>
                </a:lnTo>
                <a:lnTo>
                  <a:pt x="1117" y="2078"/>
                </a:lnTo>
                <a:lnTo>
                  <a:pt x="1121" y="2075"/>
                </a:lnTo>
                <a:lnTo>
                  <a:pt x="1125" y="2075"/>
                </a:lnTo>
                <a:close/>
                <a:moveTo>
                  <a:pt x="348" y="2038"/>
                </a:moveTo>
                <a:lnTo>
                  <a:pt x="351" y="2039"/>
                </a:lnTo>
                <a:lnTo>
                  <a:pt x="353" y="2039"/>
                </a:lnTo>
                <a:lnTo>
                  <a:pt x="354" y="2040"/>
                </a:lnTo>
                <a:lnTo>
                  <a:pt x="356" y="2042"/>
                </a:lnTo>
                <a:lnTo>
                  <a:pt x="358" y="2043"/>
                </a:lnTo>
                <a:lnTo>
                  <a:pt x="359" y="2046"/>
                </a:lnTo>
                <a:lnTo>
                  <a:pt x="359" y="2048"/>
                </a:lnTo>
                <a:lnTo>
                  <a:pt x="359" y="2052"/>
                </a:lnTo>
                <a:lnTo>
                  <a:pt x="359" y="2055"/>
                </a:lnTo>
                <a:lnTo>
                  <a:pt x="358" y="2057"/>
                </a:lnTo>
                <a:lnTo>
                  <a:pt x="356" y="2059"/>
                </a:lnTo>
                <a:lnTo>
                  <a:pt x="353" y="2061"/>
                </a:lnTo>
                <a:lnTo>
                  <a:pt x="351" y="2062"/>
                </a:lnTo>
                <a:lnTo>
                  <a:pt x="348" y="2062"/>
                </a:lnTo>
                <a:lnTo>
                  <a:pt x="344" y="2062"/>
                </a:lnTo>
                <a:lnTo>
                  <a:pt x="341" y="2060"/>
                </a:lnTo>
                <a:lnTo>
                  <a:pt x="339" y="2058"/>
                </a:lnTo>
                <a:lnTo>
                  <a:pt x="338" y="2057"/>
                </a:lnTo>
                <a:lnTo>
                  <a:pt x="337" y="2055"/>
                </a:lnTo>
                <a:lnTo>
                  <a:pt x="336" y="2052"/>
                </a:lnTo>
                <a:lnTo>
                  <a:pt x="336" y="2048"/>
                </a:lnTo>
                <a:lnTo>
                  <a:pt x="337" y="2046"/>
                </a:lnTo>
                <a:lnTo>
                  <a:pt x="338" y="2043"/>
                </a:lnTo>
                <a:lnTo>
                  <a:pt x="340" y="2041"/>
                </a:lnTo>
                <a:lnTo>
                  <a:pt x="342" y="2039"/>
                </a:lnTo>
                <a:lnTo>
                  <a:pt x="345" y="2038"/>
                </a:lnTo>
                <a:lnTo>
                  <a:pt x="348" y="2038"/>
                </a:lnTo>
                <a:close/>
                <a:moveTo>
                  <a:pt x="1226" y="1972"/>
                </a:moveTo>
                <a:lnTo>
                  <a:pt x="1230" y="1973"/>
                </a:lnTo>
                <a:lnTo>
                  <a:pt x="1234" y="1975"/>
                </a:lnTo>
                <a:lnTo>
                  <a:pt x="1235" y="1977"/>
                </a:lnTo>
                <a:lnTo>
                  <a:pt x="1237" y="1979"/>
                </a:lnTo>
                <a:lnTo>
                  <a:pt x="1237" y="1981"/>
                </a:lnTo>
                <a:lnTo>
                  <a:pt x="1238" y="1984"/>
                </a:lnTo>
                <a:lnTo>
                  <a:pt x="1238" y="1986"/>
                </a:lnTo>
                <a:lnTo>
                  <a:pt x="1237" y="1988"/>
                </a:lnTo>
                <a:lnTo>
                  <a:pt x="1236" y="1990"/>
                </a:lnTo>
                <a:lnTo>
                  <a:pt x="1235" y="1992"/>
                </a:lnTo>
                <a:lnTo>
                  <a:pt x="1233" y="1994"/>
                </a:lnTo>
                <a:lnTo>
                  <a:pt x="1231" y="1995"/>
                </a:lnTo>
                <a:lnTo>
                  <a:pt x="1228" y="1996"/>
                </a:lnTo>
                <a:lnTo>
                  <a:pt x="1226" y="1996"/>
                </a:lnTo>
                <a:lnTo>
                  <a:pt x="1222" y="1996"/>
                </a:lnTo>
                <a:lnTo>
                  <a:pt x="1218" y="1993"/>
                </a:lnTo>
                <a:lnTo>
                  <a:pt x="1216" y="1992"/>
                </a:lnTo>
                <a:lnTo>
                  <a:pt x="1215" y="1990"/>
                </a:lnTo>
                <a:lnTo>
                  <a:pt x="1214" y="1987"/>
                </a:lnTo>
                <a:lnTo>
                  <a:pt x="1214" y="1985"/>
                </a:lnTo>
                <a:lnTo>
                  <a:pt x="1214" y="1983"/>
                </a:lnTo>
                <a:lnTo>
                  <a:pt x="1214" y="1981"/>
                </a:lnTo>
                <a:lnTo>
                  <a:pt x="1215" y="1978"/>
                </a:lnTo>
                <a:lnTo>
                  <a:pt x="1217" y="1976"/>
                </a:lnTo>
                <a:lnTo>
                  <a:pt x="1219" y="1975"/>
                </a:lnTo>
                <a:lnTo>
                  <a:pt x="1221" y="1973"/>
                </a:lnTo>
                <a:lnTo>
                  <a:pt x="1223" y="1973"/>
                </a:lnTo>
                <a:lnTo>
                  <a:pt x="1226" y="1972"/>
                </a:lnTo>
                <a:close/>
                <a:moveTo>
                  <a:pt x="226" y="1961"/>
                </a:moveTo>
                <a:lnTo>
                  <a:pt x="229" y="1961"/>
                </a:lnTo>
                <a:lnTo>
                  <a:pt x="232" y="1962"/>
                </a:lnTo>
                <a:lnTo>
                  <a:pt x="234" y="1964"/>
                </a:lnTo>
                <a:lnTo>
                  <a:pt x="235" y="1965"/>
                </a:lnTo>
                <a:lnTo>
                  <a:pt x="236" y="1966"/>
                </a:lnTo>
                <a:lnTo>
                  <a:pt x="237" y="1968"/>
                </a:lnTo>
                <a:lnTo>
                  <a:pt x="238" y="1970"/>
                </a:lnTo>
                <a:lnTo>
                  <a:pt x="238" y="1972"/>
                </a:lnTo>
                <a:lnTo>
                  <a:pt x="238" y="1974"/>
                </a:lnTo>
                <a:lnTo>
                  <a:pt x="236" y="1979"/>
                </a:lnTo>
                <a:lnTo>
                  <a:pt x="234" y="1981"/>
                </a:lnTo>
                <a:lnTo>
                  <a:pt x="232" y="1983"/>
                </a:lnTo>
                <a:lnTo>
                  <a:pt x="229" y="1984"/>
                </a:lnTo>
                <a:lnTo>
                  <a:pt x="226" y="1985"/>
                </a:lnTo>
                <a:lnTo>
                  <a:pt x="223" y="1984"/>
                </a:lnTo>
                <a:lnTo>
                  <a:pt x="220" y="1983"/>
                </a:lnTo>
                <a:lnTo>
                  <a:pt x="218" y="1982"/>
                </a:lnTo>
                <a:lnTo>
                  <a:pt x="217" y="1981"/>
                </a:lnTo>
                <a:lnTo>
                  <a:pt x="216" y="1980"/>
                </a:lnTo>
                <a:lnTo>
                  <a:pt x="215" y="1978"/>
                </a:lnTo>
                <a:lnTo>
                  <a:pt x="214" y="1976"/>
                </a:lnTo>
                <a:lnTo>
                  <a:pt x="214" y="1974"/>
                </a:lnTo>
                <a:lnTo>
                  <a:pt x="214" y="1971"/>
                </a:lnTo>
                <a:lnTo>
                  <a:pt x="216" y="1967"/>
                </a:lnTo>
                <a:lnTo>
                  <a:pt x="218" y="1964"/>
                </a:lnTo>
                <a:lnTo>
                  <a:pt x="220" y="1962"/>
                </a:lnTo>
                <a:lnTo>
                  <a:pt x="223" y="1961"/>
                </a:lnTo>
                <a:lnTo>
                  <a:pt x="226" y="1961"/>
                </a:lnTo>
                <a:close/>
                <a:moveTo>
                  <a:pt x="96" y="1899"/>
                </a:moveTo>
                <a:lnTo>
                  <a:pt x="100" y="1900"/>
                </a:lnTo>
                <a:lnTo>
                  <a:pt x="103" y="1901"/>
                </a:lnTo>
                <a:lnTo>
                  <a:pt x="104" y="1902"/>
                </a:lnTo>
                <a:lnTo>
                  <a:pt x="106" y="1904"/>
                </a:lnTo>
                <a:lnTo>
                  <a:pt x="107" y="1906"/>
                </a:lnTo>
                <a:lnTo>
                  <a:pt x="108" y="1908"/>
                </a:lnTo>
                <a:lnTo>
                  <a:pt x="108" y="1910"/>
                </a:lnTo>
                <a:lnTo>
                  <a:pt x="108" y="1915"/>
                </a:lnTo>
                <a:lnTo>
                  <a:pt x="106" y="1919"/>
                </a:lnTo>
                <a:lnTo>
                  <a:pt x="103" y="1921"/>
                </a:lnTo>
                <a:lnTo>
                  <a:pt x="102" y="1922"/>
                </a:lnTo>
                <a:lnTo>
                  <a:pt x="100" y="1923"/>
                </a:lnTo>
                <a:lnTo>
                  <a:pt x="96" y="1923"/>
                </a:lnTo>
                <a:lnTo>
                  <a:pt x="92" y="1922"/>
                </a:lnTo>
                <a:lnTo>
                  <a:pt x="90" y="1921"/>
                </a:lnTo>
                <a:lnTo>
                  <a:pt x="88" y="1920"/>
                </a:lnTo>
                <a:lnTo>
                  <a:pt x="87" y="1918"/>
                </a:lnTo>
                <a:lnTo>
                  <a:pt x="85" y="1916"/>
                </a:lnTo>
                <a:lnTo>
                  <a:pt x="85" y="1914"/>
                </a:lnTo>
                <a:lnTo>
                  <a:pt x="84" y="1912"/>
                </a:lnTo>
                <a:lnTo>
                  <a:pt x="85" y="1907"/>
                </a:lnTo>
                <a:lnTo>
                  <a:pt x="87" y="1904"/>
                </a:lnTo>
                <a:lnTo>
                  <a:pt x="89" y="1901"/>
                </a:lnTo>
                <a:lnTo>
                  <a:pt x="91" y="1900"/>
                </a:lnTo>
                <a:lnTo>
                  <a:pt x="93" y="1900"/>
                </a:lnTo>
                <a:lnTo>
                  <a:pt x="96" y="1899"/>
                </a:lnTo>
                <a:close/>
                <a:moveTo>
                  <a:pt x="1316" y="1860"/>
                </a:moveTo>
                <a:lnTo>
                  <a:pt x="1320" y="1861"/>
                </a:lnTo>
                <a:lnTo>
                  <a:pt x="1324" y="1863"/>
                </a:lnTo>
                <a:lnTo>
                  <a:pt x="1327" y="1866"/>
                </a:lnTo>
                <a:lnTo>
                  <a:pt x="1328" y="1868"/>
                </a:lnTo>
                <a:lnTo>
                  <a:pt x="1328" y="1871"/>
                </a:lnTo>
                <a:lnTo>
                  <a:pt x="1328" y="1873"/>
                </a:lnTo>
                <a:lnTo>
                  <a:pt x="1328" y="1875"/>
                </a:lnTo>
                <a:lnTo>
                  <a:pt x="1327" y="1877"/>
                </a:lnTo>
                <a:lnTo>
                  <a:pt x="1326" y="1880"/>
                </a:lnTo>
                <a:lnTo>
                  <a:pt x="1324" y="1882"/>
                </a:lnTo>
                <a:lnTo>
                  <a:pt x="1321" y="1883"/>
                </a:lnTo>
                <a:lnTo>
                  <a:pt x="1319" y="1884"/>
                </a:lnTo>
                <a:lnTo>
                  <a:pt x="1316" y="1884"/>
                </a:lnTo>
                <a:lnTo>
                  <a:pt x="1312" y="1884"/>
                </a:lnTo>
                <a:lnTo>
                  <a:pt x="1309" y="1882"/>
                </a:lnTo>
                <a:lnTo>
                  <a:pt x="1306" y="1878"/>
                </a:lnTo>
                <a:lnTo>
                  <a:pt x="1305" y="1876"/>
                </a:lnTo>
                <a:lnTo>
                  <a:pt x="1304" y="1874"/>
                </a:lnTo>
                <a:lnTo>
                  <a:pt x="1304" y="1871"/>
                </a:lnTo>
                <a:lnTo>
                  <a:pt x="1305" y="1869"/>
                </a:lnTo>
                <a:lnTo>
                  <a:pt x="1305" y="1867"/>
                </a:lnTo>
                <a:lnTo>
                  <a:pt x="1307" y="1865"/>
                </a:lnTo>
                <a:lnTo>
                  <a:pt x="1309" y="1863"/>
                </a:lnTo>
                <a:lnTo>
                  <a:pt x="1311" y="1861"/>
                </a:lnTo>
                <a:lnTo>
                  <a:pt x="1314" y="1860"/>
                </a:lnTo>
                <a:lnTo>
                  <a:pt x="1316" y="1860"/>
                </a:lnTo>
                <a:close/>
                <a:moveTo>
                  <a:pt x="1406" y="1748"/>
                </a:moveTo>
                <a:lnTo>
                  <a:pt x="1410" y="1748"/>
                </a:lnTo>
                <a:lnTo>
                  <a:pt x="1412" y="1749"/>
                </a:lnTo>
                <a:lnTo>
                  <a:pt x="1414" y="1751"/>
                </a:lnTo>
                <a:lnTo>
                  <a:pt x="1416" y="1753"/>
                </a:lnTo>
                <a:lnTo>
                  <a:pt x="1417" y="1755"/>
                </a:lnTo>
                <a:lnTo>
                  <a:pt x="1418" y="1757"/>
                </a:lnTo>
                <a:lnTo>
                  <a:pt x="1418" y="1759"/>
                </a:lnTo>
                <a:lnTo>
                  <a:pt x="1418" y="1761"/>
                </a:lnTo>
                <a:lnTo>
                  <a:pt x="1418" y="1764"/>
                </a:lnTo>
                <a:lnTo>
                  <a:pt x="1417" y="1766"/>
                </a:lnTo>
                <a:lnTo>
                  <a:pt x="1415" y="1768"/>
                </a:lnTo>
                <a:lnTo>
                  <a:pt x="1413" y="1769"/>
                </a:lnTo>
                <a:lnTo>
                  <a:pt x="1411" y="1771"/>
                </a:lnTo>
                <a:lnTo>
                  <a:pt x="1409" y="1771"/>
                </a:lnTo>
                <a:lnTo>
                  <a:pt x="1406" y="1772"/>
                </a:lnTo>
                <a:lnTo>
                  <a:pt x="1402" y="1771"/>
                </a:lnTo>
                <a:lnTo>
                  <a:pt x="1400" y="1770"/>
                </a:lnTo>
                <a:lnTo>
                  <a:pt x="1398" y="1769"/>
                </a:lnTo>
                <a:lnTo>
                  <a:pt x="1397" y="1767"/>
                </a:lnTo>
                <a:lnTo>
                  <a:pt x="1395" y="1765"/>
                </a:lnTo>
                <a:lnTo>
                  <a:pt x="1395" y="1763"/>
                </a:lnTo>
                <a:lnTo>
                  <a:pt x="1394" y="1760"/>
                </a:lnTo>
                <a:lnTo>
                  <a:pt x="1394" y="1758"/>
                </a:lnTo>
                <a:lnTo>
                  <a:pt x="1395" y="1756"/>
                </a:lnTo>
                <a:lnTo>
                  <a:pt x="1396" y="1754"/>
                </a:lnTo>
                <a:lnTo>
                  <a:pt x="1397" y="1752"/>
                </a:lnTo>
                <a:lnTo>
                  <a:pt x="1399" y="1750"/>
                </a:lnTo>
                <a:lnTo>
                  <a:pt x="1401" y="1749"/>
                </a:lnTo>
                <a:lnTo>
                  <a:pt x="1404" y="1748"/>
                </a:lnTo>
                <a:lnTo>
                  <a:pt x="1406" y="1748"/>
                </a:lnTo>
                <a:close/>
                <a:moveTo>
                  <a:pt x="1793" y="1723"/>
                </a:moveTo>
                <a:lnTo>
                  <a:pt x="1797" y="1724"/>
                </a:lnTo>
                <a:lnTo>
                  <a:pt x="1801" y="1726"/>
                </a:lnTo>
                <a:lnTo>
                  <a:pt x="1804" y="1729"/>
                </a:lnTo>
                <a:lnTo>
                  <a:pt x="1805" y="1731"/>
                </a:lnTo>
                <a:lnTo>
                  <a:pt x="1805" y="1733"/>
                </a:lnTo>
                <a:lnTo>
                  <a:pt x="1805" y="1736"/>
                </a:lnTo>
                <a:lnTo>
                  <a:pt x="1805" y="1738"/>
                </a:lnTo>
                <a:lnTo>
                  <a:pt x="1804" y="1740"/>
                </a:lnTo>
                <a:lnTo>
                  <a:pt x="1803" y="1742"/>
                </a:lnTo>
                <a:lnTo>
                  <a:pt x="1801" y="1744"/>
                </a:lnTo>
                <a:lnTo>
                  <a:pt x="1800" y="1745"/>
                </a:lnTo>
                <a:lnTo>
                  <a:pt x="1797" y="1746"/>
                </a:lnTo>
                <a:lnTo>
                  <a:pt x="1795" y="1747"/>
                </a:lnTo>
                <a:lnTo>
                  <a:pt x="1793" y="1747"/>
                </a:lnTo>
                <a:lnTo>
                  <a:pt x="1789" y="1746"/>
                </a:lnTo>
                <a:lnTo>
                  <a:pt x="1786" y="1744"/>
                </a:lnTo>
                <a:lnTo>
                  <a:pt x="1783" y="1741"/>
                </a:lnTo>
                <a:lnTo>
                  <a:pt x="1782" y="1739"/>
                </a:lnTo>
                <a:lnTo>
                  <a:pt x="1781" y="1737"/>
                </a:lnTo>
                <a:lnTo>
                  <a:pt x="1781" y="1734"/>
                </a:lnTo>
                <a:lnTo>
                  <a:pt x="1782" y="1732"/>
                </a:lnTo>
                <a:lnTo>
                  <a:pt x="1782" y="1730"/>
                </a:lnTo>
                <a:lnTo>
                  <a:pt x="1784" y="1728"/>
                </a:lnTo>
                <a:lnTo>
                  <a:pt x="1787" y="1725"/>
                </a:lnTo>
                <a:lnTo>
                  <a:pt x="1789" y="1724"/>
                </a:lnTo>
                <a:lnTo>
                  <a:pt x="1791" y="1723"/>
                </a:lnTo>
                <a:lnTo>
                  <a:pt x="1793" y="1723"/>
                </a:lnTo>
                <a:close/>
                <a:moveTo>
                  <a:pt x="1654" y="1700"/>
                </a:moveTo>
                <a:lnTo>
                  <a:pt x="1658" y="1700"/>
                </a:lnTo>
                <a:lnTo>
                  <a:pt x="1661" y="1702"/>
                </a:lnTo>
                <a:lnTo>
                  <a:pt x="1663" y="1703"/>
                </a:lnTo>
                <a:lnTo>
                  <a:pt x="1664" y="1705"/>
                </a:lnTo>
                <a:lnTo>
                  <a:pt x="1665" y="1707"/>
                </a:lnTo>
                <a:lnTo>
                  <a:pt x="1666" y="1709"/>
                </a:lnTo>
                <a:lnTo>
                  <a:pt x="1666" y="1711"/>
                </a:lnTo>
                <a:lnTo>
                  <a:pt x="1666" y="1714"/>
                </a:lnTo>
                <a:lnTo>
                  <a:pt x="1666" y="1716"/>
                </a:lnTo>
                <a:lnTo>
                  <a:pt x="1665" y="1718"/>
                </a:lnTo>
                <a:lnTo>
                  <a:pt x="1663" y="1721"/>
                </a:lnTo>
                <a:lnTo>
                  <a:pt x="1660" y="1723"/>
                </a:lnTo>
                <a:lnTo>
                  <a:pt x="1657" y="1724"/>
                </a:lnTo>
                <a:lnTo>
                  <a:pt x="1654" y="1724"/>
                </a:lnTo>
                <a:lnTo>
                  <a:pt x="1651" y="1724"/>
                </a:lnTo>
                <a:lnTo>
                  <a:pt x="1648" y="1722"/>
                </a:lnTo>
                <a:lnTo>
                  <a:pt x="1646" y="1721"/>
                </a:lnTo>
                <a:lnTo>
                  <a:pt x="1645" y="1719"/>
                </a:lnTo>
                <a:lnTo>
                  <a:pt x="1643" y="1717"/>
                </a:lnTo>
                <a:lnTo>
                  <a:pt x="1643" y="1715"/>
                </a:lnTo>
                <a:lnTo>
                  <a:pt x="1642" y="1713"/>
                </a:lnTo>
                <a:lnTo>
                  <a:pt x="1642" y="1710"/>
                </a:lnTo>
                <a:lnTo>
                  <a:pt x="1643" y="1708"/>
                </a:lnTo>
                <a:lnTo>
                  <a:pt x="1644" y="1706"/>
                </a:lnTo>
                <a:lnTo>
                  <a:pt x="1646" y="1703"/>
                </a:lnTo>
                <a:lnTo>
                  <a:pt x="1649" y="1701"/>
                </a:lnTo>
                <a:lnTo>
                  <a:pt x="1651" y="1700"/>
                </a:lnTo>
                <a:lnTo>
                  <a:pt x="1654" y="1700"/>
                </a:lnTo>
                <a:close/>
                <a:moveTo>
                  <a:pt x="1929" y="1675"/>
                </a:moveTo>
                <a:lnTo>
                  <a:pt x="1932" y="1675"/>
                </a:lnTo>
                <a:lnTo>
                  <a:pt x="1935" y="1676"/>
                </a:lnTo>
                <a:lnTo>
                  <a:pt x="1937" y="1678"/>
                </a:lnTo>
                <a:lnTo>
                  <a:pt x="1939" y="1681"/>
                </a:lnTo>
                <a:lnTo>
                  <a:pt x="1940" y="1683"/>
                </a:lnTo>
                <a:lnTo>
                  <a:pt x="1941" y="1687"/>
                </a:lnTo>
                <a:lnTo>
                  <a:pt x="1941" y="1689"/>
                </a:lnTo>
                <a:lnTo>
                  <a:pt x="1940" y="1691"/>
                </a:lnTo>
                <a:lnTo>
                  <a:pt x="1939" y="1693"/>
                </a:lnTo>
                <a:lnTo>
                  <a:pt x="1938" y="1695"/>
                </a:lnTo>
                <a:lnTo>
                  <a:pt x="1936" y="1697"/>
                </a:lnTo>
                <a:lnTo>
                  <a:pt x="1934" y="1698"/>
                </a:lnTo>
                <a:lnTo>
                  <a:pt x="1931" y="1699"/>
                </a:lnTo>
                <a:lnTo>
                  <a:pt x="1929" y="1700"/>
                </a:lnTo>
                <a:lnTo>
                  <a:pt x="1925" y="1699"/>
                </a:lnTo>
                <a:lnTo>
                  <a:pt x="1922" y="1698"/>
                </a:lnTo>
                <a:lnTo>
                  <a:pt x="1920" y="1696"/>
                </a:lnTo>
                <a:lnTo>
                  <a:pt x="1918" y="1693"/>
                </a:lnTo>
                <a:lnTo>
                  <a:pt x="1917" y="1691"/>
                </a:lnTo>
                <a:lnTo>
                  <a:pt x="1917" y="1689"/>
                </a:lnTo>
                <a:lnTo>
                  <a:pt x="1917" y="1685"/>
                </a:lnTo>
                <a:lnTo>
                  <a:pt x="1917" y="1683"/>
                </a:lnTo>
                <a:lnTo>
                  <a:pt x="1918" y="1681"/>
                </a:lnTo>
                <a:lnTo>
                  <a:pt x="1919" y="1679"/>
                </a:lnTo>
                <a:lnTo>
                  <a:pt x="1921" y="1677"/>
                </a:lnTo>
                <a:lnTo>
                  <a:pt x="1923" y="1676"/>
                </a:lnTo>
                <a:lnTo>
                  <a:pt x="1926" y="1675"/>
                </a:lnTo>
                <a:lnTo>
                  <a:pt x="1929" y="1675"/>
                </a:lnTo>
                <a:close/>
                <a:moveTo>
                  <a:pt x="1520" y="1663"/>
                </a:moveTo>
                <a:lnTo>
                  <a:pt x="1524" y="1663"/>
                </a:lnTo>
                <a:lnTo>
                  <a:pt x="1528" y="1665"/>
                </a:lnTo>
                <a:lnTo>
                  <a:pt x="1530" y="1668"/>
                </a:lnTo>
                <a:lnTo>
                  <a:pt x="1532" y="1672"/>
                </a:lnTo>
                <a:lnTo>
                  <a:pt x="1532" y="1674"/>
                </a:lnTo>
                <a:lnTo>
                  <a:pt x="1532" y="1676"/>
                </a:lnTo>
                <a:lnTo>
                  <a:pt x="1532" y="1679"/>
                </a:lnTo>
                <a:lnTo>
                  <a:pt x="1531" y="1681"/>
                </a:lnTo>
                <a:lnTo>
                  <a:pt x="1530" y="1683"/>
                </a:lnTo>
                <a:lnTo>
                  <a:pt x="1528" y="1684"/>
                </a:lnTo>
                <a:lnTo>
                  <a:pt x="1526" y="1685"/>
                </a:lnTo>
                <a:lnTo>
                  <a:pt x="1524" y="1687"/>
                </a:lnTo>
                <a:lnTo>
                  <a:pt x="1520" y="1688"/>
                </a:lnTo>
                <a:lnTo>
                  <a:pt x="1517" y="1687"/>
                </a:lnTo>
                <a:lnTo>
                  <a:pt x="1513" y="1684"/>
                </a:lnTo>
                <a:lnTo>
                  <a:pt x="1511" y="1681"/>
                </a:lnTo>
                <a:lnTo>
                  <a:pt x="1509" y="1678"/>
                </a:lnTo>
                <a:lnTo>
                  <a:pt x="1509" y="1675"/>
                </a:lnTo>
                <a:lnTo>
                  <a:pt x="1509" y="1673"/>
                </a:lnTo>
                <a:lnTo>
                  <a:pt x="1509" y="1671"/>
                </a:lnTo>
                <a:lnTo>
                  <a:pt x="1510" y="1669"/>
                </a:lnTo>
                <a:lnTo>
                  <a:pt x="1511" y="1667"/>
                </a:lnTo>
                <a:lnTo>
                  <a:pt x="1513" y="1665"/>
                </a:lnTo>
                <a:lnTo>
                  <a:pt x="1515" y="1664"/>
                </a:lnTo>
                <a:lnTo>
                  <a:pt x="1517" y="1663"/>
                </a:lnTo>
                <a:lnTo>
                  <a:pt x="1520" y="1663"/>
                </a:lnTo>
                <a:close/>
                <a:moveTo>
                  <a:pt x="2050" y="1597"/>
                </a:moveTo>
                <a:lnTo>
                  <a:pt x="2053" y="1598"/>
                </a:lnTo>
                <a:lnTo>
                  <a:pt x="2055" y="1598"/>
                </a:lnTo>
                <a:lnTo>
                  <a:pt x="2058" y="1600"/>
                </a:lnTo>
                <a:lnTo>
                  <a:pt x="2060" y="1602"/>
                </a:lnTo>
                <a:lnTo>
                  <a:pt x="2061" y="1604"/>
                </a:lnTo>
                <a:lnTo>
                  <a:pt x="2062" y="1606"/>
                </a:lnTo>
                <a:lnTo>
                  <a:pt x="2062" y="1609"/>
                </a:lnTo>
                <a:lnTo>
                  <a:pt x="2062" y="1611"/>
                </a:lnTo>
                <a:lnTo>
                  <a:pt x="2061" y="1613"/>
                </a:lnTo>
                <a:lnTo>
                  <a:pt x="2060" y="1615"/>
                </a:lnTo>
                <a:lnTo>
                  <a:pt x="2059" y="1617"/>
                </a:lnTo>
                <a:lnTo>
                  <a:pt x="2057" y="1619"/>
                </a:lnTo>
                <a:lnTo>
                  <a:pt x="2055" y="1620"/>
                </a:lnTo>
                <a:lnTo>
                  <a:pt x="2054" y="1621"/>
                </a:lnTo>
                <a:lnTo>
                  <a:pt x="2052" y="1621"/>
                </a:lnTo>
                <a:lnTo>
                  <a:pt x="2050" y="1621"/>
                </a:lnTo>
                <a:lnTo>
                  <a:pt x="2047" y="1621"/>
                </a:lnTo>
                <a:lnTo>
                  <a:pt x="2045" y="1620"/>
                </a:lnTo>
                <a:lnTo>
                  <a:pt x="2042" y="1619"/>
                </a:lnTo>
                <a:lnTo>
                  <a:pt x="2040" y="1616"/>
                </a:lnTo>
                <a:lnTo>
                  <a:pt x="2039" y="1614"/>
                </a:lnTo>
                <a:lnTo>
                  <a:pt x="2038" y="1612"/>
                </a:lnTo>
                <a:lnTo>
                  <a:pt x="2038" y="1610"/>
                </a:lnTo>
                <a:lnTo>
                  <a:pt x="2038" y="1608"/>
                </a:lnTo>
                <a:lnTo>
                  <a:pt x="2039" y="1605"/>
                </a:lnTo>
                <a:lnTo>
                  <a:pt x="2040" y="1603"/>
                </a:lnTo>
                <a:lnTo>
                  <a:pt x="2041" y="1601"/>
                </a:lnTo>
                <a:lnTo>
                  <a:pt x="2043" y="1600"/>
                </a:lnTo>
                <a:lnTo>
                  <a:pt x="2044" y="1599"/>
                </a:lnTo>
                <a:lnTo>
                  <a:pt x="2046" y="1598"/>
                </a:lnTo>
                <a:lnTo>
                  <a:pt x="2048" y="1597"/>
                </a:lnTo>
                <a:lnTo>
                  <a:pt x="2050" y="1597"/>
                </a:lnTo>
                <a:close/>
                <a:moveTo>
                  <a:pt x="2160" y="1505"/>
                </a:moveTo>
                <a:lnTo>
                  <a:pt x="2163" y="1505"/>
                </a:lnTo>
                <a:lnTo>
                  <a:pt x="2165" y="1506"/>
                </a:lnTo>
                <a:lnTo>
                  <a:pt x="2167" y="1507"/>
                </a:lnTo>
                <a:lnTo>
                  <a:pt x="2169" y="1508"/>
                </a:lnTo>
                <a:lnTo>
                  <a:pt x="2171" y="1510"/>
                </a:lnTo>
                <a:lnTo>
                  <a:pt x="2172" y="1512"/>
                </a:lnTo>
                <a:lnTo>
                  <a:pt x="2172" y="1517"/>
                </a:lnTo>
                <a:lnTo>
                  <a:pt x="2172" y="1519"/>
                </a:lnTo>
                <a:lnTo>
                  <a:pt x="2171" y="1522"/>
                </a:lnTo>
                <a:lnTo>
                  <a:pt x="2170" y="1524"/>
                </a:lnTo>
                <a:lnTo>
                  <a:pt x="2169" y="1525"/>
                </a:lnTo>
                <a:lnTo>
                  <a:pt x="2165" y="1528"/>
                </a:lnTo>
                <a:lnTo>
                  <a:pt x="2160" y="1529"/>
                </a:lnTo>
                <a:lnTo>
                  <a:pt x="2158" y="1528"/>
                </a:lnTo>
                <a:lnTo>
                  <a:pt x="2156" y="1528"/>
                </a:lnTo>
                <a:lnTo>
                  <a:pt x="2153" y="1526"/>
                </a:lnTo>
                <a:lnTo>
                  <a:pt x="2152" y="1525"/>
                </a:lnTo>
                <a:lnTo>
                  <a:pt x="2150" y="1523"/>
                </a:lnTo>
                <a:lnTo>
                  <a:pt x="2149" y="1521"/>
                </a:lnTo>
                <a:lnTo>
                  <a:pt x="2148" y="1516"/>
                </a:lnTo>
                <a:lnTo>
                  <a:pt x="2149" y="1514"/>
                </a:lnTo>
                <a:lnTo>
                  <a:pt x="2149" y="1512"/>
                </a:lnTo>
                <a:lnTo>
                  <a:pt x="2151" y="1510"/>
                </a:lnTo>
                <a:lnTo>
                  <a:pt x="2152" y="1508"/>
                </a:lnTo>
                <a:lnTo>
                  <a:pt x="2156" y="1505"/>
                </a:lnTo>
                <a:lnTo>
                  <a:pt x="2160" y="1505"/>
                </a:lnTo>
                <a:close/>
                <a:moveTo>
                  <a:pt x="2261" y="1402"/>
                </a:moveTo>
                <a:lnTo>
                  <a:pt x="2266" y="1403"/>
                </a:lnTo>
                <a:lnTo>
                  <a:pt x="2268" y="1404"/>
                </a:lnTo>
                <a:lnTo>
                  <a:pt x="2270" y="1405"/>
                </a:lnTo>
                <a:lnTo>
                  <a:pt x="2271" y="1407"/>
                </a:lnTo>
                <a:lnTo>
                  <a:pt x="2272" y="1409"/>
                </a:lnTo>
                <a:lnTo>
                  <a:pt x="2273" y="1411"/>
                </a:lnTo>
                <a:lnTo>
                  <a:pt x="2273" y="1413"/>
                </a:lnTo>
                <a:lnTo>
                  <a:pt x="2273" y="1418"/>
                </a:lnTo>
                <a:lnTo>
                  <a:pt x="2272" y="1420"/>
                </a:lnTo>
                <a:lnTo>
                  <a:pt x="2270" y="1422"/>
                </a:lnTo>
                <a:lnTo>
                  <a:pt x="2268" y="1424"/>
                </a:lnTo>
                <a:lnTo>
                  <a:pt x="2266" y="1425"/>
                </a:lnTo>
                <a:lnTo>
                  <a:pt x="2264" y="1426"/>
                </a:lnTo>
                <a:lnTo>
                  <a:pt x="2261" y="1426"/>
                </a:lnTo>
                <a:lnTo>
                  <a:pt x="2257" y="1425"/>
                </a:lnTo>
                <a:lnTo>
                  <a:pt x="2255" y="1424"/>
                </a:lnTo>
                <a:lnTo>
                  <a:pt x="2253" y="1423"/>
                </a:lnTo>
                <a:lnTo>
                  <a:pt x="2252" y="1421"/>
                </a:lnTo>
                <a:lnTo>
                  <a:pt x="2251" y="1419"/>
                </a:lnTo>
                <a:lnTo>
                  <a:pt x="2250" y="1417"/>
                </a:lnTo>
                <a:lnTo>
                  <a:pt x="2249" y="1415"/>
                </a:lnTo>
                <a:lnTo>
                  <a:pt x="2250" y="1410"/>
                </a:lnTo>
                <a:lnTo>
                  <a:pt x="2251" y="1408"/>
                </a:lnTo>
                <a:lnTo>
                  <a:pt x="2253" y="1406"/>
                </a:lnTo>
                <a:lnTo>
                  <a:pt x="2255" y="1404"/>
                </a:lnTo>
                <a:lnTo>
                  <a:pt x="2257" y="1403"/>
                </a:lnTo>
                <a:lnTo>
                  <a:pt x="2259" y="1402"/>
                </a:lnTo>
                <a:lnTo>
                  <a:pt x="2261" y="1402"/>
                </a:lnTo>
                <a:close/>
                <a:moveTo>
                  <a:pt x="2354" y="1291"/>
                </a:moveTo>
                <a:lnTo>
                  <a:pt x="2358" y="1292"/>
                </a:lnTo>
                <a:lnTo>
                  <a:pt x="2361" y="1294"/>
                </a:lnTo>
                <a:lnTo>
                  <a:pt x="2364" y="1297"/>
                </a:lnTo>
                <a:lnTo>
                  <a:pt x="2365" y="1299"/>
                </a:lnTo>
                <a:lnTo>
                  <a:pt x="2366" y="1302"/>
                </a:lnTo>
                <a:lnTo>
                  <a:pt x="2366" y="1304"/>
                </a:lnTo>
                <a:lnTo>
                  <a:pt x="2365" y="1306"/>
                </a:lnTo>
                <a:lnTo>
                  <a:pt x="2365" y="1309"/>
                </a:lnTo>
                <a:lnTo>
                  <a:pt x="2363" y="1311"/>
                </a:lnTo>
                <a:lnTo>
                  <a:pt x="2361" y="1313"/>
                </a:lnTo>
                <a:lnTo>
                  <a:pt x="2359" y="1314"/>
                </a:lnTo>
                <a:lnTo>
                  <a:pt x="2356" y="1315"/>
                </a:lnTo>
                <a:lnTo>
                  <a:pt x="2354" y="1315"/>
                </a:lnTo>
                <a:lnTo>
                  <a:pt x="2350" y="1315"/>
                </a:lnTo>
                <a:lnTo>
                  <a:pt x="2347" y="1313"/>
                </a:lnTo>
                <a:lnTo>
                  <a:pt x="2343" y="1309"/>
                </a:lnTo>
                <a:lnTo>
                  <a:pt x="2342" y="1307"/>
                </a:lnTo>
                <a:lnTo>
                  <a:pt x="2342" y="1305"/>
                </a:lnTo>
                <a:lnTo>
                  <a:pt x="2342" y="1303"/>
                </a:lnTo>
                <a:lnTo>
                  <a:pt x="2342" y="1300"/>
                </a:lnTo>
                <a:lnTo>
                  <a:pt x="2343" y="1298"/>
                </a:lnTo>
                <a:lnTo>
                  <a:pt x="2344" y="1296"/>
                </a:lnTo>
                <a:lnTo>
                  <a:pt x="2346" y="1294"/>
                </a:lnTo>
                <a:lnTo>
                  <a:pt x="2349" y="1292"/>
                </a:lnTo>
                <a:lnTo>
                  <a:pt x="2351" y="1292"/>
                </a:lnTo>
                <a:lnTo>
                  <a:pt x="2354" y="1291"/>
                </a:lnTo>
                <a:close/>
                <a:moveTo>
                  <a:pt x="2436" y="1173"/>
                </a:moveTo>
                <a:lnTo>
                  <a:pt x="2439" y="1173"/>
                </a:lnTo>
                <a:lnTo>
                  <a:pt x="2442" y="1175"/>
                </a:lnTo>
                <a:lnTo>
                  <a:pt x="2445" y="1176"/>
                </a:lnTo>
                <a:lnTo>
                  <a:pt x="2447" y="1178"/>
                </a:lnTo>
                <a:lnTo>
                  <a:pt x="2448" y="1180"/>
                </a:lnTo>
                <a:lnTo>
                  <a:pt x="2449" y="1182"/>
                </a:lnTo>
                <a:lnTo>
                  <a:pt x="2449" y="1185"/>
                </a:lnTo>
                <a:lnTo>
                  <a:pt x="2449" y="1187"/>
                </a:lnTo>
                <a:lnTo>
                  <a:pt x="2448" y="1189"/>
                </a:lnTo>
                <a:lnTo>
                  <a:pt x="2447" y="1191"/>
                </a:lnTo>
                <a:lnTo>
                  <a:pt x="2445" y="1194"/>
                </a:lnTo>
                <a:lnTo>
                  <a:pt x="2442" y="1196"/>
                </a:lnTo>
                <a:lnTo>
                  <a:pt x="2439" y="1197"/>
                </a:lnTo>
                <a:lnTo>
                  <a:pt x="2436" y="1197"/>
                </a:lnTo>
                <a:lnTo>
                  <a:pt x="2433" y="1197"/>
                </a:lnTo>
                <a:lnTo>
                  <a:pt x="2430" y="1195"/>
                </a:lnTo>
                <a:lnTo>
                  <a:pt x="2428" y="1194"/>
                </a:lnTo>
                <a:lnTo>
                  <a:pt x="2426" y="1192"/>
                </a:lnTo>
                <a:lnTo>
                  <a:pt x="2425" y="1190"/>
                </a:lnTo>
                <a:lnTo>
                  <a:pt x="2424" y="1188"/>
                </a:lnTo>
                <a:lnTo>
                  <a:pt x="2424" y="1185"/>
                </a:lnTo>
                <a:lnTo>
                  <a:pt x="2424" y="1183"/>
                </a:lnTo>
                <a:lnTo>
                  <a:pt x="2425" y="1181"/>
                </a:lnTo>
                <a:lnTo>
                  <a:pt x="2426" y="1179"/>
                </a:lnTo>
                <a:lnTo>
                  <a:pt x="2428" y="1176"/>
                </a:lnTo>
                <a:lnTo>
                  <a:pt x="2430" y="1174"/>
                </a:lnTo>
                <a:lnTo>
                  <a:pt x="2433" y="1173"/>
                </a:lnTo>
                <a:lnTo>
                  <a:pt x="2436" y="1173"/>
                </a:lnTo>
                <a:close/>
                <a:moveTo>
                  <a:pt x="2505" y="1046"/>
                </a:moveTo>
                <a:lnTo>
                  <a:pt x="2507" y="1046"/>
                </a:lnTo>
                <a:lnTo>
                  <a:pt x="2509" y="1047"/>
                </a:lnTo>
                <a:lnTo>
                  <a:pt x="2511" y="1048"/>
                </a:lnTo>
                <a:lnTo>
                  <a:pt x="2513" y="1049"/>
                </a:lnTo>
                <a:lnTo>
                  <a:pt x="2516" y="1053"/>
                </a:lnTo>
                <a:lnTo>
                  <a:pt x="2516" y="1055"/>
                </a:lnTo>
                <a:lnTo>
                  <a:pt x="2517" y="1058"/>
                </a:lnTo>
                <a:lnTo>
                  <a:pt x="2516" y="1060"/>
                </a:lnTo>
                <a:lnTo>
                  <a:pt x="2516" y="1062"/>
                </a:lnTo>
                <a:lnTo>
                  <a:pt x="2515" y="1064"/>
                </a:lnTo>
                <a:lnTo>
                  <a:pt x="2514" y="1066"/>
                </a:lnTo>
                <a:lnTo>
                  <a:pt x="2511" y="1068"/>
                </a:lnTo>
                <a:lnTo>
                  <a:pt x="2508" y="1069"/>
                </a:lnTo>
                <a:lnTo>
                  <a:pt x="2505" y="1070"/>
                </a:lnTo>
                <a:lnTo>
                  <a:pt x="2502" y="1070"/>
                </a:lnTo>
                <a:lnTo>
                  <a:pt x="2500" y="1069"/>
                </a:lnTo>
                <a:lnTo>
                  <a:pt x="2498" y="1068"/>
                </a:lnTo>
                <a:lnTo>
                  <a:pt x="2496" y="1066"/>
                </a:lnTo>
                <a:lnTo>
                  <a:pt x="2493" y="1062"/>
                </a:lnTo>
                <a:lnTo>
                  <a:pt x="2493" y="1060"/>
                </a:lnTo>
                <a:lnTo>
                  <a:pt x="2493" y="1058"/>
                </a:lnTo>
                <a:lnTo>
                  <a:pt x="2493" y="1055"/>
                </a:lnTo>
                <a:lnTo>
                  <a:pt x="2494" y="1053"/>
                </a:lnTo>
                <a:lnTo>
                  <a:pt x="2494" y="1051"/>
                </a:lnTo>
                <a:lnTo>
                  <a:pt x="2495" y="1050"/>
                </a:lnTo>
                <a:lnTo>
                  <a:pt x="2498" y="1048"/>
                </a:lnTo>
                <a:lnTo>
                  <a:pt x="2501" y="1046"/>
                </a:lnTo>
                <a:lnTo>
                  <a:pt x="2505" y="1046"/>
                </a:lnTo>
                <a:close/>
                <a:moveTo>
                  <a:pt x="2556" y="911"/>
                </a:moveTo>
                <a:lnTo>
                  <a:pt x="2560" y="912"/>
                </a:lnTo>
                <a:lnTo>
                  <a:pt x="2562" y="913"/>
                </a:lnTo>
                <a:lnTo>
                  <a:pt x="2564" y="914"/>
                </a:lnTo>
                <a:lnTo>
                  <a:pt x="2566" y="916"/>
                </a:lnTo>
                <a:lnTo>
                  <a:pt x="2567" y="918"/>
                </a:lnTo>
                <a:lnTo>
                  <a:pt x="2567" y="920"/>
                </a:lnTo>
                <a:lnTo>
                  <a:pt x="2568" y="923"/>
                </a:lnTo>
                <a:lnTo>
                  <a:pt x="2567" y="927"/>
                </a:lnTo>
                <a:lnTo>
                  <a:pt x="2565" y="930"/>
                </a:lnTo>
                <a:lnTo>
                  <a:pt x="2562" y="933"/>
                </a:lnTo>
                <a:lnTo>
                  <a:pt x="2561" y="934"/>
                </a:lnTo>
                <a:lnTo>
                  <a:pt x="2559" y="934"/>
                </a:lnTo>
                <a:lnTo>
                  <a:pt x="2556" y="935"/>
                </a:lnTo>
                <a:lnTo>
                  <a:pt x="2551" y="934"/>
                </a:lnTo>
                <a:lnTo>
                  <a:pt x="2549" y="933"/>
                </a:lnTo>
                <a:lnTo>
                  <a:pt x="2547" y="932"/>
                </a:lnTo>
                <a:lnTo>
                  <a:pt x="2546" y="930"/>
                </a:lnTo>
                <a:lnTo>
                  <a:pt x="2545" y="928"/>
                </a:lnTo>
                <a:lnTo>
                  <a:pt x="2544" y="926"/>
                </a:lnTo>
                <a:lnTo>
                  <a:pt x="2544" y="923"/>
                </a:lnTo>
                <a:lnTo>
                  <a:pt x="2545" y="919"/>
                </a:lnTo>
                <a:lnTo>
                  <a:pt x="2546" y="915"/>
                </a:lnTo>
                <a:lnTo>
                  <a:pt x="2549" y="913"/>
                </a:lnTo>
                <a:lnTo>
                  <a:pt x="2551" y="912"/>
                </a:lnTo>
                <a:lnTo>
                  <a:pt x="2552" y="911"/>
                </a:lnTo>
                <a:lnTo>
                  <a:pt x="2556" y="911"/>
                </a:lnTo>
                <a:close/>
                <a:moveTo>
                  <a:pt x="2611" y="778"/>
                </a:moveTo>
                <a:lnTo>
                  <a:pt x="2613" y="778"/>
                </a:lnTo>
                <a:lnTo>
                  <a:pt x="2616" y="779"/>
                </a:lnTo>
                <a:lnTo>
                  <a:pt x="2618" y="780"/>
                </a:lnTo>
                <a:lnTo>
                  <a:pt x="2620" y="781"/>
                </a:lnTo>
                <a:lnTo>
                  <a:pt x="2621" y="783"/>
                </a:lnTo>
                <a:lnTo>
                  <a:pt x="2622" y="785"/>
                </a:lnTo>
                <a:lnTo>
                  <a:pt x="2623" y="790"/>
                </a:lnTo>
                <a:lnTo>
                  <a:pt x="2623" y="792"/>
                </a:lnTo>
                <a:lnTo>
                  <a:pt x="2622" y="794"/>
                </a:lnTo>
                <a:lnTo>
                  <a:pt x="2620" y="797"/>
                </a:lnTo>
                <a:lnTo>
                  <a:pt x="2617" y="800"/>
                </a:lnTo>
                <a:lnTo>
                  <a:pt x="2614" y="801"/>
                </a:lnTo>
                <a:lnTo>
                  <a:pt x="2611" y="802"/>
                </a:lnTo>
                <a:lnTo>
                  <a:pt x="2608" y="801"/>
                </a:lnTo>
                <a:lnTo>
                  <a:pt x="2606" y="801"/>
                </a:lnTo>
                <a:lnTo>
                  <a:pt x="2604" y="799"/>
                </a:lnTo>
                <a:lnTo>
                  <a:pt x="2602" y="798"/>
                </a:lnTo>
                <a:lnTo>
                  <a:pt x="2601" y="796"/>
                </a:lnTo>
                <a:lnTo>
                  <a:pt x="2600" y="794"/>
                </a:lnTo>
                <a:lnTo>
                  <a:pt x="2599" y="789"/>
                </a:lnTo>
                <a:lnTo>
                  <a:pt x="2599" y="787"/>
                </a:lnTo>
                <a:lnTo>
                  <a:pt x="2600" y="785"/>
                </a:lnTo>
                <a:lnTo>
                  <a:pt x="2602" y="782"/>
                </a:lnTo>
                <a:lnTo>
                  <a:pt x="2604" y="779"/>
                </a:lnTo>
                <a:lnTo>
                  <a:pt x="2607" y="778"/>
                </a:lnTo>
                <a:lnTo>
                  <a:pt x="2611" y="778"/>
                </a:lnTo>
                <a:close/>
                <a:moveTo>
                  <a:pt x="2673" y="648"/>
                </a:moveTo>
                <a:lnTo>
                  <a:pt x="2676" y="648"/>
                </a:lnTo>
                <a:lnTo>
                  <a:pt x="2679" y="649"/>
                </a:lnTo>
                <a:lnTo>
                  <a:pt x="2681" y="650"/>
                </a:lnTo>
                <a:lnTo>
                  <a:pt x="2683" y="652"/>
                </a:lnTo>
                <a:lnTo>
                  <a:pt x="2684" y="654"/>
                </a:lnTo>
                <a:lnTo>
                  <a:pt x="2685" y="656"/>
                </a:lnTo>
                <a:lnTo>
                  <a:pt x="2685" y="658"/>
                </a:lnTo>
                <a:lnTo>
                  <a:pt x="2685" y="661"/>
                </a:lnTo>
                <a:lnTo>
                  <a:pt x="2685" y="663"/>
                </a:lnTo>
                <a:lnTo>
                  <a:pt x="2684" y="665"/>
                </a:lnTo>
                <a:lnTo>
                  <a:pt x="2682" y="668"/>
                </a:lnTo>
                <a:lnTo>
                  <a:pt x="2679" y="670"/>
                </a:lnTo>
                <a:lnTo>
                  <a:pt x="2676" y="671"/>
                </a:lnTo>
                <a:lnTo>
                  <a:pt x="2673" y="672"/>
                </a:lnTo>
                <a:lnTo>
                  <a:pt x="2670" y="671"/>
                </a:lnTo>
                <a:lnTo>
                  <a:pt x="2668" y="670"/>
                </a:lnTo>
                <a:lnTo>
                  <a:pt x="2666" y="669"/>
                </a:lnTo>
                <a:lnTo>
                  <a:pt x="2664" y="667"/>
                </a:lnTo>
                <a:lnTo>
                  <a:pt x="2663" y="665"/>
                </a:lnTo>
                <a:lnTo>
                  <a:pt x="2662" y="663"/>
                </a:lnTo>
                <a:lnTo>
                  <a:pt x="2661" y="661"/>
                </a:lnTo>
                <a:lnTo>
                  <a:pt x="2661" y="659"/>
                </a:lnTo>
                <a:lnTo>
                  <a:pt x="2662" y="656"/>
                </a:lnTo>
                <a:lnTo>
                  <a:pt x="2663" y="654"/>
                </a:lnTo>
                <a:lnTo>
                  <a:pt x="2665" y="651"/>
                </a:lnTo>
                <a:lnTo>
                  <a:pt x="2667" y="649"/>
                </a:lnTo>
                <a:lnTo>
                  <a:pt x="2670" y="648"/>
                </a:lnTo>
                <a:lnTo>
                  <a:pt x="2673" y="648"/>
                </a:lnTo>
                <a:close/>
                <a:moveTo>
                  <a:pt x="2744" y="521"/>
                </a:moveTo>
                <a:lnTo>
                  <a:pt x="2748" y="522"/>
                </a:lnTo>
                <a:lnTo>
                  <a:pt x="2751" y="523"/>
                </a:lnTo>
                <a:lnTo>
                  <a:pt x="2753" y="525"/>
                </a:lnTo>
                <a:lnTo>
                  <a:pt x="2754" y="527"/>
                </a:lnTo>
                <a:lnTo>
                  <a:pt x="2755" y="529"/>
                </a:lnTo>
                <a:lnTo>
                  <a:pt x="2756" y="531"/>
                </a:lnTo>
                <a:lnTo>
                  <a:pt x="2756" y="533"/>
                </a:lnTo>
                <a:lnTo>
                  <a:pt x="2756" y="535"/>
                </a:lnTo>
                <a:lnTo>
                  <a:pt x="2756" y="538"/>
                </a:lnTo>
                <a:lnTo>
                  <a:pt x="2755" y="540"/>
                </a:lnTo>
                <a:lnTo>
                  <a:pt x="2753" y="542"/>
                </a:lnTo>
                <a:lnTo>
                  <a:pt x="2750" y="544"/>
                </a:lnTo>
                <a:lnTo>
                  <a:pt x="2747" y="545"/>
                </a:lnTo>
                <a:lnTo>
                  <a:pt x="2744" y="545"/>
                </a:lnTo>
                <a:lnTo>
                  <a:pt x="2741" y="545"/>
                </a:lnTo>
                <a:lnTo>
                  <a:pt x="2738" y="544"/>
                </a:lnTo>
                <a:lnTo>
                  <a:pt x="2736" y="542"/>
                </a:lnTo>
                <a:lnTo>
                  <a:pt x="2735" y="540"/>
                </a:lnTo>
                <a:lnTo>
                  <a:pt x="2734" y="538"/>
                </a:lnTo>
                <a:lnTo>
                  <a:pt x="2733" y="536"/>
                </a:lnTo>
                <a:lnTo>
                  <a:pt x="2732" y="534"/>
                </a:lnTo>
                <a:lnTo>
                  <a:pt x="2733" y="532"/>
                </a:lnTo>
                <a:lnTo>
                  <a:pt x="2733" y="529"/>
                </a:lnTo>
                <a:lnTo>
                  <a:pt x="2734" y="527"/>
                </a:lnTo>
                <a:lnTo>
                  <a:pt x="2736" y="525"/>
                </a:lnTo>
                <a:lnTo>
                  <a:pt x="2739" y="523"/>
                </a:lnTo>
                <a:lnTo>
                  <a:pt x="2741" y="522"/>
                </a:lnTo>
                <a:lnTo>
                  <a:pt x="2744" y="521"/>
                </a:lnTo>
                <a:close/>
                <a:moveTo>
                  <a:pt x="2825" y="402"/>
                </a:moveTo>
                <a:lnTo>
                  <a:pt x="2829" y="403"/>
                </a:lnTo>
                <a:lnTo>
                  <a:pt x="2832" y="404"/>
                </a:lnTo>
                <a:lnTo>
                  <a:pt x="2834" y="406"/>
                </a:lnTo>
                <a:lnTo>
                  <a:pt x="2835" y="408"/>
                </a:lnTo>
                <a:lnTo>
                  <a:pt x="2836" y="410"/>
                </a:lnTo>
                <a:lnTo>
                  <a:pt x="2837" y="412"/>
                </a:lnTo>
                <a:lnTo>
                  <a:pt x="2837" y="415"/>
                </a:lnTo>
                <a:lnTo>
                  <a:pt x="2837" y="417"/>
                </a:lnTo>
                <a:lnTo>
                  <a:pt x="2836" y="419"/>
                </a:lnTo>
                <a:lnTo>
                  <a:pt x="2835" y="421"/>
                </a:lnTo>
                <a:lnTo>
                  <a:pt x="2833" y="423"/>
                </a:lnTo>
                <a:lnTo>
                  <a:pt x="2830" y="425"/>
                </a:lnTo>
                <a:lnTo>
                  <a:pt x="2828" y="426"/>
                </a:lnTo>
                <a:lnTo>
                  <a:pt x="2825" y="426"/>
                </a:lnTo>
                <a:lnTo>
                  <a:pt x="2821" y="426"/>
                </a:lnTo>
                <a:lnTo>
                  <a:pt x="2818" y="424"/>
                </a:lnTo>
                <a:lnTo>
                  <a:pt x="2816" y="422"/>
                </a:lnTo>
                <a:lnTo>
                  <a:pt x="2815" y="420"/>
                </a:lnTo>
                <a:lnTo>
                  <a:pt x="2814" y="418"/>
                </a:lnTo>
                <a:lnTo>
                  <a:pt x="2813" y="416"/>
                </a:lnTo>
                <a:lnTo>
                  <a:pt x="2813" y="414"/>
                </a:lnTo>
                <a:lnTo>
                  <a:pt x="2813" y="411"/>
                </a:lnTo>
                <a:lnTo>
                  <a:pt x="2814" y="409"/>
                </a:lnTo>
                <a:lnTo>
                  <a:pt x="2815" y="407"/>
                </a:lnTo>
                <a:lnTo>
                  <a:pt x="2817" y="405"/>
                </a:lnTo>
                <a:lnTo>
                  <a:pt x="2820" y="403"/>
                </a:lnTo>
                <a:lnTo>
                  <a:pt x="2822" y="402"/>
                </a:lnTo>
                <a:lnTo>
                  <a:pt x="2825" y="402"/>
                </a:lnTo>
                <a:close/>
                <a:moveTo>
                  <a:pt x="2916" y="290"/>
                </a:moveTo>
                <a:lnTo>
                  <a:pt x="2920" y="291"/>
                </a:lnTo>
                <a:lnTo>
                  <a:pt x="2922" y="292"/>
                </a:lnTo>
                <a:lnTo>
                  <a:pt x="2924" y="293"/>
                </a:lnTo>
                <a:lnTo>
                  <a:pt x="2925" y="295"/>
                </a:lnTo>
                <a:lnTo>
                  <a:pt x="2927" y="297"/>
                </a:lnTo>
                <a:lnTo>
                  <a:pt x="2927" y="299"/>
                </a:lnTo>
                <a:lnTo>
                  <a:pt x="2928" y="302"/>
                </a:lnTo>
                <a:lnTo>
                  <a:pt x="2928" y="304"/>
                </a:lnTo>
                <a:lnTo>
                  <a:pt x="2927" y="306"/>
                </a:lnTo>
                <a:lnTo>
                  <a:pt x="2926" y="308"/>
                </a:lnTo>
                <a:lnTo>
                  <a:pt x="2925" y="310"/>
                </a:lnTo>
                <a:lnTo>
                  <a:pt x="2923" y="312"/>
                </a:lnTo>
                <a:lnTo>
                  <a:pt x="2921" y="313"/>
                </a:lnTo>
                <a:lnTo>
                  <a:pt x="2918" y="314"/>
                </a:lnTo>
                <a:lnTo>
                  <a:pt x="2916" y="314"/>
                </a:lnTo>
                <a:lnTo>
                  <a:pt x="2912" y="314"/>
                </a:lnTo>
                <a:lnTo>
                  <a:pt x="2910" y="313"/>
                </a:lnTo>
                <a:lnTo>
                  <a:pt x="2908" y="311"/>
                </a:lnTo>
                <a:lnTo>
                  <a:pt x="2906" y="309"/>
                </a:lnTo>
                <a:lnTo>
                  <a:pt x="2905" y="307"/>
                </a:lnTo>
                <a:lnTo>
                  <a:pt x="2904" y="305"/>
                </a:lnTo>
                <a:lnTo>
                  <a:pt x="2904" y="303"/>
                </a:lnTo>
                <a:lnTo>
                  <a:pt x="2904" y="301"/>
                </a:lnTo>
                <a:lnTo>
                  <a:pt x="2904" y="298"/>
                </a:lnTo>
                <a:lnTo>
                  <a:pt x="2905" y="296"/>
                </a:lnTo>
                <a:lnTo>
                  <a:pt x="2907" y="294"/>
                </a:lnTo>
                <a:lnTo>
                  <a:pt x="2909" y="293"/>
                </a:lnTo>
                <a:lnTo>
                  <a:pt x="2911" y="291"/>
                </a:lnTo>
                <a:lnTo>
                  <a:pt x="2913" y="291"/>
                </a:lnTo>
                <a:lnTo>
                  <a:pt x="2916" y="290"/>
                </a:lnTo>
                <a:close/>
                <a:moveTo>
                  <a:pt x="3017" y="188"/>
                </a:moveTo>
                <a:lnTo>
                  <a:pt x="3019" y="188"/>
                </a:lnTo>
                <a:lnTo>
                  <a:pt x="3021" y="188"/>
                </a:lnTo>
                <a:lnTo>
                  <a:pt x="3023" y="190"/>
                </a:lnTo>
                <a:lnTo>
                  <a:pt x="3025" y="191"/>
                </a:lnTo>
                <a:lnTo>
                  <a:pt x="3027" y="193"/>
                </a:lnTo>
                <a:lnTo>
                  <a:pt x="3028" y="195"/>
                </a:lnTo>
                <a:lnTo>
                  <a:pt x="3029" y="200"/>
                </a:lnTo>
                <a:lnTo>
                  <a:pt x="3028" y="202"/>
                </a:lnTo>
                <a:lnTo>
                  <a:pt x="3027" y="204"/>
                </a:lnTo>
                <a:lnTo>
                  <a:pt x="3026" y="207"/>
                </a:lnTo>
                <a:lnTo>
                  <a:pt x="3025" y="208"/>
                </a:lnTo>
                <a:lnTo>
                  <a:pt x="3021" y="211"/>
                </a:lnTo>
                <a:lnTo>
                  <a:pt x="3017" y="212"/>
                </a:lnTo>
                <a:lnTo>
                  <a:pt x="3014" y="211"/>
                </a:lnTo>
                <a:lnTo>
                  <a:pt x="3012" y="211"/>
                </a:lnTo>
                <a:lnTo>
                  <a:pt x="3010" y="209"/>
                </a:lnTo>
                <a:lnTo>
                  <a:pt x="3008" y="208"/>
                </a:lnTo>
                <a:lnTo>
                  <a:pt x="3006" y="206"/>
                </a:lnTo>
                <a:lnTo>
                  <a:pt x="3005" y="204"/>
                </a:lnTo>
                <a:lnTo>
                  <a:pt x="3005" y="199"/>
                </a:lnTo>
                <a:lnTo>
                  <a:pt x="3005" y="197"/>
                </a:lnTo>
                <a:lnTo>
                  <a:pt x="3006" y="195"/>
                </a:lnTo>
                <a:lnTo>
                  <a:pt x="3007" y="193"/>
                </a:lnTo>
                <a:lnTo>
                  <a:pt x="3008" y="191"/>
                </a:lnTo>
                <a:lnTo>
                  <a:pt x="3012" y="188"/>
                </a:lnTo>
                <a:lnTo>
                  <a:pt x="3017" y="188"/>
                </a:lnTo>
                <a:close/>
                <a:moveTo>
                  <a:pt x="3127" y="95"/>
                </a:moveTo>
                <a:lnTo>
                  <a:pt x="3130" y="96"/>
                </a:lnTo>
                <a:lnTo>
                  <a:pt x="3132" y="97"/>
                </a:lnTo>
                <a:lnTo>
                  <a:pt x="3135" y="98"/>
                </a:lnTo>
                <a:lnTo>
                  <a:pt x="3137" y="100"/>
                </a:lnTo>
                <a:lnTo>
                  <a:pt x="3138" y="102"/>
                </a:lnTo>
                <a:lnTo>
                  <a:pt x="3139" y="105"/>
                </a:lnTo>
                <a:lnTo>
                  <a:pt x="3139" y="107"/>
                </a:lnTo>
                <a:lnTo>
                  <a:pt x="3139" y="109"/>
                </a:lnTo>
                <a:lnTo>
                  <a:pt x="3138" y="111"/>
                </a:lnTo>
                <a:lnTo>
                  <a:pt x="3138" y="114"/>
                </a:lnTo>
                <a:lnTo>
                  <a:pt x="3136" y="115"/>
                </a:lnTo>
                <a:lnTo>
                  <a:pt x="3134" y="117"/>
                </a:lnTo>
                <a:lnTo>
                  <a:pt x="3133" y="118"/>
                </a:lnTo>
                <a:lnTo>
                  <a:pt x="3131" y="119"/>
                </a:lnTo>
                <a:lnTo>
                  <a:pt x="3129" y="119"/>
                </a:lnTo>
                <a:lnTo>
                  <a:pt x="3127" y="119"/>
                </a:lnTo>
                <a:lnTo>
                  <a:pt x="3124" y="119"/>
                </a:lnTo>
                <a:lnTo>
                  <a:pt x="3122" y="118"/>
                </a:lnTo>
                <a:lnTo>
                  <a:pt x="3120" y="117"/>
                </a:lnTo>
                <a:lnTo>
                  <a:pt x="3118" y="115"/>
                </a:lnTo>
                <a:lnTo>
                  <a:pt x="3116" y="113"/>
                </a:lnTo>
                <a:lnTo>
                  <a:pt x="3116" y="110"/>
                </a:lnTo>
                <a:lnTo>
                  <a:pt x="3115" y="108"/>
                </a:lnTo>
                <a:lnTo>
                  <a:pt x="3115" y="106"/>
                </a:lnTo>
                <a:lnTo>
                  <a:pt x="3116" y="104"/>
                </a:lnTo>
                <a:lnTo>
                  <a:pt x="3117" y="101"/>
                </a:lnTo>
                <a:lnTo>
                  <a:pt x="3118" y="100"/>
                </a:lnTo>
                <a:lnTo>
                  <a:pt x="3120" y="98"/>
                </a:lnTo>
                <a:lnTo>
                  <a:pt x="3122" y="97"/>
                </a:lnTo>
                <a:lnTo>
                  <a:pt x="3123" y="96"/>
                </a:lnTo>
                <a:lnTo>
                  <a:pt x="3125" y="96"/>
                </a:lnTo>
                <a:lnTo>
                  <a:pt x="3127" y="95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766764" y="2204864"/>
            <a:ext cx="10658474" cy="1080120"/>
          </a:xfrm>
          <a:prstGeom prst="roundRect">
            <a:avLst/>
          </a:prstGeom>
          <a:solidFill>
            <a:schemeClr val="accent1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buClrTx/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766764" y="3645024"/>
            <a:ext cx="10658474" cy="1080120"/>
          </a:xfrm>
          <a:prstGeom prst="roundRect">
            <a:avLst/>
          </a:prstGeom>
          <a:solidFill>
            <a:schemeClr val="accent2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buClrTx/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4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766764" y="5085184"/>
            <a:ext cx="10658474" cy="1152104"/>
          </a:xfrm>
          <a:prstGeom prst="roundRect">
            <a:avLst/>
          </a:prstGeom>
          <a:solidFill>
            <a:schemeClr val="accent4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buClrTx/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24"/>
          </p:nvPr>
        </p:nvSpPr>
        <p:spPr>
          <a:xfrm>
            <a:off x="766763" y="1916113"/>
            <a:ext cx="10658475" cy="288752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8"/>
          </p:nvPr>
        </p:nvSpPr>
        <p:spPr>
          <a:xfrm>
            <a:off x="766764" y="3356992"/>
            <a:ext cx="10658474" cy="288032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29"/>
          </p:nvPr>
        </p:nvSpPr>
        <p:spPr>
          <a:xfrm>
            <a:off x="766763" y="4797152"/>
            <a:ext cx="10658475" cy="288032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Freeform 20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41813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ummary" preserve="1" userDrawn="1">
  <p:cSld name="slide_5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 6"/>
          <p:cNvSpPr>
            <a:spLocks noChangeAspect="1" noEditPoints="1"/>
          </p:cNvSpPr>
          <p:nvPr userDrawn="1"/>
        </p:nvSpPr>
        <p:spPr bwMode="auto">
          <a:xfrm>
            <a:off x="9624392" y="0"/>
            <a:ext cx="2567608" cy="1918008"/>
          </a:xfrm>
          <a:custGeom>
            <a:avLst/>
            <a:gdLst>
              <a:gd name="T0" fmla="*/ 2083 w 2668"/>
              <a:gd name="T1" fmla="*/ 241 h 1993"/>
              <a:gd name="T2" fmla="*/ 1920 w 2668"/>
              <a:gd name="T3" fmla="*/ 240 h 1993"/>
              <a:gd name="T4" fmla="*/ 1791 w 2668"/>
              <a:gd name="T5" fmla="*/ 201 h 1993"/>
              <a:gd name="T6" fmla="*/ 2357 w 2668"/>
              <a:gd name="T7" fmla="*/ 195 h 1993"/>
              <a:gd name="T8" fmla="*/ 1643 w 2668"/>
              <a:gd name="T9" fmla="*/ 166 h 1993"/>
              <a:gd name="T10" fmla="*/ 1524 w 2668"/>
              <a:gd name="T11" fmla="*/ 133 h 1993"/>
              <a:gd name="T12" fmla="*/ 2615 w 2668"/>
              <a:gd name="T13" fmla="*/ 59 h 1993"/>
              <a:gd name="T14" fmla="*/ 1269 w 2668"/>
              <a:gd name="T15" fmla="*/ 0 h 1993"/>
              <a:gd name="T16" fmla="*/ 2128 w 2668"/>
              <a:gd name="T17" fmla="*/ 670 h 1993"/>
              <a:gd name="T18" fmla="*/ 1819 w 2668"/>
              <a:gd name="T19" fmla="*/ 667 h 1993"/>
              <a:gd name="T20" fmla="*/ 1688 w 2668"/>
              <a:gd name="T21" fmla="*/ 617 h 1993"/>
              <a:gd name="T22" fmla="*/ 2391 w 2668"/>
              <a:gd name="T23" fmla="*/ 609 h 1993"/>
              <a:gd name="T24" fmla="*/ 2538 w 2668"/>
              <a:gd name="T25" fmla="*/ 533 h 1993"/>
              <a:gd name="T26" fmla="*/ 1413 w 2668"/>
              <a:gd name="T27" fmla="*/ 535 h 1993"/>
              <a:gd name="T28" fmla="*/ 1299 w 2668"/>
              <a:gd name="T29" fmla="*/ 442 h 1993"/>
              <a:gd name="T30" fmla="*/ 1176 w 2668"/>
              <a:gd name="T31" fmla="*/ 386 h 1993"/>
              <a:gd name="T32" fmla="*/ 1053 w 2668"/>
              <a:gd name="T33" fmla="*/ 277 h 1993"/>
              <a:gd name="T34" fmla="*/ 865 w 2668"/>
              <a:gd name="T35" fmla="*/ 85 h 1993"/>
              <a:gd name="T36" fmla="*/ 2012 w 2668"/>
              <a:gd name="T37" fmla="*/ 1119 h 1993"/>
              <a:gd name="T38" fmla="*/ 1863 w 2668"/>
              <a:gd name="T39" fmla="*/ 1095 h 1993"/>
              <a:gd name="T40" fmla="*/ 1741 w 2668"/>
              <a:gd name="T41" fmla="*/ 1086 h 1993"/>
              <a:gd name="T42" fmla="*/ 2294 w 2668"/>
              <a:gd name="T43" fmla="*/ 1049 h 1993"/>
              <a:gd name="T44" fmla="*/ 2437 w 2668"/>
              <a:gd name="T45" fmla="*/ 1023 h 1993"/>
              <a:gd name="T46" fmla="*/ 1450 w 2668"/>
              <a:gd name="T47" fmla="*/ 975 h 1993"/>
              <a:gd name="T48" fmla="*/ 1345 w 2668"/>
              <a:gd name="T49" fmla="*/ 919 h 1993"/>
              <a:gd name="T50" fmla="*/ 1201 w 2668"/>
              <a:gd name="T51" fmla="*/ 834 h 1993"/>
              <a:gd name="T52" fmla="*/ 1000 w 2668"/>
              <a:gd name="T53" fmla="*/ 639 h 1993"/>
              <a:gd name="T54" fmla="*/ 891 w 2668"/>
              <a:gd name="T55" fmla="*/ 560 h 1993"/>
              <a:gd name="T56" fmla="*/ 786 w 2668"/>
              <a:gd name="T57" fmla="*/ 431 h 1993"/>
              <a:gd name="T58" fmla="*/ 624 w 2668"/>
              <a:gd name="T59" fmla="*/ 222 h 1993"/>
              <a:gd name="T60" fmla="*/ 517 w 2668"/>
              <a:gd name="T61" fmla="*/ 102 h 1993"/>
              <a:gd name="T62" fmla="*/ 2067 w 2668"/>
              <a:gd name="T63" fmla="*/ 1531 h 1993"/>
              <a:gd name="T64" fmla="*/ 1770 w 2668"/>
              <a:gd name="T65" fmla="*/ 1541 h 1993"/>
              <a:gd name="T66" fmla="*/ 2194 w 2668"/>
              <a:gd name="T67" fmla="*/ 1506 h 1993"/>
              <a:gd name="T68" fmla="*/ 2350 w 2668"/>
              <a:gd name="T69" fmla="*/ 1480 h 1993"/>
              <a:gd name="T70" fmla="*/ 1490 w 2668"/>
              <a:gd name="T71" fmla="*/ 1433 h 1993"/>
              <a:gd name="T72" fmla="*/ 1382 w 2668"/>
              <a:gd name="T73" fmla="*/ 1370 h 1993"/>
              <a:gd name="T74" fmla="*/ 2588 w 2668"/>
              <a:gd name="T75" fmla="*/ 1347 h 1993"/>
              <a:gd name="T76" fmla="*/ 1149 w 2668"/>
              <a:gd name="T77" fmla="*/ 1207 h 1993"/>
              <a:gd name="T78" fmla="*/ 1021 w 2668"/>
              <a:gd name="T79" fmla="*/ 1120 h 1993"/>
              <a:gd name="T80" fmla="*/ 836 w 2668"/>
              <a:gd name="T81" fmla="*/ 888 h 1993"/>
              <a:gd name="T82" fmla="*/ 740 w 2668"/>
              <a:gd name="T83" fmla="*/ 800 h 1993"/>
              <a:gd name="T84" fmla="*/ 653 w 2668"/>
              <a:gd name="T85" fmla="*/ 661 h 1993"/>
              <a:gd name="T86" fmla="*/ 495 w 2668"/>
              <a:gd name="T87" fmla="*/ 448 h 1993"/>
              <a:gd name="T88" fmla="*/ 407 w 2668"/>
              <a:gd name="T89" fmla="*/ 304 h 1993"/>
              <a:gd name="T90" fmla="*/ 272 w 2668"/>
              <a:gd name="T91" fmla="*/ 78 h 1993"/>
              <a:gd name="T92" fmla="*/ 1948 w 2668"/>
              <a:gd name="T93" fmla="*/ 1973 h 1993"/>
              <a:gd name="T94" fmla="*/ 2113 w 2668"/>
              <a:gd name="T95" fmla="*/ 1971 h 1993"/>
              <a:gd name="T96" fmla="*/ 1661 w 2668"/>
              <a:gd name="T97" fmla="*/ 1948 h 1993"/>
              <a:gd name="T98" fmla="*/ 1549 w 2668"/>
              <a:gd name="T99" fmla="*/ 1901 h 1993"/>
              <a:gd name="T100" fmla="*/ 2366 w 2668"/>
              <a:gd name="T101" fmla="*/ 1883 h 1993"/>
              <a:gd name="T102" fmla="*/ 2520 w 2668"/>
              <a:gd name="T103" fmla="*/ 1828 h 1993"/>
              <a:gd name="T104" fmla="*/ 1276 w 2668"/>
              <a:gd name="T105" fmla="*/ 1764 h 1993"/>
              <a:gd name="T106" fmla="*/ 1181 w 2668"/>
              <a:gd name="T107" fmla="*/ 1660 h 1993"/>
              <a:gd name="T108" fmla="*/ 1062 w 2668"/>
              <a:gd name="T109" fmla="*/ 1584 h 1993"/>
              <a:gd name="T110" fmla="*/ 874 w 2668"/>
              <a:gd name="T111" fmla="*/ 1349 h 1993"/>
              <a:gd name="T112" fmla="*/ 789 w 2668"/>
              <a:gd name="T113" fmla="*/ 1257 h 1993"/>
              <a:gd name="T114" fmla="*/ 685 w 2668"/>
              <a:gd name="T115" fmla="*/ 1134 h 1993"/>
              <a:gd name="T116" fmla="*/ 546 w 2668"/>
              <a:gd name="T117" fmla="*/ 887 h 1993"/>
              <a:gd name="T118" fmla="*/ 447 w 2668"/>
              <a:gd name="T119" fmla="*/ 771 h 1993"/>
              <a:gd name="T120" fmla="*/ 323 w 2668"/>
              <a:gd name="T121" fmla="*/ 523 h 1993"/>
              <a:gd name="T122" fmla="*/ 230 w 2668"/>
              <a:gd name="T123" fmla="*/ 389 h 1993"/>
              <a:gd name="T124" fmla="*/ 100 w 2668"/>
              <a:gd name="T125" fmla="*/ 156 h 19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68" h="1993">
                <a:moveTo>
                  <a:pt x="12" y="18"/>
                </a:moveTo>
                <a:lnTo>
                  <a:pt x="15" y="18"/>
                </a:lnTo>
                <a:lnTo>
                  <a:pt x="18" y="19"/>
                </a:lnTo>
                <a:lnTo>
                  <a:pt x="20" y="21"/>
                </a:lnTo>
                <a:lnTo>
                  <a:pt x="22" y="23"/>
                </a:lnTo>
                <a:lnTo>
                  <a:pt x="23" y="25"/>
                </a:lnTo>
                <a:lnTo>
                  <a:pt x="24" y="28"/>
                </a:lnTo>
                <a:lnTo>
                  <a:pt x="24" y="32"/>
                </a:lnTo>
                <a:lnTo>
                  <a:pt x="23" y="34"/>
                </a:lnTo>
                <a:lnTo>
                  <a:pt x="22" y="36"/>
                </a:lnTo>
                <a:lnTo>
                  <a:pt x="21" y="38"/>
                </a:lnTo>
                <a:lnTo>
                  <a:pt x="19" y="40"/>
                </a:lnTo>
                <a:lnTo>
                  <a:pt x="17" y="41"/>
                </a:lnTo>
                <a:lnTo>
                  <a:pt x="15" y="41"/>
                </a:lnTo>
                <a:lnTo>
                  <a:pt x="12" y="42"/>
                </a:lnTo>
                <a:lnTo>
                  <a:pt x="9" y="41"/>
                </a:lnTo>
                <a:lnTo>
                  <a:pt x="6" y="40"/>
                </a:lnTo>
                <a:lnTo>
                  <a:pt x="4" y="39"/>
                </a:lnTo>
                <a:lnTo>
                  <a:pt x="2" y="36"/>
                </a:lnTo>
                <a:lnTo>
                  <a:pt x="1" y="34"/>
                </a:lnTo>
                <a:lnTo>
                  <a:pt x="0" y="32"/>
                </a:lnTo>
                <a:lnTo>
                  <a:pt x="0" y="27"/>
                </a:lnTo>
                <a:lnTo>
                  <a:pt x="1" y="25"/>
                </a:lnTo>
                <a:lnTo>
                  <a:pt x="2" y="23"/>
                </a:lnTo>
                <a:lnTo>
                  <a:pt x="4" y="21"/>
                </a:lnTo>
                <a:lnTo>
                  <a:pt x="6" y="20"/>
                </a:lnTo>
                <a:lnTo>
                  <a:pt x="7" y="19"/>
                </a:lnTo>
                <a:lnTo>
                  <a:pt x="9" y="18"/>
                </a:lnTo>
                <a:lnTo>
                  <a:pt x="12" y="18"/>
                </a:lnTo>
                <a:close/>
                <a:moveTo>
                  <a:pt x="2074" y="220"/>
                </a:moveTo>
                <a:lnTo>
                  <a:pt x="2076" y="220"/>
                </a:lnTo>
                <a:lnTo>
                  <a:pt x="2079" y="221"/>
                </a:lnTo>
                <a:lnTo>
                  <a:pt x="2081" y="222"/>
                </a:lnTo>
                <a:lnTo>
                  <a:pt x="2082" y="224"/>
                </a:lnTo>
                <a:lnTo>
                  <a:pt x="2084" y="225"/>
                </a:lnTo>
                <a:lnTo>
                  <a:pt x="2085" y="227"/>
                </a:lnTo>
                <a:lnTo>
                  <a:pt x="2086" y="230"/>
                </a:lnTo>
                <a:lnTo>
                  <a:pt x="2086" y="232"/>
                </a:lnTo>
                <a:lnTo>
                  <a:pt x="2086" y="235"/>
                </a:lnTo>
                <a:lnTo>
                  <a:pt x="2086" y="237"/>
                </a:lnTo>
                <a:lnTo>
                  <a:pt x="2085" y="239"/>
                </a:lnTo>
                <a:lnTo>
                  <a:pt x="2083" y="241"/>
                </a:lnTo>
                <a:lnTo>
                  <a:pt x="2081" y="243"/>
                </a:lnTo>
                <a:lnTo>
                  <a:pt x="2079" y="244"/>
                </a:lnTo>
                <a:lnTo>
                  <a:pt x="2077" y="245"/>
                </a:lnTo>
                <a:lnTo>
                  <a:pt x="2075" y="245"/>
                </a:lnTo>
                <a:lnTo>
                  <a:pt x="2072" y="245"/>
                </a:lnTo>
                <a:lnTo>
                  <a:pt x="2069" y="245"/>
                </a:lnTo>
                <a:lnTo>
                  <a:pt x="2067" y="243"/>
                </a:lnTo>
                <a:lnTo>
                  <a:pt x="2065" y="242"/>
                </a:lnTo>
                <a:lnTo>
                  <a:pt x="2064" y="240"/>
                </a:lnTo>
                <a:lnTo>
                  <a:pt x="2062" y="238"/>
                </a:lnTo>
                <a:lnTo>
                  <a:pt x="2062" y="236"/>
                </a:lnTo>
                <a:lnTo>
                  <a:pt x="2061" y="234"/>
                </a:lnTo>
                <a:lnTo>
                  <a:pt x="2061" y="231"/>
                </a:lnTo>
                <a:lnTo>
                  <a:pt x="2062" y="229"/>
                </a:lnTo>
                <a:lnTo>
                  <a:pt x="2063" y="226"/>
                </a:lnTo>
                <a:lnTo>
                  <a:pt x="2064" y="224"/>
                </a:lnTo>
                <a:lnTo>
                  <a:pt x="2066" y="223"/>
                </a:lnTo>
                <a:lnTo>
                  <a:pt x="2068" y="222"/>
                </a:lnTo>
                <a:lnTo>
                  <a:pt x="2071" y="221"/>
                </a:lnTo>
                <a:lnTo>
                  <a:pt x="2073" y="220"/>
                </a:lnTo>
                <a:lnTo>
                  <a:pt x="2074" y="220"/>
                </a:lnTo>
                <a:close/>
                <a:moveTo>
                  <a:pt x="1929" y="219"/>
                </a:moveTo>
                <a:lnTo>
                  <a:pt x="1932" y="220"/>
                </a:lnTo>
                <a:lnTo>
                  <a:pt x="1934" y="220"/>
                </a:lnTo>
                <a:lnTo>
                  <a:pt x="1937" y="222"/>
                </a:lnTo>
                <a:lnTo>
                  <a:pt x="1938" y="223"/>
                </a:lnTo>
                <a:lnTo>
                  <a:pt x="1940" y="225"/>
                </a:lnTo>
                <a:lnTo>
                  <a:pt x="1941" y="228"/>
                </a:lnTo>
                <a:lnTo>
                  <a:pt x="1942" y="230"/>
                </a:lnTo>
                <a:lnTo>
                  <a:pt x="1942" y="233"/>
                </a:lnTo>
                <a:lnTo>
                  <a:pt x="1941" y="235"/>
                </a:lnTo>
                <a:lnTo>
                  <a:pt x="1940" y="237"/>
                </a:lnTo>
                <a:lnTo>
                  <a:pt x="1939" y="239"/>
                </a:lnTo>
                <a:lnTo>
                  <a:pt x="1938" y="241"/>
                </a:lnTo>
                <a:lnTo>
                  <a:pt x="1936" y="242"/>
                </a:lnTo>
                <a:lnTo>
                  <a:pt x="1934" y="243"/>
                </a:lnTo>
                <a:lnTo>
                  <a:pt x="1931" y="244"/>
                </a:lnTo>
                <a:lnTo>
                  <a:pt x="1929" y="244"/>
                </a:lnTo>
                <a:lnTo>
                  <a:pt x="1926" y="244"/>
                </a:lnTo>
                <a:lnTo>
                  <a:pt x="1924" y="243"/>
                </a:lnTo>
                <a:lnTo>
                  <a:pt x="1921" y="242"/>
                </a:lnTo>
                <a:lnTo>
                  <a:pt x="1920" y="240"/>
                </a:lnTo>
                <a:lnTo>
                  <a:pt x="1918" y="238"/>
                </a:lnTo>
                <a:lnTo>
                  <a:pt x="1917" y="236"/>
                </a:lnTo>
                <a:lnTo>
                  <a:pt x="1917" y="233"/>
                </a:lnTo>
                <a:lnTo>
                  <a:pt x="1916" y="231"/>
                </a:lnTo>
                <a:lnTo>
                  <a:pt x="1917" y="228"/>
                </a:lnTo>
                <a:lnTo>
                  <a:pt x="1918" y="226"/>
                </a:lnTo>
                <a:lnTo>
                  <a:pt x="1919" y="224"/>
                </a:lnTo>
                <a:lnTo>
                  <a:pt x="1920" y="222"/>
                </a:lnTo>
                <a:lnTo>
                  <a:pt x="1922" y="221"/>
                </a:lnTo>
                <a:lnTo>
                  <a:pt x="1924" y="220"/>
                </a:lnTo>
                <a:lnTo>
                  <a:pt x="1927" y="219"/>
                </a:lnTo>
                <a:lnTo>
                  <a:pt x="1929" y="219"/>
                </a:lnTo>
                <a:close/>
                <a:moveTo>
                  <a:pt x="2217" y="204"/>
                </a:moveTo>
                <a:lnTo>
                  <a:pt x="2221" y="204"/>
                </a:lnTo>
                <a:lnTo>
                  <a:pt x="2225" y="206"/>
                </a:lnTo>
                <a:lnTo>
                  <a:pt x="2228" y="210"/>
                </a:lnTo>
                <a:lnTo>
                  <a:pt x="2229" y="212"/>
                </a:lnTo>
                <a:lnTo>
                  <a:pt x="2229" y="214"/>
                </a:lnTo>
                <a:lnTo>
                  <a:pt x="2229" y="219"/>
                </a:lnTo>
                <a:lnTo>
                  <a:pt x="2228" y="221"/>
                </a:lnTo>
                <a:lnTo>
                  <a:pt x="2227" y="223"/>
                </a:lnTo>
                <a:lnTo>
                  <a:pt x="2226" y="225"/>
                </a:lnTo>
                <a:lnTo>
                  <a:pt x="2224" y="227"/>
                </a:lnTo>
                <a:lnTo>
                  <a:pt x="2221" y="228"/>
                </a:lnTo>
                <a:lnTo>
                  <a:pt x="2219" y="229"/>
                </a:lnTo>
                <a:lnTo>
                  <a:pt x="2217" y="229"/>
                </a:lnTo>
                <a:lnTo>
                  <a:pt x="2212" y="228"/>
                </a:lnTo>
                <a:lnTo>
                  <a:pt x="2209" y="226"/>
                </a:lnTo>
                <a:lnTo>
                  <a:pt x="2206" y="223"/>
                </a:lnTo>
                <a:lnTo>
                  <a:pt x="2205" y="221"/>
                </a:lnTo>
                <a:lnTo>
                  <a:pt x="2204" y="218"/>
                </a:lnTo>
                <a:lnTo>
                  <a:pt x="2204" y="213"/>
                </a:lnTo>
                <a:lnTo>
                  <a:pt x="2205" y="211"/>
                </a:lnTo>
                <a:lnTo>
                  <a:pt x="2206" y="209"/>
                </a:lnTo>
                <a:lnTo>
                  <a:pt x="2208" y="207"/>
                </a:lnTo>
                <a:lnTo>
                  <a:pt x="2210" y="206"/>
                </a:lnTo>
                <a:lnTo>
                  <a:pt x="2212" y="204"/>
                </a:lnTo>
                <a:lnTo>
                  <a:pt x="2215" y="204"/>
                </a:lnTo>
                <a:lnTo>
                  <a:pt x="2217" y="204"/>
                </a:lnTo>
                <a:close/>
                <a:moveTo>
                  <a:pt x="1786" y="200"/>
                </a:moveTo>
                <a:lnTo>
                  <a:pt x="1789" y="201"/>
                </a:lnTo>
                <a:lnTo>
                  <a:pt x="1791" y="201"/>
                </a:lnTo>
                <a:lnTo>
                  <a:pt x="1793" y="203"/>
                </a:lnTo>
                <a:lnTo>
                  <a:pt x="1795" y="204"/>
                </a:lnTo>
                <a:lnTo>
                  <a:pt x="1797" y="206"/>
                </a:lnTo>
                <a:lnTo>
                  <a:pt x="1798" y="208"/>
                </a:lnTo>
                <a:lnTo>
                  <a:pt x="1799" y="210"/>
                </a:lnTo>
                <a:lnTo>
                  <a:pt x="1799" y="213"/>
                </a:lnTo>
                <a:lnTo>
                  <a:pt x="1799" y="215"/>
                </a:lnTo>
                <a:lnTo>
                  <a:pt x="1798" y="218"/>
                </a:lnTo>
                <a:lnTo>
                  <a:pt x="1797" y="220"/>
                </a:lnTo>
                <a:lnTo>
                  <a:pt x="1794" y="223"/>
                </a:lnTo>
                <a:lnTo>
                  <a:pt x="1793" y="224"/>
                </a:lnTo>
                <a:lnTo>
                  <a:pt x="1791" y="225"/>
                </a:lnTo>
                <a:lnTo>
                  <a:pt x="1787" y="226"/>
                </a:lnTo>
                <a:lnTo>
                  <a:pt x="1784" y="225"/>
                </a:lnTo>
                <a:lnTo>
                  <a:pt x="1782" y="225"/>
                </a:lnTo>
                <a:lnTo>
                  <a:pt x="1779" y="224"/>
                </a:lnTo>
                <a:lnTo>
                  <a:pt x="1778" y="222"/>
                </a:lnTo>
                <a:lnTo>
                  <a:pt x="1776" y="220"/>
                </a:lnTo>
                <a:lnTo>
                  <a:pt x="1775" y="218"/>
                </a:lnTo>
                <a:lnTo>
                  <a:pt x="1774" y="216"/>
                </a:lnTo>
                <a:lnTo>
                  <a:pt x="1774" y="213"/>
                </a:lnTo>
                <a:lnTo>
                  <a:pt x="1774" y="211"/>
                </a:lnTo>
                <a:lnTo>
                  <a:pt x="1775" y="209"/>
                </a:lnTo>
                <a:lnTo>
                  <a:pt x="1776" y="207"/>
                </a:lnTo>
                <a:lnTo>
                  <a:pt x="1778" y="203"/>
                </a:lnTo>
                <a:lnTo>
                  <a:pt x="1780" y="202"/>
                </a:lnTo>
                <a:lnTo>
                  <a:pt x="1782" y="201"/>
                </a:lnTo>
                <a:lnTo>
                  <a:pt x="1786" y="200"/>
                </a:lnTo>
                <a:close/>
                <a:moveTo>
                  <a:pt x="2357" y="170"/>
                </a:moveTo>
                <a:lnTo>
                  <a:pt x="2361" y="170"/>
                </a:lnTo>
                <a:lnTo>
                  <a:pt x="2364" y="172"/>
                </a:lnTo>
                <a:lnTo>
                  <a:pt x="2367" y="175"/>
                </a:lnTo>
                <a:lnTo>
                  <a:pt x="2368" y="177"/>
                </a:lnTo>
                <a:lnTo>
                  <a:pt x="2369" y="179"/>
                </a:lnTo>
                <a:lnTo>
                  <a:pt x="2369" y="181"/>
                </a:lnTo>
                <a:lnTo>
                  <a:pt x="2369" y="184"/>
                </a:lnTo>
                <a:lnTo>
                  <a:pt x="2369" y="186"/>
                </a:lnTo>
                <a:lnTo>
                  <a:pt x="2368" y="188"/>
                </a:lnTo>
                <a:lnTo>
                  <a:pt x="2366" y="190"/>
                </a:lnTo>
                <a:lnTo>
                  <a:pt x="2365" y="192"/>
                </a:lnTo>
                <a:lnTo>
                  <a:pt x="2360" y="194"/>
                </a:lnTo>
                <a:lnTo>
                  <a:pt x="2357" y="195"/>
                </a:lnTo>
                <a:lnTo>
                  <a:pt x="2353" y="194"/>
                </a:lnTo>
                <a:lnTo>
                  <a:pt x="2349" y="193"/>
                </a:lnTo>
                <a:lnTo>
                  <a:pt x="2346" y="190"/>
                </a:lnTo>
                <a:lnTo>
                  <a:pt x="2345" y="188"/>
                </a:lnTo>
                <a:lnTo>
                  <a:pt x="2345" y="186"/>
                </a:lnTo>
                <a:lnTo>
                  <a:pt x="2344" y="183"/>
                </a:lnTo>
                <a:lnTo>
                  <a:pt x="2344" y="181"/>
                </a:lnTo>
                <a:lnTo>
                  <a:pt x="2345" y="179"/>
                </a:lnTo>
                <a:lnTo>
                  <a:pt x="2345" y="176"/>
                </a:lnTo>
                <a:lnTo>
                  <a:pt x="2347" y="174"/>
                </a:lnTo>
                <a:lnTo>
                  <a:pt x="2349" y="173"/>
                </a:lnTo>
                <a:lnTo>
                  <a:pt x="2351" y="171"/>
                </a:lnTo>
                <a:lnTo>
                  <a:pt x="2353" y="170"/>
                </a:lnTo>
                <a:lnTo>
                  <a:pt x="2357" y="170"/>
                </a:lnTo>
                <a:close/>
                <a:moveTo>
                  <a:pt x="1647" y="165"/>
                </a:moveTo>
                <a:lnTo>
                  <a:pt x="1651" y="166"/>
                </a:lnTo>
                <a:lnTo>
                  <a:pt x="1653" y="167"/>
                </a:lnTo>
                <a:lnTo>
                  <a:pt x="1655" y="168"/>
                </a:lnTo>
                <a:lnTo>
                  <a:pt x="1657" y="170"/>
                </a:lnTo>
                <a:lnTo>
                  <a:pt x="1658" y="172"/>
                </a:lnTo>
                <a:lnTo>
                  <a:pt x="1659" y="174"/>
                </a:lnTo>
                <a:lnTo>
                  <a:pt x="1660" y="177"/>
                </a:lnTo>
                <a:lnTo>
                  <a:pt x="1660" y="179"/>
                </a:lnTo>
                <a:lnTo>
                  <a:pt x="1659" y="182"/>
                </a:lnTo>
                <a:lnTo>
                  <a:pt x="1657" y="185"/>
                </a:lnTo>
                <a:lnTo>
                  <a:pt x="1654" y="188"/>
                </a:lnTo>
                <a:lnTo>
                  <a:pt x="1653" y="189"/>
                </a:lnTo>
                <a:lnTo>
                  <a:pt x="1651" y="190"/>
                </a:lnTo>
                <a:lnTo>
                  <a:pt x="1647" y="191"/>
                </a:lnTo>
                <a:lnTo>
                  <a:pt x="1643" y="190"/>
                </a:lnTo>
                <a:lnTo>
                  <a:pt x="1641" y="189"/>
                </a:lnTo>
                <a:lnTo>
                  <a:pt x="1639" y="188"/>
                </a:lnTo>
                <a:lnTo>
                  <a:pt x="1637" y="186"/>
                </a:lnTo>
                <a:lnTo>
                  <a:pt x="1636" y="184"/>
                </a:lnTo>
                <a:lnTo>
                  <a:pt x="1635" y="182"/>
                </a:lnTo>
                <a:lnTo>
                  <a:pt x="1634" y="179"/>
                </a:lnTo>
                <a:lnTo>
                  <a:pt x="1634" y="177"/>
                </a:lnTo>
                <a:lnTo>
                  <a:pt x="1635" y="174"/>
                </a:lnTo>
                <a:lnTo>
                  <a:pt x="1637" y="171"/>
                </a:lnTo>
                <a:lnTo>
                  <a:pt x="1640" y="168"/>
                </a:lnTo>
                <a:lnTo>
                  <a:pt x="1641" y="167"/>
                </a:lnTo>
                <a:lnTo>
                  <a:pt x="1643" y="166"/>
                </a:lnTo>
                <a:lnTo>
                  <a:pt x="1647" y="165"/>
                </a:lnTo>
                <a:close/>
                <a:moveTo>
                  <a:pt x="2492" y="120"/>
                </a:moveTo>
                <a:lnTo>
                  <a:pt x="2495" y="121"/>
                </a:lnTo>
                <a:lnTo>
                  <a:pt x="2497" y="122"/>
                </a:lnTo>
                <a:lnTo>
                  <a:pt x="2499" y="122"/>
                </a:lnTo>
                <a:lnTo>
                  <a:pt x="2501" y="125"/>
                </a:lnTo>
                <a:lnTo>
                  <a:pt x="2503" y="128"/>
                </a:lnTo>
                <a:lnTo>
                  <a:pt x="2504" y="130"/>
                </a:lnTo>
                <a:lnTo>
                  <a:pt x="2504" y="133"/>
                </a:lnTo>
                <a:lnTo>
                  <a:pt x="2504" y="135"/>
                </a:lnTo>
                <a:lnTo>
                  <a:pt x="2504" y="138"/>
                </a:lnTo>
                <a:lnTo>
                  <a:pt x="2502" y="140"/>
                </a:lnTo>
                <a:lnTo>
                  <a:pt x="2501" y="142"/>
                </a:lnTo>
                <a:lnTo>
                  <a:pt x="2499" y="143"/>
                </a:lnTo>
                <a:lnTo>
                  <a:pt x="2497" y="145"/>
                </a:lnTo>
                <a:lnTo>
                  <a:pt x="2494" y="145"/>
                </a:lnTo>
                <a:lnTo>
                  <a:pt x="2492" y="146"/>
                </a:lnTo>
                <a:lnTo>
                  <a:pt x="2488" y="145"/>
                </a:lnTo>
                <a:lnTo>
                  <a:pt x="2487" y="144"/>
                </a:lnTo>
                <a:lnTo>
                  <a:pt x="2485" y="144"/>
                </a:lnTo>
                <a:lnTo>
                  <a:pt x="2482" y="141"/>
                </a:lnTo>
                <a:lnTo>
                  <a:pt x="2480" y="138"/>
                </a:lnTo>
                <a:lnTo>
                  <a:pt x="2479" y="135"/>
                </a:lnTo>
                <a:lnTo>
                  <a:pt x="2479" y="133"/>
                </a:lnTo>
                <a:lnTo>
                  <a:pt x="2479" y="131"/>
                </a:lnTo>
                <a:lnTo>
                  <a:pt x="2480" y="128"/>
                </a:lnTo>
                <a:lnTo>
                  <a:pt x="2481" y="126"/>
                </a:lnTo>
                <a:lnTo>
                  <a:pt x="2483" y="124"/>
                </a:lnTo>
                <a:lnTo>
                  <a:pt x="2485" y="123"/>
                </a:lnTo>
                <a:lnTo>
                  <a:pt x="2487" y="121"/>
                </a:lnTo>
                <a:lnTo>
                  <a:pt x="2489" y="121"/>
                </a:lnTo>
                <a:lnTo>
                  <a:pt x="2492" y="120"/>
                </a:lnTo>
                <a:close/>
                <a:moveTo>
                  <a:pt x="1512" y="116"/>
                </a:moveTo>
                <a:lnTo>
                  <a:pt x="1514" y="116"/>
                </a:lnTo>
                <a:lnTo>
                  <a:pt x="1517" y="117"/>
                </a:lnTo>
                <a:lnTo>
                  <a:pt x="1521" y="120"/>
                </a:lnTo>
                <a:lnTo>
                  <a:pt x="1523" y="122"/>
                </a:lnTo>
                <a:lnTo>
                  <a:pt x="1524" y="124"/>
                </a:lnTo>
                <a:lnTo>
                  <a:pt x="1524" y="126"/>
                </a:lnTo>
                <a:lnTo>
                  <a:pt x="1525" y="129"/>
                </a:lnTo>
                <a:lnTo>
                  <a:pt x="1524" y="131"/>
                </a:lnTo>
                <a:lnTo>
                  <a:pt x="1524" y="133"/>
                </a:lnTo>
                <a:lnTo>
                  <a:pt x="1522" y="137"/>
                </a:lnTo>
                <a:lnTo>
                  <a:pt x="1519" y="139"/>
                </a:lnTo>
                <a:lnTo>
                  <a:pt x="1516" y="141"/>
                </a:lnTo>
                <a:lnTo>
                  <a:pt x="1512" y="141"/>
                </a:lnTo>
                <a:lnTo>
                  <a:pt x="1509" y="141"/>
                </a:lnTo>
                <a:lnTo>
                  <a:pt x="1507" y="140"/>
                </a:lnTo>
                <a:lnTo>
                  <a:pt x="1503" y="137"/>
                </a:lnTo>
                <a:lnTo>
                  <a:pt x="1501" y="135"/>
                </a:lnTo>
                <a:lnTo>
                  <a:pt x="1500" y="133"/>
                </a:lnTo>
                <a:lnTo>
                  <a:pt x="1500" y="131"/>
                </a:lnTo>
                <a:lnTo>
                  <a:pt x="1499" y="128"/>
                </a:lnTo>
                <a:lnTo>
                  <a:pt x="1500" y="126"/>
                </a:lnTo>
                <a:lnTo>
                  <a:pt x="1500" y="124"/>
                </a:lnTo>
                <a:lnTo>
                  <a:pt x="1502" y="120"/>
                </a:lnTo>
                <a:lnTo>
                  <a:pt x="1505" y="118"/>
                </a:lnTo>
                <a:lnTo>
                  <a:pt x="1508" y="116"/>
                </a:lnTo>
                <a:lnTo>
                  <a:pt x="1512" y="116"/>
                </a:lnTo>
                <a:close/>
                <a:moveTo>
                  <a:pt x="2621" y="57"/>
                </a:moveTo>
                <a:lnTo>
                  <a:pt x="2625" y="58"/>
                </a:lnTo>
                <a:lnTo>
                  <a:pt x="2628" y="59"/>
                </a:lnTo>
                <a:lnTo>
                  <a:pt x="2630" y="61"/>
                </a:lnTo>
                <a:lnTo>
                  <a:pt x="2632" y="64"/>
                </a:lnTo>
                <a:lnTo>
                  <a:pt x="2634" y="69"/>
                </a:lnTo>
                <a:lnTo>
                  <a:pt x="2634" y="71"/>
                </a:lnTo>
                <a:lnTo>
                  <a:pt x="2633" y="74"/>
                </a:lnTo>
                <a:lnTo>
                  <a:pt x="2632" y="76"/>
                </a:lnTo>
                <a:lnTo>
                  <a:pt x="2631" y="78"/>
                </a:lnTo>
                <a:lnTo>
                  <a:pt x="2629" y="80"/>
                </a:lnTo>
                <a:lnTo>
                  <a:pt x="2627" y="81"/>
                </a:lnTo>
                <a:lnTo>
                  <a:pt x="2624" y="82"/>
                </a:lnTo>
                <a:lnTo>
                  <a:pt x="2621" y="83"/>
                </a:lnTo>
                <a:lnTo>
                  <a:pt x="2618" y="82"/>
                </a:lnTo>
                <a:lnTo>
                  <a:pt x="2615" y="81"/>
                </a:lnTo>
                <a:lnTo>
                  <a:pt x="2612" y="79"/>
                </a:lnTo>
                <a:lnTo>
                  <a:pt x="2610" y="76"/>
                </a:lnTo>
                <a:lnTo>
                  <a:pt x="2609" y="71"/>
                </a:lnTo>
                <a:lnTo>
                  <a:pt x="2609" y="69"/>
                </a:lnTo>
                <a:lnTo>
                  <a:pt x="2609" y="67"/>
                </a:lnTo>
                <a:lnTo>
                  <a:pt x="2610" y="64"/>
                </a:lnTo>
                <a:lnTo>
                  <a:pt x="2611" y="62"/>
                </a:lnTo>
                <a:lnTo>
                  <a:pt x="2613" y="60"/>
                </a:lnTo>
                <a:lnTo>
                  <a:pt x="2615" y="59"/>
                </a:lnTo>
                <a:lnTo>
                  <a:pt x="2618" y="58"/>
                </a:lnTo>
                <a:lnTo>
                  <a:pt x="2621" y="57"/>
                </a:lnTo>
                <a:close/>
                <a:moveTo>
                  <a:pt x="1382" y="54"/>
                </a:moveTo>
                <a:lnTo>
                  <a:pt x="1385" y="54"/>
                </a:lnTo>
                <a:lnTo>
                  <a:pt x="1388" y="55"/>
                </a:lnTo>
                <a:lnTo>
                  <a:pt x="1390" y="57"/>
                </a:lnTo>
                <a:lnTo>
                  <a:pt x="1392" y="58"/>
                </a:lnTo>
                <a:lnTo>
                  <a:pt x="1393" y="60"/>
                </a:lnTo>
                <a:lnTo>
                  <a:pt x="1394" y="63"/>
                </a:lnTo>
                <a:lnTo>
                  <a:pt x="1395" y="65"/>
                </a:lnTo>
                <a:lnTo>
                  <a:pt x="1395" y="68"/>
                </a:lnTo>
                <a:lnTo>
                  <a:pt x="1394" y="70"/>
                </a:lnTo>
                <a:lnTo>
                  <a:pt x="1393" y="72"/>
                </a:lnTo>
                <a:lnTo>
                  <a:pt x="1391" y="75"/>
                </a:lnTo>
                <a:lnTo>
                  <a:pt x="1389" y="77"/>
                </a:lnTo>
                <a:lnTo>
                  <a:pt x="1385" y="79"/>
                </a:lnTo>
                <a:lnTo>
                  <a:pt x="1382" y="79"/>
                </a:lnTo>
                <a:lnTo>
                  <a:pt x="1379" y="79"/>
                </a:lnTo>
                <a:lnTo>
                  <a:pt x="1376" y="78"/>
                </a:lnTo>
                <a:lnTo>
                  <a:pt x="1374" y="76"/>
                </a:lnTo>
                <a:lnTo>
                  <a:pt x="1372" y="74"/>
                </a:lnTo>
                <a:lnTo>
                  <a:pt x="1371" y="72"/>
                </a:lnTo>
                <a:lnTo>
                  <a:pt x="1370" y="70"/>
                </a:lnTo>
                <a:lnTo>
                  <a:pt x="1370" y="68"/>
                </a:lnTo>
                <a:lnTo>
                  <a:pt x="1370" y="65"/>
                </a:lnTo>
                <a:lnTo>
                  <a:pt x="1370" y="63"/>
                </a:lnTo>
                <a:lnTo>
                  <a:pt x="1371" y="60"/>
                </a:lnTo>
                <a:lnTo>
                  <a:pt x="1373" y="58"/>
                </a:lnTo>
                <a:lnTo>
                  <a:pt x="1376" y="56"/>
                </a:lnTo>
                <a:lnTo>
                  <a:pt x="1379" y="54"/>
                </a:lnTo>
                <a:lnTo>
                  <a:pt x="1382" y="54"/>
                </a:lnTo>
                <a:close/>
                <a:moveTo>
                  <a:pt x="1269" y="0"/>
                </a:moveTo>
                <a:lnTo>
                  <a:pt x="1267" y="3"/>
                </a:lnTo>
                <a:lnTo>
                  <a:pt x="1264" y="5"/>
                </a:lnTo>
                <a:lnTo>
                  <a:pt x="1261" y="6"/>
                </a:lnTo>
                <a:lnTo>
                  <a:pt x="1258" y="6"/>
                </a:lnTo>
                <a:lnTo>
                  <a:pt x="1254" y="6"/>
                </a:lnTo>
                <a:lnTo>
                  <a:pt x="1253" y="5"/>
                </a:lnTo>
                <a:lnTo>
                  <a:pt x="1251" y="4"/>
                </a:lnTo>
                <a:lnTo>
                  <a:pt x="1249" y="2"/>
                </a:lnTo>
                <a:lnTo>
                  <a:pt x="1247" y="0"/>
                </a:lnTo>
                <a:lnTo>
                  <a:pt x="1269" y="0"/>
                </a:lnTo>
                <a:close/>
                <a:moveTo>
                  <a:pt x="1972" y="658"/>
                </a:moveTo>
                <a:lnTo>
                  <a:pt x="1975" y="659"/>
                </a:lnTo>
                <a:lnTo>
                  <a:pt x="1977" y="659"/>
                </a:lnTo>
                <a:lnTo>
                  <a:pt x="1979" y="661"/>
                </a:lnTo>
                <a:lnTo>
                  <a:pt x="1981" y="662"/>
                </a:lnTo>
                <a:lnTo>
                  <a:pt x="1983" y="664"/>
                </a:lnTo>
                <a:lnTo>
                  <a:pt x="1984" y="666"/>
                </a:lnTo>
                <a:lnTo>
                  <a:pt x="1984" y="668"/>
                </a:lnTo>
                <a:lnTo>
                  <a:pt x="1985" y="671"/>
                </a:lnTo>
                <a:lnTo>
                  <a:pt x="1984" y="673"/>
                </a:lnTo>
                <a:lnTo>
                  <a:pt x="1984" y="676"/>
                </a:lnTo>
                <a:lnTo>
                  <a:pt x="1982" y="678"/>
                </a:lnTo>
                <a:lnTo>
                  <a:pt x="1981" y="680"/>
                </a:lnTo>
                <a:lnTo>
                  <a:pt x="1979" y="681"/>
                </a:lnTo>
                <a:lnTo>
                  <a:pt x="1977" y="682"/>
                </a:lnTo>
                <a:lnTo>
                  <a:pt x="1975" y="683"/>
                </a:lnTo>
                <a:lnTo>
                  <a:pt x="1972" y="683"/>
                </a:lnTo>
                <a:lnTo>
                  <a:pt x="1970" y="683"/>
                </a:lnTo>
                <a:lnTo>
                  <a:pt x="1967" y="682"/>
                </a:lnTo>
                <a:lnTo>
                  <a:pt x="1965" y="681"/>
                </a:lnTo>
                <a:lnTo>
                  <a:pt x="1963" y="679"/>
                </a:lnTo>
                <a:lnTo>
                  <a:pt x="1961" y="675"/>
                </a:lnTo>
                <a:lnTo>
                  <a:pt x="1960" y="673"/>
                </a:lnTo>
                <a:lnTo>
                  <a:pt x="1960" y="671"/>
                </a:lnTo>
                <a:lnTo>
                  <a:pt x="1960" y="668"/>
                </a:lnTo>
                <a:lnTo>
                  <a:pt x="1961" y="666"/>
                </a:lnTo>
                <a:lnTo>
                  <a:pt x="1962" y="664"/>
                </a:lnTo>
                <a:lnTo>
                  <a:pt x="1964" y="662"/>
                </a:lnTo>
                <a:lnTo>
                  <a:pt x="1965" y="660"/>
                </a:lnTo>
                <a:lnTo>
                  <a:pt x="1967" y="659"/>
                </a:lnTo>
                <a:lnTo>
                  <a:pt x="1970" y="659"/>
                </a:lnTo>
                <a:lnTo>
                  <a:pt x="1972" y="658"/>
                </a:lnTo>
                <a:close/>
                <a:moveTo>
                  <a:pt x="2117" y="651"/>
                </a:moveTo>
                <a:lnTo>
                  <a:pt x="2121" y="652"/>
                </a:lnTo>
                <a:lnTo>
                  <a:pt x="2123" y="653"/>
                </a:lnTo>
                <a:lnTo>
                  <a:pt x="2125" y="655"/>
                </a:lnTo>
                <a:lnTo>
                  <a:pt x="2128" y="658"/>
                </a:lnTo>
                <a:lnTo>
                  <a:pt x="2129" y="660"/>
                </a:lnTo>
                <a:lnTo>
                  <a:pt x="2129" y="663"/>
                </a:lnTo>
                <a:lnTo>
                  <a:pt x="2129" y="665"/>
                </a:lnTo>
                <a:lnTo>
                  <a:pt x="2129" y="667"/>
                </a:lnTo>
                <a:lnTo>
                  <a:pt x="2128" y="670"/>
                </a:lnTo>
                <a:lnTo>
                  <a:pt x="2127" y="672"/>
                </a:lnTo>
                <a:lnTo>
                  <a:pt x="2125" y="673"/>
                </a:lnTo>
                <a:lnTo>
                  <a:pt x="2123" y="675"/>
                </a:lnTo>
                <a:lnTo>
                  <a:pt x="2121" y="676"/>
                </a:lnTo>
                <a:lnTo>
                  <a:pt x="2118" y="676"/>
                </a:lnTo>
                <a:lnTo>
                  <a:pt x="2117" y="676"/>
                </a:lnTo>
                <a:lnTo>
                  <a:pt x="2112" y="676"/>
                </a:lnTo>
                <a:lnTo>
                  <a:pt x="2110" y="675"/>
                </a:lnTo>
                <a:lnTo>
                  <a:pt x="2109" y="673"/>
                </a:lnTo>
                <a:lnTo>
                  <a:pt x="2106" y="670"/>
                </a:lnTo>
                <a:lnTo>
                  <a:pt x="2105" y="668"/>
                </a:lnTo>
                <a:lnTo>
                  <a:pt x="2105" y="665"/>
                </a:lnTo>
                <a:lnTo>
                  <a:pt x="2105" y="663"/>
                </a:lnTo>
                <a:lnTo>
                  <a:pt x="2105" y="660"/>
                </a:lnTo>
                <a:lnTo>
                  <a:pt x="2106" y="658"/>
                </a:lnTo>
                <a:lnTo>
                  <a:pt x="2107" y="656"/>
                </a:lnTo>
                <a:lnTo>
                  <a:pt x="2109" y="654"/>
                </a:lnTo>
                <a:lnTo>
                  <a:pt x="2111" y="653"/>
                </a:lnTo>
                <a:lnTo>
                  <a:pt x="2113" y="652"/>
                </a:lnTo>
                <a:lnTo>
                  <a:pt x="2116" y="652"/>
                </a:lnTo>
                <a:lnTo>
                  <a:pt x="2117" y="651"/>
                </a:lnTo>
                <a:close/>
                <a:moveTo>
                  <a:pt x="1829" y="647"/>
                </a:moveTo>
                <a:lnTo>
                  <a:pt x="1831" y="647"/>
                </a:lnTo>
                <a:lnTo>
                  <a:pt x="1833" y="647"/>
                </a:lnTo>
                <a:lnTo>
                  <a:pt x="1835" y="649"/>
                </a:lnTo>
                <a:lnTo>
                  <a:pt x="1837" y="650"/>
                </a:lnTo>
                <a:lnTo>
                  <a:pt x="1839" y="652"/>
                </a:lnTo>
                <a:lnTo>
                  <a:pt x="1840" y="654"/>
                </a:lnTo>
                <a:lnTo>
                  <a:pt x="1841" y="656"/>
                </a:lnTo>
                <a:lnTo>
                  <a:pt x="1841" y="658"/>
                </a:lnTo>
                <a:lnTo>
                  <a:pt x="1841" y="661"/>
                </a:lnTo>
                <a:lnTo>
                  <a:pt x="1841" y="663"/>
                </a:lnTo>
                <a:lnTo>
                  <a:pt x="1840" y="665"/>
                </a:lnTo>
                <a:lnTo>
                  <a:pt x="1837" y="669"/>
                </a:lnTo>
                <a:lnTo>
                  <a:pt x="1835" y="670"/>
                </a:lnTo>
                <a:lnTo>
                  <a:pt x="1833" y="671"/>
                </a:lnTo>
                <a:lnTo>
                  <a:pt x="1829" y="672"/>
                </a:lnTo>
                <a:lnTo>
                  <a:pt x="1827" y="672"/>
                </a:lnTo>
                <a:lnTo>
                  <a:pt x="1825" y="671"/>
                </a:lnTo>
                <a:lnTo>
                  <a:pt x="1823" y="670"/>
                </a:lnTo>
                <a:lnTo>
                  <a:pt x="1821" y="668"/>
                </a:lnTo>
                <a:lnTo>
                  <a:pt x="1819" y="667"/>
                </a:lnTo>
                <a:lnTo>
                  <a:pt x="1818" y="665"/>
                </a:lnTo>
                <a:lnTo>
                  <a:pt x="1817" y="662"/>
                </a:lnTo>
                <a:lnTo>
                  <a:pt x="1817" y="660"/>
                </a:lnTo>
                <a:lnTo>
                  <a:pt x="1817" y="657"/>
                </a:lnTo>
                <a:lnTo>
                  <a:pt x="1817" y="655"/>
                </a:lnTo>
                <a:lnTo>
                  <a:pt x="1818" y="653"/>
                </a:lnTo>
                <a:lnTo>
                  <a:pt x="1821" y="650"/>
                </a:lnTo>
                <a:lnTo>
                  <a:pt x="1823" y="648"/>
                </a:lnTo>
                <a:lnTo>
                  <a:pt x="1825" y="648"/>
                </a:lnTo>
                <a:lnTo>
                  <a:pt x="1829" y="647"/>
                </a:lnTo>
                <a:close/>
                <a:moveTo>
                  <a:pt x="2259" y="627"/>
                </a:moveTo>
                <a:lnTo>
                  <a:pt x="2263" y="627"/>
                </a:lnTo>
                <a:lnTo>
                  <a:pt x="2265" y="628"/>
                </a:lnTo>
                <a:lnTo>
                  <a:pt x="2266" y="629"/>
                </a:lnTo>
                <a:lnTo>
                  <a:pt x="2268" y="631"/>
                </a:lnTo>
                <a:lnTo>
                  <a:pt x="2269" y="632"/>
                </a:lnTo>
                <a:lnTo>
                  <a:pt x="2271" y="636"/>
                </a:lnTo>
                <a:lnTo>
                  <a:pt x="2271" y="639"/>
                </a:lnTo>
                <a:lnTo>
                  <a:pt x="2271" y="641"/>
                </a:lnTo>
                <a:lnTo>
                  <a:pt x="2270" y="643"/>
                </a:lnTo>
                <a:lnTo>
                  <a:pt x="2269" y="646"/>
                </a:lnTo>
                <a:lnTo>
                  <a:pt x="2268" y="648"/>
                </a:lnTo>
                <a:lnTo>
                  <a:pt x="2266" y="649"/>
                </a:lnTo>
                <a:lnTo>
                  <a:pt x="2264" y="650"/>
                </a:lnTo>
                <a:lnTo>
                  <a:pt x="2262" y="651"/>
                </a:lnTo>
                <a:lnTo>
                  <a:pt x="2259" y="652"/>
                </a:lnTo>
                <a:lnTo>
                  <a:pt x="2255" y="651"/>
                </a:lnTo>
                <a:lnTo>
                  <a:pt x="2253" y="650"/>
                </a:lnTo>
                <a:lnTo>
                  <a:pt x="2251" y="649"/>
                </a:lnTo>
                <a:lnTo>
                  <a:pt x="2250" y="648"/>
                </a:lnTo>
                <a:lnTo>
                  <a:pt x="2248" y="646"/>
                </a:lnTo>
                <a:lnTo>
                  <a:pt x="2247" y="642"/>
                </a:lnTo>
                <a:lnTo>
                  <a:pt x="2246" y="639"/>
                </a:lnTo>
                <a:lnTo>
                  <a:pt x="2246" y="637"/>
                </a:lnTo>
                <a:lnTo>
                  <a:pt x="2247" y="635"/>
                </a:lnTo>
                <a:lnTo>
                  <a:pt x="2248" y="633"/>
                </a:lnTo>
                <a:lnTo>
                  <a:pt x="2250" y="631"/>
                </a:lnTo>
                <a:lnTo>
                  <a:pt x="2251" y="629"/>
                </a:lnTo>
                <a:lnTo>
                  <a:pt x="2253" y="628"/>
                </a:lnTo>
                <a:lnTo>
                  <a:pt x="2256" y="627"/>
                </a:lnTo>
                <a:lnTo>
                  <a:pt x="2259" y="627"/>
                </a:lnTo>
                <a:close/>
                <a:moveTo>
                  <a:pt x="1688" y="617"/>
                </a:moveTo>
                <a:lnTo>
                  <a:pt x="1691" y="618"/>
                </a:lnTo>
                <a:lnTo>
                  <a:pt x="1694" y="619"/>
                </a:lnTo>
                <a:lnTo>
                  <a:pt x="1696" y="620"/>
                </a:lnTo>
                <a:lnTo>
                  <a:pt x="1698" y="622"/>
                </a:lnTo>
                <a:lnTo>
                  <a:pt x="1699" y="624"/>
                </a:lnTo>
                <a:lnTo>
                  <a:pt x="1701" y="628"/>
                </a:lnTo>
                <a:lnTo>
                  <a:pt x="1701" y="631"/>
                </a:lnTo>
                <a:lnTo>
                  <a:pt x="1700" y="633"/>
                </a:lnTo>
                <a:lnTo>
                  <a:pt x="1698" y="637"/>
                </a:lnTo>
                <a:lnTo>
                  <a:pt x="1696" y="640"/>
                </a:lnTo>
                <a:lnTo>
                  <a:pt x="1694" y="641"/>
                </a:lnTo>
                <a:lnTo>
                  <a:pt x="1692" y="642"/>
                </a:lnTo>
                <a:lnTo>
                  <a:pt x="1688" y="642"/>
                </a:lnTo>
                <a:lnTo>
                  <a:pt x="1685" y="642"/>
                </a:lnTo>
                <a:lnTo>
                  <a:pt x="1683" y="641"/>
                </a:lnTo>
                <a:lnTo>
                  <a:pt x="1681" y="640"/>
                </a:lnTo>
                <a:lnTo>
                  <a:pt x="1677" y="636"/>
                </a:lnTo>
                <a:lnTo>
                  <a:pt x="1676" y="632"/>
                </a:lnTo>
                <a:lnTo>
                  <a:pt x="1676" y="629"/>
                </a:lnTo>
                <a:lnTo>
                  <a:pt x="1676" y="627"/>
                </a:lnTo>
                <a:lnTo>
                  <a:pt x="1677" y="625"/>
                </a:lnTo>
                <a:lnTo>
                  <a:pt x="1678" y="623"/>
                </a:lnTo>
                <a:lnTo>
                  <a:pt x="1681" y="620"/>
                </a:lnTo>
                <a:lnTo>
                  <a:pt x="1682" y="619"/>
                </a:lnTo>
                <a:lnTo>
                  <a:pt x="1684" y="618"/>
                </a:lnTo>
                <a:lnTo>
                  <a:pt x="1688" y="617"/>
                </a:lnTo>
                <a:close/>
                <a:moveTo>
                  <a:pt x="2396" y="585"/>
                </a:moveTo>
                <a:lnTo>
                  <a:pt x="2400" y="586"/>
                </a:lnTo>
                <a:lnTo>
                  <a:pt x="2404" y="587"/>
                </a:lnTo>
                <a:lnTo>
                  <a:pt x="2406" y="590"/>
                </a:lnTo>
                <a:lnTo>
                  <a:pt x="2408" y="593"/>
                </a:lnTo>
                <a:lnTo>
                  <a:pt x="2409" y="596"/>
                </a:lnTo>
                <a:lnTo>
                  <a:pt x="2409" y="598"/>
                </a:lnTo>
                <a:lnTo>
                  <a:pt x="2409" y="601"/>
                </a:lnTo>
                <a:lnTo>
                  <a:pt x="2408" y="603"/>
                </a:lnTo>
                <a:lnTo>
                  <a:pt x="2407" y="605"/>
                </a:lnTo>
                <a:lnTo>
                  <a:pt x="2405" y="607"/>
                </a:lnTo>
                <a:lnTo>
                  <a:pt x="2403" y="608"/>
                </a:lnTo>
                <a:lnTo>
                  <a:pt x="2401" y="609"/>
                </a:lnTo>
                <a:lnTo>
                  <a:pt x="2396" y="610"/>
                </a:lnTo>
                <a:lnTo>
                  <a:pt x="2393" y="610"/>
                </a:lnTo>
                <a:lnTo>
                  <a:pt x="2391" y="609"/>
                </a:lnTo>
                <a:lnTo>
                  <a:pt x="2389" y="608"/>
                </a:lnTo>
                <a:lnTo>
                  <a:pt x="2387" y="605"/>
                </a:lnTo>
                <a:lnTo>
                  <a:pt x="2385" y="602"/>
                </a:lnTo>
                <a:lnTo>
                  <a:pt x="2384" y="599"/>
                </a:lnTo>
                <a:lnTo>
                  <a:pt x="2384" y="597"/>
                </a:lnTo>
                <a:lnTo>
                  <a:pt x="2384" y="595"/>
                </a:lnTo>
                <a:lnTo>
                  <a:pt x="2385" y="592"/>
                </a:lnTo>
                <a:lnTo>
                  <a:pt x="2386" y="590"/>
                </a:lnTo>
                <a:lnTo>
                  <a:pt x="2388" y="588"/>
                </a:lnTo>
                <a:lnTo>
                  <a:pt x="2390" y="587"/>
                </a:lnTo>
                <a:lnTo>
                  <a:pt x="2392" y="586"/>
                </a:lnTo>
                <a:lnTo>
                  <a:pt x="2396" y="585"/>
                </a:lnTo>
                <a:close/>
                <a:moveTo>
                  <a:pt x="1552" y="572"/>
                </a:moveTo>
                <a:lnTo>
                  <a:pt x="1556" y="573"/>
                </a:lnTo>
                <a:lnTo>
                  <a:pt x="1559" y="574"/>
                </a:lnTo>
                <a:lnTo>
                  <a:pt x="1560" y="576"/>
                </a:lnTo>
                <a:lnTo>
                  <a:pt x="1562" y="577"/>
                </a:lnTo>
                <a:lnTo>
                  <a:pt x="1563" y="580"/>
                </a:lnTo>
                <a:lnTo>
                  <a:pt x="1564" y="582"/>
                </a:lnTo>
                <a:lnTo>
                  <a:pt x="1564" y="584"/>
                </a:lnTo>
                <a:lnTo>
                  <a:pt x="1563" y="589"/>
                </a:lnTo>
                <a:lnTo>
                  <a:pt x="1561" y="592"/>
                </a:lnTo>
                <a:lnTo>
                  <a:pt x="1559" y="595"/>
                </a:lnTo>
                <a:lnTo>
                  <a:pt x="1555" y="596"/>
                </a:lnTo>
                <a:lnTo>
                  <a:pt x="1552" y="597"/>
                </a:lnTo>
                <a:lnTo>
                  <a:pt x="1547" y="596"/>
                </a:lnTo>
                <a:lnTo>
                  <a:pt x="1545" y="595"/>
                </a:lnTo>
                <a:lnTo>
                  <a:pt x="1543" y="593"/>
                </a:lnTo>
                <a:lnTo>
                  <a:pt x="1541" y="592"/>
                </a:lnTo>
                <a:lnTo>
                  <a:pt x="1540" y="590"/>
                </a:lnTo>
                <a:lnTo>
                  <a:pt x="1540" y="587"/>
                </a:lnTo>
                <a:lnTo>
                  <a:pt x="1539" y="585"/>
                </a:lnTo>
                <a:lnTo>
                  <a:pt x="1540" y="580"/>
                </a:lnTo>
                <a:lnTo>
                  <a:pt x="1542" y="577"/>
                </a:lnTo>
                <a:lnTo>
                  <a:pt x="1545" y="574"/>
                </a:lnTo>
                <a:lnTo>
                  <a:pt x="1548" y="573"/>
                </a:lnTo>
                <a:lnTo>
                  <a:pt x="1552" y="572"/>
                </a:lnTo>
                <a:close/>
                <a:moveTo>
                  <a:pt x="2529" y="529"/>
                </a:moveTo>
                <a:lnTo>
                  <a:pt x="2532" y="530"/>
                </a:lnTo>
                <a:lnTo>
                  <a:pt x="2536" y="531"/>
                </a:lnTo>
                <a:lnTo>
                  <a:pt x="2537" y="532"/>
                </a:lnTo>
                <a:lnTo>
                  <a:pt x="2538" y="533"/>
                </a:lnTo>
                <a:lnTo>
                  <a:pt x="2540" y="536"/>
                </a:lnTo>
                <a:lnTo>
                  <a:pt x="2541" y="539"/>
                </a:lnTo>
                <a:lnTo>
                  <a:pt x="2542" y="541"/>
                </a:lnTo>
                <a:lnTo>
                  <a:pt x="2541" y="546"/>
                </a:lnTo>
                <a:lnTo>
                  <a:pt x="2540" y="548"/>
                </a:lnTo>
                <a:lnTo>
                  <a:pt x="2538" y="550"/>
                </a:lnTo>
                <a:lnTo>
                  <a:pt x="2537" y="552"/>
                </a:lnTo>
                <a:lnTo>
                  <a:pt x="2534" y="553"/>
                </a:lnTo>
                <a:lnTo>
                  <a:pt x="2532" y="554"/>
                </a:lnTo>
                <a:lnTo>
                  <a:pt x="2529" y="554"/>
                </a:lnTo>
                <a:lnTo>
                  <a:pt x="2526" y="554"/>
                </a:lnTo>
                <a:lnTo>
                  <a:pt x="2523" y="552"/>
                </a:lnTo>
                <a:lnTo>
                  <a:pt x="2521" y="551"/>
                </a:lnTo>
                <a:lnTo>
                  <a:pt x="2520" y="550"/>
                </a:lnTo>
                <a:lnTo>
                  <a:pt x="2518" y="547"/>
                </a:lnTo>
                <a:lnTo>
                  <a:pt x="2517" y="545"/>
                </a:lnTo>
                <a:lnTo>
                  <a:pt x="2517" y="542"/>
                </a:lnTo>
                <a:lnTo>
                  <a:pt x="2517" y="538"/>
                </a:lnTo>
                <a:lnTo>
                  <a:pt x="2518" y="535"/>
                </a:lnTo>
                <a:lnTo>
                  <a:pt x="2520" y="533"/>
                </a:lnTo>
                <a:lnTo>
                  <a:pt x="2522" y="532"/>
                </a:lnTo>
                <a:lnTo>
                  <a:pt x="2524" y="530"/>
                </a:lnTo>
                <a:lnTo>
                  <a:pt x="2526" y="529"/>
                </a:lnTo>
                <a:lnTo>
                  <a:pt x="2529" y="529"/>
                </a:lnTo>
                <a:close/>
                <a:moveTo>
                  <a:pt x="1421" y="513"/>
                </a:moveTo>
                <a:lnTo>
                  <a:pt x="1424" y="513"/>
                </a:lnTo>
                <a:lnTo>
                  <a:pt x="1426" y="514"/>
                </a:lnTo>
                <a:lnTo>
                  <a:pt x="1428" y="516"/>
                </a:lnTo>
                <a:lnTo>
                  <a:pt x="1430" y="517"/>
                </a:lnTo>
                <a:lnTo>
                  <a:pt x="1432" y="519"/>
                </a:lnTo>
                <a:lnTo>
                  <a:pt x="1433" y="521"/>
                </a:lnTo>
                <a:lnTo>
                  <a:pt x="1433" y="524"/>
                </a:lnTo>
                <a:lnTo>
                  <a:pt x="1433" y="526"/>
                </a:lnTo>
                <a:lnTo>
                  <a:pt x="1433" y="529"/>
                </a:lnTo>
                <a:lnTo>
                  <a:pt x="1432" y="531"/>
                </a:lnTo>
                <a:lnTo>
                  <a:pt x="1430" y="534"/>
                </a:lnTo>
                <a:lnTo>
                  <a:pt x="1427" y="536"/>
                </a:lnTo>
                <a:lnTo>
                  <a:pt x="1424" y="537"/>
                </a:lnTo>
                <a:lnTo>
                  <a:pt x="1421" y="538"/>
                </a:lnTo>
                <a:lnTo>
                  <a:pt x="1418" y="537"/>
                </a:lnTo>
                <a:lnTo>
                  <a:pt x="1415" y="536"/>
                </a:lnTo>
                <a:lnTo>
                  <a:pt x="1413" y="535"/>
                </a:lnTo>
                <a:lnTo>
                  <a:pt x="1411" y="533"/>
                </a:lnTo>
                <a:lnTo>
                  <a:pt x="1410" y="531"/>
                </a:lnTo>
                <a:lnTo>
                  <a:pt x="1409" y="529"/>
                </a:lnTo>
                <a:lnTo>
                  <a:pt x="1408" y="527"/>
                </a:lnTo>
                <a:lnTo>
                  <a:pt x="1408" y="524"/>
                </a:lnTo>
                <a:lnTo>
                  <a:pt x="1409" y="522"/>
                </a:lnTo>
                <a:lnTo>
                  <a:pt x="1410" y="520"/>
                </a:lnTo>
                <a:lnTo>
                  <a:pt x="1412" y="517"/>
                </a:lnTo>
                <a:lnTo>
                  <a:pt x="1414" y="515"/>
                </a:lnTo>
                <a:lnTo>
                  <a:pt x="1417" y="513"/>
                </a:lnTo>
                <a:lnTo>
                  <a:pt x="1421" y="513"/>
                </a:lnTo>
                <a:close/>
                <a:moveTo>
                  <a:pt x="2656" y="461"/>
                </a:moveTo>
                <a:lnTo>
                  <a:pt x="2659" y="461"/>
                </a:lnTo>
                <a:lnTo>
                  <a:pt x="2662" y="462"/>
                </a:lnTo>
                <a:lnTo>
                  <a:pt x="2664" y="464"/>
                </a:lnTo>
                <a:lnTo>
                  <a:pt x="2666" y="467"/>
                </a:lnTo>
                <a:lnTo>
                  <a:pt x="2668" y="469"/>
                </a:lnTo>
                <a:lnTo>
                  <a:pt x="2668" y="472"/>
                </a:lnTo>
                <a:lnTo>
                  <a:pt x="2668" y="474"/>
                </a:lnTo>
                <a:lnTo>
                  <a:pt x="2668" y="476"/>
                </a:lnTo>
                <a:lnTo>
                  <a:pt x="2667" y="479"/>
                </a:lnTo>
                <a:lnTo>
                  <a:pt x="2666" y="481"/>
                </a:lnTo>
                <a:lnTo>
                  <a:pt x="2664" y="482"/>
                </a:lnTo>
                <a:lnTo>
                  <a:pt x="2662" y="484"/>
                </a:lnTo>
                <a:lnTo>
                  <a:pt x="2659" y="485"/>
                </a:lnTo>
                <a:lnTo>
                  <a:pt x="2656" y="486"/>
                </a:lnTo>
                <a:lnTo>
                  <a:pt x="2653" y="485"/>
                </a:lnTo>
                <a:lnTo>
                  <a:pt x="2650" y="484"/>
                </a:lnTo>
                <a:lnTo>
                  <a:pt x="2647" y="482"/>
                </a:lnTo>
                <a:lnTo>
                  <a:pt x="2645" y="480"/>
                </a:lnTo>
                <a:lnTo>
                  <a:pt x="2644" y="477"/>
                </a:lnTo>
                <a:lnTo>
                  <a:pt x="2643" y="475"/>
                </a:lnTo>
                <a:lnTo>
                  <a:pt x="2643" y="473"/>
                </a:lnTo>
                <a:lnTo>
                  <a:pt x="2644" y="470"/>
                </a:lnTo>
                <a:lnTo>
                  <a:pt x="2644" y="468"/>
                </a:lnTo>
                <a:lnTo>
                  <a:pt x="2646" y="466"/>
                </a:lnTo>
                <a:lnTo>
                  <a:pt x="2647" y="464"/>
                </a:lnTo>
                <a:lnTo>
                  <a:pt x="2649" y="463"/>
                </a:lnTo>
                <a:lnTo>
                  <a:pt x="2652" y="461"/>
                </a:lnTo>
                <a:lnTo>
                  <a:pt x="2656" y="461"/>
                </a:lnTo>
                <a:close/>
                <a:moveTo>
                  <a:pt x="1296" y="442"/>
                </a:moveTo>
                <a:lnTo>
                  <a:pt x="1299" y="442"/>
                </a:lnTo>
                <a:lnTo>
                  <a:pt x="1302" y="444"/>
                </a:lnTo>
                <a:lnTo>
                  <a:pt x="1304" y="445"/>
                </a:lnTo>
                <a:lnTo>
                  <a:pt x="1306" y="447"/>
                </a:lnTo>
                <a:lnTo>
                  <a:pt x="1307" y="449"/>
                </a:lnTo>
                <a:lnTo>
                  <a:pt x="1308" y="451"/>
                </a:lnTo>
                <a:lnTo>
                  <a:pt x="1308" y="454"/>
                </a:lnTo>
                <a:lnTo>
                  <a:pt x="1308" y="456"/>
                </a:lnTo>
                <a:lnTo>
                  <a:pt x="1307" y="458"/>
                </a:lnTo>
                <a:lnTo>
                  <a:pt x="1306" y="461"/>
                </a:lnTo>
                <a:lnTo>
                  <a:pt x="1304" y="463"/>
                </a:lnTo>
                <a:lnTo>
                  <a:pt x="1301" y="465"/>
                </a:lnTo>
                <a:lnTo>
                  <a:pt x="1299" y="466"/>
                </a:lnTo>
                <a:lnTo>
                  <a:pt x="1296" y="467"/>
                </a:lnTo>
                <a:lnTo>
                  <a:pt x="1292" y="466"/>
                </a:lnTo>
                <a:lnTo>
                  <a:pt x="1289" y="465"/>
                </a:lnTo>
                <a:lnTo>
                  <a:pt x="1287" y="463"/>
                </a:lnTo>
                <a:lnTo>
                  <a:pt x="1285" y="461"/>
                </a:lnTo>
                <a:lnTo>
                  <a:pt x="1284" y="459"/>
                </a:lnTo>
                <a:lnTo>
                  <a:pt x="1283" y="457"/>
                </a:lnTo>
                <a:lnTo>
                  <a:pt x="1283" y="455"/>
                </a:lnTo>
                <a:lnTo>
                  <a:pt x="1283" y="452"/>
                </a:lnTo>
                <a:lnTo>
                  <a:pt x="1284" y="450"/>
                </a:lnTo>
                <a:lnTo>
                  <a:pt x="1285" y="447"/>
                </a:lnTo>
                <a:lnTo>
                  <a:pt x="1287" y="445"/>
                </a:lnTo>
                <a:lnTo>
                  <a:pt x="1290" y="443"/>
                </a:lnTo>
                <a:lnTo>
                  <a:pt x="1292" y="442"/>
                </a:lnTo>
                <a:lnTo>
                  <a:pt x="1296" y="442"/>
                </a:lnTo>
                <a:close/>
                <a:moveTo>
                  <a:pt x="1176" y="361"/>
                </a:moveTo>
                <a:lnTo>
                  <a:pt x="1180" y="361"/>
                </a:lnTo>
                <a:lnTo>
                  <a:pt x="1184" y="363"/>
                </a:lnTo>
                <a:lnTo>
                  <a:pt x="1186" y="365"/>
                </a:lnTo>
                <a:lnTo>
                  <a:pt x="1187" y="367"/>
                </a:lnTo>
                <a:lnTo>
                  <a:pt x="1189" y="371"/>
                </a:lnTo>
                <a:lnTo>
                  <a:pt x="1189" y="374"/>
                </a:lnTo>
                <a:lnTo>
                  <a:pt x="1189" y="376"/>
                </a:lnTo>
                <a:lnTo>
                  <a:pt x="1188" y="378"/>
                </a:lnTo>
                <a:lnTo>
                  <a:pt x="1187" y="381"/>
                </a:lnTo>
                <a:lnTo>
                  <a:pt x="1184" y="383"/>
                </a:lnTo>
                <a:lnTo>
                  <a:pt x="1183" y="384"/>
                </a:lnTo>
                <a:lnTo>
                  <a:pt x="1182" y="384"/>
                </a:lnTo>
                <a:lnTo>
                  <a:pt x="1179" y="385"/>
                </a:lnTo>
                <a:lnTo>
                  <a:pt x="1176" y="386"/>
                </a:lnTo>
                <a:lnTo>
                  <a:pt x="1173" y="385"/>
                </a:lnTo>
                <a:lnTo>
                  <a:pt x="1169" y="383"/>
                </a:lnTo>
                <a:lnTo>
                  <a:pt x="1167" y="381"/>
                </a:lnTo>
                <a:lnTo>
                  <a:pt x="1166" y="380"/>
                </a:lnTo>
                <a:lnTo>
                  <a:pt x="1164" y="375"/>
                </a:lnTo>
                <a:lnTo>
                  <a:pt x="1164" y="373"/>
                </a:lnTo>
                <a:lnTo>
                  <a:pt x="1164" y="370"/>
                </a:lnTo>
                <a:lnTo>
                  <a:pt x="1165" y="368"/>
                </a:lnTo>
                <a:lnTo>
                  <a:pt x="1166" y="366"/>
                </a:lnTo>
                <a:lnTo>
                  <a:pt x="1168" y="364"/>
                </a:lnTo>
                <a:lnTo>
                  <a:pt x="1170" y="363"/>
                </a:lnTo>
                <a:lnTo>
                  <a:pt x="1171" y="362"/>
                </a:lnTo>
                <a:lnTo>
                  <a:pt x="1174" y="361"/>
                </a:lnTo>
                <a:lnTo>
                  <a:pt x="1176" y="361"/>
                </a:lnTo>
                <a:close/>
                <a:moveTo>
                  <a:pt x="1063" y="272"/>
                </a:moveTo>
                <a:lnTo>
                  <a:pt x="1067" y="272"/>
                </a:lnTo>
                <a:lnTo>
                  <a:pt x="1069" y="273"/>
                </a:lnTo>
                <a:lnTo>
                  <a:pt x="1071" y="275"/>
                </a:lnTo>
                <a:lnTo>
                  <a:pt x="1073" y="276"/>
                </a:lnTo>
                <a:lnTo>
                  <a:pt x="1074" y="278"/>
                </a:lnTo>
                <a:lnTo>
                  <a:pt x="1075" y="281"/>
                </a:lnTo>
                <a:lnTo>
                  <a:pt x="1076" y="283"/>
                </a:lnTo>
                <a:lnTo>
                  <a:pt x="1076" y="285"/>
                </a:lnTo>
                <a:lnTo>
                  <a:pt x="1075" y="288"/>
                </a:lnTo>
                <a:lnTo>
                  <a:pt x="1074" y="290"/>
                </a:lnTo>
                <a:lnTo>
                  <a:pt x="1074" y="291"/>
                </a:lnTo>
                <a:lnTo>
                  <a:pt x="1073" y="292"/>
                </a:lnTo>
                <a:lnTo>
                  <a:pt x="1071" y="294"/>
                </a:lnTo>
                <a:lnTo>
                  <a:pt x="1068" y="295"/>
                </a:lnTo>
                <a:lnTo>
                  <a:pt x="1066" y="296"/>
                </a:lnTo>
                <a:lnTo>
                  <a:pt x="1063" y="297"/>
                </a:lnTo>
                <a:lnTo>
                  <a:pt x="1059" y="296"/>
                </a:lnTo>
                <a:lnTo>
                  <a:pt x="1057" y="295"/>
                </a:lnTo>
                <a:lnTo>
                  <a:pt x="1055" y="294"/>
                </a:lnTo>
                <a:lnTo>
                  <a:pt x="1054" y="292"/>
                </a:lnTo>
                <a:lnTo>
                  <a:pt x="1052" y="290"/>
                </a:lnTo>
                <a:lnTo>
                  <a:pt x="1051" y="288"/>
                </a:lnTo>
                <a:lnTo>
                  <a:pt x="1051" y="285"/>
                </a:lnTo>
                <a:lnTo>
                  <a:pt x="1051" y="283"/>
                </a:lnTo>
                <a:lnTo>
                  <a:pt x="1051" y="280"/>
                </a:lnTo>
                <a:lnTo>
                  <a:pt x="1052" y="278"/>
                </a:lnTo>
                <a:lnTo>
                  <a:pt x="1053" y="277"/>
                </a:lnTo>
                <a:lnTo>
                  <a:pt x="1054" y="276"/>
                </a:lnTo>
                <a:lnTo>
                  <a:pt x="1056" y="274"/>
                </a:lnTo>
                <a:lnTo>
                  <a:pt x="1058" y="273"/>
                </a:lnTo>
                <a:lnTo>
                  <a:pt x="1061" y="272"/>
                </a:lnTo>
                <a:lnTo>
                  <a:pt x="1063" y="272"/>
                </a:lnTo>
                <a:close/>
                <a:moveTo>
                  <a:pt x="956" y="176"/>
                </a:moveTo>
                <a:lnTo>
                  <a:pt x="960" y="177"/>
                </a:lnTo>
                <a:lnTo>
                  <a:pt x="962" y="178"/>
                </a:lnTo>
                <a:lnTo>
                  <a:pt x="964" y="179"/>
                </a:lnTo>
                <a:lnTo>
                  <a:pt x="966" y="181"/>
                </a:lnTo>
                <a:lnTo>
                  <a:pt x="967" y="183"/>
                </a:lnTo>
                <a:lnTo>
                  <a:pt x="968" y="186"/>
                </a:lnTo>
                <a:lnTo>
                  <a:pt x="968" y="188"/>
                </a:lnTo>
                <a:lnTo>
                  <a:pt x="967" y="193"/>
                </a:lnTo>
                <a:lnTo>
                  <a:pt x="966" y="195"/>
                </a:lnTo>
                <a:lnTo>
                  <a:pt x="965" y="197"/>
                </a:lnTo>
                <a:lnTo>
                  <a:pt x="963" y="199"/>
                </a:lnTo>
                <a:lnTo>
                  <a:pt x="961" y="200"/>
                </a:lnTo>
                <a:lnTo>
                  <a:pt x="958" y="201"/>
                </a:lnTo>
                <a:lnTo>
                  <a:pt x="956" y="201"/>
                </a:lnTo>
                <a:lnTo>
                  <a:pt x="951" y="200"/>
                </a:lnTo>
                <a:lnTo>
                  <a:pt x="949" y="199"/>
                </a:lnTo>
                <a:lnTo>
                  <a:pt x="947" y="198"/>
                </a:lnTo>
                <a:lnTo>
                  <a:pt x="945" y="196"/>
                </a:lnTo>
                <a:lnTo>
                  <a:pt x="944" y="193"/>
                </a:lnTo>
                <a:lnTo>
                  <a:pt x="943" y="191"/>
                </a:lnTo>
                <a:lnTo>
                  <a:pt x="943" y="189"/>
                </a:lnTo>
                <a:lnTo>
                  <a:pt x="944" y="184"/>
                </a:lnTo>
                <a:lnTo>
                  <a:pt x="945" y="182"/>
                </a:lnTo>
                <a:lnTo>
                  <a:pt x="947" y="180"/>
                </a:lnTo>
                <a:lnTo>
                  <a:pt x="949" y="178"/>
                </a:lnTo>
                <a:lnTo>
                  <a:pt x="951" y="177"/>
                </a:lnTo>
                <a:lnTo>
                  <a:pt x="953" y="176"/>
                </a:lnTo>
                <a:lnTo>
                  <a:pt x="956" y="176"/>
                </a:lnTo>
                <a:close/>
                <a:moveTo>
                  <a:pt x="853" y="75"/>
                </a:moveTo>
                <a:lnTo>
                  <a:pt x="856" y="75"/>
                </a:lnTo>
                <a:lnTo>
                  <a:pt x="858" y="76"/>
                </a:lnTo>
                <a:lnTo>
                  <a:pt x="860" y="77"/>
                </a:lnTo>
                <a:lnTo>
                  <a:pt x="862" y="79"/>
                </a:lnTo>
                <a:lnTo>
                  <a:pt x="864" y="81"/>
                </a:lnTo>
                <a:lnTo>
                  <a:pt x="865" y="83"/>
                </a:lnTo>
                <a:lnTo>
                  <a:pt x="865" y="85"/>
                </a:lnTo>
                <a:lnTo>
                  <a:pt x="866" y="87"/>
                </a:lnTo>
                <a:lnTo>
                  <a:pt x="865" y="90"/>
                </a:lnTo>
                <a:lnTo>
                  <a:pt x="865" y="92"/>
                </a:lnTo>
                <a:lnTo>
                  <a:pt x="863" y="94"/>
                </a:lnTo>
                <a:lnTo>
                  <a:pt x="862" y="96"/>
                </a:lnTo>
                <a:lnTo>
                  <a:pt x="860" y="98"/>
                </a:lnTo>
                <a:lnTo>
                  <a:pt x="858" y="99"/>
                </a:lnTo>
                <a:lnTo>
                  <a:pt x="853" y="100"/>
                </a:lnTo>
                <a:lnTo>
                  <a:pt x="851" y="99"/>
                </a:lnTo>
                <a:lnTo>
                  <a:pt x="848" y="99"/>
                </a:lnTo>
                <a:lnTo>
                  <a:pt x="846" y="98"/>
                </a:lnTo>
                <a:lnTo>
                  <a:pt x="844" y="96"/>
                </a:lnTo>
                <a:lnTo>
                  <a:pt x="843" y="94"/>
                </a:lnTo>
                <a:lnTo>
                  <a:pt x="842" y="92"/>
                </a:lnTo>
                <a:lnTo>
                  <a:pt x="841" y="89"/>
                </a:lnTo>
                <a:lnTo>
                  <a:pt x="841" y="87"/>
                </a:lnTo>
                <a:lnTo>
                  <a:pt x="841" y="85"/>
                </a:lnTo>
                <a:lnTo>
                  <a:pt x="842" y="82"/>
                </a:lnTo>
                <a:lnTo>
                  <a:pt x="843" y="80"/>
                </a:lnTo>
                <a:lnTo>
                  <a:pt x="845" y="78"/>
                </a:lnTo>
                <a:lnTo>
                  <a:pt x="846" y="77"/>
                </a:lnTo>
                <a:lnTo>
                  <a:pt x="849" y="76"/>
                </a:lnTo>
                <a:lnTo>
                  <a:pt x="853" y="75"/>
                </a:lnTo>
                <a:close/>
                <a:moveTo>
                  <a:pt x="2016" y="1095"/>
                </a:moveTo>
                <a:lnTo>
                  <a:pt x="2019" y="1095"/>
                </a:lnTo>
                <a:lnTo>
                  <a:pt x="2021" y="1096"/>
                </a:lnTo>
                <a:lnTo>
                  <a:pt x="2023" y="1097"/>
                </a:lnTo>
                <a:lnTo>
                  <a:pt x="2025" y="1099"/>
                </a:lnTo>
                <a:lnTo>
                  <a:pt x="2026" y="1100"/>
                </a:lnTo>
                <a:lnTo>
                  <a:pt x="2028" y="1102"/>
                </a:lnTo>
                <a:lnTo>
                  <a:pt x="2028" y="1105"/>
                </a:lnTo>
                <a:lnTo>
                  <a:pt x="2029" y="1107"/>
                </a:lnTo>
                <a:lnTo>
                  <a:pt x="2029" y="1109"/>
                </a:lnTo>
                <a:lnTo>
                  <a:pt x="2028" y="1112"/>
                </a:lnTo>
                <a:lnTo>
                  <a:pt x="2027" y="1114"/>
                </a:lnTo>
                <a:lnTo>
                  <a:pt x="2025" y="1116"/>
                </a:lnTo>
                <a:lnTo>
                  <a:pt x="2024" y="1117"/>
                </a:lnTo>
                <a:lnTo>
                  <a:pt x="2022" y="1119"/>
                </a:lnTo>
                <a:lnTo>
                  <a:pt x="2019" y="1119"/>
                </a:lnTo>
                <a:lnTo>
                  <a:pt x="2017" y="1120"/>
                </a:lnTo>
                <a:lnTo>
                  <a:pt x="2014" y="1120"/>
                </a:lnTo>
                <a:lnTo>
                  <a:pt x="2012" y="1119"/>
                </a:lnTo>
                <a:lnTo>
                  <a:pt x="2010" y="1118"/>
                </a:lnTo>
                <a:lnTo>
                  <a:pt x="2008" y="1116"/>
                </a:lnTo>
                <a:lnTo>
                  <a:pt x="2006" y="1115"/>
                </a:lnTo>
                <a:lnTo>
                  <a:pt x="2004" y="1113"/>
                </a:lnTo>
                <a:lnTo>
                  <a:pt x="2003" y="1110"/>
                </a:lnTo>
                <a:lnTo>
                  <a:pt x="2003" y="1108"/>
                </a:lnTo>
                <a:lnTo>
                  <a:pt x="2003" y="1105"/>
                </a:lnTo>
                <a:lnTo>
                  <a:pt x="2004" y="1103"/>
                </a:lnTo>
                <a:lnTo>
                  <a:pt x="2006" y="1101"/>
                </a:lnTo>
                <a:lnTo>
                  <a:pt x="2007" y="1099"/>
                </a:lnTo>
                <a:lnTo>
                  <a:pt x="2009" y="1098"/>
                </a:lnTo>
                <a:lnTo>
                  <a:pt x="2011" y="1096"/>
                </a:lnTo>
                <a:lnTo>
                  <a:pt x="2013" y="1096"/>
                </a:lnTo>
                <a:lnTo>
                  <a:pt x="2016" y="1095"/>
                </a:lnTo>
                <a:close/>
                <a:moveTo>
                  <a:pt x="1872" y="1091"/>
                </a:moveTo>
                <a:lnTo>
                  <a:pt x="1874" y="1092"/>
                </a:lnTo>
                <a:lnTo>
                  <a:pt x="1877" y="1093"/>
                </a:lnTo>
                <a:lnTo>
                  <a:pt x="1879" y="1094"/>
                </a:lnTo>
                <a:lnTo>
                  <a:pt x="1881" y="1096"/>
                </a:lnTo>
                <a:lnTo>
                  <a:pt x="1882" y="1098"/>
                </a:lnTo>
                <a:lnTo>
                  <a:pt x="1883" y="1100"/>
                </a:lnTo>
                <a:lnTo>
                  <a:pt x="1884" y="1102"/>
                </a:lnTo>
                <a:lnTo>
                  <a:pt x="1884" y="1105"/>
                </a:lnTo>
                <a:lnTo>
                  <a:pt x="1883" y="1107"/>
                </a:lnTo>
                <a:lnTo>
                  <a:pt x="1883" y="1109"/>
                </a:lnTo>
                <a:lnTo>
                  <a:pt x="1881" y="1111"/>
                </a:lnTo>
                <a:lnTo>
                  <a:pt x="1880" y="1113"/>
                </a:lnTo>
                <a:lnTo>
                  <a:pt x="1878" y="1114"/>
                </a:lnTo>
                <a:lnTo>
                  <a:pt x="1876" y="1115"/>
                </a:lnTo>
                <a:lnTo>
                  <a:pt x="1872" y="1116"/>
                </a:lnTo>
                <a:lnTo>
                  <a:pt x="1869" y="1115"/>
                </a:lnTo>
                <a:lnTo>
                  <a:pt x="1866" y="1115"/>
                </a:lnTo>
                <a:lnTo>
                  <a:pt x="1864" y="1113"/>
                </a:lnTo>
                <a:lnTo>
                  <a:pt x="1862" y="1112"/>
                </a:lnTo>
                <a:lnTo>
                  <a:pt x="1861" y="1110"/>
                </a:lnTo>
                <a:lnTo>
                  <a:pt x="1860" y="1107"/>
                </a:lnTo>
                <a:lnTo>
                  <a:pt x="1859" y="1105"/>
                </a:lnTo>
                <a:lnTo>
                  <a:pt x="1859" y="1103"/>
                </a:lnTo>
                <a:lnTo>
                  <a:pt x="1860" y="1100"/>
                </a:lnTo>
                <a:lnTo>
                  <a:pt x="1861" y="1098"/>
                </a:lnTo>
                <a:lnTo>
                  <a:pt x="1862" y="1096"/>
                </a:lnTo>
                <a:lnTo>
                  <a:pt x="1863" y="1095"/>
                </a:lnTo>
                <a:lnTo>
                  <a:pt x="1865" y="1093"/>
                </a:lnTo>
                <a:lnTo>
                  <a:pt x="1867" y="1092"/>
                </a:lnTo>
                <a:lnTo>
                  <a:pt x="1872" y="1091"/>
                </a:lnTo>
                <a:close/>
                <a:moveTo>
                  <a:pt x="2160" y="1080"/>
                </a:moveTo>
                <a:lnTo>
                  <a:pt x="2164" y="1081"/>
                </a:lnTo>
                <a:lnTo>
                  <a:pt x="2167" y="1083"/>
                </a:lnTo>
                <a:lnTo>
                  <a:pt x="2170" y="1086"/>
                </a:lnTo>
                <a:lnTo>
                  <a:pt x="2171" y="1088"/>
                </a:lnTo>
                <a:lnTo>
                  <a:pt x="2172" y="1090"/>
                </a:lnTo>
                <a:lnTo>
                  <a:pt x="2172" y="1093"/>
                </a:lnTo>
                <a:lnTo>
                  <a:pt x="2171" y="1095"/>
                </a:lnTo>
                <a:lnTo>
                  <a:pt x="2171" y="1097"/>
                </a:lnTo>
                <a:lnTo>
                  <a:pt x="2170" y="1099"/>
                </a:lnTo>
                <a:lnTo>
                  <a:pt x="2168" y="1101"/>
                </a:lnTo>
                <a:lnTo>
                  <a:pt x="2166" y="1103"/>
                </a:lnTo>
                <a:lnTo>
                  <a:pt x="2164" y="1104"/>
                </a:lnTo>
                <a:lnTo>
                  <a:pt x="2162" y="1104"/>
                </a:lnTo>
                <a:lnTo>
                  <a:pt x="2159" y="1105"/>
                </a:lnTo>
                <a:lnTo>
                  <a:pt x="2155" y="1104"/>
                </a:lnTo>
                <a:lnTo>
                  <a:pt x="2152" y="1102"/>
                </a:lnTo>
                <a:lnTo>
                  <a:pt x="2149" y="1099"/>
                </a:lnTo>
                <a:lnTo>
                  <a:pt x="2148" y="1097"/>
                </a:lnTo>
                <a:lnTo>
                  <a:pt x="2147" y="1094"/>
                </a:lnTo>
                <a:lnTo>
                  <a:pt x="2147" y="1092"/>
                </a:lnTo>
                <a:lnTo>
                  <a:pt x="2148" y="1090"/>
                </a:lnTo>
                <a:lnTo>
                  <a:pt x="2148" y="1087"/>
                </a:lnTo>
                <a:lnTo>
                  <a:pt x="2149" y="1085"/>
                </a:lnTo>
                <a:lnTo>
                  <a:pt x="2151" y="1083"/>
                </a:lnTo>
                <a:lnTo>
                  <a:pt x="2153" y="1082"/>
                </a:lnTo>
                <a:lnTo>
                  <a:pt x="2155" y="1081"/>
                </a:lnTo>
                <a:lnTo>
                  <a:pt x="2157" y="1080"/>
                </a:lnTo>
                <a:lnTo>
                  <a:pt x="2160" y="1080"/>
                </a:lnTo>
                <a:close/>
                <a:moveTo>
                  <a:pt x="1730" y="1069"/>
                </a:moveTo>
                <a:lnTo>
                  <a:pt x="1732" y="1069"/>
                </a:lnTo>
                <a:lnTo>
                  <a:pt x="1735" y="1070"/>
                </a:lnTo>
                <a:lnTo>
                  <a:pt x="1737" y="1071"/>
                </a:lnTo>
                <a:lnTo>
                  <a:pt x="1739" y="1073"/>
                </a:lnTo>
                <a:lnTo>
                  <a:pt x="1740" y="1074"/>
                </a:lnTo>
                <a:lnTo>
                  <a:pt x="1741" y="1076"/>
                </a:lnTo>
                <a:lnTo>
                  <a:pt x="1742" y="1079"/>
                </a:lnTo>
                <a:lnTo>
                  <a:pt x="1742" y="1084"/>
                </a:lnTo>
                <a:lnTo>
                  <a:pt x="1741" y="1086"/>
                </a:lnTo>
                <a:lnTo>
                  <a:pt x="1740" y="1088"/>
                </a:lnTo>
                <a:lnTo>
                  <a:pt x="1739" y="1089"/>
                </a:lnTo>
                <a:lnTo>
                  <a:pt x="1737" y="1091"/>
                </a:lnTo>
                <a:lnTo>
                  <a:pt x="1734" y="1093"/>
                </a:lnTo>
                <a:lnTo>
                  <a:pt x="1730" y="1093"/>
                </a:lnTo>
                <a:lnTo>
                  <a:pt x="1727" y="1093"/>
                </a:lnTo>
                <a:lnTo>
                  <a:pt x="1725" y="1092"/>
                </a:lnTo>
                <a:lnTo>
                  <a:pt x="1723" y="1091"/>
                </a:lnTo>
                <a:lnTo>
                  <a:pt x="1721" y="1089"/>
                </a:lnTo>
                <a:lnTo>
                  <a:pt x="1719" y="1087"/>
                </a:lnTo>
                <a:lnTo>
                  <a:pt x="1718" y="1085"/>
                </a:lnTo>
                <a:lnTo>
                  <a:pt x="1718" y="1083"/>
                </a:lnTo>
                <a:lnTo>
                  <a:pt x="1718" y="1078"/>
                </a:lnTo>
                <a:lnTo>
                  <a:pt x="1718" y="1076"/>
                </a:lnTo>
                <a:lnTo>
                  <a:pt x="1719" y="1074"/>
                </a:lnTo>
                <a:lnTo>
                  <a:pt x="1721" y="1073"/>
                </a:lnTo>
                <a:lnTo>
                  <a:pt x="1722" y="1071"/>
                </a:lnTo>
                <a:lnTo>
                  <a:pt x="1726" y="1069"/>
                </a:lnTo>
                <a:lnTo>
                  <a:pt x="1730" y="1069"/>
                </a:lnTo>
                <a:close/>
                <a:moveTo>
                  <a:pt x="2300" y="1047"/>
                </a:moveTo>
                <a:lnTo>
                  <a:pt x="2303" y="1048"/>
                </a:lnTo>
                <a:lnTo>
                  <a:pt x="2307" y="1049"/>
                </a:lnTo>
                <a:lnTo>
                  <a:pt x="2310" y="1052"/>
                </a:lnTo>
                <a:lnTo>
                  <a:pt x="2311" y="1056"/>
                </a:lnTo>
                <a:lnTo>
                  <a:pt x="2312" y="1058"/>
                </a:lnTo>
                <a:lnTo>
                  <a:pt x="2312" y="1061"/>
                </a:lnTo>
                <a:lnTo>
                  <a:pt x="2310" y="1065"/>
                </a:lnTo>
                <a:lnTo>
                  <a:pt x="2309" y="1067"/>
                </a:lnTo>
                <a:lnTo>
                  <a:pt x="2307" y="1069"/>
                </a:lnTo>
                <a:lnTo>
                  <a:pt x="2305" y="1070"/>
                </a:lnTo>
                <a:lnTo>
                  <a:pt x="2303" y="1071"/>
                </a:lnTo>
                <a:lnTo>
                  <a:pt x="2300" y="1072"/>
                </a:lnTo>
                <a:lnTo>
                  <a:pt x="2296" y="1071"/>
                </a:lnTo>
                <a:lnTo>
                  <a:pt x="2292" y="1069"/>
                </a:lnTo>
                <a:lnTo>
                  <a:pt x="2290" y="1067"/>
                </a:lnTo>
                <a:lnTo>
                  <a:pt x="2288" y="1063"/>
                </a:lnTo>
                <a:lnTo>
                  <a:pt x="2287" y="1060"/>
                </a:lnTo>
                <a:lnTo>
                  <a:pt x="2287" y="1058"/>
                </a:lnTo>
                <a:lnTo>
                  <a:pt x="2289" y="1054"/>
                </a:lnTo>
                <a:lnTo>
                  <a:pt x="2290" y="1052"/>
                </a:lnTo>
                <a:lnTo>
                  <a:pt x="2292" y="1050"/>
                </a:lnTo>
                <a:lnTo>
                  <a:pt x="2294" y="1049"/>
                </a:lnTo>
                <a:lnTo>
                  <a:pt x="2296" y="1048"/>
                </a:lnTo>
                <a:lnTo>
                  <a:pt x="2300" y="1047"/>
                </a:lnTo>
                <a:close/>
                <a:moveTo>
                  <a:pt x="1592" y="1028"/>
                </a:moveTo>
                <a:lnTo>
                  <a:pt x="1596" y="1029"/>
                </a:lnTo>
                <a:lnTo>
                  <a:pt x="1598" y="1030"/>
                </a:lnTo>
                <a:lnTo>
                  <a:pt x="1600" y="1031"/>
                </a:lnTo>
                <a:lnTo>
                  <a:pt x="1602" y="1033"/>
                </a:lnTo>
                <a:lnTo>
                  <a:pt x="1603" y="1035"/>
                </a:lnTo>
                <a:lnTo>
                  <a:pt x="1604" y="1038"/>
                </a:lnTo>
                <a:lnTo>
                  <a:pt x="1604" y="1040"/>
                </a:lnTo>
                <a:lnTo>
                  <a:pt x="1603" y="1045"/>
                </a:lnTo>
                <a:lnTo>
                  <a:pt x="1601" y="1048"/>
                </a:lnTo>
                <a:lnTo>
                  <a:pt x="1599" y="1051"/>
                </a:lnTo>
                <a:lnTo>
                  <a:pt x="1595" y="1052"/>
                </a:lnTo>
                <a:lnTo>
                  <a:pt x="1592" y="1053"/>
                </a:lnTo>
                <a:lnTo>
                  <a:pt x="1588" y="1052"/>
                </a:lnTo>
                <a:lnTo>
                  <a:pt x="1585" y="1051"/>
                </a:lnTo>
                <a:lnTo>
                  <a:pt x="1583" y="1050"/>
                </a:lnTo>
                <a:lnTo>
                  <a:pt x="1582" y="1048"/>
                </a:lnTo>
                <a:lnTo>
                  <a:pt x="1581" y="1046"/>
                </a:lnTo>
                <a:lnTo>
                  <a:pt x="1580" y="1044"/>
                </a:lnTo>
                <a:lnTo>
                  <a:pt x="1579" y="1041"/>
                </a:lnTo>
                <a:lnTo>
                  <a:pt x="1580" y="1036"/>
                </a:lnTo>
                <a:lnTo>
                  <a:pt x="1582" y="1033"/>
                </a:lnTo>
                <a:lnTo>
                  <a:pt x="1585" y="1030"/>
                </a:lnTo>
                <a:lnTo>
                  <a:pt x="1588" y="1029"/>
                </a:lnTo>
                <a:lnTo>
                  <a:pt x="1592" y="1028"/>
                </a:lnTo>
                <a:close/>
                <a:moveTo>
                  <a:pt x="2435" y="998"/>
                </a:moveTo>
                <a:lnTo>
                  <a:pt x="2439" y="999"/>
                </a:lnTo>
                <a:lnTo>
                  <a:pt x="2440" y="1000"/>
                </a:lnTo>
                <a:lnTo>
                  <a:pt x="2442" y="1000"/>
                </a:lnTo>
                <a:lnTo>
                  <a:pt x="2444" y="1003"/>
                </a:lnTo>
                <a:lnTo>
                  <a:pt x="2446" y="1006"/>
                </a:lnTo>
                <a:lnTo>
                  <a:pt x="2447" y="1008"/>
                </a:lnTo>
                <a:lnTo>
                  <a:pt x="2447" y="1011"/>
                </a:lnTo>
                <a:lnTo>
                  <a:pt x="2447" y="1013"/>
                </a:lnTo>
                <a:lnTo>
                  <a:pt x="2446" y="1015"/>
                </a:lnTo>
                <a:lnTo>
                  <a:pt x="2445" y="1018"/>
                </a:lnTo>
                <a:lnTo>
                  <a:pt x="2444" y="1019"/>
                </a:lnTo>
                <a:lnTo>
                  <a:pt x="2442" y="1021"/>
                </a:lnTo>
                <a:lnTo>
                  <a:pt x="2440" y="1022"/>
                </a:lnTo>
                <a:lnTo>
                  <a:pt x="2437" y="1023"/>
                </a:lnTo>
                <a:lnTo>
                  <a:pt x="2435" y="1023"/>
                </a:lnTo>
                <a:lnTo>
                  <a:pt x="2431" y="1023"/>
                </a:lnTo>
                <a:lnTo>
                  <a:pt x="2430" y="1022"/>
                </a:lnTo>
                <a:lnTo>
                  <a:pt x="2428" y="1021"/>
                </a:lnTo>
                <a:lnTo>
                  <a:pt x="2426" y="1019"/>
                </a:lnTo>
                <a:lnTo>
                  <a:pt x="2424" y="1016"/>
                </a:lnTo>
                <a:lnTo>
                  <a:pt x="2423" y="1013"/>
                </a:lnTo>
                <a:lnTo>
                  <a:pt x="2423" y="1011"/>
                </a:lnTo>
                <a:lnTo>
                  <a:pt x="2423" y="1008"/>
                </a:lnTo>
                <a:lnTo>
                  <a:pt x="2424" y="1006"/>
                </a:lnTo>
                <a:lnTo>
                  <a:pt x="2425" y="1004"/>
                </a:lnTo>
                <a:lnTo>
                  <a:pt x="2426" y="1002"/>
                </a:lnTo>
                <a:lnTo>
                  <a:pt x="2428" y="1001"/>
                </a:lnTo>
                <a:lnTo>
                  <a:pt x="2430" y="999"/>
                </a:lnTo>
                <a:lnTo>
                  <a:pt x="2433" y="999"/>
                </a:lnTo>
                <a:lnTo>
                  <a:pt x="2435" y="998"/>
                </a:lnTo>
                <a:close/>
                <a:moveTo>
                  <a:pt x="1459" y="971"/>
                </a:moveTo>
                <a:lnTo>
                  <a:pt x="1462" y="972"/>
                </a:lnTo>
                <a:lnTo>
                  <a:pt x="1465" y="972"/>
                </a:lnTo>
                <a:lnTo>
                  <a:pt x="1467" y="974"/>
                </a:lnTo>
                <a:lnTo>
                  <a:pt x="1469" y="975"/>
                </a:lnTo>
                <a:lnTo>
                  <a:pt x="1470" y="977"/>
                </a:lnTo>
                <a:lnTo>
                  <a:pt x="1471" y="980"/>
                </a:lnTo>
                <a:lnTo>
                  <a:pt x="1471" y="982"/>
                </a:lnTo>
                <a:lnTo>
                  <a:pt x="1472" y="984"/>
                </a:lnTo>
                <a:lnTo>
                  <a:pt x="1471" y="987"/>
                </a:lnTo>
                <a:lnTo>
                  <a:pt x="1470" y="989"/>
                </a:lnTo>
                <a:lnTo>
                  <a:pt x="1468" y="992"/>
                </a:lnTo>
                <a:lnTo>
                  <a:pt x="1466" y="994"/>
                </a:lnTo>
                <a:lnTo>
                  <a:pt x="1463" y="995"/>
                </a:lnTo>
                <a:lnTo>
                  <a:pt x="1459" y="997"/>
                </a:lnTo>
                <a:lnTo>
                  <a:pt x="1457" y="997"/>
                </a:lnTo>
                <a:lnTo>
                  <a:pt x="1454" y="995"/>
                </a:lnTo>
                <a:lnTo>
                  <a:pt x="1452" y="993"/>
                </a:lnTo>
                <a:lnTo>
                  <a:pt x="1450" y="992"/>
                </a:lnTo>
                <a:lnTo>
                  <a:pt x="1449" y="990"/>
                </a:lnTo>
                <a:lnTo>
                  <a:pt x="1448" y="988"/>
                </a:lnTo>
                <a:lnTo>
                  <a:pt x="1447" y="985"/>
                </a:lnTo>
                <a:lnTo>
                  <a:pt x="1447" y="983"/>
                </a:lnTo>
                <a:lnTo>
                  <a:pt x="1447" y="981"/>
                </a:lnTo>
                <a:lnTo>
                  <a:pt x="1448" y="978"/>
                </a:lnTo>
                <a:lnTo>
                  <a:pt x="1450" y="975"/>
                </a:lnTo>
                <a:lnTo>
                  <a:pt x="1453" y="973"/>
                </a:lnTo>
                <a:lnTo>
                  <a:pt x="1456" y="972"/>
                </a:lnTo>
                <a:lnTo>
                  <a:pt x="1459" y="971"/>
                </a:lnTo>
                <a:close/>
                <a:moveTo>
                  <a:pt x="2565" y="935"/>
                </a:moveTo>
                <a:lnTo>
                  <a:pt x="2568" y="936"/>
                </a:lnTo>
                <a:lnTo>
                  <a:pt x="2571" y="937"/>
                </a:lnTo>
                <a:lnTo>
                  <a:pt x="2574" y="939"/>
                </a:lnTo>
                <a:lnTo>
                  <a:pt x="2576" y="942"/>
                </a:lnTo>
                <a:lnTo>
                  <a:pt x="2577" y="944"/>
                </a:lnTo>
                <a:lnTo>
                  <a:pt x="2577" y="947"/>
                </a:lnTo>
                <a:lnTo>
                  <a:pt x="2577" y="949"/>
                </a:lnTo>
                <a:lnTo>
                  <a:pt x="2577" y="951"/>
                </a:lnTo>
                <a:lnTo>
                  <a:pt x="2576" y="953"/>
                </a:lnTo>
                <a:lnTo>
                  <a:pt x="2574" y="955"/>
                </a:lnTo>
                <a:lnTo>
                  <a:pt x="2573" y="957"/>
                </a:lnTo>
                <a:lnTo>
                  <a:pt x="2571" y="959"/>
                </a:lnTo>
                <a:lnTo>
                  <a:pt x="2568" y="960"/>
                </a:lnTo>
                <a:lnTo>
                  <a:pt x="2565" y="960"/>
                </a:lnTo>
                <a:lnTo>
                  <a:pt x="2562" y="960"/>
                </a:lnTo>
                <a:lnTo>
                  <a:pt x="2559" y="958"/>
                </a:lnTo>
                <a:lnTo>
                  <a:pt x="2556" y="956"/>
                </a:lnTo>
                <a:lnTo>
                  <a:pt x="2554" y="954"/>
                </a:lnTo>
                <a:lnTo>
                  <a:pt x="2553" y="951"/>
                </a:lnTo>
                <a:lnTo>
                  <a:pt x="2553" y="949"/>
                </a:lnTo>
                <a:lnTo>
                  <a:pt x="2553" y="946"/>
                </a:lnTo>
                <a:lnTo>
                  <a:pt x="2553" y="944"/>
                </a:lnTo>
                <a:lnTo>
                  <a:pt x="2554" y="942"/>
                </a:lnTo>
                <a:lnTo>
                  <a:pt x="2555" y="940"/>
                </a:lnTo>
                <a:lnTo>
                  <a:pt x="2557" y="938"/>
                </a:lnTo>
                <a:lnTo>
                  <a:pt x="2559" y="937"/>
                </a:lnTo>
                <a:lnTo>
                  <a:pt x="2562" y="936"/>
                </a:lnTo>
                <a:lnTo>
                  <a:pt x="2565" y="935"/>
                </a:lnTo>
                <a:close/>
                <a:moveTo>
                  <a:pt x="1333" y="902"/>
                </a:moveTo>
                <a:lnTo>
                  <a:pt x="1336" y="903"/>
                </a:lnTo>
                <a:lnTo>
                  <a:pt x="1339" y="904"/>
                </a:lnTo>
                <a:lnTo>
                  <a:pt x="1341" y="905"/>
                </a:lnTo>
                <a:lnTo>
                  <a:pt x="1343" y="907"/>
                </a:lnTo>
                <a:lnTo>
                  <a:pt x="1344" y="909"/>
                </a:lnTo>
                <a:lnTo>
                  <a:pt x="1345" y="911"/>
                </a:lnTo>
                <a:lnTo>
                  <a:pt x="1345" y="914"/>
                </a:lnTo>
                <a:lnTo>
                  <a:pt x="1345" y="916"/>
                </a:lnTo>
                <a:lnTo>
                  <a:pt x="1345" y="919"/>
                </a:lnTo>
                <a:lnTo>
                  <a:pt x="1344" y="921"/>
                </a:lnTo>
                <a:lnTo>
                  <a:pt x="1342" y="923"/>
                </a:lnTo>
                <a:lnTo>
                  <a:pt x="1339" y="925"/>
                </a:lnTo>
                <a:lnTo>
                  <a:pt x="1336" y="926"/>
                </a:lnTo>
                <a:lnTo>
                  <a:pt x="1333" y="927"/>
                </a:lnTo>
                <a:lnTo>
                  <a:pt x="1330" y="926"/>
                </a:lnTo>
                <a:lnTo>
                  <a:pt x="1327" y="925"/>
                </a:lnTo>
                <a:lnTo>
                  <a:pt x="1325" y="923"/>
                </a:lnTo>
                <a:lnTo>
                  <a:pt x="1323" y="922"/>
                </a:lnTo>
                <a:lnTo>
                  <a:pt x="1322" y="920"/>
                </a:lnTo>
                <a:lnTo>
                  <a:pt x="1321" y="917"/>
                </a:lnTo>
                <a:lnTo>
                  <a:pt x="1321" y="915"/>
                </a:lnTo>
                <a:lnTo>
                  <a:pt x="1321" y="913"/>
                </a:lnTo>
                <a:lnTo>
                  <a:pt x="1321" y="910"/>
                </a:lnTo>
                <a:lnTo>
                  <a:pt x="1323" y="908"/>
                </a:lnTo>
                <a:lnTo>
                  <a:pt x="1325" y="905"/>
                </a:lnTo>
                <a:lnTo>
                  <a:pt x="1327" y="904"/>
                </a:lnTo>
                <a:lnTo>
                  <a:pt x="1330" y="902"/>
                </a:lnTo>
                <a:lnTo>
                  <a:pt x="1333" y="902"/>
                </a:lnTo>
                <a:close/>
                <a:moveTo>
                  <a:pt x="1213" y="822"/>
                </a:moveTo>
                <a:lnTo>
                  <a:pt x="1217" y="823"/>
                </a:lnTo>
                <a:lnTo>
                  <a:pt x="1221" y="824"/>
                </a:lnTo>
                <a:lnTo>
                  <a:pt x="1223" y="826"/>
                </a:lnTo>
                <a:lnTo>
                  <a:pt x="1224" y="828"/>
                </a:lnTo>
                <a:lnTo>
                  <a:pt x="1225" y="830"/>
                </a:lnTo>
                <a:lnTo>
                  <a:pt x="1226" y="832"/>
                </a:lnTo>
                <a:lnTo>
                  <a:pt x="1226" y="835"/>
                </a:lnTo>
                <a:lnTo>
                  <a:pt x="1225" y="837"/>
                </a:lnTo>
                <a:lnTo>
                  <a:pt x="1225" y="839"/>
                </a:lnTo>
                <a:lnTo>
                  <a:pt x="1223" y="842"/>
                </a:lnTo>
                <a:lnTo>
                  <a:pt x="1221" y="844"/>
                </a:lnTo>
                <a:lnTo>
                  <a:pt x="1220" y="845"/>
                </a:lnTo>
                <a:lnTo>
                  <a:pt x="1219" y="845"/>
                </a:lnTo>
                <a:lnTo>
                  <a:pt x="1216" y="846"/>
                </a:lnTo>
                <a:lnTo>
                  <a:pt x="1213" y="847"/>
                </a:lnTo>
                <a:lnTo>
                  <a:pt x="1210" y="846"/>
                </a:lnTo>
                <a:lnTo>
                  <a:pt x="1206" y="844"/>
                </a:lnTo>
                <a:lnTo>
                  <a:pt x="1204" y="843"/>
                </a:lnTo>
                <a:lnTo>
                  <a:pt x="1203" y="841"/>
                </a:lnTo>
                <a:lnTo>
                  <a:pt x="1202" y="839"/>
                </a:lnTo>
                <a:lnTo>
                  <a:pt x="1201" y="836"/>
                </a:lnTo>
                <a:lnTo>
                  <a:pt x="1201" y="834"/>
                </a:lnTo>
                <a:lnTo>
                  <a:pt x="1201" y="832"/>
                </a:lnTo>
                <a:lnTo>
                  <a:pt x="1202" y="829"/>
                </a:lnTo>
                <a:lnTo>
                  <a:pt x="1203" y="827"/>
                </a:lnTo>
                <a:lnTo>
                  <a:pt x="1206" y="825"/>
                </a:lnTo>
                <a:lnTo>
                  <a:pt x="1207" y="824"/>
                </a:lnTo>
                <a:lnTo>
                  <a:pt x="1208" y="823"/>
                </a:lnTo>
                <a:lnTo>
                  <a:pt x="1211" y="822"/>
                </a:lnTo>
                <a:lnTo>
                  <a:pt x="1213" y="822"/>
                </a:lnTo>
                <a:close/>
                <a:moveTo>
                  <a:pt x="1100" y="733"/>
                </a:moveTo>
                <a:lnTo>
                  <a:pt x="1104" y="734"/>
                </a:lnTo>
                <a:lnTo>
                  <a:pt x="1108" y="736"/>
                </a:lnTo>
                <a:lnTo>
                  <a:pt x="1110" y="738"/>
                </a:lnTo>
                <a:lnTo>
                  <a:pt x="1111" y="740"/>
                </a:lnTo>
                <a:lnTo>
                  <a:pt x="1112" y="742"/>
                </a:lnTo>
                <a:lnTo>
                  <a:pt x="1112" y="744"/>
                </a:lnTo>
                <a:lnTo>
                  <a:pt x="1112" y="747"/>
                </a:lnTo>
                <a:lnTo>
                  <a:pt x="1112" y="749"/>
                </a:lnTo>
                <a:lnTo>
                  <a:pt x="1111" y="751"/>
                </a:lnTo>
                <a:lnTo>
                  <a:pt x="1110" y="752"/>
                </a:lnTo>
                <a:lnTo>
                  <a:pt x="1110" y="753"/>
                </a:lnTo>
                <a:lnTo>
                  <a:pt x="1108" y="755"/>
                </a:lnTo>
                <a:lnTo>
                  <a:pt x="1105" y="757"/>
                </a:lnTo>
                <a:lnTo>
                  <a:pt x="1103" y="757"/>
                </a:lnTo>
                <a:lnTo>
                  <a:pt x="1100" y="758"/>
                </a:lnTo>
                <a:lnTo>
                  <a:pt x="1096" y="757"/>
                </a:lnTo>
                <a:lnTo>
                  <a:pt x="1092" y="755"/>
                </a:lnTo>
                <a:lnTo>
                  <a:pt x="1091" y="753"/>
                </a:lnTo>
                <a:lnTo>
                  <a:pt x="1089" y="751"/>
                </a:lnTo>
                <a:lnTo>
                  <a:pt x="1088" y="749"/>
                </a:lnTo>
                <a:lnTo>
                  <a:pt x="1088" y="746"/>
                </a:lnTo>
                <a:lnTo>
                  <a:pt x="1088" y="744"/>
                </a:lnTo>
                <a:lnTo>
                  <a:pt x="1088" y="742"/>
                </a:lnTo>
                <a:lnTo>
                  <a:pt x="1089" y="740"/>
                </a:lnTo>
                <a:lnTo>
                  <a:pt x="1090" y="738"/>
                </a:lnTo>
                <a:lnTo>
                  <a:pt x="1091" y="737"/>
                </a:lnTo>
                <a:lnTo>
                  <a:pt x="1093" y="736"/>
                </a:lnTo>
                <a:lnTo>
                  <a:pt x="1095" y="734"/>
                </a:lnTo>
                <a:lnTo>
                  <a:pt x="1098" y="733"/>
                </a:lnTo>
                <a:lnTo>
                  <a:pt x="1100" y="733"/>
                </a:lnTo>
                <a:close/>
                <a:moveTo>
                  <a:pt x="993" y="637"/>
                </a:moveTo>
                <a:lnTo>
                  <a:pt x="997" y="638"/>
                </a:lnTo>
                <a:lnTo>
                  <a:pt x="1000" y="639"/>
                </a:lnTo>
                <a:lnTo>
                  <a:pt x="1001" y="640"/>
                </a:lnTo>
                <a:lnTo>
                  <a:pt x="1003" y="642"/>
                </a:lnTo>
                <a:lnTo>
                  <a:pt x="1004" y="644"/>
                </a:lnTo>
                <a:lnTo>
                  <a:pt x="1005" y="647"/>
                </a:lnTo>
                <a:lnTo>
                  <a:pt x="1005" y="649"/>
                </a:lnTo>
                <a:lnTo>
                  <a:pt x="1004" y="654"/>
                </a:lnTo>
                <a:lnTo>
                  <a:pt x="1003" y="656"/>
                </a:lnTo>
                <a:lnTo>
                  <a:pt x="1002" y="658"/>
                </a:lnTo>
                <a:lnTo>
                  <a:pt x="1000" y="659"/>
                </a:lnTo>
                <a:lnTo>
                  <a:pt x="998" y="661"/>
                </a:lnTo>
                <a:lnTo>
                  <a:pt x="995" y="661"/>
                </a:lnTo>
                <a:lnTo>
                  <a:pt x="993" y="662"/>
                </a:lnTo>
                <a:lnTo>
                  <a:pt x="988" y="661"/>
                </a:lnTo>
                <a:lnTo>
                  <a:pt x="986" y="660"/>
                </a:lnTo>
                <a:lnTo>
                  <a:pt x="984" y="658"/>
                </a:lnTo>
                <a:lnTo>
                  <a:pt x="983" y="656"/>
                </a:lnTo>
                <a:lnTo>
                  <a:pt x="982" y="654"/>
                </a:lnTo>
                <a:lnTo>
                  <a:pt x="981" y="652"/>
                </a:lnTo>
                <a:lnTo>
                  <a:pt x="981" y="650"/>
                </a:lnTo>
                <a:lnTo>
                  <a:pt x="981" y="645"/>
                </a:lnTo>
                <a:lnTo>
                  <a:pt x="982" y="643"/>
                </a:lnTo>
                <a:lnTo>
                  <a:pt x="984" y="641"/>
                </a:lnTo>
                <a:lnTo>
                  <a:pt x="986" y="639"/>
                </a:lnTo>
                <a:lnTo>
                  <a:pt x="988" y="638"/>
                </a:lnTo>
                <a:lnTo>
                  <a:pt x="991" y="637"/>
                </a:lnTo>
                <a:lnTo>
                  <a:pt x="993" y="637"/>
                </a:lnTo>
                <a:close/>
                <a:moveTo>
                  <a:pt x="891" y="535"/>
                </a:moveTo>
                <a:lnTo>
                  <a:pt x="894" y="535"/>
                </a:lnTo>
                <a:lnTo>
                  <a:pt x="896" y="536"/>
                </a:lnTo>
                <a:lnTo>
                  <a:pt x="898" y="537"/>
                </a:lnTo>
                <a:lnTo>
                  <a:pt x="900" y="539"/>
                </a:lnTo>
                <a:lnTo>
                  <a:pt x="902" y="541"/>
                </a:lnTo>
                <a:lnTo>
                  <a:pt x="903" y="543"/>
                </a:lnTo>
                <a:lnTo>
                  <a:pt x="903" y="545"/>
                </a:lnTo>
                <a:lnTo>
                  <a:pt x="903" y="548"/>
                </a:lnTo>
                <a:lnTo>
                  <a:pt x="903" y="550"/>
                </a:lnTo>
                <a:lnTo>
                  <a:pt x="902" y="552"/>
                </a:lnTo>
                <a:lnTo>
                  <a:pt x="901" y="554"/>
                </a:lnTo>
                <a:lnTo>
                  <a:pt x="900" y="556"/>
                </a:lnTo>
                <a:lnTo>
                  <a:pt x="898" y="558"/>
                </a:lnTo>
                <a:lnTo>
                  <a:pt x="896" y="559"/>
                </a:lnTo>
                <a:lnTo>
                  <a:pt x="891" y="560"/>
                </a:lnTo>
                <a:lnTo>
                  <a:pt x="889" y="559"/>
                </a:lnTo>
                <a:lnTo>
                  <a:pt x="886" y="559"/>
                </a:lnTo>
                <a:lnTo>
                  <a:pt x="884" y="558"/>
                </a:lnTo>
                <a:lnTo>
                  <a:pt x="882" y="556"/>
                </a:lnTo>
                <a:lnTo>
                  <a:pt x="881" y="554"/>
                </a:lnTo>
                <a:lnTo>
                  <a:pt x="880" y="552"/>
                </a:lnTo>
                <a:lnTo>
                  <a:pt x="879" y="549"/>
                </a:lnTo>
                <a:lnTo>
                  <a:pt x="879" y="547"/>
                </a:lnTo>
                <a:lnTo>
                  <a:pt x="879" y="545"/>
                </a:lnTo>
                <a:lnTo>
                  <a:pt x="880" y="542"/>
                </a:lnTo>
                <a:lnTo>
                  <a:pt x="881" y="540"/>
                </a:lnTo>
                <a:lnTo>
                  <a:pt x="883" y="538"/>
                </a:lnTo>
                <a:lnTo>
                  <a:pt x="885" y="537"/>
                </a:lnTo>
                <a:lnTo>
                  <a:pt x="887" y="536"/>
                </a:lnTo>
                <a:lnTo>
                  <a:pt x="891" y="535"/>
                </a:lnTo>
                <a:close/>
                <a:moveTo>
                  <a:pt x="794" y="428"/>
                </a:moveTo>
                <a:lnTo>
                  <a:pt x="797" y="429"/>
                </a:lnTo>
                <a:lnTo>
                  <a:pt x="799" y="429"/>
                </a:lnTo>
                <a:lnTo>
                  <a:pt x="802" y="431"/>
                </a:lnTo>
                <a:lnTo>
                  <a:pt x="804" y="433"/>
                </a:lnTo>
                <a:lnTo>
                  <a:pt x="805" y="435"/>
                </a:lnTo>
                <a:lnTo>
                  <a:pt x="806" y="437"/>
                </a:lnTo>
                <a:lnTo>
                  <a:pt x="807" y="439"/>
                </a:lnTo>
                <a:lnTo>
                  <a:pt x="807" y="442"/>
                </a:lnTo>
                <a:lnTo>
                  <a:pt x="806" y="444"/>
                </a:lnTo>
                <a:lnTo>
                  <a:pt x="805" y="446"/>
                </a:lnTo>
                <a:lnTo>
                  <a:pt x="804" y="448"/>
                </a:lnTo>
                <a:lnTo>
                  <a:pt x="803" y="450"/>
                </a:lnTo>
                <a:lnTo>
                  <a:pt x="799" y="452"/>
                </a:lnTo>
                <a:lnTo>
                  <a:pt x="794" y="453"/>
                </a:lnTo>
                <a:lnTo>
                  <a:pt x="792" y="453"/>
                </a:lnTo>
                <a:lnTo>
                  <a:pt x="789" y="452"/>
                </a:lnTo>
                <a:lnTo>
                  <a:pt x="787" y="451"/>
                </a:lnTo>
                <a:lnTo>
                  <a:pt x="785" y="449"/>
                </a:lnTo>
                <a:lnTo>
                  <a:pt x="784" y="447"/>
                </a:lnTo>
                <a:lnTo>
                  <a:pt x="783" y="444"/>
                </a:lnTo>
                <a:lnTo>
                  <a:pt x="782" y="442"/>
                </a:lnTo>
                <a:lnTo>
                  <a:pt x="782" y="440"/>
                </a:lnTo>
                <a:lnTo>
                  <a:pt x="783" y="437"/>
                </a:lnTo>
                <a:lnTo>
                  <a:pt x="783" y="435"/>
                </a:lnTo>
                <a:lnTo>
                  <a:pt x="785" y="433"/>
                </a:lnTo>
                <a:lnTo>
                  <a:pt x="786" y="431"/>
                </a:lnTo>
                <a:lnTo>
                  <a:pt x="790" y="429"/>
                </a:lnTo>
                <a:lnTo>
                  <a:pt x="794" y="428"/>
                </a:lnTo>
                <a:close/>
                <a:moveTo>
                  <a:pt x="702" y="318"/>
                </a:moveTo>
                <a:lnTo>
                  <a:pt x="705" y="318"/>
                </a:lnTo>
                <a:lnTo>
                  <a:pt x="707" y="319"/>
                </a:lnTo>
                <a:lnTo>
                  <a:pt x="710" y="320"/>
                </a:lnTo>
                <a:lnTo>
                  <a:pt x="712" y="322"/>
                </a:lnTo>
                <a:lnTo>
                  <a:pt x="713" y="324"/>
                </a:lnTo>
                <a:lnTo>
                  <a:pt x="714" y="327"/>
                </a:lnTo>
                <a:lnTo>
                  <a:pt x="714" y="329"/>
                </a:lnTo>
                <a:lnTo>
                  <a:pt x="714" y="331"/>
                </a:lnTo>
                <a:lnTo>
                  <a:pt x="713" y="336"/>
                </a:lnTo>
                <a:lnTo>
                  <a:pt x="712" y="338"/>
                </a:lnTo>
                <a:lnTo>
                  <a:pt x="710" y="340"/>
                </a:lnTo>
                <a:lnTo>
                  <a:pt x="708" y="341"/>
                </a:lnTo>
                <a:lnTo>
                  <a:pt x="706" y="342"/>
                </a:lnTo>
                <a:lnTo>
                  <a:pt x="702" y="342"/>
                </a:lnTo>
                <a:lnTo>
                  <a:pt x="700" y="342"/>
                </a:lnTo>
                <a:lnTo>
                  <a:pt x="697" y="341"/>
                </a:lnTo>
                <a:lnTo>
                  <a:pt x="695" y="340"/>
                </a:lnTo>
                <a:lnTo>
                  <a:pt x="693" y="338"/>
                </a:lnTo>
                <a:lnTo>
                  <a:pt x="691" y="336"/>
                </a:lnTo>
                <a:lnTo>
                  <a:pt x="690" y="333"/>
                </a:lnTo>
                <a:lnTo>
                  <a:pt x="690" y="331"/>
                </a:lnTo>
                <a:lnTo>
                  <a:pt x="690" y="329"/>
                </a:lnTo>
                <a:lnTo>
                  <a:pt x="691" y="324"/>
                </a:lnTo>
                <a:lnTo>
                  <a:pt x="693" y="322"/>
                </a:lnTo>
                <a:lnTo>
                  <a:pt x="695" y="320"/>
                </a:lnTo>
                <a:lnTo>
                  <a:pt x="696" y="319"/>
                </a:lnTo>
                <a:lnTo>
                  <a:pt x="698" y="318"/>
                </a:lnTo>
                <a:lnTo>
                  <a:pt x="702" y="318"/>
                </a:lnTo>
                <a:close/>
                <a:moveTo>
                  <a:pt x="613" y="204"/>
                </a:moveTo>
                <a:lnTo>
                  <a:pt x="616" y="204"/>
                </a:lnTo>
                <a:lnTo>
                  <a:pt x="619" y="205"/>
                </a:lnTo>
                <a:lnTo>
                  <a:pt x="621" y="206"/>
                </a:lnTo>
                <a:lnTo>
                  <a:pt x="622" y="207"/>
                </a:lnTo>
                <a:lnTo>
                  <a:pt x="623" y="209"/>
                </a:lnTo>
                <a:lnTo>
                  <a:pt x="624" y="211"/>
                </a:lnTo>
                <a:lnTo>
                  <a:pt x="625" y="213"/>
                </a:lnTo>
                <a:lnTo>
                  <a:pt x="625" y="215"/>
                </a:lnTo>
                <a:lnTo>
                  <a:pt x="625" y="218"/>
                </a:lnTo>
                <a:lnTo>
                  <a:pt x="624" y="222"/>
                </a:lnTo>
                <a:lnTo>
                  <a:pt x="622" y="224"/>
                </a:lnTo>
                <a:lnTo>
                  <a:pt x="620" y="226"/>
                </a:lnTo>
                <a:lnTo>
                  <a:pt x="619" y="227"/>
                </a:lnTo>
                <a:lnTo>
                  <a:pt x="617" y="228"/>
                </a:lnTo>
                <a:lnTo>
                  <a:pt x="615" y="228"/>
                </a:lnTo>
                <a:lnTo>
                  <a:pt x="613" y="228"/>
                </a:lnTo>
                <a:lnTo>
                  <a:pt x="610" y="228"/>
                </a:lnTo>
                <a:lnTo>
                  <a:pt x="608" y="227"/>
                </a:lnTo>
                <a:lnTo>
                  <a:pt x="605" y="225"/>
                </a:lnTo>
                <a:lnTo>
                  <a:pt x="604" y="224"/>
                </a:lnTo>
                <a:lnTo>
                  <a:pt x="603" y="223"/>
                </a:lnTo>
                <a:lnTo>
                  <a:pt x="602" y="221"/>
                </a:lnTo>
                <a:lnTo>
                  <a:pt x="601" y="219"/>
                </a:lnTo>
                <a:lnTo>
                  <a:pt x="601" y="217"/>
                </a:lnTo>
                <a:lnTo>
                  <a:pt x="601" y="214"/>
                </a:lnTo>
                <a:lnTo>
                  <a:pt x="602" y="210"/>
                </a:lnTo>
                <a:lnTo>
                  <a:pt x="604" y="208"/>
                </a:lnTo>
                <a:lnTo>
                  <a:pt x="606" y="206"/>
                </a:lnTo>
                <a:lnTo>
                  <a:pt x="607" y="205"/>
                </a:lnTo>
                <a:lnTo>
                  <a:pt x="609" y="204"/>
                </a:lnTo>
                <a:lnTo>
                  <a:pt x="611" y="204"/>
                </a:lnTo>
                <a:lnTo>
                  <a:pt x="613" y="204"/>
                </a:lnTo>
                <a:close/>
                <a:moveTo>
                  <a:pt x="529" y="87"/>
                </a:moveTo>
                <a:lnTo>
                  <a:pt x="531" y="87"/>
                </a:lnTo>
                <a:lnTo>
                  <a:pt x="534" y="88"/>
                </a:lnTo>
                <a:lnTo>
                  <a:pt x="537" y="90"/>
                </a:lnTo>
                <a:lnTo>
                  <a:pt x="539" y="92"/>
                </a:lnTo>
                <a:lnTo>
                  <a:pt x="540" y="94"/>
                </a:lnTo>
                <a:lnTo>
                  <a:pt x="541" y="97"/>
                </a:lnTo>
                <a:lnTo>
                  <a:pt x="541" y="101"/>
                </a:lnTo>
                <a:lnTo>
                  <a:pt x="540" y="104"/>
                </a:lnTo>
                <a:lnTo>
                  <a:pt x="539" y="106"/>
                </a:lnTo>
                <a:lnTo>
                  <a:pt x="538" y="108"/>
                </a:lnTo>
                <a:lnTo>
                  <a:pt x="536" y="109"/>
                </a:lnTo>
                <a:lnTo>
                  <a:pt x="532" y="111"/>
                </a:lnTo>
                <a:lnTo>
                  <a:pt x="529" y="112"/>
                </a:lnTo>
                <a:lnTo>
                  <a:pt x="526" y="111"/>
                </a:lnTo>
                <a:lnTo>
                  <a:pt x="523" y="110"/>
                </a:lnTo>
                <a:lnTo>
                  <a:pt x="521" y="109"/>
                </a:lnTo>
                <a:lnTo>
                  <a:pt x="519" y="106"/>
                </a:lnTo>
                <a:lnTo>
                  <a:pt x="517" y="104"/>
                </a:lnTo>
                <a:lnTo>
                  <a:pt x="517" y="102"/>
                </a:lnTo>
                <a:lnTo>
                  <a:pt x="516" y="97"/>
                </a:lnTo>
                <a:lnTo>
                  <a:pt x="517" y="95"/>
                </a:lnTo>
                <a:lnTo>
                  <a:pt x="518" y="93"/>
                </a:lnTo>
                <a:lnTo>
                  <a:pt x="520" y="91"/>
                </a:lnTo>
                <a:lnTo>
                  <a:pt x="522" y="89"/>
                </a:lnTo>
                <a:lnTo>
                  <a:pt x="525" y="88"/>
                </a:lnTo>
                <a:lnTo>
                  <a:pt x="529" y="87"/>
                </a:lnTo>
                <a:close/>
                <a:moveTo>
                  <a:pt x="1915" y="1532"/>
                </a:moveTo>
                <a:lnTo>
                  <a:pt x="1917" y="1532"/>
                </a:lnTo>
                <a:lnTo>
                  <a:pt x="1919" y="1533"/>
                </a:lnTo>
                <a:lnTo>
                  <a:pt x="1922" y="1534"/>
                </a:lnTo>
                <a:lnTo>
                  <a:pt x="1923" y="1536"/>
                </a:lnTo>
                <a:lnTo>
                  <a:pt x="1925" y="1538"/>
                </a:lnTo>
                <a:lnTo>
                  <a:pt x="1926" y="1540"/>
                </a:lnTo>
                <a:lnTo>
                  <a:pt x="1927" y="1542"/>
                </a:lnTo>
                <a:lnTo>
                  <a:pt x="1927" y="1545"/>
                </a:lnTo>
                <a:lnTo>
                  <a:pt x="1926" y="1547"/>
                </a:lnTo>
                <a:lnTo>
                  <a:pt x="1926" y="1549"/>
                </a:lnTo>
                <a:lnTo>
                  <a:pt x="1924" y="1551"/>
                </a:lnTo>
                <a:lnTo>
                  <a:pt x="1923" y="1553"/>
                </a:lnTo>
                <a:lnTo>
                  <a:pt x="1919" y="1555"/>
                </a:lnTo>
                <a:lnTo>
                  <a:pt x="1917" y="1556"/>
                </a:lnTo>
                <a:lnTo>
                  <a:pt x="1915" y="1556"/>
                </a:lnTo>
                <a:lnTo>
                  <a:pt x="1912" y="1556"/>
                </a:lnTo>
                <a:lnTo>
                  <a:pt x="1910" y="1555"/>
                </a:lnTo>
                <a:lnTo>
                  <a:pt x="1907" y="1554"/>
                </a:lnTo>
                <a:lnTo>
                  <a:pt x="1906" y="1552"/>
                </a:lnTo>
                <a:lnTo>
                  <a:pt x="1904" y="1551"/>
                </a:lnTo>
                <a:lnTo>
                  <a:pt x="1903" y="1548"/>
                </a:lnTo>
                <a:lnTo>
                  <a:pt x="1903" y="1546"/>
                </a:lnTo>
                <a:lnTo>
                  <a:pt x="1902" y="1544"/>
                </a:lnTo>
                <a:lnTo>
                  <a:pt x="1903" y="1541"/>
                </a:lnTo>
                <a:lnTo>
                  <a:pt x="1903" y="1539"/>
                </a:lnTo>
                <a:lnTo>
                  <a:pt x="1905" y="1537"/>
                </a:lnTo>
                <a:lnTo>
                  <a:pt x="1906" y="1535"/>
                </a:lnTo>
                <a:lnTo>
                  <a:pt x="1910" y="1533"/>
                </a:lnTo>
                <a:lnTo>
                  <a:pt x="1912" y="1532"/>
                </a:lnTo>
                <a:lnTo>
                  <a:pt x="1915" y="1532"/>
                </a:lnTo>
                <a:close/>
                <a:moveTo>
                  <a:pt x="2059" y="1527"/>
                </a:moveTo>
                <a:lnTo>
                  <a:pt x="2064" y="1528"/>
                </a:lnTo>
                <a:lnTo>
                  <a:pt x="2066" y="1529"/>
                </a:lnTo>
                <a:lnTo>
                  <a:pt x="2067" y="1531"/>
                </a:lnTo>
                <a:lnTo>
                  <a:pt x="2070" y="1534"/>
                </a:lnTo>
                <a:lnTo>
                  <a:pt x="2071" y="1536"/>
                </a:lnTo>
                <a:lnTo>
                  <a:pt x="2071" y="1538"/>
                </a:lnTo>
                <a:lnTo>
                  <a:pt x="2071" y="1541"/>
                </a:lnTo>
                <a:lnTo>
                  <a:pt x="2071" y="1543"/>
                </a:lnTo>
                <a:lnTo>
                  <a:pt x="2070" y="1545"/>
                </a:lnTo>
                <a:lnTo>
                  <a:pt x="2069" y="1547"/>
                </a:lnTo>
                <a:lnTo>
                  <a:pt x="2067" y="1549"/>
                </a:lnTo>
                <a:lnTo>
                  <a:pt x="2065" y="1550"/>
                </a:lnTo>
                <a:lnTo>
                  <a:pt x="2061" y="1552"/>
                </a:lnTo>
                <a:lnTo>
                  <a:pt x="2055" y="1551"/>
                </a:lnTo>
                <a:lnTo>
                  <a:pt x="2053" y="1550"/>
                </a:lnTo>
                <a:lnTo>
                  <a:pt x="2051" y="1549"/>
                </a:lnTo>
                <a:lnTo>
                  <a:pt x="2050" y="1547"/>
                </a:lnTo>
                <a:lnTo>
                  <a:pt x="2049" y="1545"/>
                </a:lnTo>
                <a:lnTo>
                  <a:pt x="2048" y="1543"/>
                </a:lnTo>
                <a:lnTo>
                  <a:pt x="2047" y="1541"/>
                </a:lnTo>
                <a:lnTo>
                  <a:pt x="2047" y="1538"/>
                </a:lnTo>
                <a:lnTo>
                  <a:pt x="2048" y="1536"/>
                </a:lnTo>
                <a:lnTo>
                  <a:pt x="2049" y="1534"/>
                </a:lnTo>
                <a:lnTo>
                  <a:pt x="2050" y="1532"/>
                </a:lnTo>
                <a:lnTo>
                  <a:pt x="2052" y="1530"/>
                </a:lnTo>
                <a:lnTo>
                  <a:pt x="2054" y="1529"/>
                </a:lnTo>
                <a:lnTo>
                  <a:pt x="2058" y="1527"/>
                </a:lnTo>
                <a:lnTo>
                  <a:pt x="2059" y="1527"/>
                </a:lnTo>
                <a:close/>
                <a:moveTo>
                  <a:pt x="1772" y="1517"/>
                </a:moveTo>
                <a:lnTo>
                  <a:pt x="1774" y="1517"/>
                </a:lnTo>
                <a:lnTo>
                  <a:pt x="1776" y="1517"/>
                </a:lnTo>
                <a:lnTo>
                  <a:pt x="1778" y="1519"/>
                </a:lnTo>
                <a:lnTo>
                  <a:pt x="1780" y="1520"/>
                </a:lnTo>
                <a:lnTo>
                  <a:pt x="1782" y="1522"/>
                </a:lnTo>
                <a:lnTo>
                  <a:pt x="1783" y="1524"/>
                </a:lnTo>
                <a:lnTo>
                  <a:pt x="1784" y="1526"/>
                </a:lnTo>
                <a:lnTo>
                  <a:pt x="1784" y="1528"/>
                </a:lnTo>
                <a:lnTo>
                  <a:pt x="1784" y="1531"/>
                </a:lnTo>
                <a:lnTo>
                  <a:pt x="1783" y="1533"/>
                </a:lnTo>
                <a:lnTo>
                  <a:pt x="1782" y="1535"/>
                </a:lnTo>
                <a:lnTo>
                  <a:pt x="1779" y="1538"/>
                </a:lnTo>
                <a:lnTo>
                  <a:pt x="1778" y="1539"/>
                </a:lnTo>
                <a:lnTo>
                  <a:pt x="1776" y="1540"/>
                </a:lnTo>
                <a:lnTo>
                  <a:pt x="1772" y="1541"/>
                </a:lnTo>
                <a:lnTo>
                  <a:pt x="1770" y="1541"/>
                </a:lnTo>
                <a:lnTo>
                  <a:pt x="1767" y="1540"/>
                </a:lnTo>
                <a:lnTo>
                  <a:pt x="1765" y="1539"/>
                </a:lnTo>
                <a:lnTo>
                  <a:pt x="1763" y="1537"/>
                </a:lnTo>
                <a:lnTo>
                  <a:pt x="1762" y="1536"/>
                </a:lnTo>
                <a:lnTo>
                  <a:pt x="1761" y="1534"/>
                </a:lnTo>
                <a:lnTo>
                  <a:pt x="1760" y="1531"/>
                </a:lnTo>
                <a:lnTo>
                  <a:pt x="1759" y="1529"/>
                </a:lnTo>
                <a:lnTo>
                  <a:pt x="1760" y="1527"/>
                </a:lnTo>
                <a:lnTo>
                  <a:pt x="1760" y="1525"/>
                </a:lnTo>
                <a:lnTo>
                  <a:pt x="1761" y="1523"/>
                </a:lnTo>
                <a:lnTo>
                  <a:pt x="1764" y="1519"/>
                </a:lnTo>
                <a:lnTo>
                  <a:pt x="1766" y="1518"/>
                </a:lnTo>
                <a:lnTo>
                  <a:pt x="1767" y="1517"/>
                </a:lnTo>
                <a:lnTo>
                  <a:pt x="1772" y="1517"/>
                </a:lnTo>
                <a:close/>
                <a:moveTo>
                  <a:pt x="2201" y="1504"/>
                </a:moveTo>
                <a:lnTo>
                  <a:pt x="2205" y="1504"/>
                </a:lnTo>
                <a:lnTo>
                  <a:pt x="2207" y="1505"/>
                </a:lnTo>
                <a:lnTo>
                  <a:pt x="2209" y="1506"/>
                </a:lnTo>
                <a:lnTo>
                  <a:pt x="2210" y="1508"/>
                </a:lnTo>
                <a:lnTo>
                  <a:pt x="2211" y="1509"/>
                </a:lnTo>
                <a:lnTo>
                  <a:pt x="2213" y="1513"/>
                </a:lnTo>
                <a:lnTo>
                  <a:pt x="2213" y="1516"/>
                </a:lnTo>
                <a:lnTo>
                  <a:pt x="2213" y="1518"/>
                </a:lnTo>
                <a:lnTo>
                  <a:pt x="2213" y="1520"/>
                </a:lnTo>
                <a:lnTo>
                  <a:pt x="2212" y="1522"/>
                </a:lnTo>
                <a:lnTo>
                  <a:pt x="2210" y="1524"/>
                </a:lnTo>
                <a:lnTo>
                  <a:pt x="2208" y="1526"/>
                </a:lnTo>
                <a:lnTo>
                  <a:pt x="2206" y="1527"/>
                </a:lnTo>
                <a:lnTo>
                  <a:pt x="2204" y="1528"/>
                </a:lnTo>
                <a:lnTo>
                  <a:pt x="2201" y="1528"/>
                </a:lnTo>
                <a:lnTo>
                  <a:pt x="2197" y="1527"/>
                </a:lnTo>
                <a:lnTo>
                  <a:pt x="2195" y="1527"/>
                </a:lnTo>
                <a:lnTo>
                  <a:pt x="2194" y="1526"/>
                </a:lnTo>
                <a:lnTo>
                  <a:pt x="2192" y="1524"/>
                </a:lnTo>
                <a:lnTo>
                  <a:pt x="2191" y="1523"/>
                </a:lnTo>
                <a:lnTo>
                  <a:pt x="2189" y="1519"/>
                </a:lnTo>
                <a:lnTo>
                  <a:pt x="2189" y="1516"/>
                </a:lnTo>
                <a:lnTo>
                  <a:pt x="2189" y="1514"/>
                </a:lnTo>
                <a:lnTo>
                  <a:pt x="2190" y="1512"/>
                </a:lnTo>
                <a:lnTo>
                  <a:pt x="2191" y="1510"/>
                </a:lnTo>
                <a:lnTo>
                  <a:pt x="2192" y="1508"/>
                </a:lnTo>
                <a:lnTo>
                  <a:pt x="2194" y="1506"/>
                </a:lnTo>
                <a:lnTo>
                  <a:pt x="2196" y="1505"/>
                </a:lnTo>
                <a:lnTo>
                  <a:pt x="2199" y="1504"/>
                </a:lnTo>
                <a:lnTo>
                  <a:pt x="2201" y="1504"/>
                </a:lnTo>
                <a:close/>
                <a:moveTo>
                  <a:pt x="1632" y="1482"/>
                </a:moveTo>
                <a:lnTo>
                  <a:pt x="1636" y="1483"/>
                </a:lnTo>
                <a:lnTo>
                  <a:pt x="1638" y="1484"/>
                </a:lnTo>
                <a:lnTo>
                  <a:pt x="1640" y="1485"/>
                </a:lnTo>
                <a:lnTo>
                  <a:pt x="1642" y="1487"/>
                </a:lnTo>
                <a:lnTo>
                  <a:pt x="1643" y="1489"/>
                </a:lnTo>
                <a:lnTo>
                  <a:pt x="1644" y="1491"/>
                </a:lnTo>
                <a:lnTo>
                  <a:pt x="1644" y="1493"/>
                </a:lnTo>
                <a:lnTo>
                  <a:pt x="1644" y="1495"/>
                </a:lnTo>
                <a:lnTo>
                  <a:pt x="1644" y="1498"/>
                </a:lnTo>
                <a:lnTo>
                  <a:pt x="1642" y="1501"/>
                </a:lnTo>
                <a:lnTo>
                  <a:pt x="1639" y="1504"/>
                </a:lnTo>
                <a:lnTo>
                  <a:pt x="1636" y="1506"/>
                </a:lnTo>
                <a:lnTo>
                  <a:pt x="1634" y="1506"/>
                </a:lnTo>
                <a:lnTo>
                  <a:pt x="1632" y="1506"/>
                </a:lnTo>
                <a:lnTo>
                  <a:pt x="1628" y="1506"/>
                </a:lnTo>
                <a:lnTo>
                  <a:pt x="1626" y="1505"/>
                </a:lnTo>
                <a:lnTo>
                  <a:pt x="1624" y="1503"/>
                </a:lnTo>
                <a:lnTo>
                  <a:pt x="1623" y="1502"/>
                </a:lnTo>
                <a:lnTo>
                  <a:pt x="1621" y="1500"/>
                </a:lnTo>
                <a:lnTo>
                  <a:pt x="1620" y="1498"/>
                </a:lnTo>
                <a:lnTo>
                  <a:pt x="1620" y="1495"/>
                </a:lnTo>
                <a:lnTo>
                  <a:pt x="1620" y="1493"/>
                </a:lnTo>
                <a:lnTo>
                  <a:pt x="1621" y="1491"/>
                </a:lnTo>
                <a:lnTo>
                  <a:pt x="1622" y="1487"/>
                </a:lnTo>
                <a:lnTo>
                  <a:pt x="1625" y="1484"/>
                </a:lnTo>
                <a:lnTo>
                  <a:pt x="1628" y="1483"/>
                </a:lnTo>
                <a:lnTo>
                  <a:pt x="1630" y="1482"/>
                </a:lnTo>
                <a:lnTo>
                  <a:pt x="1632" y="1482"/>
                </a:lnTo>
                <a:close/>
                <a:moveTo>
                  <a:pt x="2339" y="1463"/>
                </a:moveTo>
                <a:lnTo>
                  <a:pt x="2343" y="1464"/>
                </a:lnTo>
                <a:lnTo>
                  <a:pt x="2345" y="1464"/>
                </a:lnTo>
                <a:lnTo>
                  <a:pt x="2346" y="1465"/>
                </a:lnTo>
                <a:lnTo>
                  <a:pt x="2349" y="1468"/>
                </a:lnTo>
                <a:lnTo>
                  <a:pt x="2350" y="1469"/>
                </a:lnTo>
                <a:lnTo>
                  <a:pt x="2351" y="1471"/>
                </a:lnTo>
                <a:lnTo>
                  <a:pt x="2351" y="1476"/>
                </a:lnTo>
                <a:lnTo>
                  <a:pt x="2351" y="1478"/>
                </a:lnTo>
                <a:lnTo>
                  <a:pt x="2350" y="1480"/>
                </a:lnTo>
                <a:lnTo>
                  <a:pt x="2349" y="1482"/>
                </a:lnTo>
                <a:lnTo>
                  <a:pt x="2348" y="1484"/>
                </a:lnTo>
                <a:lnTo>
                  <a:pt x="2346" y="1486"/>
                </a:lnTo>
                <a:lnTo>
                  <a:pt x="2343" y="1487"/>
                </a:lnTo>
                <a:lnTo>
                  <a:pt x="2339" y="1487"/>
                </a:lnTo>
                <a:lnTo>
                  <a:pt x="2336" y="1487"/>
                </a:lnTo>
                <a:lnTo>
                  <a:pt x="2334" y="1486"/>
                </a:lnTo>
                <a:lnTo>
                  <a:pt x="2332" y="1485"/>
                </a:lnTo>
                <a:lnTo>
                  <a:pt x="2330" y="1483"/>
                </a:lnTo>
                <a:lnTo>
                  <a:pt x="2329" y="1481"/>
                </a:lnTo>
                <a:lnTo>
                  <a:pt x="2328" y="1479"/>
                </a:lnTo>
                <a:lnTo>
                  <a:pt x="2327" y="1475"/>
                </a:lnTo>
                <a:lnTo>
                  <a:pt x="2328" y="1472"/>
                </a:lnTo>
                <a:lnTo>
                  <a:pt x="2328" y="1470"/>
                </a:lnTo>
                <a:lnTo>
                  <a:pt x="2329" y="1468"/>
                </a:lnTo>
                <a:lnTo>
                  <a:pt x="2331" y="1466"/>
                </a:lnTo>
                <a:lnTo>
                  <a:pt x="2333" y="1465"/>
                </a:lnTo>
                <a:lnTo>
                  <a:pt x="2335" y="1464"/>
                </a:lnTo>
                <a:lnTo>
                  <a:pt x="2339" y="1463"/>
                </a:lnTo>
                <a:close/>
                <a:moveTo>
                  <a:pt x="1498" y="1430"/>
                </a:moveTo>
                <a:lnTo>
                  <a:pt x="1501" y="1430"/>
                </a:lnTo>
                <a:lnTo>
                  <a:pt x="1503" y="1431"/>
                </a:lnTo>
                <a:lnTo>
                  <a:pt x="1507" y="1434"/>
                </a:lnTo>
                <a:lnTo>
                  <a:pt x="1508" y="1436"/>
                </a:lnTo>
                <a:lnTo>
                  <a:pt x="1509" y="1438"/>
                </a:lnTo>
                <a:lnTo>
                  <a:pt x="1510" y="1443"/>
                </a:lnTo>
                <a:lnTo>
                  <a:pt x="1510" y="1445"/>
                </a:lnTo>
                <a:lnTo>
                  <a:pt x="1509" y="1447"/>
                </a:lnTo>
                <a:lnTo>
                  <a:pt x="1507" y="1450"/>
                </a:lnTo>
                <a:lnTo>
                  <a:pt x="1505" y="1453"/>
                </a:lnTo>
                <a:lnTo>
                  <a:pt x="1501" y="1454"/>
                </a:lnTo>
                <a:lnTo>
                  <a:pt x="1498" y="1454"/>
                </a:lnTo>
                <a:lnTo>
                  <a:pt x="1495" y="1454"/>
                </a:lnTo>
                <a:lnTo>
                  <a:pt x="1493" y="1453"/>
                </a:lnTo>
                <a:lnTo>
                  <a:pt x="1489" y="1450"/>
                </a:lnTo>
                <a:lnTo>
                  <a:pt x="1488" y="1449"/>
                </a:lnTo>
                <a:lnTo>
                  <a:pt x="1487" y="1446"/>
                </a:lnTo>
                <a:lnTo>
                  <a:pt x="1486" y="1442"/>
                </a:lnTo>
                <a:lnTo>
                  <a:pt x="1486" y="1440"/>
                </a:lnTo>
                <a:lnTo>
                  <a:pt x="1487" y="1437"/>
                </a:lnTo>
                <a:lnTo>
                  <a:pt x="1489" y="1434"/>
                </a:lnTo>
                <a:lnTo>
                  <a:pt x="1490" y="1433"/>
                </a:lnTo>
                <a:lnTo>
                  <a:pt x="1492" y="1432"/>
                </a:lnTo>
                <a:lnTo>
                  <a:pt x="1495" y="1431"/>
                </a:lnTo>
                <a:lnTo>
                  <a:pt x="1498" y="1430"/>
                </a:lnTo>
                <a:close/>
                <a:moveTo>
                  <a:pt x="2472" y="1408"/>
                </a:moveTo>
                <a:lnTo>
                  <a:pt x="2475" y="1408"/>
                </a:lnTo>
                <a:lnTo>
                  <a:pt x="2479" y="1410"/>
                </a:lnTo>
                <a:lnTo>
                  <a:pt x="2480" y="1411"/>
                </a:lnTo>
                <a:lnTo>
                  <a:pt x="2481" y="1412"/>
                </a:lnTo>
                <a:lnTo>
                  <a:pt x="2483" y="1415"/>
                </a:lnTo>
                <a:lnTo>
                  <a:pt x="2484" y="1417"/>
                </a:lnTo>
                <a:lnTo>
                  <a:pt x="2484" y="1419"/>
                </a:lnTo>
                <a:lnTo>
                  <a:pt x="2484" y="1422"/>
                </a:lnTo>
                <a:lnTo>
                  <a:pt x="2484" y="1424"/>
                </a:lnTo>
                <a:lnTo>
                  <a:pt x="2483" y="1426"/>
                </a:lnTo>
                <a:lnTo>
                  <a:pt x="2481" y="1428"/>
                </a:lnTo>
                <a:lnTo>
                  <a:pt x="2480" y="1429"/>
                </a:lnTo>
                <a:lnTo>
                  <a:pt x="2479" y="1430"/>
                </a:lnTo>
                <a:lnTo>
                  <a:pt x="2477" y="1431"/>
                </a:lnTo>
                <a:lnTo>
                  <a:pt x="2475" y="1432"/>
                </a:lnTo>
                <a:lnTo>
                  <a:pt x="2472" y="1432"/>
                </a:lnTo>
                <a:lnTo>
                  <a:pt x="2469" y="1432"/>
                </a:lnTo>
                <a:lnTo>
                  <a:pt x="2466" y="1430"/>
                </a:lnTo>
                <a:lnTo>
                  <a:pt x="2464" y="1429"/>
                </a:lnTo>
                <a:lnTo>
                  <a:pt x="2463" y="1428"/>
                </a:lnTo>
                <a:lnTo>
                  <a:pt x="2461" y="1425"/>
                </a:lnTo>
                <a:lnTo>
                  <a:pt x="2460" y="1423"/>
                </a:lnTo>
                <a:lnTo>
                  <a:pt x="2460" y="1420"/>
                </a:lnTo>
                <a:lnTo>
                  <a:pt x="2460" y="1418"/>
                </a:lnTo>
                <a:lnTo>
                  <a:pt x="2461" y="1416"/>
                </a:lnTo>
                <a:lnTo>
                  <a:pt x="2462" y="1414"/>
                </a:lnTo>
                <a:lnTo>
                  <a:pt x="2463" y="1412"/>
                </a:lnTo>
                <a:lnTo>
                  <a:pt x="2464" y="1411"/>
                </a:lnTo>
                <a:lnTo>
                  <a:pt x="2465" y="1410"/>
                </a:lnTo>
                <a:lnTo>
                  <a:pt x="2467" y="1409"/>
                </a:lnTo>
                <a:lnTo>
                  <a:pt x="2470" y="1408"/>
                </a:lnTo>
                <a:lnTo>
                  <a:pt x="2472" y="1408"/>
                </a:lnTo>
                <a:close/>
                <a:moveTo>
                  <a:pt x="1371" y="1363"/>
                </a:moveTo>
                <a:lnTo>
                  <a:pt x="1374" y="1364"/>
                </a:lnTo>
                <a:lnTo>
                  <a:pt x="1377" y="1365"/>
                </a:lnTo>
                <a:lnTo>
                  <a:pt x="1379" y="1366"/>
                </a:lnTo>
                <a:lnTo>
                  <a:pt x="1380" y="1368"/>
                </a:lnTo>
                <a:lnTo>
                  <a:pt x="1382" y="1370"/>
                </a:lnTo>
                <a:lnTo>
                  <a:pt x="1382" y="1372"/>
                </a:lnTo>
                <a:lnTo>
                  <a:pt x="1383" y="1375"/>
                </a:lnTo>
                <a:lnTo>
                  <a:pt x="1383" y="1377"/>
                </a:lnTo>
                <a:lnTo>
                  <a:pt x="1381" y="1382"/>
                </a:lnTo>
                <a:lnTo>
                  <a:pt x="1379" y="1384"/>
                </a:lnTo>
                <a:lnTo>
                  <a:pt x="1376" y="1386"/>
                </a:lnTo>
                <a:lnTo>
                  <a:pt x="1374" y="1387"/>
                </a:lnTo>
                <a:lnTo>
                  <a:pt x="1371" y="1388"/>
                </a:lnTo>
                <a:lnTo>
                  <a:pt x="1367" y="1387"/>
                </a:lnTo>
                <a:lnTo>
                  <a:pt x="1364" y="1386"/>
                </a:lnTo>
                <a:lnTo>
                  <a:pt x="1362" y="1384"/>
                </a:lnTo>
                <a:lnTo>
                  <a:pt x="1361" y="1383"/>
                </a:lnTo>
                <a:lnTo>
                  <a:pt x="1360" y="1381"/>
                </a:lnTo>
                <a:lnTo>
                  <a:pt x="1359" y="1379"/>
                </a:lnTo>
                <a:lnTo>
                  <a:pt x="1358" y="1376"/>
                </a:lnTo>
                <a:lnTo>
                  <a:pt x="1359" y="1374"/>
                </a:lnTo>
                <a:lnTo>
                  <a:pt x="1360" y="1369"/>
                </a:lnTo>
                <a:lnTo>
                  <a:pt x="1362" y="1367"/>
                </a:lnTo>
                <a:lnTo>
                  <a:pt x="1365" y="1365"/>
                </a:lnTo>
                <a:lnTo>
                  <a:pt x="1368" y="1364"/>
                </a:lnTo>
                <a:lnTo>
                  <a:pt x="1371" y="1363"/>
                </a:lnTo>
                <a:close/>
                <a:moveTo>
                  <a:pt x="2599" y="1340"/>
                </a:moveTo>
                <a:lnTo>
                  <a:pt x="2602" y="1341"/>
                </a:lnTo>
                <a:lnTo>
                  <a:pt x="2605" y="1342"/>
                </a:lnTo>
                <a:lnTo>
                  <a:pt x="2608" y="1344"/>
                </a:lnTo>
                <a:lnTo>
                  <a:pt x="2610" y="1346"/>
                </a:lnTo>
                <a:lnTo>
                  <a:pt x="2611" y="1351"/>
                </a:lnTo>
                <a:lnTo>
                  <a:pt x="2611" y="1353"/>
                </a:lnTo>
                <a:lnTo>
                  <a:pt x="2611" y="1356"/>
                </a:lnTo>
                <a:lnTo>
                  <a:pt x="2610" y="1358"/>
                </a:lnTo>
                <a:lnTo>
                  <a:pt x="2609" y="1360"/>
                </a:lnTo>
                <a:lnTo>
                  <a:pt x="2605" y="1363"/>
                </a:lnTo>
                <a:lnTo>
                  <a:pt x="2602" y="1364"/>
                </a:lnTo>
                <a:lnTo>
                  <a:pt x="2599" y="1365"/>
                </a:lnTo>
                <a:lnTo>
                  <a:pt x="2596" y="1364"/>
                </a:lnTo>
                <a:lnTo>
                  <a:pt x="2593" y="1363"/>
                </a:lnTo>
                <a:lnTo>
                  <a:pt x="2591" y="1361"/>
                </a:lnTo>
                <a:lnTo>
                  <a:pt x="2589" y="1359"/>
                </a:lnTo>
                <a:lnTo>
                  <a:pt x="2587" y="1354"/>
                </a:lnTo>
                <a:lnTo>
                  <a:pt x="2587" y="1352"/>
                </a:lnTo>
                <a:lnTo>
                  <a:pt x="2588" y="1350"/>
                </a:lnTo>
                <a:lnTo>
                  <a:pt x="2588" y="1347"/>
                </a:lnTo>
                <a:lnTo>
                  <a:pt x="2590" y="1345"/>
                </a:lnTo>
                <a:lnTo>
                  <a:pt x="2593" y="1342"/>
                </a:lnTo>
                <a:lnTo>
                  <a:pt x="2596" y="1341"/>
                </a:lnTo>
                <a:lnTo>
                  <a:pt x="2599" y="1340"/>
                </a:lnTo>
                <a:close/>
                <a:moveTo>
                  <a:pt x="1250" y="1284"/>
                </a:moveTo>
                <a:lnTo>
                  <a:pt x="1254" y="1285"/>
                </a:lnTo>
                <a:lnTo>
                  <a:pt x="1257" y="1287"/>
                </a:lnTo>
                <a:lnTo>
                  <a:pt x="1259" y="1288"/>
                </a:lnTo>
                <a:lnTo>
                  <a:pt x="1261" y="1290"/>
                </a:lnTo>
                <a:lnTo>
                  <a:pt x="1262" y="1292"/>
                </a:lnTo>
                <a:lnTo>
                  <a:pt x="1262" y="1295"/>
                </a:lnTo>
                <a:lnTo>
                  <a:pt x="1262" y="1297"/>
                </a:lnTo>
                <a:lnTo>
                  <a:pt x="1262" y="1299"/>
                </a:lnTo>
                <a:lnTo>
                  <a:pt x="1261" y="1302"/>
                </a:lnTo>
                <a:lnTo>
                  <a:pt x="1260" y="1304"/>
                </a:lnTo>
                <a:lnTo>
                  <a:pt x="1258" y="1306"/>
                </a:lnTo>
                <a:lnTo>
                  <a:pt x="1257" y="1307"/>
                </a:lnTo>
                <a:lnTo>
                  <a:pt x="1256" y="1307"/>
                </a:lnTo>
                <a:lnTo>
                  <a:pt x="1253" y="1308"/>
                </a:lnTo>
                <a:lnTo>
                  <a:pt x="1250" y="1309"/>
                </a:lnTo>
                <a:lnTo>
                  <a:pt x="1247" y="1308"/>
                </a:lnTo>
                <a:lnTo>
                  <a:pt x="1243" y="1306"/>
                </a:lnTo>
                <a:lnTo>
                  <a:pt x="1241" y="1305"/>
                </a:lnTo>
                <a:lnTo>
                  <a:pt x="1240" y="1303"/>
                </a:lnTo>
                <a:lnTo>
                  <a:pt x="1239" y="1301"/>
                </a:lnTo>
                <a:lnTo>
                  <a:pt x="1238" y="1299"/>
                </a:lnTo>
                <a:lnTo>
                  <a:pt x="1238" y="1296"/>
                </a:lnTo>
                <a:lnTo>
                  <a:pt x="1238" y="1294"/>
                </a:lnTo>
                <a:lnTo>
                  <a:pt x="1239" y="1292"/>
                </a:lnTo>
                <a:lnTo>
                  <a:pt x="1240" y="1289"/>
                </a:lnTo>
                <a:lnTo>
                  <a:pt x="1242" y="1287"/>
                </a:lnTo>
                <a:lnTo>
                  <a:pt x="1244" y="1286"/>
                </a:lnTo>
                <a:lnTo>
                  <a:pt x="1245" y="1286"/>
                </a:lnTo>
                <a:lnTo>
                  <a:pt x="1247" y="1285"/>
                </a:lnTo>
                <a:lnTo>
                  <a:pt x="1250" y="1284"/>
                </a:lnTo>
                <a:close/>
                <a:moveTo>
                  <a:pt x="1137" y="1196"/>
                </a:moveTo>
                <a:lnTo>
                  <a:pt x="1141" y="1196"/>
                </a:lnTo>
                <a:lnTo>
                  <a:pt x="1145" y="1199"/>
                </a:lnTo>
                <a:lnTo>
                  <a:pt x="1146" y="1200"/>
                </a:lnTo>
                <a:lnTo>
                  <a:pt x="1148" y="1202"/>
                </a:lnTo>
                <a:lnTo>
                  <a:pt x="1148" y="1205"/>
                </a:lnTo>
                <a:lnTo>
                  <a:pt x="1149" y="1207"/>
                </a:lnTo>
                <a:lnTo>
                  <a:pt x="1149" y="1209"/>
                </a:lnTo>
                <a:lnTo>
                  <a:pt x="1148" y="1212"/>
                </a:lnTo>
                <a:lnTo>
                  <a:pt x="1147" y="1214"/>
                </a:lnTo>
                <a:lnTo>
                  <a:pt x="1147" y="1215"/>
                </a:lnTo>
                <a:lnTo>
                  <a:pt x="1146" y="1216"/>
                </a:lnTo>
                <a:lnTo>
                  <a:pt x="1144" y="1218"/>
                </a:lnTo>
                <a:lnTo>
                  <a:pt x="1142" y="1219"/>
                </a:lnTo>
                <a:lnTo>
                  <a:pt x="1139" y="1220"/>
                </a:lnTo>
                <a:lnTo>
                  <a:pt x="1137" y="1220"/>
                </a:lnTo>
                <a:lnTo>
                  <a:pt x="1133" y="1219"/>
                </a:lnTo>
                <a:lnTo>
                  <a:pt x="1129" y="1217"/>
                </a:lnTo>
                <a:lnTo>
                  <a:pt x="1127" y="1215"/>
                </a:lnTo>
                <a:lnTo>
                  <a:pt x="1126" y="1213"/>
                </a:lnTo>
                <a:lnTo>
                  <a:pt x="1125" y="1211"/>
                </a:lnTo>
                <a:lnTo>
                  <a:pt x="1125" y="1209"/>
                </a:lnTo>
                <a:lnTo>
                  <a:pt x="1125" y="1207"/>
                </a:lnTo>
                <a:lnTo>
                  <a:pt x="1125" y="1204"/>
                </a:lnTo>
                <a:lnTo>
                  <a:pt x="1126" y="1202"/>
                </a:lnTo>
                <a:lnTo>
                  <a:pt x="1127" y="1201"/>
                </a:lnTo>
                <a:lnTo>
                  <a:pt x="1128" y="1200"/>
                </a:lnTo>
                <a:lnTo>
                  <a:pt x="1129" y="1198"/>
                </a:lnTo>
                <a:lnTo>
                  <a:pt x="1132" y="1197"/>
                </a:lnTo>
                <a:lnTo>
                  <a:pt x="1134" y="1196"/>
                </a:lnTo>
                <a:lnTo>
                  <a:pt x="1137" y="1196"/>
                </a:lnTo>
                <a:close/>
                <a:moveTo>
                  <a:pt x="1030" y="1099"/>
                </a:moveTo>
                <a:lnTo>
                  <a:pt x="1034" y="1100"/>
                </a:lnTo>
                <a:lnTo>
                  <a:pt x="1036" y="1101"/>
                </a:lnTo>
                <a:lnTo>
                  <a:pt x="1038" y="1103"/>
                </a:lnTo>
                <a:lnTo>
                  <a:pt x="1040" y="1105"/>
                </a:lnTo>
                <a:lnTo>
                  <a:pt x="1041" y="1107"/>
                </a:lnTo>
                <a:lnTo>
                  <a:pt x="1042" y="1109"/>
                </a:lnTo>
                <a:lnTo>
                  <a:pt x="1042" y="1111"/>
                </a:lnTo>
                <a:lnTo>
                  <a:pt x="1041" y="1116"/>
                </a:lnTo>
                <a:lnTo>
                  <a:pt x="1040" y="1118"/>
                </a:lnTo>
                <a:lnTo>
                  <a:pt x="1039" y="1120"/>
                </a:lnTo>
                <a:lnTo>
                  <a:pt x="1037" y="1121"/>
                </a:lnTo>
                <a:lnTo>
                  <a:pt x="1035" y="1123"/>
                </a:lnTo>
                <a:lnTo>
                  <a:pt x="1032" y="1123"/>
                </a:lnTo>
                <a:lnTo>
                  <a:pt x="1030" y="1124"/>
                </a:lnTo>
                <a:lnTo>
                  <a:pt x="1025" y="1123"/>
                </a:lnTo>
                <a:lnTo>
                  <a:pt x="1023" y="1122"/>
                </a:lnTo>
                <a:lnTo>
                  <a:pt x="1021" y="1120"/>
                </a:lnTo>
                <a:lnTo>
                  <a:pt x="1020" y="1118"/>
                </a:lnTo>
                <a:lnTo>
                  <a:pt x="1019" y="1116"/>
                </a:lnTo>
                <a:lnTo>
                  <a:pt x="1018" y="1114"/>
                </a:lnTo>
                <a:lnTo>
                  <a:pt x="1018" y="1112"/>
                </a:lnTo>
                <a:lnTo>
                  <a:pt x="1019" y="1107"/>
                </a:lnTo>
                <a:lnTo>
                  <a:pt x="1020" y="1105"/>
                </a:lnTo>
                <a:lnTo>
                  <a:pt x="1021" y="1103"/>
                </a:lnTo>
                <a:lnTo>
                  <a:pt x="1023" y="1101"/>
                </a:lnTo>
                <a:lnTo>
                  <a:pt x="1025" y="1100"/>
                </a:lnTo>
                <a:lnTo>
                  <a:pt x="1028" y="1100"/>
                </a:lnTo>
                <a:lnTo>
                  <a:pt x="1030" y="1099"/>
                </a:lnTo>
                <a:close/>
                <a:moveTo>
                  <a:pt x="929" y="997"/>
                </a:moveTo>
                <a:lnTo>
                  <a:pt x="931" y="997"/>
                </a:lnTo>
                <a:lnTo>
                  <a:pt x="934" y="998"/>
                </a:lnTo>
                <a:lnTo>
                  <a:pt x="936" y="999"/>
                </a:lnTo>
                <a:lnTo>
                  <a:pt x="938" y="1000"/>
                </a:lnTo>
                <a:lnTo>
                  <a:pt x="939" y="1002"/>
                </a:lnTo>
                <a:lnTo>
                  <a:pt x="940" y="1005"/>
                </a:lnTo>
                <a:lnTo>
                  <a:pt x="941" y="1009"/>
                </a:lnTo>
                <a:lnTo>
                  <a:pt x="941" y="1011"/>
                </a:lnTo>
                <a:lnTo>
                  <a:pt x="940" y="1014"/>
                </a:lnTo>
                <a:lnTo>
                  <a:pt x="939" y="1016"/>
                </a:lnTo>
                <a:lnTo>
                  <a:pt x="937" y="1018"/>
                </a:lnTo>
                <a:lnTo>
                  <a:pt x="935" y="1019"/>
                </a:lnTo>
                <a:lnTo>
                  <a:pt x="933" y="1020"/>
                </a:lnTo>
                <a:lnTo>
                  <a:pt x="929" y="1021"/>
                </a:lnTo>
                <a:lnTo>
                  <a:pt x="926" y="1021"/>
                </a:lnTo>
                <a:lnTo>
                  <a:pt x="924" y="1020"/>
                </a:lnTo>
                <a:lnTo>
                  <a:pt x="922" y="1019"/>
                </a:lnTo>
                <a:lnTo>
                  <a:pt x="920" y="1017"/>
                </a:lnTo>
                <a:lnTo>
                  <a:pt x="919" y="1015"/>
                </a:lnTo>
                <a:lnTo>
                  <a:pt x="917" y="1013"/>
                </a:lnTo>
                <a:lnTo>
                  <a:pt x="917" y="1008"/>
                </a:lnTo>
                <a:lnTo>
                  <a:pt x="917" y="1006"/>
                </a:lnTo>
                <a:lnTo>
                  <a:pt x="918" y="1004"/>
                </a:lnTo>
                <a:lnTo>
                  <a:pt x="919" y="1002"/>
                </a:lnTo>
                <a:lnTo>
                  <a:pt x="921" y="1000"/>
                </a:lnTo>
                <a:lnTo>
                  <a:pt x="923" y="998"/>
                </a:lnTo>
                <a:lnTo>
                  <a:pt x="925" y="997"/>
                </a:lnTo>
                <a:lnTo>
                  <a:pt x="929" y="997"/>
                </a:lnTo>
                <a:close/>
                <a:moveTo>
                  <a:pt x="833" y="888"/>
                </a:moveTo>
                <a:lnTo>
                  <a:pt x="836" y="888"/>
                </a:lnTo>
                <a:lnTo>
                  <a:pt x="838" y="889"/>
                </a:lnTo>
                <a:lnTo>
                  <a:pt x="841" y="890"/>
                </a:lnTo>
                <a:lnTo>
                  <a:pt x="843" y="892"/>
                </a:lnTo>
                <a:lnTo>
                  <a:pt x="844" y="894"/>
                </a:lnTo>
                <a:lnTo>
                  <a:pt x="845" y="896"/>
                </a:lnTo>
                <a:lnTo>
                  <a:pt x="845" y="899"/>
                </a:lnTo>
                <a:lnTo>
                  <a:pt x="845" y="901"/>
                </a:lnTo>
                <a:lnTo>
                  <a:pt x="845" y="903"/>
                </a:lnTo>
                <a:lnTo>
                  <a:pt x="844" y="906"/>
                </a:lnTo>
                <a:lnTo>
                  <a:pt x="843" y="908"/>
                </a:lnTo>
                <a:lnTo>
                  <a:pt x="841" y="909"/>
                </a:lnTo>
                <a:lnTo>
                  <a:pt x="837" y="912"/>
                </a:lnTo>
                <a:lnTo>
                  <a:pt x="833" y="912"/>
                </a:lnTo>
                <a:lnTo>
                  <a:pt x="831" y="912"/>
                </a:lnTo>
                <a:lnTo>
                  <a:pt x="828" y="911"/>
                </a:lnTo>
                <a:lnTo>
                  <a:pt x="826" y="910"/>
                </a:lnTo>
                <a:lnTo>
                  <a:pt x="824" y="908"/>
                </a:lnTo>
                <a:lnTo>
                  <a:pt x="823" y="906"/>
                </a:lnTo>
                <a:lnTo>
                  <a:pt x="822" y="904"/>
                </a:lnTo>
                <a:lnTo>
                  <a:pt x="821" y="901"/>
                </a:lnTo>
                <a:lnTo>
                  <a:pt x="821" y="899"/>
                </a:lnTo>
                <a:lnTo>
                  <a:pt x="822" y="897"/>
                </a:lnTo>
                <a:lnTo>
                  <a:pt x="822" y="895"/>
                </a:lnTo>
                <a:lnTo>
                  <a:pt x="824" y="893"/>
                </a:lnTo>
                <a:lnTo>
                  <a:pt x="825" y="891"/>
                </a:lnTo>
                <a:lnTo>
                  <a:pt x="829" y="889"/>
                </a:lnTo>
                <a:lnTo>
                  <a:pt x="833" y="888"/>
                </a:lnTo>
                <a:close/>
                <a:moveTo>
                  <a:pt x="742" y="776"/>
                </a:moveTo>
                <a:lnTo>
                  <a:pt x="745" y="776"/>
                </a:lnTo>
                <a:lnTo>
                  <a:pt x="747" y="777"/>
                </a:lnTo>
                <a:lnTo>
                  <a:pt x="750" y="779"/>
                </a:lnTo>
                <a:lnTo>
                  <a:pt x="752" y="781"/>
                </a:lnTo>
                <a:lnTo>
                  <a:pt x="753" y="783"/>
                </a:lnTo>
                <a:lnTo>
                  <a:pt x="754" y="785"/>
                </a:lnTo>
                <a:lnTo>
                  <a:pt x="754" y="787"/>
                </a:lnTo>
                <a:lnTo>
                  <a:pt x="754" y="790"/>
                </a:lnTo>
                <a:lnTo>
                  <a:pt x="753" y="794"/>
                </a:lnTo>
                <a:lnTo>
                  <a:pt x="752" y="796"/>
                </a:lnTo>
                <a:lnTo>
                  <a:pt x="750" y="798"/>
                </a:lnTo>
                <a:lnTo>
                  <a:pt x="746" y="800"/>
                </a:lnTo>
                <a:lnTo>
                  <a:pt x="742" y="800"/>
                </a:lnTo>
                <a:lnTo>
                  <a:pt x="740" y="800"/>
                </a:lnTo>
                <a:lnTo>
                  <a:pt x="737" y="799"/>
                </a:lnTo>
                <a:lnTo>
                  <a:pt x="735" y="798"/>
                </a:lnTo>
                <a:lnTo>
                  <a:pt x="733" y="796"/>
                </a:lnTo>
                <a:lnTo>
                  <a:pt x="731" y="794"/>
                </a:lnTo>
                <a:lnTo>
                  <a:pt x="731" y="792"/>
                </a:lnTo>
                <a:lnTo>
                  <a:pt x="730" y="789"/>
                </a:lnTo>
                <a:lnTo>
                  <a:pt x="730" y="787"/>
                </a:lnTo>
                <a:lnTo>
                  <a:pt x="732" y="782"/>
                </a:lnTo>
                <a:lnTo>
                  <a:pt x="733" y="780"/>
                </a:lnTo>
                <a:lnTo>
                  <a:pt x="735" y="779"/>
                </a:lnTo>
                <a:lnTo>
                  <a:pt x="738" y="777"/>
                </a:lnTo>
                <a:lnTo>
                  <a:pt x="742" y="776"/>
                </a:lnTo>
                <a:close/>
                <a:moveTo>
                  <a:pt x="654" y="661"/>
                </a:moveTo>
                <a:lnTo>
                  <a:pt x="657" y="662"/>
                </a:lnTo>
                <a:lnTo>
                  <a:pt x="660" y="662"/>
                </a:lnTo>
                <a:lnTo>
                  <a:pt x="662" y="664"/>
                </a:lnTo>
                <a:lnTo>
                  <a:pt x="663" y="665"/>
                </a:lnTo>
                <a:lnTo>
                  <a:pt x="664" y="666"/>
                </a:lnTo>
                <a:lnTo>
                  <a:pt x="665" y="668"/>
                </a:lnTo>
                <a:lnTo>
                  <a:pt x="666" y="671"/>
                </a:lnTo>
                <a:lnTo>
                  <a:pt x="667" y="673"/>
                </a:lnTo>
                <a:lnTo>
                  <a:pt x="666" y="675"/>
                </a:lnTo>
                <a:lnTo>
                  <a:pt x="665" y="680"/>
                </a:lnTo>
                <a:lnTo>
                  <a:pt x="663" y="682"/>
                </a:lnTo>
                <a:lnTo>
                  <a:pt x="662" y="683"/>
                </a:lnTo>
                <a:lnTo>
                  <a:pt x="658" y="685"/>
                </a:lnTo>
                <a:lnTo>
                  <a:pt x="656" y="685"/>
                </a:lnTo>
                <a:lnTo>
                  <a:pt x="654" y="686"/>
                </a:lnTo>
                <a:lnTo>
                  <a:pt x="652" y="685"/>
                </a:lnTo>
                <a:lnTo>
                  <a:pt x="649" y="684"/>
                </a:lnTo>
                <a:lnTo>
                  <a:pt x="647" y="683"/>
                </a:lnTo>
                <a:lnTo>
                  <a:pt x="646" y="682"/>
                </a:lnTo>
                <a:lnTo>
                  <a:pt x="645" y="681"/>
                </a:lnTo>
                <a:lnTo>
                  <a:pt x="643" y="678"/>
                </a:lnTo>
                <a:lnTo>
                  <a:pt x="643" y="676"/>
                </a:lnTo>
                <a:lnTo>
                  <a:pt x="642" y="674"/>
                </a:lnTo>
                <a:lnTo>
                  <a:pt x="642" y="671"/>
                </a:lnTo>
                <a:lnTo>
                  <a:pt x="644" y="667"/>
                </a:lnTo>
                <a:lnTo>
                  <a:pt x="645" y="665"/>
                </a:lnTo>
                <a:lnTo>
                  <a:pt x="647" y="664"/>
                </a:lnTo>
                <a:lnTo>
                  <a:pt x="651" y="662"/>
                </a:lnTo>
                <a:lnTo>
                  <a:pt x="653" y="661"/>
                </a:lnTo>
                <a:lnTo>
                  <a:pt x="654" y="661"/>
                </a:lnTo>
                <a:close/>
                <a:moveTo>
                  <a:pt x="571" y="544"/>
                </a:moveTo>
                <a:lnTo>
                  <a:pt x="574" y="544"/>
                </a:lnTo>
                <a:lnTo>
                  <a:pt x="577" y="545"/>
                </a:lnTo>
                <a:lnTo>
                  <a:pt x="579" y="547"/>
                </a:lnTo>
                <a:lnTo>
                  <a:pt x="581" y="549"/>
                </a:lnTo>
                <a:lnTo>
                  <a:pt x="582" y="551"/>
                </a:lnTo>
                <a:lnTo>
                  <a:pt x="583" y="553"/>
                </a:lnTo>
                <a:lnTo>
                  <a:pt x="583" y="558"/>
                </a:lnTo>
                <a:lnTo>
                  <a:pt x="583" y="560"/>
                </a:lnTo>
                <a:lnTo>
                  <a:pt x="581" y="562"/>
                </a:lnTo>
                <a:lnTo>
                  <a:pt x="580" y="564"/>
                </a:lnTo>
                <a:lnTo>
                  <a:pt x="578" y="566"/>
                </a:lnTo>
                <a:lnTo>
                  <a:pt x="575" y="567"/>
                </a:lnTo>
                <a:lnTo>
                  <a:pt x="571" y="568"/>
                </a:lnTo>
                <a:lnTo>
                  <a:pt x="568" y="568"/>
                </a:lnTo>
                <a:lnTo>
                  <a:pt x="566" y="567"/>
                </a:lnTo>
                <a:lnTo>
                  <a:pt x="563" y="565"/>
                </a:lnTo>
                <a:lnTo>
                  <a:pt x="561" y="563"/>
                </a:lnTo>
                <a:lnTo>
                  <a:pt x="560" y="560"/>
                </a:lnTo>
                <a:lnTo>
                  <a:pt x="559" y="558"/>
                </a:lnTo>
                <a:lnTo>
                  <a:pt x="559" y="554"/>
                </a:lnTo>
                <a:lnTo>
                  <a:pt x="560" y="551"/>
                </a:lnTo>
                <a:lnTo>
                  <a:pt x="561" y="549"/>
                </a:lnTo>
                <a:lnTo>
                  <a:pt x="562" y="547"/>
                </a:lnTo>
                <a:lnTo>
                  <a:pt x="564" y="546"/>
                </a:lnTo>
                <a:lnTo>
                  <a:pt x="568" y="544"/>
                </a:lnTo>
                <a:lnTo>
                  <a:pt x="571" y="544"/>
                </a:lnTo>
                <a:close/>
                <a:moveTo>
                  <a:pt x="491" y="424"/>
                </a:moveTo>
                <a:lnTo>
                  <a:pt x="494" y="424"/>
                </a:lnTo>
                <a:lnTo>
                  <a:pt x="497" y="425"/>
                </a:lnTo>
                <a:lnTo>
                  <a:pt x="499" y="427"/>
                </a:lnTo>
                <a:lnTo>
                  <a:pt x="501" y="429"/>
                </a:lnTo>
                <a:lnTo>
                  <a:pt x="503" y="432"/>
                </a:lnTo>
                <a:lnTo>
                  <a:pt x="503" y="434"/>
                </a:lnTo>
                <a:lnTo>
                  <a:pt x="503" y="438"/>
                </a:lnTo>
                <a:lnTo>
                  <a:pt x="502" y="441"/>
                </a:lnTo>
                <a:lnTo>
                  <a:pt x="501" y="443"/>
                </a:lnTo>
                <a:lnTo>
                  <a:pt x="500" y="445"/>
                </a:lnTo>
                <a:lnTo>
                  <a:pt x="498" y="446"/>
                </a:lnTo>
                <a:lnTo>
                  <a:pt x="496" y="447"/>
                </a:lnTo>
                <a:lnTo>
                  <a:pt x="495" y="448"/>
                </a:lnTo>
                <a:lnTo>
                  <a:pt x="491" y="448"/>
                </a:lnTo>
                <a:lnTo>
                  <a:pt x="488" y="448"/>
                </a:lnTo>
                <a:lnTo>
                  <a:pt x="486" y="447"/>
                </a:lnTo>
                <a:lnTo>
                  <a:pt x="483" y="445"/>
                </a:lnTo>
                <a:lnTo>
                  <a:pt x="481" y="443"/>
                </a:lnTo>
                <a:lnTo>
                  <a:pt x="480" y="440"/>
                </a:lnTo>
                <a:lnTo>
                  <a:pt x="479" y="438"/>
                </a:lnTo>
                <a:lnTo>
                  <a:pt x="479" y="433"/>
                </a:lnTo>
                <a:lnTo>
                  <a:pt x="480" y="431"/>
                </a:lnTo>
                <a:lnTo>
                  <a:pt x="481" y="429"/>
                </a:lnTo>
                <a:lnTo>
                  <a:pt x="483" y="427"/>
                </a:lnTo>
                <a:lnTo>
                  <a:pt x="485" y="426"/>
                </a:lnTo>
                <a:lnTo>
                  <a:pt x="486" y="425"/>
                </a:lnTo>
                <a:lnTo>
                  <a:pt x="488" y="424"/>
                </a:lnTo>
                <a:lnTo>
                  <a:pt x="491" y="424"/>
                </a:lnTo>
                <a:close/>
                <a:moveTo>
                  <a:pt x="414" y="302"/>
                </a:moveTo>
                <a:lnTo>
                  <a:pt x="417" y="303"/>
                </a:lnTo>
                <a:lnTo>
                  <a:pt x="420" y="304"/>
                </a:lnTo>
                <a:lnTo>
                  <a:pt x="422" y="305"/>
                </a:lnTo>
                <a:lnTo>
                  <a:pt x="424" y="308"/>
                </a:lnTo>
                <a:lnTo>
                  <a:pt x="425" y="310"/>
                </a:lnTo>
                <a:lnTo>
                  <a:pt x="426" y="312"/>
                </a:lnTo>
                <a:lnTo>
                  <a:pt x="426" y="315"/>
                </a:lnTo>
                <a:lnTo>
                  <a:pt x="426" y="317"/>
                </a:lnTo>
                <a:lnTo>
                  <a:pt x="425" y="319"/>
                </a:lnTo>
                <a:lnTo>
                  <a:pt x="424" y="321"/>
                </a:lnTo>
                <a:lnTo>
                  <a:pt x="422" y="323"/>
                </a:lnTo>
                <a:lnTo>
                  <a:pt x="420" y="325"/>
                </a:lnTo>
                <a:lnTo>
                  <a:pt x="417" y="326"/>
                </a:lnTo>
                <a:lnTo>
                  <a:pt x="414" y="327"/>
                </a:lnTo>
                <a:lnTo>
                  <a:pt x="411" y="326"/>
                </a:lnTo>
                <a:lnTo>
                  <a:pt x="408" y="325"/>
                </a:lnTo>
                <a:lnTo>
                  <a:pt x="406" y="323"/>
                </a:lnTo>
                <a:lnTo>
                  <a:pt x="404" y="321"/>
                </a:lnTo>
                <a:lnTo>
                  <a:pt x="403" y="319"/>
                </a:lnTo>
                <a:lnTo>
                  <a:pt x="402" y="316"/>
                </a:lnTo>
                <a:lnTo>
                  <a:pt x="402" y="314"/>
                </a:lnTo>
                <a:lnTo>
                  <a:pt x="402" y="312"/>
                </a:lnTo>
                <a:lnTo>
                  <a:pt x="403" y="309"/>
                </a:lnTo>
                <a:lnTo>
                  <a:pt x="404" y="307"/>
                </a:lnTo>
                <a:lnTo>
                  <a:pt x="406" y="306"/>
                </a:lnTo>
                <a:lnTo>
                  <a:pt x="407" y="304"/>
                </a:lnTo>
                <a:lnTo>
                  <a:pt x="411" y="303"/>
                </a:lnTo>
                <a:lnTo>
                  <a:pt x="414" y="302"/>
                </a:lnTo>
                <a:close/>
                <a:moveTo>
                  <a:pt x="339" y="179"/>
                </a:moveTo>
                <a:lnTo>
                  <a:pt x="342" y="180"/>
                </a:lnTo>
                <a:lnTo>
                  <a:pt x="345" y="181"/>
                </a:lnTo>
                <a:lnTo>
                  <a:pt x="347" y="183"/>
                </a:lnTo>
                <a:lnTo>
                  <a:pt x="349" y="185"/>
                </a:lnTo>
                <a:lnTo>
                  <a:pt x="350" y="187"/>
                </a:lnTo>
                <a:lnTo>
                  <a:pt x="351" y="190"/>
                </a:lnTo>
                <a:lnTo>
                  <a:pt x="351" y="192"/>
                </a:lnTo>
                <a:lnTo>
                  <a:pt x="351" y="194"/>
                </a:lnTo>
                <a:lnTo>
                  <a:pt x="350" y="197"/>
                </a:lnTo>
                <a:lnTo>
                  <a:pt x="349" y="199"/>
                </a:lnTo>
                <a:lnTo>
                  <a:pt x="347" y="200"/>
                </a:lnTo>
                <a:lnTo>
                  <a:pt x="345" y="202"/>
                </a:lnTo>
                <a:lnTo>
                  <a:pt x="342" y="203"/>
                </a:lnTo>
                <a:lnTo>
                  <a:pt x="339" y="204"/>
                </a:lnTo>
                <a:lnTo>
                  <a:pt x="336" y="203"/>
                </a:lnTo>
                <a:lnTo>
                  <a:pt x="333" y="202"/>
                </a:lnTo>
                <a:lnTo>
                  <a:pt x="330" y="200"/>
                </a:lnTo>
                <a:lnTo>
                  <a:pt x="328" y="198"/>
                </a:lnTo>
                <a:lnTo>
                  <a:pt x="327" y="195"/>
                </a:lnTo>
                <a:lnTo>
                  <a:pt x="327" y="193"/>
                </a:lnTo>
                <a:lnTo>
                  <a:pt x="327" y="191"/>
                </a:lnTo>
                <a:lnTo>
                  <a:pt x="327" y="188"/>
                </a:lnTo>
                <a:lnTo>
                  <a:pt x="328" y="186"/>
                </a:lnTo>
                <a:lnTo>
                  <a:pt x="329" y="184"/>
                </a:lnTo>
                <a:lnTo>
                  <a:pt x="331" y="182"/>
                </a:lnTo>
                <a:lnTo>
                  <a:pt x="333" y="181"/>
                </a:lnTo>
                <a:lnTo>
                  <a:pt x="336" y="180"/>
                </a:lnTo>
                <a:lnTo>
                  <a:pt x="339" y="179"/>
                </a:lnTo>
                <a:close/>
                <a:moveTo>
                  <a:pt x="266" y="55"/>
                </a:moveTo>
                <a:lnTo>
                  <a:pt x="269" y="56"/>
                </a:lnTo>
                <a:lnTo>
                  <a:pt x="272" y="57"/>
                </a:lnTo>
                <a:lnTo>
                  <a:pt x="274" y="59"/>
                </a:lnTo>
                <a:lnTo>
                  <a:pt x="276" y="61"/>
                </a:lnTo>
                <a:lnTo>
                  <a:pt x="278" y="66"/>
                </a:lnTo>
                <a:lnTo>
                  <a:pt x="278" y="68"/>
                </a:lnTo>
                <a:lnTo>
                  <a:pt x="277" y="70"/>
                </a:lnTo>
                <a:lnTo>
                  <a:pt x="277" y="73"/>
                </a:lnTo>
                <a:lnTo>
                  <a:pt x="275" y="75"/>
                </a:lnTo>
                <a:lnTo>
                  <a:pt x="272" y="78"/>
                </a:lnTo>
                <a:lnTo>
                  <a:pt x="269" y="79"/>
                </a:lnTo>
                <a:lnTo>
                  <a:pt x="266" y="79"/>
                </a:lnTo>
                <a:lnTo>
                  <a:pt x="263" y="79"/>
                </a:lnTo>
                <a:lnTo>
                  <a:pt x="260" y="78"/>
                </a:lnTo>
                <a:lnTo>
                  <a:pt x="257" y="76"/>
                </a:lnTo>
                <a:lnTo>
                  <a:pt x="255" y="73"/>
                </a:lnTo>
                <a:lnTo>
                  <a:pt x="254" y="69"/>
                </a:lnTo>
                <a:lnTo>
                  <a:pt x="254" y="66"/>
                </a:lnTo>
                <a:lnTo>
                  <a:pt x="254" y="64"/>
                </a:lnTo>
                <a:lnTo>
                  <a:pt x="255" y="62"/>
                </a:lnTo>
                <a:lnTo>
                  <a:pt x="256" y="60"/>
                </a:lnTo>
                <a:lnTo>
                  <a:pt x="260" y="57"/>
                </a:lnTo>
                <a:lnTo>
                  <a:pt x="263" y="56"/>
                </a:lnTo>
                <a:lnTo>
                  <a:pt x="266" y="55"/>
                </a:lnTo>
                <a:close/>
                <a:moveTo>
                  <a:pt x="1957" y="1969"/>
                </a:moveTo>
                <a:lnTo>
                  <a:pt x="1959" y="1969"/>
                </a:lnTo>
                <a:lnTo>
                  <a:pt x="1962" y="1970"/>
                </a:lnTo>
                <a:lnTo>
                  <a:pt x="1964" y="1971"/>
                </a:lnTo>
                <a:lnTo>
                  <a:pt x="1965" y="1973"/>
                </a:lnTo>
                <a:lnTo>
                  <a:pt x="1967" y="1974"/>
                </a:lnTo>
                <a:lnTo>
                  <a:pt x="1968" y="1976"/>
                </a:lnTo>
                <a:lnTo>
                  <a:pt x="1969" y="1978"/>
                </a:lnTo>
                <a:lnTo>
                  <a:pt x="1969" y="1981"/>
                </a:lnTo>
                <a:lnTo>
                  <a:pt x="1969" y="1983"/>
                </a:lnTo>
                <a:lnTo>
                  <a:pt x="1968" y="1986"/>
                </a:lnTo>
                <a:lnTo>
                  <a:pt x="1967" y="1988"/>
                </a:lnTo>
                <a:lnTo>
                  <a:pt x="1966" y="1989"/>
                </a:lnTo>
                <a:lnTo>
                  <a:pt x="1962" y="1992"/>
                </a:lnTo>
                <a:lnTo>
                  <a:pt x="1960" y="1993"/>
                </a:lnTo>
                <a:lnTo>
                  <a:pt x="1957" y="1993"/>
                </a:lnTo>
                <a:lnTo>
                  <a:pt x="1955" y="1993"/>
                </a:lnTo>
                <a:lnTo>
                  <a:pt x="1953" y="1992"/>
                </a:lnTo>
                <a:lnTo>
                  <a:pt x="1951" y="1991"/>
                </a:lnTo>
                <a:lnTo>
                  <a:pt x="1949" y="1990"/>
                </a:lnTo>
                <a:lnTo>
                  <a:pt x="1947" y="1988"/>
                </a:lnTo>
                <a:lnTo>
                  <a:pt x="1946" y="1986"/>
                </a:lnTo>
                <a:lnTo>
                  <a:pt x="1945" y="1984"/>
                </a:lnTo>
                <a:lnTo>
                  <a:pt x="1945" y="1981"/>
                </a:lnTo>
                <a:lnTo>
                  <a:pt x="1945" y="1979"/>
                </a:lnTo>
                <a:lnTo>
                  <a:pt x="1946" y="1977"/>
                </a:lnTo>
                <a:lnTo>
                  <a:pt x="1947" y="1975"/>
                </a:lnTo>
                <a:lnTo>
                  <a:pt x="1948" y="1973"/>
                </a:lnTo>
                <a:lnTo>
                  <a:pt x="1952" y="1970"/>
                </a:lnTo>
                <a:lnTo>
                  <a:pt x="1954" y="1969"/>
                </a:lnTo>
                <a:lnTo>
                  <a:pt x="1957" y="1969"/>
                </a:lnTo>
                <a:close/>
                <a:moveTo>
                  <a:pt x="1814" y="1962"/>
                </a:moveTo>
                <a:lnTo>
                  <a:pt x="1815" y="1962"/>
                </a:lnTo>
                <a:lnTo>
                  <a:pt x="1817" y="1963"/>
                </a:lnTo>
                <a:lnTo>
                  <a:pt x="1820" y="1964"/>
                </a:lnTo>
                <a:lnTo>
                  <a:pt x="1821" y="1965"/>
                </a:lnTo>
                <a:lnTo>
                  <a:pt x="1823" y="1967"/>
                </a:lnTo>
                <a:lnTo>
                  <a:pt x="1824" y="1968"/>
                </a:lnTo>
                <a:lnTo>
                  <a:pt x="1825" y="1971"/>
                </a:lnTo>
                <a:lnTo>
                  <a:pt x="1826" y="1973"/>
                </a:lnTo>
                <a:lnTo>
                  <a:pt x="1826" y="1975"/>
                </a:lnTo>
                <a:lnTo>
                  <a:pt x="1824" y="1980"/>
                </a:lnTo>
                <a:lnTo>
                  <a:pt x="1823" y="1981"/>
                </a:lnTo>
                <a:lnTo>
                  <a:pt x="1822" y="1983"/>
                </a:lnTo>
                <a:lnTo>
                  <a:pt x="1820" y="1984"/>
                </a:lnTo>
                <a:lnTo>
                  <a:pt x="1818" y="1985"/>
                </a:lnTo>
                <a:lnTo>
                  <a:pt x="1814" y="1986"/>
                </a:lnTo>
                <a:lnTo>
                  <a:pt x="1812" y="1986"/>
                </a:lnTo>
                <a:lnTo>
                  <a:pt x="1810" y="1985"/>
                </a:lnTo>
                <a:lnTo>
                  <a:pt x="1808" y="1984"/>
                </a:lnTo>
                <a:lnTo>
                  <a:pt x="1806" y="1983"/>
                </a:lnTo>
                <a:lnTo>
                  <a:pt x="1804" y="1981"/>
                </a:lnTo>
                <a:lnTo>
                  <a:pt x="1803" y="1979"/>
                </a:lnTo>
                <a:lnTo>
                  <a:pt x="1802" y="1977"/>
                </a:lnTo>
                <a:lnTo>
                  <a:pt x="1802" y="1975"/>
                </a:lnTo>
                <a:lnTo>
                  <a:pt x="1802" y="1972"/>
                </a:lnTo>
                <a:lnTo>
                  <a:pt x="1803" y="1968"/>
                </a:lnTo>
                <a:lnTo>
                  <a:pt x="1804" y="1966"/>
                </a:lnTo>
                <a:lnTo>
                  <a:pt x="1806" y="1965"/>
                </a:lnTo>
                <a:lnTo>
                  <a:pt x="1807" y="1964"/>
                </a:lnTo>
                <a:lnTo>
                  <a:pt x="1809" y="1963"/>
                </a:lnTo>
                <a:lnTo>
                  <a:pt x="1814" y="1962"/>
                </a:lnTo>
                <a:close/>
                <a:moveTo>
                  <a:pt x="2101" y="1956"/>
                </a:moveTo>
                <a:lnTo>
                  <a:pt x="2106" y="1957"/>
                </a:lnTo>
                <a:lnTo>
                  <a:pt x="2109" y="1959"/>
                </a:lnTo>
                <a:lnTo>
                  <a:pt x="2112" y="1962"/>
                </a:lnTo>
                <a:lnTo>
                  <a:pt x="2113" y="1964"/>
                </a:lnTo>
                <a:lnTo>
                  <a:pt x="2113" y="1966"/>
                </a:lnTo>
                <a:lnTo>
                  <a:pt x="2113" y="1968"/>
                </a:lnTo>
                <a:lnTo>
                  <a:pt x="2113" y="1971"/>
                </a:lnTo>
                <a:lnTo>
                  <a:pt x="2112" y="1973"/>
                </a:lnTo>
                <a:lnTo>
                  <a:pt x="2111" y="1975"/>
                </a:lnTo>
                <a:lnTo>
                  <a:pt x="2108" y="1978"/>
                </a:lnTo>
                <a:lnTo>
                  <a:pt x="2106" y="1979"/>
                </a:lnTo>
                <a:lnTo>
                  <a:pt x="2103" y="1980"/>
                </a:lnTo>
                <a:lnTo>
                  <a:pt x="2101" y="1980"/>
                </a:lnTo>
                <a:lnTo>
                  <a:pt x="2097" y="1979"/>
                </a:lnTo>
                <a:lnTo>
                  <a:pt x="2094" y="1977"/>
                </a:lnTo>
                <a:lnTo>
                  <a:pt x="2091" y="1974"/>
                </a:lnTo>
                <a:lnTo>
                  <a:pt x="2090" y="1972"/>
                </a:lnTo>
                <a:lnTo>
                  <a:pt x="2090" y="1970"/>
                </a:lnTo>
                <a:lnTo>
                  <a:pt x="2089" y="1967"/>
                </a:lnTo>
                <a:lnTo>
                  <a:pt x="2090" y="1965"/>
                </a:lnTo>
                <a:lnTo>
                  <a:pt x="2091" y="1963"/>
                </a:lnTo>
                <a:lnTo>
                  <a:pt x="2092" y="1961"/>
                </a:lnTo>
                <a:lnTo>
                  <a:pt x="2095" y="1958"/>
                </a:lnTo>
                <a:lnTo>
                  <a:pt x="2097" y="1957"/>
                </a:lnTo>
                <a:lnTo>
                  <a:pt x="2099" y="1956"/>
                </a:lnTo>
                <a:lnTo>
                  <a:pt x="2101" y="1956"/>
                </a:lnTo>
                <a:close/>
                <a:moveTo>
                  <a:pt x="1673" y="1934"/>
                </a:moveTo>
                <a:lnTo>
                  <a:pt x="1676" y="1934"/>
                </a:lnTo>
                <a:lnTo>
                  <a:pt x="1678" y="1935"/>
                </a:lnTo>
                <a:lnTo>
                  <a:pt x="1680" y="1937"/>
                </a:lnTo>
                <a:lnTo>
                  <a:pt x="1682" y="1938"/>
                </a:lnTo>
                <a:lnTo>
                  <a:pt x="1683" y="1940"/>
                </a:lnTo>
                <a:lnTo>
                  <a:pt x="1684" y="1942"/>
                </a:lnTo>
                <a:lnTo>
                  <a:pt x="1685" y="1944"/>
                </a:lnTo>
                <a:lnTo>
                  <a:pt x="1685" y="1947"/>
                </a:lnTo>
                <a:lnTo>
                  <a:pt x="1684" y="1949"/>
                </a:lnTo>
                <a:lnTo>
                  <a:pt x="1684" y="1951"/>
                </a:lnTo>
                <a:lnTo>
                  <a:pt x="1683" y="1953"/>
                </a:lnTo>
                <a:lnTo>
                  <a:pt x="1680" y="1956"/>
                </a:lnTo>
                <a:lnTo>
                  <a:pt x="1678" y="1957"/>
                </a:lnTo>
                <a:lnTo>
                  <a:pt x="1676" y="1957"/>
                </a:lnTo>
                <a:lnTo>
                  <a:pt x="1673" y="1958"/>
                </a:lnTo>
                <a:lnTo>
                  <a:pt x="1669" y="1958"/>
                </a:lnTo>
                <a:lnTo>
                  <a:pt x="1667" y="1957"/>
                </a:lnTo>
                <a:lnTo>
                  <a:pt x="1665" y="1956"/>
                </a:lnTo>
                <a:lnTo>
                  <a:pt x="1664" y="1954"/>
                </a:lnTo>
                <a:lnTo>
                  <a:pt x="1662" y="1952"/>
                </a:lnTo>
                <a:lnTo>
                  <a:pt x="1661" y="1950"/>
                </a:lnTo>
                <a:lnTo>
                  <a:pt x="1661" y="1948"/>
                </a:lnTo>
                <a:lnTo>
                  <a:pt x="1661" y="1945"/>
                </a:lnTo>
                <a:lnTo>
                  <a:pt x="1661" y="1943"/>
                </a:lnTo>
                <a:lnTo>
                  <a:pt x="1662" y="1941"/>
                </a:lnTo>
                <a:lnTo>
                  <a:pt x="1663" y="1939"/>
                </a:lnTo>
                <a:lnTo>
                  <a:pt x="1665" y="1936"/>
                </a:lnTo>
                <a:lnTo>
                  <a:pt x="1667" y="1935"/>
                </a:lnTo>
                <a:lnTo>
                  <a:pt x="1669" y="1935"/>
                </a:lnTo>
                <a:lnTo>
                  <a:pt x="1673" y="1934"/>
                </a:lnTo>
                <a:close/>
                <a:moveTo>
                  <a:pt x="2242" y="1924"/>
                </a:moveTo>
                <a:lnTo>
                  <a:pt x="2245" y="1925"/>
                </a:lnTo>
                <a:lnTo>
                  <a:pt x="2249" y="1926"/>
                </a:lnTo>
                <a:lnTo>
                  <a:pt x="2252" y="1929"/>
                </a:lnTo>
                <a:lnTo>
                  <a:pt x="2253" y="1933"/>
                </a:lnTo>
                <a:lnTo>
                  <a:pt x="2254" y="1935"/>
                </a:lnTo>
                <a:lnTo>
                  <a:pt x="2254" y="1937"/>
                </a:lnTo>
                <a:lnTo>
                  <a:pt x="2252" y="1942"/>
                </a:lnTo>
                <a:lnTo>
                  <a:pt x="2251" y="1944"/>
                </a:lnTo>
                <a:lnTo>
                  <a:pt x="2249" y="1945"/>
                </a:lnTo>
                <a:lnTo>
                  <a:pt x="2247" y="1947"/>
                </a:lnTo>
                <a:lnTo>
                  <a:pt x="2245" y="1947"/>
                </a:lnTo>
                <a:lnTo>
                  <a:pt x="2242" y="1948"/>
                </a:lnTo>
                <a:lnTo>
                  <a:pt x="2238" y="1947"/>
                </a:lnTo>
                <a:lnTo>
                  <a:pt x="2235" y="1946"/>
                </a:lnTo>
                <a:lnTo>
                  <a:pt x="2232" y="1943"/>
                </a:lnTo>
                <a:lnTo>
                  <a:pt x="2230" y="1939"/>
                </a:lnTo>
                <a:lnTo>
                  <a:pt x="2230" y="1937"/>
                </a:lnTo>
                <a:lnTo>
                  <a:pt x="2230" y="1935"/>
                </a:lnTo>
                <a:lnTo>
                  <a:pt x="2231" y="1930"/>
                </a:lnTo>
                <a:lnTo>
                  <a:pt x="2232" y="1928"/>
                </a:lnTo>
                <a:lnTo>
                  <a:pt x="2234" y="1927"/>
                </a:lnTo>
                <a:lnTo>
                  <a:pt x="2236" y="1925"/>
                </a:lnTo>
                <a:lnTo>
                  <a:pt x="2238" y="1924"/>
                </a:lnTo>
                <a:lnTo>
                  <a:pt x="2242" y="1924"/>
                </a:lnTo>
                <a:close/>
                <a:moveTo>
                  <a:pt x="1537" y="1887"/>
                </a:moveTo>
                <a:lnTo>
                  <a:pt x="1539" y="1887"/>
                </a:lnTo>
                <a:lnTo>
                  <a:pt x="1542" y="1888"/>
                </a:lnTo>
                <a:lnTo>
                  <a:pt x="1544" y="1889"/>
                </a:lnTo>
                <a:lnTo>
                  <a:pt x="1545" y="1891"/>
                </a:lnTo>
                <a:lnTo>
                  <a:pt x="1548" y="1894"/>
                </a:lnTo>
                <a:lnTo>
                  <a:pt x="1549" y="1897"/>
                </a:lnTo>
                <a:lnTo>
                  <a:pt x="1549" y="1899"/>
                </a:lnTo>
                <a:lnTo>
                  <a:pt x="1549" y="1901"/>
                </a:lnTo>
                <a:lnTo>
                  <a:pt x="1548" y="1904"/>
                </a:lnTo>
                <a:lnTo>
                  <a:pt x="1547" y="1905"/>
                </a:lnTo>
                <a:lnTo>
                  <a:pt x="1546" y="1907"/>
                </a:lnTo>
                <a:lnTo>
                  <a:pt x="1543" y="1909"/>
                </a:lnTo>
                <a:lnTo>
                  <a:pt x="1540" y="1910"/>
                </a:lnTo>
                <a:lnTo>
                  <a:pt x="1537" y="1911"/>
                </a:lnTo>
                <a:lnTo>
                  <a:pt x="1535" y="1911"/>
                </a:lnTo>
                <a:lnTo>
                  <a:pt x="1532" y="1910"/>
                </a:lnTo>
                <a:lnTo>
                  <a:pt x="1530" y="1909"/>
                </a:lnTo>
                <a:lnTo>
                  <a:pt x="1528" y="1907"/>
                </a:lnTo>
                <a:lnTo>
                  <a:pt x="1526" y="1903"/>
                </a:lnTo>
                <a:lnTo>
                  <a:pt x="1525" y="1901"/>
                </a:lnTo>
                <a:lnTo>
                  <a:pt x="1525" y="1899"/>
                </a:lnTo>
                <a:lnTo>
                  <a:pt x="1525" y="1897"/>
                </a:lnTo>
                <a:lnTo>
                  <a:pt x="1526" y="1894"/>
                </a:lnTo>
                <a:lnTo>
                  <a:pt x="1527" y="1893"/>
                </a:lnTo>
                <a:lnTo>
                  <a:pt x="1528" y="1891"/>
                </a:lnTo>
                <a:lnTo>
                  <a:pt x="1530" y="1889"/>
                </a:lnTo>
                <a:lnTo>
                  <a:pt x="1533" y="1887"/>
                </a:lnTo>
                <a:lnTo>
                  <a:pt x="1537" y="1887"/>
                </a:lnTo>
                <a:close/>
                <a:moveTo>
                  <a:pt x="2377" y="1876"/>
                </a:moveTo>
                <a:lnTo>
                  <a:pt x="2381" y="1877"/>
                </a:lnTo>
                <a:lnTo>
                  <a:pt x="2384" y="1878"/>
                </a:lnTo>
                <a:lnTo>
                  <a:pt x="2387" y="1880"/>
                </a:lnTo>
                <a:lnTo>
                  <a:pt x="2388" y="1883"/>
                </a:lnTo>
                <a:lnTo>
                  <a:pt x="2389" y="1886"/>
                </a:lnTo>
                <a:lnTo>
                  <a:pt x="2389" y="1888"/>
                </a:lnTo>
                <a:lnTo>
                  <a:pt x="2389" y="1890"/>
                </a:lnTo>
                <a:lnTo>
                  <a:pt x="2388" y="1893"/>
                </a:lnTo>
                <a:lnTo>
                  <a:pt x="2387" y="1895"/>
                </a:lnTo>
                <a:lnTo>
                  <a:pt x="2386" y="1896"/>
                </a:lnTo>
                <a:lnTo>
                  <a:pt x="2382" y="1899"/>
                </a:lnTo>
                <a:lnTo>
                  <a:pt x="2380" y="1900"/>
                </a:lnTo>
                <a:lnTo>
                  <a:pt x="2377" y="1900"/>
                </a:lnTo>
                <a:lnTo>
                  <a:pt x="2374" y="1899"/>
                </a:lnTo>
                <a:lnTo>
                  <a:pt x="2371" y="1898"/>
                </a:lnTo>
                <a:lnTo>
                  <a:pt x="2368" y="1896"/>
                </a:lnTo>
                <a:lnTo>
                  <a:pt x="2366" y="1893"/>
                </a:lnTo>
                <a:lnTo>
                  <a:pt x="2366" y="1890"/>
                </a:lnTo>
                <a:lnTo>
                  <a:pt x="2365" y="1888"/>
                </a:lnTo>
                <a:lnTo>
                  <a:pt x="2366" y="1886"/>
                </a:lnTo>
                <a:lnTo>
                  <a:pt x="2366" y="1883"/>
                </a:lnTo>
                <a:lnTo>
                  <a:pt x="2367" y="1881"/>
                </a:lnTo>
                <a:lnTo>
                  <a:pt x="2369" y="1880"/>
                </a:lnTo>
                <a:lnTo>
                  <a:pt x="2373" y="1877"/>
                </a:lnTo>
                <a:lnTo>
                  <a:pt x="2375" y="1876"/>
                </a:lnTo>
                <a:lnTo>
                  <a:pt x="2377" y="1876"/>
                </a:lnTo>
                <a:close/>
                <a:moveTo>
                  <a:pt x="1408" y="1823"/>
                </a:moveTo>
                <a:lnTo>
                  <a:pt x="1411" y="1824"/>
                </a:lnTo>
                <a:lnTo>
                  <a:pt x="1414" y="1825"/>
                </a:lnTo>
                <a:lnTo>
                  <a:pt x="1416" y="1826"/>
                </a:lnTo>
                <a:lnTo>
                  <a:pt x="1417" y="1827"/>
                </a:lnTo>
                <a:lnTo>
                  <a:pt x="1417" y="1828"/>
                </a:lnTo>
                <a:lnTo>
                  <a:pt x="1419" y="1830"/>
                </a:lnTo>
                <a:lnTo>
                  <a:pt x="1419" y="1832"/>
                </a:lnTo>
                <a:lnTo>
                  <a:pt x="1420" y="1834"/>
                </a:lnTo>
                <a:lnTo>
                  <a:pt x="1420" y="1837"/>
                </a:lnTo>
                <a:lnTo>
                  <a:pt x="1418" y="1841"/>
                </a:lnTo>
                <a:lnTo>
                  <a:pt x="1416" y="1844"/>
                </a:lnTo>
                <a:lnTo>
                  <a:pt x="1414" y="1846"/>
                </a:lnTo>
                <a:lnTo>
                  <a:pt x="1411" y="1847"/>
                </a:lnTo>
                <a:lnTo>
                  <a:pt x="1408" y="1847"/>
                </a:lnTo>
                <a:lnTo>
                  <a:pt x="1405" y="1847"/>
                </a:lnTo>
                <a:lnTo>
                  <a:pt x="1402" y="1846"/>
                </a:lnTo>
                <a:lnTo>
                  <a:pt x="1400" y="1844"/>
                </a:lnTo>
                <a:lnTo>
                  <a:pt x="1399" y="1843"/>
                </a:lnTo>
                <a:lnTo>
                  <a:pt x="1398" y="1843"/>
                </a:lnTo>
                <a:lnTo>
                  <a:pt x="1397" y="1841"/>
                </a:lnTo>
                <a:lnTo>
                  <a:pt x="1396" y="1838"/>
                </a:lnTo>
                <a:lnTo>
                  <a:pt x="1396" y="1836"/>
                </a:lnTo>
                <a:lnTo>
                  <a:pt x="1396" y="1834"/>
                </a:lnTo>
                <a:lnTo>
                  <a:pt x="1397" y="1829"/>
                </a:lnTo>
                <a:lnTo>
                  <a:pt x="1399" y="1827"/>
                </a:lnTo>
                <a:lnTo>
                  <a:pt x="1402" y="1825"/>
                </a:lnTo>
                <a:lnTo>
                  <a:pt x="1405" y="1824"/>
                </a:lnTo>
                <a:lnTo>
                  <a:pt x="1408" y="1823"/>
                </a:lnTo>
                <a:close/>
                <a:moveTo>
                  <a:pt x="2508" y="1815"/>
                </a:moveTo>
                <a:lnTo>
                  <a:pt x="2511" y="1815"/>
                </a:lnTo>
                <a:lnTo>
                  <a:pt x="2514" y="1816"/>
                </a:lnTo>
                <a:lnTo>
                  <a:pt x="2516" y="1818"/>
                </a:lnTo>
                <a:lnTo>
                  <a:pt x="2518" y="1821"/>
                </a:lnTo>
                <a:lnTo>
                  <a:pt x="2519" y="1823"/>
                </a:lnTo>
                <a:lnTo>
                  <a:pt x="2520" y="1826"/>
                </a:lnTo>
                <a:lnTo>
                  <a:pt x="2520" y="1828"/>
                </a:lnTo>
                <a:lnTo>
                  <a:pt x="2519" y="1830"/>
                </a:lnTo>
                <a:lnTo>
                  <a:pt x="2518" y="1832"/>
                </a:lnTo>
                <a:lnTo>
                  <a:pt x="2517" y="1834"/>
                </a:lnTo>
                <a:lnTo>
                  <a:pt x="2515" y="1836"/>
                </a:lnTo>
                <a:lnTo>
                  <a:pt x="2513" y="1837"/>
                </a:lnTo>
                <a:lnTo>
                  <a:pt x="2510" y="1838"/>
                </a:lnTo>
                <a:lnTo>
                  <a:pt x="2508" y="1839"/>
                </a:lnTo>
                <a:lnTo>
                  <a:pt x="2504" y="1838"/>
                </a:lnTo>
                <a:lnTo>
                  <a:pt x="2502" y="1837"/>
                </a:lnTo>
                <a:lnTo>
                  <a:pt x="2499" y="1835"/>
                </a:lnTo>
                <a:lnTo>
                  <a:pt x="2497" y="1832"/>
                </a:lnTo>
                <a:lnTo>
                  <a:pt x="2496" y="1830"/>
                </a:lnTo>
                <a:lnTo>
                  <a:pt x="2496" y="1828"/>
                </a:lnTo>
                <a:lnTo>
                  <a:pt x="2496" y="1825"/>
                </a:lnTo>
                <a:lnTo>
                  <a:pt x="2496" y="1823"/>
                </a:lnTo>
                <a:lnTo>
                  <a:pt x="2497" y="1821"/>
                </a:lnTo>
                <a:lnTo>
                  <a:pt x="2498" y="1819"/>
                </a:lnTo>
                <a:lnTo>
                  <a:pt x="2500" y="1817"/>
                </a:lnTo>
                <a:lnTo>
                  <a:pt x="2502" y="1816"/>
                </a:lnTo>
                <a:lnTo>
                  <a:pt x="2505" y="1815"/>
                </a:lnTo>
                <a:lnTo>
                  <a:pt x="2508" y="1815"/>
                </a:lnTo>
                <a:close/>
                <a:moveTo>
                  <a:pt x="1287" y="1746"/>
                </a:moveTo>
                <a:lnTo>
                  <a:pt x="1290" y="1746"/>
                </a:lnTo>
                <a:lnTo>
                  <a:pt x="1292" y="1747"/>
                </a:lnTo>
                <a:lnTo>
                  <a:pt x="1294" y="1748"/>
                </a:lnTo>
                <a:lnTo>
                  <a:pt x="1295" y="1750"/>
                </a:lnTo>
                <a:lnTo>
                  <a:pt x="1297" y="1751"/>
                </a:lnTo>
                <a:lnTo>
                  <a:pt x="1298" y="1754"/>
                </a:lnTo>
                <a:lnTo>
                  <a:pt x="1298" y="1756"/>
                </a:lnTo>
                <a:lnTo>
                  <a:pt x="1298" y="1760"/>
                </a:lnTo>
                <a:lnTo>
                  <a:pt x="1298" y="1763"/>
                </a:lnTo>
                <a:lnTo>
                  <a:pt x="1296" y="1765"/>
                </a:lnTo>
                <a:lnTo>
                  <a:pt x="1294" y="1767"/>
                </a:lnTo>
                <a:lnTo>
                  <a:pt x="1293" y="1768"/>
                </a:lnTo>
                <a:lnTo>
                  <a:pt x="1292" y="1768"/>
                </a:lnTo>
                <a:lnTo>
                  <a:pt x="1289" y="1769"/>
                </a:lnTo>
                <a:lnTo>
                  <a:pt x="1287" y="1770"/>
                </a:lnTo>
                <a:lnTo>
                  <a:pt x="1283" y="1769"/>
                </a:lnTo>
                <a:lnTo>
                  <a:pt x="1281" y="1769"/>
                </a:lnTo>
                <a:lnTo>
                  <a:pt x="1280" y="1768"/>
                </a:lnTo>
                <a:lnTo>
                  <a:pt x="1278" y="1766"/>
                </a:lnTo>
                <a:lnTo>
                  <a:pt x="1276" y="1764"/>
                </a:lnTo>
                <a:lnTo>
                  <a:pt x="1275" y="1762"/>
                </a:lnTo>
                <a:lnTo>
                  <a:pt x="1275" y="1760"/>
                </a:lnTo>
                <a:lnTo>
                  <a:pt x="1275" y="1755"/>
                </a:lnTo>
                <a:lnTo>
                  <a:pt x="1276" y="1753"/>
                </a:lnTo>
                <a:lnTo>
                  <a:pt x="1277" y="1751"/>
                </a:lnTo>
                <a:lnTo>
                  <a:pt x="1279" y="1749"/>
                </a:lnTo>
                <a:lnTo>
                  <a:pt x="1280" y="1748"/>
                </a:lnTo>
                <a:lnTo>
                  <a:pt x="1281" y="1747"/>
                </a:lnTo>
                <a:lnTo>
                  <a:pt x="1284" y="1746"/>
                </a:lnTo>
                <a:lnTo>
                  <a:pt x="1287" y="1746"/>
                </a:lnTo>
                <a:close/>
                <a:moveTo>
                  <a:pt x="2632" y="1743"/>
                </a:moveTo>
                <a:lnTo>
                  <a:pt x="2635" y="1743"/>
                </a:lnTo>
                <a:lnTo>
                  <a:pt x="2638" y="1744"/>
                </a:lnTo>
                <a:lnTo>
                  <a:pt x="2640" y="1746"/>
                </a:lnTo>
                <a:lnTo>
                  <a:pt x="2642" y="1748"/>
                </a:lnTo>
                <a:lnTo>
                  <a:pt x="2644" y="1751"/>
                </a:lnTo>
                <a:lnTo>
                  <a:pt x="2644" y="1753"/>
                </a:lnTo>
                <a:lnTo>
                  <a:pt x="2644" y="1755"/>
                </a:lnTo>
                <a:lnTo>
                  <a:pt x="2644" y="1757"/>
                </a:lnTo>
                <a:lnTo>
                  <a:pt x="2643" y="1760"/>
                </a:lnTo>
                <a:lnTo>
                  <a:pt x="2642" y="1762"/>
                </a:lnTo>
                <a:lnTo>
                  <a:pt x="2641" y="1763"/>
                </a:lnTo>
                <a:lnTo>
                  <a:pt x="2639" y="1765"/>
                </a:lnTo>
                <a:lnTo>
                  <a:pt x="2636" y="1766"/>
                </a:lnTo>
                <a:lnTo>
                  <a:pt x="2632" y="1767"/>
                </a:lnTo>
                <a:lnTo>
                  <a:pt x="2629" y="1766"/>
                </a:lnTo>
                <a:lnTo>
                  <a:pt x="2627" y="1765"/>
                </a:lnTo>
                <a:lnTo>
                  <a:pt x="2624" y="1764"/>
                </a:lnTo>
                <a:lnTo>
                  <a:pt x="2622" y="1761"/>
                </a:lnTo>
                <a:lnTo>
                  <a:pt x="2621" y="1759"/>
                </a:lnTo>
                <a:lnTo>
                  <a:pt x="2620" y="1757"/>
                </a:lnTo>
                <a:lnTo>
                  <a:pt x="2620" y="1754"/>
                </a:lnTo>
                <a:lnTo>
                  <a:pt x="2621" y="1752"/>
                </a:lnTo>
                <a:lnTo>
                  <a:pt x="2621" y="1750"/>
                </a:lnTo>
                <a:lnTo>
                  <a:pt x="2622" y="1748"/>
                </a:lnTo>
                <a:lnTo>
                  <a:pt x="2624" y="1746"/>
                </a:lnTo>
                <a:lnTo>
                  <a:pt x="2626" y="1745"/>
                </a:lnTo>
                <a:lnTo>
                  <a:pt x="2629" y="1743"/>
                </a:lnTo>
                <a:lnTo>
                  <a:pt x="2632" y="1743"/>
                </a:lnTo>
                <a:close/>
                <a:moveTo>
                  <a:pt x="1173" y="1657"/>
                </a:moveTo>
                <a:lnTo>
                  <a:pt x="1177" y="1658"/>
                </a:lnTo>
                <a:lnTo>
                  <a:pt x="1181" y="1660"/>
                </a:lnTo>
                <a:lnTo>
                  <a:pt x="1182" y="1662"/>
                </a:lnTo>
                <a:lnTo>
                  <a:pt x="1184" y="1664"/>
                </a:lnTo>
                <a:lnTo>
                  <a:pt x="1185" y="1666"/>
                </a:lnTo>
                <a:lnTo>
                  <a:pt x="1185" y="1668"/>
                </a:lnTo>
                <a:lnTo>
                  <a:pt x="1185" y="1671"/>
                </a:lnTo>
                <a:lnTo>
                  <a:pt x="1184" y="1673"/>
                </a:lnTo>
                <a:lnTo>
                  <a:pt x="1184" y="1675"/>
                </a:lnTo>
                <a:lnTo>
                  <a:pt x="1182" y="1677"/>
                </a:lnTo>
                <a:lnTo>
                  <a:pt x="1180" y="1679"/>
                </a:lnTo>
                <a:lnTo>
                  <a:pt x="1178" y="1680"/>
                </a:lnTo>
                <a:lnTo>
                  <a:pt x="1176" y="1681"/>
                </a:lnTo>
                <a:lnTo>
                  <a:pt x="1173" y="1681"/>
                </a:lnTo>
                <a:lnTo>
                  <a:pt x="1169" y="1681"/>
                </a:lnTo>
                <a:lnTo>
                  <a:pt x="1165" y="1679"/>
                </a:lnTo>
                <a:lnTo>
                  <a:pt x="1164" y="1677"/>
                </a:lnTo>
                <a:lnTo>
                  <a:pt x="1162" y="1675"/>
                </a:lnTo>
                <a:lnTo>
                  <a:pt x="1161" y="1673"/>
                </a:lnTo>
                <a:lnTo>
                  <a:pt x="1161" y="1670"/>
                </a:lnTo>
                <a:lnTo>
                  <a:pt x="1161" y="1668"/>
                </a:lnTo>
                <a:lnTo>
                  <a:pt x="1162" y="1666"/>
                </a:lnTo>
                <a:lnTo>
                  <a:pt x="1162" y="1664"/>
                </a:lnTo>
                <a:lnTo>
                  <a:pt x="1164" y="1662"/>
                </a:lnTo>
                <a:lnTo>
                  <a:pt x="1166" y="1660"/>
                </a:lnTo>
                <a:lnTo>
                  <a:pt x="1168" y="1659"/>
                </a:lnTo>
                <a:lnTo>
                  <a:pt x="1170" y="1658"/>
                </a:lnTo>
                <a:lnTo>
                  <a:pt x="1173" y="1657"/>
                </a:lnTo>
                <a:close/>
                <a:moveTo>
                  <a:pt x="1066" y="1561"/>
                </a:moveTo>
                <a:lnTo>
                  <a:pt x="1071" y="1562"/>
                </a:lnTo>
                <a:lnTo>
                  <a:pt x="1073" y="1563"/>
                </a:lnTo>
                <a:lnTo>
                  <a:pt x="1075" y="1564"/>
                </a:lnTo>
                <a:lnTo>
                  <a:pt x="1076" y="1566"/>
                </a:lnTo>
                <a:lnTo>
                  <a:pt x="1077" y="1568"/>
                </a:lnTo>
                <a:lnTo>
                  <a:pt x="1078" y="1570"/>
                </a:lnTo>
                <a:lnTo>
                  <a:pt x="1078" y="1572"/>
                </a:lnTo>
                <a:lnTo>
                  <a:pt x="1078" y="1577"/>
                </a:lnTo>
                <a:lnTo>
                  <a:pt x="1077" y="1579"/>
                </a:lnTo>
                <a:lnTo>
                  <a:pt x="1075" y="1581"/>
                </a:lnTo>
                <a:lnTo>
                  <a:pt x="1073" y="1583"/>
                </a:lnTo>
                <a:lnTo>
                  <a:pt x="1071" y="1584"/>
                </a:lnTo>
                <a:lnTo>
                  <a:pt x="1069" y="1584"/>
                </a:lnTo>
                <a:lnTo>
                  <a:pt x="1066" y="1585"/>
                </a:lnTo>
                <a:lnTo>
                  <a:pt x="1062" y="1584"/>
                </a:lnTo>
                <a:lnTo>
                  <a:pt x="1060" y="1583"/>
                </a:lnTo>
                <a:lnTo>
                  <a:pt x="1058" y="1581"/>
                </a:lnTo>
                <a:lnTo>
                  <a:pt x="1056" y="1579"/>
                </a:lnTo>
                <a:lnTo>
                  <a:pt x="1055" y="1577"/>
                </a:lnTo>
                <a:lnTo>
                  <a:pt x="1055" y="1575"/>
                </a:lnTo>
                <a:lnTo>
                  <a:pt x="1054" y="1573"/>
                </a:lnTo>
                <a:lnTo>
                  <a:pt x="1055" y="1568"/>
                </a:lnTo>
                <a:lnTo>
                  <a:pt x="1056" y="1566"/>
                </a:lnTo>
                <a:lnTo>
                  <a:pt x="1058" y="1564"/>
                </a:lnTo>
                <a:lnTo>
                  <a:pt x="1060" y="1563"/>
                </a:lnTo>
                <a:lnTo>
                  <a:pt x="1062" y="1562"/>
                </a:lnTo>
                <a:lnTo>
                  <a:pt x="1064" y="1561"/>
                </a:lnTo>
                <a:lnTo>
                  <a:pt x="1066" y="1561"/>
                </a:lnTo>
                <a:close/>
                <a:moveTo>
                  <a:pt x="966" y="1457"/>
                </a:moveTo>
                <a:lnTo>
                  <a:pt x="969" y="1457"/>
                </a:lnTo>
                <a:lnTo>
                  <a:pt x="971" y="1458"/>
                </a:lnTo>
                <a:lnTo>
                  <a:pt x="973" y="1459"/>
                </a:lnTo>
                <a:lnTo>
                  <a:pt x="975" y="1461"/>
                </a:lnTo>
                <a:lnTo>
                  <a:pt x="977" y="1463"/>
                </a:lnTo>
                <a:lnTo>
                  <a:pt x="978" y="1465"/>
                </a:lnTo>
                <a:lnTo>
                  <a:pt x="978" y="1470"/>
                </a:lnTo>
                <a:lnTo>
                  <a:pt x="978" y="1472"/>
                </a:lnTo>
                <a:lnTo>
                  <a:pt x="977" y="1474"/>
                </a:lnTo>
                <a:lnTo>
                  <a:pt x="976" y="1476"/>
                </a:lnTo>
                <a:lnTo>
                  <a:pt x="974" y="1478"/>
                </a:lnTo>
                <a:lnTo>
                  <a:pt x="970" y="1480"/>
                </a:lnTo>
                <a:lnTo>
                  <a:pt x="966" y="1481"/>
                </a:lnTo>
                <a:lnTo>
                  <a:pt x="964" y="1481"/>
                </a:lnTo>
                <a:lnTo>
                  <a:pt x="961" y="1480"/>
                </a:lnTo>
                <a:lnTo>
                  <a:pt x="959" y="1479"/>
                </a:lnTo>
                <a:lnTo>
                  <a:pt x="957" y="1477"/>
                </a:lnTo>
                <a:lnTo>
                  <a:pt x="956" y="1475"/>
                </a:lnTo>
                <a:lnTo>
                  <a:pt x="955" y="1473"/>
                </a:lnTo>
                <a:lnTo>
                  <a:pt x="954" y="1469"/>
                </a:lnTo>
                <a:lnTo>
                  <a:pt x="955" y="1466"/>
                </a:lnTo>
                <a:lnTo>
                  <a:pt x="955" y="1464"/>
                </a:lnTo>
                <a:lnTo>
                  <a:pt x="956" y="1462"/>
                </a:lnTo>
                <a:lnTo>
                  <a:pt x="958" y="1460"/>
                </a:lnTo>
                <a:lnTo>
                  <a:pt x="962" y="1458"/>
                </a:lnTo>
                <a:lnTo>
                  <a:pt x="966" y="1457"/>
                </a:lnTo>
                <a:close/>
                <a:moveTo>
                  <a:pt x="872" y="1349"/>
                </a:moveTo>
                <a:lnTo>
                  <a:pt x="874" y="1349"/>
                </a:lnTo>
                <a:lnTo>
                  <a:pt x="877" y="1350"/>
                </a:lnTo>
                <a:lnTo>
                  <a:pt x="879" y="1351"/>
                </a:lnTo>
                <a:lnTo>
                  <a:pt x="881" y="1353"/>
                </a:lnTo>
                <a:lnTo>
                  <a:pt x="882" y="1355"/>
                </a:lnTo>
                <a:lnTo>
                  <a:pt x="883" y="1357"/>
                </a:lnTo>
                <a:lnTo>
                  <a:pt x="884" y="1359"/>
                </a:lnTo>
                <a:lnTo>
                  <a:pt x="884" y="1362"/>
                </a:lnTo>
                <a:lnTo>
                  <a:pt x="883" y="1364"/>
                </a:lnTo>
                <a:lnTo>
                  <a:pt x="882" y="1366"/>
                </a:lnTo>
                <a:lnTo>
                  <a:pt x="881" y="1368"/>
                </a:lnTo>
                <a:lnTo>
                  <a:pt x="879" y="1370"/>
                </a:lnTo>
                <a:lnTo>
                  <a:pt x="878" y="1371"/>
                </a:lnTo>
                <a:lnTo>
                  <a:pt x="876" y="1372"/>
                </a:lnTo>
                <a:lnTo>
                  <a:pt x="872" y="1373"/>
                </a:lnTo>
                <a:lnTo>
                  <a:pt x="869" y="1372"/>
                </a:lnTo>
                <a:lnTo>
                  <a:pt x="867" y="1371"/>
                </a:lnTo>
                <a:lnTo>
                  <a:pt x="864" y="1370"/>
                </a:lnTo>
                <a:lnTo>
                  <a:pt x="862" y="1368"/>
                </a:lnTo>
                <a:lnTo>
                  <a:pt x="861" y="1366"/>
                </a:lnTo>
                <a:lnTo>
                  <a:pt x="860" y="1364"/>
                </a:lnTo>
                <a:lnTo>
                  <a:pt x="860" y="1362"/>
                </a:lnTo>
                <a:lnTo>
                  <a:pt x="860" y="1359"/>
                </a:lnTo>
                <a:lnTo>
                  <a:pt x="860" y="1357"/>
                </a:lnTo>
                <a:lnTo>
                  <a:pt x="861" y="1355"/>
                </a:lnTo>
                <a:lnTo>
                  <a:pt x="862" y="1353"/>
                </a:lnTo>
                <a:lnTo>
                  <a:pt x="864" y="1351"/>
                </a:lnTo>
                <a:lnTo>
                  <a:pt x="866" y="1350"/>
                </a:lnTo>
                <a:lnTo>
                  <a:pt x="868" y="1349"/>
                </a:lnTo>
                <a:lnTo>
                  <a:pt x="872" y="1349"/>
                </a:lnTo>
                <a:close/>
                <a:moveTo>
                  <a:pt x="782" y="1236"/>
                </a:moveTo>
                <a:lnTo>
                  <a:pt x="785" y="1236"/>
                </a:lnTo>
                <a:lnTo>
                  <a:pt x="787" y="1237"/>
                </a:lnTo>
                <a:lnTo>
                  <a:pt x="790" y="1238"/>
                </a:lnTo>
                <a:lnTo>
                  <a:pt x="792" y="1241"/>
                </a:lnTo>
                <a:lnTo>
                  <a:pt x="793" y="1243"/>
                </a:lnTo>
                <a:lnTo>
                  <a:pt x="794" y="1245"/>
                </a:lnTo>
                <a:lnTo>
                  <a:pt x="794" y="1247"/>
                </a:lnTo>
                <a:lnTo>
                  <a:pt x="794" y="1249"/>
                </a:lnTo>
                <a:lnTo>
                  <a:pt x="793" y="1252"/>
                </a:lnTo>
                <a:lnTo>
                  <a:pt x="792" y="1254"/>
                </a:lnTo>
                <a:lnTo>
                  <a:pt x="791" y="1256"/>
                </a:lnTo>
                <a:lnTo>
                  <a:pt x="789" y="1257"/>
                </a:lnTo>
                <a:lnTo>
                  <a:pt x="788" y="1258"/>
                </a:lnTo>
                <a:lnTo>
                  <a:pt x="786" y="1259"/>
                </a:lnTo>
                <a:lnTo>
                  <a:pt x="784" y="1260"/>
                </a:lnTo>
                <a:lnTo>
                  <a:pt x="782" y="1260"/>
                </a:lnTo>
                <a:lnTo>
                  <a:pt x="779" y="1259"/>
                </a:lnTo>
                <a:lnTo>
                  <a:pt x="777" y="1259"/>
                </a:lnTo>
                <a:lnTo>
                  <a:pt x="774" y="1257"/>
                </a:lnTo>
                <a:lnTo>
                  <a:pt x="772" y="1255"/>
                </a:lnTo>
                <a:lnTo>
                  <a:pt x="771" y="1253"/>
                </a:lnTo>
                <a:lnTo>
                  <a:pt x="770" y="1251"/>
                </a:lnTo>
                <a:lnTo>
                  <a:pt x="770" y="1249"/>
                </a:lnTo>
                <a:lnTo>
                  <a:pt x="770" y="1246"/>
                </a:lnTo>
                <a:lnTo>
                  <a:pt x="771" y="1244"/>
                </a:lnTo>
                <a:lnTo>
                  <a:pt x="772" y="1242"/>
                </a:lnTo>
                <a:lnTo>
                  <a:pt x="773" y="1240"/>
                </a:lnTo>
                <a:lnTo>
                  <a:pt x="775" y="1238"/>
                </a:lnTo>
                <a:lnTo>
                  <a:pt x="776" y="1237"/>
                </a:lnTo>
                <a:lnTo>
                  <a:pt x="778" y="1236"/>
                </a:lnTo>
                <a:lnTo>
                  <a:pt x="780" y="1236"/>
                </a:lnTo>
                <a:lnTo>
                  <a:pt x="782" y="1236"/>
                </a:lnTo>
                <a:close/>
                <a:moveTo>
                  <a:pt x="697" y="1120"/>
                </a:moveTo>
                <a:lnTo>
                  <a:pt x="699" y="1120"/>
                </a:lnTo>
                <a:lnTo>
                  <a:pt x="702" y="1121"/>
                </a:lnTo>
                <a:lnTo>
                  <a:pt x="704" y="1123"/>
                </a:lnTo>
                <a:lnTo>
                  <a:pt x="705" y="1124"/>
                </a:lnTo>
                <a:lnTo>
                  <a:pt x="706" y="1125"/>
                </a:lnTo>
                <a:lnTo>
                  <a:pt x="708" y="1127"/>
                </a:lnTo>
                <a:lnTo>
                  <a:pt x="708" y="1129"/>
                </a:lnTo>
                <a:lnTo>
                  <a:pt x="708" y="1134"/>
                </a:lnTo>
                <a:lnTo>
                  <a:pt x="708" y="1136"/>
                </a:lnTo>
                <a:lnTo>
                  <a:pt x="707" y="1138"/>
                </a:lnTo>
                <a:lnTo>
                  <a:pt x="705" y="1140"/>
                </a:lnTo>
                <a:lnTo>
                  <a:pt x="704" y="1142"/>
                </a:lnTo>
                <a:lnTo>
                  <a:pt x="700" y="1143"/>
                </a:lnTo>
                <a:lnTo>
                  <a:pt x="697" y="1144"/>
                </a:lnTo>
                <a:lnTo>
                  <a:pt x="694" y="1143"/>
                </a:lnTo>
                <a:lnTo>
                  <a:pt x="691" y="1142"/>
                </a:lnTo>
                <a:lnTo>
                  <a:pt x="689" y="1141"/>
                </a:lnTo>
                <a:lnTo>
                  <a:pt x="688" y="1140"/>
                </a:lnTo>
                <a:lnTo>
                  <a:pt x="687" y="1139"/>
                </a:lnTo>
                <a:lnTo>
                  <a:pt x="686" y="1137"/>
                </a:lnTo>
                <a:lnTo>
                  <a:pt x="685" y="1134"/>
                </a:lnTo>
                <a:lnTo>
                  <a:pt x="685" y="1130"/>
                </a:lnTo>
                <a:lnTo>
                  <a:pt x="685" y="1128"/>
                </a:lnTo>
                <a:lnTo>
                  <a:pt x="686" y="1125"/>
                </a:lnTo>
                <a:lnTo>
                  <a:pt x="688" y="1124"/>
                </a:lnTo>
                <a:lnTo>
                  <a:pt x="690" y="1122"/>
                </a:lnTo>
                <a:lnTo>
                  <a:pt x="693" y="1120"/>
                </a:lnTo>
                <a:lnTo>
                  <a:pt x="697" y="1120"/>
                </a:lnTo>
                <a:close/>
                <a:moveTo>
                  <a:pt x="614" y="1001"/>
                </a:moveTo>
                <a:lnTo>
                  <a:pt x="617" y="1002"/>
                </a:lnTo>
                <a:lnTo>
                  <a:pt x="619" y="1003"/>
                </a:lnTo>
                <a:lnTo>
                  <a:pt x="622" y="1004"/>
                </a:lnTo>
                <a:lnTo>
                  <a:pt x="624" y="1007"/>
                </a:lnTo>
                <a:lnTo>
                  <a:pt x="625" y="1009"/>
                </a:lnTo>
                <a:lnTo>
                  <a:pt x="626" y="1011"/>
                </a:lnTo>
                <a:lnTo>
                  <a:pt x="626" y="1016"/>
                </a:lnTo>
                <a:lnTo>
                  <a:pt x="625" y="1018"/>
                </a:lnTo>
                <a:lnTo>
                  <a:pt x="624" y="1020"/>
                </a:lnTo>
                <a:lnTo>
                  <a:pt x="622" y="1022"/>
                </a:lnTo>
                <a:lnTo>
                  <a:pt x="620" y="1023"/>
                </a:lnTo>
                <a:lnTo>
                  <a:pt x="619" y="1024"/>
                </a:lnTo>
                <a:lnTo>
                  <a:pt x="617" y="1025"/>
                </a:lnTo>
                <a:lnTo>
                  <a:pt x="614" y="1025"/>
                </a:lnTo>
                <a:lnTo>
                  <a:pt x="611" y="1025"/>
                </a:lnTo>
                <a:lnTo>
                  <a:pt x="608" y="1024"/>
                </a:lnTo>
                <a:lnTo>
                  <a:pt x="606" y="1022"/>
                </a:lnTo>
                <a:lnTo>
                  <a:pt x="604" y="1020"/>
                </a:lnTo>
                <a:lnTo>
                  <a:pt x="603" y="1018"/>
                </a:lnTo>
                <a:lnTo>
                  <a:pt x="602" y="1015"/>
                </a:lnTo>
                <a:lnTo>
                  <a:pt x="602" y="1011"/>
                </a:lnTo>
                <a:lnTo>
                  <a:pt x="603" y="1009"/>
                </a:lnTo>
                <a:lnTo>
                  <a:pt x="604" y="1007"/>
                </a:lnTo>
                <a:lnTo>
                  <a:pt x="605" y="1005"/>
                </a:lnTo>
                <a:lnTo>
                  <a:pt x="607" y="1003"/>
                </a:lnTo>
                <a:lnTo>
                  <a:pt x="609" y="1002"/>
                </a:lnTo>
                <a:lnTo>
                  <a:pt x="610" y="1002"/>
                </a:lnTo>
                <a:lnTo>
                  <a:pt x="614" y="1001"/>
                </a:lnTo>
                <a:close/>
                <a:moveTo>
                  <a:pt x="535" y="880"/>
                </a:moveTo>
                <a:lnTo>
                  <a:pt x="538" y="880"/>
                </a:lnTo>
                <a:lnTo>
                  <a:pt x="541" y="881"/>
                </a:lnTo>
                <a:lnTo>
                  <a:pt x="543" y="883"/>
                </a:lnTo>
                <a:lnTo>
                  <a:pt x="545" y="885"/>
                </a:lnTo>
                <a:lnTo>
                  <a:pt x="546" y="887"/>
                </a:lnTo>
                <a:lnTo>
                  <a:pt x="547" y="890"/>
                </a:lnTo>
                <a:lnTo>
                  <a:pt x="547" y="894"/>
                </a:lnTo>
                <a:lnTo>
                  <a:pt x="546" y="896"/>
                </a:lnTo>
                <a:lnTo>
                  <a:pt x="545" y="898"/>
                </a:lnTo>
                <a:lnTo>
                  <a:pt x="543" y="900"/>
                </a:lnTo>
                <a:lnTo>
                  <a:pt x="541" y="902"/>
                </a:lnTo>
                <a:lnTo>
                  <a:pt x="538" y="903"/>
                </a:lnTo>
                <a:lnTo>
                  <a:pt x="535" y="904"/>
                </a:lnTo>
                <a:lnTo>
                  <a:pt x="532" y="903"/>
                </a:lnTo>
                <a:lnTo>
                  <a:pt x="529" y="902"/>
                </a:lnTo>
                <a:lnTo>
                  <a:pt x="527" y="900"/>
                </a:lnTo>
                <a:lnTo>
                  <a:pt x="525" y="898"/>
                </a:lnTo>
                <a:lnTo>
                  <a:pt x="524" y="896"/>
                </a:lnTo>
                <a:lnTo>
                  <a:pt x="523" y="894"/>
                </a:lnTo>
                <a:lnTo>
                  <a:pt x="523" y="889"/>
                </a:lnTo>
                <a:lnTo>
                  <a:pt x="524" y="887"/>
                </a:lnTo>
                <a:lnTo>
                  <a:pt x="525" y="885"/>
                </a:lnTo>
                <a:lnTo>
                  <a:pt x="527" y="883"/>
                </a:lnTo>
                <a:lnTo>
                  <a:pt x="528" y="881"/>
                </a:lnTo>
                <a:lnTo>
                  <a:pt x="532" y="880"/>
                </a:lnTo>
                <a:lnTo>
                  <a:pt x="535" y="880"/>
                </a:lnTo>
                <a:close/>
                <a:moveTo>
                  <a:pt x="459" y="757"/>
                </a:moveTo>
                <a:lnTo>
                  <a:pt x="462" y="758"/>
                </a:lnTo>
                <a:lnTo>
                  <a:pt x="464" y="759"/>
                </a:lnTo>
                <a:lnTo>
                  <a:pt x="467" y="761"/>
                </a:lnTo>
                <a:lnTo>
                  <a:pt x="469" y="763"/>
                </a:lnTo>
                <a:lnTo>
                  <a:pt x="470" y="765"/>
                </a:lnTo>
                <a:lnTo>
                  <a:pt x="470" y="768"/>
                </a:lnTo>
                <a:lnTo>
                  <a:pt x="471" y="770"/>
                </a:lnTo>
                <a:lnTo>
                  <a:pt x="470" y="772"/>
                </a:lnTo>
                <a:lnTo>
                  <a:pt x="470" y="774"/>
                </a:lnTo>
                <a:lnTo>
                  <a:pt x="468" y="776"/>
                </a:lnTo>
                <a:lnTo>
                  <a:pt x="467" y="778"/>
                </a:lnTo>
                <a:lnTo>
                  <a:pt x="465" y="780"/>
                </a:lnTo>
                <a:lnTo>
                  <a:pt x="462" y="781"/>
                </a:lnTo>
                <a:lnTo>
                  <a:pt x="459" y="781"/>
                </a:lnTo>
                <a:lnTo>
                  <a:pt x="456" y="781"/>
                </a:lnTo>
                <a:lnTo>
                  <a:pt x="453" y="780"/>
                </a:lnTo>
                <a:lnTo>
                  <a:pt x="450" y="778"/>
                </a:lnTo>
                <a:lnTo>
                  <a:pt x="448" y="776"/>
                </a:lnTo>
                <a:lnTo>
                  <a:pt x="447" y="774"/>
                </a:lnTo>
                <a:lnTo>
                  <a:pt x="447" y="771"/>
                </a:lnTo>
                <a:lnTo>
                  <a:pt x="447" y="769"/>
                </a:lnTo>
                <a:lnTo>
                  <a:pt x="447" y="767"/>
                </a:lnTo>
                <a:lnTo>
                  <a:pt x="448" y="764"/>
                </a:lnTo>
                <a:lnTo>
                  <a:pt x="449" y="762"/>
                </a:lnTo>
                <a:lnTo>
                  <a:pt x="450" y="761"/>
                </a:lnTo>
                <a:lnTo>
                  <a:pt x="452" y="759"/>
                </a:lnTo>
                <a:lnTo>
                  <a:pt x="455" y="758"/>
                </a:lnTo>
                <a:lnTo>
                  <a:pt x="459" y="757"/>
                </a:lnTo>
                <a:close/>
                <a:moveTo>
                  <a:pt x="384" y="634"/>
                </a:moveTo>
                <a:lnTo>
                  <a:pt x="387" y="634"/>
                </a:lnTo>
                <a:lnTo>
                  <a:pt x="390" y="636"/>
                </a:lnTo>
                <a:lnTo>
                  <a:pt x="393" y="637"/>
                </a:lnTo>
                <a:lnTo>
                  <a:pt x="395" y="640"/>
                </a:lnTo>
                <a:lnTo>
                  <a:pt x="396" y="644"/>
                </a:lnTo>
                <a:lnTo>
                  <a:pt x="396" y="647"/>
                </a:lnTo>
                <a:lnTo>
                  <a:pt x="396" y="649"/>
                </a:lnTo>
                <a:lnTo>
                  <a:pt x="395" y="651"/>
                </a:lnTo>
                <a:lnTo>
                  <a:pt x="394" y="653"/>
                </a:lnTo>
                <a:lnTo>
                  <a:pt x="392" y="655"/>
                </a:lnTo>
                <a:lnTo>
                  <a:pt x="390" y="656"/>
                </a:lnTo>
                <a:lnTo>
                  <a:pt x="387" y="658"/>
                </a:lnTo>
                <a:lnTo>
                  <a:pt x="384" y="658"/>
                </a:lnTo>
                <a:lnTo>
                  <a:pt x="381" y="658"/>
                </a:lnTo>
                <a:lnTo>
                  <a:pt x="378" y="657"/>
                </a:lnTo>
                <a:lnTo>
                  <a:pt x="376" y="655"/>
                </a:lnTo>
                <a:lnTo>
                  <a:pt x="374" y="652"/>
                </a:lnTo>
                <a:lnTo>
                  <a:pt x="372" y="648"/>
                </a:lnTo>
                <a:lnTo>
                  <a:pt x="372" y="645"/>
                </a:lnTo>
                <a:lnTo>
                  <a:pt x="373" y="643"/>
                </a:lnTo>
                <a:lnTo>
                  <a:pt x="373" y="641"/>
                </a:lnTo>
                <a:lnTo>
                  <a:pt x="375" y="639"/>
                </a:lnTo>
                <a:lnTo>
                  <a:pt x="376" y="637"/>
                </a:lnTo>
                <a:lnTo>
                  <a:pt x="378" y="636"/>
                </a:lnTo>
                <a:lnTo>
                  <a:pt x="381" y="634"/>
                </a:lnTo>
                <a:lnTo>
                  <a:pt x="384" y="634"/>
                </a:lnTo>
                <a:close/>
                <a:moveTo>
                  <a:pt x="311" y="510"/>
                </a:moveTo>
                <a:lnTo>
                  <a:pt x="314" y="510"/>
                </a:lnTo>
                <a:lnTo>
                  <a:pt x="317" y="511"/>
                </a:lnTo>
                <a:lnTo>
                  <a:pt x="320" y="513"/>
                </a:lnTo>
                <a:lnTo>
                  <a:pt x="322" y="516"/>
                </a:lnTo>
                <a:lnTo>
                  <a:pt x="323" y="520"/>
                </a:lnTo>
                <a:lnTo>
                  <a:pt x="323" y="523"/>
                </a:lnTo>
                <a:lnTo>
                  <a:pt x="323" y="525"/>
                </a:lnTo>
                <a:lnTo>
                  <a:pt x="322" y="527"/>
                </a:lnTo>
                <a:lnTo>
                  <a:pt x="321" y="529"/>
                </a:lnTo>
                <a:lnTo>
                  <a:pt x="317" y="532"/>
                </a:lnTo>
                <a:lnTo>
                  <a:pt x="314" y="533"/>
                </a:lnTo>
                <a:lnTo>
                  <a:pt x="311" y="534"/>
                </a:lnTo>
                <a:lnTo>
                  <a:pt x="308" y="533"/>
                </a:lnTo>
                <a:lnTo>
                  <a:pt x="305" y="532"/>
                </a:lnTo>
                <a:lnTo>
                  <a:pt x="303" y="530"/>
                </a:lnTo>
                <a:lnTo>
                  <a:pt x="301" y="528"/>
                </a:lnTo>
                <a:lnTo>
                  <a:pt x="299" y="523"/>
                </a:lnTo>
                <a:lnTo>
                  <a:pt x="299" y="521"/>
                </a:lnTo>
                <a:lnTo>
                  <a:pt x="300" y="519"/>
                </a:lnTo>
                <a:lnTo>
                  <a:pt x="300" y="517"/>
                </a:lnTo>
                <a:lnTo>
                  <a:pt x="302" y="515"/>
                </a:lnTo>
                <a:lnTo>
                  <a:pt x="305" y="511"/>
                </a:lnTo>
                <a:lnTo>
                  <a:pt x="308" y="510"/>
                </a:lnTo>
                <a:lnTo>
                  <a:pt x="311" y="510"/>
                </a:lnTo>
                <a:close/>
                <a:moveTo>
                  <a:pt x="238" y="386"/>
                </a:moveTo>
                <a:lnTo>
                  <a:pt x="241" y="386"/>
                </a:lnTo>
                <a:lnTo>
                  <a:pt x="244" y="387"/>
                </a:lnTo>
                <a:lnTo>
                  <a:pt x="247" y="389"/>
                </a:lnTo>
                <a:lnTo>
                  <a:pt x="249" y="392"/>
                </a:lnTo>
                <a:lnTo>
                  <a:pt x="250" y="396"/>
                </a:lnTo>
                <a:lnTo>
                  <a:pt x="250" y="398"/>
                </a:lnTo>
                <a:lnTo>
                  <a:pt x="250" y="401"/>
                </a:lnTo>
                <a:lnTo>
                  <a:pt x="249" y="403"/>
                </a:lnTo>
                <a:lnTo>
                  <a:pt x="248" y="405"/>
                </a:lnTo>
                <a:lnTo>
                  <a:pt x="246" y="407"/>
                </a:lnTo>
                <a:lnTo>
                  <a:pt x="244" y="408"/>
                </a:lnTo>
                <a:lnTo>
                  <a:pt x="241" y="409"/>
                </a:lnTo>
                <a:lnTo>
                  <a:pt x="238" y="410"/>
                </a:lnTo>
                <a:lnTo>
                  <a:pt x="235" y="409"/>
                </a:lnTo>
                <a:lnTo>
                  <a:pt x="232" y="408"/>
                </a:lnTo>
                <a:lnTo>
                  <a:pt x="230" y="406"/>
                </a:lnTo>
                <a:lnTo>
                  <a:pt x="228" y="404"/>
                </a:lnTo>
                <a:lnTo>
                  <a:pt x="226" y="399"/>
                </a:lnTo>
                <a:lnTo>
                  <a:pt x="226" y="397"/>
                </a:lnTo>
                <a:lnTo>
                  <a:pt x="227" y="395"/>
                </a:lnTo>
                <a:lnTo>
                  <a:pt x="227" y="393"/>
                </a:lnTo>
                <a:lnTo>
                  <a:pt x="229" y="391"/>
                </a:lnTo>
                <a:lnTo>
                  <a:pt x="230" y="389"/>
                </a:lnTo>
                <a:lnTo>
                  <a:pt x="232" y="387"/>
                </a:lnTo>
                <a:lnTo>
                  <a:pt x="235" y="386"/>
                </a:lnTo>
                <a:lnTo>
                  <a:pt x="238" y="386"/>
                </a:lnTo>
                <a:close/>
                <a:moveTo>
                  <a:pt x="164" y="262"/>
                </a:moveTo>
                <a:lnTo>
                  <a:pt x="167" y="263"/>
                </a:lnTo>
                <a:lnTo>
                  <a:pt x="170" y="264"/>
                </a:lnTo>
                <a:lnTo>
                  <a:pt x="173" y="265"/>
                </a:lnTo>
                <a:lnTo>
                  <a:pt x="175" y="268"/>
                </a:lnTo>
                <a:lnTo>
                  <a:pt x="176" y="270"/>
                </a:lnTo>
                <a:lnTo>
                  <a:pt x="176" y="272"/>
                </a:lnTo>
                <a:lnTo>
                  <a:pt x="176" y="275"/>
                </a:lnTo>
                <a:lnTo>
                  <a:pt x="176" y="277"/>
                </a:lnTo>
                <a:lnTo>
                  <a:pt x="175" y="279"/>
                </a:lnTo>
                <a:lnTo>
                  <a:pt x="174" y="281"/>
                </a:lnTo>
                <a:lnTo>
                  <a:pt x="172" y="283"/>
                </a:lnTo>
                <a:lnTo>
                  <a:pt x="171" y="284"/>
                </a:lnTo>
                <a:lnTo>
                  <a:pt x="167" y="286"/>
                </a:lnTo>
                <a:lnTo>
                  <a:pt x="164" y="286"/>
                </a:lnTo>
                <a:lnTo>
                  <a:pt x="161" y="286"/>
                </a:lnTo>
                <a:lnTo>
                  <a:pt x="158" y="285"/>
                </a:lnTo>
                <a:lnTo>
                  <a:pt x="156" y="283"/>
                </a:lnTo>
                <a:lnTo>
                  <a:pt x="154" y="280"/>
                </a:lnTo>
                <a:lnTo>
                  <a:pt x="153" y="278"/>
                </a:lnTo>
                <a:lnTo>
                  <a:pt x="152" y="276"/>
                </a:lnTo>
                <a:lnTo>
                  <a:pt x="152" y="274"/>
                </a:lnTo>
                <a:lnTo>
                  <a:pt x="153" y="271"/>
                </a:lnTo>
                <a:lnTo>
                  <a:pt x="153" y="269"/>
                </a:lnTo>
                <a:lnTo>
                  <a:pt x="155" y="267"/>
                </a:lnTo>
                <a:lnTo>
                  <a:pt x="156" y="265"/>
                </a:lnTo>
                <a:lnTo>
                  <a:pt x="158" y="264"/>
                </a:lnTo>
                <a:lnTo>
                  <a:pt x="161" y="263"/>
                </a:lnTo>
                <a:lnTo>
                  <a:pt x="164" y="262"/>
                </a:lnTo>
                <a:close/>
                <a:moveTo>
                  <a:pt x="89" y="139"/>
                </a:moveTo>
                <a:lnTo>
                  <a:pt x="92" y="140"/>
                </a:lnTo>
                <a:lnTo>
                  <a:pt x="95" y="141"/>
                </a:lnTo>
                <a:lnTo>
                  <a:pt x="97" y="143"/>
                </a:lnTo>
                <a:lnTo>
                  <a:pt x="99" y="145"/>
                </a:lnTo>
                <a:lnTo>
                  <a:pt x="100" y="147"/>
                </a:lnTo>
                <a:lnTo>
                  <a:pt x="101" y="149"/>
                </a:lnTo>
                <a:lnTo>
                  <a:pt x="101" y="152"/>
                </a:lnTo>
                <a:lnTo>
                  <a:pt x="101" y="154"/>
                </a:lnTo>
                <a:lnTo>
                  <a:pt x="100" y="156"/>
                </a:lnTo>
                <a:lnTo>
                  <a:pt x="99" y="158"/>
                </a:lnTo>
                <a:lnTo>
                  <a:pt x="97" y="160"/>
                </a:lnTo>
                <a:lnTo>
                  <a:pt x="95" y="162"/>
                </a:lnTo>
                <a:lnTo>
                  <a:pt x="92" y="163"/>
                </a:lnTo>
                <a:lnTo>
                  <a:pt x="89" y="163"/>
                </a:lnTo>
                <a:lnTo>
                  <a:pt x="86" y="163"/>
                </a:lnTo>
                <a:lnTo>
                  <a:pt x="83" y="162"/>
                </a:lnTo>
                <a:lnTo>
                  <a:pt x="81" y="160"/>
                </a:lnTo>
                <a:lnTo>
                  <a:pt x="79" y="158"/>
                </a:lnTo>
                <a:lnTo>
                  <a:pt x="78" y="155"/>
                </a:lnTo>
                <a:lnTo>
                  <a:pt x="77" y="153"/>
                </a:lnTo>
                <a:lnTo>
                  <a:pt x="77" y="151"/>
                </a:lnTo>
                <a:lnTo>
                  <a:pt x="77" y="149"/>
                </a:lnTo>
                <a:lnTo>
                  <a:pt x="78" y="146"/>
                </a:lnTo>
                <a:lnTo>
                  <a:pt x="79" y="144"/>
                </a:lnTo>
                <a:lnTo>
                  <a:pt x="81" y="143"/>
                </a:lnTo>
                <a:lnTo>
                  <a:pt x="83" y="141"/>
                </a:lnTo>
                <a:lnTo>
                  <a:pt x="86" y="140"/>
                </a:lnTo>
                <a:lnTo>
                  <a:pt x="89" y="139"/>
                </a:lnTo>
                <a:close/>
              </a:path>
            </a:pathLst>
          </a:custGeom>
          <a:solidFill>
            <a:srgbClr val="2C495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131F34E1-4A03-4647-AD6A-109BB45589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66887" y="2636391"/>
            <a:ext cx="1224657" cy="1224657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15" name="Text Placeholder 10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439952" y="2637048"/>
            <a:ext cx="1224000" cy="1224000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16" name="Text Placeholder 10"/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040352" y="2637048"/>
            <a:ext cx="1224000" cy="1224000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2135560" y="2636912"/>
            <a:ext cx="2016224" cy="129614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3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3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3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13" name="Text Placeholder 10"/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767544" y="4940758"/>
            <a:ext cx="1224000" cy="1224000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766763" y="4220617"/>
            <a:ext cx="10658475" cy="288503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accent3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766762" y="2204393"/>
            <a:ext cx="3385021" cy="360511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3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8040216" y="2204393"/>
            <a:ext cx="3385022" cy="360511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3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4439815" y="2204393"/>
            <a:ext cx="3312369" cy="360511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3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idx="28" hasCustomPrompt="1"/>
          </p:nvPr>
        </p:nvSpPr>
        <p:spPr>
          <a:xfrm>
            <a:off x="766763" y="4509120"/>
            <a:ext cx="3385021" cy="360040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3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4439816" y="4509119"/>
            <a:ext cx="3312368" cy="360041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3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8027749" y="4509120"/>
            <a:ext cx="3397489" cy="360040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3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31" name="Text Placeholder 10"/>
          <p:cNvSpPr>
            <a:spLocks noGrp="1" noChangeAspect="1"/>
          </p:cNvSpPr>
          <p:nvPr>
            <p:ph type="body" sz="quarter" idx="31" hasCustomPrompt="1"/>
          </p:nvPr>
        </p:nvSpPr>
        <p:spPr>
          <a:xfrm>
            <a:off x="4439952" y="4940758"/>
            <a:ext cx="1224000" cy="1224000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32" name="Text Placeholder 10"/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8040216" y="4940622"/>
            <a:ext cx="1224000" cy="1224000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766763" y="4072330"/>
            <a:ext cx="10658475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17"/>
          <p:cNvSpPr>
            <a:spLocks noGrp="1"/>
          </p:cNvSpPr>
          <p:nvPr>
            <p:ph type="body" sz="quarter" idx="33"/>
          </p:nvPr>
        </p:nvSpPr>
        <p:spPr>
          <a:xfrm>
            <a:off x="5807967" y="2636912"/>
            <a:ext cx="1944217" cy="129614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3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3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3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39" name="Text Placeholder 17"/>
          <p:cNvSpPr>
            <a:spLocks noGrp="1"/>
          </p:cNvSpPr>
          <p:nvPr>
            <p:ph type="body" sz="quarter" idx="34"/>
          </p:nvPr>
        </p:nvSpPr>
        <p:spPr>
          <a:xfrm>
            <a:off x="9408889" y="2637085"/>
            <a:ext cx="2016349" cy="1295971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3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3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3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0" name="Text Placeholder 17"/>
          <p:cNvSpPr>
            <a:spLocks noGrp="1"/>
          </p:cNvSpPr>
          <p:nvPr>
            <p:ph type="body" sz="quarter" idx="35"/>
          </p:nvPr>
        </p:nvSpPr>
        <p:spPr>
          <a:xfrm>
            <a:off x="2135559" y="4940622"/>
            <a:ext cx="2016225" cy="129669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3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3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3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1" name="Text Placeholder 17"/>
          <p:cNvSpPr>
            <a:spLocks noGrp="1"/>
          </p:cNvSpPr>
          <p:nvPr>
            <p:ph type="body" sz="quarter" idx="36"/>
          </p:nvPr>
        </p:nvSpPr>
        <p:spPr>
          <a:xfrm>
            <a:off x="5807969" y="4940299"/>
            <a:ext cx="1944216" cy="1297013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3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3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3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2" name="Text Placeholder 17"/>
          <p:cNvSpPr>
            <a:spLocks noGrp="1"/>
          </p:cNvSpPr>
          <p:nvPr>
            <p:ph type="body" sz="quarter" idx="37"/>
          </p:nvPr>
        </p:nvSpPr>
        <p:spPr>
          <a:xfrm>
            <a:off x="9408369" y="4940299"/>
            <a:ext cx="2016870" cy="1297013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3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3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3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33" name="Text Placeholder 2"/>
          <p:cNvSpPr>
            <a:spLocks noGrp="1"/>
          </p:cNvSpPr>
          <p:nvPr>
            <p:ph type="body" idx="38"/>
          </p:nvPr>
        </p:nvSpPr>
        <p:spPr>
          <a:xfrm>
            <a:off x="766763" y="1916113"/>
            <a:ext cx="10658475" cy="288752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3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6" name="Freeform 35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rgbClr val="2C495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78818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ummary 2nd" preserve="1" userDrawn="1">
  <p:cSld name="slide_5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 6"/>
          <p:cNvSpPr>
            <a:spLocks noChangeAspect="1" noEditPoints="1"/>
          </p:cNvSpPr>
          <p:nvPr userDrawn="1"/>
        </p:nvSpPr>
        <p:spPr bwMode="auto">
          <a:xfrm>
            <a:off x="9624392" y="0"/>
            <a:ext cx="2567608" cy="1918008"/>
          </a:xfrm>
          <a:custGeom>
            <a:avLst/>
            <a:gdLst>
              <a:gd name="T0" fmla="*/ 2083 w 2668"/>
              <a:gd name="T1" fmla="*/ 241 h 1993"/>
              <a:gd name="T2" fmla="*/ 1920 w 2668"/>
              <a:gd name="T3" fmla="*/ 240 h 1993"/>
              <a:gd name="T4" fmla="*/ 1791 w 2668"/>
              <a:gd name="T5" fmla="*/ 201 h 1993"/>
              <a:gd name="T6" fmla="*/ 2357 w 2668"/>
              <a:gd name="T7" fmla="*/ 195 h 1993"/>
              <a:gd name="T8" fmla="*/ 1643 w 2668"/>
              <a:gd name="T9" fmla="*/ 166 h 1993"/>
              <a:gd name="T10" fmla="*/ 1524 w 2668"/>
              <a:gd name="T11" fmla="*/ 133 h 1993"/>
              <a:gd name="T12" fmla="*/ 2615 w 2668"/>
              <a:gd name="T13" fmla="*/ 59 h 1993"/>
              <a:gd name="T14" fmla="*/ 1269 w 2668"/>
              <a:gd name="T15" fmla="*/ 0 h 1993"/>
              <a:gd name="T16" fmla="*/ 2128 w 2668"/>
              <a:gd name="T17" fmla="*/ 670 h 1993"/>
              <a:gd name="T18" fmla="*/ 1819 w 2668"/>
              <a:gd name="T19" fmla="*/ 667 h 1993"/>
              <a:gd name="T20" fmla="*/ 1688 w 2668"/>
              <a:gd name="T21" fmla="*/ 617 h 1993"/>
              <a:gd name="T22" fmla="*/ 2391 w 2668"/>
              <a:gd name="T23" fmla="*/ 609 h 1993"/>
              <a:gd name="T24" fmla="*/ 2538 w 2668"/>
              <a:gd name="T25" fmla="*/ 533 h 1993"/>
              <a:gd name="T26" fmla="*/ 1413 w 2668"/>
              <a:gd name="T27" fmla="*/ 535 h 1993"/>
              <a:gd name="T28" fmla="*/ 1299 w 2668"/>
              <a:gd name="T29" fmla="*/ 442 h 1993"/>
              <a:gd name="T30" fmla="*/ 1176 w 2668"/>
              <a:gd name="T31" fmla="*/ 386 h 1993"/>
              <a:gd name="T32" fmla="*/ 1053 w 2668"/>
              <a:gd name="T33" fmla="*/ 277 h 1993"/>
              <a:gd name="T34" fmla="*/ 865 w 2668"/>
              <a:gd name="T35" fmla="*/ 85 h 1993"/>
              <a:gd name="T36" fmla="*/ 2012 w 2668"/>
              <a:gd name="T37" fmla="*/ 1119 h 1993"/>
              <a:gd name="T38" fmla="*/ 1863 w 2668"/>
              <a:gd name="T39" fmla="*/ 1095 h 1993"/>
              <a:gd name="T40" fmla="*/ 1741 w 2668"/>
              <a:gd name="T41" fmla="*/ 1086 h 1993"/>
              <a:gd name="T42" fmla="*/ 2294 w 2668"/>
              <a:gd name="T43" fmla="*/ 1049 h 1993"/>
              <a:gd name="T44" fmla="*/ 2437 w 2668"/>
              <a:gd name="T45" fmla="*/ 1023 h 1993"/>
              <a:gd name="T46" fmla="*/ 1450 w 2668"/>
              <a:gd name="T47" fmla="*/ 975 h 1993"/>
              <a:gd name="T48" fmla="*/ 1345 w 2668"/>
              <a:gd name="T49" fmla="*/ 919 h 1993"/>
              <a:gd name="T50" fmla="*/ 1201 w 2668"/>
              <a:gd name="T51" fmla="*/ 834 h 1993"/>
              <a:gd name="T52" fmla="*/ 1000 w 2668"/>
              <a:gd name="T53" fmla="*/ 639 h 1993"/>
              <a:gd name="T54" fmla="*/ 891 w 2668"/>
              <a:gd name="T55" fmla="*/ 560 h 1993"/>
              <a:gd name="T56" fmla="*/ 786 w 2668"/>
              <a:gd name="T57" fmla="*/ 431 h 1993"/>
              <a:gd name="T58" fmla="*/ 624 w 2668"/>
              <a:gd name="T59" fmla="*/ 222 h 1993"/>
              <a:gd name="T60" fmla="*/ 517 w 2668"/>
              <a:gd name="T61" fmla="*/ 102 h 1993"/>
              <a:gd name="T62" fmla="*/ 2067 w 2668"/>
              <a:gd name="T63" fmla="*/ 1531 h 1993"/>
              <a:gd name="T64" fmla="*/ 1770 w 2668"/>
              <a:gd name="T65" fmla="*/ 1541 h 1993"/>
              <a:gd name="T66" fmla="*/ 2194 w 2668"/>
              <a:gd name="T67" fmla="*/ 1506 h 1993"/>
              <a:gd name="T68" fmla="*/ 2350 w 2668"/>
              <a:gd name="T69" fmla="*/ 1480 h 1993"/>
              <a:gd name="T70" fmla="*/ 1490 w 2668"/>
              <a:gd name="T71" fmla="*/ 1433 h 1993"/>
              <a:gd name="T72" fmla="*/ 1382 w 2668"/>
              <a:gd name="T73" fmla="*/ 1370 h 1993"/>
              <a:gd name="T74" fmla="*/ 2588 w 2668"/>
              <a:gd name="T75" fmla="*/ 1347 h 1993"/>
              <a:gd name="T76" fmla="*/ 1149 w 2668"/>
              <a:gd name="T77" fmla="*/ 1207 h 1993"/>
              <a:gd name="T78" fmla="*/ 1021 w 2668"/>
              <a:gd name="T79" fmla="*/ 1120 h 1993"/>
              <a:gd name="T80" fmla="*/ 836 w 2668"/>
              <a:gd name="T81" fmla="*/ 888 h 1993"/>
              <a:gd name="T82" fmla="*/ 740 w 2668"/>
              <a:gd name="T83" fmla="*/ 800 h 1993"/>
              <a:gd name="T84" fmla="*/ 653 w 2668"/>
              <a:gd name="T85" fmla="*/ 661 h 1993"/>
              <a:gd name="T86" fmla="*/ 495 w 2668"/>
              <a:gd name="T87" fmla="*/ 448 h 1993"/>
              <a:gd name="T88" fmla="*/ 407 w 2668"/>
              <a:gd name="T89" fmla="*/ 304 h 1993"/>
              <a:gd name="T90" fmla="*/ 272 w 2668"/>
              <a:gd name="T91" fmla="*/ 78 h 1993"/>
              <a:gd name="T92" fmla="*/ 1948 w 2668"/>
              <a:gd name="T93" fmla="*/ 1973 h 1993"/>
              <a:gd name="T94" fmla="*/ 2113 w 2668"/>
              <a:gd name="T95" fmla="*/ 1971 h 1993"/>
              <a:gd name="T96" fmla="*/ 1661 w 2668"/>
              <a:gd name="T97" fmla="*/ 1948 h 1993"/>
              <a:gd name="T98" fmla="*/ 1549 w 2668"/>
              <a:gd name="T99" fmla="*/ 1901 h 1993"/>
              <a:gd name="T100" fmla="*/ 2366 w 2668"/>
              <a:gd name="T101" fmla="*/ 1883 h 1993"/>
              <a:gd name="T102" fmla="*/ 2520 w 2668"/>
              <a:gd name="T103" fmla="*/ 1828 h 1993"/>
              <a:gd name="T104" fmla="*/ 1276 w 2668"/>
              <a:gd name="T105" fmla="*/ 1764 h 1993"/>
              <a:gd name="T106" fmla="*/ 1181 w 2668"/>
              <a:gd name="T107" fmla="*/ 1660 h 1993"/>
              <a:gd name="T108" fmla="*/ 1062 w 2668"/>
              <a:gd name="T109" fmla="*/ 1584 h 1993"/>
              <a:gd name="T110" fmla="*/ 874 w 2668"/>
              <a:gd name="T111" fmla="*/ 1349 h 1993"/>
              <a:gd name="T112" fmla="*/ 789 w 2668"/>
              <a:gd name="T113" fmla="*/ 1257 h 1993"/>
              <a:gd name="T114" fmla="*/ 685 w 2668"/>
              <a:gd name="T115" fmla="*/ 1134 h 1993"/>
              <a:gd name="T116" fmla="*/ 546 w 2668"/>
              <a:gd name="T117" fmla="*/ 887 h 1993"/>
              <a:gd name="T118" fmla="*/ 447 w 2668"/>
              <a:gd name="T119" fmla="*/ 771 h 1993"/>
              <a:gd name="T120" fmla="*/ 323 w 2668"/>
              <a:gd name="T121" fmla="*/ 523 h 1993"/>
              <a:gd name="T122" fmla="*/ 230 w 2668"/>
              <a:gd name="T123" fmla="*/ 389 h 1993"/>
              <a:gd name="T124" fmla="*/ 100 w 2668"/>
              <a:gd name="T125" fmla="*/ 156 h 19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68" h="1993">
                <a:moveTo>
                  <a:pt x="12" y="18"/>
                </a:moveTo>
                <a:lnTo>
                  <a:pt x="15" y="18"/>
                </a:lnTo>
                <a:lnTo>
                  <a:pt x="18" y="19"/>
                </a:lnTo>
                <a:lnTo>
                  <a:pt x="20" y="21"/>
                </a:lnTo>
                <a:lnTo>
                  <a:pt x="22" y="23"/>
                </a:lnTo>
                <a:lnTo>
                  <a:pt x="23" y="25"/>
                </a:lnTo>
                <a:lnTo>
                  <a:pt x="24" y="28"/>
                </a:lnTo>
                <a:lnTo>
                  <a:pt x="24" y="32"/>
                </a:lnTo>
                <a:lnTo>
                  <a:pt x="23" y="34"/>
                </a:lnTo>
                <a:lnTo>
                  <a:pt x="22" y="36"/>
                </a:lnTo>
                <a:lnTo>
                  <a:pt x="21" y="38"/>
                </a:lnTo>
                <a:lnTo>
                  <a:pt x="19" y="40"/>
                </a:lnTo>
                <a:lnTo>
                  <a:pt x="17" y="41"/>
                </a:lnTo>
                <a:lnTo>
                  <a:pt x="15" y="41"/>
                </a:lnTo>
                <a:lnTo>
                  <a:pt x="12" y="42"/>
                </a:lnTo>
                <a:lnTo>
                  <a:pt x="9" y="41"/>
                </a:lnTo>
                <a:lnTo>
                  <a:pt x="6" y="40"/>
                </a:lnTo>
                <a:lnTo>
                  <a:pt x="4" y="39"/>
                </a:lnTo>
                <a:lnTo>
                  <a:pt x="2" y="36"/>
                </a:lnTo>
                <a:lnTo>
                  <a:pt x="1" y="34"/>
                </a:lnTo>
                <a:lnTo>
                  <a:pt x="0" y="32"/>
                </a:lnTo>
                <a:lnTo>
                  <a:pt x="0" y="27"/>
                </a:lnTo>
                <a:lnTo>
                  <a:pt x="1" y="25"/>
                </a:lnTo>
                <a:lnTo>
                  <a:pt x="2" y="23"/>
                </a:lnTo>
                <a:lnTo>
                  <a:pt x="4" y="21"/>
                </a:lnTo>
                <a:lnTo>
                  <a:pt x="6" y="20"/>
                </a:lnTo>
                <a:lnTo>
                  <a:pt x="7" y="19"/>
                </a:lnTo>
                <a:lnTo>
                  <a:pt x="9" y="18"/>
                </a:lnTo>
                <a:lnTo>
                  <a:pt x="12" y="18"/>
                </a:lnTo>
                <a:close/>
                <a:moveTo>
                  <a:pt x="2074" y="220"/>
                </a:moveTo>
                <a:lnTo>
                  <a:pt x="2076" y="220"/>
                </a:lnTo>
                <a:lnTo>
                  <a:pt x="2079" y="221"/>
                </a:lnTo>
                <a:lnTo>
                  <a:pt x="2081" y="222"/>
                </a:lnTo>
                <a:lnTo>
                  <a:pt x="2082" y="224"/>
                </a:lnTo>
                <a:lnTo>
                  <a:pt x="2084" y="225"/>
                </a:lnTo>
                <a:lnTo>
                  <a:pt x="2085" y="227"/>
                </a:lnTo>
                <a:lnTo>
                  <a:pt x="2086" y="230"/>
                </a:lnTo>
                <a:lnTo>
                  <a:pt x="2086" y="232"/>
                </a:lnTo>
                <a:lnTo>
                  <a:pt x="2086" y="235"/>
                </a:lnTo>
                <a:lnTo>
                  <a:pt x="2086" y="237"/>
                </a:lnTo>
                <a:lnTo>
                  <a:pt x="2085" y="239"/>
                </a:lnTo>
                <a:lnTo>
                  <a:pt x="2083" y="241"/>
                </a:lnTo>
                <a:lnTo>
                  <a:pt x="2081" y="243"/>
                </a:lnTo>
                <a:lnTo>
                  <a:pt x="2079" y="244"/>
                </a:lnTo>
                <a:lnTo>
                  <a:pt x="2077" y="245"/>
                </a:lnTo>
                <a:lnTo>
                  <a:pt x="2075" y="245"/>
                </a:lnTo>
                <a:lnTo>
                  <a:pt x="2072" y="245"/>
                </a:lnTo>
                <a:lnTo>
                  <a:pt x="2069" y="245"/>
                </a:lnTo>
                <a:lnTo>
                  <a:pt x="2067" y="243"/>
                </a:lnTo>
                <a:lnTo>
                  <a:pt x="2065" y="242"/>
                </a:lnTo>
                <a:lnTo>
                  <a:pt x="2064" y="240"/>
                </a:lnTo>
                <a:lnTo>
                  <a:pt x="2062" y="238"/>
                </a:lnTo>
                <a:lnTo>
                  <a:pt x="2062" y="236"/>
                </a:lnTo>
                <a:lnTo>
                  <a:pt x="2061" y="234"/>
                </a:lnTo>
                <a:lnTo>
                  <a:pt x="2061" y="231"/>
                </a:lnTo>
                <a:lnTo>
                  <a:pt x="2062" y="229"/>
                </a:lnTo>
                <a:lnTo>
                  <a:pt x="2063" y="226"/>
                </a:lnTo>
                <a:lnTo>
                  <a:pt x="2064" y="224"/>
                </a:lnTo>
                <a:lnTo>
                  <a:pt x="2066" y="223"/>
                </a:lnTo>
                <a:lnTo>
                  <a:pt x="2068" y="222"/>
                </a:lnTo>
                <a:lnTo>
                  <a:pt x="2071" y="221"/>
                </a:lnTo>
                <a:lnTo>
                  <a:pt x="2073" y="220"/>
                </a:lnTo>
                <a:lnTo>
                  <a:pt x="2074" y="220"/>
                </a:lnTo>
                <a:close/>
                <a:moveTo>
                  <a:pt x="1929" y="219"/>
                </a:moveTo>
                <a:lnTo>
                  <a:pt x="1932" y="220"/>
                </a:lnTo>
                <a:lnTo>
                  <a:pt x="1934" y="220"/>
                </a:lnTo>
                <a:lnTo>
                  <a:pt x="1937" y="222"/>
                </a:lnTo>
                <a:lnTo>
                  <a:pt x="1938" y="223"/>
                </a:lnTo>
                <a:lnTo>
                  <a:pt x="1940" y="225"/>
                </a:lnTo>
                <a:lnTo>
                  <a:pt x="1941" y="228"/>
                </a:lnTo>
                <a:lnTo>
                  <a:pt x="1942" y="230"/>
                </a:lnTo>
                <a:lnTo>
                  <a:pt x="1942" y="233"/>
                </a:lnTo>
                <a:lnTo>
                  <a:pt x="1941" y="235"/>
                </a:lnTo>
                <a:lnTo>
                  <a:pt x="1940" y="237"/>
                </a:lnTo>
                <a:lnTo>
                  <a:pt x="1939" y="239"/>
                </a:lnTo>
                <a:lnTo>
                  <a:pt x="1938" y="241"/>
                </a:lnTo>
                <a:lnTo>
                  <a:pt x="1936" y="242"/>
                </a:lnTo>
                <a:lnTo>
                  <a:pt x="1934" y="243"/>
                </a:lnTo>
                <a:lnTo>
                  <a:pt x="1931" y="244"/>
                </a:lnTo>
                <a:lnTo>
                  <a:pt x="1929" y="244"/>
                </a:lnTo>
                <a:lnTo>
                  <a:pt x="1926" y="244"/>
                </a:lnTo>
                <a:lnTo>
                  <a:pt x="1924" y="243"/>
                </a:lnTo>
                <a:lnTo>
                  <a:pt x="1921" y="242"/>
                </a:lnTo>
                <a:lnTo>
                  <a:pt x="1920" y="240"/>
                </a:lnTo>
                <a:lnTo>
                  <a:pt x="1918" y="238"/>
                </a:lnTo>
                <a:lnTo>
                  <a:pt x="1917" y="236"/>
                </a:lnTo>
                <a:lnTo>
                  <a:pt x="1917" y="233"/>
                </a:lnTo>
                <a:lnTo>
                  <a:pt x="1916" y="231"/>
                </a:lnTo>
                <a:lnTo>
                  <a:pt x="1917" y="228"/>
                </a:lnTo>
                <a:lnTo>
                  <a:pt x="1918" y="226"/>
                </a:lnTo>
                <a:lnTo>
                  <a:pt x="1919" y="224"/>
                </a:lnTo>
                <a:lnTo>
                  <a:pt x="1920" y="222"/>
                </a:lnTo>
                <a:lnTo>
                  <a:pt x="1922" y="221"/>
                </a:lnTo>
                <a:lnTo>
                  <a:pt x="1924" y="220"/>
                </a:lnTo>
                <a:lnTo>
                  <a:pt x="1927" y="219"/>
                </a:lnTo>
                <a:lnTo>
                  <a:pt x="1929" y="219"/>
                </a:lnTo>
                <a:close/>
                <a:moveTo>
                  <a:pt x="2217" y="204"/>
                </a:moveTo>
                <a:lnTo>
                  <a:pt x="2221" y="204"/>
                </a:lnTo>
                <a:lnTo>
                  <a:pt x="2225" y="206"/>
                </a:lnTo>
                <a:lnTo>
                  <a:pt x="2228" y="210"/>
                </a:lnTo>
                <a:lnTo>
                  <a:pt x="2229" y="212"/>
                </a:lnTo>
                <a:lnTo>
                  <a:pt x="2229" y="214"/>
                </a:lnTo>
                <a:lnTo>
                  <a:pt x="2229" y="219"/>
                </a:lnTo>
                <a:lnTo>
                  <a:pt x="2228" y="221"/>
                </a:lnTo>
                <a:lnTo>
                  <a:pt x="2227" y="223"/>
                </a:lnTo>
                <a:lnTo>
                  <a:pt x="2226" y="225"/>
                </a:lnTo>
                <a:lnTo>
                  <a:pt x="2224" y="227"/>
                </a:lnTo>
                <a:lnTo>
                  <a:pt x="2221" y="228"/>
                </a:lnTo>
                <a:lnTo>
                  <a:pt x="2219" y="229"/>
                </a:lnTo>
                <a:lnTo>
                  <a:pt x="2217" y="229"/>
                </a:lnTo>
                <a:lnTo>
                  <a:pt x="2212" y="228"/>
                </a:lnTo>
                <a:lnTo>
                  <a:pt x="2209" y="226"/>
                </a:lnTo>
                <a:lnTo>
                  <a:pt x="2206" y="223"/>
                </a:lnTo>
                <a:lnTo>
                  <a:pt x="2205" y="221"/>
                </a:lnTo>
                <a:lnTo>
                  <a:pt x="2204" y="218"/>
                </a:lnTo>
                <a:lnTo>
                  <a:pt x="2204" y="213"/>
                </a:lnTo>
                <a:lnTo>
                  <a:pt x="2205" y="211"/>
                </a:lnTo>
                <a:lnTo>
                  <a:pt x="2206" y="209"/>
                </a:lnTo>
                <a:lnTo>
                  <a:pt x="2208" y="207"/>
                </a:lnTo>
                <a:lnTo>
                  <a:pt x="2210" y="206"/>
                </a:lnTo>
                <a:lnTo>
                  <a:pt x="2212" y="204"/>
                </a:lnTo>
                <a:lnTo>
                  <a:pt x="2215" y="204"/>
                </a:lnTo>
                <a:lnTo>
                  <a:pt x="2217" y="204"/>
                </a:lnTo>
                <a:close/>
                <a:moveTo>
                  <a:pt x="1786" y="200"/>
                </a:moveTo>
                <a:lnTo>
                  <a:pt x="1789" y="201"/>
                </a:lnTo>
                <a:lnTo>
                  <a:pt x="1791" y="201"/>
                </a:lnTo>
                <a:lnTo>
                  <a:pt x="1793" y="203"/>
                </a:lnTo>
                <a:lnTo>
                  <a:pt x="1795" y="204"/>
                </a:lnTo>
                <a:lnTo>
                  <a:pt x="1797" y="206"/>
                </a:lnTo>
                <a:lnTo>
                  <a:pt x="1798" y="208"/>
                </a:lnTo>
                <a:lnTo>
                  <a:pt x="1799" y="210"/>
                </a:lnTo>
                <a:lnTo>
                  <a:pt x="1799" y="213"/>
                </a:lnTo>
                <a:lnTo>
                  <a:pt x="1799" y="215"/>
                </a:lnTo>
                <a:lnTo>
                  <a:pt x="1798" y="218"/>
                </a:lnTo>
                <a:lnTo>
                  <a:pt x="1797" y="220"/>
                </a:lnTo>
                <a:lnTo>
                  <a:pt x="1794" y="223"/>
                </a:lnTo>
                <a:lnTo>
                  <a:pt x="1793" y="224"/>
                </a:lnTo>
                <a:lnTo>
                  <a:pt x="1791" y="225"/>
                </a:lnTo>
                <a:lnTo>
                  <a:pt x="1787" y="226"/>
                </a:lnTo>
                <a:lnTo>
                  <a:pt x="1784" y="225"/>
                </a:lnTo>
                <a:lnTo>
                  <a:pt x="1782" y="225"/>
                </a:lnTo>
                <a:lnTo>
                  <a:pt x="1779" y="224"/>
                </a:lnTo>
                <a:lnTo>
                  <a:pt x="1778" y="222"/>
                </a:lnTo>
                <a:lnTo>
                  <a:pt x="1776" y="220"/>
                </a:lnTo>
                <a:lnTo>
                  <a:pt x="1775" y="218"/>
                </a:lnTo>
                <a:lnTo>
                  <a:pt x="1774" y="216"/>
                </a:lnTo>
                <a:lnTo>
                  <a:pt x="1774" y="213"/>
                </a:lnTo>
                <a:lnTo>
                  <a:pt x="1774" y="211"/>
                </a:lnTo>
                <a:lnTo>
                  <a:pt x="1775" y="209"/>
                </a:lnTo>
                <a:lnTo>
                  <a:pt x="1776" y="207"/>
                </a:lnTo>
                <a:lnTo>
                  <a:pt x="1778" y="203"/>
                </a:lnTo>
                <a:lnTo>
                  <a:pt x="1780" y="202"/>
                </a:lnTo>
                <a:lnTo>
                  <a:pt x="1782" y="201"/>
                </a:lnTo>
                <a:lnTo>
                  <a:pt x="1786" y="200"/>
                </a:lnTo>
                <a:close/>
                <a:moveTo>
                  <a:pt x="2357" y="170"/>
                </a:moveTo>
                <a:lnTo>
                  <a:pt x="2361" y="170"/>
                </a:lnTo>
                <a:lnTo>
                  <a:pt x="2364" y="172"/>
                </a:lnTo>
                <a:lnTo>
                  <a:pt x="2367" y="175"/>
                </a:lnTo>
                <a:lnTo>
                  <a:pt x="2368" y="177"/>
                </a:lnTo>
                <a:lnTo>
                  <a:pt x="2369" y="179"/>
                </a:lnTo>
                <a:lnTo>
                  <a:pt x="2369" y="181"/>
                </a:lnTo>
                <a:lnTo>
                  <a:pt x="2369" y="184"/>
                </a:lnTo>
                <a:lnTo>
                  <a:pt x="2369" y="186"/>
                </a:lnTo>
                <a:lnTo>
                  <a:pt x="2368" y="188"/>
                </a:lnTo>
                <a:lnTo>
                  <a:pt x="2366" y="190"/>
                </a:lnTo>
                <a:lnTo>
                  <a:pt x="2365" y="192"/>
                </a:lnTo>
                <a:lnTo>
                  <a:pt x="2360" y="194"/>
                </a:lnTo>
                <a:lnTo>
                  <a:pt x="2357" y="195"/>
                </a:lnTo>
                <a:lnTo>
                  <a:pt x="2353" y="194"/>
                </a:lnTo>
                <a:lnTo>
                  <a:pt x="2349" y="193"/>
                </a:lnTo>
                <a:lnTo>
                  <a:pt x="2346" y="190"/>
                </a:lnTo>
                <a:lnTo>
                  <a:pt x="2345" y="188"/>
                </a:lnTo>
                <a:lnTo>
                  <a:pt x="2345" y="186"/>
                </a:lnTo>
                <a:lnTo>
                  <a:pt x="2344" y="183"/>
                </a:lnTo>
                <a:lnTo>
                  <a:pt x="2344" y="181"/>
                </a:lnTo>
                <a:lnTo>
                  <a:pt x="2345" y="179"/>
                </a:lnTo>
                <a:lnTo>
                  <a:pt x="2345" y="176"/>
                </a:lnTo>
                <a:lnTo>
                  <a:pt x="2347" y="174"/>
                </a:lnTo>
                <a:lnTo>
                  <a:pt x="2349" y="173"/>
                </a:lnTo>
                <a:lnTo>
                  <a:pt x="2351" y="171"/>
                </a:lnTo>
                <a:lnTo>
                  <a:pt x="2353" y="170"/>
                </a:lnTo>
                <a:lnTo>
                  <a:pt x="2357" y="170"/>
                </a:lnTo>
                <a:close/>
                <a:moveTo>
                  <a:pt x="1647" y="165"/>
                </a:moveTo>
                <a:lnTo>
                  <a:pt x="1651" y="166"/>
                </a:lnTo>
                <a:lnTo>
                  <a:pt x="1653" y="167"/>
                </a:lnTo>
                <a:lnTo>
                  <a:pt x="1655" y="168"/>
                </a:lnTo>
                <a:lnTo>
                  <a:pt x="1657" y="170"/>
                </a:lnTo>
                <a:lnTo>
                  <a:pt x="1658" y="172"/>
                </a:lnTo>
                <a:lnTo>
                  <a:pt x="1659" y="174"/>
                </a:lnTo>
                <a:lnTo>
                  <a:pt x="1660" y="177"/>
                </a:lnTo>
                <a:lnTo>
                  <a:pt x="1660" y="179"/>
                </a:lnTo>
                <a:lnTo>
                  <a:pt x="1659" y="182"/>
                </a:lnTo>
                <a:lnTo>
                  <a:pt x="1657" y="185"/>
                </a:lnTo>
                <a:lnTo>
                  <a:pt x="1654" y="188"/>
                </a:lnTo>
                <a:lnTo>
                  <a:pt x="1653" y="189"/>
                </a:lnTo>
                <a:lnTo>
                  <a:pt x="1651" y="190"/>
                </a:lnTo>
                <a:lnTo>
                  <a:pt x="1647" y="191"/>
                </a:lnTo>
                <a:lnTo>
                  <a:pt x="1643" y="190"/>
                </a:lnTo>
                <a:lnTo>
                  <a:pt x="1641" y="189"/>
                </a:lnTo>
                <a:lnTo>
                  <a:pt x="1639" y="188"/>
                </a:lnTo>
                <a:lnTo>
                  <a:pt x="1637" y="186"/>
                </a:lnTo>
                <a:lnTo>
                  <a:pt x="1636" y="184"/>
                </a:lnTo>
                <a:lnTo>
                  <a:pt x="1635" y="182"/>
                </a:lnTo>
                <a:lnTo>
                  <a:pt x="1634" y="179"/>
                </a:lnTo>
                <a:lnTo>
                  <a:pt x="1634" y="177"/>
                </a:lnTo>
                <a:lnTo>
                  <a:pt x="1635" y="174"/>
                </a:lnTo>
                <a:lnTo>
                  <a:pt x="1637" y="171"/>
                </a:lnTo>
                <a:lnTo>
                  <a:pt x="1640" y="168"/>
                </a:lnTo>
                <a:lnTo>
                  <a:pt x="1641" y="167"/>
                </a:lnTo>
                <a:lnTo>
                  <a:pt x="1643" y="166"/>
                </a:lnTo>
                <a:lnTo>
                  <a:pt x="1647" y="165"/>
                </a:lnTo>
                <a:close/>
                <a:moveTo>
                  <a:pt x="2492" y="120"/>
                </a:moveTo>
                <a:lnTo>
                  <a:pt x="2495" y="121"/>
                </a:lnTo>
                <a:lnTo>
                  <a:pt x="2497" y="122"/>
                </a:lnTo>
                <a:lnTo>
                  <a:pt x="2499" y="122"/>
                </a:lnTo>
                <a:lnTo>
                  <a:pt x="2501" y="125"/>
                </a:lnTo>
                <a:lnTo>
                  <a:pt x="2503" y="128"/>
                </a:lnTo>
                <a:lnTo>
                  <a:pt x="2504" y="130"/>
                </a:lnTo>
                <a:lnTo>
                  <a:pt x="2504" y="133"/>
                </a:lnTo>
                <a:lnTo>
                  <a:pt x="2504" y="135"/>
                </a:lnTo>
                <a:lnTo>
                  <a:pt x="2504" y="138"/>
                </a:lnTo>
                <a:lnTo>
                  <a:pt x="2502" y="140"/>
                </a:lnTo>
                <a:lnTo>
                  <a:pt x="2501" y="142"/>
                </a:lnTo>
                <a:lnTo>
                  <a:pt x="2499" y="143"/>
                </a:lnTo>
                <a:lnTo>
                  <a:pt x="2497" y="145"/>
                </a:lnTo>
                <a:lnTo>
                  <a:pt x="2494" y="145"/>
                </a:lnTo>
                <a:lnTo>
                  <a:pt x="2492" y="146"/>
                </a:lnTo>
                <a:lnTo>
                  <a:pt x="2488" y="145"/>
                </a:lnTo>
                <a:lnTo>
                  <a:pt x="2487" y="144"/>
                </a:lnTo>
                <a:lnTo>
                  <a:pt x="2485" y="144"/>
                </a:lnTo>
                <a:lnTo>
                  <a:pt x="2482" y="141"/>
                </a:lnTo>
                <a:lnTo>
                  <a:pt x="2480" y="138"/>
                </a:lnTo>
                <a:lnTo>
                  <a:pt x="2479" y="135"/>
                </a:lnTo>
                <a:lnTo>
                  <a:pt x="2479" y="133"/>
                </a:lnTo>
                <a:lnTo>
                  <a:pt x="2479" y="131"/>
                </a:lnTo>
                <a:lnTo>
                  <a:pt x="2480" y="128"/>
                </a:lnTo>
                <a:lnTo>
                  <a:pt x="2481" y="126"/>
                </a:lnTo>
                <a:lnTo>
                  <a:pt x="2483" y="124"/>
                </a:lnTo>
                <a:lnTo>
                  <a:pt x="2485" y="123"/>
                </a:lnTo>
                <a:lnTo>
                  <a:pt x="2487" y="121"/>
                </a:lnTo>
                <a:lnTo>
                  <a:pt x="2489" y="121"/>
                </a:lnTo>
                <a:lnTo>
                  <a:pt x="2492" y="120"/>
                </a:lnTo>
                <a:close/>
                <a:moveTo>
                  <a:pt x="1512" y="116"/>
                </a:moveTo>
                <a:lnTo>
                  <a:pt x="1514" y="116"/>
                </a:lnTo>
                <a:lnTo>
                  <a:pt x="1517" y="117"/>
                </a:lnTo>
                <a:lnTo>
                  <a:pt x="1521" y="120"/>
                </a:lnTo>
                <a:lnTo>
                  <a:pt x="1523" y="122"/>
                </a:lnTo>
                <a:lnTo>
                  <a:pt x="1524" y="124"/>
                </a:lnTo>
                <a:lnTo>
                  <a:pt x="1524" y="126"/>
                </a:lnTo>
                <a:lnTo>
                  <a:pt x="1525" y="129"/>
                </a:lnTo>
                <a:lnTo>
                  <a:pt x="1524" y="131"/>
                </a:lnTo>
                <a:lnTo>
                  <a:pt x="1524" y="133"/>
                </a:lnTo>
                <a:lnTo>
                  <a:pt x="1522" y="137"/>
                </a:lnTo>
                <a:lnTo>
                  <a:pt x="1519" y="139"/>
                </a:lnTo>
                <a:lnTo>
                  <a:pt x="1516" y="141"/>
                </a:lnTo>
                <a:lnTo>
                  <a:pt x="1512" y="141"/>
                </a:lnTo>
                <a:lnTo>
                  <a:pt x="1509" y="141"/>
                </a:lnTo>
                <a:lnTo>
                  <a:pt x="1507" y="140"/>
                </a:lnTo>
                <a:lnTo>
                  <a:pt x="1503" y="137"/>
                </a:lnTo>
                <a:lnTo>
                  <a:pt x="1501" y="135"/>
                </a:lnTo>
                <a:lnTo>
                  <a:pt x="1500" y="133"/>
                </a:lnTo>
                <a:lnTo>
                  <a:pt x="1500" y="131"/>
                </a:lnTo>
                <a:lnTo>
                  <a:pt x="1499" y="128"/>
                </a:lnTo>
                <a:lnTo>
                  <a:pt x="1500" y="126"/>
                </a:lnTo>
                <a:lnTo>
                  <a:pt x="1500" y="124"/>
                </a:lnTo>
                <a:lnTo>
                  <a:pt x="1502" y="120"/>
                </a:lnTo>
                <a:lnTo>
                  <a:pt x="1505" y="118"/>
                </a:lnTo>
                <a:lnTo>
                  <a:pt x="1508" y="116"/>
                </a:lnTo>
                <a:lnTo>
                  <a:pt x="1512" y="116"/>
                </a:lnTo>
                <a:close/>
                <a:moveTo>
                  <a:pt x="2621" y="57"/>
                </a:moveTo>
                <a:lnTo>
                  <a:pt x="2625" y="58"/>
                </a:lnTo>
                <a:lnTo>
                  <a:pt x="2628" y="59"/>
                </a:lnTo>
                <a:lnTo>
                  <a:pt x="2630" y="61"/>
                </a:lnTo>
                <a:lnTo>
                  <a:pt x="2632" y="64"/>
                </a:lnTo>
                <a:lnTo>
                  <a:pt x="2634" y="69"/>
                </a:lnTo>
                <a:lnTo>
                  <a:pt x="2634" y="71"/>
                </a:lnTo>
                <a:lnTo>
                  <a:pt x="2633" y="74"/>
                </a:lnTo>
                <a:lnTo>
                  <a:pt x="2632" y="76"/>
                </a:lnTo>
                <a:lnTo>
                  <a:pt x="2631" y="78"/>
                </a:lnTo>
                <a:lnTo>
                  <a:pt x="2629" y="80"/>
                </a:lnTo>
                <a:lnTo>
                  <a:pt x="2627" y="81"/>
                </a:lnTo>
                <a:lnTo>
                  <a:pt x="2624" y="82"/>
                </a:lnTo>
                <a:lnTo>
                  <a:pt x="2621" y="83"/>
                </a:lnTo>
                <a:lnTo>
                  <a:pt x="2618" y="82"/>
                </a:lnTo>
                <a:lnTo>
                  <a:pt x="2615" y="81"/>
                </a:lnTo>
                <a:lnTo>
                  <a:pt x="2612" y="79"/>
                </a:lnTo>
                <a:lnTo>
                  <a:pt x="2610" y="76"/>
                </a:lnTo>
                <a:lnTo>
                  <a:pt x="2609" y="71"/>
                </a:lnTo>
                <a:lnTo>
                  <a:pt x="2609" y="69"/>
                </a:lnTo>
                <a:lnTo>
                  <a:pt x="2609" y="67"/>
                </a:lnTo>
                <a:lnTo>
                  <a:pt x="2610" y="64"/>
                </a:lnTo>
                <a:lnTo>
                  <a:pt x="2611" y="62"/>
                </a:lnTo>
                <a:lnTo>
                  <a:pt x="2613" y="60"/>
                </a:lnTo>
                <a:lnTo>
                  <a:pt x="2615" y="59"/>
                </a:lnTo>
                <a:lnTo>
                  <a:pt x="2618" y="58"/>
                </a:lnTo>
                <a:lnTo>
                  <a:pt x="2621" y="57"/>
                </a:lnTo>
                <a:close/>
                <a:moveTo>
                  <a:pt x="1382" y="54"/>
                </a:moveTo>
                <a:lnTo>
                  <a:pt x="1385" y="54"/>
                </a:lnTo>
                <a:lnTo>
                  <a:pt x="1388" y="55"/>
                </a:lnTo>
                <a:lnTo>
                  <a:pt x="1390" y="57"/>
                </a:lnTo>
                <a:lnTo>
                  <a:pt x="1392" y="58"/>
                </a:lnTo>
                <a:lnTo>
                  <a:pt x="1393" y="60"/>
                </a:lnTo>
                <a:lnTo>
                  <a:pt x="1394" y="63"/>
                </a:lnTo>
                <a:lnTo>
                  <a:pt x="1395" y="65"/>
                </a:lnTo>
                <a:lnTo>
                  <a:pt x="1395" y="68"/>
                </a:lnTo>
                <a:lnTo>
                  <a:pt x="1394" y="70"/>
                </a:lnTo>
                <a:lnTo>
                  <a:pt x="1393" y="72"/>
                </a:lnTo>
                <a:lnTo>
                  <a:pt x="1391" y="75"/>
                </a:lnTo>
                <a:lnTo>
                  <a:pt x="1389" y="77"/>
                </a:lnTo>
                <a:lnTo>
                  <a:pt x="1385" y="79"/>
                </a:lnTo>
                <a:lnTo>
                  <a:pt x="1382" y="79"/>
                </a:lnTo>
                <a:lnTo>
                  <a:pt x="1379" y="79"/>
                </a:lnTo>
                <a:lnTo>
                  <a:pt x="1376" y="78"/>
                </a:lnTo>
                <a:lnTo>
                  <a:pt x="1374" y="76"/>
                </a:lnTo>
                <a:lnTo>
                  <a:pt x="1372" y="74"/>
                </a:lnTo>
                <a:lnTo>
                  <a:pt x="1371" y="72"/>
                </a:lnTo>
                <a:lnTo>
                  <a:pt x="1370" y="70"/>
                </a:lnTo>
                <a:lnTo>
                  <a:pt x="1370" y="68"/>
                </a:lnTo>
                <a:lnTo>
                  <a:pt x="1370" y="65"/>
                </a:lnTo>
                <a:lnTo>
                  <a:pt x="1370" y="63"/>
                </a:lnTo>
                <a:lnTo>
                  <a:pt x="1371" y="60"/>
                </a:lnTo>
                <a:lnTo>
                  <a:pt x="1373" y="58"/>
                </a:lnTo>
                <a:lnTo>
                  <a:pt x="1376" y="56"/>
                </a:lnTo>
                <a:lnTo>
                  <a:pt x="1379" y="54"/>
                </a:lnTo>
                <a:lnTo>
                  <a:pt x="1382" y="54"/>
                </a:lnTo>
                <a:close/>
                <a:moveTo>
                  <a:pt x="1269" y="0"/>
                </a:moveTo>
                <a:lnTo>
                  <a:pt x="1267" y="3"/>
                </a:lnTo>
                <a:lnTo>
                  <a:pt x="1264" y="5"/>
                </a:lnTo>
                <a:lnTo>
                  <a:pt x="1261" y="6"/>
                </a:lnTo>
                <a:lnTo>
                  <a:pt x="1258" y="6"/>
                </a:lnTo>
                <a:lnTo>
                  <a:pt x="1254" y="6"/>
                </a:lnTo>
                <a:lnTo>
                  <a:pt x="1253" y="5"/>
                </a:lnTo>
                <a:lnTo>
                  <a:pt x="1251" y="4"/>
                </a:lnTo>
                <a:lnTo>
                  <a:pt x="1249" y="2"/>
                </a:lnTo>
                <a:lnTo>
                  <a:pt x="1247" y="0"/>
                </a:lnTo>
                <a:lnTo>
                  <a:pt x="1269" y="0"/>
                </a:lnTo>
                <a:close/>
                <a:moveTo>
                  <a:pt x="1972" y="658"/>
                </a:moveTo>
                <a:lnTo>
                  <a:pt x="1975" y="659"/>
                </a:lnTo>
                <a:lnTo>
                  <a:pt x="1977" y="659"/>
                </a:lnTo>
                <a:lnTo>
                  <a:pt x="1979" y="661"/>
                </a:lnTo>
                <a:lnTo>
                  <a:pt x="1981" y="662"/>
                </a:lnTo>
                <a:lnTo>
                  <a:pt x="1983" y="664"/>
                </a:lnTo>
                <a:lnTo>
                  <a:pt x="1984" y="666"/>
                </a:lnTo>
                <a:lnTo>
                  <a:pt x="1984" y="668"/>
                </a:lnTo>
                <a:lnTo>
                  <a:pt x="1985" y="671"/>
                </a:lnTo>
                <a:lnTo>
                  <a:pt x="1984" y="673"/>
                </a:lnTo>
                <a:lnTo>
                  <a:pt x="1984" y="676"/>
                </a:lnTo>
                <a:lnTo>
                  <a:pt x="1982" y="678"/>
                </a:lnTo>
                <a:lnTo>
                  <a:pt x="1981" y="680"/>
                </a:lnTo>
                <a:lnTo>
                  <a:pt x="1979" y="681"/>
                </a:lnTo>
                <a:lnTo>
                  <a:pt x="1977" y="682"/>
                </a:lnTo>
                <a:lnTo>
                  <a:pt x="1975" y="683"/>
                </a:lnTo>
                <a:lnTo>
                  <a:pt x="1972" y="683"/>
                </a:lnTo>
                <a:lnTo>
                  <a:pt x="1970" y="683"/>
                </a:lnTo>
                <a:lnTo>
                  <a:pt x="1967" y="682"/>
                </a:lnTo>
                <a:lnTo>
                  <a:pt x="1965" y="681"/>
                </a:lnTo>
                <a:lnTo>
                  <a:pt x="1963" y="679"/>
                </a:lnTo>
                <a:lnTo>
                  <a:pt x="1961" y="675"/>
                </a:lnTo>
                <a:lnTo>
                  <a:pt x="1960" y="673"/>
                </a:lnTo>
                <a:lnTo>
                  <a:pt x="1960" y="671"/>
                </a:lnTo>
                <a:lnTo>
                  <a:pt x="1960" y="668"/>
                </a:lnTo>
                <a:lnTo>
                  <a:pt x="1961" y="666"/>
                </a:lnTo>
                <a:lnTo>
                  <a:pt x="1962" y="664"/>
                </a:lnTo>
                <a:lnTo>
                  <a:pt x="1964" y="662"/>
                </a:lnTo>
                <a:lnTo>
                  <a:pt x="1965" y="660"/>
                </a:lnTo>
                <a:lnTo>
                  <a:pt x="1967" y="659"/>
                </a:lnTo>
                <a:lnTo>
                  <a:pt x="1970" y="659"/>
                </a:lnTo>
                <a:lnTo>
                  <a:pt x="1972" y="658"/>
                </a:lnTo>
                <a:close/>
                <a:moveTo>
                  <a:pt x="2117" y="651"/>
                </a:moveTo>
                <a:lnTo>
                  <a:pt x="2121" y="652"/>
                </a:lnTo>
                <a:lnTo>
                  <a:pt x="2123" y="653"/>
                </a:lnTo>
                <a:lnTo>
                  <a:pt x="2125" y="655"/>
                </a:lnTo>
                <a:lnTo>
                  <a:pt x="2128" y="658"/>
                </a:lnTo>
                <a:lnTo>
                  <a:pt x="2129" y="660"/>
                </a:lnTo>
                <a:lnTo>
                  <a:pt x="2129" y="663"/>
                </a:lnTo>
                <a:lnTo>
                  <a:pt x="2129" y="665"/>
                </a:lnTo>
                <a:lnTo>
                  <a:pt x="2129" y="667"/>
                </a:lnTo>
                <a:lnTo>
                  <a:pt x="2128" y="670"/>
                </a:lnTo>
                <a:lnTo>
                  <a:pt x="2127" y="672"/>
                </a:lnTo>
                <a:lnTo>
                  <a:pt x="2125" y="673"/>
                </a:lnTo>
                <a:lnTo>
                  <a:pt x="2123" y="675"/>
                </a:lnTo>
                <a:lnTo>
                  <a:pt x="2121" y="676"/>
                </a:lnTo>
                <a:lnTo>
                  <a:pt x="2118" y="676"/>
                </a:lnTo>
                <a:lnTo>
                  <a:pt x="2117" y="676"/>
                </a:lnTo>
                <a:lnTo>
                  <a:pt x="2112" y="676"/>
                </a:lnTo>
                <a:lnTo>
                  <a:pt x="2110" y="675"/>
                </a:lnTo>
                <a:lnTo>
                  <a:pt x="2109" y="673"/>
                </a:lnTo>
                <a:lnTo>
                  <a:pt x="2106" y="670"/>
                </a:lnTo>
                <a:lnTo>
                  <a:pt x="2105" y="668"/>
                </a:lnTo>
                <a:lnTo>
                  <a:pt x="2105" y="665"/>
                </a:lnTo>
                <a:lnTo>
                  <a:pt x="2105" y="663"/>
                </a:lnTo>
                <a:lnTo>
                  <a:pt x="2105" y="660"/>
                </a:lnTo>
                <a:lnTo>
                  <a:pt x="2106" y="658"/>
                </a:lnTo>
                <a:lnTo>
                  <a:pt x="2107" y="656"/>
                </a:lnTo>
                <a:lnTo>
                  <a:pt x="2109" y="654"/>
                </a:lnTo>
                <a:lnTo>
                  <a:pt x="2111" y="653"/>
                </a:lnTo>
                <a:lnTo>
                  <a:pt x="2113" y="652"/>
                </a:lnTo>
                <a:lnTo>
                  <a:pt x="2116" y="652"/>
                </a:lnTo>
                <a:lnTo>
                  <a:pt x="2117" y="651"/>
                </a:lnTo>
                <a:close/>
                <a:moveTo>
                  <a:pt x="1829" y="647"/>
                </a:moveTo>
                <a:lnTo>
                  <a:pt x="1831" y="647"/>
                </a:lnTo>
                <a:lnTo>
                  <a:pt x="1833" y="647"/>
                </a:lnTo>
                <a:lnTo>
                  <a:pt x="1835" y="649"/>
                </a:lnTo>
                <a:lnTo>
                  <a:pt x="1837" y="650"/>
                </a:lnTo>
                <a:lnTo>
                  <a:pt x="1839" y="652"/>
                </a:lnTo>
                <a:lnTo>
                  <a:pt x="1840" y="654"/>
                </a:lnTo>
                <a:lnTo>
                  <a:pt x="1841" y="656"/>
                </a:lnTo>
                <a:lnTo>
                  <a:pt x="1841" y="658"/>
                </a:lnTo>
                <a:lnTo>
                  <a:pt x="1841" y="661"/>
                </a:lnTo>
                <a:lnTo>
                  <a:pt x="1841" y="663"/>
                </a:lnTo>
                <a:lnTo>
                  <a:pt x="1840" y="665"/>
                </a:lnTo>
                <a:lnTo>
                  <a:pt x="1837" y="669"/>
                </a:lnTo>
                <a:lnTo>
                  <a:pt x="1835" y="670"/>
                </a:lnTo>
                <a:lnTo>
                  <a:pt x="1833" y="671"/>
                </a:lnTo>
                <a:lnTo>
                  <a:pt x="1829" y="672"/>
                </a:lnTo>
                <a:lnTo>
                  <a:pt x="1827" y="672"/>
                </a:lnTo>
                <a:lnTo>
                  <a:pt x="1825" y="671"/>
                </a:lnTo>
                <a:lnTo>
                  <a:pt x="1823" y="670"/>
                </a:lnTo>
                <a:lnTo>
                  <a:pt x="1821" y="668"/>
                </a:lnTo>
                <a:lnTo>
                  <a:pt x="1819" y="667"/>
                </a:lnTo>
                <a:lnTo>
                  <a:pt x="1818" y="665"/>
                </a:lnTo>
                <a:lnTo>
                  <a:pt x="1817" y="662"/>
                </a:lnTo>
                <a:lnTo>
                  <a:pt x="1817" y="660"/>
                </a:lnTo>
                <a:lnTo>
                  <a:pt x="1817" y="657"/>
                </a:lnTo>
                <a:lnTo>
                  <a:pt x="1817" y="655"/>
                </a:lnTo>
                <a:lnTo>
                  <a:pt x="1818" y="653"/>
                </a:lnTo>
                <a:lnTo>
                  <a:pt x="1821" y="650"/>
                </a:lnTo>
                <a:lnTo>
                  <a:pt x="1823" y="648"/>
                </a:lnTo>
                <a:lnTo>
                  <a:pt x="1825" y="648"/>
                </a:lnTo>
                <a:lnTo>
                  <a:pt x="1829" y="647"/>
                </a:lnTo>
                <a:close/>
                <a:moveTo>
                  <a:pt x="2259" y="627"/>
                </a:moveTo>
                <a:lnTo>
                  <a:pt x="2263" y="627"/>
                </a:lnTo>
                <a:lnTo>
                  <a:pt x="2265" y="628"/>
                </a:lnTo>
                <a:lnTo>
                  <a:pt x="2266" y="629"/>
                </a:lnTo>
                <a:lnTo>
                  <a:pt x="2268" y="631"/>
                </a:lnTo>
                <a:lnTo>
                  <a:pt x="2269" y="632"/>
                </a:lnTo>
                <a:lnTo>
                  <a:pt x="2271" y="636"/>
                </a:lnTo>
                <a:lnTo>
                  <a:pt x="2271" y="639"/>
                </a:lnTo>
                <a:lnTo>
                  <a:pt x="2271" y="641"/>
                </a:lnTo>
                <a:lnTo>
                  <a:pt x="2270" y="643"/>
                </a:lnTo>
                <a:lnTo>
                  <a:pt x="2269" y="646"/>
                </a:lnTo>
                <a:lnTo>
                  <a:pt x="2268" y="648"/>
                </a:lnTo>
                <a:lnTo>
                  <a:pt x="2266" y="649"/>
                </a:lnTo>
                <a:lnTo>
                  <a:pt x="2264" y="650"/>
                </a:lnTo>
                <a:lnTo>
                  <a:pt x="2262" y="651"/>
                </a:lnTo>
                <a:lnTo>
                  <a:pt x="2259" y="652"/>
                </a:lnTo>
                <a:lnTo>
                  <a:pt x="2255" y="651"/>
                </a:lnTo>
                <a:lnTo>
                  <a:pt x="2253" y="650"/>
                </a:lnTo>
                <a:lnTo>
                  <a:pt x="2251" y="649"/>
                </a:lnTo>
                <a:lnTo>
                  <a:pt x="2250" y="648"/>
                </a:lnTo>
                <a:lnTo>
                  <a:pt x="2248" y="646"/>
                </a:lnTo>
                <a:lnTo>
                  <a:pt x="2247" y="642"/>
                </a:lnTo>
                <a:lnTo>
                  <a:pt x="2246" y="639"/>
                </a:lnTo>
                <a:lnTo>
                  <a:pt x="2246" y="637"/>
                </a:lnTo>
                <a:lnTo>
                  <a:pt x="2247" y="635"/>
                </a:lnTo>
                <a:lnTo>
                  <a:pt x="2248" y="633"/>
                </a:lnTo>
                <a:lnTo>
                  <a:pt x="2250" y="631"/>
                </a:lnTo>
                <a:lnTo>
                  <a:pt x="2251" y="629"/>
                </a:lnTo>
                <a:lnTo>
                  <a:pt x="2253" y="628"/>
                </a:lnTo>
                <a:lnTo>
                  <a:pt x="2256" y="627"/>
                </a:lnTo>
                <a:lnTo>
                  <a:pt x="2259" y="627"/>
                </a:lnTo>
                <a:close/>
                <a:moveTo>
                  <a:pt x="1688" y="617"/>
                </a:moveTo>
                <a:lnTo>
                  <a:pt x="1691" y="618"/>
                </a:lnTo>
                <a:lnTo>
                  <a:pt x="1694" y="619"/>
                </a:lnTo>
                <a:lnTo>
                  <a:pt x="1696" y="620"/>
                </a:lnTo>
                <a:lnTo>
                  <a:pt x="1698" y="622"/>
                </a:lnTo>
                <a:lnTo>
                  <a:pt x="1699" y="624"/>
                </a:lnTo>
                <a:lnTo>
                  <a:pt x="1701" y="628"/>
                </a:lnTo>
                <a:lnTo>
                  <a:pt x="1701" y="631"/>
                </a:lnTo>
                <a:lnTo>
                  <a:pt x="1700" y="633"/>
                </a:lnTo>
                <a:lnTo>
                  <a:pt x="1698" y="637"/>
                </a:lnTo>
                <a:lnTo>
                  <a:pt x="1696" y="640"/>
                </a:lnTo>
                <a:lnTo>
                  <a:pt x="1694" y="641"/>
                </a:lnTo>
                <a:lnTo>
                  <a:pt x="1692" y="642"/>
                </a:lnTo>
                <a:lnTo>
                  <a:pt x="1688" y="642"/>
                </a:lnTo>
                <a:lnTo>
                  <a:pt x="1685" y="642"/>
                </a:lnTo>
                <a:lnTo>
                  <a:pt x="1683" y="641"/>
                </a:lnTo>
                <a:lnTo>
                  <a:pt x="1681" y="640"/>
                </a:lnTo>
                <a:lnTo>
                  <a:pt x="1677" y="636"/>
                </a:lnTo>
                <a:lnTo>
                  <a:pt x="1676" y="632"/>
                </a:lnTo>
                <a:lnTo>
                  <a:pt x="1676" y="629"/>
                </a:lnTo>
                <a:lnTo>
                  <a:pt x="1676" y="627"/>
                </a:lnTo>
                <a:lnTo>
                  <a:pt x="1677" y="625"/>
                </a:lnTo>
                <a:lnTo>
                  <a:pt x="1678" y="623"/>
                </a:lnTo>
                <a:lnTo>
                  <a:pt x="1681" y="620"/>
                </a:lnTo>
                <a:lnTo>
                  <a:pt x="1682" y="619"/>
                </a:lnTo>
                <a:lnTo>
                  <a:pt x="1684" y="618"/>
                </a:lnTo>
                <a:lnTo>
                  <a:pt x="1688" y="617"/>
                </a:lnTo>
                <a:close/>
                <a:moveTo>
                  <a:pt x="2396" y="585"/>
                </a:moveTo>
                <a:lnTo>
                  <a:pt x="2400" y="586"/>
                </a:lnTo>
                <a:lnTo>
                  <a:pt x="2404" y="587"/>
                </a:lnTo>
                <a:lnTo>
                  <a:pt x="2406" y="590"/>
                </a:lnTo>
                <a:lnTo>
                  <a:pt x="2408" y="593"/>
                </a:lnTo>
                <a:lnTo>
                  <a:pt x="2409" y="596"/>
                </a:lnTo>
                <a:lnTo>
                  <a:pt x="2409" y="598"/>
                </a:lnTo>
                <a:lnTo>
                  <a:pt x="2409" y="601"/>
                </a:lnTo>
                <a:lnTo>
                  <a:pt x="2408" y="603"/>
                </a:lnTo>
                <a:lnTo>
                  <a:pt x="2407" y="605"/>
                </a:lnTo>
                <a:lnTo>
                  <a:pt x="2405" y="607"/>
                </a:lnTo>
                <a:lnTo>
                  <a:pt x="2403" y="608"/>
                </a:lnTo>
                <a:lnTo>
                  <a:pt x="2401" y="609"/>
                </a:lnTo>
                <a:lnTo>
                  <a:pt x="2396" y="610"/>
                </a:lnTo>
                <a:lnTo>
                  <a:pt x="2393" y="610"/>
                </a:lnTo>
                <a:lnTo>
                  <a:pt x="2391" y="609"/>
                </a:lnTo>
                <a:lnTo>
                  <a:pt x="2389" y="608"/>
                </a:lnTo>
                <a:lnTo>
                  <a:pt x="2387" y="605"/>
                </a:lnTo>
                <a:lnTo>
                  <a:pt x="2385" y="602"/>
                </a:lnTo>
                <a:lnTo>
                  <a:pt x="2384" y="599"/>
                </a:lnTo>
                <a:lnTo>
                  <a:pt x="2384" y="597"/>
                </a:lnTo>
                <a:lnTo>
                  <a:pt x="2384" y="595"/>
                </a:lnTo>
                <a:lnTo>
                  <a:pt x="2385" y="592"/>
                </a:lnTo>
                <a:lnTo>
                  <a:pt x="2386" y="590"/>
                </a:lnTo>
                <a:lnTo>
                  <a:pt x="2388" y="588"/>
                </a:lnTo>
                <a:lnTo>
                  <a:pt x="2390" y="587"/>
                </a:lnTo>
                <a:lnTo>
                  <a:pt x="2392" y="586"/>
                </a:lnTo>
                <a:lnTo>
                  <a:pt x="2396" y="585"/>
                </a:lnTo>
                <a:close/>
                <a:moveTo>
                  <a:pt x="1552" y="572"/>
                </a:moveTo>
                <a:lnTo>
                  <a:pt x="1556" y="573"/>
                </a:lnTo>
                <a:lnTo>
                  <a:pt x="1559" y="574"/>
                </a:lnTo>
                <a:lnTo>
                  <a:pt x="1560" y="576"/>
                </a:lnTo>
                <a:lnTo>
                  <a:pt x="1562" y="577"/>
                </a:lnTo>
                <a:lnTo>
                  <a:pt x="1563" y="580"/>
                </a:lnTo>
                <a:lnTo>
                  <a:pt x="1564" y="582"/>
                </a:lnTo>
                <a:lnTo>
                  <a:pt x="1564" y="584"/>
                </a:lnTo>
                <a:lnTo>
                  <a:pt x="1563" y="589"/>
                </a:lnTo>
                <a:lnTo>
                  <a:pt x="1561" y="592"/>
                </a:lnTo>
                <a:lnTo>
                  <a:pt x="1559" y="595"/>
                </a:lnTo>
                <a:lnTo>
                  <a:pt x="1555" y="596"/>
                </a:lnTo>
                <a:lnTo>
                  <a:pt x="1552" y="597"/>
                </a:lnTo>
                <a:lnTo>
                  <a:pt x="1547" y="596"/>
                </a:lnTo>
                <a:lnTo>
                  <a:pt x="1545" y="595"/>
                </a:lnTo>
                <a:lnTo>
                  <a:pt x="1543" y="593"/>
                </a:lnTo>
                <a:lnTo>
                  <a:pt x="1541" y="592"/>
                </a:lnTo>
                <a:lnTo>
                  <a:pt x="1540" y="590"/>
                </a:lnTo>
                <a:lnTo>
                  <a:pt x="1540" y="587"/>
                </a:lnTo>
                <a:lnTo>
                  <a:pt x="1539" y="585"/>
                </a:lnTo>
                <a:lnTo>
                  <a:pt x="1540" y="580"/>
                </a:lnTo>
                <a:lnTo>
                  <a:pt x="1542" y="577"/>
                </a:lnTo>
                <a:lnTo>
                  <a:pt x="1545" y="574"/>
                </a:lnTo>
                <a:lnTo>
                  <a:pt x="1548" y="573"/>
                </a:lnTo>
                <a:lnTo>
                  <a:pt x="1552" y="572"/>
                </a:lnTo>
                <a:close/>
                <a:moveTo>
                  <a:pt x="2529" y="529"/>
                </a:moveTo>
                <a:lnTo>
                  <a:pt x="2532" y="530"/>
                </a:lnTo>
                <a:lnTo>
                  <a:pt x="2536" y="531"/>
                </a:lnTo>
                <a:lnTo>
                  <a:pt x="2537" y="532"/>
                </a:lnTo>
                <a:lnTo>
                  <a:pt x="2538" y="533"/>
                </a:lnTo>
                <a:lnTo>
                  <a:pt x="2540" y="536"/>
                </a:lnTo>
                <a:lnTo>
                  <a:pt x="2541" y="539"/>
                </a:lnTo>
                <a:lnTo>
                  <a:pt x="2542" y="541"/>
                </a:lnTo>
                <a:lnTo>
                  <a:pt x="2541" y="546"/>
                </a:lnTo>
                <a:lnTo>
                  <a:pt x="2540" y="548"/>
                </a:lnTo>
                <a:lnTo>
                  <a:pt x="2538" y="550"/>
                </a:lnTo>
                <a:lnTo>
                  <a:pt x="2537" y="552"/>
                </a:lnTo>
                <a:lnTo>
                  <a:pt x="2534" y="553"/>
                </a:lnTo>
                <a:lnTo>
                  <a:pt x="2532" y="554"/>
                </a:lnTo>
                <a:lnTo>
                  <a:pt x="2529" y="554"/>
                </a:lnTo>
                <a:lnTo>
                  <a:pt x="2526" y="554"/>
                </a:lnTo>
                <a:lnTo>
                  <a:pt x="2523" y="552"/>
                </a:lnTo>
                <a:lnTo>
                  <a:pt x="2521" y="551"/>
                </a:lnTo>
                <a:lnTo>
                  <a:pt x="2520" y="550"/>
                </a:lnTo>
                <a:lnTo>
                  <a:pt x="2518" y="547"/>
                </a:lnTo>
                <a:lnTo>
                  <a:pt x="2517" y="545"/>
                </a:lnTo>
                <a:lnTo>
                  <a:pt x="2517" y="542"/>
                </a:lnTo>
                <a:lnTo>
                  <a:pt x="2517" y="538"/>
                </a:lnTo>
                <a:lnTo>
                  <a:pt x="2518" y="535"/>
                </a:lnTo>
                <a:lnTo>
                  <a:pt x="2520" y="533"/>
                </a:lnTo>
                <a:lnTo>
                  <a:pt x="2522" y="532"/>
                </a:lnTo>
                <a:lnTo>
                  <a:pt x="2524" y="530"/>
                </a:lnTo>
                <a:lnTo>
                  <a:pt x="2526" y="529"/>
                </a:lnTo>
                <a:lnTo>
                  <a:pt x="2529" y="529"/>
                </a:lnTo>
                <a:close/>
                <a:moveTo>
                  <a:pt x="1421" y="513"/>
                </a:moveTo>
                <a:lnTo>
                  <a:pt x="1424" y="513"/>
                </a:lnTo>
                <a:lnTo>
                  <a:pt x="1426" y="514"/>
                </a:lnTo>
                <a:lnTo>
                  <a:pt x="1428" y="516"/>
                </a:lnTo>
                <a:lnTo>
                  <a:pt x="1430" y="517"/>
                </a:lnTo>
                <a:lnTo>
                  <a:pt x="1432" y="519"/>
                </a:lnTo>
                <a:lnTo>
                  <a:pt x="1433" y="521"/>
                </a:lnTo>
                <a:lnTo>
                  <a:pt x="1433" y="524"/>
                </a:lnTo>
                <a:lnTo>
                  <a:pt x="1433" y="526"/>
                </a:lnTo>
                <a:lnTo>
                  <a:pt x="1433" y="529"/>
                </a:lnTo>
                <a:lnTo>
                  <a:pt x="1432" y="531"/>
                </a:lnTo>
                <a:lnTo>
                  <a:pt x="1430" y="534"/>
                </a:lnTo>
                <a:lnTo>
                  <a:pt x="1427" y="536"/>
                </a:lnTo>
                <a:lnTo>
                  <a:pt x="1424" y="537"/>
                </a:lnTo>
                <a:lnTo>
                  <a:pt x="1421" y="538"/>
                </a:lnTo>
                <a:lnTo>
                  <a:pt x="1418" y="537"/>
                </a:lnTo>
                <a:lnTo>
                  <a:pt x="1415" y="536"/>
                </a:lnTo>
                <a:lnTo>
                  <a:pt x="1413" y="535"/>
                </a:lnTo>
                <a:lnTo>
                  <a:pt x="1411" y="533"/>
                </a:lnTo>
                <a:lnTo>
                  <a:pt x="1410" y="531"/>
                </a:lnTo>
                <a:lnTo>
                  <a:pt x="1409" y="529"/>
                </a:lnTo>
                <a:lnTo>
                  <a:pt x="1408" y="527"/>
                </a:lnTo>
                <a:lnTo>
                  <a:pt x="1408" y="524"/>
                </a:lnTo>
                <a:lnTo>
                  <a:pt x="1409" y="522"/>
                </a:lnTo>
                <a:lnTo>
                  <a:pt x="1410" y="520"/>
                </a:lnTo>
                <a:lnTo>
                  <a:pt x="1412" y="517"/>
                </a:lnTo>
                <a:lnTo>
                  <a:pt x="1414" y="515"/>
                </a:lnTo>
                <a:lnTo>
                  <a:pt x="1417" y="513"/>
                </a:lnTo>
                <a:lnTo>
                  <a:pt x="1421" y="513"/>
                </a:lnTo>
                <a:close/>
                <a:moveTo>
                  <a:pt x="2656" y="461"/>
                </a:moveTo>
                <a:lnTo>
                  <a:pt x="2659" y="461"/>
                </a:lnTo>
                <a:lnTo>
                  <a:pt x="2662" y="462"/>
                </a:lnTo>
                <a:lnTo>
                  <a:pt x="2664" y="464"/>
                </a:lnTo>
                <a:lnTo>
                  <a:pt x="2666" y="467"/>
                </a:lnTo>
                <a:lnTo>
                  <a:pt x="2668" y="469"/>
                </a:lnTo>
                <a:lnTo>
                  <a:pt x="2668" y="472"/>
                </a:lnTo>
                <a:lnTo>
                  <a:pt x="2668" y="474"/>
                </a:lnTo>
                <a:lnTo>
                  <a:pt x="2668" y="476"/>
                </a:lnTo>
                <a:lnTo>
                  <a:pt x="2667" y="479"/>
                </a:lnTo>
                <a:lnTo>
                  <a:pt x="2666" y="481"/>
                </a:lnTo>
                <a:lnTo>
                  <a:pt x="2664" y="482"/>
                </a:lnTo>
                <a:lnTo>
                  <a:pt x="2662" y="484"/>
                </a:lnTo>
                <a:lnTo>
                  <a:pt x="2659" y="485"/>
                </a:lnTo>
                <a:lnTo>
                  <a:pt x="2656" y="486"/>
                </a:lnTo>
                <a:lnTo>
                  <a:pt x="2653" y="485"/>
                </a:lnTo>
                <a:lnTo>
                  <a:pt x="2650" y="484"/>
                </a:lnTo>
                <a:lnTo>
                  <a:pt x="2647" y="482"/>
                </a:lnTo>
                <a:lnTo>
                  <a:pt x="2645" y="480"/>
                </a:lnTo>
                <a:lnTo>
                  <a:pt x="2644" y="477"/>
                </a:lnTo>
                <a:lnTo>
                  <a:pt x="2643" y="475"/>
                </a:lnTo>
                <a:lnTo>
                  <a:pt x="2643" y="473"/>
                </a:lnTo>
                <a:lnTo>
                  <a:pt x="2644" y="470"/>
                </a:lnTo>
                <a:lnTo>
                  <a:pt x="2644" y="468"/>
                </a:lnTo>
                <a:lnTo>
                  <a:pt x="2646" y="466"/>
                </a:lnTo>
                <a:lnTo>
                  <a:pt x="2647" y="464"/>
                </a:lnTo>
                <a:lnTo>
                  <a:pt x="2649" y="463"/>
                </a:lnTo>
                <a:lnTo>
                  <a:pt x="2652" y="461"/>
                </a:lnTo>
                <a:lnTo>
                  <a:pt x="2656" y="461"/>
                </a:lnTo>
                <a:close/>
                <a:moveTo>
                  <a:pt x="1296" y="442"/>
                </a:moveTo>
                <a:lnTo>
                  <a:pt x="1299" y="442"/>
                </a:lnTo>
                <a:lnTo>
                  <a:pt x="1302" y="444"/>
                </a:lnTo>
                <a:lnTo>
                  <a:pt x="1304" y="445"/>
                </a:lnTo>
                <a:lnTo>
                  <a:pt x="1306" y="447"/>
                </a:lnTo>
                <a:lnTo>
                  <a:pt x="1307" y="449"/>
                </a:lnTo>
                <a:lnTo>
                  <a:pt x="1308" y="451"/>
                </a:lnTo>
                <a:lnTo>
                  <a:pt x="1308" y="454"/>
                </a:lnTo>
                <a:lnTo>
                  <a:pt x="1308" y="456"/>
                </a:lnTo>
                <a:lnTo>
                  <a:pt x="1307" y="458"/>
                </a:lnTo>
                <a:lnTo>
                  <a:pt x="1306" y="461"/>
                </a:lnTo>
                <a:lnTo>
                  <a:pt x="1304" y="463"/>
                </a:lnTo>
                <a:lnTo>
                  <a:pt x="1301" y="465"/>
                </a:lnTo>
                <a:lnTo>
                  <a:pt x="1299" y="466"/>
                </a:lnTo>
                <a:lnTo>
                  <a:pt x="1296" y="467"/>
                </a:lnTo>
                <a:lnTo>
                  <a:pt x="1292" y="466"/>
                </a:lnTo>
                <a:lnTo>
                  <a:pt x="1289" y="465"/>
                </a:lnTo>
                <a:lnTo>
                  <a:pt x="1287" y="463"/>
                </a:lnTo>
                <a:lnTo>
                  <a:pt x="1285" y="461"/>
                </a:lnTo>
                <a:lnTo>
                  <a:pt x="1284" y="459"/>
                </a:lnTo>
                <a:lnTo>
                  <a:pt x="1283" y="457"/>
                </a:lnTo>
                <a:lnTo>
                  <a:pt x="1283" y="455"/>
                </a:lnTo>
                <a:lnTo>
                  <a:pt x="1283" y="452"/>
                </a:lnTo>
                <a:lnTo>
                  <a:pt x="1284" y="450"/>
                </a:lnTo>
                <a:lnTo>
                  <a:pt x="1285" y="447"/>
                </a:lnTo>
                <a:lnTo>
                  <a:pt x="1287" y="445"/>
                </a:lnTo>
                <a:lnTo>
                  <a:pt x="1290" y="443"/>
                </a:lnTo>
                <a:lnTo>
                  <a:pt x="1292" y="442"/>
                </a:lnTo>
                <a:lnTo>
                  <a:pt x="1296" y="442"/>
                </a:lnTo>
                <a:close/>
                <a:moveTo>
                  <a:pt x="1176" y="361"/>
                </a:moveTo>
                <a:lnTo>
                  <a:pt x="1180" y="361"/>
                </a:lnTo>
                <a:lnTo>
                  <a:pt x="1184" y="363"/>
                </a:lnTo>
                <a:lnTo>
                  <a:pt x="1186" y="365"/>
                </a:lnTo>
                <a:lnTo>
                  <a:pt x="1187" y="367"/>
                </a:lnTo>
                <a:lnTo>
                  <a:pt x="1189" y="371"/>
                </a:lnTo>
                <a:lnTo>
                  <a:pt x="1189" y="374"/>
                </a:lnTo>
                <a:lnTo>
                  <a:pt x="1189" y="376"/>
                </a:lnTo>
                <a:lnTo>
                  <a:pt x="1188" y="378"/>
                </a:lnTo>
                <a:lnTo>
                  <a:pt x="1187" y="381"/>
                </a:lnTo>
                <a:lnTo>
                  <a:pt x="1184" y="383"/>
                </a:lnTo>
                <a:lnTo>
                  <a:pt x="1183" y="384"/>
                </a:lnTo>
                <a:lnTo>
                  <a:pt x="1182" y="384"/>
                </a:lnTo>
                <a:lnTo>
                  <a:pt x="1179" y="385"/>
                </a:lnTo>
                <a:lnTo>
                  <a:pt x="1176" y="386"/>
                </a:lnTo>
                <a:lnTo>
                  <a:pt x="1173" y="385"/>
                </a:lnTo>
                <a:lnTo>
                  <a:pt x="1169" y="383"/>
                </a:lnTo>
                <a:lnTo>
                  <a:pt x="1167" y="381"/>
                </a:lnTo>
                <a:lnTo>
                  <a:pt x="1166" y="380"/>
                </a:lnTo>
                <a:lnTo>
                  <a:pt x="1164" y="375"/>
                </a:lnTo>
                <a:lnTo>
                  <a:pt x="1164" y="373"/>
                </a:lnTo>
                <a:lnTo>
                  <a:pt x="1164" y="370"/>
                </a:lnTo>
                <a:lnTo>
                  <a:pt x="1165" y="368"/>
                </a:lnTo>
                <a:lnTo>
                  <a:pt x="1166" y="366"/>
                </a:lnTo>
                <a:lnTo>
                  <a:pt x="1168" y="364"/>
                </a:lnTo>
                <a:lnTo>
                  <a:pt x="1170" y="363"/>
                </a:lnTo>
                <a:lnTo>
                  <a:pt x="1171" y="362"/>
                </a:lnTo>
                <a:lnTo>
                  <a:pt x="1174" y="361"/>
                </a:lnTo>
                <a:lnTo>
                  <a:pt x="1176" y="361"/>
                </a:lnTo>
                <a:close/>
                <a:moveTo>
                  <a:pt x="1063" y="272"/>
                </a:moveTo>
                <a:lnTo>
                  <a:pt x="1067" y="272"/>
                </a:lnTo>
                <a:lnTo>
                  <a:pt x="1069" y="273"/>
                </a:lnTo>
                <a:lnTo>
                  <a:pt x="1071" y="275"/>
                </a:lnTo>
                <a:lnTo>
                  <a:pt x="1073" y="276"/>
                </a:lnTo>
                <a:lnTo>
                  <a:pt x="1074" y="278"/>
                </a:lnTo>
                <a:lnTo>
                  <a:pt x="1075" y="281"/>
                </a:lnTo>
                <a:lnTo>
                  <a:pt x="1076" y="283"/>
                </a:lnTo>
                <a:lnTo>
                  <a:pt x="1076" y="285"/>
                </a:lnTo>
                <a:lnTo>
                  <a:pt x="1075" y="288"/>
                </a:lnTo>
                <a:lnTo>
                  <a:pt x="1074" y="290"/>
                </a:lnTo>
                <a:lnTo>
                  <a:pt x="1074" y="291"/>
                </a:lnTo>
                <a:lnTo>
                  <a:pt x="1073" y="292"/>
                </a:lnTo>
                <a:lnTo>
                  <a:pt x="1071" y="294"/>
                </a:lnTo>
                <a:lnTo>
                  <a:pt x="1068" y="295"/>
                </a:lnTo>
                <a:lnTo>
                  <a:pt x="1066" y="296"/>
                </a:lnTo>
                <a:lnTo>
                  <a:pt x="1063" y="297"/>
                </a:lnTo>
                <a:lnTo>
                  <a:pt x="1059" y="296"/>
                </a:lnTo>
                <a:lnTo>
                  <a:pt x="1057" y="295"/>
                </a:lnTo>
                <a:lnTo>
                  <a:pt x="1055" y="294"/>
                </a:lnTo>
                <a:lnTo>
                  <a:pt x="1054" y="292"/>
                </a:lnTo>
                <a:lnTo>
                  <a:pt x="1052" y="290"/>
                </a:lnTo>
                <a:lnTo>
                  <a:pt x="1051" y="288"/>
                </a:lnTo>
                <a:lnTo>
                  <a:pt x="1051" y="285"/>
                </a:lnTo>
                <a:lnTo>
                  <a:pt x="1051" y="283"/>
                </a:lnTo>
                <a:lnTo>
                  <a:pt x="1051" y="280"/>
                </a:lnTo>
                <a:lnTo>
                  <a:pt x="1052" y="278"/>
                </a:lnTo>
                <a:lnTo>
                  <a:pt x="1053" y="277"/>
                </a:lnTo>
                <a:lnTo>
                  <a:pt x="1054" y="276"/>
                </a:lnTo>
                <a:lnTo>
                  <a:pt x="1056" y="274"/>
                </a:lnTo>
                <a:lnTo>
                  <a:pt x="1058" y="273"/>
                </a:lnTo>
                <a:lnTo>
                  <a:pt x="1061" y="272"/>
                </a:lnTo>
                <a:lnTo>
                  <a:pt x="1063" y="272"/>
                </a:lnTo>
                <a:close/>
                <a:moveTo>
                  <a:pt x="956" y="176"/>
                </a:moveTo>
                <a:lnTo>
                  <a:pt x="960" y="177"/>
                </a:lnTo>
                <a:lnTo>
                  <a:pt x="962" y="178"/>
                </a:lnTo>
                <a:lnTo>
                  <a:pt x="964" y="179"/>
                </a:lnTo>
                <a:lnTo>
                  <a:pt x="966" y="181"/>
                </a:lnTo>
                <a:lnTo>
                  <a:pt x="967" y="183"/>
                </a:lnTo>
                <a:lnTo>
                  <a:pt x="968" y="186"/>
                </a:lnTo>
                <a:lnTo>
                  <a:pt x="968" y="188"/>
                </a:lnTo>
                <a:lnTo>
                  <a:pt x="967" y="193"/>
                </a:lnTo>
                <a:lnTo>
                  <a:pt x="966" y="195"/>
                </a:lnTo>
                <a:lnTo>
                  <a:pt x="965" y="197"/>
                </a:lnTo>
                <a:lnTo>
                  <a:pt x="963" y="199"/>
                </a:lnTo>
                <a:lnTo>
                  <a:pt x="961" y="200"/>
                </a:lnTo>
                <a:lnTo>
                  <a:pt x="958" y="201"/>
                </a:lnTo>
                <a:lnTo>
                  <a:pt x="956" y="201"/>
                </a:lnTo>
                <a:lnTo>
                  <a:pt x="951" y="200"/>
                </a:lnTo>
                <a:lnTo>
                  <a:pt x="949" y="199"/>
                </a:lnTo>
                <a:lnTo>
                  <a:pt x="947" y="198"/>
                </a:lnTo>
                <a:lnTo>
                  <a:pt x="945" y="196"/>
                </a:lnTo>
                <a:lnTo>
                  <a:pt x="944" y="193"/>
                </a:lnTo>
                <a:lnTo>
                  <a:pt x="943" y="191"/>
                </a:lnTo>
                <a:lnTo>
                  <a:pt x="943" y="189"/>
                </a:lnTo>
                <a:lnTo>
                  <a:pt x="944" y="184"/>
                </a:lnTo>
                <a:lnTo>
                  <a:pt x="945" y="182"/>
                </a:lnTo>
                <a:lnTo>
                  <a:pt x="947" y="180"/>
                </a:lnTo>
                <a:lnTo>
                  <a:pt x="949" y="178"/>
                </a:lnTo>
                <a:lnTo>
                  <a:pt x="951" y="177"/>
                </a:lnTo>
                <a:lnTo>
                  <a:pt x="953" y="176"/>
                </a:lnTo>
                <a:lnTo>
                  <a:pt x="956" y="176"/>
                </a:lnTo>
                <a:close/>
                <a:moveTo>
                  <a:pt x="853" y="75"/>
                </a:moveTo>
                <a:lnTo>
                  <a:pt x="856" y="75"/>
                </a:lnTo>
                <a:lnTo>
                  <a:pt x="858" y="76"/>
                </a:lnTo>
                <a:lnTo>
                  <a:pt x="860" y="77"/>
                </a:lnTo>
                <a:lnTo>
                  <a:pt x="862" y="79"/>
                </a:lnTo>
                <a:lnTo>
                  <a:pt x="864" y="81"/>
                </a:lnTo>
                <a:lnTo>
                  <a:pt x="865" y="83"/>
                </a:lnTo>
                <a:lnTo>
                  <a:pt x="865" y="85"/>
                </a:lnTo>
                <a:lnTo>
                  <a:pt x="866" y="87"/>
                </a:lnTo>
                <a:lnTo>
                  <a:pt x="865" y="90"/>
                </a:lnTo>
                <a:lnTo>
                  <a:pt x="865" y="92"/>
                </a:lnTo>
                <a:lnTo>
                  <a:pt x="863" y="94"/>
                </a:lnTo>
                <a:lnTo>
                  <a:pt x="862" y="96"/>
                </a:lnTo>
                <a:lnTo>
                  <a:pt x="860" y="98"/>
                </a:lnTo>
                <a:lnTo>
                  <a:pt x="858" y="99"/>
                </a:lnTo>
                <a:lnTo>
                  <a:pt x="853" y="100"/>
                </a:lnTo>
                <a:lnTo>
                  <a:pt x="851" y="99"/>
                </a:lnTo>
                <a:lnTo>
                  <a:pt x="848" y="99"/>
                </a:lnTo>
                <a:lnTo>
                  <a:pt x="846" y="98"/>
                </a:lnTo>
                <a:lnTo>
                  <a:pt x="844" y="96"/>
                </a:lnTo>
                <a:lnTo>
                  <a:pt x="843" y="94"/>
                </a:lnTo>
                <a:lnTo>
                  <a:pt x="842" y="92"/>
                </a:lnTo>
                <a:lnTo>
                  <a:pt x="841" y="89"/>
                </a:lnTo>
                <a:lnTo>
                  <a:pt x="841" y="87"/>
                </a:lnTo>
                <a:lnTo>
                  <a:pt x="841" y="85"/>
                </a:lnTo>
                <a:lnTo>
                  <a:pt x="842" y="82"/>
                </a:lnTo>
                <a:lnTo>
                  <a:pt x="843" y="80"/>
                </a:lnTo>
                <a:lnTo>
                  <a:pt x="845" y="78"/>
                </a:lnTo>
                <a:lnTo>
                  <a:pt x="846" y="77"/>
                </a:lnTo>
                <a:lnTo>
                  <a:pt x="849" y="76"/>
                </a:lnTo>
                <a:lnTo>
                  <a:pt x="853" y="75"/>
                </a:lnTo>
                <a:close/>
                <a:moveTo>
                  <a:pt x="2016" y="1095"/>
                </a:moveTo>
                <a:lnTo>
                  <a:pt x="2019" y="1095"/>
                </a:lnTo>
                <a:lnTo>
                  <a:pt x="2021" y="1096"/>
                </a:lnTo>
                <a:lnTo>
                  <a:pt x="2023" y="1097"/>
                </a:lnTo>
                <a:lnTo>
                  <a:pt x="2025" y="1099"/>
                </a:lnTo>
                <a:lnTo>
                  <a:pt x="2026" y="1100"/>
                </a:lnTo>
                <a:lnTo>
                  <a:pt x="2028" y="1102"/>
                </a:lnTo>
                <a:lnTo>
                  <a:pt x="2028" y="1105"/>
                </a:lnTo>
                <a:lnTo>
                  <a:pt x="2029" y="1107"/>
                </a:lnTo>
                <a:lnTo>
                  <a:pt x="2029" y="1109"/>
                </a:lnTo>
                <a:lnTo>
                  <a:pt x="2028" y="1112"/>
                </a:lnTo>
                <a:lnTo>
                  <a:pt x="2027" y="1114"/>
                </a:lnTo>
                <a:lnTo>
                  <a:pt x="2025" y="1116"/>
                </a:lnTo>
                <a:lnTo>
                  <a:pt x="2024" y="1117"/>
                </a:lnTo>
                <a:lnTo>
                  <a:pt x="2022" y="1119"/>
                </a:lnTo>
                <a:lnTo>
                  <a:pt x="2019" y="1119"/>
                </a:lnTo>
                <a:lnTo>
                  <a:pt x="2017" y="1120"/>
                </a:lnTo>
                <a:lnTo>
                  <a:pt x="2014" y="1120"/>
                </a:lnTo>
                <a:lnTo>
                  <a:pt x="2012" y="1119"/>
                </a:lnTo>
                <a:lnTo>
                  <a:pt x="2010" y="1118"/>
                </a:lnTo>
                <a:lnTo>
                  <a:pt x="2008" y="1116"/>
                </a:lnTo>
                <a:lnTo>
                  <a:pt x="2006" y="1115"/>
                </a:lnTo>
                <a:lnTo>
                  <a:pt x="2004" y="1113"/>
                </a:lnTo>
                <a:lnTo>
                  <a:pt x="2003" y="1110"/>
                </a:lnTo>
                <a:lnTo>
                  <a:pt x="2003" y="1108"/>
                </a:lnTo>
                <a:lnTo>
                  <a:pt x="2003" y="1105"/>
                </a:lnTo>
                <a:lnTo>
                  <a:pt x="2004" y="1103"/>
                </a:lnTo>
                <a:lnTo>
                  <a:pt x="2006" y="1101"/>
                </a:lnTo>
                <a:lnTo>
                  <a:pt x="2007" y="1099"/>
                </a:lnTo>
                <a:lnTo>
                  <a:pt x="2009" y="1098"/>
                </a:lnTo>
                <a:lnTo>
                  <a:pt x="2011" y="1096"/>
                </a:lnTo>
                <a:lnTo>
                  <a:pt x="2013" y="1096"/>
                </a:lnTo>
                <a:lnTo>
                  <a:pt x="2016" y="1095"/>
                </a:lnTo>
                <a:close/>
                <a:moveTo>
                  <a:pt x="1872" y="1091"/>
                </a:moveTo>
                <a:lnTo>
                  <a:pt x="1874" y="1092"/>
                </a:lnTo>
                <a:lnTo>
                  <a:pt x="1877" y="1093"/>
                </a:lnTo>
                <a:lnTo>
                  <a:pt x="1879" y="1094"/>
                </a:lnTo>
                <a:lnTo>
                  <a:pt x="1881" y="1096"/>
                </a:lnTo>
                <a:lnTo>
                  <a:pt x="1882" y="1098"/>
                </a:lnTo>
                <a:lnTo>
                  <a:pt x="1883" y="1100"/>
                </a:lnTo>
                <a:lnTo>
                  <a:pt x="1884" y="1102"/>
                </a:lnTo>
                <a:lnTo>
                  <a:pt x="1884" y="1105"/>
                </a:lnTo>
                <a:lnTo>
                  <a:pt x="1883" y="1107"/>
                </a:lnTo>
                <a:lnTo>
                  <a:pt x="1883" y="1109"/>
                </a:lnTo>
                <a:lnTo>
                  <a:pt x="1881" y="1111"/>
                </a:lnTo>
                <a:lnTo>
                  <a:pt x="1880" y="1113"/>
                </a:lnTo>
                <a:lnTo>
                  <a:pt x="1878" y="1114"/>
                </a:lnTo>
                <a:lnTo>
                  <a:pt x="1876" y="1115"/>
                </a:lnTo>
                <a:lnTo>
                  <a:pt x="1872" y="1116"/>
                </a:lnTo>
                <a:lnTo>
                  <a:pt x="1869" y="1115"/>
                </a:lnTo>
                <a:lnTo>
                  <a:pt x="1866" y="1115"/>
                </a:lnTo>
                <a:lnTo>
                  <a:pt x="1864" y="1113"/>
                </a:lnTo>
                <a:lnTo>
                  <a:pt x="1862" y="1112"/>
                </a:lnTo>
                <a:lnTo>
                  <a:pt x="1861" y="1110"/>
                </a:lnTo>
                <a:lnTo>
                  <a:pt x="1860" y="1107"/>
                </a:lnTo>
                <a:lnTo>
                  <a:pt x="1859" y="1105"/>
                </a:lnTo>
                <a:lnTo>
                  <a:pt x="1859" y="1103"/>
                </a:lnTo>
                <a:lnTo>
                  <a:pt x="1860" y="1100"/>
                </a:lnTo>
                <a:lnTo>
                  <a:pt x="1861" y="1098"/>
                </a:lnTo>
                <a:lnTo>
                  <a:pt x="1862" y="1096"/>
                </a:lnTo>
                <a:lnTo>
                  <a:pt x="1863" y="1095"/>
                </a:lnTo>
                <a:lnTo>
                  <a:pt x="1865" y="1093"/>
                </a:lnTo>
                <a:lnTo>
                  <a:pt x="1867" y="1092"/>
                </a:lnTo>
                <a:lnTo>
                  <a:pt x="1872" y="1091"/>
                </a:lnTo>
                <a:close/>
                <a:moveTo>
                  <a:pt x="2160" y="1080"/>
                </a:moveTo>
                <a:lnTo>
                  <a:pt x="2164" y="1081"/>
                </a:lnTo>
                <a:lnTo>
                  <a:pt x="2167" y="1083"/>
                </a:lnTo>
                <a:lnTo>
                  <a:pt x="2170" y="1086"/>
                </a:lnTo>
                <a:lnTo>
                  <a:pt x="2171" y="1088"/>
                </a:lnTo>
                <a:lnTo>
                  <a:pt x="2172" y="1090"/>
                </a:lnTo>
                <a:lnTo>
                  <a:pt x="2172" y="1093"/>
                </a:lnTo>
                <a:lnTo>
                  <a:pt x="2171" y="1095"/>
                </a:lnTo>
                <a:lnTo>
                  <a:pt x="2171" y="1097"/>
                </a:lnTo>
                <a:lnTo>
                  <a:pt x="2170" y="1099"/>
                </a:lnTo>
                <a:lnTo>
                  <a:pt x="2168" y="1101"/>
                </a:lnTo>
                <a:lnTo>
                  <a:pt x="2166" y="1103"/>
                </a:lnTo>
                <a:lnTo>
                  <a:pt x="2164" y="1104"/>
                </a:lnTo>
                <a:lnTo>
                  <a:pt x="2162" y="1104"/>
                </a:lnTo>
                <a:lnTo>
                  <a:pt x="2159" y="1105"/>
                </a:lnTo>
                <a:lnTo>
                  <a:pt x="2155" y="1104"/>
                </a:lnTo>
                <a:lnTo>
                  <a:pt x="2152" y="1102"/>
                </a:lnTo>
                <a:lnTo>
                  <a:pt x="2149" y="1099"/>
                </a:lnTo>
                <a:lnTo>
                  <a:pt x="2148" y="1097"/>
                </a:lnTo>
                <a:lnTo>
                  <a:pt x="2147" y="1094"/>
                </a:lnTo>
                <a:lnTo>
                  <a:pt x="2147" y="1092"/>
                </a:lnTo>
                <a:lnTo>
                  <a:pt x="2148" y="1090"/>
                </a:lnTo>
                <a:lnTo>
                  <a:pt x="2148" y="1087"/>
                </a:lnTo>
                <a:lnTo>
                  <a:pt x="2149" y="1085"/>
                </a:lnTo>
                <a:lnTo>
                  <a:pt x="2151" y="1083"/>
                </a:lnTo>
                <a:lnTo>
                  <a:pt x="2153" y="1082"/>
                </a:lnTo>
                <a:lnTo>
                  <a:pt x="2155" y="1081"/>
                </a:lnTo>
                <a:lnTo>
                  <a:pt x="2157" y="1080"/>
                </a:lnTo>
                <a:lnTo>
                  <a:pt x="2160" y="1080"/>
                </a:lnTo>
                <a:close/>
                <a:moveTo>
                  <a:pt x="1730" y="1069"/>
                </a:moveTo>
                <a:lnTo>
                  <a:pt x="1732" y="1069"/>
                </a:lnTo>
                <a:lnTo>
                  <a:pt x="1735" y="1070"/>
                </a:lnTo>
                <a:lnTo>
                  <a:pt x="1737" y="1071"/>
                </a:lnTo>
                <a:lnTo>
                  <a:pt x="1739" y="1073"/>
                </a:lnTo>
                <a:lnTo>
                  <a:pt x="1740" y="1074"/>
                </a:lnTo>
                <a:lnTo>
                  <a:pt x="1741" y="1076"/>
                </a:lnTo>
                <a:lnTo>
                  <a:pt x="1742" y="1079"/>
                </a:lnTo>
                <a:lnTo>
                  <a:pt x="1742" y="1084"/>
                </a:lnTo>
                <a:lnTo>
                  <a:pt x="1741" y="1086"/>
                </a:lnTo>
                <a:lnTo>
                  <a:pt x="1740" y="1088"/>
                </a:lnTo>
                <a:lnTo>
                  <a:pt x="1739" y="1089"/>
                </a:lnTo>
                <a:lnTo>
                  <a:pt x="1737" y="1091"/>
                </a:lnTo>
                <a:lnTo>
                  <a:pt x="1734" y="1093"/>
                </a:lnTo>
                <a:lnTo>
                  <a:pt x="1730" y="1093"/>
                </a:lnTo>
                <a:lnTo>
                  <a:pt x="1727" y="1093"/>
                </a:lnTo>
                <a:lnTo>
                  <a:pt x="1725" y="1092"/>
                </a:lnTo>
                <a:lnTo>
                  <a:pt x="1723" y="1091"/>
                </a:lnTo>
                <a:lnTo>
                  <a:pt x="1721" y="1089"/>
                </a:lnTo>
                <a:lnTo>
                  <a:pt x="1719" y="1087"/>
                </a:lnTo>
                <a:lnTo>
                  <a:pt x="1718" y="1085"/>
                </a:lnTo>
                <a:lnTo>
                  <a:pt x="1718" y="1083"/>
                </a:lnTo>
                <a:lnTo>
                  <a:pt x="1718" y="1078"/>
                </a:lnTo>
                <a:lnTo>
                  <a:pt x="1718" y="1076"/>
                </a:lnTo>
                <a:lnTo>
                  <a:pt x="1719" y="1074"/>
                </a:lnTo>
                <a:lnTo>
                  <a:pt x="1721" y="1073"/>
                </a:lnTo>
                <a:lnTo>
                  <a:pt x="1722" y="1071"/>
                </a:lnTo>
                <a:lnTo>
                  <a:pt x="1726" y="1069"/>
                </a:lnTo>
                <a:lnTo>
                  <a:pt x="1730" y="1069"/>
                </a:lnTo>
                <a:close/>
                <a:moveTo>
                  <a:pt x="2300" y="1047"/>
                </a:moveTo>
                <a:lnTo>
                  <a:pt x="2303" y="1048"/>
                </a:lnTo>
                <a:lnTo>
                  <a:pt x="2307" y="1049"/>
                </a:lnTo>
                <a:lnTo>
                  <a:pt x="2310" y="1052"/>
                </a:lnTo>
                <a:lnTo>
                  <a:pt x="2311" y="1056"/>
                </a:lnTo>
                <a:lnTo>
                  <a:pt x="2312" y="1058"/>
                </a:lnTo>
                <a:lnTo>
                  <a:pt x="2312" y="1061"/>
                </a:lnTo>
                <a:lnTo>
                  <a:pt x="2310" y="1065"/>
                </a:lnTo>
                <a:lnTo>
                  <a:pt x="2309" y="1067"/>
                </a:lnTo>
                <a:lnTo>
                  <a:pt x="2307" y="1069"/>
                </a:lnTo>
                <a:lnTo>
                  <a:pt x="2305" y="1070"/>
                </a:lnTo>
                <a:lnTo>
                  <a:pt x="2303" y="1071"/>
                </a:lnTo>
                <a:lnTo>
                  <a:pt x="2300" y="1072"/>
                </a:lnTo>
                <a:lnTo>
                  <a:pt x="2296" y="1071"/>
                </a:lnTo>
                <a:lnTo>
                  <a:pt x="2292" y="1069"/>
                </a:lnTo>
                <a:lnTo>
                  <a:pt x="2290" y="1067"/>
                </a:lnTo>
                <a:lnTo>
                  <a:pt x="2288" y="1063"/>
                </a:lnTo>
                <a:lnTo>
                  <a:pt x="2287" y="1060"/>
                </a:lnTo>
                <a:lnTo>
                  <a:pt x="2287" y="1058"/>
                </a:lnTo>
                <a:lnTo>
                  <a:pt x="2289" y="1054"/>
                </a:lnTo>
                <a:lnTo>
                  <a:pt x="2290" y="1052"/>
                </a:lnTo>
                <a:lnTo>
                  <a:pt x="2292" y="1050"/>
                </a:lnTo>
                <a:lnTo>
                  <a:pt x="2294" y="1049"/>
                </a:lnTo>
                <a:lnTo>
                  <a:pt x="2296" y="1048"/>
                </a:lnTo>
                <a:lnTo>
                  <a:pt x="2300" y="1047"/>
                </a:lnTo>
                <a:close/>
                <a:moveTo>
                  <a:pt x="1592" y="1028"/>
                </a:moveTo>
                <a:lnTo>
                  <a:pt x="1596" y="1029"/>
                </a:lnTo>
                <a:lnTo>
                  <a:pt x="1598" y="1030"/>
                </a:lnTo>
                <a:lnTo>
                  <a:pt x="1600" y="1031"/>
                </a:lnTo>
                <a:lnTo>
                  <a:pt x="1602" y="1033"/>
                </a:lnTo>
                <a:lnTo>
                  <a:pt x="1603" y="1035"/>
                </a:lnTo>
                <a:lnTo>
                  <a:pt x="1604" y="1038"/>
                </a:lnTo>
                <a:lnTo>
                  <a:pt x="1604" y="1040"/>
                </a:lnTo>
                <a:lnTo>
                  <a:pt x="1603" y="1045"/>
                </a:lnTo>
                <a:lnTo>
                  <a:pt x="1601" y="1048"/>
                </a:lnTo>
                <a:lnTo>
                  <a:pt x="1599" y="1051"/>
                </a:lnTo>
                <a:lnTo>
                  <a:pt x="1595" y="1052"/>
                </a:lnTo>
                <a:lnTo>
                  <a:pt x="1592" y="1053"/>
                </a:lnTo>
                <a:lnTo>
                  <a:pt x="1588" y="1052"/>
                </a:lnTo>
                <a:lnTo>
                  <a:pt x="1585" y="1051"/>
                </a:lnTo>
                <a:lnTo>
                  <a:pt x="1583" y="1050"/>
                </a:lnTo>
                <a:lnTo>
                  <a:pt x="1582" y="1048"/>
                </a:lnTo>
                <a:lnTo>
                  <a:pt x="1581" y="1046"/>
                </a:lnTo>
                <a:lnTo>
                  <a:pt x="1580" y="1044"/>
                </a:lnTo>
                <a:lnTo>
                  <a:pt x="1579" y="1041"/>
                </a:lnTo>
                <a:lnTo>
                  <a:pt x="1580" y="1036"/>
                </a:lnTo>
                <a:lnTo>
                  <a:pt x="1582" y="1033"/>
                </a:lnTo>
                <a:lnTo>
                  <a:pt x="1585" y="1030"/>
                </a:lnTo>
                <a:lnTo>
                  <a:pt x="1588" y="1029"/>
                </a:lnTo>
                <a:lnTo>
                  <a:pt x="1592" y="1028"/>
                </a:lnTo>
                <a:close/>
                <a:moveTo>
                  <a:pt x="2435" y="998"/>
                </a:moveTo>
                <a:lnTo>
                  <a:pt x="2439" y="999"/>
                </a:lnTo>
                <a:lnTo>
                  <a:pt x="2440" y="1000"/>
                </a:lnTo>
                <a:lnTo>
                  <a:pt x="2442" y="1000"/>
                </a:lnTo>
                <a:lnTo>
                  <a:pt x="2444" y="1003"/>
                </a:lnTo>
                <a:lnTo>
                  <a:pt x="2446" y="1006"/>
                </a:lnTo>
                <a:lnTo>
                  <a:pt x="2447" y="1008"/>
                </a:lnTo>
                <a:lnTo>
                  <a:pt x="2447" y="1011"/>
                </a:lnTo>
                <a:lnTo>
                  <a:pt x="2447" y="1013"/>
                </a:lnTo>
                <a:lnTo>
                  <a:pt x="2446" y="1015"/>
                </a:lnTo>
                <a:lnTo>
                  <a:pt x="2445" y="1018"/>
                </a:lnTo>
                <a:lnTo>
                  <a:pt x="2444" y="1019"/>
                </a:lnTo>
                <a:lnTo>
                  <a:pt x="2442" y="1021"/>
                </a:lnTo>
                <a:lnTo>
                  <a:pt x="2440" y="1022"/>
                </a:lnTo>
                <a:lnTo>
                  <a:pt x="2437" y="1023"/>
                </a:lnTo>
                <a:lnTo>
                  <a:pt x="2435" y="1023"/>
                </a:lnTo>
                <a:lnTo>
                  <a:pt x="2431" y="1023"/>
                </a:lnTo>
                <a:lnTo>
                  <a:pt x="2430" y="1022"/>
                </a:lnTo>
                <a:lnTo>
                  <a:pt x="2428" y="1021"/>
                </a:lnTo>
                <a:lnTo>
                  <a:pt x="2426" y="1019"/>
                </a:lnTo>
                <a:lnTo>
                  <a:pt x="2424" y="1016"/>
                </a:lnTo>
                <a:lnTo>
                  <a:pt x="2423" y="1013"/>
                </a:lnTo>
                <a:lnTo>
                  <a:pt x="2423" y="1011"/>
                </a:lnTo>
                <a:lnTo>
                  <a:pt x="2423" y="1008"/>
                </a:lnTo>
                <a:lnTo>
                  <a:pt x="2424" y="1006"/>
                </a:lnTo>
                <a:lnTo>
                  <a:pt x="2425" y="1004"/>
                </a:lnTo>
                <a:lnTo>
                  <a:pt x="2426" y="1002"/>
                </a:lnTo>
                <a:lnTo>
                  <a:pt x="2428" y="1001"/>
                </a:lnTo>
                <a:lnTo>
                  <a:pt x="2430" y="999"/>
                </a:lnTo>
                <a:lnTo>
                  <a:pt x="2433" y="999"/>
                </a:lnTo>
                <a:lnTo>
                  <a:pt x="2435" y="998"/>
                </a:lnTo>
                <a:close/>
                <a:moveTo>
                  <a:pt x="1459" y="971"/>
                </a:moveTo>
                <a:lnTo>
                  <a:pt x="1462" y="972"/>
                </a:lnTo>
                <a:lnTo>
                  <a:pt x="1465" y="972"/>
                </a:lnTo>
                <a:lnTo>
                  <a:pt x="1467" y="974"/>
                </a:lnTo>
                <a:lnTo>
                  <a:pt x="1469" y="975"/>
                </a:lnTo>
                <a:lnTo>
                  <a:pt x="1470" y="977"/>
                </a:lnTo>
                <a:lnTo>
                  <a:pt x="1471" y="980"/>
                </a:lnTo>
                <a:lnTo>
                  <a:pt x="1471" y="982"/>
                </a:lnTo>
                <a:lnTo>
                  <a:pt x="1472" y="984"/>
                </a:lnTo>
                <a:lnTo>
                  <a:pt x="1471" y="987"/>
                </a:lnTo>
                <a:lnTo>
                  <a:pt x="1470" y="989"/>
                </a:lnTo>
                <a:lnTo>
                  <a:pt x="1468" y="992"/>
                </a:lnTo>
                <a:lnTo>
                  <a:pt x="1466" y="994"/>
                </a:lnTo>
                <a:lnTo>
                  <a:pt x="1463" y="995"/>
                </a:lnTo>
                <a:lnTo>
                  <a:pt x="1459" y="997"/>
                </a:lnTo>
                <a:lnTo>
                  <a:pt x="1457" y="997"/>
                </a:lnTo>
                <a:lnTo>
                  <a:pt x="1454" y="995"/>
                </a:lnTo>
                <a:lnTo>
                  <a:pt x="1452" y="993"/>
                </a:lnTo>
                <a:lnTo>
                  <a:pt x="1450" y="992"/>
                </a:lnTo>
                <a:lnTo>
                  <a:pt x="1449" y="990"/>
                </a:lnTo>
                <a:lnTo>
                  <a:pt x="1448" y="988"/>
                </a:lnTo>
                <a:lnTo>
                  <a:pt x="1447" y="985"/>
                </a:lnTo>
                <a:lnTo>
                  <a:pt x="1447" y="983"/>
                </a:lnTo>
                <a:lnTo>
                  <a:pt x="1447" y="981"/>
                </a:lnTo>
                <a:lnTo>
                  <a:pt x="1448" y="978"/>
                </a:lnTo>
                <a:lnTo>
                  <a:pt x="1450" y="975"/>
                </a:lnTo>
                <a:lnTo>
                  <a:pt x="1453" y="973"/>
                </a:lnTo>
                <a:lnTo>
                  <a:pt x="1456" y="972"/>
                </a:lnTo>
                <a:lnTo>
                  <a:pt x="1459" y="971"/>
                </a:lnTo>
                <a:close/>
                <a:moveTo>
                  <a:pt x="2565" y="935"/>
                </a:moveTo>
                <a:lnTo>
                  <a:pt x="2568" y="936"/>
                </a:lnTo>
                <a:lnTo>
                  <a:pt x="2571" y="937"/>
                </a:lnTo>
                <a:lnTo>
                  <a:pt x="2574" y="939"/>
                </a:lnTo>
                <a:lnTo>
                  <a:pt x="2576" y="942"/>
                </a:lnTo>
                <a:lnTo>
                  <a:pt x="2577" y="944"/>
                </a:lnTo>
                <a:lnTo>
                  <a:pt x="2577" y="947"/>
                </a:lnTo>
                <a:lnTo>
                  <a:pt x="2577" y="949"/>
                </a:lnTo>
                <a:lnTo>
                  <a:pt x="2577" y="951"/>
                </a:lnTo>
                <a:lnTo>
                  <a:pt x="2576" y="953"/>
                </a:lnTo>
                <a:lnTo>
                  <a:pt x="2574" y="955"/>
                </a:lnTo>
                <a:lnTo>
                  <a:pt x="2573" y="957"/>
                </a:lnTo>
                <a:lnTo>
                  <a:pt x="2571" y="959"/>
                </a:lnTo>
                <a:lnTo>
                  <a:pt x="2568" y="960"/>
                </a:lnTo>
                <a:lnTo>
                  <a:pt x="2565" y="960"/>
                </a:lnTo>
                <a:lnTo>
                  <a:pt x="2562" y="960"/>
                </a:lnTo>
                <a:lnTo>
                  <a:pt x="2559" y="958"/>
                </a:lnTo>
                <a:lnTo>
                  <a:pt x="2556" y="956"/>
                </a:lnTo>
                <a:lnTo>
                  <a:pt x="2554" y="954"/>
                </a:lnTo>
                <a:lnTo>
                  <a:pt x="2553" y="951"/>
                </a:lnTo>
                <a:lnTo>
                  <a:pt x="2553" y="949"/>
                </a:lnTo>
                <a:lnTo>
                  <a:pt x="2553" y="946"/>
                </a:lnTo>
                <a:lnTo>
                  <a:pt x="2553" y="944"/>
                </a:lnTo>
                <a:lnTo>
                  <a:pt x="2554" y="942"/>
                </a:lnTo>
                <a:lnTo>
                  <a:pt x="2555" y="940"/>
                </a:lnTo>
                <a:lnTo>
                  <a:pt x="2557" y="938"/>
                </a:lnTo>
                <a:lnTo>
                  <a:pt x="2559" y="937"/>
                </a:lnTo>
                <a:lnTo>
                  <a:pt x="2562" y="936"/>
                </a:lnTo>
                <a:lnTo>
                  <a:pt x="2565" y="935"/>
                </a:lnTo>
                <a:close/>
                <a:moveTo>
                  <a:pt x="1333" y="902"/>
                </a:moveTo>
                <a:lnTo>
                  <a:pt x="1336" y="903"/>
                </a:lnTo>
                <a:lnTo>
                  <a:pt x="1339" y="904"/>
                </a:lnTo>
                <a:lnTo>
                  <a:pt x="1341" y="905"/>
                </a:lnTo>
                <a:lnTo>
                  <a:pt x="1343" y="907"/>
                </a:lnTo>
                <a:lnTo>
                  <a:pt x="1344" y="909"/>
                </a:lnTo>
                <a:lnTo>
                  <a:pt x="1345" y="911"/>
                </a:lnTo>
                <a:lnTo>
                  <a:pt x="1345" y="914"/>
                </a:lnTo>
                <a:lnTo>
                  <a:pt x="1345" y="916"/>
                </a:lnTo>
                <a:lnTo>
                  <a:pt x="1345" y="919"/>
                </a:lnTo>
                <a:lnTo>
                  <a:pt x="1344" y="921"/>
                </a:lnTo>
                <a:lnTo>
                  <a:pt x="1342" y="923"/>
                </a:lnTo>
                <a:lnTo>
                  <a:pt x="1339" y="925"/>
                </a:lnTo>
                <a:lnTo>
                  <a:pt x="1336" y="926"/>
                </a:lnTo>
                <a:lnTo>
                  <a:pt x="1333" y="927"/>
                </a:lnTo>
                <a:lnTo>
                  <a:pt x="1330" y="926"/>
                </a:lnTo>
                <a:lnTo>
                  <a:pt x="1327" y="925"/>
                </a:lnTo>
                <a:lnTo>
                  <a:pt x="1325" y="923"/>
                </a:lnTo>
                <a:lnTo>
                  <a:pt x="1323" y="922"/>
                </a:lnTo>
                <a:lnTo>
                  <a:pt x="1322" y="920"/>
                </a:lnTo>
                <a:lnTo>
                  <a:pt x="1321" y="917"/>
                </a:lnTo>
                <a:lnTo>
                  <a:pt x="1321" y="915"/>
                </a:lnTo>
                <a:lnTo>
                  <a:pt x="1321" y="913"/>
                </a:lnTo>
                <a:lnTo>
                  <a:pt x="1321" y="910"/>
                </a:lnTo>
                <a:lnTo>
                  <a:pt x="1323" y="908"/>
                </a:lnTo>
                <a:lnTo>
                  <a:pt x="1325" y="905"/>
                </a:lnTo>
                <a:lnTo>
                  <a:pt x="1327" y="904"/>
                </a:lnTo>
                <a:lnTo>
                  <a:pt x="1330" y="902"/>
                </a:lnTo>
                <a:lnTo>
                  <a:pt x="1333" y="902"/>
                </a:lnTo>
                <a:close/>
                <a:moveTo>
                  <a:pt x="1213" y="822"/>
                </a:moveTo>
                <a:lnTo>
                  <a:pt x="1217" y="823"/>
                </a:lnTo>
                <a:lnTo>
                  <a:pt x="1221" y="824"/>
                </a:lnTo>
                <a:lnTo>
                  <a:pt x="1223" y="826"/>
                </a:lnTo>
                <a:lnTo>
                  <a:pt x="1224" y="828"/>
                </a:lnTo>
                <a:lnTo>
                  <a:pt x="1225" y="830"/>
                </a:lnTo>
                <a:lnTo>
                  <a:pt x="1226" y="832"/>
                </a:lnTo>
                <a:lnTo>
                  <a:pt x="1226" y="835"/>
                </a:lnTo>
                <a:lnTo>
                  <a:pt x="1225" y="837"/>
                </a:lnTo>
                <a:lnTo>
                  <a:pt x="1225" y="839"/>
                </a:lnTo>
                <a:lnTo>
                  <a:pt x="1223" y="842"/>
                </a:lnTo>
                <a:lnTo>
                  <a:pt x="1221" y="844"/>
                </a:lnTo>
                <a:lnTo>
                  <a:pt x="1220" y="845"/>
                </a:lnTo>
                <a:lnTo>
                  <a:pt x="1219" y="845"/>
                </a:lnTo>
                <a:lnTo>
                  <a:pt x="1216" y="846"/>
                </a:lnTo>
                <a:lnTo>
                  <a:pt x="1213" y="847"/>
                </a:lnTo>
                <a:lnTo>
                  <a:pt x="1210" y="846"/>
                </a:lnTo>
                <a:lnTo>
                  <a:pt x="1206" y="844"/>
                </a:lnTo>
                <a:lnTo>
                  <a:pt x="1204" y="843"/>
                </a:lnTo>
                <a:lnTo>
                  <a:pt x="1203" y="841"/>
                </a:lnTo>
                <a:lnTo>
                  <a:pt x="1202" y="839"/>
                </a:lnTo>
                <a:lnTo>
                  <a:pt x="1201" y="836"/>
                </a:lnTo>
                <a:lnTo>
                  <a:pt x="1201" y="834"/>
                </a:lnTo>
                <a:lnTo>
                  <a:pt x="1201" y="832"/>
                </a:lnTo>
                <a:lnTo>
                  <a:pt x="1202" y="829"/>
                </a:lnTo>
                <a:lnTo>
                  <a:pt x="1203" y="827"/>
                </a:lnTo>
                <a:lnTo>
                  <a:pt x="1206" y="825"/>
                </a:lnTo>
                <a:lnTo>
                  <a:pt x="1207" y="824"/>
                </a:lnTo>
                <a:lnTo>
                  <a:pt x="1208" y="823"/>
                </a:lnTo>
                <a:lnTo>
                  <a:pt x="1211" y="822"/>
                </a:lnTo>
                <a:lnTo>
                  <a:pt x="1213" y="822"/>
                </a:lnTo>
                <a:close/>
                <a:moveTo>
                  <a:pt x="1100" y="733"/>
                </a:moveTo>
                <a:lnTo>
                  <a:pt x="1104" y="734"/>
                </a:lnTo>
                <a:lnTo>
                  <a:pt x="1108" y="736"/>
                </a:lnTo>
                <a:lnTo>
                  <a:pt x="1110" y="738"/>
                </a:lnTo>
                <a:lnTo>
                  <a:pt x="1111" y="740"/>
                </a:lnTo>
                <a:lnTo>
                  <a:pt x="1112" y="742"/>
                </a:lnTo>
                <a:lnTo>
                  <a:pt x="1112" y="744"/>
                </a:lnTo>
                <a:lnTo>
                  <a:pt x="1112" y="747"/>
                </a:lnTo>
                <a:lnTo>
                  <a:pt x="1112" y="749"/>
                </a:lnTo>
                <a:lnTo>
                  <a:pt x="1111" y="751"/>
                </a:lnTo>
                <a:lnTo>
                  <a:pt x="1110" y="752"/>
                </a:lnTo>
                <a:lnTo>
                  <a:pt x="1110" y="753"/>
                </a:lnTo>
                <a:lnTo>
                  <a:pt x="1108" y="755"/>
                </a:lnTo>
                <a:lnTo>
                  <a:pt x="1105" y="757"/>
                </a:lnTo>
                <a:lnTo>
                  <a:pt x="1103" y="757"/>
                </a:lnTo>
                <a:lnTo>
                  <a:pt x="1100" y="758"/>
                </a:lnTo>
                <a:lnTo>
                  <a:pt x="1096" y="757"/>
                </a:lnTo>
                <a:lnTo>
                  <a:pt x="1092" y="755"/>
                </a:lnTo>
                <a:lnTo>
                  <a:pt x="1091" y="753"/>
                </a:lnTo>
                <a:lnTo>
                  <a:pt x="1089" y="751"/>
                </a:lnTo>
                <a:lnTo>
                  <a:pt x="1088" y="749"/>
                </a:lnTo>
                <a:lnTo>
                  <a:pt x="1088" y="746"/>
                </a:lnTo>
                <a:lnTo>
                  <a:pt x="1088" y="744"/>
                </a:lnTo>
                <a:lnTo>
                  <a:pt x="1088" y="742"/>
                </a:lnTo>
                <a:lnTo>
                  <a:pt x="1089" y="740"/>
                </a:lnTo>
                <a:lnTo>
                  <a:pt x="1090" y="738"/>
                </a:lnTo>
                <a:lnTo>
                  <a:pt x="1091" y="737"/>
                </a:lnTo>
                <a:lnTo>
                  <a:pt x="1093" y="736"/>
                </a:lnTo>
                <a:lnTo>
                  <a:pt x="1095" y="734"/>
                </a:lnTo>
                <a:lnTo>
                  <a:pt x="1098" y="733"/>
                </a:lnTo>
                <a:lnTo>
                  <a:pt x="1100" y="733"/>
                </a:lnTo>
                <a:close/>
                <a:moveTo>
                  <a:pt x="993" y="637"/>
                </a:moveTo>
                <a:lnTo>
                  <a:pt x="997" y="638"/>
                </a:lnTo>
                <a:lnTo>
                  <a:pt x="1000" y="639"/>
                </a:lnTo>
                <a:lnTo>
                  <a:pt x="1001" y="640"/>
                </a:lnTo>
                <a:lnTo>
                  <a:pt x="1003" y="642"/>
                </a:lnTo>
                <a:lnTo>
                  <a:pt x="1004" y="644"/>
                </a:lnTo>
                <a:lnTo>
                  <a:pt x="1005" y="647"/>
                </a:lnTo>
                <a:lnTo>
                  <a:pt x="1005" y="649"/>
                </a:lnTo>
                <a:lnTo>
                  <a:pt x="1004" y="654"/>
                </a:lnTo>
                <a:lnTo>
                  <a:pt x="1003" y="656"/>
                </a:lnTo>
                <a:lnTo>
                  <a:pt x="1002" y="658"/>
                </a:lnTo>
                <a:lnTo>
                  <a:pt x="1000" y="659"/>
                </a:lnTo>
                <a:lnTo>
                  <a:pt x="998" y="661"/>
                </a:lnTo>
                <a:lnTo>
                  <a:pt x="995" y="661"/>
                </a:lnTo>
                <a:lnTo>
                  <a:pt x="993" y="662"/>
                </a:lnTo>
                <a:lnTo>
                  <a:pt x="988" y="661"/>
                </a:lnTo>
                <a:lnTo>
                  <a:pt x="986" y="660"/>
                </a:lnTo>
                <a:lnTo>
                  <a:pt x="984" y="658"/>
                </a:lnTo>
                <a:lnTo>
                  <a:pt x="983" y="656"/>
                </a:lnTo>
                <a:lnTo>
                  <a:pt x="982" y="654"/>
                </a:lnTo>
                <a:lnTo>
                  <a:pt x="981" y="652"/>
                </a:lnTo>
                <a:lnTo>
                  <a:pt x="981" y="650"/>
                </a:lnTo>
                <a:lnTo>
                  <a:pt x="981" y="645"/>
                </a:lnTo>
                <a:lnTo>
                  <a:pt x="982" y="643"/>
                </a:lnTo>
                <a:lnTo>
                  <a:pt x="984" y="641"/>
                </a:lnTo>
                <a:lnTo>
                  <a:pt x="986" y="639"/>
                </a:lnTo>
                <a:lnTo>
                  <a:pt x="988" y="638"/>
                </a:lnTo>
                <a:lnTo>
                  <a:pt x="991" y="637"/>
                </a:lnTo>
                <a:lnTo>
                  <a:pt x="993" y="637"/>
                </a:lnTo>
                <a:close/>
                <a:moveTo>
                  <a:pt x="891" y="535"/>
                </a:moveTo>
                <a:lnTo>
                  <a:pt x="894" y="535"/>
                </a:lnTo>
                <a:lnTo>
                  <a:pt x="896" y="536"/>
                </a:lnTo>
                <a:lnTo>
                  <a:pt x="898" y="537"/>
                </a:lnTo>
                <a:lnTo>
                  <a:pt x="900" y="539"/>
                </a:lnTo>
                <a:lnTo>
                  <a:pt x="902" y="541"/>
                </a:lnTo>
                <a:lnTo>
                  <a:pt x="903" y="543"/>
                </a:lnTo>
                <a:lnTo>
                  <a:pt x="903" y="545"/>
                </a:lnTo>
                <a:lnTo>
                  <a:pt x="903" y="548"/>
                </a:lnTo>
                <a:lnTo>
                  <a:pt x="903" y="550"/>
                </a:lnTo>
                <a:lnTo>
                  <a:pt x="902" y="552"/>
                </a:lnTo>
                <a:lnTo>
                  <a:pt x="901" y="554"/>
                </a:lnTo>
                <a:lnTo>
                  <a:pt x="900" y="556"/>
                </a:lnTo>
                <a:lnTo>
                  <a:pt x="898" y="558"/>
                </a:lnTo>
                <a:lnTo>
                  <a:pt x="896" y="559"/>
                </a:lnTo>
                <a:lnTo>
                  <a:pt x="891" y="560"/>
                </a:lnTo>
                <a:lnTo>
                  <a:pt x="889" y="559"/>
                </a:lnTo>
                <a:lnTo>
                  <a:pt x="886" y="559"/>
                </a:lnTo>
                <a:lnTo>
                  <a:pt x="884" y="558"/>
                </a:lnTo>
                <a:lnTo>
                  <a:pt x="882" y="556"/>
                </a:lnTo>
                <a:lnTo>
                  <a:pt x="881" y="554"/>
                </a:lnTo>
                <a:lnTo>
                  <a:pt x="880" y="552"/>
                </a:lnTo>
                <a:lnTo>
                  <a:pt x="879" y="549"/>
                </a:lnTo>
                <a:lnTo>
                  <a:pt x="879" y="547"/>
                </a:lnTo>
                <a:lnTo>
                  <a:pt x="879" y="545"/>
                </a:lnTo>
                <a:lnTo>
                  <a:pt x="880" y="542"/>
                </a:lnTo>
                <a:lnTo>
                  <a:pt x="881" y="540"/>
                </a:lnTo>
                <a:lnTo>
                  <a:pt x="883" y="538"/>
                </a:lnTo>
                <a:lnTo>
                  <a:pt x="885" y="537"/>
                </a:lnTo>
                <a:lnTo>
                  <a:pt x="887" y="536"/>
                </a:lnTo>
                <a:lnTo>
                  <a:pt x="891" y="535"/>
                </a:lnTo>
                <a:close/>
                <a:moveTo>
                  <a:pt x="794" y="428"/>
                </a:moveTo>
                <a:lnTo>
                  <a:pt x="797" y="429"/>
                </a:lnTo>
                <a:lnTo>
                  <a:pt x="799" y="429"/>
                </a:lnTo>
                <a:lnTo>
                  <a:pt x="802" y="431"/>
                </a:lnTo>
                <a:lnTo>
                  <a:pt x="804" y="433"/>
                </a:lnTo>
                <a:lnTo>
                  <a:pt x="805" y="435"/>
                </a:lnTo>
                <a:lnTo>
                  <a:pt x="806" y="437"/>
                </a:lnTo>
                <a:lnTo>
                  <a:pt x="807" y="439"/>
                </a:lnTo>
                <a:lnTo>
                  <a:pt x="807" y="442"/>
                </a:lnTo>
                <a:lnTo>
                  <a:pt x="806" y="444"/>
                </a:lnTo>
                <a:lnTo>
                  <a:pt x="805" y="446"/>
                </a:lnTo>
                <a:lnTo>
                  <a:pt x="804" y="448"/>
                </a:lnTo>
                <a:lnTo>
                  <a:pt x="803" y="450"/>
                </a:lnTo>
                <a:lnTo>
                  <a:pt x="799" y="452"/>
                </a:lnTo>
                <a:lnTo>
                  <a:pt x="794" y="453"/>
                </a:lnTo>
                <a:lnTo>
                  <a:pt x="792" y="453"/>
                </a:lnTo>
                <a:lnTo>
                  <a:pt x="789" y="452"/>
                </a:lnTo>
                <a:lnTo>
                  <a:pt x="787" y="451"/>
                </a:lnTo>
                <a:lnTo>
                  <a:pt x="785" y="449"/>
                </a:lnTo>
                <a:lnTo>
                  <a:pt x="784" y="447"/>
                </a:lnTo>
                <a:lnTo>
                  <a:pt x="783" y="444"/>
                </a:lnTo>
                <a:lnTo>
                  <a:pt x="782" y="442"/>
                </a:lnTo>
                <a:lnTo>
                  <a:pt x="782" y="440"/>
                </a:lnTo>
                <a:lnTo>
                  <a:pt x="783" y="437"/>
                </a:lnTo>
                <a:lnTo>
                  <a:pt x="783" y="435"/>
                </a:lnTo>
                <a:lnTo>
                  <a:pt x="785" y="433"/>
                </a:lnTo>
                <a:lnTo>
                  <a:pt x="786" y="431"/>
                </a:lnTo>
                <a:lnTo>
                  <a:pt x="790" y="429"/>
                </a:lnTo>
                <a:lnTo>
                  <a:pt x="794" y="428"/>
                </a:lnTo>
                <a:close/>
                <a:moveTo>
                  <a:pt x="702" y="318"/>
                </a:moveTo>
                <a:lnTo>
                  <a:pt x="705" y="318"/>
                </a:lnTo>
                <a:lnTo>
                  <a:pt x="707" y="319"/>
                </a:lnTo>
                <a:lnTo>
                  <a:pt x="710" y="320"/>
                </a:lnTo>
                <a:lnTo>
                  <a:pt x="712" y="322"/>
                </a:lnTo>
                <a:lnTo>
                  <a:pt x="713" y="324"/>
                </a:lnTo>
                <a:lnTo>
                  <a:pt x="714" y="327"/>
                </a:lnTo>
                <a:lnTo>
                  <a:pt x="714" y="329"/>
                </a:lnTo>
                <a:lnTo>
                  <a:pt x="714" y="331"/>
                </a:lnTo>
                <a:lnTo>
                  <a:pt x="713" y="336"/>
                </a:lnTo>
                <a:lnTo>
                  <a:pt x="712" y="338"/>
                </a:lnTo>
                <a:lnTo>
                  <a:pt x="710" y="340"/>
                </a:lnTo>
                <a:lnTo>
                  <a:pt x="708" y="341"/>
                </a:lnTo>
                <a:lnTo>
                  <a:pt x="706" y="342"/>
                </a:lnTo>
                <a:lnTo>
                  <a:pt x="702" y="342"/>
                </a:lnTo>
                <a:lnTo>
                  <a:pt x="700" y="342"/>
                </a:lnTo>
                <a:lnTo>
                  <a:pt x="697" y="341"/>
                </a:lnTo>
                <a:lnTo>
                  <a:pt x="695" y="340"/>
                </a:lnTo>
                <a:lnTo>
                  <a:pt x="693" y="338"/>
                </a:lnTo>
                <a:lnTo>
                  <a:pt x="691" y="336"/>
                </a:lnTo>
                <a:lnTo>
                  <a:pt x="690" y="333"/>
                </a:lnTo>
                <a:lnTo>
                  <a:pt x="690" y="331"/>
                </a:lnTo>
                <a:lnTo>
                  <a:pt x="690" y="329"/>
                </a:lnTo>
                <a:lnTo>
                  <a:pt x="691" y="324"/>
                </a:lnTo>
                <a:lnTo>
                  <a:pt x="693" y="322"/>
                </a:lnTo>
                <a:lnTo>
                  <a:pt x="695" y="320"/>
                </a:lnTo>
                <a:lnTo>
                  <a:pt x="696" y="319"/>
                </a:lnTo>
                <a:lnTo>
                  <a:pt x="698" y="318"/>
                </a:lnTo>
                <a:lnTo>
                  <a:pt x="702" y="318"/>
                </a:lnTo>
                <a:close/>
                <a:moveTo>
                  <a:pt x="613" y="204"/>
                </a:moveTo>
                <a:lnTo>
                  <a:pt x="616" y="204"/>
                </a:lnTo>
                <a:lnTo>
                  <a:pt x="619" y="205"/>
                </a:lnTo>
                <a:lnTo>
                  <a:pt x="621" y="206"/>
                </a:lnTo>
                <a:lnTo>
                  <a:pt x="622" y="207"/>
                </a:lnTo>
                <a:lnTo>
                  <a:pt x="623" y="209"/>
                </a:lnTo>
                <a:lnTo>
                  <a:pt x="624" y="211"/>
                </a:lnTo>
                <a:lnTo>
                  <a:pt x="625" y="213"/>
                </a:lnTo>
                <a:lnTo>
                  <a:pt x="625" y="215"/>
                </a:lnTo>
                <a:lnTo>
                  <a:pt x="625" y="218"/>
                </a:lnTo>
                <a:lnTo>
                  <a:pt x="624" y="222"/>
                </a:lnTo>
                <a:lnTo>
                  <a:pt x="622" y="224"/>
                </a:lnTo>
                <a:lnTo>
                  <a:pt x="620" y="226"/>
                </a:lnTo>
                <a:lnTo>
                  <a:pt x="619" y="227"/>
                </a:lnTo>
                <a:lnTo>
                  <a:pt x="617" y="228"/>
                </a:lnTo>
                <a:lnTo>
                  <a:pt x="615" y="228"/>
                </a:lnTo>
                <a:lnTo>
                  <a:pt x="613" y="228"/>
                </a:lnTo>
                <a:lnTo>
                  <a:pt x="610" y="228"/>
                </a:lnTo>
                <a:lnTo>
                  <a:pt x="608" y="227"/>
                </a:lnTo>
                <a:lnTo>
                  <a:pt x="605" y="225"/>
                </a:lnTo>
                <a:lnTo>
                  <a:pt x="604" y="224"/>
                </a:lnTo>
                <a:lnTo>
                  <a:pt x="603" y="223"/>
                </a:lnTo>
                <a:lnTo>
                  <a:pt x="602" y="221"/>
                </a:lnTo>
                <a:lnTo>
                  <a:pt x="601" y="219"/>
                </a:lnTo>
                <a:lnTo>
                  <a:pt x="601" y="217"/>
                </a:lnTo>
                <a:lnTo>
                  <a:pt x="601" y="214"/>
                </a:lnTo>
                <a:lnTo>
                  <a:pt x="602" y="210"/>
                </a:lnTo>
                <a:lnTo>
                  <a:pt x="604" y="208"/>
                </a:lnTo>
                <a:lnTo>
                  <a:pt x="606" y="206"/>
                </a:lnTo>
                <a:lnTo>
                  <a:pt x="607" y="205"/>
                </a:lnTo>
                <a:lnTo>
                  <a:pt x="609" y="204"/>
                </a:lnTo>
                <a:lnTo>
                  <a:pt x="611" y="204"/>
                </a:lnTo>
                <a:lnTo>
                  <a:pt x="613" y="204"/>
                </a:lnTo>
                <a:close/>
                <a:moveTo>
                  <a:pt x="529" y="87"/>
                </a:moveTo>
                <a:lnTo>
                  <a:pt x="531" y="87"/>
                </a:lnTo>
                <a:lnTo>
                  <a:pt x="534" y="88"/>
                </a:lnTo>
                <a:lnTo>
                  <a:pt x="537" y="90"/>
                </a:lnTo>
                <a:lnTo>
                  <a:pt x="539" y="92"/>
                </a:lnTo>
                <a:lnTo>
                  <a:pt x="540" y="94"/>
                </a:lnTo>
                <a:lnTo>
                  <a:pt x="541" y="97"/>
                </a:lnTo>
                <a:lnTo>
                  <a:pt x="541" y="101"/>
                </a:lnTo>
                <a:lnTo>
                  <a:pt x="540" y="104"/>
                </a:lnTo>
                <a:lnTo>
                  <a:pt x="539" y="106"/>
                </a:lnTo>
                <a:lnTo>
                  <a:pt x="538" y="108"/>
                </a:lnTo>
                <a:lnTo>
                  <a:pt x="536" y="109"/>
                </a:lnTo>
                <a:lnTo>
                  <a:pt x="532" y="111"/>
                </a:lnTo>
                <a:lnTo>
                  <a:pt x="529" y="112"/>
                </a:lnTo>
                <a:lnTo>
                  <a:pt x="526" y="111"/>
                </a:lnTo>
                <a:lnTo>
                  <a:pt x="523" y="110"/>
                </a:lnTo>
                <a:lnTo>
                  <a:pt x="521" y="109"/>
                </a:lnTo>
                <a:lnTo>
                  <a:pt x="519" y="106"/>
                </a:lnTo>
                <a:lnTo>
                  <a:pt x="517" y="104"/>
                </a:lnTo>
                <a:lnTo>
                  <a:pt x="517" y="102"/>
                </a:lnTo>
                <a:lnTo>
                  <a:pt x="516" y="97"/>
                </a:lnTo>
                <a:lnTo>
                  <a:pt x="517" y="95"/>
                </a:lnTo>
                <a:lnTo>
                  <a:pt x="518" y="93"/>
                </a:lnTo>
                <a:lnTo>
                  <a:pt x="520" y="91"/>
                </a:lnTo>
                <a:lnTo>
                  <a:pt x="522" y="89"/>
                </a:lnTo>
                <a:lnTo>
                  <a:pt x="525" y="88"/>
                </a:lnTo>
                <a:lnTo>
                  <a:pt x="529" y="87"/>
                </a:lnTo>
                <a:close/>
                <a:moveTo>
                  <a:pt x="1915" y="1532"/>
                </a:moveTo>
                <a:lnTo>
                  <a:pt x="1917" y="1532"/>
                </a:lnTo>
                <a:lnTo>
                  <a:pt x="1919" y="1533"/>
                </a:lnTo>
                <a:lnTo>
                  <a:pt x="1922" y="1534"/>
                </a:lnTo>
                <a:lnTo>
                  <a:pt x="1923" y="1536"/>
                </a:lnTo>
                <a:lnTo>
                  <a:pt x="1925" y="1538"/>
                </a:lnTo>
                <a:lnTo>
                  <a:pt x="1926" y="1540"/>
                </a:lnTo>
                <a:lnTo>
                  <a:pt x="1927" y="1542"/>
                </a:lnTo>
                <a:lnTo>
                  <a:pt x="1927" y="1545"/>
                </a:lnTo>
                <a:lnTo>
                  <a:pt x="1926" y="1547"/>
                </a:lnTo>
                <a:lnTo>
                  <a:pt x="1926" y="1549"/>
                </a:lnTo>
                <a:lnTo>
                  <a:pt x="1924" y="1551"/>
                </a:lnTo>
                <a:lnTo>
                  <a:pt x="1923" y="1553"/>
                </a:lnTo>
                <a:lnTo>
                  <a:pt x="1919" y="1555"/>
                </a:lnTo>
                <a:lnTo>
                  <a:pt x="1917" y="1556"/>
                </a:lnTo>
                <a:lnTo>
                  <a:pt x="1915" y="1556"/>
                </a:lnTo>
                <a:lnTo>
                  <a:pt x="1912" y="1556"/>
                </a:lnTo>
                <a:lnTo>
                  <a:pt x="1910" y="1555"/>
                </a:lnTo>
                <a:lnTo>
                  <a:pt x="1907" y="1554"/>
                </a:lnTo>
                <a:lnTo>
                  <a:pt x="1906" y="1552"/>
                </a:lnTo>
                <a:lnTo>
                  <a:pt x="1904" y="1551"/>
                </a:lnTo>
                <a:lnTo>
                  <a:pt x="1903" y="1548"/>
                </a:lnTo>
                <a:lnTo>
                  <a:pt x="1903" y="1546"/>
                </a:lnTo>
                <a:lnTo>
                  <a:pt x="1902" y="1544"/>
                </a:lnTo>
                <a:lnTo>
                  <a:pt x="1903" y="1541"/>
                </a:lnTo>
                <a:lnTo>
                  <a:pt x="1903" y="1539"/>
                </a:lnTo>
                <a:lnTo>
                  <a:pt x="1905" y="1537"/>
                </a:lnTo>
                <a:lnTo>
                  <a:pt x="1906" y="1535"/>
                </a:lnTo>
                <a:lnTo>
                  <a:pt x="1910" y="1533"/>
                </a:lnTo>
                <a:lnTo>
                  <a:pt x="1912" y="1532"/>
                </a:lnTo>
                <a:lnTo>
                  <a:pt x="1915" y="1532"/>
                </a:lnTo>
                <a:close/>
                <a:moveTo>
                  <a:pt x="2059" y="1527"/>
                </a:moveTo>
                <a:lnTo>
                  <a:pt x="2064" y="1528"/>
                </a:lnTo>
                <a:lnTo>
                  <a:pt x="2066" y="1529"/>
                </a:lnTo>
                <a:lnTo>
                  <a:pt x="2067" y="1531"/>
                </a:lnTo>
                <a:lnTo>
                  <a:pt x="2070" y="1534"/>
                </a:lnTo>
                <a:lnTo>
                  <a:pt x="2071" y="1536"/>
                </a:lnTo>
                <a:lnTo>
                  <a:pt x="2071" y="1538"/>
                </a:lnTo>
                <a:lnTo>
                  <a:pt x="2071" y="1541"/>
                </a:lnTo>
                <a:lnTo>
                  <a:pt x="2071" y="1543"/>
                </a:lnTo>
                <a:lnTo>
                  <a:pt x="2070" y="1545"/>
                </a:lnTo>
                <a:lnTo>
                  <a:pt x="2069" y="1547"/>
                </a:lnTo>
                <a:lnTo>
                  <a:pt x="2067" y="1549"/>
                </a:lnTo>
                <a:lnTo>
                  <a:pt x="2065" y="1550"/>
                </a:lnTo>
                <a:lnTo>
                  <a:pt x="2061" y="1552"/>
                </a:lnTo>
                <a:lnTo>
                  <a:pt x="2055" y="1551"/>
                </a:lnTo>
                <a:lnTo>
                  <a:pt x="2053" y="1550"/>
                </a:lnTo>
                <a:lnTo>
                  <a:pt x="2051" y="1549"/>
                </a:lnTo>
                <a:lnTo>
                  <a:pt x="2050" y="1547"/>
                </a:lnTo>
                <a:lnTo>
                  <a:pt x="2049" y="1545"/>
                </a:lnTo>
                <a:lnTo>
                  <a:pt x="2048" y="1543"/>
                </a:lnTo>
                <a:lnTo>
                  <a:pt x="2047" y="1541"/>
                </a:lnTo>
                <a:lnTo>
                  <a:pt x="2047" y="1538"/>
                </a:lnTo>
                <a:lnTo>
                  <a:pt x="2048" y="1536"/>
                </a:lnTo>
                <a:lnTo>
                  <a:pt x="2049" y="1534"/>
                </a:lnTo>
                <a:lnTo>
                  <a:pt x="2050" y="1532"/>
                </a:lnTo>
                <a:lnTo>
                  <a:pt x="2052" y="1530"/>
                </a:lnTo>
                <a:lnTo>
                  <a:pt x="2054" y="1529"/>
                </a:lnTo>
                <a:lnTo>
                  <a:pt x="2058" y="1527"/>
                </a:lnTo>
                <a:lnTo>
                  <a:pt x="2059" y="1527"/>
                </a:lnTo>
                <a:close/>
                <a:moveTo>
                  <a:pt x="1772" y="1517"/>
                </a:moveTo>
                <a:lnTo>
                  <a:pt x="1774" y="1517"/>
                </a:lnTo>
                <a:lnTo>
                  <a:pt x="1776" y="1517"/>
                </a:lnTo>
                <a:lnTo>
                  <a:pt x="1778" y="1519"/>
                </a:lnTo>
                <a:lnTo>
                  <a:pt x="1780" y="1520"/>
                </a:lnTo>
                <a:lnTo>
                  <a:pt x="1782" y="1522"/>
                </a:lnTo>
                <a:lnTo>
                  <a:pt x="1783" y="1524"/>
                </a:lnTo>
                <a:lnTo>
                  <a:pt x="1784" y="1526"/>
                </a:lnTo>
                <a:lnTo>
                  <a:pt x="1784" y="1528"/>
                </a:lnTo>
                <a:lnTo>
                  <a:pt x="1784" y="1531"/>
                </a:lnTo>
                <a:lnTo>
                  <a:pt x="1783" y="1533"/>
                </a:lnTo>
                <a:lnTo>
                  <a:pt x="1782" y="1535"/>
                </a:lnTo>
                <a:lnTo>
                  <a:pt x="1779" y="1538"/>
                </a:lnTo>
                <a:lnTo>
                  <a:pt x="1778" y="1539"/>
                </a:lnTo>
                <a:lnTo>
                  <a:pt x="1776" y="1540"/>
                </a:lnTo>
                <a:lnTo>
                  <a:pt x="1772" y="1541"/>
                </a:lnTo>
                <a:lnTo>
                  <a:pt x="1770" y="1541"/>
                </a:lnTo>
                <a:lnTo>
                  <a:pt x="1767" y="1540"/>
                </a:lnTo>
                <a:lnTo>
                  <a:pt x="1765" y="1539"/>
                </a:lnTo>
                <a:lnTo>
                  <a:pt x="1763" y="1537"/>
                </a:lnTo>
                <a:lnTo>
                  <a:pt x="1762" y="1536"/>
                </a:lnTo>
                <a:lnTo>
                  <a:pt x="1761" y="1534"/>
                </a:lnTo>
                <a:lnTo>
                  <a:pt x="1760" y="1531"/>
                </a:lnTo>
                <a:lnTo>
                  <a:pt x="1759" y="1529"/>
                </a:lnTo>
                <a:lnTo>
                  <a:pt x="1760" y="1527"/>
                </a:lnTo>
                <a:lnTo>
                  <a:pt x="1760" y="1525"/>
                </a:lnTo>
                <a:lnTo>
                  <a:pt x="1761" y="1523"/>
                </a:lnTo>
                <a:lnTo>
                  <a:pt x="1764" y="1519"/>
                </a:lnTo>
                <a:lnTo>
                  <a:pt x="1766" y="1518"/>
                </a:lnTo>
                <a:lnTo>
                  <a:pt x="1767" y="1517"/>
                </a:lnTo>
                <a:lnTo>
                  <a:pt x="1772" y="1517"/>
                </a:lnTo>
                <a:close/>
                <a:moveTo>
                  <a:pt x="2201" y="1504"/>
                </a:moveTo>
                <a:lnTo>
                  <a:pt x="2205" y="1504"/>
                </a:lnTo>
                <a:lnTo>
                  <a:pt x="2207" y="1505"/>
                </a:lnTo>
                <a:lnTo>
                  <a:pt x="2209" y="1506"/>
                </a:lnTo>
                <a:lnTo>
                  <a:pt x="2210" y="1508"/>
                </a:lnTo>
                <a:lnTo>
                  <a:pt x="2211" y="1509"/>
                </a:lnTo>
                <a:lnTo>
                  <a:pt x="2213" y="1513"/>
                </a:lnTo>
                <a:lnTo>
                  <a:pt x="2213" y="1516"/>
                </a:lnTo>
                <a:lnTo>
                  <a:pt x="2213" y="1518"/>
                </a:lnTo>
                <a:lnTo>
                  <a:pt x="2213" y="1520"/>
                </a:lnTo>
                <a:lnTo>
                  <a:pt x="2212" y="1522"/>
                </a:lnTo>
                <a:lnTo>
                  <a:pt x="2210" y="1524"/>
                </a:lnTo>
                <a:lnTo>
                  <a:pt x="2208" y="1526"/>
                </a:lnTo>
                <a:lnTo>
                  <a:pt x="2206" y="1527"/>
                </a:lnTo>
                <a:lnTo>
                  <a:pt x="2204" y="1528"/>
                </a:lnTo>
                <a:lnTo>
                  <a:pt x="2201" y="1528"/>
                </a:lnTo>
                <a:lnTo>
                  <a:pt x="2197" y="1527"/>
                </a:lnTo>
                <a:lnTo>
                  <a:pt x="2195" y="1527"/>
                </a:lnTo>
                <a:lnTo>
                  <a:pt x="2194" y="1526"/>
                </a:lnTo>
                <a:lnTo>
                  <a:pt x="2192" y="1524"/>
                </a:lnTo>
                <a:lnTo>
                  <a:pt x="2191" y="1523"/>
                </a:lnTo>
                <a:lnTo>
                  <a:pt x="2189" y="1519"/>
                </a:lnTo>
                <a:lnTo>
                  <a:pt x="2189" y="1516"/>
                </a:lnTo>
                <a:lnTo>
                  <a:pt x="2189" y="1514"/>
                </a:lnTo>
                <a:lnTo>
                  <a:pt x="2190" y="1512"/>
                </a:lnTo>
                <a:lnTo>
                  <a:pt x="2191" y="1510"/>
                </a:lnTo>
                <a:lnTo>
                  <a:pt x="2192" y="1508"/>
                </a:lnTo>
                <a:lnTo>
                  <a:pt x="2194" y="1506"/>
                </a:lnTo>
                <a:lnTo>
                  <a:pt x="2196" y="1505"/>
                </a:lnTo>
                <a:lnTo>
                  <a:pt x="2199" y="1504"/>
                </a:lnTo>
                <a:lnTo>
                  <a:pt x="2201" y="1504"/>
                </a:lnTo>
                <a:close/>
                <a:moveTo>
                  <a:pt x="1632" y="1482"/>
                </a:moveTo>
                <a:lnTo>
                  <a:pt x="1636" y="1483"/>
                </a:lnTo>
                <a:lnTo>
                  <a:pt x="1638" y="1484"/>
                </a:lnTo>
                <a:lnTo>
                  <a:pt x="1640" y="1485"/>
                </a:lnTo>
                <a:lnTo>
                  <a:pt x="1642" y="1487"/>
                </a:lnTo>
                <a:lnTo>
                  <a:pt x="1643" y="1489"/>
                </a:lnTo>
                <a:lnTo>
                  <a:pt x="1644" y="1491"/>
                </a:lnTo>
                <a:lnTo>
                  <a:pt x="1644" y="1493"/>
                </a:lnTo>
                <a:lnTo>
                  <a:pt x="1644" y="1495"/>
                </a:lnTo>
                <a:lnTo>
                  <a:pt x="1644" y="1498"/>
                </a:lnTo>
                <a:lnTo>
                  <a:pt x="1642" y="1501"/>
                </a:lnTo>
                <a:lnTo>
                  <a:pt x="1639" y="1504"/>
                </a:lnTo>
                <a:lnTo>
                  <a:pt x="1636" y="1506"/>
                </a:lnTo>
                <a:lnTo>
                  <a:pt x="1634" y="1506"/>
                </a:lnTo>
                <a:lnTo>
                  <a:pt x="1632" y="1506"/>
                </a:lnTo>
                <a:lnTo>
                  <a:pt x="1628" y="1506"/>
                </a:lnTo>
                <a:lnTo>
                  <a:pt x="1626" y="1505"/>
                </a:lnTo>
                <a:lnTo>
                  <a:pt x="1624" y="1503"/>
                </a:lnTo>
                <a:lnTo>
                  <a:pt x="1623" y="1502"/>
                </a:lnTo>
                <a:lnTo>
                  <a:pt x="1621" y="1500"/>
                </a:lnTo>
                <a:lnTo>
                  <a:pt x="1620" y="1498"/>
                </a:lnTo>
                <a:lnTo>
                  <a:pt x="1620" y="1495"/>
                </a:lnTo>
                <a:lnTo>
                  <a:pt x="1620" y="1493"/>
                </a:lnTo>
                <a:lnTo>
                  <a:pt x="1621" y="1491"/>
                </a:lnTo>
                <a:lnTo>
                  <a:pt x="1622" y="1487"/>
                </a:lnTo>
                <a:lnTo>
                  <a:pt x="1625" y="1484"/>
                </a:lnTo>
                <a:lnTo>
                  <a:pt x="1628" y="1483"/>
                </a:lnTo>
                <a:lnTo>
                  <a:pt x="1630" y="1482"/>
                </a:lnTo>
                <a:lnTo>
                  <a:pt x="1632" y="1482"/>
                </a:lnTo>
                <a:close/>
                <a:moveTo>
                  <a:pt x="2339" y="1463"/>
                </a:moveTo>
                <a:lnTo>
                  <a:pt x="2343" y="1464"/>
                </a:lnTo>
                <a:lnTo>
                  <a:pt x="2345" y="1464"/>
                </a:lnTo>
                <a:lnTo>
                  <a:pt x="2346" y="1465"/>
                </a:lnTo>
                <a:lnTo>
                  <a:pt x="2349" y="1468"/>
                </a:lnTo>
                <a:lnTo>
                  <a:pt x="2350" y="1469"/>
                </a:lnTo>
                <a:lnTo>
                  <a:pt x="2351" y="1471"/>
                </a:lnTo>
                <a:lnTo>
                  <a:pt x="2351" y="1476"/>
                </a:lnTo>
                <a:lnTo>
                  <a:pt x="2351" y="1478"/>
                </a:lnTo>
                <a:lnTo>
                  <a:pt x="2350" y="1480"/>
                </a:lnTo>
                <a:lnTo>
                  <a:pt x="2349" y="1482"/>
                </a:lnTo>
                <a:lnTo>
                  <a:pt x="2348" y="1484"/>
                </a:lnTo>
                <a:lnTo>
                  <a:pt x="2346" y="1486"/>
                </a:lnTo>
                <a:lnTo>
                  <a:pt x="2343" y="1487"/>
                </a:lnTo>
                <a:lnTo>
                  <a:pt x="2339" y="1487"/>
                </a:lnTo>
                <a:lnTo>
                  <a:pt x="2336" y="1487"/>
                </a:lnTo>
                <a:lnTo>
                  <a:pt x="2334" y="1486"/>
                </a:lnTo>
                <a:lnTo>
                  <a:pt x="2332" y="1485"/>
                </a:lnTo>
                <a:lnTo>
                  <a:pt x="2330" y="1483"/>
                </a:lnTo>
                <a:lnTo>
                  <a:pt x="2329" y="1481"/>
                </a:lnTo>
                <a:lnTo>
                  <a:pt x="2328" y="1479"/>
                </a:lnTo>
                <a:lnTo>
                  <a:pt x="2327" y="1475"/>
                </a:lnTo>
                <a:lnTo>
                  <a:pt x="2328" y="1472"/>
                </a:lnTo>
                <a:lnTo>
                  <a:pt x="2328" y="1470"/>
                </a:lnTo>
                <a:lnTo>
                  <a:pt x="2329" y="1468"/>
                </a:lnTo>
                <a:lnTo>
                  <a:pt x="2331" y="1466"/>
                </a:lnTo>
                <a:lnTo>
                  <a:pt x="2333" y="1465"/>
                </a:lnTo>
                <a:lnTo>
                  <a:pt x="2335" y="1464"/>
                </a:lnTo>
                <a:lnTo>
                  <a:pt x="2339" y="1463"/>
                </a:lnTo>
                <a:close/>
                <a:moveTo>
                  <a:pt x="1498" y="1430"/>
                </a:moveTo>
                <a:lnTo>
                  <a:pt x="1501" y="1430"/>
                </a:lnTo>
                <a:lnTo>
                  <a:pt x="1503" y="1431"/>
                </a:lnTo>
                <a:lnTo>
                  <a:pt x="1507" y="1434"/>
                </a:lnTo>
                <a:lnTo>
                  <a:pt x="1508" y="1436"/>
                </a:lnTo>
                <a:lnTo>
                  <a:pt x="1509" y="1438"/>
                </a:lnTo>
                <a:lnTo>
                  <a:pt x="1510" y="1443"/>
                </a:lnTo>
                <a:lnTo>
                  <a:pt x="1510" y="1445"/>
                </a:lnTo>
                <a:lnTo>
                  <a:pt x="1509" y="1447"/>
                </a:lnTo>
                <a:lnTo>
                  <a:pt x="1507" y="1450"/>
                </a:lnTo>
                <a:lnTo>
                  <a:pt x="1505" y="1453"/>
                </a:lnTo>
                <a:lnTo>
                  <a:pt x="1501" y="1454"/>
                </a:lnTo>
                <a:lnTo>
                  <a:pt x="1498" y="1454"/>
                </a:lnTo>
                <a:lnTo>
                  <a:pt x="1495" y="1454"/>
                </a:lnTo>
                <a:lnTo>
                  <a:pt x="1493" y="1453"/>
                </a:lnTo>
                <a:lnTo>
                  <a:pt x="1489" y="1450"/>
                </a:lnTo>
                <a:lnTo>
                  <a:pt x="1488" y="1449"/>
                </a:lnTo>
                <a:lnTo>
                  <a:pt x="1487" y="1446"/>
                </a:lnTo>
                <a:lnTo>
                  <a:pt x="1486" y="1442"/>
                </a:lnTo>
                <a:lnTo>
                  <a:pt x="1486" y="1440"/>
                </a:lnTo>
                <a:lnTo>
                  <a:pt x="1487" y="1437"/>
                </a:lnTo>
                <a:lnTo>
                  <a:pt x="1489" y="1434"/>
                </a:lnTo>
                <a:lnTo>
                  <a:pt x="1490" y="1433"/>
                </a:lnTo>
                <a:lnTo>
                  <a:pt x="1492" y="1432"/>
                </a:lnTo>
                <a:lnTo>
                  <a:pt x="1495" y="1431"/>
                </a:lnTo>
                <a:lnTo>
                  <a:pt x="1498" y="1430"/>
                </a:lnTo>
                <a:close/>
                <a:moveTo>
                  <a:pt x="2472" y="1408"/>
                </a:moveTo>
                <a:lnTo>
                  <a:pt x="2475" y="1408"/>
                </a:lnTo>
                <a:lnTo>
                  <a:pt x="2479" y="1410"/>
                </a:lnTo>
                <a:lnTo>
                  <a:pt x="2480" y="1411"/>
                </a:lnTo>
                <a:lnTo>
                  <a:pt x="2481" y="1412"/>
                </a:lnTo>
                <a:lnTo>
                  <a:pt x="2483" y="1415"/>
                </a:lnTo>
                <a:lnTo>
                  <a:pt x="2484" y="1417"/>
                </a:lnTo>
                <a:lnTo>
                  <a:pt x="2484" y="1419"/>
                </a:lnTo>
                <a:lnTo>
                  <a:pt x="2484" y="1422"/>
                </a:lnTo>
                <a:lnTo>
                  <a:pt x="2484" y="1424"/>
                </a:lnTo>
                <a:lnTo>
                  <a:pt x="2483" y="1426"/>
                </a:lnTo>
                <a:lnTo>
                  <a:pt x="2481" y="1428"/>
                </a:lnTo>
                <a:lnTo>
                  <a:pt x="2480" y="1429"/>
                </a:lnTo>
                <a:lnTo>
                  <a:pt x="2479" y="1430"/>
                </a:lnTo>
                <a:lnTo>
                  <a:pt x="2477" y="1431"/>
                </a:lnTo>
                <a:lnTo>
                  <a:pt x="2475" y="1432"/>
                </a:lnTo>
                <a:lnTo>
                  <a:pt x="2472" y="1432"/>
                </a:lnTo>
                <a:lnTo>
                  <a:pt x="2469" y="1432"/>
                </a:lnTo>
                <a:lnTo>
                  <a:pt x="2466" y="1430"/>
                </a:lnTo>
                <a:lnTo>
                  <a:pt x="2464" y="1429"/>
                </a:lnTo>
                <a:lnTo>
                  <a:pt x="2463" y="1428"/>
                </a:lnTo>
                <a:lnTo>
                  <a:pt x="2461" y="1425"/>
                </a:lnTo>
                <a:lnTo>
                  <a:pt x="2460" y="1423"/>
                </a:lnTo>
                <a:lnTo>
                  <a:pt x="2460" y="1420"/>
                </a:lnTo>
                <a:lnTo>
                  <a:pt x="2460" y="1418"/>
                </a:lnTo>
                <a:lnTo>
                  <a:pt x="2461" y="1416"/>
                </a:lnTo>
                <a:lnTo>
                  <a:pt x="2462" y="1414"/>
                </a:lnTo>
                <a:lnTo>
                  <a:pt x="2463" y="1412"/>
                </a:lnTo>
                <a:lnTo>
                  <a:pt x="2464" y="1411"/>
                </a:lnTo>
                <a:lnTo>
                  <a:pt x="2465" y="1410"/>
                </a:lnTo>
                <a:lnTo>
                  <a:pt x="2467" y="1409"/>
                </a:lnTo>
                <a:lnTo>
                  <a:pt x="2470" y="1408"/>
                </a:lnTo>
                <a:lnTo>
                  <a:pt x="2472" y="1408"/>
                </a:lnTo>
                <a:close/>
                <a:moveTo>
                  <a:pt x="1371" y="1363"/>
                </a:moveTo>
                <a:lnTo>
                  <a:pt x="1374" y="1364"/>
                </a:lnTo>
                <a:lnTo>
                  <a:pt x="1377" y="1365"/>
                </a:lnTo>
                <a:lnTo>
                  <a:pt x="1379" y="1366"/>
                </a:lnTo>
                <a:lnTo>
                  <a:pt x="1380" y="1368"/>
                </a:lnTo>
                <a:lnTo>
                  <a:pt x="1382" y="1370"/>
                </a:lnTo>
                <a:lnTo>
                  <a:pt x="1382" y="1372"/>
                </a:lnTo>
                <a:lnTo>
                  <a:pt x="1383" y="1375"/>
                </a:lnTo>
                <a:lnTo>
                  <a:pt x="1383" y="1377"/>
                </a:lnTo>
                <a:lnTo>
                  <a:pt x="1381" y="1382"/>
                </a:lnTo>
                <a:lnTo>
                  <a:pt x="1379" y="1384"/>
                </a:lnTo>
                <a:lnTo>
                  <a:pt x="1376" y="1386"/>
                </a:lnTo>
                <a:lnTo>
                  <a:pt x="1374" y="1387"/>
                </a:lnTo>
                <a:lnTo>
                  <a:pt x="1371" y="1388"/>
                </a:lnTo>
                <a:lnTo>
                  <a:pt x="1367" y="1387"/>
                </a:lnTo>
                <a:lnTo>
                  <a:pt x="1364" y="1386"/>
                </a:lnTo>
                <a:lnTo>
                  <a:pt x="1362" y="1384"/>
                </a:lnTo>
                <a:lnTo>
                  <a:pt x="1361" y="1383"/>
                </a:lnTo>
                <a:lnTo>
                  <a:pt x="1360" y="1381"/>
                </a:lnTo>
                <a:lnTo>
                  <a:pt x="1359" y="1379"/>
                </a:lnTo>
                <a:lnTo>
                  <a:pt x="1358" y="1376"/>
                </a:lnTo>
                <a:lnTo>
                  <a:pt x="1359" y="1374"/>
                </a:lnTo>
                <a:lnTo>
                  <a:pt x="1360" y="1369"/>
                </a:lnTo>
                <a:lnTo>
                  <a:pt x="1362" y="1367"/>
                </a:lnTo>
                <a:lnTo>
                  <a:pt x="1365" y="1365"/>
                </a:lnTo>
                <a:lnTo>
                  <a:pt x="1368" y="1364"/>
                </a:lnTo>
                <a:lnTo>
                  <a:pt x="1371" y="1363"/>
                </a:lnTo>
                <a:close/>
                <a:moveTo>
                  <a:pt x="2599" y="1340"/>
                </a:moveTo>
                <a:lnTo>
                  <a:pt x="2602" y="1341"/>
                </a:lnTo>
                <a:lnTo>
                  <a:pt x="2605" y="1342"/>
                </a:lnTo>
                <a:lnTo>
                  <a:pt x="2608" y="1344"/>
                </a:lnTo>
                <a:lnTo>
                  <a:pt x="2610" y="1346"/>
                </a:lnTo>
                <a:lnTo>
                  <a:pt x="2611" y="1351"/>
                </a:lnTo>
                <a:lnTo>
                  <a:pt x="2611" y="1353"/>
                </a:lnTo>
                <a:lnTo>
                  <a:pt x="2611" y="1356"/>
                </a:lnTo>
                <a:lnTo>
                  <a:pt x="2610" y="1358"/>
                </a:lnTo>
                <a:lnTo>
                  <a:pt x="2609" y="1360"/>
                </a:lnTo>
                <a:lnTo>
                  <a:pt x="2605" y="1363"/>
                </a:lnTo>
                <a:lnTo>
                  <a:pt x="2602" y="1364"/>
                </a:lnTo>
                <a:lnTo>
                  <a:pt x="2599" y="1365"/>
                </a:lnTo>
                <a:lnTo>
                  <a:pt x="2596" y="1364"/>
                </a:lnTo>
                <a:lnTo>
                  <a:pt x="2593" y="1363"/>
                </a:lnTo>
                <a:lnTo>
                  <a:pt x="2591" y="1361"/>
                </a:lnTo>
                <a:lnTo>
                  <a:pt x="2589" y="1359"/>
                </a:lnTo>
                <a:lnTo>
                  <a:pt x="2587" y="1354"/>
                </a:lnTo>
                <a:lnTo>
                  <a:pt x="2587" y="1352"/>
                </a:lnTo>
                <a:lnTo>
                  <a:pt x="2588" y="1350"/>
                </a:lnTo>
                <a:lnTo>
                  <a:pt x="2588" y="1347"/>
                </a:lnTo>
                <a:lnTo>
                  <a:pt x="2590" y="1345"/>
                </a:lnTo>
                <a:lnTo>
                  <a:pt x="2593" y="1342"/>
                </a:lnTo>
                <a:lnTo>
                  <a:pt x="2596" y="1341"/>
                </a:lnTo>
                <a:lnTo>
                  <a:pt x="2599" y="1340"/>
                </a:lnTo>
                <a:close/>
                <a:moveTo>
                  <a:pt x="1250" y="1284"/>
                </a:moveTo>
                <a:lnTo>
                  <a:pt x="1254" y="1285"/>
                </a:lnTo>
                <a:lnTo>
                  <a:pt x="1257" y="1287"/>
                </a:lnTo>
                <a:lnTo>
                  <a:pt x="1259" y="1288"/>
                </a:lnTo>
                <a:lnTo>
                  <a:pt x="1261" y="1290"/>
                </a:lnTo>
                <a:lnTo>
                  <a:pt x="1262" y="1292"/>
                </a:lnTo>
                <a:lnTo>
                  <a:pt x="1262" y="1295"/>
                </a:lnTo>
                <a:lnTo>
                  <a:pt x="1262" y="1297"/>
                </a:lnTo>
                <a:lnTo>
                  <a:pt x="1262" y="1299"/>
                </a:lnTo>
                <a:lnTo>
                  <a:pt x="1261" y="1302"/>
                </a:lnTo>
                <a:lnTo>
                  <a:pt x="1260" y="1304"/>
                </a:lnTo>
                <a:lnTo>
                  <a:pt x="1258" y="1306"/>
                </a:lnTo>
                <a:lnTo>
                  <a:pt x="1257" y="1307"/>
                </a:lnTo>
                <a:lnTo>
                  <a:pt x="1256" y="1307"/>
                </a:lnTo>
                <a:lnTo>
                  <a:pt x="1253" y="1308"/>
                </a:lnTo>
                <a:lnTo>
                  <a:pt x="1250" y="1309"/>
                </a:lnTo>
                <a:lnTo>
                  <a:pt x="1247" y="1308"/>
                </a:lnTo>
                <a:lnTo>
                  <a:pt x="1243" y="1306"/>
                </a:lnTo>
                <a:lnTo>
                  <a:pt x="1241" y="1305"/>
                </a:lnTo>
                <a:lnTo>
                  <a:pt x="1240" y="1303"/>
                </a:lnTo>
                <a:lnTo>
                  <a:pt x="1239" y="1301"/>
                </a:lnTo>
                <a:lnTo>
                  <a:pt x="1238" y="1299"/>
                </a:lnTo>
                <a:lnTo>
                  <a:pt x="1238" y="1296"/>
                </a:lnTo>
                <a:lnTo>
                  <a:pt x="1238" y="1294"/>
                </a:lnTo>
                <a:lnTo>
                  <a:pt x="1239" y="1292"/>
                </a:lnTo>
                <a:lnTo>
                  <a:pt x="1240" y="1289"/>
                </a:lnTo>
                <a:lnTo>
                  <a:pt x="1242" y="1287"/>
                </a:lnTo>
                <a:lnTo>
                  <a:pt x="1244" y="1286"/>
                </a:lnTo>
                <a:lnTo>
                  <a:pt x="1245" y="1286"/>
                </a:lnTo>
                <a:lnTo>
                  <a:pt x="1247" y="1285"/>
                </a:lnTo>
                <a:lnTo>
                  <a:pt x="1250" y="1284"/>
                </a:lnTo>
                <a:close/>
                <a:moveTo>
                  <a:pt x="1137" y="1196"/>
                </a:moveTo>
                <a:lnTo>
                  <a:pt x="1141" y="1196"/>
                </a:lnTo>
                <a:lnTo>
                  <a:pt x="1145" y="1199"/>
                </a:lnTo>
                <a:lnTo>
                  <a:pt x="1146" y="1200"/>
                </a:lnTo>
                <a:lnTo>
                  <a:pt x="1148" y="1202"/>
                </a:lnTo>
                <a:lnTo>
                  <a:pt x="1148" y="1205"/>
                </a:lnTo>
                <a:lnTo>
                  <a:pt x="1149" y="1207"/>
                </a:lnTo>
                <a:lnTo>
                  <a:pt x="1149" y="1209"/>
                </a:lnTo>
                <a:lnTo>
                  <a:pt x="1148" y="1212"/>
                </a:lnTo>
                <a:lnTo>
                  <a:pt x="1147" y="1214"/>
                </a:lnTo>
                <a:lnTo>
                  <a:pt x="1147" y="1215"/>
                </a:lnTo>
                <a:lnTo>
                  <a:pt x="1146" y="1216"/>
                </a:lnTo>
                <a:lnTo>
                  <a:pt x="1144" y="1218"/>
                </a:lnTo>
                <a:lnTo>
                  <a:pt x="1142" y="1219"/>
                </a:lnTo>
                <a:lnTo>
                  <a:pt x="1139" y="1220"/>
                </a:lnTo>
                <a:lnTo>
                  <a:pt x="1137" y="1220"/>
                </a:lnTo>
                <a:lnTo>
                  <a:pt x="1133" y="1219"/>
                </a:lnTo>
                <a:lnTo>
                  <a:pt x="1129" y="1217"/>
                </a:lnTo>
                <a:lnTo>
                  <a:pt x="1127" y="1215"/>
                </a:lnTo>
                <a:lnTo>
                  <a:pt x="1126" y="1213"/>
                </a:lnTo>
                <a:lnTo>
                  <a:pt x="1125" y="1211"/>
                </a:lnTo>
                <a:lnTo>
                  <a:pt x="1125" y="1209"/>
                </a:lnTo>
                <a:lnTo>
                  <a:pt x="1125" y="1207"/>
                </a:lnTo>
                <a:lnTo>
                  <a:pt x="1125" y="1204"/>
                </a:lnTo>
                <a:lnTo>
                  <a:pt x="1126" y="1202"/>
                </a:lnTo>
                <a:lnTo>
                  <a:pt x="1127" y="1201"/>
                </a:lnTo>
                <a:lnTo>
                  <a:pt x="1128" y="1200"/>
                </a:lnTo>
                <a:lnTo>
                  <a:pt x="1129" y="1198"/>
                </a:lnTo>
                <a:lnTo>
                  <a:pt x="1132" y="1197"/>
                </a:lnTo>
                <a:lnTo>
                  <a:pt x="1134" y="1196"/>
                </a:lnTo>
                <a:lnTo>
                  <a:pt x="1137" y="1196"/>
                </a:lnTo>
                <a:close/>
                <a:moveTo>
                  <a:pt x="1030" y="1099"/>
                </a:moveTo>
                <a:lnTo>
                  <a:pt x="1034" y="1100"/>
                </a:lnTo>
                <a:lnTo>
                  <a:pt x="1036" y="1101"/>
                </a:lnTo>
                <a:lnTo>
                  <a:pt x="1038" y="1103"/>
                </a:lnTo>
                <a:lnTo>
                  <a:pt x="1040" y="1105"/>
                </a:lnTo>
                <a:lnTo>
                  <a:pt x="1041" y="1107"/>
                </a:lnTo>
                <a:lnTo>
                  <a:pt x="1042" y="1109"/>
                </a:lnTo>
                <a:lnTo>
                  <a:pt x="1042" y="1111"/>
                </a:lnTo>
                <a:lnTo>
                  <a:pt x="1041" y="1116"/>
                </a:lnTo>
                <a:lnTo>
                  <a:pt x="1040" y="1118"/>
                </a:lnTo>
                <a:lnTo>
                  <a:pt x="1039" y="1120"/>
                </a:lnTo>
                <a:lnTo>
                  <a:pt x="1037" y="1121"/>
                </a:lnTo>
                <a:lnTo>
                  <a:pt x="1035" y="1123"/>
                </a:lnTo>
                <a:lnTo>
                  <a:pt x="1032" y="1123"/>
                </a:lnTo>
                <a:lnTo>
                  <a:pt x="1030" y="1124"/>
                </a:lnTo>
                <a:lnTo>
                  <a:pt x="1025" y="1123"/>
                </a:lnTo>
                <a:lnTo>
                  <a:pt x="1023" y="1122"/>
                </a:lnTo>
                <a:lnTo>
                  <a:pt x="1021" y="1120"/>
                </a:lnTo>
                <a:lnTo>
                  <a:pt x="1020" y="1118"/>
                </a:lnTo>
                <a:lnTo>
                  <a:pt x="1019" y="1116"/>
                </a:lnTo>
                <a:lnTo>
                  <a:pt x="1018" y="1114"/>
                </a:lnTo>
                <a:lnTo>
                  <a:pt x="1018" y="1112"/>
                </a:lnTo>
                <a:lnTo>
                  <a:pt x="1019" y="1107"/>
                </a:lnTo>
                <a:lnTo>
                  <a:pt x="1020" y="1105"/>
                </a:lnTo>
                <a:lnTo>
                  <a:pt x="1021" y="1103"/>
                </a:lnTo>
                <a:lnTo>
                  <a:pt x="1023" y="1101"/>
                </a:lnTo>
                <a:lnTo>
                  <a:pt x="1025" y="1100"/>
                </a:lnTo>
                <a:lnTo>
                  <a:pt x="1028" y="1100"/>
                </a:lnTo>
                <a:lnTo>
                  <a:pt x="1030" y="1099"/>
                </a:lnTo>
                <a:close/>
                <a:moveTo>
                  <a:pt x="929" y="997"/>
                </a:moveTo>
                <a:lnTo>
                  <a:pt x="931" y="997"/>
                </a:lnTo>
                <a:lnTo>
                  <a:pt x="934" y="998"/>
                </a:lnTo>
                <a:lnTo>
                  <a:pt x="936" y="999"/>
                </a:lnTo>
                <a:lnTo>
                  <a:pt x="938" y="1000"/>
                </a:lnTo>
                <a:lnTo>
                  <a:pt x="939" y="1002"/>
                </a:lnTo>
                <a:lnTo>
                  <a:pt x="940" y="1005"/>
                </a:lnTo>
                <a:lnTo>
                  <a:pt x="941" y="1009"/>
                </a:lnTo>
                <a:lnTo>
                  <a:pt x="941" y="1011"/>
                </a:lnTo>
                <a:lnTo>
                  <a:pt x="940" y="1014"/>
                </a:lnTo>
                <a:lnTo>
                  <a:pt x="939" y="1016"/>
                </a:lnTo>
                <a:lnTo>
                  <a:pt x="937" y="1018"/>
                </a:lnTo>
                <a:lnTo>
                  <a:pt x="935" y="1019"/>
                </a:lnTo>
                <a:lnTo>
                  <a:pt x="933" y="1020"/>
                </a:lnTo>
                <a:lnTo>
                  <a:pt x="929" y="1021"/>
                </a:lnTo>
                <a:lnTo>
                  <a:pt x="926" y="1021"/>
                </a:lnTo>
                <a:lnTo>
                  <a:pt x="924" y="1020"/>
                </a:lnTo>
                <a:lnTo>
                  <a:pt x="922" y="1019"/>
                </a:lnTo>
                <a:lnTo>
                  <a:pt x="920" y="1017"/>
                </a:lnTo>
                <a:lnTo>
                  <a:pt x="919" y="1015"/>
                </a:lnTo>
                <a:lnTo>
                  <a:pt x="917" y="1013"/>
                </a:lnTo>
                <a:lnTo>
                  <a:pt x="917" y="1008"/>
                </a:lnTo>
                <a:lnTo>
                  <a:pt x="917" y="1006"/>
                </a:lnTo>
                <a:lnTo>
                  <a:pt x="918" y="1004"/>
                </a:lnTo>
                <a:lnTo>
                  <a:pt x="919" y="1002"/>
                </a:lnTo>
                <a:lnTo>
                  <a:pt x="921" y="1000"/>
                </a:lnTo>
                <a:lnTo>
                  <a:pt x="923" y="998"/>
                </a:lnTo>
                <a:lnTo>
                  <a:pt x="925" y="997"/>
                </a:lnTo>
                <a:lnTo>
                  <a:pt x="929" y="997"/>
                </a:lnTo>
                <a:close/>
                <a:moveTo>
                  <a:pt x="833" y="888"/>
                </a:moveTo>
                <a:lnTo>
                  <a:pt x="836" y="888"/>
                </a:lnTo>
                <a:lnTo>
                  <a:pt x="838" y="889"/>
                </a:lnTo>
                <a:lnTo>
                  <a:pt x="841" y="890"/>
                </a:lnTo>
                <a:lnTo>
                  <a:pt x="843" y="892"/>
                </a:lnTo>
                <a:lnTo>
                  <a:pt x="844" y="894"/>
                </a:lnTo>
                <a:lnTo>
                  <a:pt x="845" y="896"/>
                </a:lnTo>
                <a:lnTo>
                  <a:pt x="845" y="899"/>
                </a:lnTo>
                <a:lnTo>
                  <a:pt x="845" y="901"/>
                </a:lnTo>
                <a:lnTo>
                  <a:pt x="845" y="903"/>
                </a:lnTo>
                <a:lnTo>
                  <a:pt x="844" y="906"/>
                </a:lnTo>
                <a:lnTo>
                  <a:pt x="843" y="908"/>
                </a:lnTo>
                <a:lnTo>
                  <a:pt x="841" y="909"/>
                </a:lnTo>
                <a:lnTo>
                  <a:pt x="837" y="912"/>
                </a:lnTo>
                <a:lnTo>
                  <a:pt x="833" y="912"/>
                </a:lnTo>
                <a:lnTo>
                  <a:pt x="831" y="912"/>
                </a:lnTo>
                <a:lnTo>
                  <a:pt x="828" y="911"/>
                </a:lnTo>
                <a:lnTo>
                  <a:pt x="826" y="910"/>
                </a:lnTo>
                <a:lnTo>
                  <a:pt x="824" y="908"/>
                </a:lnTo>
                <a:lnTo>
                  <a:pt x="823" y="906"/>
                </a:lnTo>
                <a:lnTo>
                  <a:pt x="822" y="904"/>
                </a:lnTo>
                <a:lnTo>
                  <a:pt x="821" y="901"/>
                </a:lnTo>
                <a:lnTo>
                  <a:pt x="821" y="899"/>
                </a:lnTo>
                <a:lnTo>
                  <a:pt x="822" y="897"/>
                </a:lnTo>
                <a:lnTo>
                  <a:pt x="822" y="895"/>
                </a:lnTo>
                <a:lnTo>
                  <a:pt x="824" y="893"/>
                </a:lnTo>
                <a:lnTo>
                  <a:pt x="825" y="891"/>
                </a:lnTo>
                <a:lnTo>
                  <a:pt x="829" y="889"/>
                </a:lnTo>
                <a:lnTo>
                  <a:pt x="833" y="888"/>
                </a:lnTo>
                <a:close/>
                <a:moveTo>
                  <a:pt x="742" y="776"/>
                </a:moveTo>
                <a:lnTo>
                  <a:pt x="745" y="776"/>
                </a:lnTo>
                <a:lnTo>
                  <a:pt x="747" y="777"/>
                </a:lnTo>
                <a:lnTo>
                  <a:pt x="750" y="779"/>
                </a:lnTo>
                <a:lnTo>
                  <a:pt x="752" y="781"/>
                </a:lnTo>
                <a:lnTo>
                  <a:pt x="753" y="783"/>
                </a:lnTo>
                <a:lnTo>
                  <a:pt x="754" y="785"/>
                </a:lnTo>
                <a:lnTo>
                  <a:pt x="754" y="787"/>
                </a:lnTo>
                <a:lnTo>
                  <a:pt x="754" y="790"/>
                </a:lnTo>
                <a:lnTo>
                  <a:pt x="753" y="794"/>
                </a:lnTo>
                <a:lnTo>
                  <a:pt x="752" y="796"/>
                </a:lnTo>
                <a:lnTo>
                  <a:pt x="750" y="798"/>
                </a:lnTo>
                <a:lnTo>
                  <a:pt x="746" y="800"/>
                </a:lnTo>
                <a:lnTo>
                  <a:pt x="742" y="800"/>
                </a:lnTo>
                <a:lnTo>
                  <a:pt x="740" y="800"/>
                </a:lnTo>
                <a:lnTo>
                  <a:pt x="737" y="799"/>
                </a:lnTo>
                <a:lnTo>
                  <a:pt x="735" y="798"/>
                </a:lnTo>
                <a:lnTo>
                  <a:pt x="733" y="796"/>
                </a:lnTo>
                <a:lnTo>
                  <a:pt x="731" y="794"/>
                </a:lnTo>
                <a:lnTo>
                  <a:pt x="731" y="792"/>
                </a:lnTo>
                <a:lnTo>
                  <a:pt x="730" y="789"/>
                </a:lnTo>
                <a:lnTo>
                  <a:pt x="730" y="787"/>
                </a:lnTo>
                <a:lnTo>
                  <a:pt x="732" y="782"/>
                </a:lnTo>
                <a:lnTo>
                  <a:pt x="733" y="780"/>
                </a:lnTo>
                <a:lnTo>
                  <a:pt x="735" y="779"/>
                </a:lnTo>
                <a:lnTo>
                  <a:pt x="738" y="777"/>
                </a:lnTo>
                <a:lnTo>
                  <a:pt x="742" y="776"/>
                </a:lnTo>
                <a:close/>
                <a:moveTo>
                  <a:pt x="654" y="661"/>
                </a:moveTo>
                <a:lnTo>
                  <a:pt x="657" y="662"/>
                </a:lnTo>
                <a:lnTo>
                  <a:pt x="660" y="662"/>
                </a:lnTo>
                <a:lnTo>
                  <a:pt x="662" y="664"/>
                </a:lnTo>
                <a:lnTo>
                  <a:pt x="663" y="665"/>
                </a:lnTo>
                <a:lnTo>
                  <a:pt x="664" y="666"/>
                </a:lnTo>
                <a:lnTo>
                  <a:pt x="665" y="668"/>
                </a:lnTo>
                <a:lnTo>
                  <a:pt x="666" y="671"/>
                </a:lnTo>
                <a:lnTo>
                  <a:pt x="667" y="673"/>
                </a:lnTo>
                <a:lnTo>
                  <a:pt x="666" y="675"/>
                </a:lnTo>
                <a:lnTo>
                  <a:pt x="665" y="680"/>
                </a:lnTo>
                <a:lnTo>
                  <a:pt x="663" y="682"/>
                </a:lnTo>
                <a:lnTo>
                  <a:pt x="662" y="683"/>
                </a:lnTo>
                <a:lnTo>
                  <a:pt x="658" y="685"/>
                </a:lnTo>
                <a:lnTo>
                  <a:pt x="656" y="685"/>
                </a:lnTo>
                <a:lnTo>
                  <a:pt x="654" y="686"/>
                </a:lnTo>
                <a:lnTo>
                  <a:pt x="652" y="685"/>
                </a:lnTo>
                <a:lnTo>
                  <a:pt x="649" y="684"/>
                </a:lnTo>
                <a:lnTo>
                  <a:pt x="647" y="683"/>
                </a:lnTo>
                <a:lnTo>
                  <a:pt x="646" y="682"/>
                </a:lnTo>
                <a:lnTo>
                  <a:pt x="645" y="681"/>
                </a:lnTo>
                <a:lnTo>
                  <a:pt x="643" y="678"/>
                </a:lnTo>
                <a:lnTo>
                  <a:pt x="643" y="676"/>
                </a:lnTo>
                <a:lnTo>
                  <a:pt x="642" y="674"/>
                </a:lnTo>
                <a:lnTo>
                  <a:pt x="642" y="671"/>
                </a:lnTo>
                <a:lnTo>
                  <a:pt x="644" y="667"/>
                </a:lnTo>
                <a:lnTo>
                  <a:pt x="645" y="665"/>
                </a:lnTo>
                <a:lnTo>
                  <a:pt x="647" y="664"/>
                </a:lnTo>
                <a:lnTo>
                  <a:pt x="651" y="662"/>
                </a:lnTo>
                <a:lnTo>
                  <a:pt x="653" y="661"/>
                </a:lnTo>
                <a:lnTo>
                  <a:pt x="654" y="661"/>
                </a:lnTo>
                <a:close/>
                <a:moveTo>
                  <a:pt x="571" y="544"/>
                </a:moveTo>
                <a:lnTo>
                  <a:pt x="574" y="544"/>
                </a:lnTo>
                <a:lnTo>
                  <a:pt x="577" y="545"/>
                </a:lnTo>
                <a:lnTo>
                  <a:pt x="579" y="547"/>
                </a:lnTo>
                <a:lnTo>
                  <a:pt x="581" y="549"/>
                </a:lnTo>
                <a:lnTo>
                  <a:pt x="582" y="551"/>
                </a:lnTo>
                <a:lnTo>
                  <a:pt x="583" y="553"/>
                </a:lnTo>
                <a:lnTo>
                  <a:pt x="583" y="558"/>
                </a:lnTo>
                <a:lnTo>
                  <a:pt x="583" y="560"/>
                </a:lnTo>
                <a:lnTo>
                  <a:pt x="581" y="562"/>
                </a:lnTo>
                <a:lnTo>
                  <a:pt x="580" y="564"/>
                </a:lnTo>
                <a:lnTo>
                  <a:pt x="578" y="566"/>
                </a:lnTo>
                <a:lnTo>
                  <a:pt x="575" y="567"/>
                </a:lnTo>
                <a:lnTo>
                  <a:pt x="571" y="568"/>
                </a:lnTo>
                <a:lnTo>
                  <a:pt x="568" y="568"/>
                </a:lnTo>
                <a:lnTo>
                  <a:pt x="566" y="567"/>
                </a:lnTo>
                <a:lnTo>
                  <a:pt x="563" y="565"/>
                </a:lnTo>
                <a:lnTo>
                  <a:pt x="561" y="563"/>
                </a:lnTo>
                <a:lnTo>
                  <a:pt x="560" y="560"/>
                </a:lnTo>
                <a:lnTo>
                  <a:pt x="559" y="558"/>
                </a:lnTo>
                <a:lnTo>
                  <a:pt x="559" y="554"/>
                </a:lnTo>
                <a:lnTo>
                  <a:pt x="560" y="551"/>
                </a:lnTo>
                <a:lnTo>
                  <a:pt x="561" y="549"/>
                </a:lnTo>
                <a:lnTo>
                  <a:pt x="562" y="547"/>
                </a:lnTo>
                <a:lnTo>
                  <a:pt x="564" y="546"/>
                </a:lnTo>
                <a:lnTo>
                  <a:pt x="568" y="544"/>
                </a:lnTo>
                <a:lnTo>
                  <a:pt x="571" y="544"/>
                </a:lnTo>
                <a:close/>
                <a:moveTo>
                  <a:pt x="491" y="424"/>
                </a:moveTo>
                <a:lnTo>
                  <a:pt x="494" y="424"/>
                </a:lnTo>
                <a:lnTo>
                  <a:pt x="497" y="425"/>
                </a:lnTo>
                <a:lnTo>
                  <a:pt x="499" y="427"/>
                </a:lnTo>
                <a:lnTo>
                  <a:pt x="501" y="429"/>
                </a:lnTo>
                <a:lnTo>
                  <a:pt x="503" y="432"/>
                </a:lnTo>
                <a:lnTo>
                  <a:pt x="503" y="434"/>
                </a:lnTo>
                <a:lnTo>
                  <a:pt x="503" y="438"/>
                </a:lnTo>
                <a:lnTo>
                  <a:pt x="502" y="441"/>
                </a:lnTo>
                <a:lnTo>
                  <a:pt x="501" y="443"/>
                </a:lnTo>
                <a:lnTo>
                  <a:pt x="500" y="445"/>
                </a:lnTo>
                <a:lnTo>
                  <a:pt x="498" y="446"/>
                </a:lnTo>
                <a:lnTo>
                  <a:pt x="496" y="447"/>
                </a:lnTo>
                <a:lnTo>
                  <a:pt x="495" y="448"/>
                </a:lnTo>
                <a:lnTo>
                  <a:pt x="491" y="448"/>
                </a:lnTo>
                <a:lnTo>
                  <a:pt x="488" y="448"/>
                </a:lnTo>
                <a:lnTo>
                  <a:pt x="486" y="447"/>
                </a:lnTo>
                <a:lnTo>
                  <a:pt x="483" y="445"/>
                </a:lnTo>
                <a:lnTo>
                  <a:pt x="481" y="443"/>
                </a:lnTo>
                <a:lnTo>
                  <a:pt x="480" y="440"/>
                </a:lnTo>
                <a:lnTo>
                  <a:pt x="479" y="438"/>
                </a:lnTo>
                <a:lnTo>
                  <a:pt x="479" y="433"/>
                </a:lnTo>
                <a:lnTo>
                  <a:pt x="480" y="431"/>
                </a:lnTo>
                <a:lnTo>
                  <a:pt x="481" y="429"/>
                </a:lnTo>
                <a:lnTo>
                  <a:pt x="483" y="427"/>
                </a:lnTo>
                <a:lnTo>
                  <a:pt x="485" y="426"/>
                </a:lnTo>
                <a:lnTo>
                  <a:pt x="486" y="425"/>
                </a:lnTo>
                <a:lnTo>
                  <a:pt x="488" y="424"/>
                </a:lnTo>
                <a:lnTo>
                  <a:pt x="491" y="424"/>
                </a:lnTo>
                <a:close/>
                <a:moveTo>
                  <a:pt x="414" y="302"/>
                </a:moveTo>
                <a:lnTo>
                  <a:pt x="417" y="303"/>
                </a:lnTo>
                <a:lnTo>
                  <a:pt x="420" y="304"/>
                </a:lnTo>
                <a:lnTo>
                  <a:pt x="422" y="305"/>
                </a:lnTo>
                <a:lnTo>
                  <a:pt x="424" y="308"/>
                </a:lnTo>
                <a:lnTo>
                  <a:pt x="425" y="310"/>
                </a:lnTo>
                <a:lnTo>
                  <a:pt x="426" y="312"/>
                </a:lnTo>
                <a:lnTo>
                  <a:pt x="426" y="315"/>
                </a:lnTo>
                <a:lnTo>
                  <a:pt x="426" y="317"/>
                </a:lnTo>
                <a:lnTo>
                  <a:pt x="425" y="319"/>
                </a:lnTo>
                <a:lnTo>
                  <a:pt x="424" y="321"/>
                </a:lnTo>
                <a:lnTo>
                  <a:pt x="422" y="323"/>
                </a:lnTo>
                <a:lnTo>
                  <a:pt x="420" y="325"/>
                </a:lnTo>
                <a:lnTo>
                  <a:pt x="417" y="326"/>
                </a:lnTo>
                <a:lnTo>
                  <a:pt x="414" y="327"/>
                </a:lnTo>
                <a:lnTo>
                  <a:pt x="411" y="326"/>
                </a:lnTo>
                <a:lnTo>
                  <a:pt x="408" y="325"/>
                </a:lnTo>
                <a:lnTo>
                  <a:pt x="406" y="323"/>
                </a:lnTo>
                <a:lnTo>
                  <a:pt x="404" y="321"/>
                </a:lnTo>
                <a:lnTo>
                  <a:pt x="403" y="319"/>
                </a:lnTo>
                <a:lnTo>
                  <a:pt x="402" y="316"/>
                </a:lnTo>
                <a:lnTo>
                  <a:pt x="402" y="314"/>
                </a:lnTo>
                <a:lnTo>
                  <a:pt x="402" y="312"/>
                </a:lnTo>
                <a:lnTo>
                  <a:pt x="403" y="309"/>
                </a:lnTo>
                <a:lnTo>
                  <a:pt x="404" y="307"/>
                </a:lnTo>
                <a:lnTo>
                  <a:pt x="406" y="306"/>
                </a:lnTo>
                <a:lnTo>
                  <a:pt x="407" y="304"/>
                </a:lnTo>
                <a:lnTo>
                  <a:pt x="411" y="303"/>
                </a:lnTo>
                <a:lnTo>
                  <a:pt x="414" y="302"/>
                </a:lnTo>
                <a:close/>
                <a:moveTo>
                  <a:pt x="339" y="179"/>
                </a:moveTo>
                <a:lnTo>
                  <a:pt x="342" y="180"/>
                </a:lnTo>
                <a:lnTo>
                  <a:pt x="345" y="181"/>
                </a:lnTo>
                <a:lnTo>
                  <a:pt x="347" y="183"/>
                </a:lnTo>
                <a:lnTo>
                  <a:pt x="349" y="185"/>
                </a:lnTo>
                <a:lnTo>
                  <a:pt x="350" y="187"/>
                </a:lnTo>
                <a:lnTo>
                  <a:pt x="351" y="190"/>
                </a:lnTo>
                <a:lnTo>
                  <a:pt x="351" y="192"/>
                </a:lnTo>
                <a:lnTo>
                  <a:pt x="351" y="194"/>
                </a:lnTo>
                <a:lnTo>
                  <a:pt x="350" y="197"/>
                </a:lnTo>
                <a:lnTo>
                  <a:pt x="349" y="199"/>
                </a:lnTo>
                <a:lnTo>
                  <a:pt x="347" y="200"/>
                </a:lnTo>
                <a:lnTo>
                  <a:pt x="345" y="202"/>
                </a:lnTo>
                <a:lnTo>
                  <a:pt x="342" y="203"/>
                </a:lnTo>
                <a:lnTo>
                  <a:pt x="339" y="204"/>
                </a:lnTo>
                <a:lnTo>
                  <a:pt x="336" y="203"/>
                </a:lnTo>
                <a:lnTo>
                  <a:pt x="333" y="202"/>
                </a:lnTo>
                <a:lnTo>
                  <a:pt x="330" y="200"/>
                </a:lnTo>
                <a:lnTo>
                  <a:pt x="328" y="198"/>
                </a:lnTo>
                <a:lnTo>
                  <a:pt x="327" y="195"/>
                </a:lnTo>
                <a:lnTo>
                  <a:pt x="327" y="193"/>
                </a:lnTo>
                <a:lnTo>
                  <a:pt x="327" y="191"/>
                </a:lnTo>
                <a:lnTo>
                  <a:pt x="327" y="188"/>
                </a:lnTo>
                <a:lnTo>
                  <a:pt x="328" y="186"/>
                </a:lnTo>
                <a:lnTo>
                  <a:pt x="329" y="184"/>
                </a:lnTo>
                <a:lnTo>
                  <a:pt x="331" y="182"/>
                </a:lnTo>
                <a:lnTo>
                  <a:pt x="333" y="181"/>
                </a:lnTo>
                <a:lnTo>
                  <a:pt x="336" y="180"/>
                </a:lnTo>
                <a:lnTo>
                  <a:pt x="339" y="179"/>
                </a:lnTo>
                <a:close/>
                <a:moveTo>
                  <a:pt x="266" y="55"/>
                </a:moveTo>
                <a:lnTo>
                  <a:pt x="269" y="56"/>
                </a:lnTo>
                <a:lnTo>
                  <a:pt x="272" y="57"/>
                </a:lnTo>
                <a:lnTo>
                  <a:pt x="274" y="59"/>
                </a:lnTo>
                <a:lnTo>
                  <a:pt x="276" y="61"/>
                </a:lnTo>
                <a:lnTo>
                  <a:pt x="278" y="66"/>
                </a:lnTo>
                <a:lnTo>
                  <a:pt x="278" y="68"/>
                </a:lnTo>
                <a:lnTo>
                  <a:pt x="277" y="70"/>
                </a:lnTo>
                <a:lnTo>
                  <a:pt x="277" y="73"/>
                </a:lnTo>
                <a:lnTo>
                  <a:pt x="275" y="75"/>
                </a:lnTo>
                <a:lnTo>
                  <a:pt x="272" y="78"/>
                </a:lnTo>
                <a:lnTo>
                  <a:pt x="269" y="79"/>
                </a:lnTo>
                <a:lnTo>
                  <a:pt x="266" y="79"/>
                </a:lnTo>
                <a:lnTo>
                  <a:pt x="263" y="79"/>
                </a:lnTo>
                <a:lnTo>
                  <a:pt x="260" y="78"/>
                </a:lnTo>
                <a:lnTo>
                  <a:pt x="257" y="76"/>
                </a:lnTo>
                <a:lnTo>
                  <a:pt x="255" y="73"/>
                </a:lnTo>
                <a:lnTo>
                  <a:pt x="254" y="69"/>
                </a:lnTo>
                <a:lnTo>
                  <a:pt x="254" y="66"/>
                </a:lnTo>
                <a:lnTo>
                  <a:pt x="254" y="64"/>
                </a:lnTo>
                <a:lnTo>
                  <a:pt x="255" y="62"/>
                </a:lnTo>
                <a:lnTo>
                  <a:pt x="256" y="60"/>
                </a:lnTo>
                <a:lnTo>
                  <a:pt x="260" y="57"/>
                </a:lnTo>
                <a:lnTo>
                  <a:pt x="263" y="56"/>
                </a:lnTo>
                <a:lnTo>
                  <a:pt x="266" y="55"/>
                </a:lnTo>
                <a:close/>
                <a:moveTo>
                  <a:pt x="1957" y="1969"/>
                </a:moveTo>
                <a:lnTo>
                  <a:pt x="1959" y="1969"/>
                </a:lnTo>
                <a:lnTo>
                  <a:pt x="1962" y="1970"/>
                </a:lnTo>
                <a:lnTo>
                  <a:pt x="1964" y="1971"/>
                </a:lnTo>
                <a:lnTo>
                  <a:pt x="1965" y="1973"/>
                </a:lnTo>
                <a:lnTo>
                  <a:pt x="1967" y="1974"/>
                </a:lnTo>
                <a:lnTo>
                  <a:pt x="1968" y="1976"/>
                </a:lnTo>
                <a:lnTo>
                  <a:pt x="1969" y="1978"/>
                </a:lnTo>
                <a:lnTo>
                  <a:pt x="1969" y="1981"/>
                </a:lnTo>
                <a:lnTo>
                  <a:pt x="1969" y="1983"/>
                </a:lnTo>
                <a:lnTo>
                  <a:pt x="1968" y="1986"/>
                </a:lnTo>
                <a:lnTo>
                  <a:pt x="1967" y="1988"/>
                </a:lnTo>
                <a:lnTo>
                  <a:pt x="1966" y="1989"/>
                </a:lnTo>
                <a:lnTo>
                  <a:pt x="1962" y="1992"/>
                </a:lnTo>
                <a:lnTo>
                  <a:pt x="1960" y="1993"/>
                </a:lnTo>
                <a:lnTo>
                  <a:pt x="1957" y="1993"/>
                </a:lnTo>
                <a:lnTo>
                  <a:pt x="1955" y="1993"/>
                </a:lnTo>
                <a:lnTo>
                  <a:pt x="1953" y="1992"/>
                </a:lnTo>
                <a:lnTo>
                  <a:pt x="1951" y="1991"/>
                </a:lnTo>
                <a:lnTo>
                  <a:pt x="1949" y="1990"/>
                </a:lnTo>
                <a:lnTo>
                  <a:pt x="1947" y="1988"/>
                </a:lnTo>
                <a:lnTo>
                  <a:pt x="1946" y="1986"/>
                </a:lnTo>
                <a:lnTo>
                  <a:pt x="1945" y="1984"/>
                </a:lnTo>
                <a:lnTo>
                  <a:pt x="1945" y="1981"/>
                </a:lnTo>
                <a:lnTo>
                  <a:pt x="1945" y="1979"/>
                </a:lnTo>
                <a:lnTo>
                  <a:pt x="1946" y="1977"/>
                </a:lnTo>
                <a:lnTo>
                  <a:pt x="1947" y="1975"/>
                </a:lnTo>
                <a:lnTo>
                  <a:pt x="1948" y="1973"/>
                </a:lnTo>
                <a:lnTo>
                  <a:pt x="1952" y="1970"/>
                </a:lnTo>
                <a:lnTo>
                  <a:pt x="1954" y="1969"/>
                </a:lnTo>
                <a:lnTo>
                  <a:pt x="1957" y="1969"/>
                </a:lnTo>
                <a:close/>
                <a:moveTo>
                  <a:pt x="1814" y="1962"/>
                </a:moveTo>
                <a:lnTo>
                  <a:pt x="1815" y="1962"/>
                </a:lnTo>
                <a:lnTo>
                  <a:pt x="1817" y="1963"/>
                </a:lnTo>
                <a:lnTo>
                  <a:pt x="1820" y="1964"/>
                </a:lnTo>
                <a:lnTo>
                  <a:pt x="1821" y="1965"/>
                </a:lnTo>
                <a:lnTo>
                  <a:pt x="1823" y="1967"/>
                </a:lnTo>
                <a:lnTo>
                  <a:pt x="1824" y="1968"/>
                </a:lnTo>
                <a:lnTo>
                  <a:pt x="1825" y="1971"/>
                </a:lnTo>
                <a:lnTo>
                  <a:pt x="1826" y="1973"/>
                </a:lnTo>
                <a:lnTo>
                  <a:pt x="1826" y="1975"/>
                </a:lnTo>
                <a:lnTo>
                  <a:pt x="1824" y="1980"/>
                </a:lnTo>
                <a:lnTo>
                  <a:pt x="1823" y="1981"/>
                </a:lnTo>
                <a:lnTo>
                  <a:pt x="1822" y="1983"/>
                </a:lnTo>
                <a:lnTo>
                  <a:pt x="1820" y="1984"/>
                </a:lnTo>
                <a:lnTo>
                  <a:pt x="1818" y="1985"/>
                </a:lnTo>
                <a:lnTo>
                  <a:pt x="1814" y="1986"/>
                </a:lnTo>
                <a:lnTo>
                  <a:pt x="1812" y="1986"/>
                </a:lnTo>
                <a:lnTo>
                  <a:pt x="1810" y="1985"/>
                </a:lnTo>
                <a:lnTo>
                  <a:pt x="1808" y="1984"/>
                </a:lnTo>
                <a:lnTo>
                  <a:pt x="1806" y="1983"/>
                </a:lnTo>
                <a:lnTo>
                  <a:pt x="1804" y="1981"/>
                </a:lnTo>
                <a:lnTo>
                  <a:pt x="1803" y="1979"/>
                </a:lnTo>
                <a:lnTo>
                  <a:pt x="1802" y="1977"/>
                </a:lnTo>
                <a:lnTo>
                  <a:pt x="1802" y="1975"/>
                </a:lnTo>
                <a:lnTo>
                  <a:pt x="1802" y="1972"/>
                </a:lnTo>
                <a:lnTo>
                  <a:pt x="1803" y="1968"/>
                </a:lnTo>
                <a:lnTo>
                  <a:pt x="1804" y="1966"/>
                </a:lnTo>
                <a:lnTo>
                  <a:pt x="1806" y="1965"/>
                </a:lnTo>
                <a:lnTo>
                  <a:pt x="1807" y="1964"/>
                </a:lnTo>
                <a:lnTo>
                  <a:pt x="1809" y="1963"/>
                </a:lnTo>
                <a:lnTo>
                  <a:pt x="1814" y="1962"/>
                </a:lnTo>
                <a:close/>
                <a:moveTo>
                  <a:pt x="2101" y="1956"/>
                </a:moveTo>
                <a:lnTo>
                  <a:pt x="2106" y="1957"/>
                </a:lnTo>
                <a:lnTo>
                  <a:pt x="2109" y="1959"/>
                </a:lnTo>
                <a:lnTo>
                  <a:pt x="2112" y="1962"/>
                </a:lnTo>
                <a:lnTo>
                  <a:pt x="2113" y="1964"/>
                </a:lnTo>
                <a:lnTo>
                  <a:pt x="2113" y="1966"/>
                </a:lnTo>
                <a:lnTo>
                  <a:pt x="2113" y="1968"/>
                </a:lnTo>
                <a:lnTo>
                  <a:pt x="2113" y="1971"/>
                </a:lnTo>
                <a:lnTo>
                  <a:pt x="2112" y="1973"/>
                </a:lnTo>
                <a:lnTo>
                  <a:pt x="2111" y="1975"/>
                </a:lnTo>
                <a:lnTo>
                  <a:pt x="2108" y="1978"/>
                </a:lnTo>
                <a:lnTo>
                  <a:pt x="2106" y="1979"/>
                </a:lnTo>
                <a:lnTo>
                  <a:pt x="2103" y="1980"/>
                </a:lnTo>
                <a:lnTo>
                  <a:pt x="2101" y="1980"/>
                </a:lnTo>
                <a:lnTo>
                  <a:pt x="2097" y="1979"/>
                </a:lnTo>
                <a:lnTo>
                  <a:pt x="2094" y="1977"/>
                </a:lnTo>
                <a:lnTo>
                  <a:pt x="2091" y="1974"/>
                </a:lnTo>
                <a:lnTo>
                  <a:pt x="2090" y="1972"/>
                </a:lnTo>
                <a:lnTo>
                  <a:pt x="2090" y="1970"/>
                </a:lnTo>
                <a:lnTo>
                  <a:pt x="2089" y="1967"/>
                </a:lnTo>
                <a:lnTo>
                  <a:pt x="2090" y="1965"/>
                </a:lnTo>
                <a:lnTo>
                  <a:pt x="2091" y="1963"/>
                </a:lnTo>
                <a:lnTo>
                  <a:pt x="2092" y="1961"/>
                </a:lnTo>
                <a:lnTo>
                  <a:pt x="2095" y="1958"/>
                </a:lnTo>
                <a:lnTo>
                  <a:pt x="2097" y="1957"/>
                </a:lnTo>
                <a:lnTo>
                  <a:pt x="2099" y="1956"/>
                </a:lnTo>
                <a:lnTo>
                  <a:pt x="2101" y="1956"/>
                </a:lnTo>
                <a:close/>
                <a:moveTo>
                  <a:pt x="1673" y="1934"/>
                </a:moveTo>
                <a:lnTo>
                  <a:pt x="1676" y="1934"/>
                </a:lnTo>
                <a:lnTo>
                  <a:pt x="1678" y="1935"/>
                </a:lnTo>
                <a:lnTo>
                  <a:pt x="1680" y="1937"/>
                </a:lnTo>
                <a:lnTo>
                  <a:pt x="1682" y="1938"/>
                </a:lnTo>
                <a:lnTo>
                  <a:pt x="1683" y="1940"/>
                </a:lnTo>
                <a:lnTo>
                  <a:pt x="1684" y="1942"/>
                </a:lnTo>
                <a:lnTo>
                  <a:pt x="1685" y="1944"/>
                </a:lnTo>
                <a:lnTo>
                  <a:pt x="1685" y="1947"/>
                </a:lnTo>
                <a:lnTo>
                  <a:pt x="1684" y="1949"/>
                </a:lnTo>
                <a:lnTo>
                  <a:pt x="1684" y="1951"/>
                </a:lnTo>
                <a:lnTo>
                  <a:pt x="1683" y="1953"/>
                </a:lnTo>
                <a:lnTo>
                  <a:pt x="1680" y="1956"/>
                </a:lnTo>
                <a:lnTo>
                  <a:pt x="1678" y="1957"/>
                </a:lnTo>
                <a:lnTo>
                  <a:pt x="1676" y="1957"/>
                </a:lnTo>
                <a:lnTo>
                  <a:pt x="1673" y="1958"/>
                </a:lnTo>
                <a:lnTo>
                  <a:pt x="1669" y="1958"/>
                </a:lnTo>
                <a:lnTo>
                  <a:pt x="1667" y="1957"/>
                </a:lnTo>
                <a:lnTo>
                  <a:pt x="1665" y="1956"/>
                </a:lnTo>
                <a:lnTo>
                  <a:pt x="1664" y="1954"/>
                </a:lnTo>
                <a:lnTo>
                  <a:pt x="1662" y="1952"/>
                </a:lnTo>
                <a:lnTo>
                  <a:pt x="1661" y="1950"/>
                </a:lnTo>
                <a:lnTo>
                  <a:pt x="1661" y="1948"/>
                </a:lnTo>
                <a:lnTo>
                  <a:pt x="1661" y="1945"/>
                </a:lnTo>
                <a:lnTo>
                  <a:pt x="1661" y="1943"/>
                </a:lnTo>
                <a:lnTo>
                  <a:pt x="1662" y="1941"/>
                </a:lnTo>
                <a:lnTo>
                  <a:pt x="1663" y="1939"/>
                </a:lnTo>
                <a:lnTo>
                  <a:pt x="1665" y="1936"/>
                </a:lnTo>
                <a:lnTo>
                  <a:pt x="1667" y="1935"/>
                </a:lnTo>
                <a:lnTo>
                  <a:pt x="1669" y="1935"/>
                </a:lnTo>
                <a:lnTo>
                  <a:pt x="1673" y="1934"/>
                </a:lnTo>
                <a:close/>
                <a:moveTo>
                  <a:pt x="2242" y="1924"/>
                </a:moveTo>
                <a:lnTo>
                  <a:pt x="2245" y="1925"/>
                </a:lnTo>
                <a:lnTo>
                  <a:pt x="2249" y="1926"/>
                </a:lnTo>
                <a:lnTo>
                  <a:pt x="2252" y="1929"/>
                </a:lnTo>
                <a:lnTo>
                  <a:pt x="2253" y="1933"/>
                </a:lnTo>
                <a:lnTo>
                  <a:pt x="2254" y="1935"/>
                </a:lnTo>
                <a:lnTo>
                  <a:pt x="2254" y="1937"/>
                </a:lnTo>
                <a:lnTo>
                  <a:pt x="2252" y="1942"/>
                </a:lnTo>
                <a:lnTo>
                  <a:pt x="2251" y="1944"/>
                </a:lnTo>
                <a:lnTo>
                  <a:pt x="2249" y="1945"/>
                </a:lnTo>
                <a:lnTo>
                  <a:pt x="2247" y="1947"/>
                </a:lnTo>
                <a:lnTo>
                  <a:pt x="2245" y="1947"/>
                </a:lnTo>
                <a:lnTo>
                  <a:pt x="2242" y="1948"/>
                </a:lnTo>
                <a:lnTo>
                  <a:pt x="2238" y="1947"/>
                </a:lnTo>
                <a:lnTo>
                  <a:pt x="2235" y="1946"/>
                </a:lnTo>
                <a:lnTo>
                  <a:pt x="2232" y="1943"/>
                </a:lnTo>
                <a:lnTo>
                  <a:pt x="2230" y="1939"/>
                </a:lnTo>
                <a:lnTo>
                  <a:pt x="2230" y="1937"/>
                </a:lnTo>
                <a:lnTo>
                  <a:pt x="2230" y="1935"/>
                </a:lnTo>
                <a:lnTo>
                  <a:pt x="2231" y="1930"/>
                </a:lnTo>
                <a:lnTo>
                  <a:pt x="2232" y="1928"/>
                </a:lnTo>
                <a:lnTo>
                  <a:pt x="2234" y="1927"/>
                </a:lnTo>
                <a:lnTo>
                  <a:pt x="2236" y="1925"/>
                </a:lnTo>
                <a:lnTo>
                  <a:pt x="2238" y="1924"/>
                </a:lnTo>
                <a:lnTo>
                  <a:pt x="2242" y="1924"/>
                </a:lnTo>
                <a:close/>
                <a:moveTo>
                  <a:pt x="1537" y="1887"/>
                </a:moveTo>
                <a:lnTo>
                  <a:pt x="1539" y="1887"/>
                </a:lnTo>
                <a:lnTo>
                  <a:pt x="1542" y="1888"/>
                </a:lnTo>
                <a:lnTo>
                  <a:pt x="1544" y="1889"/>
                </a:lnTo>
                <a:lnTo>
                  <a:pt x="1545" y="1891"/>
                </a:lnTo>
                <a:lnTo>
                  <a:pt x="1548" y="1894"/>
                </a:lnTo>
                <a:lnTo>
                  <a:pt x="1549" y="1897"/>
                </a:lnTo>
                <a:lnTo>
                  <a:pt x="1549" y="1899"/>
                </a:lnTo>
                <a:lnTo>
                  <a:pt x="1549" y="1901"/>
                </a:lnTo>
                <a:lnTo>
                  <a:pt x="1548" y="1904"/>
                </a:lnTo>
                <a:lnTo>
                  <a:pt x="1547" y="1905"/>
                </a:lnTo>
                <a:lnTo>
                  <a:pt x="1546" y="1907"/>
                </a:lnTo>
                <a:lnTo>
                  <a:pt x="1543" y="1909"/>
                </a:lnTo>
                <a:lnTo>
                  <a:pt x="1540" y="1910"/>
                </a:lnTo>
                <a:lnTo>
                  <a:pt x="1537" y="1911"/>
                </a:lnTo>
                <a:lnTo>
                  <a:pt x="1535" y="1911"/>
                </a:lnTo>
                <a:lnTo>
                  <a:pt x="1532" y="1910"/>
                </a:lnTo>
                <a:lnTo>
                  <a:pt x="1530" y="1909"/>
                </a:lnTo>
                <a:lnTo>
                  <a:pt x="1528" y="1907"/>
                </a:lnTo>
                <a:lnTo>
                  <a:pt x="1526" y="1903"/>
                </a:lnTo>
                <a:lnTo>
                  <a:pt x="1525" y="1901"/>
                </a:lnTo>
                <a:lnTo>
                  <a:pt x="1525" y="1899"/>
                </a:lnTo>
                <a:lnTo>
                  <a:pt x="1525" y="1897"/>
                </a:lnTo>
                <a:lnTo>
                  <a:pt x="1526" y="1894"/>
                </a:lnTo>
                <a:lnTo>
                  <a:pt x="1527" y="1893"/>
                </a:lnTo>
                <a:lnTo>
                  <a:pt x="1528" y="1891"/>
                </a:lnTo>
                <a:lnTo>
                  <a:pt x="1530" y="1889"/>
                </a:lnTo>
                <a:lnTo>
                  <a:pt x="1533" y="1887"/>
                </a:lnTo>
                <a:lnTo>
                  <a:pt x="1537" y="1887"/>
                </a:lnTo>
                <a:close/>
                <a:moveTo>
                  <a:pt x="2377" y="1876"/>
                </a:moveTo>
                <a:lnTo>
                  <a:pt x="2381" y="1877"/>
                </a:lnTo>
                <a:lnTo>
                  <a:pt x="2384" y="1878"/>
                </a:lnTo>
                <a:lnTo>
                  <a:pt x="2387" y="1880"/>
                </a:lnTo>
                <a:lnTo>
                  <a:pt x="2388" y="1883"/>
                </a:lnTo>
                <a:lnTo>
                  <a:pt x="2389" y="1886"/>
                </a:lnTo>
                <a:lnTo>
                  <a:pt x="2389" y="1888"/>
                </a:lnTo>
                <a:lnTo>
                  <a:pt x="2389" y="1890"/>
                </a:lnTo>
                <a:lnTo>
                  <a:pt x="2388" y="1893"/>
                </a:lnTo>
                <a:lnTo>
                  <a:pt x="2387" y="1895"/>
                </a:lnTo>
                <a:lnTo>
                  <a:pt x="2386" y="1896"/>
                </a:lnTo>
                <a:lnTo>
                  <a:pt x="2382" y="1899"/>
                </a:lnTo>
                <a:lnTo>
                  <a:pt x="2380" y="1900"/>
                </a:lnTo>
                <a:lnTo>
                  <a:pt x="2377" y="1900"/>
                </a:lnTo>
                <a:lnTo>
                  <a:pt x="2374" y="1899"/>
                </a:lnTo>
                <a:lnTo>
                  <a:pt x="2371" y="1898"/>
                </a:lnTo>
                <a:lnTo>
                  <a:pt x="2368" y="1896"/>
                </a:lnTo>
                <a:lnTo>
                  <a:pt x="2366" y="1893"/>
                </a:lnTo>
                <a:lnTo>
                  <a:pt x="2366" y="1890"/>
                </a:lnTo>
                <a:lnTo>
                  <a:pt x="2365" y="1888"/>
                </a:lnTo>
                <a:lnTo>
                  <a:pt x="2366" y="1886"/>
                </a:lnTo>
                <a:lnTo>
                  <a:pt x="2366" y="1883"/>
                </a:lnTo>
                <a:lnTo>
                  <a:pt x="2367" y="1881"/>
                </a:lnTo>
                <a:lnTo>
                  <a:pt x="2369" y="1880"/>
                </a:lnTo>
                <a:lnTo>
                  <a:pt x="2373" y="1877"/>
                </a:lnTo>
                <a:lnTo>
                  <a:pt x="2375" y="1876"/>
                </a:lnTo>
                <a:lnTo>
                  <a:pt x="2377" y="1876"/>
                </a:lnTo>
                <a:close/>
                <a:moveTo>
                  <a:pt x="1408" y="1823"/>
                </a:moveTo>
                <a:lnTo>
                  <a:pt x="1411" y="1824"/>
                </a:lnTo>
                <a:lnTo>
                  <a:pt x="1414" y="1825"/>
                </a:lnTo>
                <a:lnTo>
                  <a:pt x="1416" y="1826"/>
                </a:lnTo>
                <a:lnTo>
                  <a:pt x="1417" y="1827"/>
                </a:lnTo>
                <a:lnTo>
                  <a:pt x="1417" y="1828"/>
                </a:lnTo>
                <a:lnTo>
                  <a:pt x="1419" y="1830"/>
                </a:lnTo>
                <a:lnTo>
                  <a:pt x="1419" y="1832"/>
                </a:lnTo>
                <a:lnTo>
                  <a:pt x="1420" y="1834"/>
                </a:lnTo>
                <a:lnTo>
                  <a:pt x="1420" y="1837"/>
                </a:lnTo>
                <a:lnTo>
                  <a:pt x="1418" y="1841"/>
                </a:lnTo>
                <a:lnTo>
                  <a:pt x="1416" y="1844"/>
                </a:lnTo>
                <a:lnTo>
                  <a:pt x="1414" y="1846"/>
                </a:lnTo>
                <a:lnTo>
                  <a:pt x="1411" y="1847"/>
                </a:lnTo>
                <a:lnTo>
                  <a:pt x="1408" y="1847"/>
                </a:lnTo>
                <a:lnTo>
                  <a:pt x="1405" y="1847"/>
                </a:lnTo>
                <a:lnTo>
                  <a:pt x="1402" y="1846"/>
                </a:lnTo>
                <a:lnTo>
                  <a:pt x="1400" y="1844"/>
                </a:lnTo>
                <a:lnTo>
                  <a:pt x="1399" y="1843"/>
                </a:lnTo>
                <a:lnTo>
                  <a:pt x="1398" y="1843"/>
                </a:lnTo>
                <a:lnTo>
                  <a:pt x="1397" y="1841"/>
                </a:lnTo>
                <a:lnTo>
                  <a:pt x="1396" y="1838"/>
                </a:lnTo>
                <a:lnTo>
                  <a:pt x="1396" y="1836"/>
                </a:lnTo>
                <a:lnTo>
                  <a:pt x="1396" y="1834"/>
                </a:lnTo>
                <a:lnTo>
                  <a:pt x="1397" y="1829"/>
                </a:lnTo>
                <a:lnTo>
                  <a:pt x="1399" y="1827"/>
                </a:lnTo>
                <a:lnTo>
                  <a:pt x="1402" y="1825"/>
                </a:lnTo>
                <a:lnTo>
                  <a:pt x="1405" y="1824"/>
                </a:lnTo>
                <a:lnTo>
                  <a:pt x="1408" y="1823"/>
                </a:lnTo>
                <a:close/>
                <a:moveTo>
                  <a:pt x="2508" y="1815"/>
                </a:moveTo>
                <a:lnTo>
                  <a:pt x="2511" y="1815"/>
                </a:lnTo>
                <a:lnTo>
                  <a:pt x="2514" y="1816"/>
                </a:lnTo>
                <a:lnTo>
                  <a:pt x="2516" y="1818"/>
                </a:lnTo>
                <a:lnTo>
                  <a:pt x="2518" y="1821"/>
                </a:lnTo>
                <a:lnTo>
                  <a:pt x="2519" y="1823"/>
                </a:lnTo>
                <a:lnTo>
                  <a:pt x="2520" y="1826"/>
                </a:lnTo>
                <a:lnTo>
                  <a:pt x="2520" y="1828"/>
                </a:lnTo>
                <a:lnTo>
                  <a:pt x="2519" y="1830"/>
                </a:lnTo>
                <a:lnTo>
                  <a:pt x="2518" y="1832"/>
                </a:lnTo>
                <a:lnTo>
                  <a:pt x="2517" y="1834"/>
                </a:lnTo>
                <a:lnTo>
                  <a:pt x="2515" y="1836"/>
                </a:lnTo>
                <a:lnTo>
                  <a:pt x="2513" y="1837"/>
                </a:lnTo>
                <a:lnTo>
                  <a:pt x="2510" y="1838"/>
                </a:lnTo>
                <a:lnTo>
                  <a:pt x="2508" y="1839"/>
                </a:lnTo>
                <a:lnTo>
                  <a:pt x="2504" y="1838"/>
                </a:lnTo>
                <a:lnTo>
                  <a:pt x="2502" y="1837"/>
                </a:lnTo>
                <a:lnTo>
                  <a:pt x="2499" y="1835"/>
                </a:lnTo>
                <a:lnTo>
                  <a:pt x="2497" y="1832"/>
                </a:lnTo>
                <a:lnTo>
                  <a:pt x="2496" y="1830"/>
                </a:lnTo>
                <a:lnTo>
                  <a:pt x="2496" y="1828"/>
                </a:lnTo>
                <a:lnTo>
                  <a:pt x="2496" y="1825"/>
                </a:lnTo>
                <a:lnTo>
                  <a:pt x="2496" y="1823"/>
                </a:lnTo>
                <a:lnTo>
                  <a:pt x="2497" y="1821"/>
                </a:lnTo>
                <a:lnTo>
                  <a:pt x="2498" y="1819"/>
                </a:lnTo>
                <a:lnTo>
                  <a:pt x="2500" y="1817"/>
                </a:lnTo>
                <a:lnTo>
                  <a:pt x="2502" y="1816"/>
                </a:lnTo>
                <a:lnTo>
                  <a:pt x="2505" y="1815"/>
                </a:lnTo>
                <a:lnTo>
                  <a:pt x="2508" y="1815"/>
                </a:lnTo>
                <a:close/>
                <a:moveTo>
                  <a:pt x="1287" y="1746"/>
                </a:moveTo>
                <a:lnTo>
                  <a:pt x="1290" y="1746"/>
                </a:lnTo>
                <a:lnTo>
                  <a:pt x="1292" y="1747"/>
                </a:lnTo>
                <a:lnTo>
                  <a:pt x="1294" y="1748"/>
                </a:lnTo>
                <a:lnTo>
                  <a:pt x="1295" y="1750"/>
                </a:lnTo>
                <a:lnTo>
                  <a:pt x="1297" y="1751"/>
                </a:lnTo>
                <a:lnTo>
                  <a:pt x="1298" y="1754"/>
                </a:lnTo>
                <a:lnTo>
                  <a:pt x="1298" y="1756"/>
                </a:lnTo>
                <a:lnTo>
                  <a:pt x="1298" y="1760"/>
                </a:lnTo>
                <a:lnTo>
                  <a:pt x="1298" y="1763"/>
                </a:lnTo>
                <a:lnTo>
                  <a:pt x="1296" y="1765"/>
                </a:lnTo>
                <a:lnTo>
                  <a:pt x="1294" y="1767"/>
                </a:lnTo>
                <a:lnTo>
                  <a:pt x="1293" y="1768"/>
                </a:lnTo>
                <a:lnTo>
                  <a:pt x="1292" y="1768"/>
                </a:lnTo>
                <a:lnTo>
                  <a:pt x="1289" y="1769"/>
                </a:lnTo>
                <a:lnTo>
                  <a:pt x="1287" y="1770"/>
                </a:lnTo>
                <a:lnTo>
                  <a:pt x="1283" y="1769"/>
                </a:lnTo>
                <a:lnTo>
                  <a:pt x="1281" y="1769"/>
                </a:lnTo>
                <a:lnTo>
                  <a:pt x="1280" y="1768"/>
                </a:lnTo>
                <a:lnTo>
                  <a:pt x="1278" y="1766"/>
                </a:lnTo>
                <a:lnTo>
                  <a:pt x="1276" y="1764"/>
                </a:lnTo>
                <a:lnTo>
                  <a:pt x="1275" y="1762"/>
                </a:lnTo>
                <a:lnTo>
                  <a:pt x="1275" y="1760"/>
                </a:lnTo>
                <a:lnTo>
                  <a:pt x="1275" y="1755"/>
                </a:lnTo>
                <a:lnTo>
                  <a:pt x="1276" y="1753"/>
                </a:lnTo>
                <a:lnTo>
                  <a:pt x="1277" y="1751"/>
                </a:lnTo>
                <a:lnTo>
                  <a:pt x="1279" y="1749"/>
                </a:lnTo>
                <a:lnTo>
                  <a:pt x="1280" y="1748"/>
                </a:lnTo>
                <a:lnTo>
                  <a:pt x="1281" y="1747"/>
                </a:lnTo>
                <a:lnTo>
                  <a:pt x="1284" y="1746"/>
                </a:lnTo>
                <a:lnTo>
                  <a:pt x="1287" y="1746"/>
                </a:lnTo>
                <a:close/>
                <a:moveTo>
                  <a:pt x="2632" y="1743"/>
                </a:moveTo>
                <a:lnTo>
                  <a:pt x="2635" y="1743"/>
                </a:lnTo>
                <a:lnTo>
                  <a:pt x="2638" y="1744"/>
                </a:lnTo>
                <a:lnTo>
                  <a:pt x="2640" y="1746"/>
                </a:lnTo>
                <a:lnTo>
                  <a:pt x="2642" y="1748"/>
                </a:lnTo>
                <a:lnTo>
                  <a:pt x="2644" y="1751"/>
                </a:lnTo>
                <a:lnTo>
                  <a:pt x="2644" y="1753"/>
                </a:lnTo>
                <a:lnTo>
                  <a:pt x="2644" y="1755"/>
                </a:lnTo>
                <a:lnTo>
                  <a:pt x="2644" y="1757"/>
                </a:lnTo>
                <a:lnTo>
                  <a:pt x="2643" y="1760"/>
                </a:lnTo>
                <a:lnTo>
                  <a:pt x="2642" y="1762"/>
                </a:lnTo>
                <a:lnTo>
                  <a:pt x="2641" y="1763"/>
                </a:lnTo>
                <a:lnTo>
                  <a:pt x="2639" y="1765"/>
                </a:lnTo>
                <a:lnTo>
                  <a:pt x="2636" y="1766"/>
                </a:lnTo>
                <a:lnTo>
                  <a:pt x="2632" y="1767"/>
                </a:lnTo>
                <a:lnTo>
                  <a:pt x="2629" y="1766"/>
                </a:lnTo>
                <a:lnTo>
                  <a:pt x="2627" y="1765"/>
                </a:lnTo>
                <a:lnTo>
                  <a:pt x="2624" y="1764"/>
                </a:lnTo>
                <a:lnTo>
                  <a:pt x="2622" y="1761"/>
                </a:lnTo>
                <a:lnTo>
                  <a:pt x="2621" y="1759"/>
                </a:lnTo>
                <a:lnTo>
                  <a:pt x="2620" y="1757"/>
                </a:lnTo>
                <a:lnTo>
                  <a:pt x="2620" y="1754"/>
                </a:lnTo>
                <a:lnTo>
                  <a:pt x="2621" y="1752"/>
                </a:lnTo>
                <a:lnTo>
                  <a:pt x="2621" y="1750"/>
                </a:lnTo>
                <a:lnTo>
                  <a:pt x="2622" y="1748"/>
                </a:lnTo>
                <a:lnTo>
                  <a:pt x="2624" y="1746"/>
                </a:lnTo>
                <a:lnTo>
                  <a:pt x="2626" y="1745"/>
                </a:lnTo>
                <a:lnTo>
                  <a:pt x="2629" y="1743"/>
                </a:lnTo>
                <a:lnTo>
                  <a:pt x="2632" y="1743"/>
                </a:lnTo>
                <a:close/>
                <a:moveTo>
                  <a:pt x="1173" y="1657"/>
                </a:moveTo>
                <a:lnTo>
                  <a:pt x="1177" y="1658"/>
                </a:lnTo>
                <a:lnTo>
                  <a:pt x="1181" y="1660"/>
                </a:lnTo>
                <a:lnTo>
                  <a:pt x="1182" y="1662"/>
                </a:lnTo>
                <a:lnTo>
                  <a:pt x="1184" y="1664"/>
                </a:lnTo>
                <a:lnTo>
                  <a:pt x="1185" y="1666"/>
                </a:lnTo>
                <a:lnTo>
                  <a:pt x="1185" y="1668"/>
                </a:lnTo>
                <a:lnTo>
                  <a:pt x="1185" y="1671"/>
                </a:lnTo>
                <a:lnTo>
                  <a:pt x="1184" y="1673"/>
                </a:lnTo>
                <a:lnTo>
                  <a:pt x="1184" y="1675"/>
                </a:lnTo>
                <a:lnTo>
                  <a:pt x="1182" y="1677"/>
                </a:lnTo>
                <a:lnTo>
                  <a:pt x="1180" y="1679"/>
                </a:lnTo>
                <a:lnTo>
                  <a:pt x="1178" y="1680"/>
                </a:lnTo>
                <a:lnTo>
                  <a:pt x="1176" y="1681"/>
                </a:lnTo>
                <a:lnTo>
                  <a:pt x="1173" y="1681"/>
                </a:lnTo>
                <a:lnTo>
                  <a:pt x="1169" y="1681"/>
                </a:lnTo>
                <a:lnTo>
                  <a:pt x="1165" y="1679"/>
                </a:lnTo>
                <a:lnTo>
                  <a:pt x="1164" y="1677"/>
                </a:lnTo>
                <a:lnTo>
                  <a:pt x="1162" y="1675"/>
                </a:lnTo>
                <a:lnTo>
                  <a:pt x="1161" y="1673"/>
                </a:lnTo>
                <a:lnTo>
                  <a:pt x="1161" y="1670"/>
                </a:lnTo>
                <a:lnTo>
                  <a:pt x="1161" y="1668"/>
                </a:lnTo>
                <a:lnTo>
                  <a:pt x="1162" y="1666"/>
                </a:lnTo>
                <a:lnTo>
                  <a:pt x="1162" y="1664"/>
                </a:lnTo>
                <a:lnTo>
                  <a:pt x="1164" y="1662"/>
                </a:lnTo>
                <a:lnTo>
                  <a:pt x="1166" y="1660"/>
                </a:lnTo>
                <a:lnTo>
                  <a:pt x="1168" y="1659"/>
                </a:lnTo>
                <a:lnTo>
                  <a:pt x="1170" y="1658"/>
                </a:lnTo>
                <a:lnTo>
                  <a:pt x="1173" y="1657"/>
                </a:lnTo>
                <a:close/>
                <a:moveTo>
                  <a:pt x="1066" y="1561"/>
                </a:moveTo>
                <a:lnTo>
                  <a:pt x="1071" y="1562"/>
                </a:lnTo>
                <a:lnTo>
                  <a:pt x="1073" y="1563"/>
                </a:lnTo>
                <a:lnTo>
                  <a:pt x="1075" y="1564"/>
                </a:lnTo>
                <a:lnTo>
                  <a:pt x="1076" y="1566"/>
                </a:lnTo>
                <a:lnTo>
                  <a:pt x="1077" y="1568"/>
                </a:lnTo>
                <a:lnTo>
                  <a:pt x="1078" y="1570"/>
                </a:lnTo>
                <a:lnTo>
                  <a:pt x="1078" y="1572"/>
                </a:lnTo>
                <a:lnTo>
                  <a:pt x="1078" y="1577"/>
                </a:lnTo>
                <a:lnTo>
                  <a:pt x="1077" y="1579"/>
                </a:lnTo>
                <a:lnTo>
                  <a:pt x="1075" y="1581"/>
                </a:lnTo>
                <a:lnTo>
                  <a:pt x="1073" y="1583"/>
                </a:lnTo>
                <a:lnTo>
                  <a:pt x="1071" y="1584"/>
                </a:lnTo>
                <a:lnTo>
                  <a:pt x="1069" y="1584"/>
                </a:lnTo>
                <a:lnTo>
                  <a:pt x="1066" y="1585"/>
                </a:lnTo>
                <a:lnTo>
                  <a:pt x="1062" y="1584"/>
                </a:lnTo>
                <a:lnTo>
                  <a:pt x="1060" y="1583"/>
                </a:lnTo>
                <a:lnTo>
                  <a:pt x="1058" y="1581"/>
                </a:lnTo>
                <a:lnTo>
                  <a:pt x="1056" y="1579"/>
                </a:lnTo>
                <a:lnTo>
                  <a:pt x="1055" y="1577"/>
                </a:lnTo>
                <a:lnTo>
                  <a:pt x="1055" y="1575"/>
                </a:lnTo>
                <a:lnTo>
                  <a:pt x="1054" y="1573"/>
                </a:lnTo>
                <a:lnTo>
                  <a:pt x="1055" y="1568"/>
                </a:lnTo>
                <a:lnTo>
                  <a:pt x="1056" y="1566"/>
                </a:lnTo>
                <a:lnTo>
                  <a:pt x="1058" y="1564"/>
                </a:lnTo>
                <a:lnTo>
                  <a:pt x="1060" y="1563"/>
                </a:lnTo>
                <a:lnTo>
                  <a:pt x="1062" y="1562"/>
                </a:lnTo>
                <a:lnTo>
                  <a:pt x="1064" y="1561"/>
                </a:lnTo>
                <a:lnTo>
                  <a:pt x="1066" y="1561"/>
                </a:lnTo>
                <a:close/>
                <a:moveTo>
                  <a:pt x="966" y="1457"/>
                </a:moveTo>
                <a:lnTo>
                  <a:pt x="969" y="1457"/>
                </a:lnTo>
                <a:lnTo>
                  <a:pt x="971" y="1458"/>
                </a:lnTo>
                <a:lnTo>
                  <a:pt x="973" y="1459"/>
                </a:lnTo>
                <a:lnTo>
                  <a:pt x="975" y="1461"/>
                </a:lnTo>
                <a:lnTo>
                  <a:pt x="977" y="1463"/>
                </a:lnTo>
                <a:lnTo>
                  <a:pt x="978" y="1465"/>
                </a:lnTo>
                <a:lnTo>
                  <a:pt x="978" y="1470"/>
                </a:lnTo>
                <a:lnTo>
                  <a:pt x="978" y="1472"/>
                </a:lnTo>
                <a:lnTo>
                  <a:pt x="977" y="1474"/>
                </a:lnTo>
                <a:lnTo>
                  <a:pt x="976" y="1476"/>
                </a:lnTo>
                <a:lnTo>
                  <a:pt x="974" y="1478"/>
                </a:lnTo>
                <a:lnTo>
                  <a:pt x="970" y="1480"/>
                </a:lnTo>
                <a:lnTo>
                  <a:pt x="966" y="1481"/>
                </a:lnTo>
                <a:lnTo>
                  <a:pt x="964" y="1481"/>
                </a:lnTo>
                <a:lnTo>
                  <a:pt x="961" y="1480"/>
                </a:lnTo>
                <a:lnTo>
                  <a:pt x="959" y="1479"/>
                </a:lnTo>
                <a:lnTo>
                  <a:pt x="957" y="1477"/>
                </a:lnTo>
                <a:lnTo>
                  <a:pt x="956" y="1475"/>
                </a:lnTo>
                <a:lnTo>
                  <a:pt x="955" y="1473"/>
                </a:lnTo>
                <a:lnTo>
                  <a:pt x="954" y="1469"/>
                </a:lnTo>
                <a:lnTo>
                  <a:pt x="955" y="1466"/>
                </a:lnTo>
                <a:lnTo>
                  <a:pt x="955" y="1464"/>
                </a:lnTo>
                <a:lnTo>
                  <a:pt x="956" y="1462"/>
                </a:lnTo>
                <a:lnTo>
                  <a:pt x="958" y="1460"/>
                </a:lnTo>
                <a:lnTo>
                  <a:pt x="962" y="1458"/>
                </a:lnTo>
                <a:lnTo>
                  <a:pt x="966" y="1457"/>
                </a:lnTo>
                <a:close/>
                <a:moveTo>
                  <a:pt x="872" y="1349"/>
                </a:moveTo>
                <a:lnTo>
                  <a:pt x="874" y="1349"/>
                </a:lnTo>
                <a:lnTo>
                  <a:pt x="877" y="1350"/>
                </a:lnTo>
                <a:lnTo>
                  <a:pt x="879" y="1351"/>
                </a:lnTo>
                <a:lnTo>
                  <a:pt x="881" y="1353"/>
                </a:lnTo>
                <a:lnTo>
                  <a:pt x="882" y="1355"/>
                </a:lnTo>
                <a:lnTo>
                  <a:pt x="883" y="1357"/>
                </a:lnTo>
                <a:lnTo>
                  <a:pt x="884" y="1359"/>
                </a:lnTo>
                <a:lnTo>
                  <a:pt x="884" y="1362"/>
                </a:lnTo>
                <a:lnTo>
                  <a:pt x="883" y="1364"/>
                </a:lnTo>
                <a:lnTo>
                  <a:pt x="882" y="1366"/>
                </a:lnTo>
                <a:lnTo>
                  <a:pt x="881" y="1368"/>
                </a:lnTo>
                <a:lnTo>
                  <a:pt x="879" y="1370"/>
                </a:lnTo>
                <a:lnTo>
                  <a:pt x="878" y="1371"/>
                </a:lnTo>
                <a:lnTo>
                  <a:pt x="876" y="1372"/>
                </a:lnTo>
                <a:lnTo>
                  <a:pt x="872" y="1373"/>
                </a:lnTo>
                <a:lnTo>
                  <a:pt x="869" y="1372"/>
                </a:lnTo>
                <a:lnTo>
                  <a:pt x="867" y="1371"/>
                </a:lnTo>
                <a:lnTo>
                  <a:pt x="864" y="1370"/>
                </a:lnTo>
                <a:lnTo>
                  <a:pt x="862" y="1368"/>
                </a:lnTo>
                <a:lnTo>
                  <a:pt x="861" y="1366"/>
                </a:lnTo>
                <a:lnTo>
                  <a:pt x="860" y="1364"/>
                </a:lnTo>
                <a:lnTo>
                  <a:pt x="860" y="1362"/>
                </a:lnTo>
                <a:lnTo>
                  <a:pt x="860" y="1359"/>
                </a:lnTo>
                <a:lnTo>
                  <a:pt x="860" y="1357"/>
                </a:lnTo>
                <a:lnTo>
                  <a:pt x="861" y="1355"/>
                </a:lnTo>
                <a:lnTo>
                  <a:pt x="862" y="1353"/>
                </a:lnTo>
                <a:lnTo>
                  <a:pt x="864" y="1351"/>
                </a:lnTo>
                <a:lnTo>
                  <a:pt x="866" y="1350"/>
                </a:lnTo>
                <a:lnTo>
                  <a:pt x="868" y="1349"/>
                </a:lnTo>
                <a:lnTo>
                  <a:pt x="872" y="1349"/>
                </a:lnTo>
                <a:close/>
                <a:moveTo>
                  <a:pt x="782" y="1236"/>
                </a:moveTo>
                <a:lnTo>
                  <a:pt x="785" y="1236"/>
                </a:lnTo>
                <a:lnTo>
                  <a:pt x="787" y="1237"/>
                </a:lnTo>
                <a:lnTo>
                  <a:pt x="790" y="1238"/>
                </a:lnTo>
                <a:lnTo>
                  <a:pt x="792" y="1241"/>
                </a:lnTo>
                <a:lnTo>
                  <a:pt x="793" y="1243"/>
                </a:lnTo>
                <a:lnTo>
                  <a:pt x="794" y="1245"/>
                </a:lnTo>
                <a:lnTo>
                  <a:pt x="794" y="1247"/>
                </a:lnTo>
                <a:lnTo>
                  <a:pt x="794" y="1249"/>
                </a:lnTo>
                <a:lnTo>
                  <a:pt x="793" y="1252"/>
                </a:lnTo>
                <a:lnTo>
                  <a:pt x="792" y="1254"/>
                </a:lnTo>
                <a:lnTo>
                  <a:pt x="791" y="1256"/>
                </a:lnTo>
                <a:lnTo>
                  <a:pt x="789" y="1257"/>
                </a:lnTo>
                <a:lnTo>
                  <a:pt x="788" y="1258"/>
                </a:lnTo>
                <a:lnTo>
                  <a:pt x="786" y="1259"/>
                </a:lnTo>
                <a:lnTo>
                  <a:pt x="784" y="1260"/>
                </a:lnTo>
                <a:lnTo>
                  <a:pt x="782" y="1260"/>
                </a:lnTo>
                <a:lnTo>
                  <a:pt x="779" y="1259"/>
                </a:lnTo>
                <a:lnTo>
                  <a:pt x="777" y="1259"/>
                </a:lnTo>
                <a:lnTo>
                  <a:pt x="774" y="1257"/>
                </a:lnTo>
                <a:lnTo>
                  <a:pt x="772" y="1255"/>
                </a:lnTo>
                <a:lnTo>
                  <a:pt x="771" y="1253"/>
                </a:lnTo>
                <a:lnTo>
                  <a:pt x="770" y="1251"/>
                </a:lnTo>
                <a:lnTo>
                  <a:pt x="770" y="1249"/>
                </a:lnTo>
                <a:lnTo>
                  <a:pt x="770" y="1246"/>
                </a:lnTo>
                <a:lnTo>
                  <a:pt x="771" y="1244"/>
                </a:lnTo>
                <a:lnTo>
                  <a:pt x="772" y="1242"/>
                </a:lnTo>
                <a:lnTo>
                  <a:pt x="773" y="1240"/>
                </a:lnTo>
                <a:lnTo>
                  <a:pt x="775" y="1238"/>
                </a:lnTo>
                <a:lnTo>
                  <a:pt x="776" y="1237"/>
                </a:lnTo>
                <a:lnTo>
                  <a:pt x="778" y="1236"/>
                </a:lnTo>
                <a:lnTo>
                  <a:pt x="780" y="1236"/>
                </a:lnTo>
                <a:lnTo>
                  <a:pt x="782" y="1236"/>
                </a:lnTo>
                <a:close/>
                <a:moveTo>
                  <a:pt x="697" y="1120"/>
                </a:moveTo>
                <a:lnTo>
                  <a:pt x="699" y="1120"/>
                </a:lnTo>
                <a:lnTo>
                  <a:pt x="702" y="1121"/>
                </a:lnTo>
                <a:lnTo>
                  <a:pt x="704" y="1123"/>
                </a:lnTo>
                <a:lnTo>
                  <a:pt x="705" y="1124"/>
                </a:lnTo>
                <a:lnTo>
                  <a:pt x="706" y="1125"/>
                </a:lnTo>
                <a:lnTo>
                  <a:pt x="708" y="1127"/>
                </a:lnTo>
                <a:lnTo>
                  <a:pt x="708" y="1129"/>
                </a:lnTo>
                <a:lnTo>
                  <a:pt x="708" y="1134"/>
                </a:lnTo>
                <a:lnTo>
                  <a:pt x="708" y="1136"/>
                </a:lnTo>
                <a:lnTo>
                  <a:pt x="707" y="1138"/>
                </a:lnTo>
                <a:lnTo>
                  <a:pt x="705" y="1140"/>
                </a:lnTo>
                <a:lnTo>
                  <a:pt x="704" y="1142"/>
                </a:lnTo>
                <a:lnTo>
                  <a:pt x="700" y="1143"/>
                </a:lnTo>
                <a:lnTo>
                  <a:pt x="697" y="1144"/>
                </a:lnTo>
                <a:lnTo>
                  <a:pt x="694" y="1143"/>
                </a:lnTo>
                <a:lnTo>
                  <a:pt x="691" y="1142"/>
                </a:lnTo>
                <a:lnTo>
                  <a:pt x="689" y="1141"/>
                </a:lnTo>
                <a:lnTo>
                  <a:pt x="688" y="1140"/>
                </a:lnTo>
                <a:lnTo>
                  <a:pt x="687" y="1139"/>
                </a:lnTo>
                <a:lnTo>
                  <a:pt x="686" y="1137"/>
                </a:lnTo>
                <a:lnTo>
                  <a:pt x="685" y="1134"/>
                </a:lnTo>
                <a:lnTo>
                  <a:pt x="685" y="1130"/>
                </a:lnTo>
                <a:lnTo>
                  <a:pt x="685" y="1128"/>
                </a:lnTo>
                <a:lnTo>
                  <a:pt x="686" y="1125"/>
                </a:lnTo>
                <a:lnTo>
                  <a:pt x="688" y="1124"/>
                </a:lnTo>
                <a:lnTo>
                  <a:pt x="690" y="1122"/>
                </a:lnTo>
                <a:lnTo>
                  <a:pt x="693" y="1120"/>
                </a:lnTo>
                <a:lnTo>
                  <a:pt x="697" y="1120"/>
                </a:lnTo>
                <a:close/>
                <a:moveTo>
                  <a:pt x="614" y="1001"/>
                </a:moveTo>
                <a:lnTo>
                  <a:pt x="617" y="1002"/>
                </a:lnTo>
                <a:lnTo>
                  <a:pt x="619" y="1003"/>
                </a:lnTo>
                <a:lnTo>
                  <a:pt x="622" y="1004"/>
                </a:lnTo>
                <a:lnTo>
                  <a:pt x="624" y="1007"/>
                </a:lnTo>
                <a:lnTo>
                  <a:pt x="625" y="1009"/>
                </a:lnTo>
                <a:lnTo>
                  <a:pt x="626" y="1011"/>
                </a:lnTo>
                <a:lnTo>
                  <a:pt x="626" y="1016"/>
                </a:lnTo>
                <a:lnTo>
                  <a:pt x="625" y="1018"/>
                </a:lnTo>
                <a:lnTo>
                  <a:pt x="624" y="1020"/>
                </a:lnTo>
                <a:lnTo>
                  <a:pt x="622" y="1022"/>
                </a:lnTo>
                <a:lnTo>
                  <a:pt x="620" y="1023"/>
                </a:lnTo>
                <a:lnTo>
                  <a:pt x="619" y="1024"/>
                </a:lnTo>
                <a:lnTo>
                  <a:pt x="617" y="1025"/>
                </a:lnTo>
                <a:lnTo>
                  <a:pt x="614" y="1025"/>
                </a:lnTo>
                <a:lnTo>
                  <a:pt x="611" y="1025"/>
                </a:lnTo>
                <a:lnTo>
                  <a:pt x="608" y="1024"/>
                </a:lnTo>
                <a:lnTo>
                  <a:pt x="606" y="1022"/>
                </a:lnTo>
                <a:lnTo>
                  <a:pt x="604" y="1020"/>
                </a:lnTo>
                <a:lnTo>
                  <a:pt x="603" y="1018"/>
                </a:lnTo>
                <a:lnTo>
                  <a:pt x="602" y="1015"/>
                </a:lnTo>
                <a:lnTo>
                  <a:pt x="602" y="1011"/>
                </a:lnTo>
                <a:lnTo>
                  <a:pt x="603" y="1009"/>
                </a:lnTo>
                <a:lnTo>
                  <a:pt x="604" y="1007"/>
                </a:lnTo>
                <a:lnTo>
                  <a:pt x="605" y="1005"/>
                </a:lnTo>
                <a:lnTo>
                  <a:pt x="607" y="1003"/>
                </a:lnTo>
                <a:lnTo>
                  <a:pt x="609" y="1002"/>
                </a:lnTo>
                <a:lnTo>
                  <a:pt x="610" y="1002"/>
                </a:lnTo>
                <a:lnTo>
                  <a:pt x="614" y="1001"/>
                </a:lnTo>
                <a:close/>
                <a:moveTo>
                  <a:pt x="535" y="880"/>
                </a:moveTo>
                <a:lnTo>
                  <a:pt x="538" y="880"/>
                </a:lnTo>
                <a:lnTo>
                  <a:pt x="541" y="881"/>
                </a:lnTo>
                <a:lnTo>
                  <a:pt x="543" y="883"/>
                </a:lnTo>
                <a:lnTo>
                  <a:pt x="545" y="885"/>
                </a:lnTo>
                <a:lnTo>
                  <a:pt x="546" y="887"/>
                </a:lnTo>
                <a:lnTo>
                  <a:pt x="547" y="890"/>
                </a:lnTo>
                <a:lnTo>
                  <a:pt x="547" y="894"/>
                </a:lnTo>
                <a:lnTo>
                  <a:pt x="546" y="896"/>
                </a:lnTo>
                <a:lnTo>
                  <a:pt x="545" y="898"/>
                </a:lnTo>
                <a:lnTo>
                  <a:pt x="543" y="900"/>
                </a:lnTo>
                <a:lnTo>
                  <a:pt x="541" y="902"/>
                </a:lnTo>
                <a:lnTo>
                  <a:pt x="538" y="903"/>
                </a:lnTo>
                <a:lnTo>
                  <a:pt x="535" y="904"/>
                </a:lnTo>
                <a:lnTo>
                  <a:pt x="532" y="903"/>
                </a:lnTo>
                <a:lnTo>
                  <a:pt x="529" y="902"/>
                </a:lnTo>
                <a:lnTo>
                  <a:pt x="527" y="900"/>
                </a:lnTo>
                <a:lnTo>
                  <a:pt x="525" y="898"/>
                </a:lnTo>
                <a:lnTo>
                  <a:pt x="524" y="896"/>
                </a:lnTo>
                <a:lnTo>
                  <a:pt x="523" y="894"/>
                </a:lnTo>
                <a:lnTo>
                  <a:pt x="523" y="889"/>
                </a:lnTo>
                <a:lnTo>
                  <a:pt x="524" y="887"/>
                </a:lnTo>
                <a:lnTo>
                  <a:pt x="525" y="885"/>
                </a:lnTo>
                <a:lnTo>
                  <a:pt x="527" y="883"/>
                </a:lnTo>
                <a:lnTo>
                  <a:pt x="528" y="881"/>
                </a:lnTo>
                <a:lnTo>
                  <a:pt x="532" y="880"/>
                </a:lnTo>
                <a:lnTo>
                  <a:pt x="535" y="880"/>
                </a:lnTo>
                <a:close/>
                <a:moveTo>
                  <a:pt x="459" y="757"/>
                </a:moveTo>
                <a:lnTo>
                  <a:pt x="462" y="758"/>
                </a:lnTo>
                <a:lnTo>
                  <a:pt x="464" y="759"/>
                </a:lnTo>
                <a:lnTo>
                  <a:pt x="467" y="761"/>
                </a:lnTo>
                <a:lnTo>
                  <a:pt x="469" y="763"/>
                </a:lnTo>
                <a:lnTo>
                  <a:pt x="470" y="765"/>
                </a:lnTo>
                <a:lnTo>
                  <a:pt x="470" y="768"/>
                </a:lnTo>
                <a:lnTo>
                  <a:pt x="471" y="770"/>
                </a:lnTo>
                <a:lnTo>
                  <a:pt x="470" y="772"/>
                </a:lnTo>
                <a:lnTo>
                  <a:pt x="470" y="774"/>
                </a:lnTo>
                <a:lnTo>
                  <a:pt x="468" y="776"/>
                </a:lnTo>
                <a:lnTo>
                  <a:pt x="467" y="778"/>
                </a:lnTo>
                <a:lnTo>
                  <a:pt x="465" y="780"/>
                </a:lnTo>
                <a:lnTo>
                  <a:pt x="462" y="781"/>
                </a:lnTo>
                <a:lnTo>
                  <a:pt x="459" y="781"/>
                </a:lnTo>
                <a:lnTo>
                  <a:pt x="456" y="781"/>
                </a:lnTo>
                <a:lnTo>
                  <a:pt x="453" y="780"/>
                </a:lnTo>
                <a:lnTo>
                  <a:pt x="450" y="778"/>
                </a:lnTo>
                <a:lnTo>
                  <a:pt x="448" y="776"/>
                </a:lnTo>
                <a:lnTo>
                  <a:pt x="447" y="774"/>
                </a:lnTo>
                <a:lnTo>
                  <a:pt x="447" y="771"/>
                </a:lnTo>
                <a:lnTo>
                  <a:pt x="447" y="769"/>
                </a:lnTo>
                <a:lnTo>
                  <a:pt x="447" y="767"/>
                </a:lnTo>
                <a:lnTo>
                  <a:pt x="448" y="764"/>
                </a:lnTo>
                <a:lnTo>
                  <a:pt x="449" y="762"/>
                </a:lnTo>
                <a:lnTo>
                  <a:pt x="450" y="761"/>
                </a:lnTo>
                <a:lnTo>
                  <a:pt x="452" y="759"/>
                </a:lnTo>
                <a:lnTo>
                  <a:pt x="455" y="758"/>
                </a:lnTo>
                <a:lnTo>
                  <a:pt x="459" y="757"/>
                </a:lnTo>
                <a:close/>
                <a:moveTo>
                  <a:pt x="384" y="634"/>
                </a:moveTo>
                <a:lnTo>
                  <a:pt x="387" y="634"/>
                </a:lnTo>
                <a:lnTo>
                  <a:pt x="390" y="636"/>
                </a:lnTo>
                <a:lnTo>
                  <a:pt x="393" y="637"/>
                </a:lnTo>
                <a:lnTo>
                  <a:pt x="395" y="640"/>
                </a:lnTo>
                <a:lnTo>
                  <a:pt x="396" y="644"/>
                </a:lnTo>
                <a:lnTo>
                  <a:pt x="396" y="647"/>
                </a:lnTo>
                <a:lnTo>
                  <a:pt x="396" y="649"/>
                </a:lnTo>
                <a:lnTo>
                  <a:pt x="395" y="651"/>
                </a:lnTo>
                <a:lnTo>
                  <a:pt x="394" y="653"/>
                </a:lnTo>
                <a:lnTo>
                  <a:pt x="392" y="655"/>
                </a:lnTo>
                <a:lnTo>
                  <a:pt x="390" y="656"/>
                </a:lnTo>
                <a:lnTo>
                  <a:pt x="387" y="658"/>
                </a:lnTo>
                <a:lnTo>
                  <a:pt x="384" y="658"/>
                </a:lnTo>
                <a:lnTo>
                  <a:pt x="381" y="658"/>
                </a:lnTo>
                <a:lnTo>
                  <a:pt x="378" y="657"/>
                </a:lnTo>
                <a:lnTo>
                  <a:pt x="376" y="655"/>
                </a:lnTo>
                <a:lnTo>
                  <a:pt x="374" y="652"/>
                </a:lnTo>
                <a:lnTo>
                  <a:pt x="372" y="648"/>
                </a:lnTo>
                <a:lnTo>
                  <a:pt x="372" y="645"/>
                </a:lnTo>
                <a:lnTo>
                  <a:pt x="373" y="643"/>
                </a:lnTo>
                <a:lnTo>
                  <a:pt x="373" y="641"/>
                </a:lnTo>
                <a:lnTo>
                  <a:pt x="375" y="639"/>
                </a:lnTo>
                <a:lnTo>
                  <a:pt x="376" y="637"/>
                </a:lnTo>
                <a:lnTo>
                  <a:pt x="378" y="636"/>
                </a:lnTo>
                <a:lnTo>
                  <a:pt x="381" y="634"/>
                </a:lnTo>
                <a:lnTo>
                  <a:pt x="384" y="634"/>
                </a:lnTo>
                <a:close/>
                <a:moveTo>
                  <a:pt x="311" y="510"/>
                </a:moveTo>
                <a:lnTo>
                  <a:pt x="314" y="510"/>
                </a:lnTo>
                <a:lnTo>
                  <a:pt x="317" y="511"/>
                </a:lnTo>
                <a:lnTo>
                  <a:pt x="320" y="513"/>
                </a:lnTo>
                <a:lnTo>
                  <a:pt x="322" y="516"/>
                </a:lnTo>
                <a:lnTo>
                  <a:pt x="323" y="520"/>
                </a:lnTo>
                <a:lnTo>
                  <a:pt x="323" y="523"/>
                </a:lnTo>
                <a:lnTo>
                  <a:pt x="323" y="525"/>
                </a:lnTo>
                <a:lnTo>
                  <a:pt x="322" y="527"/>
                </a:lnTo>
                <a:lnTo>
                  <a:pt x="321" y="529"/>
                </a:lnTo>
                <a:lnTo>
                  <a:pt x="317" y="532"/>
                </a:lnTo>
                <a:lnTo>
                  <a:pt x="314" y="533"/>
                </a:lnTo>
                <a:lnTo>
                  <a:pt x="311" y="534"/>
                </a:lnTo>
                <a:lnTo>
                  <a:pt x="308" y="533"/>
                </a:lnTo>
                <a:lnTo>
                  <a:pt x="305" y="532"/>
                </a:lnTo>
                <a:lnTo>
                  <a:pt x="303" y="530"/>
                </a:lnTo>
                <a:lnTo>
                  <a:pt x="301" y="528"/>
                </a:lnTo>
                <a:lnTo>
                  <a:pt x="299" y="523"/>
                </a:lnTo>
                <a:lnTo>
                  <a:pt x="299" y="521"/>
                </a:lnTo>
                <a:lnTo>
                  <a:pt x="300" y="519"/>
                </a:lnTo>
                <a:lnTo>
                  <a:pt x="300" y="517"/>
                </a:lnTo>
                <a:lnTo>
                  <a:pt x="302" y="515"/>
                </a:lnTo>
                <a:lnTo>
                  <a:pt x="305" y="511"/>
                </a:lnTo>
                <a:lnTo>
                  <a:pt x="308" y="510"/>
                </a:lnTo>
                <a:lnTo>
                  <a:pt x="311" y="510"/>
                </a:lnTo>
                <a:close/>
                <a:moveTo>
                  <a:pt x="238" y="386"/>
                </a:moveTo>
                <a:lnTo>
                  <a:pt x="241" y="386"/>
                </a:lnTo>
                <a:lnTo>
                  <a:pt x="244" y="387"/>
                </a:lnTo>
                <a:lnTo>
                  <a:pt x="247" y="389"/>
                </a:lnTo>
                <a:lnTo>
                  <a:pt x="249" y="392"/>
                </a:lnTo>
                <a:lnTo>
                  <a:pt x="250" y="396"/>
                </a:lnTo>
                <a:lnTo>
                  <a:pt x="250" y="398"/>
                </a:lnTo>
                <a:lnTo>
                  <a:pt x="250" y="401"/>
                </a:lnTo>
                <a:lnTo>
                  <a:pt x="249" y="403"/>
                </a:lnTo>
                <a:lnTo>
                  <a:pt x="248" y="405"/>
                </a:lnTo>
                <a:lnTo>
                  <a:pt x="246" y="407"/>
                </a:lnTo>
                <a:lnTo>
                  <a:pt x="244" y="408"/>
                </a:lnTo>
                <a:lnTo>
                  <a:pt x="241" y="409"/>
                </a:lnTo>
                <a:lnTo>
                  <a:pt x="238" y="410"/>
                </a:lnTo>
                <a:lnTo>
                  <a:pt x="235" y="409"/>
                </a:lnTo>
                <a:lnTo>
                  <a:pt x="232" y="408"/>
                </a:lnTo>
                <a:lnTo>
                  <a:pt x="230" y="406"/>
                </a:lnTo>
                <a:lnTo>
                  <a:pt x="228" y="404"/>
                </a:lnTo>
                <a:lnTo>
                  <a:pt x="226" y="399"/>
                </a:lnTo>
                <a:lnTo>
                  <a:pt x="226" y="397"/>
                </a:lnTo>
                <a:lnTo>
                  <a:pt x="227" y="395"/>
                </a:lnTo>
                <a:lnTo>
                  <a:pt x="227" y="393"/>
                </a:lnTo>
                <a:lnTo>
                  <a:pt x="229" y="391"/>
                </a:lnTo>
                <a:lnTo>
                  <a:pt x="230" y="389"/>
                </a:lnTo>
                <a:lnTo>
                  <a:pt x="232" y="387"/>
                </a:lnTo>
                <a:lnTo>
                  <a:pt x="235" y="386"/>
                </a:lnTo>
                <a:lnTo>
                  <a:pt x="238" y="386"/>
                </a:lnTo>
                <a:close/>
                <a:moveTo>
                  <a:pt x="164" y="262"/>
                </a:moveTo>
                <a:lnTo>
                  <a:pt x="167" y="263"/>
                </a:lnTo>
                <a:lnTo>
                  <a:pt x="170" y="264"/>
                </a:lnTo>
                <a:lnTo>
                  <a:pt x="173" y="265"/>
                </a:lnTo>
                <a:lnTo>
                  <a:pt x="175" y="268"/>
                </a:lnTo>
                <a:lnTo>
                  <a:pt x="176" y="270"/>
                </a:lnTo>
                <a:lnTo>
                  <a:pt x="176" y="272"/>
                </a:lnTo>
                <a:lnTo>
                  <a:pt x="176" y="275"/>
                </a:lnTo>
                <a:lnTo>
                  <a:pt x="176" y="277"/>
                </a:lnTo>
                <a:lnTo>
                  <a:pt x="175" y="279"/>
                </a:lnTo>
                <a:lnTo>
                  <a:pt x="174" y="281"/>
                </a:lnTo>
                <a:lnTo>
                  <a:pt x="172" y="283"/>
                </a:lnTo>
                <a:lnTo>
                  <a:pt x="171" y="284"/>
                </a:lnTo>
                <a:lnTo>
                  <a:pt x="167" y="286"/>
                </a:lnTo>
                <a:lnTo>
                  <a:pt x="164" y="286"/>
                </a:lnTo>
                <a:lnTo>
                  <a:pt x="161" y="286"/>
                </a:lnTo>
                <a:lnTo>
                  <a:pt x="158" y="285"/>
                </a:lnTo>
                <a:lnTo>
                  <a:pt x="156" y="283"/>
                </a:lnTo>
                <a:lnTo>
                  <a:pt x="154" y="280"/>
                </a:lnTo>
                <a:lnTo>
                  <a:pt x="153" y="278"/>
                </a:lnTo>
                <a:lnTo>
                  <a:pt x="152" y="276"/>
                </a:lnTo>
                <a:lnTo>
                  <a:pt x="152" y="274"/>
                </a:lnTo>
                <a:lnTo>
                  <a:pt x="153" y="271"/>
                </a:lnTo>
                <a:lnTo>
                  <a:pt x="153" y="269"/>
                </a:lnTo>
                <a:lnTo>
                  <a:pt x="155" y="267"/>
                </a:lnTo>
                <a:lnTo>
                  <a:pt x="156" y="265"/>
                </a:lnTo>
                <a:lnTo>
                  <a:pt x="158" y="264"/>
                </a:lnTo>
                <a:lnTo>
                  <a:pt x="161" y="263"/>
                </a:lnTo>
                <a:lnTo>
                  <a:pt x="164" y="262"/>
                </a:lnTo>
                <a:close/>
                <a:moveTo>
                  <a:pt x="89" y="139"/>
                </a:moveTo>
                <a:lnTo>
                  <a:pt x="92" y="140"/>
                </a:lnTo>
                <a:lnTo>
                  <a:pt x="95" y="141"/>
                </a:lnTo>
                <a:lnTo>
                  <a:pt x="97" y="143"/>
                </a:lnTo>
                <a:lnTo>
                  <a:pt x="99" y="145"/>
                </a:lnTo>
                <a:lnTo>
                  <a:pt x="100" y="147"/>
                </a:lnTo>
                <a:lnTo>
                  <a:pt x="101" y="149"/>
                </a:lnTo>
                <a:lnTo>
                  <a:pt x="101" y="152"/>
                </a:lnTo>
                <a:lnTo>
                  <a:pt x="101" y="154"/>
                </a:lnTo>
                <a:lnTo>
                  <a:pt x="100" y="156"/>
                </a:lnTo>
                <a:lnTo>
                  <a:pt x="99" y="158"/>
                </a:lnTo>
                <a:lnTo>
                  <a:pt x="97" y="160"/>
                </a:lnTo>
                <a:lnTo>
                  <a:pt x="95" y="162"/>
                </a:lnTo>
                <a:lnTo>
                  <a:pt x="92" y="163"/>
                </a:lnTo>
                <a:lnTo>
                  <a:pt x="89" y="163"/>
                </a:lnTo>
                <a:lnTo>
                  <a:pt x="86" y="163"/>
                </a:lnTo>
                <a:lnTo>
                  <a:pt x="83" y="162"/>
                </a:lnTo>
                <a:lnTo>
                  <a:pt x="81" y="160"/>
                </a:lnTo>
                <a:lnTo>
                  <a:pt x="79" y="158"/>
                </a:lnTo>
                <a:lnTo>
                  <a:pt x="78" y="155"/>
                </a:lnTo>
                <a:lnTo>
                  <a:pt x="77" y="153"/>
                </a:lnTo>
                <a:lnTo>
                  <a:pt x="77" y="151"/>
                </a:lnTo>
                <a:lnTo>
                  <a:pt x="77" y="149"/>
                </a:lnTo>
                <a:lnTo>
                  <a:pt x="78" y="146"/>
                </a:lnTo>
                <a:lnTo>
                  <a:pt x="79" y="144"/>
                </a:lnTo>
                <a:lnTo>
                  <a:pt x="81" y="143"/>
                </a:lnTo>
                <a:lnTo>
                  <a:pt x="83" y="141"/>
                </a:lnTo>
                <a:lnTo>
                  <a:pt x="86" y="140"/>
                </a:lnTo>
                <a:lnTo>
                  <a:pt x="89" y="139"/>
                </a:lnTo>
                <a:close/>
              </a:path>
            </a:pathLst>
          </a:custGeom>
          <a:solidFill>
            <a:srgbClr val="FF9D6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131F34E1-4A03-4647-AD6A-109BB45589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66763" y="1916113"/>
            <a:ext cx="10658475" cy="28875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accent4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66887" y="2636391"/>
            <a:ext cx="1224657" cy="1224657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40" name="Text Placeholder 10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439952" y="2637048"/>
            <a:ext cx="1224000" cy="1224000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41" name="Text Placeholder 10"/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040352" y="2637048"/>
            <a:ext cx="1224000" cy="1224000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4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2135560" y="2636912"/>
            <a:ext cx="2016224" cy="129614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4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4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7" name="Text Placeholder 10"/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767544" y="4940758"/>
            <a:ext cx="1224000" cy="1224000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49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766762" y="2204393"/>
            <a:ext cx="3385021" cy="360511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4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50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8040216" y="2204393"/>
            <a:ext cx="3385022" cy="360511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4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51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4439815" y="2204393"/>
            <a:ext cx="3312369" cy="360511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4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52" name="Text Placeholder 2"/>
          <p:cNvSpPr>
            <a:spLocks noGrp="1"/>
          </p:cNvSpPr>
          <p:nvPr>
            <p:ph type="body" idx="28" hasCustomPrompt="1"/>
          </p:nvPr>
        </p:nvSpPr>
        <p:spPr>
          <a:xfrm>
            <a:off x="766763" y="4509120"/>
            <a:ext cx="3385021" cy="360040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4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53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4439816" y="4509119"/>
            <a:ext cx="3312368" cy="360041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4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8027749" y="4509120"/>
            <a:ext cx="3397489" cy="360040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4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55" name="Text Placeholder 10"/>
          <p:cNvSpPr>
            <a:spLocks noGrp="1" noChangeAspect="1"/>
          </p:cNvSpPr>
          <p:nvPr>
            <p:ph type="body" sz="quarter" idx="31" hasCustomPrompt="1"/>
          </p:nvPr>
        </p:nvSpPr>
        <p:spPr>
          <a:xfrm>
            <a:off x="4439952" y="4940758"/>
            <a:ext cx="1224000" cy="1224000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56" name="Text Placeholder 10"/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8040216" y="4940622"/>
            <a:ext cx="1224000" cy="1224000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cxnSp>
        <p:nvCxnSpPr>
          <p:cNvPr id="57" name="Straight Connector 56"/>
          <p:cNvCxnSpPr/>
          <p:nvPr userDrawn="1"/>
        </p:nvCxnSpPr>
        <p:spPr>
          <a:xfrm>
            <a:off x="766763" y="4072330"/>
            <a:ext cx="10658475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 Placeholder 17"/>
          <p:cNvSpPr>
            <a:spLocks noGrp="1"/>
          </p:cNvSpPr>
          <p:nvPr>
            <p:ph type="body" sz="quarter" idx="33"/>
          </p:nvPr>
        </p:nvSpPr>
        <p:spPr>
          <a:xfrm>
            <a:off x="5807967" y="2636912"/>
            <a:ext cx="1944217" cy="129614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4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4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59" name="Text Placeholder 17"/>
          <p:cNvSpPr>
            <a:spLocks noGrp="1"/>
          </p:cNvSpPr>
          <p:nvPr>
            <p:ph type="body" sz="quarter" idx="34"/>
          </p:nvPr>
        </p:nvSpPr>
        <p:spPr>
          <a:xfrm>
            <a:off x="9408889" y="2637085"/>
            <a:ext cx="2016349" cy="1295971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4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4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60" name="Text Placeholder 17"/>
          <p:cNvSpPr>
            <a:spLocks noGrp="1"/>
          </p:cNvSpPr>
          <p:nvPr>
            <p:ph type="body" sz="quarter" idx="35"/>
          </p:nvPr>
        </p:nvSpPr>
        <p:spPr>
          <a:xfrm>
            <a:off x="2135559" y="4940622"/>
            <a:ext cx="2016225" cy="129669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4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4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61" name="Text Placeholder 17"/>
          <p:cNvSpPr>
            <a:spLocks noGrp="1"/>
          </p:cNvSpPr>
          <p:nvPr>
            <p:ph type="body" sz="quarter" idx="36"/>
          </p:nvPr>
        </p:nvSpPr>
        <p:spPr>
          <a:xfrm>
            <a:off x="5807969" y="4940299"/>
            <a:ext cx="1944216" cy="1297013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4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4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62" name="Text Placeholder 17"/>
          <p:cNvSpPr>
            <a:spLocks noGrp="1"/>
          </p:cNvSpPr>
          <p:nvPr>
            <p:ph type="body" sz="quarter" idx="37"/>
          </p:nvPr>
        </p:nvSpPr>
        <p:spPr>
          <a:xfrm>
            <a:off x="9408369" y="4940299"/>
            <a:ext cx="2016870" cy="1297013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4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4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64" name="Text Placeholder 2"/>
          <p:cNvSpPr>
            <a:spLocks noGrp="1"/>
          </p:cNvSpPr>
          <p:nvPr>
            <p:ph type="body" idx="38"/>
          </p:nvPr>
        </p:nvSpPr>
        <p:spPr>
          <a:xfrm>
            <a:off x="766764" y="4221088"/>
            <a:ext cx="10658474" cy="288032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4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8" name="Freeform 27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75137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Arrows" preserve="1" userDrawn="1">
  <p:cSld name="slide_5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F34E1-4A03-4647-AD6A-109BB455893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631504" y="1917093"/>
            <a:ext cx="4320479" cy="1296614"/>
          </a:xfrm>
          <a:noFill/>
        </p:spPr>
        <p:txBody>
          <a:bodyPr lIns="0" tIns="72000" rIns="0" bIns="0"/>
          <a:lstStyle>
            <a:lvl1pPr marL="0" indent="0">
              <a:spcBef>
                <a:spcPts val="200"/>
              </a:spcBef>
              <a:buClrTx/>
              <a:buFontTx/>
              <a:buNone/>
              <a:defRPr sz="1600"/>
            </a:lvl1pPr>
            <a:lvl2pPr marL="182563" indent="-182563"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/>
            </a:lvl2pPr>
            <a:lvl3pPr marL="357188" indent="-174625">
              <a:spcBef>
                <a:spcPts val="200"/>
              </a:spcBef>
              <a:buClrTx/>
              <a:defRPr sz="1200"/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3" name="Text Placeholder 17"/>
          <p:cNvSpPr>
            <a:spLocks noGrp="1"/>
          </p:cNvSpPr>
          <p:nvPr>
            <p:ph type="body" sz="quarter" idx="27"/>
          </p:nvPr>
        </p:nvSpPr>
        <p:spPr>
          <a:xfrm>
            <a:off x="1631503" y="3429000"/>
            <a:ext cx="4320481" cy="1296614"/>
          </a:xfrm>
          <a:noFill/>
        </p:spPr>
        <p:txBody>
          <a:bodyPr lIns="0" tIns="72000" rIns="0" bIns="0"/>
          <a:lstStyle>
            <a:lvl1pPr marL="0" indent="0">
              <a:spcBef>
                <a:spcPts val="200"/>
              </a:spcBef>
              <a:buClrTx/>
              <a:buFontTx/>
              <a:buNone/>
              <a:defRPr sz="1600"/>
            </a:lvl1pPr>
            <a:lvl2pPr marL="182563" indent="-182563"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/>
            </a:lvl2pPr>
            <a:lvl3pPr marL="357188" indent="-174625">
              <a:spcBef>
                <a:spcPts val="200"/>
              </a:spcBef>
              <a:buClrTx/>
              <a:defRPr sz="1200"/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4" name="Text Placeholder 17"/>
          <p:cNvSpPr>
            <a:spLocks noGrp="1"/>
          </p:cNvSpPr>
          <p:nvPr>
            <p:ph type="body" sz="quarter" idx="28"/>
          </p:nvPr>
        </p:nvSpPr>
        <p:spPr>
          <a:xfrm>
            <a:off x="1631504" y="4941281"/>
            <a:ext cx="4320479" cy="1296614"/>
          </a:xfrm>
          <a:noFill/>
        </p:spPr>
        <p:txBody>
          <a:bodyPr lIns="0" tIns="72000" rIns="0" bIns="0"/>
          <a:lstStyle>
            <a:lvl1pPr marL="0" indent="0">
              <a:spcBef>
                <a:spcPts val="200"/>
              </a:spcBef>
              <a:buClrTx/>
              <a:buFontTx/>
              <a:buNone/>
              <a:defRPr sz="1600"/>
            </a:lvl1pPr>
            <a:lvl2pPr marL="182563" indent="-182563"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/>
            </a:lvl2pPr>
            <a:lvl3pPr marL="357188" indent="-174625">
              <a:spcBef>
                <a:spcPts val="200"/>
              </a:spcBef>
              <a:buClrTx/>
              <a:defRPr sz="1200"/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6886" y="1916113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3429000"/>
            <a:ext cx="720601" cy="576064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9186" y="4941168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39"/>
          </p:nvPr>
        </p:nvSpPr>
        <p:spPr>
          <a:xfrm>
            <a:off x="6816080" y="1916113"/>
            <a:ext cx="4609158" cy="1296863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182563" indent="-182563">
              <a:spcBef>
                <a:spcPts val="200"/>
              </a:spcBef>
              <a:defRPr sz="1400">
                <a:solidFill>
                  <a:schemeClr val="accent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accent1"/>
                </a:solidFill>
              </a:defRPr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40"/>
          </p:nvPr>
        </p:nvSpPr>
        <p:spPr>
          <a:xfrm>
            <a:off x="6816080" y="3429000"/>
            <a:ext cx="4609158" cy="1296144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182563" indent="-182563">
              <a:spcBef>
                <a:spcPts val="200"/>
              </a:spcBef>
              <a:defRPr sz="1400">
                <a:solidFill>
                  <a:schemeClr val="accent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accent1"/>
                </a:solidFill>
              </a:defRPr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41"/>
          </p:nvPr>
        </p:nvSpPr>
        <p:spPr>
          <a:xfrm>
            <a:off x="6816080" y="4941168"/>
            <a:ext cx="4609158" cy="1296120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182563" indent="-182563">
              <a:spcBef>
                <a:spcPts val="200"/>
              </a:spcBef>
              <a:defRPr sz="1400">
                <a:solidFill>
                  <a:schemeClr val="accent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accent1"/>
                </a:solidFill>
              </a:defRPr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1" name="Freeform 12"/>
          <p:cNvSpPr>
            <a:spLocks noChangeAspect="1"/>
          </p:cNvSpPr>
          <p:nvPr userDrawn="1"/>
        </p:nvSpPr>
        <p:spPr bwMode="auto">
          <a:xfrm>
            <a:off x="6168008" y="1988840"/>
            <a:ext cx="467999" cy="432000"/>
          </a:xfrm>
          <a:custGeom>
            <a:avLst/>
            <a:gdLst>
              <a:gd name="T0" fmla="*/ 1308 w 2002"/>
              <a:gd name="T1" fmla="*/ 748 h 1845"/>
              <a:gd name="T2" fmla="*/ 841 w 2002"/>
              <a:gd name="T3" fmla="*/ 301 h 1845"/>
              <a:gd name="T4" fmla="*/ 826 w 2002"/>
              <a:gd name="T5" fmla="*/ 280 h 1845"/>
              <a:gd name="T6" fmla="*/ 815 w 2002"/>
              <a:gd name="T7" fmla="*/ 256 h 1845"/>
              <a:gd name="T8" fmla="*/ 807 w 2002"/>
              <a:gd name="T9" fmla="*/ 230 h 1845"/>
              <a:gd name="T10" fmla="*/ 804 w 2002"/>
              <a:gd name="T11" fmla="*/ 204 h 1845"/>
              <a:gd name="T12" fmla="*/ 804 w 2002"/>
              <a:gd name="T13" fmla="*/ 178 h 1845"/>
              <a:gd name="T14" fmla="*/ 807 w 2002"/>
              <a:gd name="T15" fmla="*/ 152 h 1845"/>
              <a:gd name="T16" fmla="*/ 815 w 2002"/>
              <a:gd name="T17" fmla="*/ 126 h 1845"/>
              <a:gd name="T18" fmla="*/ 835 w 2002"/>
              <a:gd name="T19" fmla="*/ 85 h 1845"/>
              <a:gd name="T20" fmla="*/ 853 w 2002"/>
              <a:gd name="T21" fmla="*/ 63 h 1845"/>
              <a:gd name="T22" fmla="*/ 874 w 2002"/>
              <a:gd name="T23" fmla="*/ 44 h 1845"/>
              <a:gd name="T24" fmla="*/ 897 w 2002"/>
              <a:gd name="T25" fmla="*/ 28 h 1845"/>
              <a:gd name="T26" fmla="*/ 921 w 2002"/>
              <a:gd name="T27" fmla="*/ 15 h 1845"/>
              <a:gd name="T28" fmla="*/ 947 w 2002"/>
              <a:gd name="T29" fmla="*/ 6 h 1845"/>
              <a:gd name="T30" fmla="*/ 973 w 2002"/>
              <a:gd name="T31" fmla="*/ 1 h 1845"/>
              <a:gd name="T32" fmla="*/ 999 w 2002"/>
              <a:gd name="T33" fmla="*/ 0 h 1845"/>
              <a:gd name="T34" fmla="*/ 1025 w 2002"/>
              <a:gd name="T35" fmla="*/ 2 h 1845"/>
              <a:gd name="T36" fmla="*/ 1051 w 2002"/>
              <a:gd name="T37" fmla="*/ 8 h 1845"/>
              <a:gd name="T38" fmla="*/ 1075 w 2002"/>
              <a:gd name="T39" fmla="*/ 18 h 1845"/>
              <a:gd name="T40" fmla="*/ 1112 w 2002"/>
              <a:gd name="T41" fmla="*/ 44 h 1845"/>
              <a:gd name="T42" fmla="*/ 2002 w 2002"/>
              <a:gd name="T43" fmla="*/ 922 h 1845"/>
              <a:gd name="T44" fmla="*/ 1127 w 2002"/>
              <a:gd name="T45" fmla="*/ 1803 h 1845"/>
              <a:gd name="T46" fmla="*/ 1106 w 2002"/>
              <a:gd name="T47" fmla="*/ 1819 h 1845"/>
              <a:gd name="T48" fmla="*/ 1083 w 2002"/>
              <a:gd name="T49" fmla="*/ 1831 h 1845"/>
              <a:gd name="T50" fmla="*/ 1058 w 2002"/>
              <a:gd name="T51" fmla="*/ 1840 h 1845"/>
              <a:gd name="T52" fmla="*/ 1032 w 2002"/>
              <a:gd name="T53" fmla="*/ 1844 h 1845"/>
              <a:gd name="T54" fmla="*/ 1006 w 2002"/>
              <a:gd name="T55" fmla="*/ 1845 h 1845"/>
              <a:gd name="T56" fmla="*/ 972 w 2002"/>
              <a:gd name="T57" fmla="*/ 1841 h 1845"/>
              <a:gd name="T58" fmla="*/ 922 w 2002"/>
              <a:gd name="T59" fmla="*/ 1821 h 1845"/>
              <a:gd name="T60" fmla="*/ 891 w 2002"/>
              <a:gd name="T61" fmla="*/ 1801 h 1845"/>
              <a:gd name="T62" fmla="*/ 863 w 2002"/>
              <a:gd name="T63" fmla="*/ 1774 h 1845"/>
              <a:gd name="T64" fmla="*/ 847 w 2002"/>
              <a:gd name="T65" fmla="*/ 1751 h 1845"/>
              <a:gd name="T66" fmla="*/ 832 w 2002"/>
              <a:gd name="T67" fmla="*/ 1719 h 1845"/>
              <a:gd name="T68" fmla="*/ 824 w 2002"/>
              <a:gd name="T69" fmla="*/ 1693 h 1845"/>
              <a:gd name="T70" fmla="*/ 820 w 2002"/>
              <a:gd name="T71" fmla="*/ 1667 h 1845"/>
              <a:gd name="T72" fmla="*/ 820 w 2002"/>
              <a:gd name="T73" fmla="*/ 1641 h 1845"/>
              <a:gd name="T74" fmla="*/ 823 w 2002"/>
              <a:gd name="T75" fmla="*/ 1615 h 1845"/>
              <a:gd name="T76" fmla="*/ 831 w 2002"/>
              <a:gd name="T77" fmla="*/ 1590 h 1845"/>
              <a:gd name="T78" fmla="*/ 842 w 2002"/>
              <a:gd name="T79" fmla="*/ 1567 h 1845"/>
              <a:gd name="T80" fmla="*/ 856 w 2002"/>
              <a:gd name="T81" fmla="*/ 1546 h 1845"/>
              <a:gd name="T82" fmla="*/ 1304 w 2002"/>
              <a:gd name="T83" fmla="*/ 1097 h 1845"/>
              <a:gd name="T84" fmla="*/ 124 w 2002"/>
              <a:gd name="T85" fmla="*/ 1096 h 1845"/>
              <a:gd name="T86" fmla="*/ 101 w 2002"/>
              <a:gd name="T87" fmla="*/ 1093 h 1845"/>
              <a:gd name="T88" fmla="*/ 75 w 2002"/>
              <a:gd name="T89" fmla="*/ 1082 h 1845"/>
              <a:gd name="T90" fmla="*/ 52 w 2002"/>
              <a:gd name="T91" fmla="*/ 1065 h 1845"/>
              <a:gd name="T92" fmla="*/ 38 w 2002"/>
              <a:gd name="T93" fmla="*/ 1049 h 1845"/>
              <a:gd name="T94" fmla="*/ 20 w 2002"/>
              <a:gd name="T95" fmla="*/ 1016 h 1845"/>
              <a:gd name="T96" fmla="*/ 9 w 2002"/>
              <a:gd name="T97" fmla="*/ 986 h 1845"/>
              <a:gd name="T98" fmla="*/ 1 w 2002"/>
              <a:gd name="T99" fmla="*/ 939 h 1845"/>
              <a:gd name="T100" fmla="*/ 1 w 2002"/>
              <a:gd name="T101" fmla="*/ 899 h 1845"/>
              <a:gd name="T102" fmla="*/ 9 w 2002"/>
              <a:gd name="T103" fmla="*/ 860 h 1845"/>
              <a:gd name="T104" fmla="*/ 20 w 2002"/>
              <a:gd name="T105" fmla="*/ 831 h 1845"/>
              <a:gd name="T106" fmla="*/ 35 w 2002"/>
              <a:gd name="T107" fmla="*/ 805 h 1845"/>
              <a:gd name="T108" fmla="*/ 65 w 2002"/>
              <a:gd name="T109" fmla="*/ 772 h 1845"/>
              <a:gd name="T110" fmla="*/ 83 w 2002"/>
              <a:gd name="T111" fmla="*/ 760 h 1845"/>
              <a:gd name="T112" fmla="*/ 104 w 2002"/>
              <a:gd name="T113" fmla="*/ 753 h 1845"/>
              <a:gd name="T114" fmla="*/ 126 w 2002"/>
              <a:gd name="T115" fmla="*/ 749 h 1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2" h="1845">
                <a:moveTo>
                  <a:pt x="133" y="748"/>
                </a:moveTo>
                <a:lnTo>
                  <a:pt x="720" y="748"/>
                </a:lnTo>
                <a:lnTo>
                  <a:pt x="1308" y="748"/>
                </a:lnTo>
                <a:lnTo>
                  <a:pt x="853" y="314"/>
                </a:lnTo>
                <a:lnTo>
                  <a:pt x="847" y="308"/>
                </a:lnTo>
                <a:lnTo>
                  <a:pt x="841" y="301"/>
                </a:lnTo>
                <a:lnTo>
                  <a:pt x="835" y="294"/>
                </a:lnTo>
                <a:lnTo>
                  <a:pt x="831" y="287"/>
                </a:lnTo>
                <a:lnTo>
                  <a:pt x="826" y="280"/>
                </a:lnTo>
                <a:lnTo>
                  <a:pt x="821" y="271"/>
                </a:lnTo>
                <a:lnTo>
                  <a:pt x="818" y="263"/>
                </a:lnTo>
                <a:lnTo>
                  <a:pt x="815" y="256"/>
                </a:lnTo>
                <a:lnTo>
                  <a:pt x="811" y="247"/>
                </a:lnTo>
                <a:lnTo>
                  <a:pt x="809" y="238"/>
                </a:lnTo>
                <a:lnTo>
                  <a:pt x="807" y="230"/>
                </a:lnTo>
                <a:lnTo>
                  <a:pt x="805" y="221"/>
                </a:lnTo>
                <a:lnTo>
                  <a:pt x="804" y="213"/>
                </a:lnTo>
                <a:lnTo>
                  <a:pt x="804" y="204"/>
                </a:lnTo>
                <a:lnTo>
                  <a:pt x="803" y="195"/>
                </a:lnTo>
                <a:lnTo>
                  <a:pt x="803" y="187"/>
                </a:lnTo>
                <a:lnTo>
                  <a:pt x="804" y="178"/>
                </a:lnTo>
                <a:lnTo>
                  <a:pt x="804" y="169"/>
                </a:lnTo>
                <a:lnTo>
                  <a:pt x="806" y="161"/>
                </a:lnTo>
                <a:lnTo>
                  <a:pt x="807" y="152"/>
                </a:lnTo>
                <a:lnTo>
                  <a:pt x="809" y="143"/>
                </a:lnTo>
                <a:lnTo>
                  <a:pt x="811" y="135"/>
                </a:lnTo>
                <a:lnTo>
                  <a:pt x="815" y="126"/>
                </a:lnTo>
                <a:lnTo>
                  <a:pt x="818" y="117"/>
                </a:lnTo>
                <a:lnTo>
                  <a:pt x="826" y="101"/>
                </a:lnTo>
                <a:lnTo>
                  <a:pt x="835" y="85"/>
                </a:lnTo>
                <a:lnTo>
                  <a:pt x="841" y="77"/>
                </a:lnTo>
                <a:lnTo>
                  <a:pt x="847" y="71"/>
                </a:lnTo>
                <a:lnTo>
                  <a:pt x="853" y="63"/>
                </a:lnTo>
                <a:lnTo>
                  <a:pt x="860" y="56"/>
                </a:lnTo>
                <a:lnTo>
                  <a:pt x="867" y="49"/>
                </a:lnTo>
                <a:lnTo>
                  <a:pt x="874" y="44"/>
                </a:lnTo>
                <a:lnTo>
                  <a:pt x="882" y="37"/>
                </a:lnTo>
                <a:lnTo>
                  <a:pt x="889" y="32"/>
                </a:lnTo>
                <a:lnTo>
                  <a:pt x="897" y="28"/>
                </a:lnTo>
                <a:lnTo>
                  <a:pt x="905" y="22"/>
                </a:lnTo>
                <a:lnTo>
                  <a:pt x="913" y="19"/>
                </a:lnTo>
                <a:lnTo>
                  <a:pt x="921" y="15"/>
                </a:lnTo>
                <a:lnTo>
                  <a:pt x="930" y="12"/>
                </a:lnTo>
                <a:lnTo>
                  <a:pt x="938" y="8"/>
                </a:lnTo>
                <a:lnTo>
                  <a:pt x="947" y="6"/>
                </a:lnTo>
                <a:lnTo>
                  <a:pt x="956" y="4"/>
                </a:lnTo>
                <a:lnTo>
                  <a:pt x="964" y="3"/>
                </a:lnTo>
                <a:lnTo>
                  <a:pt x="973" y="1"/>
                </a:lnTo>
                <a:lnTo>
                  <a:pt x="982" y="1"/>
                </a:lnTo>
                <a:lnTo>
                  <a:pt x="990" y="0"/>
                </a:lnTo>
                <a:lnTo>
                  <a:pt x="999" y="0"/>
                </a:lnTo>
                <a:lnTo>
                  <a:pt x="1008" y="1"/>
                </a:lnTo>
                <a:lnTo>
                  <a:pt x="1016" y="1"/>
                </a:lnTo>
                <a:lnTo>
                  <a:pt x="1025" y="2"/>
                </a:lnTo>
                <a:lnTo>
                  <a:pt x="1034" y="4"/>
                </a:lnTo>
                <a:lnTo>
                  <a:pt x="1042" y="6"/>
                </a:lnTo>
                <a:lnTo>
                  <a:pt x="1051" y="8"/>
                </a:lnTo>
                <a:lnTo>
                  <a:pt x="1058" y="12"/>
                </a:lnTo>
                <a:lnTo>
                  <a:pt x="1067" y="15"/>
                </a:lnTo>
                <a:lnTo>
                  <a:pt x="1075" y="18"/>
                </a:lnTo>
                <a:lnTo>
                  <a:pt x="1090" y="28"/>
                </a:lnTo>
                <a:lnTo>
                  <a:pt x="1105" y="37"/>
                </a:lnTo>
                <a:lnTo>
                  <a:pt x="1112" y="44"/>
                </a:lnTo>
                <a:lnTo>
                  <a:pt x="1118" y="49"/>
                </a:lnTo>
                <a:lnTo>
                  <a:pt x="1560" y="486"/>
                </a:lnTo>
                <a:lnTo>
                  <a:pt x="2002" y="922"/>
                </a:lnTo>
                <a:lnTo>
                  <a:pt x="1568" y="1359"/>
                </a:lnTo>
                <a:lnTo>
                  <a:pt x="1133" y="1796"/>
                </a:lnTo>
                <a:lnTo>
                  <a:pt x="1127" y="1803"/>
                </a:lnTo>
                <a:lnTo>
                  <a:pt x="1120" y="1808"/>
                </a:lnTo>
                <a:lnTo>
                  <a:pt x="1113" y="1814"/>
                </a:lnTo>
                <a:lnTo>
                  <a:pt x="1106" y="1819"/>
                </a:lnTo>
                <a:lnTo>
                  <a:pt x="1099" y="1823"/>
                </a:lnTo>
                <a:lnTo>
                  <a:pt x="1091" y="1828"/>
                </a:lnTo>
                <a:lnTo>
                  <a:pt x="1083" y="1831"/>
                </a:lnTo>
                <a:lnTo>
                  <a:pt x="1075" y="1834"/>
                </a:lnTo>
                <a:lnTo>
                  <a:pt x="1067" y="1837"/>
                </a:lnTo>
                <a:lnTo>
                  <a:pt x="1058" y="1840"/>
                </a:lnTo>
                <a:lnTo>
                  <a:pt x="1050" y="1842"/>
                </a:lnTo>
                <a:lnTo>
                  <a:pt x="1041" y="1843"/>
                </a:lnTo>
                <a:lnTo>
                  <a:pt x="1032" y="1844"/>
                </a:lnTo>
                <a:lnTo>
                  <a:pt x="1024" y="1845"/>
                </a:lnTo>
                <a:lnTo>
                  <a:pt x="1015" y="1845"/>
                </a:lnTo>
                <a:lnTo>
                  <a:pt x="1006" y="1845"/>
                </a:lnTo>
                <a:lnTo>
                  <a:pt x="998" y="1845"/>
                </a:lnTo>
                <a:lnTo>
                  <a:pt x="989" y="1844"/>
                </a:lnTo>
                <a:lnTo>
                  <a:pt x="972" y="1841"/>
                </a:lnTo>
                <a:lnTo>
                  <a:pt x="954" y="1836"/>
                </a:lnTo>
                <a:lnTo>
                  <a:pt x="938" y="1830"/>
                </a:lnTo>
                <a:lnTo>
                  <a:pt x="922" y="1821"/>
                </a:lnTo>
                <a:lnTo>
                  <a:pt x="906" y="1812"/>
                </a:lnTo>
                <a:lnTo>
                  <a:pt x="898" y="1806"/>
                </a:lnTo>
                <a:lnTo>
                  <a:pt x="891" y="1801"/>
                </a:lnTo>
                <a:lnTo>
                  <a:pt x="876" y="1788"/>
                </a:lnTo>
                <a:lnTo>
                  <a:pt x="870" y="1781"/>
                </a:lnTo>
                <a:lnTo>
                  <a:pt x="863" y="1774"/>
                </a:lnTo>
                <a:lnTo>
                  <a:pt x="858" y="1766"/>
                </a:lnTo>
                <a:lnTo>
                  <a:pt x="853" y="1759"/>
                </a:lnTo>
                <a:lnTo>
                  <a:pt x="847" y="1751"/>
                </a:lnTo>
                <a:lnTo>
                  <a:pt x="843" y="1743"/>
                </a:lnTo>
                <a:lnTo>
                  <a:pt x="835" y="1727"/>
                </a:lnTo>
                <a:lnTo>
                  <a:pt x="832" y="1719"/>
                </a:lnTo>
                <a:lnTo>
                  <a:pt x="829" y="1710"/>
                </a:lnTo>
                <a:lnTo>
                  <a:pt x="827" y="1701"/>
                </a:lnTo>
                <a:lnTo>
                  <a:pt x="824" y="1693"/>
                </a:lnTo>
                <a:lnTo>
                  <a:pt x="822" y="1684"/>
                </a:lnTo>
                <a:lnTo>
                  <a:pt x="821" y="1675"/>
                </a:lnTo>
                <a:lnTo>
                  <a:pt x="820" y="1667"/>
                </a:lnTo>
                <a:lnTo>
                  <a:pt x="819" y="1658"/>
                </a:lnTo>
                <a:lnTo>
                  <a:pt x="819" y="1649"/>
                </a:lnTo>
                <a:lnTo>
                  <a:pt x="820" y="1641"/>
                </a:lnTo>
                <a:lnTo>
                  <a:pt x="820" y="1632"/>
                </a:lnTo>
                <a:lnTo>
                  <a:pt x="821" y="1624"/>
                </a:lnTo>
                <a:lnTo>
                  <a:pt x="823" y="1615"/>
                </a:lnTo>
                <a:lnTo>
                  <a:pt x="826" y="1607"/>
                </a:lnTo>
                <a:lnTo>
                  <a:pt x="828" y="1599"/>
                </a:lnTo>
                <a:lnTo>
                  <a:pt x="831" y="1590"/>
                </a:lnTo>
                <a:lnTo>
                  <a:pt x="834" y="1582"/>
                </a:lnTo>
                <a:lnTo>
                  <a:pt x="837" y="1575"/>
                </a:lnTo>
                <a:lnTo>
                  <a:pt x="842" y="1567"/>
                </a:lnTo>
                <a:lnTo>
                  <a:pt x="846" y="1560"/>
                </a:lnTo>
                <a:lnTo>
                  <a:pt x="850" y="1552"/>
                </a:lnTo>
                <a:lnTo>
                  <a:pt x="856" y="1546"/>
                </a:lnTo>
                <a:lnTo>
                  <a:pt x="862" y="1538"/>
                </a:lnTo>
                <a:lnTo>
                  <a:pt x="868" y="1532"/>
                </a:lnTo>
                <a:lnTo>
                  <a:pt x="1304" y="1097"/>
                </a:lnTo>
                <a:lnTo>
                  <a:pt x="717" y="1097"/>
                </a:lnTo>
                <a:lnTo>
                  <a:pt x="131" y="1097"/>
                </a:lnTo>
                <a:lnTo>
                  <a:pt x="124" y="1096"/>
                </a:lnTo>
                <a:lnTo>
                  <a:pt x="116" y="1096"/>
                </a:lnTo>
                <a:lnTo>
                  <a:pt x="108" y="1094"/>
                </a:lnTo>
                <a:lnTo>
                  <a:pt x="101" y="1093"/>
                </a:lnTo>
                <a:lnTo>
                  <a:pt x="88" y="1089"/>
                </a:lnTo>
                <a:lnTo>
                  <a:pt x="81" y="1085"/>
                </a:lnTo>
                <a:lnTo>
                  <a:pt x="75" y="1082"/>
                </a:lnTo>
                <a:lnTo>
                  <a:pt x="63" y="1074"/>
                </a:lnTo>
                <a:lnTo>
                  <a:pt x="57" y="1069"/>
                </a:lnTo>
                <a:lnTo>
                  <a:pt x="52" y="1065"/>
                </a:lnTo>
                <a:lnTo>
                  <a:pt x="48" y="1060"/>
                </a:lnTo>
                <a:lnTo>
                  <a:pt x="42" y="1054"/>
                </a:lnTo>
                <a:lnTo>
                  <a:pt x="38" y="1049"/>
                </a:lnTo>
                <a:lnTo>
                  <a:pt x="34" y="1042"/>
                </a:lnTo>
                <a:lnTo>
                  <a:pt x="26" y="1029"/>
                </a:lnTo>
                <a:lnTo>
                  <a:pt x="20" y="1016"/>
                </a:lnTo>
                <a:lnTo>
                  <a:pt x="16" y="1009"/>
                </a:lnTo>
                <a:lnTo>
                  <a:pt x="13" y="1001"/>
                </a:lnTo>
                <a:lnTo>
                  <a:pt x="9" y="986"/>
                </a:lnTo>
                <a:lnTo>
                  <a:pt x="5" y="971"/>
                </a:lnTo>
                <a:lnTo>
                  <a:pt x="2" y="955"/>
                </a:lnTo>
                <a:lnTo>
                  <a:pt x="1" y="939"/>
                </a:lnTo>
                <a:lnTo>
                  <a:pt x="0" y="922"/>
                </a:lnTo>
                <a:lnTo>
                  <a:pt x="1" y="906"/>
                </a:lnTo>
                <a:lnTo>
                  <a:pt x="1" y="899"/>
                </a:lnTo>
                <a:lnTo>
                  <a:pt x="2" y="891"/>
                </a:lnTo>
                <a:lnTo>
                  <a:pt x="5" y="875"/>
                </a:lnTo>
                <a:lnTo>
                  <a:pt x="9" y="860"/>
                </a:lnTo>
                <a:lnTo>
                  <a:pt x="12" y="852"/>
                </a:lnTo>
                <a:lnTo>
                  <a:pt x="14" y="845"/>
                </a:lnTo>
                <a:lnTo>
                  <a:pt x="20" y="831"/>
                </a:lnTo>
                <a:lnTo>
                  <a:pt x="27" y="816"/>
                </a:lnTo>
                <a:lnTo>
                  <a:pt x="31" y="810"/>
                </a:lnTo>
                <a:lnTo>
                  <a:pt x="35" y="805"/>
                </a:lnTo>
                <a:lnTo>
                  <a:pt x="44" y="793"/>
                </a:lnTo>
                <a:lnTo>
                  <a:pt x="54" y="782"/>
                </a:lnTo>
                <a:lnTo>
                  <a:pt x="65" y="772"/>
                </a:lnTo>
                <a:lnTo>
                  <a:pt x="70" y="768"/>
                </a:lnTo>
                <a:lnTo>
                  <a:pt x="77" y="765"/>
                </a:lnTo>
                <a:lnTo>
                  <a:pt x="83" y="760"/>
                </a:lnTo>
                <a:lnTo>
                  <a:pt x="90" y="758"/>
                </a:lnTo>
                <a:lnTo>
                  <a:pt x="96" y="755"/>
                </a:lnTo>
                <a:lnTo>
                  <a:pt x="104" y="753"/>
                </a:lnTo>
                <a:lnTo>
                  <a:pt x="111" y="752"/>
                </a:lnTo>
                <a:lnTo>
                  <a:pt x="118" y="749"/>
                </a:lnTo>
                <a:lnTo>
                  <a:pt x="126" y="749"/>
                </a:lnTo>
                <a:lnTo>
                  <a:pt x="133" y="748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32" name="Freeform 12"/>
          <p:cNvSpPr>
            <a:spLocks noChangeAspect="1"/>
          </p:cNvSpPr>
          <p:nvPr userDrawn="1"/>
        </p:nvSpPr>
        <p:spPr bwMode="auto">
          <a:xfrm>
            <a:off x="6168008" y="3501056"/>
            <a:ext cx="467999" cy="432000"/>
          </a:xfrm>
          <a:custGeom>
            <a:avLst/>
            <a:gdLst>
              <a:gd name="T0" fmla="*/ 1308 w 2002"/>
              <a:gd name="T1" fmla="*/ 748 h 1845"/>
              <a:gd name="T2" fmla="*/ 841 w 2002"/>
              <a:gd name="T3" fmla="*/ 301 h 1845"/>
              <a:gd name="T4" fmla="*/ 826 w 2002"/>
              <a:gd name="T5" fmla="*/ 280 h 1845"/>
              <a:gd name="T6" fmla="*/ 815 w 2002"/>
              <a:gd name="T7" fmla="*/ 256 h 1845"/>
              <a:gd name="T8" fmla="*/ 807 w 2002"/>
              <a:gd name="T9" fmla="*/ 230 h 1845"/>
              <a:gd name="T10" fmla="*/ 804 w 2002"/>
              <a:gd name="T11" fmla="*/ 204 h 1845"/>
              <a:gd name="T12" fmla="*/ 804 w 2002"/>
              <a:gd name="T13" fmla="*/ 178 h 1845"/>
              <a:gd name="T14" fmla="*/ 807 w 2002"/>
              <a:gd name="T15" fmla="*/ 152 h 1845"/>
              <a:gd name="T16" fmla="*/ 815 w 2002"/>
              <a:gd name="T17" fmla="*/ 126 h 1845"/>
              <a:gd name="T18" fmla="*/ 835 w 2002"/>
              <a:gd name="T19" fmla="*/ 85 h 1845"/>
              <a:gd name="T20" fmla="*/ 853 w 2002"/>
              <a:gd name="T21" fmla="*/ 63 h 1845"/>
              <a:gd name="T22" fmla="*/ 874 w 2002"/>
              <a:gd name="T23" fmla="*/ 44 h 1845"/>
              <a:gd name="T24" fmla="*/ 897 w 2002"/>
              <a:gd name="T25" fmla="*/ 28 h 1845"/>
              <a:gd name="T26" fmla="*/ 921 w 2002"/>
              <a:gd name="T27" fmla="*/ 15 h 1845"/>
              <a:gd name="T28" fmla="*/ 947 w 2002"/>
              <a:gd name="T29" fmla="*/ 6 h 1845"/>
              <a:gd name="T30" fmla="*/ 973 w 2002"/>
              <a:gd name="T31" fmla="*/ 1 h 1845"/>
              <a:gd name="T32" fmla="*/ 999 w 2002"/>
              <a:gd name="T33" fmla="*/ 0 h 1845"/>
              <a:gd name="T34" fmla="*/ 1025 w 2002"/>
              <a:gd name="T35" fmla="*/ 2 h 1845"/>
              <a:gd name="T36" fmla="*/ 1051 w 2002"/>
              <a:gd name="T37" fmla="*/ 8 h 1845"/>
              <a:gd name="T38" fmla="*/ 1075 w 2002"/>
              <a:gd name="T39" fmla="*/ 18 h 1845"/>
              <a:gd name="T40" fmla="*/ 1112 w 2002"/>
              <a:gd name="T41" fmla="*/ 44 h 1845"/>
              <a:gd name="T42" fmla="*/ 2002 w 2002"/>
              <a:gd name="T43" fmla="*/ 922 h 1845"/>
              <a:gd name="T44" fmla="*/ 1127 w 2002"/>
              <a:gd name="T45" fmla="*/ 1803 h 1845"/>
              <a:gd name="T46" fmla="*/ 1106 w 2002"/>
              <a:gd name="T47" fmla="*/ 1819 h 1845"/>
              <a:gd name="T48" fmla="*/ 1083 w 2002"/>
              <a:gd name="T49" fmla="*/ 1831 h 1845"/>
              <a:gd name="T50" fmla="*/ 1058 w 2002"/>
              <a:gd name="T51" fmla="*/ 1840 h 1845"/>
              <a:gd name="T52" fmla="*/ 1032 w 2002"/>
              <a:gd name="T53" fmla="*/ 1844 h 1845"/>
              <a:gd name="T54" fmla="*/ 1006 w 2002"/>
              <a:gd name="T55" fmla="*/ 1845 h 1845"/>
              <a:gd name="T56" fmla="*/ 972 w 2002"/>
              <a:gd name="T57" fmla="*/ 1841 h 1845"/>
              <a:gd name="T58" fmla="*/ 922 w 2002"/>
              <a:gd name="T59" fmla="*/ 1821 h 1845"/>
              <a:gd name="T60" fmla="*/ 891 w 2002"/>
              <a:gd name="T61" fmla="*/ 1801 h 1845"/>
              <a:gd name="T62" fmla="*/ 863 w 2002"/>
              <a:gd name="T63" fmla="*/ 1774 h 1845"/>
              <a:gd name="T64" fmla="*/ 847 w 2002"/>
              <a:gd name="T65" fmla="*/ 1751 h 1845"/>
              <a:gd name="T66" fmla="*/ 832 w 2002"/>
              <a:gd name="T67" fmla="*/ 1719 h 1845"/>
              <a:gd name="T68" fmla="*/ 824 w 2002"/>
              <a:gd name="T69" fmla="*/ 1693 h 1845"/>
              <a:gd name="T70" fmla="*/ 820 w 2002"/>
              <a:gd name="T71" fmla="*/ 1667 h 1845"/>
              <a:gd name="T72" fmla="*/ 820 w 2002"/>
              <a:gd name="T73" fmla="*/ 1641 h 1845"/>
              <a:gd name="T74" fmla="*/ 823 w 2002"/>
              <a:gd name="T75" fmla="*/ 1615 h 1845"/>
              <a:gd name="T76" fmla="*/ 831 w 2002"/>
              <a:gd name="T77" fmla="*/ 1590 h 1845"/>
              <a:gd name="T78" fmla="*/ 842 w 2002"/>
              <a:gd name="T79" fmla="*/ 1567 h 1845"/>
              <a:gd name="T80" fmla="*/ 856 w 2002"/>
              <a:gd name="T81" fmla="*/ 1546 h 1845"/>
              <a:gd name="T82" fmla="*/ 1304 w 2002"/>
              <a:gd name="T83" fmla="*/ 1097 h 1845"/>
              <a:gd name="T84" fmla="*/ 124 w 2002"/>
              <a:gd name="T85" fmla="*/ 1096 h 1845"/>
              <a:gd name="T86" fmla="*/ 101 w 2002"/>
              <a:gd name="T87" fmla="*/ 1093 h 1845"/>
              <a:gd name="T88" fmla="*/ 75 w 2002"/>
              <a:gd name="T89" fmla="*/ 1082 h 1845"/>
              <a:gd name="T90" fmla="*/ 52 w 2002"/>
              <a:gd name="T91" fmla="*/ 1065 h 1845"/>
              <a:gd name="T92" fmla="*/ 38 w 2002"/>
              <a:gd name="T93" fmla="*/ 1049 h 1845"/>
              <a:gd name="T94" fmla="*/ 20 w 2002"/>
              <a:gd name="T95" fmla="*/ 1016 h 1845"/>
              <a:gd name="T96" fmla="*/ 9 w 2002"/>
              <a:gd name="T97" fmla="*/ 986 h 1845"/>
              <a:gd name="T98" fmla="*/ 1 w 2002"/>
              <a:gd name="T99" fmla="*/ 939 h 1845"/>
              <a:gd name="T100" fmla="*/ 1 w 2002"/>
              <a:gd name="T101" fmla="*/ 899 h 1845"/>
              <a:gd name="T102" fmla="*/ 9 w 2002"/>
              <a:gd name="T103" fmla="*/ 860 h 1845"/>
              <a:gd name="T104" fmla="*/ 20 w 2002"/>
              <a:gd name="T105" fmla="*/ 831 h 1845"/>
              <a:gd name="T106" fmla="*/ 35 w 2002"/>
              <a:gd name="T107" fmla="*/ 805 h 1845"/>
              <a:gd name="T108" fmla="*/ 65 w 2002"/>
              <a:gd name="T109" fmla="*/ 772 h 1845"/>
              <a:gd name="T110" fmla="*/ 83 w 2002"/>
              <a:gd name="T111" fmla="*/ 760 h 1845"/>
              <a:gd name="T112" fmla="*/ 104 w 2002"/>
              <a:gd name="T113" fmla="*/ 753 h 1845"/>
              <a:gd name="T114" fmla="*/ 126 w 2002"/>
              <a:gd name="T115" fmla="*/ 749 h 1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2" h="1845">
                <a:moveTo>
                  <a:pt x="133" y="748"/>
                </a:moveTo>
                <a:lnTo>
                  <a:pt x="720" y="748"/>
                </a:lnTo>
                <a:lnTo>
                  <a:pt x="1308" y="748"/>
                </a:lnTo>
                <a:lnTo>
                  <a:pt x="853" y="314"/>
                </a:lnTo>
                <a:lnTo>
                  <a:pt x="847" y="308"/>
                </a:lnTo>
                <a:lnTo>
                  <a:pt x="841" y="301"/>
                </a:lnTo>
                <a:lnTo>
                  <a:pt x="835" y="294"/>
                </a:lnTo>
                <a:lnTo>
                  <a:pt x="831" y="287"/>
                </a:lnTo>
                <a:lnTo>
                  <a:pt x="826" y="280"/>
                </a:lnTo>
                <a:lnTo>
                  <a:pt x="821" y="271"/>
                </a:lnTo>
                <a:lnTo>
                  <a:pt x="818" y="263"/>
                </a:lnTo>
                <a:lnTo>
                  <a:pt x="815" y="256"/>
                </a:lnTo>
                <a:lnTo>
                  <a:pt x="811" y="247"/>
                </a:lnTo>
                <a:lnTo>
                  <a:pt x="809" y="238"/>
                </a:lnTo>
                <a:lnTo>
                  <a:pt x="807" y="230"/>
                </a:lnTo>
                <a:lnTo>
                  <a:pt x="805" y="221"/>
                </a:lnTo>
                <a:lnTo>
                  <a:pt x="804" y="213"/>
                </a:lnTo>
                <a:lnTo>
                  <a:pt x="804" y="204"/>
                </a:lnTo>
                <a:lnTo>
                  <a:pt x="803" y="195"/>
                </a:lnTo>
                <a:lnTo>
                  <a:pt x="803" y="187"/>
                </a:lnTo>
                <a:lnTo>
                  <a:pt x="804" y="178"/>
                </a:lnTo>
                <a:lnTo>
                  <a:pt x="804" y="169"/>
                </a:lnTo>
                <a:lnTo>
                  <a:pt x="806" y="161"/>
                </a:lnTo>
                <a:lnTo>
                  <a:pt x="807" y="152"/>
                </a:lnTo>
                <a:lnTo>
                  <a:pt x="809" y="143"/>
                </a:lnTo>
                <a:lnTo>
                  <a:pt x="811" y="135"/>
                </a:lnTo>
                <a:lnTo>
                  <a:pt x="815" y="126"/>
                </a:lnTo>
                <a:lnTo>
                  <a:pt x="818" y="117"/>
                </a:lnTo>
                <a:lnTo>
                  <a:pt x="826" y="101"/>
                </a:lnTo>
                <a:lnTo>
                  <a:pt x="835" y="85"/>
                </a:lnTo>
                <a:lnTo>
                  <a:pt x="841" y="77"/>
                </a:lnTo>
                <a:lnTo>
                  <a:pt x="847" y="71"/>
                </a:lnTo>
                <a:lnTo>
                  <a:pt x="853" y="63"/>
                </a:lnTo>
                <a:lnTo>
                  <a:pt x="860" y="56"/>
                </a:lnTo>
                <a:lnTo>
                  <a:pt x="867" y="49"/>
                </a:lnTo>
                <a:lnTo>
                  <a:pt x="874" y="44"/>
                </a:lnTo>
                <a:lnTo>
                  <a:pt x="882" y="37"/>
                </a:lnTo>
                <a:lnTo>
                  <a:pt x="889" y="32"/>
                </a:lnTo>
                <a:lnTo>
                  <a:pt x="897" y="28"/>
                </a:lnTo>
                <a:lnTo>
                  <a:pt x="905" y="22"/>
                </a:lnTo>
                <a:lnTo>
                  <a:pt x="913" y="19"/>
                </a:lnTo>
                <a:lnTo>
                  <a:pt x="921" y="15"/>
                </a:lnTo>
                <a:lnTo>
                  <a:pt x="930" y="12"/>
                </a:lnTo>
                <a:lnTo>
                  <a:pt x="938" y="8"/>
                </a:lnTo>
                <a:lnTo>
                  <a:pt x="947" y="6"/>
                </a:lnTo>
                <a:lnTo>
                  <a:pt x="956" y="4"/>
                </a:lnTo>
                <a:lnTo>
                  <a:pt x="964" y="3"/>
                </a:lnTo>
                <a:lnTo>
                  <a:pt x="973" y="1"/>
                </a:lnTo>
                <a:lnTo>
                  <a:pt x="982" y="1"/>
                </a:lnTo>
                <a:lnTo>
                  <a:pt x="990" y="0"/>
                </a:lnTo>
                <a:lnTo>
                  <a:pt x="999" y="0"/>
                </a:lnTo>
                <a:lnTo>
                  <a:pt x="1008" y="1"/>
                </a:lnTo>
                <a:lnTo>
                  <a:pt x="1016" y="1"/>
                </a:lnTo>
                <a:lnTo>
                  <a:pt x="1025" y="2"/>
                </a:lnTo>
                <a:lnTo>
                  <a:pt x="1034" y="4"/>
                </a:lnTo>
                <a:lnTo>
                  <a:pt x="1042" y="6"/>
                </a:lnTo>
                <a:lnTo>
                  <a:pt x="1051" y="8"/>
                </a:lnTo>
                <a:lnTo>
                  <a:pt x="1058" y="12"/>
                </a:lnTo>
                <a:lnTo>
                  <a:pt x="1067" y="15"/>
                </a:lnTo>
                <a:lnTo>
                  <a:pt x="1075" y="18"/>
                </a:lnTo>
                <a:lnTo>
                  <a:pt x="1090" y="28"/>
                </a:lnTo>
                <a:lnTo>
                  <a:pt x="1105" y="37"/>
                </a:lnTo>
                <a:lnTo>
                  <a:pt x="1112" y="44"/>
                </a:lnTo>
                <a:lnTo>
                  <a:pt x="1118" y="49"/>
                </a:lnTo>
                <a:lnTo>
                  <a:pt x="1560" y="486"/>
                </a:lnTo>
                <a:lnTo>
                  <a:pt x="2002" y="922"/>
                </a:lnTo>
                <a:lnTo>
                  <a:pt x="1568" y="1359"/>
                </a:lnTo>
                <a:lnTo>
                  <a:pt x="1133" y="1796"/>
                </a:lnTo>
                <a:lnTo>
                  <a:pt x="1127" y="1803"/>
                </a:lnTo>
                <a:lnTo>
                  <a:pt x="1120" y="1808"/>
                </a:lnTo>
                <a:lnTo>
                  <a:pt x="1113" y="1814"/>
                </a:lnTo>
                <a:lnTo>
                  <a:pt x="1106" y="1819"/>
                </a:lnTo>
                <a:lnTo>
                  <a:pt x="1099" y="1823"/>
                </a:lnTo>
                <a:lnTo>
                  <a:pt x="1091" y="1828"/>
                </a:lnTo>
                <a:lnTo>
                  <a:pt x="1083" y="1831"/>
                </a:lnTo>
                <a:lnTo>
                  <a:pt x="1075" y="1834"/>
                </a:lnTo>
                <a:lnTo>
                  <a:pt x="1067" y="1837"/>
                </a:lnTo>
                <a:lnTo>
                  <a:pt x="1058" y="1840"/>
                </a:lnTo>
                <a:lnTo>
                  <a:pt x="1050" y="1842"/>
                </a:lnTo>
                <a:lnTo>
                  <a:pt x="1041" y="1843"/>
                </a:lnTo>
                <a:lnTo>
                  <a:pt x="1032" y="1844"/>
                </a:lnTo>
                <a:lnTo>
                  <a:pt x="1024" y="1845"/>
                </a:lnTo>
                <a:lnTo>
                  <a:pt x="1015" y="1845"/>
                </a:lnTo>
                <a:lnTo>
                  <a:pt x="1006" y="1845"/>
                </a:lnTo>
                <a:lnTo>
                  <a:pt x="998" y="1845"/>
                </a:lnTo>
                <a:lnTo>
                  <a:pt x="989" y="1844"/>
                </a:lnTo>
                <a:lnTo>
                  <a:pt x="972" y="1841"/>
                </a:lnTo>
                <a:lnTo>
                  <a:pt x="954" y="1836"/>
                </a:lnTo>
                <a:lnTo>
                  <a:pt x="938" y="1830"/>
                </a:lnTo>
                <a:lnTo>
                  <a:pt x="922" y="1821"/>
                </a:lnTo>
                <a:lnTo>
                  <a:pt x="906" y="1812"/>
                </a:lnTo>
                <a:lnTo>
                  <a:pt x="898" y="1806"/>
                </a:lnTo>
                <a:lnTo>
                  <a:pt x="891" y="1801"/>
                </a:lnTo>
                <a:lnTo>
                  <a:pt x="876" y="1788"/>
                </a:lnTo>
                <a:lnTo>
                  <a:pt x="870" y="1781"/>
                </a:lnTo>
                <a:lnTo>
                  <a:pt x="863" y="1774"/>
                </a:lnTo>
                <a:lnTo>
                  <a:pt x="858" y="1766"/>
                </a:lnTo>
                <a:lnTo>
                  <a:pt x="853" y="1759"/>
                </a:lnTo>
                <a:lnTo>
                  <a:pt x="847" y="1751"/>
                </a:lnTo>
                <a:lnTo>
                  <a:pt x="843" y="1743"/>
                </a:lnTo>
                <a:lnTo>
                  <a:pt x="835" y="1727"/>
                </a:lnTo>
                <a:lnTo>
                  <a:pt x="832" y="1719"/>
                </a:lnTo>
                <a:lnTo>
                  <a:pt x="829" y="1710"/>
                </a:lnTo>
                <a:lnTo>
                  <a:pt x="827" y="1701"/>
                </a:lnTo>
                <a:lnTo>
                  <a:pt x="824" y="1693"/>
                </a:lnTo>
                <a:lnTo>
                  <a:pt x="822" y="1684"/>
                </a:lnTo>
                <a:lnTo>
                  <a:pt x="821" y="1675"/>
                </a:lnTo>
                <a:lnTo>
                  <a:pt x="820" y="1667"/>
                </a:lnTo>
                <a:lnTo>
                  <a:pt x="819" y="1658"/>
                </a:lnTo>
                <a:lnTo>
                  <a:pt x="819" y="1649"/>
                </a:lnTo>
                <a:lnTo>
                  <a:pt x="820" y="1641"/>
                </a:lnTo>
                <a:lnTo>
                  <a:pt x="820" y="1632"/>
                </a:lnTo>
                <a:lnTo>
                  <a:pt x="821" y="1624"/>
                </a:lnTo>
                <a:lnTo>
                  <a:pt x="823" y="1615"/>
                </a:lnTo>
                <a:lnTo>
                  <a:pt x="826" y="1607"/>
                </a:lnTo>
                <a:lnTo>
                  <a:pt x="828" y="1599"/>
                </a:lnTo>
                <a:lnTo>
                  <a:pt x="831" y="1590"/>
                </a:lnTo>
                <a:lnTo>
                  <a:pt x="834" y="1582"/>
                </a:lnTo>
                <a:lnTo>
                  <a:pt x="837" y="1575"/>
                </a:lnTo>
                <a:lnTo>
                  <a:pt x="842" y="1567"/>
                </a:lnTo>
                <a:lnTo>
                  <a:pt x="846" y="1560"/>
                </a:lnTo>
                <a:lnTo>
                  <a:pt x="850" y="1552"/>
                </a:lnTo>
                <a:lnTo>
                  <a:pt x="856" y="1546"/>
                </a:lnTo>
                <a:lnTo>
                  <a:pt x="862" y="1538"/>
                </a:lnTo>
                <a:lnTo>
                  <a:pt x="868" y="1532"/>
                </a:lnTo>
                <a:lnTo>
                  <a:pt x="1304" y="1097"/>
                </a:lnTo>
                <a:lnTo>
                  <a:pt x="717" y="1097"/>
                </a:lnTo>
                <a:lnTo>
                  <a:pt x="131" y="1097"/>
                </a:lnTo>
                <a:lnTo>
                  <a:pt x="124" y="1096"/>
                </a:lnTo>
                <a:lnTo>
                  <a:pt x="116" y="1096"/>
                </a:lnTo>
                <a:lnTo>
                  <a:pt x="108" y="1094"/>
                </a:lnTo>
                <a:lnTo>
                  <a:pt x="101" y="1093"/>
                </a:lnTo>
                <a:lnTo>
                  <a:pt x="88" y="1089"/>
                </a:lnTo>
                <a:lnTo>
                  <a:pt x="81" y="1085"/>
                </a:lnTo>
                <a:lnTo>
                  <a:pt x="75" y="1082"/>
                </a:lnTo>
                <a:lnTo>
                  <a:pt x="63" y="1074"/>
                </a:lnTo>
                <a:lnTo>
                  <a:pt x="57" y="1069"/>
                </a:lnTo>
                <a:lnTo>
                  <a:pt x="52" y="1065"/>
                </a:lnTo>
                <a:lnTo>
                  <a:pt x="48" y="1060"/>
                </a:lnTo>
                <a:lnTo>
                  <a:pt x="42" y="1054"/>
                </a:lnTo>
                <a:lnTo>
                  <a:pt x="38" y="1049"/>
                </a:lnTo>
                <a:lnTo>
                  <a:pt x="34" y="1042"/>
                </a:lnTo>
                <a:lnTo>
                  <a:pt x="26" y="1029"/>
                </a:lnTo>
                <a:lnTo>
                  <a:pt x="20" y="1016"/>
                </a:lnTo>
                <a:lnTo>
                  <a:pt x="16" y="1009"/>
                </a:lnTo>
                <a:lnTo>
                  <a:pt x="13" y="1001"/>
                </a:lnTo>
                <a:lnTo>
                  <a:pt x="9" y="986"/>
                </a:lnTo>
                <a:lnTo>
                  <a:pt x="5" y="971"/>
                </a:lnTo>
                <a:lnTo>
                  <a:pt x="2" y="955"/>
                </a:lnTo>
                <a:lnTo>
                  <a:pt x="1" y="939"/>
                </a:lnTo>
                <a:lnTo>
                  <a:pt x="0" y="922"/>
                </a:lnTo>
                <a:lnTo>
                  <a:pt x="1" y="906"/>
                </a:lnTo>
                <a:lnTo>
                  <a:pt x="1" y="899"/>
                </a:lnTo>
                <a:lnTo>
                  <a:pt x="2" y="891"/>
                </a:lnTo>
                <a:lnTo>
                  <a:pt x="5" y="875"/>
                </a:lnTo>
                <a:lnTo>
                  <a:pt x="9" y="860"/>
                </a:lnTo>
                <a:lnTo>
                  <a:pt x="12" y="852"/>
                </a:lnTo>
                <a:lnTo>
                  <a:pt x="14" y="845"/>
                </a:lnTo>
                <a:lnTo>
                  <a:pt x="20" y="831"/>
                </a:lnTo>
                <a:lnTo>
                  <a:pt x="27" y="816"/>
                </a:lnTo>
                <a:lnTo>
                  <a:pt x="31" y="810"/>
                </a:lnTo>
                <a:lnTo>
                  <a:pt x="35" y="805"/>
                </a:lnTo>
                <a:lnTo>
                  <a:pt x="44" y="793"/>
                </a:lnTo>
                <a:lnTo>
                  <a:pt x="54" y="782"/>
                </a:lnTo>
                <a:lnTo>
                  <a:pt x="65" y="772"/>
                </a:lnTo>
                <a:lnTo>
                  <a:pt x="70" y="768"/>
                </a:lnTo>
                <a:lnTo>
                  <a:pt x="77" y="765"/>
                </a:lnTo>
                <a:lnTo>
                  <a:pt x="83" y="760"/>
                </a:lnTo>
                <a:lnTo>
                  <a:pt x="90" y="758"/>
                </a:lnTo>
                <a:lnTo>
                  <a:pt x="96" y="755"/>
                </a:lnTo>
                <a:lnTo>
                  <a:pt x="104" y="753"/>
                </a:lnTo>
                <a:lnTo>
                  <a:pt x="111" y="752"/>
                </a:lnTo>
                <a:lnTo>
                  <a:pt x="118" y="749"/>
                </a:lnTo>
                <a:lnTo>
                  <a:pt x="126" y="749"/>
                </a:lnTo>
                <a:lnTo>
                  <a:pt x="133" y="748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35" name="Freeform 12"/>
          <p:cNvSpPr>
            <a:spLocks noChangeAspect="1"/>
          </p:cNvSpPr>
          <p:nvPr userDrawn="1"/>
        </p:nvSpPr>
        <p:spPr bwMode="auto">
          <a:xfrm>
            <a:off x="6168008" y="5013224"/>
            <a:ext cx="467999" cy="432000"/>
          </a:xfrm>
          <a:custGeom>
            <a:avLst/>
            <a:gdLst>
              <a:gd name="T0" fmla="*/ 1308 w 2002"/>
              <a:gd name="T1" fmla="*/ 748 h 1845"/>
              <a:gd name="T2" fmla="*/ 841 w 2002"/>
              <a:gd name="T3" fmla="*/ 301 h 1845"/>
              <a:gd name="T4" fmla="*/ 826 w 2002"/>
              <a:gd name="T5" fmla="*/ 280 h 1845"/>
              <a:gd name="T6" fmla="*/ 815 w 2002"/>
              <a:gd name="T7" fmla="*/ 256 h 1845"/>
              <a:gd name="T8" fmla="*/ 807 w 2002"/>
              <a:gd name="T9" fmla="*/ 230 h 1845"/>
              <a:gd name="T10" fmla="*/ 804 w 2002"/>
              <a:gd name="T11" fmla="*/ 204 h 1845"/>
              <a:gd name="T12" fmla="*/ 804 w 2002"/>
              <a:gd name="T13" fmla="*/ 178 h 1845"/>
              <a:gd name="T14" fmla="*/ 807 w 2002"/>
              <a:gd name="T15" fmla="*/ 152 h 1845"/>
              <a:gd name="T16" fmla="*/ 815 w 2002"/>
              <a:gd name="T17" fmla="*/ 126 h 1845"/>
              <a:gd name="T18" fmla="*/ 835 w 2002"/>
              <a:gd name="T19" fmla="*/ 85 h 1845"/>
              <a:gd name="T20" fmla="*/ 853 w 2002"/>
              <a:gd name="T21" fmla="*/ 63 h 1845"/>
              <a:gd name="T22" fmla="*/ 874 w 2002"/>
              <a:gd name="T23" fmla="*/ 44 h 1845"/>
              <a:gd name="T24" fmla="*/ 897 w 2002"/>
              <a:gd name="T25" fmla="*/ 28 h 1845"/>
              <a:gd name="T26" fmla="*/ 921 w 2002"/>
              <a:gd name="T27" fmla="*/ 15 h 1845"/>
              <a:gd name="T28" fmla="*/ 947 w 2002"/>
              <a:gd name="T29" fmla="*/ 6 h 1845"/>
              <a:gd name="T30" fmla="*/ 973 w 2002"/>
              <a:gd name="T31" fmla="*/ 1 h 1845"/>
              <a:gd name="T32" fmla="*/ 999 w 2002"/>
              <a:gd name="T33" fmla="*/ 0 h 1845"/>
              <a:gd name="T34" fmla="*/ 1025 w 2002"/>
              <a:gd name="T35" fmla="*/ 2 h 1845"/>
              <a:gd name="T36" fmla="*/ 1051 w 2002"/>
              <a:gd name="T37" fmla="*/ 8 h 1845"/>
              <a:gd name="T38" fmla="*/ 1075 w 2002"/>
              <a:gd name="T39" fmla="*/ 18 h 1845"/>
              <a:gd name="T40" fmla="*/ 1112 w 2002"/>
              <a:gd name="T41" fmla="*/ 44 h 1845"/>
              <a:gd name="T42" fmla="*/ 2002 w 2002"/>
              <a:gd name="T43" fmla="*/ 922 h 1845"/>
              <a:gd name="T44" fmla="*/ 1127 w 2002"/>
              <a:gd name="T45" fmla="*/ 1803 h 1845"/>
              <a:gd name="T46" fmla="*/ 1106 w 2002"/>
              <a:gd name="T47" fmla="*/ 1819 h 1845"/>
              <a:gd name="T48" fmla="*/ 1083 w 2002"/>
              <a:gd name="T49" fmla="*/ 1831 h 1845"/>
              <a:gd name="T50" fmla="*/ 1058 w 2002"/>
              <a:gd name="T51" fmla="*/ 1840 h 1845"/>
              <a:gd name="T52" fmla="*/ 1032 w 2002"/>
              <a:gd name="T53" fmla="*/ 1844 h 1845"/>
              <a:gd name="T54" fmla="*/ 1006 w 2002"/>
              <a:gd name="T55" fmla="*/ 1845 h 1845"/>
              <a:gd name="T56" fmla="*/ 972 w 2002"/>
              <a:gd name="T57" fmla="*/ 1841 h 1845"/>
              <a:gd name="T58" fmla="*/ 922 w 2002"/>
              <a:gd name="T59" fmla="*/ 1821 h 1845"/>
              <a:gd name="T60" fmla="*/ 891 w 2002"/>
              <a:gd name="T61" fmla="*/ 1801 h 1845"/>
              <a:gd name="T62" fmla="*/ 863 w 2002"/>
              <a:gd name="T63" fmla="*/ 1774 h 1845"/>
              <a:gd name="T64" fmla="*/ 847 w 2002"/>
              <a:gd name="T65" fmla="*/ 1751 h 1845"/>
              <a:gd name="T66" fmla="*/ 832 w 2002"/>
              <a:gd name="T67" fmla="*/ 1719 h 1845"/>
              <a:gd name="T68" fmla="*/ 824 w 2002"/>
              <a:gd name="T69" fmla="*/ 1693 h 1845"/>
              <a:gd name="T70" fmla="*/ 820 w 2002"/>
              <a:gd name="T71" fmla="*/ 1667 h 1845"/>
              <a:gd name="T72" fmla="*/ 820 w 2002"/>
              <a:gd name="T73" fmla="*/ 1641 h 1845"/>
              <a:gd name="T74" fmla="*/ 823 w 2002"/>
              <a:gd name="T75" fmla="*/ 1615 h 1845"/>
              <a:gd name="T76" fmla="*/ 831 w 2002"/>
              <a:gd name="T77" fmla="*/ 1590 h 1845"/>
              <a:gd name="T78" fmla="*/ 842 w 2002"/>
              <a:gd name="T79" fmla="*/ 1567 h 1845"/>
              <a:gd name="T80" fmla="*/ 856 w 2002"/>
              <a:gd name="T81" fmla="*/ 1546 h 1845"/>
              <a:gd name="T82" fmla="*/ 1304 w 2002"/>
              <a:gd name="T83" fmla="*/ 1097 h 1845"/>
              <a:gd name="T84" fmla="*/ 124 w 2002"/>
              <a:gd name="T85" fmla="*/ 1096 h 1845"/>
              <a:gd name="T86" fmla="*/ 101 w 2002"/>
              <a:gd name="T87" fmla="*/ 1093 h 1845"/>
              <a:gd name="T88" fmla="*/ 75 w 2002"/>
              <a:gd name="T89" fmla="*/ 1082 h 1845"/>
              <a:gd name="T90" fmla="*/ 52 w 2002"/>
              <a:gd name="T91" fmla="*/ 1065 h 1845"/>
              <a:gd name="T92" fmla="*/ 38 w 2002"/>
              <a:gd name="T93" fmla="*/ 1049 h 1845"/>
              <a:gd name="T94" fmla="*/ 20 w 2002"/>
              <a:gd name="T95" fmla="*/ 1016 h 1845"/>
              <a:gd name="T96" fmla="*/ 9 w 2002"/>
              <a:gd name="T97" fmla="*/ 986 h 1845"/>
              <a:gd name="T98" fmla="*/ 1 w 2002"/>
              <a:gd name="T99" fmla="*/ 939 h 1845"/>
              <a:gd name="T100" fmla="*/ 1 w 2002"/>
              <a:gd name="T101" fmla="*/ 899 h 1845"/>
              <a:gd name="T102" fmla="*/ 9 w 2002"/>
              <a:gd name="T103" fmla="*/ 860 h 1845"/>
              <a:gd name="T104" fmla="*/ 20 w 2002"/>
              <a:gd name="T105" fmla="*/ 831 h 1845"/>
              <a:gd name="T106" fmla="*/ 35 w 2002"/>
              <a:gd name="T107" fmla="*/ 805 h 1845"/>
              <a:gd name="T108" fmla="*/ 65 w 2002"/>
              <a:gd name="T109" fmla="*/ 772 h 1845"/>
              <a:gd name="T110" fmla="*/ 83 w 2002"/>
              <a:gd name="T111" fmla="*/ 760 h 1845"/>
              <a:gd name="T112" fmla="*/ 104 w 2002"/>
              <a:gd name="T113" fmla="*/ 753 h 1845"/>
              <a:gd name="T114" fmla="*/ 126 w 2002"/>
              <a:gd name="T115" fmla="*/ 749 h 1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2" h="1845">
                <a:moveTo>
                  <a:pt x="133" y="748"/>
                </a:moveTo>
                <a:lnTo>
                  <a:pt x="720" y="748"/>
                </a:lnTo>
                <a:lnTo>
                  <a:pt x="1308" y="748"/>
                </a:lnTo>
                <a:lnTo>
                  <a:pt x="853" y="314"/>
                </a:lnTo>
                <a:lnTo>
                  <a:pt x="847" y="308"/>
                </a:lnTo>
                <a:lnTo>
                  <a:pt x="841" y="301"/>
                </a:lnTo>
                <a:lnTo>
                  <a:pt x="835" y="294"/>
                </a:lnTo>
                <a:lnTo>
                  <a:pt x="831" y="287"/>
                </a:lnTo>
                <a:lnTo>
                  <a:pt x="826" y="280"/>
                </a:lnTo>
                <a:lnTo>
                  <a:pt x="821" y="271"/>
                </a:lnTo>
                <a:lnTo>
                  <a:pt x="818" y="263"/>
                </a:lnTo>
                <a:lnTo>
                  <a:pt x="815" y="256"/>
                </a:lnTo>
                <a:lnTo>
                  <a:pt x="811" y="247"/>
                </a:lnTo>
                <a:lnTo>
                  <a:pt x="809" y="238"/>
                </a:lnTo>
                <a:lnTo>
                  <a:pt x="807" y="230"/>
                </a:lnTo>
                <a:lnTo>
                  <a:pt x="805" y="221"/>
                </a:lnTo>
                <a:lnTo>
                  <a:pt x="804" y="213"/>
                </a:lnTo>
                <a:lnTo>
                  <a:pt x="804" y="204"/>
                </a:lnTo>
                <a:lnTo>
                  <a:pt x="803" y="195"/>
                </a:lnTo>
                <a:lnTo>
                  <a:pt x="803" y="187"/>
                </a:lnTo>
                <a:lnTo>
                  <a:pt x="804" y="178"/>
                </a:lnTo>
                <a:lnTo>
                  <a:pt x="804" y="169"/>
                </a:lnTo>
                <a:lnTo>
                  <a:pt x="806" y="161"/>
                </a:lnTo>
                <a:lnTo>
                  <a:pt x="807" y="152"/>
                </a:lnTo>
                <a:lnTo>
                  <a:pt x="809" y="143"/>
                </a:lnTo>
                <a:lnTo>
                  <a:pt x="811" y="135"/>
                </a:lnTo>
                <a:lnTo>
                  <a:pt x="815" y="126"/>
                </a:lnTo>
                <a:lnTo>
                  <a:pt x="818" y="117"/>
                </a:lnTo>
                <a:lnTo>
                  <a:pt x="826" y="101"/>
                </a:lnTo>
                <a:lnTo>
                  <a:pt x="835" y="85"/>
                </a:lnTo>
                <a:lnTo>
                  <a:pt x="841" y="77"/>
                </a:lnTo>
                <a:lnTo>
                  <a:pt x="847" y="71"/>
                </a:lnTo>
                <a:lnTo>
                  <a:pt x="853" y="63"/>
                </a:lnTo>
                <a:lnTo>
                  <a:pt x="860" y="56"/>
                </a:lnTo>
                <a:lnTo>
                  <a:pt x="867" y="49"/>
                </a:lnTo>
                <a:lnTo>
                  <a:pt x="874" y="44"/>
                </a:lnTo>
                <a:lnTo>
                  <a:pt x="882" y="37"/>
                </a:lnTo>
                <a:lnTo>
                  <a:pt x="889" y="32"/>
                </a:lnTo>
                <a:lnTo>
                  <a:pt x="897" y="28"/>
                </a:lnTo>
                <a:lnTo>
                  <a:pt x="905" y="22"/>
                </a:lnTo>
                <a:lnTo>
                  <a:pt x="913" y="19"/>
                </a:lnTo>
                <a:lnTo>
                  <a:pt x="921" y="15"/>
                </a:lnTo>
                <a:lnTo>
                  <a:pt x="930" y="12"/>
                </a:lnTo>
                <a:lnTo>
                  <a:pt x="938" y="8"/>
                </a:lnTo>
                <a:lnTo>
                  <a:pt x="947" y="6"/>
                </a:lnTo>
                <a:lnTo>
                  <a:pt x="956" y="4"/>
                </a:lnTo>
                <a:lnTo>
                  <a:pt x="964" y="3"/>
                </a:lnTo>
                <a:lnTo>
                  <a:pt x="973" y="1"/>
                </a:lnTo>
                <a:lnTo>
                  <a:pt x="982" y="1"/>
                </a:lnTo>
                <a:lnTo>
                  <a:pt x="990" y="0"/>
                </a:lnTo>
                <a:lnTo>
                  <a:pt x="999" y="0"/>
                </a:lnTo>
                <a:lnTo>
                  <a:pt x="1008" y="1"/>
                </a:lnTo>
                <a:lnTo>
                  <a:pt x="1016" y="1"/>
                </a:lnTo>
                <a:lnTo>
                  <a:pt x="1025" y="2"/>
                </a:lnTo>
                <a:lnTo>
                  <a:pt x="1034" y="4"/>
                </a:lnTo>
                <a:lnTo>
                  <a:pt x="1042" y="6"/>
                </a:lnTo>
                <a:lnTo>
                  <a:pt x="1051" y="8"/>
                </a:lnTo>
                <a:lnTo>
                  <a:pt x="1058" y="12"/>
                </a:lnTo>
                <a:lnTo>
                  <a:pt x="1067" y="15"/>
                </a:lnTo>
                <a:lnTo>
                  <a:pt x="1075" y="18"/>
                </a:lnTo>
                <a:lnTo>
                  <a:pt x="1090" y="28"/>
                </a:lnTo>
                <a:lnTo>
                  <a:pt x="1105" y="37"/>
                </a:lnTo>
                <a:lnTo>
                  <a:pt x="1112" y="44"/>
                </a:lnTo>
                <a:lnTo>
                  <a:pt x="1118" y="49"/>
                </a:lnTo>
                <a:lnTo>
                  <a:pt x="1560" y="486"/>
                </a:lnTo>
                <a:lnTo>
                  <a:pt x="2002" y="922"/>
                </a:lnTo>
                <a:lnTo>
                  <a:pt x="1568" y="1359"/>
                </a:lnTo>
                <a:lnTo>
                  <a:pt x="1133" y="1796"/>
                </a:lnTo>
                <a:lnTo>
                  <a:pt x="1127" y="1803"/>
                </a:lnTo>
                <a:lnTo>
                  <a:pt x="1120" y="1808"/>
                </a:lnTo>
                <a:lnTo>
                  <a:pt x="1113" y="1814"/>
                </a:lnTo>
                <a:lnTo>
                  <a:pt x="1106" y="1819"/>
                </a:lnTo>
                <a:lnTo>
                  <a:pt x="1099" y="1823"/>
                </a:lnTo>
                <a:lnTo>
                  <a:pt x="1091" y="1828"/>
                </a:lnTo>
                <a:lnTo>
                  <a:pt x="1083" y="1831"/>
                </a:lnTo>
                <a:lnTo>
                  <a:pt x="1075" y="1834"/>
                </a:lnTo>
                <a:lnTo>
                  <a:pt x="1067" y="1837"/>
                </a:lnTo>
                <a:lnTo>
                  <a:pt x="1058" y="1840"/>
                </a:lnTo>
                <a:lnTo>
                  <a:pt x="1050" y="1842"/>
                </a:lnTo>
                <a:lnTo>
                  <a:pt x="1041" y="1843"/>
                </a:lnTo>
                <a:lnTo>
                  <a:pt x="1032" y="1844"/>
                </a:lnTo>
                <a:lnTo>
                  <a:pt x="1024" y="1845"/>
                </a:lnTo>
                <a:lnTo>
                  <a:pt x="1015" y="1845"/>
                </a:lnTo>
                <a:lnTo>
                  <a:pt x="1006" y="1845"/>
                </a:lnTo>
                <a:lnTo>
                  <a:pt x="998" y="1845"/>
                </a:lnTo>
                <a:lnTo>
                  <a:pt x="989" y="1844"/>
                </a:lnTo>
                <a:lnTo>
                  <a:pt x="972" y="1841"/>
                </a:lnTo>
                <a:lnTo>
                  <a:pt x="954" y="1836"/>
                </a:lnTo>
                <a:lnTo>
                  <a:pt x="938" y="1830"/>
                </a:lnTo>
                <a:lnTo>
                  <a:pt x="922" y="1821"/>
                </a:lnTo>
                <a:lnTo>
                  <a:pt x="906" y="1812"/>
                </a:lnTo>
                <a:lnTo>
                  <a:pt x="898" y="1806"/>
                </a:lnTo>
                <a:lnTo>
                  <a:pt x="891" y="1801"/>
                </a:lnTo>
                <a:lnTo>
                  <a:pt x="876" y="1788"/>
                </a:lnTo>
                <a:lnTo>
                  <a:pt x="870" y="1781"/>
                </a:lnTo>
                <a:lnTo>
                  <a:pt x="863" y="1774"/>
                </a:lnTo>
                <a:lnTo>
                  <a:pt x="858" y="1766"/>
                </a:lnTo>
                <a:lnTo>
                  <a:pt x="853" y="1759"/>
                </a:lnTo>
                <a:lnTo>
                  <a:pt x="847" y="1751"/>
                </a:lnTo>
                <a:lnTo>
                  <a:pt x="843" y="1743"/>
                </a:lnTo>
                <a:lnTo>
                  <a:pt x="835" y="1727"/>
                </a:lnTo>
                <a:lnTo>
                  <a:pt x="832" y="1719"/>
                </a:lnTo>
                <a:lnTo>
                  <a:pt x="829" y="1710"/>
                </a:lnTo>
                <a:lnTo>
                  <a:pt x="827" y="1701"/>
                </a:lnTo>
                <a:lnTo>
                  <a:pt x="824" y="1693"/>
                </a:lnTo>
                <a:lnTo>
                  <a:pt x="822" y="1684"/>
                </a:lnTo>
                <a:lnTo>
                  <a:pt x="821" y="1675"/>
                </a:lnTo>
                <a:lnTo>
                  <a:pt x="820" y="1667"/>
                </a:lnTo>
                <a:lnTo>
                  <a:pt x="819" y="1658"/>
                </a:lnTo>
                <a:lnTo>
                  <a:pt x="819" y="1649"/>
                </a:lnTo>
                <a:lnTo>
                  <a:pt x="820" y="1641"/>
                </a:lnTo>
                <a:lnTo>
                  <a:pt x="820" y="1632"/>
                </a:lnTo>
                <a:lnTo>
                  <a:pt x="821" y="1624"/>
                </a:lnTo>
                <a:lnTo>
                  <a:pt x="823" y="1615"/>
                </a:lnTo>
                <a:lnTo>
                  <a:pt x="826" y="1607"/>
                </a:lnTo>
                <a:lnTo>
                  <a:pt x="828" y="1599"/>
                </a:lnTo>
                <a:lnTo>
                  <a:pt x="831" y="1590"/>
                </a:lnTo>
                <a:lnTo>
                  <a:pt x="834" y="1582"/>
                </a:lnTo>
                <a:lnTo>
                  <a:pt x="837" y="1575"/>
                </a:lnTo>
                <a:lnTo>
                  <a:pt x="842" y="1567"/>
                </a:lnTo>
                <a:lnTo>
                  <a:pt x="846" y="1560"/>
                </a:lnTo>
                <a:lnTo>
                  <a:pt x="850" y="1552"/>
                </a:lnTo>
                <a:lnTo>
                  <a:pt x="856" y="1546"/>
                </a:lnTo>
                <a:lnTo>
                  <a:pt x="862" y="1538"/>
                </a:lnTo>
                <a:lnTo>
                  <a:pt x="868" y="1532"/>
                </a:lnTo>
                <a:lnTo>
                  <a:pt x="1304" y="1097"/>
                </a:lnTo>
                <a:lnTo>
                  <a:pt x="717" y="1097"/>
                </a:lnTo>
                <a:lnTo>
                  <a:pt x="131" y="1097"/>
                </a:lnTo>
                <a:lnTo>
                  <a:pt x="124" y="1096"/>
                </a:lnTo>
                <a:lnTo>
                  <a:pt x="116" y="1096"/>
                </a:lnTo>
                <a:lnTo>
                  <a:pt x="108" y="1094"/>
                </a:lnTo>
                <a:lnTo>
                  <a:pt x="101" y="1093"/>
                </a:lnTo>
                <a:lnTo>
                  <a:pt x="88" y="1089"/>
                </a:lnTo>
                <a:lnTo>
                  <a:pt x="81" y="1085"/>
                </a:lnTo>
                <a:lnTo>
                  <a:pt x="75" y="1082"/>
                </a:lnTo>
                <a:lnTo>
                  <a:pt x="63" y="1074"/>
                </a:lnTo>
                <a:lnTo>
                  <a:pt x="57" y="1069"/>
                </a:lnTo>
                <a:lnTo>
                  <a:pt x="52" y="1065"/>
                </a:lnTo>
                <a:lnTo>
                  <a:pt x="48" y="1060"/>
                </a:lnTo>
                <a:lnTo>
                  <a:pt x="42" y="1054"/>
                </a:lnTo>
                <a:lnTo>
                  <a:pt x="38" y="1049"/>
                </a:lnTo>
                <a:lnTo>
                  <a:pt x="34" y="1042"/>
                </a:lnTo>
                <a:lnTo>
                  <a:pt x="26" y="1029"/>
                </a:lnTo>
                <a:lnTo>
                  <a:pt x="20" y="1016"/>
                </a:lnTo>
                <a:lnTo>
                  <a:pt x="16" y="1009"/>
                </a:lnTo>
                <a:lnTo>
                  <a:pt x="13" y="1001"/>
                </a:lnTo>
                <a:lnTo>
                  <a:pt x="9" y="986"/>
                </a:lnTo>
                <a:lnTo>
                  <a:pt x="5" y="971"/>
                </a:lnTo>
                <a:lnTo>
                  <a:pt x="2" y="955"/>
                </a:lnTo>
                <a:lnTo>
                  <a:pt x="1" y="939"/>
                </a:lnTo>
                <a:lnTo>
                  <a:pt x="0" y="922"/>
                </a:lnTo>
                <a:lnTo>
                  <a:pt x="1" y="906"/>
                </a:lnTo>
                <a:lnTo>
                  <a:pt x="1" y="899"/>
                </a:lnTo>
                <a:lnTo>
                  <a:pt x="2" y="891"/>
                </a:lnTo>
                <a:lnTo>
                  <a:pt x="5" y="875"/>
                </a:lnTo>
                <a:lnTo>
                  <a:pt x="9" y="860"/>
                </a:lnTo>
                <a:lnTo>
                  <a:pt x="12" y="852"/>
                </a:lnTo>
                <a:lnTo>
                  <a:pt x="14" y="845"/>
                </a:lnTo>
                <a:lnTo>
                  <a:pt x="20" y="831"/>
                </a:lnTo>
                <a:lnTo>
                  <a:pt x="27" y="816"/>
                </a:lnTo>
                <a:lnTo>
                  <a:pt x="31" y="810"/>
                </a:lnTo>
                <a:lnTo>
                  <a:pt x="35" y="805"/>
                </a:lnTo>
                <a:lnTo>
                  <a:pt x="44" y="793"/>
                </a:lnTo>
                <a:lnTo>
                  <a:pt x="54" y="782"/>
                </a:lnTo>
                <a:lnTo>
                  <a:pt x="65" y="772"/>
                </a:lnTo>
                <a:lnTo>
                  <a:pt x="70" y="768"/>
                </a:lnTo>
                <a:lnTo>
                  <a:pt x="77" y="765"/>
                </a:lnTo>
                <a:lnTo>
                  <a:pt x="83" y="760"/>
                </a:lnTo>
                <a:lnTo>
                  <a:pt x="90" y="758"/>
                </a:lnTo>
                <a:lnTo>
                  <a:pt x="96" y="755"/>
                </a:lnTo>
                <a:lnTo>
                  <a:pt x="104" y="753"/>
                </a:lnTo>
                <a:lnTo>
                  <a:pt x="111" y="752"/>
                </a:lnTo>
                <a:lnTo>
                  <a:pt x="118" y="749"/>
                </a:lnTo>
                <a:lnTo>
                  <a:pt x="126" y="749"/>
                </a:lnTo>
                <a:lnTo>
                  <a:pt x="133" y="748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377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Arrows" preserve="1" userDrawn="1">
  <p:cSld name="slide_5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F34E1-4A03-4647-AD6A-109BB455893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6886" y="1916113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6886" y="3068960"/>
            <a:ext cx="720601" cy="576064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6886" y="4220890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766886" y="5373018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5"/>
          </p:nvPr>
        </p:nvSpPr>
        <p:spPr>
          <a:xfrm>
            <a:off x="1631950" y="1916113"/>
            <a:ext cx="4319588" cy="936625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/>
            </a:lvl1pPr>
            <a:lvl2pPr marL="182563" indent="-182563">
              <a:spcBef>
                <a:spcPts val="200"/>
              </a:spcBef>
              <a:defRPr sz="1400"/>
            </a:lvl2pPr>
            <a:lvl3pPr marL="357188" indent="-174625">
              <a:spcBef>
                <a:spcPts val="200"/>
              </a:spcBef>
              <a:defRPr sz="1200"/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36"/>
          </p:nvPr>
        </p:nvSpPr>
        <p:spPr>
          <a:xfrm>
            <a:off x="1631950" y="3068960"/>
            <a:ext cx="4319588" cy="936625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/>
            </a:lvl1pPr>
            <a:lvl2pPr marL="182563" indent="-182563">
              <a:spcBef>
                <a:spcPts val="200"/>
              </a:spcBef>
              <a:defRPr sz="1400"/>
            </a:lvl2pPr>
            <a:lvl3pPr marL="357188" indent="-174625">
              <a:spcBef>
                <a:spcPts val="200"/>
              </a:spcBef>
              <a:defRPr sz="1200"/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1631950" y="4221088"/>
            <a:ext cx="4319588" cy="936625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/>
            </a:lvl1pPr>
            <a:lvl2pPr marL="182563" indent="-182563">
              <a:spcBef>
                <a:spcPts val="200"/>
              </a:spcBef>
              <a:defRPr sz="1400"/>
            </a:lvl2pPr>
            <a:lvl3pPr marL="357188" indent="-174625">
              <a:spcBef>
                <a:spcPts val="200"/>
              </a:spcBef>
              <a:defRPr sz="1200"/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sz="quarter" idx="38"/>
          </p:nvPr>
        </p:nvSpPr>
        <p:spPr>
          <a:xfrm>
            <a:off x="1631950" y="5373217"/>
            <a:ext cx="4319588" cy="864072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/>
            </a:lvl1pPr>
            <a:lvl2pPr marL="182563" indent="-182563">
              <a:spcBef>
                <a:spcPts val="200"/>
              </a:spcBef>
              <a:defRPr sz="1400"/>
            </a:lvl2pPr>
            <a:lvl3pPr marL="357188" indent="-174625">
              <a:spcBef>
                <a:spcPts val="200"/>
              </a:spcBef>
              <a:defRPr sz="1200"/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39"/>
          </p:nvPr>
        </p:nvSpPr>
        <p:spPr>
          <a:xfrm>
            <a:off x="6816080" y="1916113"/>
            <a:ext cx="4609158" cy="936625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182563" indent="-182563">
              <a:spcBef>
                <a:spcPts val="200"/>
              </a:spcBef>
              <a:defRPr sz="1400">
                <a:solidFill>
                  <a:schemeClr val="accent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accent1"/>
                </a:solidFill>
              </a:defRPr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40"/>
          </p:nvPr>
        </p:nvSpPr>
        <p:spPr>
          <a:xfrm>
            <a:off x="6816080" y="3068960"/>
            <a:ext cx="4609158" cy="936625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182563" indent="-182563">
              <a:spcBef>
                <a:spcPts val="200"/>
              </a:spcBef>
              <a:defRPr sz="1400">
                <a:solidFill>
                  <a:schemeClr val="accent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accent1"/>
                </a:solidFill>
              </a:defRPr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42" name="Text Placeholder 2"/>
          <p:cNvSpPr>
            <a:spLocks noGrp="1"/>
          </p:cNvSpPr>
          <p:nvPr>
            <p:ph type="body" sz="quarter" idx="41"/>
          </p:nvPr>
        </p:nvSpPr>
        <p:spPr>
          <a:xfrm>
            <a:off x="6816080" y="4221088"/>
            <a:ext cx="4609158" cy="936625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182563" indent="-182563">
              <a:spcBef>
                <a:spcPts val="200"/>
              </a:spcBef>
              <a:defRPr sz="1400">
                <a:solidFill>
                  <a:schemeClr val="accent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accent1"/>
                </a:solidFill>
              </a:defRPr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6816080" y="5373217"/>
            <a:ext cx="4609158" cy="864072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182563" indent="-182563">
              <a:spcBef>
                <a:spcPts val="200"/>
              </a:spcBef>
              <a:defRPr sz="1400">
                <a:solidFill>
                  <a:schemeClr val="accent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accent1"/>
                </a:solidFill>
              </a:defRPr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4" name="Freeform 12"/>
          <p:cNvSpPr>
            <a:spLocks noChangeAspect="1"/>
          </p:cNvSpPr>
          <p:nvPr userDrawn="1"/>
        </p:nvSpPr>
        <p:spPr bwMode="auto">
          <a:xfrm>
            <a:off x="6168008" y="1988840"/>
            <a:ext cx="467999" cy="432000"/>
          </a:xfrm>
          <a:custGeom>
            <a:avLst/>
            <a:gdLst>
              <a:gd name="T0" fmla="*/ 1308 w 2002"/>
              <a:gd name="T1" fmla="*/ 748 h 1845"/>
              <a:gd name="T2" fmla="*/ 841 w 2002"/>
              <a:gd name="T3" fmla="*/ 301 h 1845"/>
              <a:gd name="T4" fmla="*/ 826 w 2002"/>
              <a:gd name="T5" fmla="*/ 280 h 1845"/>
              <a:gd name="T6" fmla="*/ 815 w 2002"/>
              <a:gd name="T7" fmla="*/ 256 h 1845"/>
              <a:gd name="T8" fmla="*/ 807 w 2002"/>
              <a:gd name="T9" fmla="*/ 230 h 1845"/>
              <a:gd name="T10" fmla="*/ 804 w 2002"/>
              <a:gd name="T11" fmla="*/ 204 h 1845"/>
              <a:gd name="T12" fmla="*/ 804 w 2002"/>
              <a:gd name="T13" fmla="*/ 178 h 1845"/>
              <a:gd name="T14" fmla="*/ 807 w 2002"/>
              <a:gd name="T15" fmla="*/ 152 h 1845"/>
              <a:gd name="T16" fmla="*/ 815 w 2002"/>
              <a:gd name="T17" fmla="*/ 126 h 1845"/>
              <a:gd name="T18" fmla="*/ 835 w 2002"/>
              <a:gd name="T19" fmla="*/ 85 h 1845"/>
              <a:gd name="T20" fmla="*/ 853 w 2002"/>
              <a:gd name="T21" fmla="*/ 63 h 1845"/>
              <a:gd name="T22" fmla="*/ 874 w 2002"/>
              <a:gd name="T23" fmla="*/ 44 h 1845"/>
              <a:gd name="T24" fmla="*/ 897 w 2002"/>
              <a:gd name="T25" fmla="*/ 28 h 1845"/>
              <a:gd name="T26" fmla="*/ 921 w 2002"/>
              <a:gd name="T27" fmla="*/ 15 h 1845"/>
              <a:gd name="T28" fmla="*/ 947 w 2002"/>
              <a:gd name="T29" fmla="*/ 6 h 1845"/>
              <a:gd name="T30" fmla="*/ 973 w 2002"/>
              <a:gd name="T31" fmla="*/ 1 h 1845"/>
              <a:gd name="T32" fmla="*/ 999 w 2002"/>
              <a:gd name="T33" fmla="*/ 0 h 1845"/>
              <a:gd name="T34" fmla="*/ 1025 w 2002"/>
              <a:gd name="T35" fmla="*/ 2 h 1845"/>
              <a:gd name="T36" fmla="*/ 1051 w 2002"/>
              <a:gd name="T37" fmla="*/ 8 h 1845"/>
              <a:gd name="T38" fmla="*/ 1075 w 2002"/>
              <a:gd name="T39" fmla="*/ 18 h 1845"/>
              <a:gd name="T40" fmla="*/ 1112 w 2002"/>
              <a:gd name="T41" fmla="*/ 44 h 1845"/>
              <a:gd name="T42" fmla="*/ 2002 w 2002"/>
              <a:gd name="T43" fmla="*/ 922 h 1845"/>
              <a:gd name="T44" fmla="*/ 1127 w 2002"/>
              <a:gd name="T45" fmla="*/ 1803 h 1845"/>
              <a:gd name="T46" fmla="*/ 1106 w 2002"/>
              <a:gd name="T47" fmla="*/ 1819 h 1845"/>
              <a:gd name="T48" fmla="*/ 1083 w 2002"/>
              <a:gd name="T49" fmla="*/ 1831 h 1845"/>
              <a:gd name="T50" fmla="*/ 1058 w 2002"/>
              <a:gd name="T51" fmla="*/ 1840 h 1845"/>
              <a:gd name="T52" fmla="*/ 1032 w 2002"/>
              <a:gd name="T53" fmla="*/ 1844 h 1845"/>
              <a:gd name="T54" fmla="*/ 1006 w 2002"/>
              <a:gd name="T55" fmla="*/ 1845 h 1845"/>
              <a:gd name="T56" fmla="*/ 972 w 2002"/>
              <a:gd name="T57" fmla="*/ 1841 h 1845"/>
              <a:gd name="T58" fmla="*/ 922 w 2002"/>
              <a:gd name="T59" fmla="*/ 1821 h 1845"/>
              <a:gd name="T60" fmla="*/ 891 w 2002"/>
              <a:gd name="T61" fmla="*/ 1801 h 1845"/>
              <a:gd name="T62" fmla="*/ 863 w 2002"/>
              <a:gd name="T63" fmla="*/ 1774 h 1845"/>
              <a:gd name="T64" fmla="*/ 847 w 2002"/>
              <a:gd name="T65" fmla="*/ 1751 h 1845"/>
              <a:gd name="T66" fmla="*/ 832 w 2002"/>
              <a:gd name="T67" fmla="*/ 1719 h 1845"/>
              <a:gd name="T68" fmla="*/ 824 w 2002"/>
              <a:gd name="T69" fmla="*/ 1693 h 1845"/>
              <a:gd name="T70" fmla="*/ 820 w 2002"/>
              <a:gd name="T71" fmla="*/ 1667 h 1845"/>
              <a:gd name="T72" fmla="*/ 820 w 2002"/>
              <a:gd name="T73" fmla="*/ 1641 h 1845"/>
              <a:gd name="T74" fmla="*/ 823 w 2002"/>
              <a:gd name="T75" fmla="*/ 1615 h 1845"/>
              <a:gd name="T76" fmla="*/ 831 w 2002"/>
              <a:gd name="T77" fmla="*/ 1590 h 1845"/>
              <a:gd name="T78" fmla="*/ 842 w 2002"/>
              <a:gd name="T79" fmla="*/ 1567 h 1845"/>
              <a:gd name="T80" fmla="*/ 856 w 2002"/>
              <a:gd name="T81" fmla="*/ 1546 h 1845"/>
              <a:gd name="T82" fmla="*/ 1304 w 2002"/>
              <a:gd name="T83" fmla="*/ 1097 h 1845"/>
              <a:gd name="T84" fmla="*/ 124 w 2002"/>
              <a:gd name="T85" fmla="*/ 1096 h 1845"/>
              <a:gd name="T86" fmla="*/ 101 w 2002"/>
              <a:gd name="T87" fmla="*/ 1093 h 1845"/>
              <a:gd name="T88" fmla="*/ 75 w 2002"/>
              <a:gd name="T89" fmla="*/ 1082 h 1845"/>
              <a:gd name="T90" fmla="*/ 52 w 2002"/>
              <a:gd name="T91" fmla="*/ 1065 h 1845"/>
              <a:gd name="T92" fmla="*/ 38 w 2002"/>
              <a:gd name="T93" fmla="*/ 1049 h 1845"/>
              <a:gd name="T94" fmla="*/ 20 w 2002"/>
              <a:gd name="T95" fmla="*/ 1016 h 1845"/>
              <a:gd name="T96" fmla="*/ 9 w 2002"/>
              <a:gd name="T97" fmla="*/ 986 h 1845"/>
              <a:gd name="T98" fmla="*/ 1 w 2002"/>
              <a:gd name="T99" fmla="*/ 939 h 1845"/>
              <a:gd name="T100" fmla="*/ 1 w 2002"/>
              <a:gd name="T101" fmla="*/ 899 h 1845"/>
              <a:gd name="T102" fmla="*/ 9 w 2002"/>
              <a:gd name="T103" fmla="*/ 860 h 1845"/>
              <a:gd name="T104" fmla="*/ 20 w 2002"/>
              <a:gd name="T105" fmla="*/ 831 h 1845"/>
              <a:gd name="T106" fmla="*/ 35 w 2002"/>
              <a:gd name="T107" fmla="*/ 805 h 1845"/>
              <a:gd name="T108" fmla="*/ 65 w 2002"/>
              <a:gd name="T109" fmla="*/ 772 h 1845"/>
              <a:gd name="T110" fmla="*/ 83 w 2002"/>
              <a:gd name="T111" fmla="*/ 760 h 1845"/>
              <a:gd name="T112" fmla="*/ 104 w 2002"/>
              <a:gd name="T113" fmla="*/ 753 h 1845"/>
              <a:gd name="T114" fmla="*/ 126 w 2002"/>
              <a:gd name="T115" fmla="*/ 749 h 1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2" h="1845">
                <a:moveTo>
                  <a:pt x="133" y="748"/>
                </a:moveTo>
                <a:lnTo>
                  <a:pt x="720" y="748"/>
                </a:lnTo>
                <a:lnTo>
                  <a:pt x="1308" y="748"/>
                </a:lnTo>
                <a:lnTo>
                  <a:pt x="853" y="314"/>
                </a:lnTo>
                <a:lnTo>
                  <a:pt x="847" y="308"/>
                </a:lnTo>
                <a:lnTo>
                  <a:pt x="841" y="301"/>
                </a:lnTo>
                <a:lnTo>
                  <a:pt x="835" y="294"/>
                </a:lnTo>
                <a:lnTo>
                  <a:pt x="831" y="287"/>
                </a:lnTo>
                <a:lnTo>
                  <a:pt x="826" y="280"/>
                </a:lnTo>
                <a:lnTo>
                  <a:pt x="821" y="271"/>
                </a:lnTo>
                <a:lnTo>
                  <a:pt x="818" y="263"/>
                </a:lnTo>
                <a:lnTo>
                  <a:pt x="815" y="256"/>
                </a:lnTo>
                <a:lnTo>
                  <a:pt x="811" y="247"/>
                </a:lnTo>
                <a:lnTo>
                  <a:pt x="809" y="238"/>
                </a:lnTo>
                <a:lnTo>
                  <a:pt x="807" y="230"/>
                </a:lnTo>
                <a:lnTo>
                  <a:pt x="805" y="221"/>
                </a:lnTo>
                <a:lnTo>
                  <a:pt x="804" y="213"/>
                </a:lnTo>
                <a:lnTo>
                  <a:pt x="804" y="204"/>
                </a:lnTo>
                <a:lnTo>
                  <a:pt x="803" y="195"/>
                </a:lnTo>
                <a:lnTo>
                  <a:pt x="803" y="187"/>
                </a:lnTo>
                <a:lnTo>
                  <a:pt x="804" y="178"/>
                </a:lnTo>
                <a:lnTo>
                  <a:pt x="804" y="169"/>
                </a:lnTo>
                <a:lnTo>
                  <a:pt x="806" y="161"/>
                </a:lnTo>
                <a:lnTo>
                  <a:pt x="807" y="152"/>
                </a:lnTo>
                <a:lnTo>
                  <a:pt x="809" y="143"/>
                </a:lnTo>
                <a:lnTo>
                  <a:pt x="811" y="135"/>
                </a:lnTo>
                <a:lnTo>
                  <a:pt x="815" y="126"/>
                </a:lnTo>
                <a:lnTo>
                  <a:pt x="818" y="117"/>
                </a:lnTo>
                <a:lnTo>
                  <a:pt x="826" y="101"/>
                </a:lnTo>
                <a:lnTo>
                  <a:pt x="835" y="85"/>
                </a:lnTo>
                <a:lnTo>
                  <a:pt x="841" y="77"/>
                </a:lnTo>
                <a:lnTo>
                  <a:pt x="847" y="71"/>
                </a:lnTo>
                <a:lnTo>
                  <a:pt x="853" y="63"/>
                </a:lnTo>
                <a:lnTo>
                  <a:pt x="860" y="56"/>
                </a:lnTo>
                <a:lnTo>
                  <a:pt x="867" y="49"/>
                </a:lnTo>
                <a:lnTo>
                  <a:pt x="874" y="44"/>
                </a:lnTo>
                <a:lnTo>
                  <a:pt x="882" y="37"/>
                </a:lnTo>
                <a:lnTo>
                  <a:pt x="889" y="32"/>
                </a:lnTo>
                <a:lnTo>
                  <a:pt x="897" y="28"/>
                </a:lnTo>
                <a:lnTo>
                  <a:pt x="905" y="22"/>
                </a:lnTo>
                <a:lnTo>
                  <a:pt x="913" y="19"/>
                </a:lnTo>
                <a:lnTo>
                  <a:pt x="921" y="15"/>
                </a:lnTo>
                <a:lnTo>
                  <a:pt x="930" y="12"/>
                </a:lnTo>
                <a:lnTo>
                  <a:pt x="938" y="8"/>
                </a:lnTo>
                <a:lnTo>
                  <a:pt x="947" y="6"/>
                </a:lnTo>
                <a:lnTo>
                  <a:pt x="956" y="4"/>
                </a:lnTo>
                <a:lnTo>
                  <a:pt x="964" y="3"/>
                </a:lnTo>
                <a:lnTo>
                  <a:pt x="973" y="1"/>
                </a:lnTo>
                <a:lnTo>
                  <a:pt x="982" y="1"/>
                </a:lnTo>
                <a:lnTo>
                  <a:pt x="990" y="0"/>
                </a:lnTo>
                <a:lnTo>
                  <a:pt x="999" y="0"/>
                </a:lnTo>
                <a:lnTo>
                  <a:pt x="1008" y="1"/>
                </a:lnTo>
                <a:lnTo>
                  <a:pt x="1016" y="1"/>
                </a:lnTo>
                <a:lnTo>
                  <a:pt x="1025" y="2"/>
                </a:lnTo>
                <a:lnTo>
                  <a:pt x="1034" y="4"/>
                </a:lnTo>
                <a:lnTo>
                  <a:pt x="1042" y="6"/>
                </a:lnTo>
                <a:lnTo>
                  <a:pt x="1051" y="8"/>
                </a:lnTo>
                <a:lnTo>
                  <a:pt x="1058" y="12"/>
                </a:lnTo>
                <a:lnTo>
                  <a:pt x="1067" y="15"/>
                </a:lnTo>
                <a:lnTo>
                  <a:pt x="1075" y="18"/>
                </a:lnTo>
                <a:lnTo>
                  <a:pt x="1090" y="28"/>
                </a:lnTo>
                <a:lnTo>
                  <a:pt x="1105" y="37"/>
                </a:lnTo>
                <a:lnTo>
                  <a:pt x="1112" y="44"/>
                </a:lnTo>
                <a:lnTo>
                  <a:pt x="1118" y="49"/>
                </a:lnTo>
                <a:lnTo>
                  <a:pt x="1560" y="486"/>
                </a:lnTo>
                <a:lnTo>
                  <a:pt x="2002" y="922"/>
                </a:lnTo>
                <a:lnTo>
                  <a:pt x="1568" y="1359"/>
                </a:lnTo>
                <a:lnTo>
                  <a:pt x="1133" y="1796"/>
                </a:lnTo>
                <a:lnTo>
                  <a:pt x="1127" y="1803"/>
                </a:lnTo>
                <a:lnTo>
                  <a:pt x="1120" y="1808"/>
                </a:lnTo>
                <a:lnTo>
                  <a:pt x="1113" y="1814"/>
                </a:lnTo>
                <a:lnTo>
                  <a:pt x="1106" y="1819"/>
                </a:lnTo>
                <a:lnTo>
                  <a:pt x="1099" y="1823"/>
                </a:lnTo>
                <a:lnTo>
                  <a:pt x="1091" y="1828"/>
                </a:lnTo>
                <a:lnTo>
                  <a:pt x="1083" y="1831"/>
                </a:lnTo>
                <a:lnTo>
                  <a:pt x="1075" y="1834"/>
                </a:lnTo>
                <a:lnTo>
                  <a:pt x="1067" y="1837"/>
                </a:lnTo>
                <a:lnTo>
                  <a:pt x="1058" y="1840"/>
                </a:lnTo>
                <a:lnTo>
                  <a:pt x="1050" y="1842"/>
                </a:lnTo>
                <a:lnTo>
                  <a:pt x="1041" y="1843"/>
                </a:lnTo>
                <a:lnTo>
                  <a:pt x="1032" y="1844"/>
                </a:lnTo>
                <a:lnTo>
                  <a:pt x="1024" y="1845"/>
                </a:lnTo>
                <a:lnTo>
                  <a:pt x="1015" y="1845"/>
                </a:lnTo>
                <a:lnTo>
                  <a:pt x="1006" y="1845"/>
                </a:lnTo>
                <a:lnTo>
                  <a:pt x="998" y="1845"/>
                </a:lnTo>
                <a:lnTo>
                  <a:pt x="989" y="1844"/>
                </a:lnTo>
                <a:lnTo>
                  <a:pt x="972" y="1841"/>
                </a:lnTo>
                <a:lnTo>
                  <a:pt x="954" y="1836"/>
                </a:lnTo>
                <a:lnTo>
                  <a:pt x="938" y="1830"/>
                </a:lnTo>
                <a:lnTo>
                  <a:pt x="922" y="1821"/>
                </a:lnTo>
                <a:lnTo>
                  <a:pt x="906" y="1812"/>
                </a:lnTo>
                <a:lnTo>
                  <a:pt x="898" y="1806"/>
                </a:lnTo>
                <a:lnTo>
                  <a:pt x="891" y="1801"/>
                </a:lnTo>
                <a:lnTo>
                  <a:pt x="876" y="1788"/>
                </a:lnTo>
                <a:lnTo>
                  <a:pt x="870" y="1781"/>
                </a:lnTo>
                <a:lnTo>
                  <a:pt x="863" y="1774"/>
                </a:lnTo>
                <a:lnTo>
                  <a:pt x="858" y="1766"/>
                </a:lnTo>
                <a:lnTo>
                  <a:pt x="853" y="1759"/>
                </a:lnTo>
                <a:lnTo>
                  <a:pt x="847" y="1751"/>
                </a:lnTo>
                <a:lnTo>
                  <a:pt x="843" y="1743"/>
                </a:lnTo>
                <a:lnTo>
                  <a:pt x="835" y="1727"/>
                </a:lnTo>
                <a:lnTo>
                  <a:pt x="832" y="1719"/>
                </a:lnTo>
                <a:lnTo>
                  <a:pt x="829" y="1710"/>
                </a:lnTo>
                <a:lnTo>
                  <a:pt x="827" y="1701"/>
                </a:lnTo>
                <a:lnTo>
                  <a:pt x="824" y="1693"/>
                </a:lnTo>
                <a:lnTo>
                  <a:pt x="822" y="1684"/>
                </a:lnTo>
                <a:lnTo>
                  <a:pt x="821" y="1675"/>
                </a:lnTo>
                <a:lnTo>
                  <a:pt x="820" y="1667"/>
                </a:lnTo>
                <a:lnTo>
                  <a:pt x="819" y="1658"/>
                </a:lnTo>
                <a:lnTo>
                  <a:pt x="819" y="1649"/>
                </a:lnTo>
                <a:lnTo>
                  <a:pt x="820" y="1641"/>
                </a:lnTo>
                <a:lnTo>
                  <a:pt x="820" y="1632"/>
                </a:lnTo>
                <a:lnTo>
                  <a:pt x="821" y="1624"/>
                </a:lnTo>
                <a:lnTo>
                  <a:pt x="823" y="1615"/>
                </a:lnTo>
                <a:lnTo>
                  <a:pt x="826" y="1607"/>
                </a:lnTo>
                <a:lnTo>
                  <a:pt x="828" y="1599"/>
                </a:lnTo>
                <a:lnTo>
                  <a:pt x="831" y="1590"/>
                </a:lnTo>
                <a:lnTo>
                  <a:pt x="834" y="1582"/>
                </a:lnTo>
                <a:lnTo>
                  <a:pt x="837" y="1575"/>
                </a:lnTo>
                <a:lnTo>
                  <a:pt x="842" y="1567"/>
                </a:lnTo>
                <a:lnTo>
                  <a:pt x="846" y="1560"/>
                </a:lnTo>
                <a:lnTo>
                  <a:pt x="850" y="1552"/>
                </a:lnTo>
                <a:lnTo>
                  <a:pt x="856" y="1546"/>
                </a:lnTo>
                <a:lnTo>
                  <a:pt x="862" y="1538"/>
                </a:lnTo>
                <a:lnTo>
                  <a:pt x="868" y="1532"/>
                </a:lnTo>
                <a:lnTo>
                  <a:pt x="1304" y="1097"/>
                </a:lnTo>
                <a:lnTo>
                  <a:pt x="717" y="1097"/>
                </a:lnTo>
                <a:lnTo>
                  <a:pt x="131" y="1097"/>
                </a:lnTo>
                <a:lnTo>
                  <a:pt x="124" y="1096"/>
                </a:lnTo>
                <a:lnTo>
                  <a:pt x="116" y="1096"/>
                </a:lnTo>
                <a:lnTo>
                  <a:pt x="108" y="1094"/>
                </a:lnTo>
                <a:lnTo>
                  <a:pt x="101" y="1093"/>
                </a:lnTo>
                <a:lnTo>
                  <a:pt x="88" y="1089"/>
                </a:lnTo>
                <a:lnTo>
                  <a:pt x="81" y="1085"/>
                </a:lnTo>
                <a:lnTo>
                  <a:pt x="75" y="1082"/>
                </a:lnTo>
                <a:lnTo>
                  <a:pt x="63" y="1074"/>
                </a:lnTo>
                <a:lnTo>
                  <a:pt x="57" y="1069"/>
                </a:lnTo>
                <a:lnTo>
                  <a:pt x="52" y="1065"/>
                </a:lnTo>
                <a:lnTo>
                  <a:pt x="48" y="1060"/>
                </a:lnTo>
                <a:lnTo>
                  <a:pt x="42" y="1054"/>
                </a:lnTo>
                <a:lnTo>
                  <a:pt x="38" y="1049"/>
                </a:lnTo>
                <a:lnTo>
                  <a:pt x="34" y="1042"/>
                </a:lnTo>
                <a:lnTo>
                  <a:pt x="26" y="1029"/>
                </a:lnTo>
                <a:lnTo>
                  <a:pt x="20" y="1016"/>
                </a:lnTo>
                <a:lnTo>
                  <a:pt x="16" y="1009"/>
                </a:lnTo>
                <a:lnTo>
                  <a:pt x="13" y="1001"/>
                </a:lnTo>
                <a:lnTo>
                  <a:pt x="9" y="986"/>
                </a:lnTo>
                <a:lnTo>
                  <a:pt x="5" y="971"/>
                </a:lnTo>
                <a:lnTo>
                  <a:pt x="2" y="955"/>
                </a:lnTo>
                <a:lnTo>
                  <a:pt x="1" y="939"/>
                </a:lnTo>
                <a:lnTo>
                  <a:pt x="0" y="922"/>
                </a:lnTo>
                <a:lnTo>
                  <a:pt x="1" y="906"/>
                </a:lnTo>
                <a:lnTo>
                  <a:pt x="1" y="899"/>
                </a:lnTo>
                <a:lnTo>
                  <a:pt x="2" y="891"/>
                </a:lnTo>
                <a:lnTo>
                  <a:pt x="5" y="875"/>
                </a:lnTo>
                <a:lnTo>
                  <a:pt x="9" y="860"/>
                </a:lnTo>
                <a:lnTo>
                  <a:pt x="12" y="852"/>
                </a:lnTo>
                <a:lnTo>
                  <a:pt x="14" y="845"/>
                </a:lnTo>
                <a:lnTo>
                  <a:pt x="20" y="831"/>
                </a:lnTo>
                <a:lnTo>
                  <a:pt x="27" y="816"/>
                </a:lnTo>
                <a:lnTo>
                  <a:pt x="31" y="810"/>
                </a:lnTo>
                <a:lnTo>
                  <a:pt x="35" y="805"/>
                </a:lnTo>
                <a:lnTo>
                  <a:pt x="44" y="793"/>
                </a:lnTo>
                <a:lnTo>
                  <a:pt x="54" y="782"/>
                </a:lnTo>
                <a:lnTo>
                  <a:pt x="65" y="772"/>
                </a:lnTo>
                <a:lnTo>
                  <a:pt x="70" y="768"/>
                </a:lnTo>
                <a:lnTo>
                  <a:pt x="77" y="765"/>
                </a:lnTo>
                <a:lnTo>
                  <a:pt x="83" y="760"/>
                </a:lnTo>
                <a:lnTo>
                  <a:pt x="90" y="758"/>
                </a:lnTo>
                <a:lnTo>
                  <a:pt x="96" y="755"/>
                </a:lnTo>
                <a:lnTo>
                  <a:pt x="104" y="753"/>
                </a:lnTo>
                <a:lnTo>
                  <a:pt x="111" y="752"/>
                </a:lnTo>
                <a:lnTo>
                  <a:pt x="118" y="749"/>
                </a:lnTo>
                <a:lnTo>
                  <a:pt x="126" y="749"/>
                </a:lnTo>
                <a:lnTo>
                  <a:pt x="133" y="748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36" name="Freeform 12"/>
          <p:cNvSpPr>
            <a:spLocks noChangeAspect="1"/>
          </p:cNvSpPr>
          <p:nvPr userDrawn="1"/>
        </p:nvSpPr>
        <p:spPr bwMode="auto">
          <a:xfrm>
            <a:off x="6168008" y="3141016"/>
            <a:ext cx="467999" cy="432000"/>
          </a:xfrm>
          <a:custGeom>
            <a:avLst/>
            <a:gdLst>
              <a:gd name="T0" fmla="*/ 1308 w 2002"/>
              <a:gd name="T1" fmla="*/ 748 h 1845"/>
              <a:gd name="T2" fmla="*/ 841 w 2002"/>
              <a:gd name="T3" fmla="*/ 301 h 1845"/>
              <a:gd name="T4" fmla="*/ 826 w 2002"/>
              <a:gd name="T5" fmla="*/ 280 h 1845"/>
              <a:gd name="T6" fmla="*/ 815 w 2002"/>
              <a:gd name="T7" fmla="*/ 256 h 1845"/>
              <a:gd name="T8" fmla="*/ 807 w 2002"/>
              <a:gd name="T9" fmla="*/ 230 h 1845"/>
              <a:gd name="T10" fmla="*/ 804 w 2002"/>
              <a:gd name="T11" fmla="*/ 204 h 1845"/>
              <a:gd name="T12" fmla="*/ 804 w 2002"/>
              <a:gd name="T13" fmla="*/ 178 h 1845"/>
              <a:gd name="T14" fmla="*/ 807 w 2002"/>
              <a:gd name="T15" fmla="*/ 152 h 1845"/>
              <a:gd name="T16" fmla="*/ 815 w 2002"/>
              <a:gd name="T17" fmla="*/ 126 h 1845"/>
              <a:gd name="T18" fmla="*/ 835 w 2002"/>
              <a:gd name="T19" fmla="*/ 85 h 1845"/>
              <a:gd name="T20" fmla="*/ 853 w 2002"/>
              <a:gd name="T21" fmla="*/ 63 h 1845"/>
              <a:gd name="T22" fmla="*/ 874 w 2002"/>
              <a:gd name="T23" fmla="*/ 44 h 1845"/>
              <a:gd name="T24" fmla="*/ 897 w 2002"/>
              <a:gd name="T25" fmla="*/ 28 h 1845"/>
              <a:gd name="T26" fmla="*/ 921 w 2002"/>
              <a:gd name="T27" fmla="*/ 15 h 1845"/>
              <a:gd name="T28" fmla="*/ 947 w 2002"/>
              <a:gd name="T29" fmla="*/ 6 h 1845"/>
              <a:gd name="T30" fmla="*/ 973 w 2002"/>
              <a:gd name="T31" fmla="*/ 1 h 1845"/>
              <a:gd name="T32" fmla="*/ 999 w 2002"/>
              <a:gd name="T33" fmla="*/ 0 h 1845"/>
              <a:gd name="T34" fmla="*/ 1025 w 2002"/>
              <a:gd name="T35" fmla="*/ 2 h 1845"/>
              <a:gd name="T36" fmla="*/ 1051 w 2002"/>
              <a:gd name="T37" fmla="*/ 8 h 1845"/>
              <a:gd name="T38" fmla="*/ 1075 w 2002"/>
              <a:gd name="T39" fmla="*/ 18 h 1845"/>
              <a:gd name="T40" fmla="*/ 1112 w 2002"/>
              <a:gd name="T41" fmla="*/ 44 h 1845"/>
              <a:gd name="T42" fmla="*/ 2002 w 2002"/>
              <a:gd name="T43" fmla="*/ 922 h 1845"/>
              <a:gd name="T44" fmla="*/ 1127 w 2002"/>
              <a:gd name="T45" fmla="*/ 1803 h 1845"/>
              <a:gd name="T46" fmla="*/ 1106 w 2002"/>
              <a:gd name="T47" fmla="*/ 1819 h 1845"/>
              <a:gd name="T48" fmla="*/ 1083 w 2002"/>
              <a:gd name="T49" fmla="*/ 1831 h 1845"/>
              <a:gd name="T50" fmla="*/ 1058 w 2002"/>
              <a:gd name="T51" fmla="*/ 1840 h 1845"/>
              <a:gd name="T52" fmla="*/ 1032 w 2002"/>
              <a:gd name="T53" fmla="*/ 1844 h 1845"/>
              <a:gd name="T54" fmla="*/ 1006 w 2002"/>
              <a:gd name="T55" fmla="*/ 1845 h 1845"/>
              <a:gd name="T56" fmla="*/ 972 w 2002"/>
              <a:gd name="T57" fmla="*/ 1841 h 1845"/>
              <a:gd name="T58" fmla="*/ 922 w 2002"/>
              <a:gd name="T59" fmla="*/ 1821 h 1845"/>
              <a:gd name="T60" fmla="*/ 891 w 2002"/>
              <a:gd name="T61" fmla="*/ 1801 h 1845"/>
              <a:gd name="T62" fmla="*/ 863 w 2002"/>
              <a:gd name="T63" fmla="*/ 1774 h 1845"/>
              <a:gd name="T64" fmla="*/ 847 w 2002"/>
              <a:gd name="T65" fmla="*/ 1751 h 1845"/>
              <a:gd name="T66" fmla="*/ 832 w 2002"/>
              <a:gd name="T67" fmla="*/ 1719 h 1845"/>
              <a:gd name="T68" fmla="*/ 824 w 2002"/>
              <a:gd name="T69" fmla="*/ 1693 h 1845"/>
              <a:gd name="T70" fmla="*/ 820 w 2002"/>
              <a:gd name="T71" fmla="*/ 1667 h 1845"/>
              <a:gd name="T72" fmla="*/ 820 w 2002"/>
              <a:gd name="T73" fmla="*/ 1641 h 1845"/>
              <a:gd name="T74" fmla="*/ 823 w 2002"/>
              <a:gd name="T75" fmla="*/ 1615 h 1845"/>
              <a:gd name="T76" fmla="*/ 831 w 2002"/>
              <a:gd name="T77" fmla="*/ 1590 h 1845"/>
              <a:gd name="T78" fmla="*/ 842 w 2002"/>
              <a:gd name="T79" fmla="*/ 1567 h 1845"/>
              <a:gd name="T80" fmla="*/ 856 w 2002"/>
              <a:gd name="T81" fmla="*/ 1546 h 1845"/>
              <a:gd name="T82" fmla="*/ 1304 w 2002"/>
              <a:gd name="T83" fmla="*/ 1097 h 1845"/>
              <a:gd name="T84" fmla="*/ 124 w 2002"/>
              <a:gd name="T85" fmla="*/ 1096 h 1845"/>
              <a:gd name="T86" fmla="*/ 101 w 2002"/>
              <a:gd name="T87" fmla="*/ 1093 h 1845"/>
              <a:gd name="T88" fmla="*/ 75 w 2002"/>
              <a:gd name="T89" fmla="*/ 1082 h 1845"/>
              <a:gd name="T90" fmla="*/ 52 w 2002"/>
              <a:gd name="T91" fmla="*/ 1065 h 1845"/>
              <a:gd name="T92" fmla="*/ 38 w 2002"/>
              <a:gd name="T93" fmla="*/ 1049 h 1845"/>
              <a:gd name="T94" fmla="*/ 20 w 2002"/>
              <a:gd name="T95" fmla="*/ 1016 h 1845"/>
              <a:gd name="T96" fmla="*/ 9 w 2002"/>
              <a:gd name="T97" fmla="*/ 986 h 1845"/>
              <a:gd name="T98" fmla="*/ 1 w 2002"/>
              <a:gd name="T99" fmla="*/ 939 h 1845"/>
              <a:gd name="T100" fmla="*/ 1 w 2002"/>
              <a:gd name="T101" fmla="*/ 899 h 1845"/>
              <a:gd name="T102" fmla="*/ 9 w 2002"/>
              <a:gd name="T103" fmla="*/ 860 h 1845"/>
              <a:gd name="T104" fmla="*/ 20 w 2002"/>
              <a:gd name="T105" fmla="*/ 831 h 1845"/>
              <a:gd name="T106" fmla="*/ 35 w 2002"/>
              <a:gd name="T107" fmla="*/ 805 h 1845"/>
              <a:gd name="T108" fmla="*/ 65 w 2002"/>
              <a:gd name="T109" fmla="*/ 772 h 1845"/>
              <a:gd name="T110" fmla="*/ 83 w 2002"/>
              <a:gd name="T111" fmla="*/ 760 h 1845"/>
              <a:gd name="T112" fmla="*/ 104 w 2002"/>
              <a:gd name="T113" fmla="*/ 753 h 1845"/>
              <a:gd name="T114" fmla="*/ 126 w 2002"/>
              <a:gd name="T115" fmla="*/ 749 h 1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2" h="1845">
                <a:moveTo>
                  <a:pt x="133" y="748"/>
                </a:moveTo>
                <a:lnTo>
                  <a:pt x="720" y="748"/>
                </a:lnTo>
                <a:lnTo>
                  <a:pt x="1308" y="748"/>
                </a:lnTo>
                <a:lnTo>
                  <a:pt x="853" y="314"/>
                </a:lnTo>
                <a:lnTo>
                  <a:pt x="847" y="308"/>
                </a:lnTo>
                <a:lnTo>
                  <a:pt x="841" y="301"/>
                </a:lnTo>
                <a:lnTo>
                  <a:pt x="835" y="294"/>
                </a:lnTo>
                <a:lnTo>
                  <a:pt x="831" y="287"/>
                </a:lnTo>
                <a:lnTo>
                  <a:pt x="826" y="280"/>
                </a:lnTo>
                <a:lnTo>
                  <a:pt x="821" y="271"/>
                </a:lnTo>
                <a:lnTo>
                  <a:pt x="818" y="263"/>
                </a:lnTo>
                <a:lnTo>
                  <a:pt x="815" y="256"/>
                </a:lnTo>
                <a:lnTo>
                  <a:pt x="811" y="247"/>
                </a:lnTo>
                <a:lnTo>
                  <a:pt x="809" y="238"/>
                </a:lnTo>
                <a:lnTo>
                  <a:pt x="807" y="230"/>
                </a:lnTo>
                <a:lnTo>
                  <a:pt x="805" y="221"/>
                </a:lnTo>
                <a:lnTo>
                  <a:pt x="804" y="213"/>
                </a:lnTo>
                <a:lnTo>
                  <a:pt x="804" y="204"/>
                </a:lnTo>
                <a:lnTo>
                  <a:pt x="803" y="195"/>
                </a:lnTo>
                <a:lnTo>
                  <a:pt x="803" y="187"/>
                </a:lnTo>
                <a:lnTo>
                  <a:pt x="804" y="178"/>
                </a:lnTo>
                <a:lnTo>
                  <a:pt x="804" y="169"/>
                </a:lnTo>
                <a:lnTo>
                  <a:pt x="806" y="161"/>
                </a:lnTo>
                <a:lnTo>
                  <a:pt x="807" y="152"/>
                </a:lnTo>
                <a:lnTo>
                  <a:pt x="809" y="143"/>
                </a:lnTo>
                <a:lnTo>
                  <a:pt x="811" y="135"/>
                </a:lnTo>
                <a:lnTo>
                  <a:pt x="815" y="126"/>
                </a:lnTo>
                <a:lnTo>
                  <a:pt x="818" y="117"/>
                </a:lnTo>
                <a:lnTo>
                  <a:pt x="826" y="101"/>
                </a:lnTo>
                <a:lnTo>
                  <a:pt x="835" y="85"/>
                </a:lnTo>
                <a:lnTo>
                  <a:pt x="841" y="77"/>
                </a:lnTo>
                <a:lnTo>
                  <a:pt x="847" y="71"/>
                </a:lnTo>
                <a:lnTo>
                  <a:pt x="853" y="63"/>
                </a:lnTo>
                <a:lnTo>
                  <a:pt x="860" y="56"/>
                </a:lnTo>
                <a:lnTo>
                  <a:pt x="867" y="49"/>
                </a:lnTo>
                <a:lnTo>
                  <a:pt x="874" y="44"/>
                </a:lnTo>
                <a:lnTo>
                  <a:pt x="882" y="37"/>
                </a:lnTo>
                <a:lnTo>
                  <a:pt x="889" y="32"/>
                </a:lnTo>
                <a:lnTo>
                  <a:pt x="897" y="28"/>
                </a:lnTo>
                <a:lnTo>
                  <a:pt x="905" y="22"/>
                </a:lnTo>
                <a:lnTo>
                  <a:pt x="913" y="19"/>
                </a:lnTo>
                <a:lnTo>
                  <a:pt x="921" y="15"/>
                </a:lnTo>
                <a:lnTo>
                  <a:pt x="930" y="12"/>
                </a:lnTo>
                <a:lnTo>
                  <a:pt x="938" y="8"/>
                </a:lnTo>
                <a:lnTo>
                  <a:pt x="947" y="6"/>
                </a:lnTo>
                <a:lnTo>
                  <a:pt x="956" y="4"/>
                </a:lnTo>
                <a:lnTo>
                  <a:pt x="964" y="3"/>
                </a:lnTo>
                <a:lnTo>
                  <a:pt x="973" y="1"/>
                </a:lnTo>
                <a:lnTo>
                  <a:pt x="982" y="1"/>
                </a:lnTo>
                <a:lnTo>
                  <a:pt x="990" y="0"/>
                </a:lnTo>
                <a:lnTo>
                  <a:pt x="999" y="0"/>
                </a:lnTo>
                <a:lnTo>
                  <a:pt x="1008" y="1"/>
                </a:lnTo>
                <a:lnTo>
                  <a:pt x="1016" y="1"/>
                </a:lnTo>
                <a:lnTo>
                  <a:pt x="1025" y="2"/>
                </a:lnTo>
                <a:lnTo>
                  <a:pt x="1034" y="4"/>
                </a:lnTo>
                <a:lnTo>
                  <a:pt x="1042" y="6"/>
                </a:lnTo>
                <a:lnTo>
                  <a:pt x="1051" y="8"/>
                </a:lnTo>
                <a:lnTo>
                  <a:pt x="1058" y="12"/>
                </a:lnTo>
                <a:lnTo>
                  <a:pt x="1067" y="15"/>
                </a:lnTo>
                <a:lnTo>
                  <a:pt x="1075" y="18"/>
                </a:lnTo>
                <a:lnTo>
                  <a:pt x="1090" y="28"/>
                </a:lnTo>
                <a:lnTo>
                  <a:pt x="1105" y="37"/>
                </a:lnTo>
                <a:lnTo>
                  <a:pt x="1112" y="44"/>
                </a:lnTo>
                <a:lnTo>
                  <a:pt x="1118" y="49"/>
                </a:lnTo>
                <a:lnTo>
                  <a:pt x="1560" y="486"/>
                </a:lnTo>
                <a:lnTo>
                  <a:pt x="2002" y="922"/>
                </a:lnTo>
                <a:lnTo>
                  <a:pt x="1568" y="1359"/>
                </a:lnTo>
                <a:lnTo>
                  <a:pt x="1133" y="1796"/>
                </a:lnTo>
                <a:lnTo>
                  <a:pt x="1127" y="1803"/>
                </a:lnTo>
                <a:lnTo>
                  <a:pt x="1120" y="1808"/>
                </a:lnTo>
                <a:lnTo>
                  <a:pt x="1113" y="1814"/>
                </a:lnTo>
                <a:lnTo>
                  <a:pt x="1106" y="1819"/>
                </a:lnTo>
                <a:lnTo>
                  <a:pt x="1099" y="1823"/>
                </a:lnTo>
                <a:lnTo>
                  <a:pt x="1091" y="1828"/>
                </a:lnTo>
                <a:lnTo>
                  <a:pt x="1083" y="1831"/>
                </a:lnTo>
                <a:lnTo>
                  <a:pt x="1075" y="1834"/>
                </a:lnTo>
                <a:lnTo>
                  <a:pt x="1067" y="1837"/>
                </a:lnTo>
                <a:lnTo>
                  <a:pt x="1058" y="1840"/>
                </a:lnTo>
                <a:lnTo>
                  <a:pt x="1050" y="1842"/>
                </a:lnTo>
                <a:lnTo>
                  <a:pt x="1041" y="1843"/>
                </a:lnTo>
                <a:lnTo>
                  <a:pt x="1032" y="1844"/>
                </a:lnTo>
                <a:lnTo>
                  <a:pt x="1024" y="1845"/>
                </a:lnTo>
                <a:lnTo>
                  <a:pt x="1015" y="1845"/>
                </a:lnTo>
                <a:lnTo>
                  <a:pt x="1006" y="1845"/>
                </a:lnTo>
                <a:lnTo>
                  <a:pt x="998" y="1845"/>
                </a:lnTo>
                <a:lnTo>
                  <a:pt x="989" y="1844"/>
                </a:lnTo>
                <a:lnTo>
                  <a:pt x="972" y="1841"/>
                </a:lnTo>
                <a:lnTo>
                  <a:pt x="954" y="1836"/>
                </a:lnTo>
                <a:lnTo>
                  <a:pt x="938" y="1830"/>
                </a:lnTo>
                <a:lnTo>
                  <a:pt x="922" y="1821"/>
                </a:lnTo>
                <a:lnTo>
                  <a:pt x="906" y="1812"/>
                </a:lnTo>
                <a:lnTo>
                  <a:pt x="898" y="1806"/>
                </a:lnTo>
                <a:lnTo>
                  <a:pt x="891" y="1801"/>
                </a:lnTo>
                <a:lnTo>
                  <a:pt x="876" y="1788"/>
                </a:lnTo>
                <a:lnTo>
                  <a:pt x="870" y="1781"/>
                </a:lnTo>
                <a:lnTo>
                  <a:pt x="863" y="1774"/>
                </a:lnTo>
                <a:lnTo>
                  <a:pt x="858" y="1766"/>
                </a:lnTo>
                <a:lnTo>
                  <a:pt x="853" y="1759"/>
                </a:lnTo>
                <a:lnTo>
                  <a:pt x="847" y="1751"/>
                </a:lnTo>
                <a:lnTo>
                  <a:pt x="843" y="1743"/>
                </a:lnTo>
                <a:lnTo>
                  <a:pt x="835" y="1727"/>
                </a:lnTo>
                <a:lnTo>
                  <a:pt x="832" y="1719"/>
                </a:lnTo>
                <a:lnTo>
                  <a:pt x="829" y="1710"/>
                </a:lnTo>
                <a:lnTo>
                  <a:pt x="827" y="1701"/>
                </a:lnTo>
                <a:lnTo>
                  <a:pt x="824" y="1693"/>
                </a:lnTo>
                <a:lnTo>
                  <a:pt x="822" y="1684"/>
                </a:lnTo>
                <a:lnTo>
                  <a:pt x="821" y="1675"/>
                </a:lnTo>
                <a:lnTo>
                  <a:pt x="820" y="1667"/>
                </a:lnTo>
                <a:lnTo>
                  <a:pt x="819" y="1658"/>
                </a:lnTo>
                <a:lnTo>
                  <a:pt x="819" y="1649"/>
                </a:lnTo>
                <a:lnTo>
                  <a:pt x="820" y="1641"/>
                </a:lnTo>
                <a:lnTo>
                  <a:pt x="820" y="1632"/>
                </a:lnTo>
                <a:lnTo>
                  <a:pt x="821" y="1624"/>
                </a:lnTo>
                <a:lnTo>
                  <a:pt x="823" y="1615"/>
                </a:lnTo>
                <a:lnTo>
                  <a:pt x="826" y="1607"/>
                </a:lnTo>
                <a:lnTo>
                  <a:pt x="828" y="1599"/>
                </a:lnTo>
                <a:lnTo>
                  <a:pt x="831" y="1590"/>
                </a:lnTo>
                <a:lnTo>
                  <a:pt x="834" y="1582"/>
                </a:lnTo>
                <a:lnTo>
                  <a:pt x="837" y="1575"/>
                </a:lnTo>
                <a:lnTo>
                  <a:pt x="842" y="1567"/>
                </a:lnTo>
                <a:lnTo>
                  <a:pt x="846" y="1560"/>
                </a:lnTo>
                <a:lnTo>
                  <a:pt x="850" y="1552"/>
                </a:lnTo>
                <a:lnTo>
                  <a:pt x="856" y="1546"/>
                </a:lnTo>
                <a:lnTo>
                  <a:pt x="862" y="1538"/>
                </a:lnTo>
                <a:lnTo>
                  <a:pt x="868" y="1532"/>
                </a:lnTo>
                <a:lnTo>
                  <a:pt x="1304" y="1097"/>
                </a:lnTo>
                <a:lnTo>
                  <a:pt x="717" y="1097"/>
                </a:lnTo>
                <a:lnTo>
                  <a:pt x="131" y="1097"/>
                </a:lnTo>
                <a:lnTo>
                  <a:pt x="124" y="1096"/>
                </a:lnTo>
                <a:lnTo>
                  <a:pt x="116" y="1096"/>
                </a:lnTo>
                <a:lnTo>
                  <a:pt x="108" y="1094"/>
                </a:lnTo>
                <a:lnTo>
                  <a:pt x="101" y="1093"/>
                </a:lnTo>
                <a:lnTo>
                  <a:pt x="88" y="1089"/>
                </a:lnTo>
                <a:lnTo>
                  <a:pt x="81" y="1085"/>
                </a:lnTo>
                <a:lnTo>
                  <a:pt x="75" y="1082"/>
                </a:lnTo>
                <a:lnTo>
                  <a:pt x="63" y="1074"/>
                </a:lnTo>
                <a:lnTo>
                  <a:pt x="57" y="1069"/>
                </a:lnTo>
                <a:lnTo>
                  <a:pt x="52" y="1065"/>
                </a:lnTo>
                <a:lnTo>
                  <a:pt x="48" y="1060"/>
                </a:lnTo>
                <a:lnTo>
                  <a:pt x="42" y="1054"/>
                </a:lnTo>
                <a:lnTo>
                  <a:pt x="38" y="1049"/>
                </a:lnTo>
                <a:lnTo>
                  <a:pt x="34" y="1042"/>
                </a:lnTo>
                <a:lnTo>
                  <a:pt x="26" y="1029"/>
                </a:lnTo>
                <a:lnTo>
                  <a:pt x="20" y="1016"/>
                </a:lnTo>
                <a:lnTo>
                  <a:pt x="16" y="1009"/>
                </a:lnTo>
                <a:lnTo>
                  <a:pt x="13" y="1001"/>
                </a:lnTo>
                <a:lnTo>
                  <a:pt x="9" y="986"/>
                </a:lnTo>
                <a:lnTo>
                  <a:pt x="5" y="971"/>
                </a:lnTo>
                <a:lnTo>
                  <a:pt x="2" y="955"/>
                </a:lnTo>
                <a:lnTo>
                  <a:pt x="1" y="939"/>
                </a:lnTo>
                <a:lnTo>
                  <a:pt x="0" y="922"/>
                </a:lnTo>
                <a:lnTo>
                  <a:pt x="1" y="906"/>
                </a:lnTo>
                <a:lnTo>
                  <a:pt x="1" y="899"/>
                </a:lnTo>
                <a:lnTo>
                  <a:pt x="2" y="891"/>
                </a:lnTo>
                <a:lnTo>
                  <a:pt x="5" y="875"/>
                </a:lnTo>
                <a:lnTo>
                  <a:pt x="9" y="860"/>
                </a:lnTo>
                <a:lnTo>
                  <a:pt x="12" y="852"/>
                </a:lnTo>
                <a:lnTo>
                  <a:pt x="14" y="845"/>
                </a:lnTo>
                <a:lnTo>
                  <a:pt x="20" y="831"/>
                </a:lnTo>
                <a:lnTo>
                  <a:pt x="27" y="816"/>
                </a:lnTo>
                <a:lnTo>
                  <a:pt x="31" y="810"/>
                </a:lnTo>
                <a:lnTo>
                  <a:pt x="35" y="805"/>
                </a:lnTo>
                <a:lnTo>
                  <a:pt x="44" y="793"/>
                </a:lnTo>
                <a:lnTo>
                  <a:pt x="54" y="782"/>
                </a:lnTo>
                <a:lnTo>
                  <a:pt x="65" y="772"/>
                </a:lnTo>
                <a:lnTo>
                  <a:pt x="70" y="768"/>
                </a:lnTo>
                <a:lnTo>
                  <a:pt x="77" y="765"/>
                </a:lnTo>
                <a:lnTo>
                  <a:pt x="83" y="760"/>
                </a:lnTo>
                <a:lnTo>
                  <a:pt x="90" y="758"/>
                </a:lnTo>
                <a:lnTo>
                  <a:pt x="96" y="755"/>
                </a:lnTo>
                <a:lnTo>
                  <a:pt x="104" y="753"/>
                </a:lnTo>
                <a:lnTo>
                  <a:pt x="111" y="752"/>
                </a:lnTo>
                <a:lnTo>
                  <a:pt x="118" y="749"/>
                </a:lnTo>
                <a:lnTo>
                  <a:pt x="126" y="749"/>
                </a:lnTo>
                <a:lnTo>
                  <a:pt x="133" y="748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37" name="Freeform 12"/>
          <p:cNvSpPr>
            <a:spLocks noChangeAspect="1"/>
          </p:cNvSpPr>
          <p:nvPr userDrawn="1"/>
        </p:nvSpPr>
        <p:spPr bwMode="auto">
          <a:xfrm>
            <a:off x="6168008" y="4293144"/>
            <a:ext cx="467999" cy="432000"/>
          </a:xfrm>
          <a:custGeom>
            <a:avLst/>
            <a:gdLst>
              <a:gd name="T0" fmla="*/ 1308 w 2002"/>
              <a:gd name="T1" fmla="*/ 748 h 1845"/>
              <a:gd name="T2" fmla="*/ 841 w 2002"/>
              <a:gd name="T3" fmla="*/ 301 h 1845"/>
              <a:gd name="T4" fmla="*/ 826 w 2002"/>
              <a:gd name="T5" fmla="*/ 280 h 1845"/>
              <a:gd name="T6" fmla="*/ 815 w 2002"/>
              <a:gd name="T7" fmla="*/ 256 h 1845"/>
              <a:gd name="T8" fmla="*/ 807 w 2002"/>
              <a:gd name="T9" fmla="*/ 230 h 1845"/>
              <a:gd name="T10" fmla="*/ 804 w 2002"/>
              <a:gd name="T11" fmla="*/ 204 h 1845"/>
              <a:gd name="T12" fmla="*/ 804 w 2002"/>
              <a:gd name="T13" fmla="*/ 178 h 1845"/>
              <a:gd name="T14" fmla="*/ 807 w 2002"/>
              <a:gd name="T15" fmla="*/ 152 h 1845"/>
              <a:gd name="T16" fmla="*/ 815 w 2002"/>
              <a:gd name="T17" fmla="*/ 126 h 1845"/>
              <a:gd name="T18" fmla="*/ 835 w 2002"/>
              <a:gd name="T19" fmla="*/ 85 h 1845"/>
              <a:gd name="T20" fmla="*/ 853 w 2002"/>
              <a:gd name="T21" fmla="*/ 63 h 1845"/>
              <a:gd name="T22" fmla="*/ 874 w 2002"/>
              <a:gd name="T23" fmla="*/ 44 h 1845"/>
              <a:gd name="T24" fmla="*/ 897 w 2002"/>
              <a:gd name="T25" fmla="*/ 28 h 1845"/>
              <a:gd name="T26" fmla="*/ 921 w 2002"/>
              <a:gd name="T27" fmla="*/ 15 h 1845"/>
              <a:gd name="T28" fmla="*/ 947 w 2002"/>
              <a:gd name="T29" fmla="*/ 6 h 1845"/>
              <a:gd name="T30" fmla="*/ 973 w 2002"/>
              <a:gd name="T31" fmla="*/ 1 h 1845"/>
              <a:gd name="T32" fmla="*/ 999 w 2002"/>
              <a:gd name="T33" fmla="*/ 0 h 1845"/>
              <a:gd name="T34" fmla="*/ 1025 w 2002"/>
              <a:gd name="T35" fmla="*/ 2 h 1845"/>
              <a:gd name="T36" fmla="*/ 1051 w 2002"/>
              <a:gd name="T37" fmla="*/ 8 h 1845"/>
              <a:gd name="T38" fmla="*/ 1075 w 2002"/>
              <a:gd name="T39" fmla="*/ 18 h 1845"/>
              <a:gd name="T40" fmla="*/ 1112 w 2002"/>
              <a:gd name="T41" fmla="*/ 44 h 1845"/>
              <a:gd name="T42" fmla="*/ 2002 w 2002"/>
              <a:gd name="T43" fmla="*/ 922 h 1845"/>
              <a:gd name="T44" fmla="*/ 1127 w 2002"/>
              <a:gd name="T45" fmla="*/ 1803 h 1845"/>
              <a:gd name="T46" fmla="*/ 1106 w 2002"/>
              <a:gd name="T47" fmla="*/ 1819 h 1845"/>
              <a:gd name="T48" fmla="*/ 1083 w 2002"/>
              <a:gd name="T49" fmla="*/ 1831 h 1845"/>
              <a:gd name="T50" fmla="*/ 1058 w 2002"/>
              <a:gd name="T51" fmla="*/ 1840 h 1845"/>
              <a:gd name="T52" fmla="*/ 1032 w 2002"/>
              <a:gd name="T53" fmla="*/ 1844 h 1845"/>
              <a:gd name="T54" fmla="*/ 1006 w 2002"/>
              <a:gd name="T55" fmla="*/ 1845 h 1845"/>
              <a:gd name="T56" fmla="*/ 972 w 2002"/>
              <a:gd name="T57" fmla="*/ 1841 h 1845"/>
              <a:gd name="T58" fmla="*/ 922 w 2002"/>
              <a:gd name="T59" fmla="*/ 1821 h 1845"/>
              <a:gd name="T60" fmla="*/ 891 w 2002"/>
              <a:gd name="T61" fmla="*/ 1801 h 1845"/>
              <a:gd name="T62" fmla="*/ 863 w 2002"/>
              <a:gd name="T63" fmla="*/ 1774 h 1845"/>
              <a:gd name="T64" fmla="*/ 847 w 2002"/>
              <a:gd name="T65" fmla="*/ 1751 h 1845"/>
              <a:gd name="T66" fmla="*/ 832 w 2002"/>
              <a:gd name="T67" fmla="*/ 1719 h 1845"/>
              <a:gd name="T68" fmla="*/ 824 w 2002"/>
              <a:gd name="T69" fmla="*/ 1693 h 1845"/>
              <a:gd name="T70" fmla="*/ 820 w 2002"/>
              <a:gd name="T71" fmla="*/ 1667 h 1845"/>
              <a:gd name="T72" fmla="*/ 820 w 2002"/>
              <a:gd name="T73" fmla="*/ 1641 h 1845"/>
              <a:gd name="T74" fmla="*/ 823 w 2002"/>
              <a:gd name="T75" fmla="*/ 1615 h 1845"/>
              <a:gd name="T76" fmla="*/ 831 w 2002"/>
              <a:gd name="T77" fmla="*/ 1590 h 1845"/>
              <a:gd name="T78" fmla="*/ 842 w 2002"/>
              <a:gd name="T79" fmla="*/ 1567 h 1845"/>
              <a:gd name="T80" fmla="*/ 856 w 2002"/>
              <a:gd name="T81" fmla="*/ 1546 h 1845"/>
              <a:gd name="T82" fmla="*/ 1304 w 2002"/>
              <a:gd name="T83" fmla="*/ 1097 h 1845"/>
              <a:gd name="T84" fmla="*/ 124 w 2002"/>
              <a:gd name="T85" fmla="*/ 1096 h 1845"/>
              <a:gd name="T86" fmla="*/ 101 w 2002"/>
              <a:gd name="T87" fmla="*/ 1093 h 1845"/>
              <a:gd name="T88" fmla="*/ 75 w 2002"/>
              <a:gd name="T89" fmla="*/ 1082 h 1845"/>
              <a:gd name="T90" fmla="*/ 52 w 2002"/>
              <a:gd name="T91" fmla="*/ 1065 h 1845"/>
              <a:gd name="T92" fmla="*/ 38 w 2002"/>
              <a:gd name="T93" fmla="*/ 1049 h 1845"/>
              <a:gd name="T94" fmla="*/ 20 w 2002"/>
              <a:gd name="T95" fmla="*/ 1016 h 1845"/>
              <a:gd name="T96" fmla="*/ 9 w 2002"/>
              <a:gd name="T97" fmla="*/ 986 h 1845"/>
              <a:gd name="T98" fmla="*/ 1 w 2002"/>
              <a:gd name="T99" fmla="*/ 939 h 1845"/>
              <a:gd name="T100" fmla="*/ 1 w 2002"/>
              <a:gd name="T101" fmla="*/ 899 h 1845"/>
              <a:gd name="T102" fmla="*/ 9 w 2002"/>
              <a:gd name="T103" fmla="*/ 860 h 1845"/>
              <a:gd name="T104" fmla="*/ 20 w 2002"/>
              <a:gd name="T105" fmla="*/ 831 h 1845"/>
              <a:gd name="T106" fmla="*/ 35 w 2002"/>
              <a:gd name="T107" fmla="*/ 805 h 1845"/>
              <a:gd name="T108" fmla="*/ 65 w 2002"/>
              <a:gd name="T109" fmla="*/ 772 h 1845"/>
              <a:gd name="T110" fmla="*/ 83 w 2002"/>
              <a:gd name="T111" fmla="*/ 760 h 1845"/>
              <a:gd name="T112" fmla="*/ 104 w 2002"/>
              <a:gd name="T113" fmla="*/ 753 h 1845"/>
              <a:gd name="T114" fmla="*/ 126 w 2002"/>
              <a:gd name="T115" fmla="*/ 749 h 1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2" h="1845">
                <a:moveTo>
                  <a:pt x="133" y="748"/>
                </a:moveTo>
                <a:lnTo>
                  <a:pt x="720" y="748"/>
                </a:lnTo>
                <a:lnTo>
                  <a:pt x="1308" y="748"/>
                </a:lnTo>
                <a:lnTo>
                  <a:pt x="853" y="314"/>
                </a:lnTo>
                <a:lnTo>
                  <a:pt x="847" y="308"/>
                </a:lnTo>
                <a:lnTo>
                  <a:pt x="841" y="301"/>
                </a:lnTo>
                <a:lnTo>
                  <a:pt x="835" y="294"/>
                </a:lnTo>
                <a:lnTo>
                  <a:pt x="831" y="287"/>
                </a:lnTo>
                <a:lnTo>
                  <a:pt x="826" y="280"/>
                </a:lnTo>
                <a:lnTo>
                  <a:pt x="821" y="271"/>
                </a:lnTo>
                <a:lnTo>
                  <a:pt x="818" y="263"/>
                </a:lnTo>
                <a:lnTo>
                  <a:pt x="815" y="256"/>
                </a:lnTo>
                <a:lnTo>
                  <a:pt x="811" y="247"/>
                </a:lnTo>
                <a:lnTo>
                  <a:pt x="809" y="238"/>
                </a:lnTo>
                <a:lnTo>
                  <a:pt x="807" y="230"/>
                </a:lnTo>
                <a:lnTo>
                  <a:pt x="805" y="221"/>
                </a:lnTo>
                <a:lnTo>
                  <a:pt x="804" y="213"/>
                </a:lnTo>
                <a:lnTo>
                  <a:pt x="804" y="204"/>
                </a:lnTo>
                <a:lnTo>
                  <a:pt x="803" y="195"/>
                </a:lnTo>
                <a:lnTo>
                  <a:pt x="803" y="187"/>
                </a:lnTo>
                <a:lnTo>
                  <a:pt x="804" y="178"/>
                </a:lnTo>
                <a:lnTo>
                  <a:pt x="804" y="169"/>
                </a:lnTo>
                <a:lnTo>
                  <a:pt x="806" y="161"/>
                </a:lnTo>
                <a:lnTo>
                  <a:pt x="807" y="152"/>
                </a:lnTo>
                <a:lnTo>
                  <a:pt x="809" y="143"/>
                </a:lnTo>
                <a:lnTo>
                  <a:pt x="811" y="135"/>
                </a:lnTo>
                <a:lnTo>
                  <a:pt x="815" y="126"/>
                </a:lnTo>
                <a:lnTo>
                  <a:pt x="818" y="117"/>
                </a:lnTo>
                <a:lnTo>
                  <a:pt x="826" y="101"/>
                </a:lnTo>
                <a:lnTo>
                  <a:pt x="835" y="85"/>
                </a:lnTo>
                <a:lnTo>
                  <a:pt x="841" y="77"/>
                </a:lnTo>
                <a:lnTo>
                  <a:pt x="847" y="71"/>
                </a:lnTo>
                <a:lnTo>
                  <a:pt x="853" y="63"/>
                </a:lnTo>
                <a:lnTo>
                  <a:pt x="860" y="56"/>
                </a:lnTo>
                <a:lnTo>
                  <a:pt x="867" y="49"/>
                </a:lnTo>
                <a:lnTo>
                  <a:pt x="874" y="44"/>
                </a:lnTo>
                <a:lnTo>
                  <a:pt x="882" y="37"/>
                </a:lnTo>
                <a:lnTo>
                  <a:pt x="889" y="32"/>
                </a:lnTo>
                <a:lnTo>
                  <a:pt x="897" y="28"/>
                </a:lnTo>
                <a:lnTo>
                  <a:pt x="905" y="22"/>
                </a:lnTo>
                <a:lnTo>
                  <a:pt x="913" y="19"/>
                </a:lnTo>
                <a:lnTo>
                  <a:pt x="921" y="15"/>
                </a:lnTo>
                <a:lnTo>
                  <a:pt x="930" y="12"/>
                </a:lnTo>
                <a:lnTo>
                  <a:pt x="938" y="8"/>
                </a:lnTo>
                <a:lnTo>
                  <a:pt x="947" y="6"/>
                </a:lnTo>
                <a:lnTo>
                  <a:pt x="956" y="4"/>
                </a:lnTo>
                <a:lnTo>
                  <a:pt x="964" y="3"/>
                </a:lnTo>
                <a:lnTo>
                  <a:pt x="973" y="1"/>
                </a:lnTo>
                <a:lnTo>
                  <a:pt x="982" y="1"/>
                </a:lnTo>
                <a:lnTo>
                  <a:pt x="990" y="0"/>
                </a:lnTo>
                <a:lnTo>
                  <a:pt x="999" y="0"/>
                </a:lnTo>
                <a:lnTo>
                  <a:pt x="1008" y="1"/>
                </a:lnTo>
                <a:lnTo>
                  <a:pt x="1016" y="1"/>
                </a:lnTo>
                <a:lnTo>
                  <a:pt x="1025" y="2"/>
                </a:lnTo>
                <a:lnTo>
                  <a:pt x="1034" y="4"/>
                </a:lnTo>
                <a:lnTo>
                  <a:pt x="1042" y="6"/>
                </a:lnTo>
                <a:lnTo>
                  <a:pt x="1051" y="8"/>
                </a:lnTo>
                <a:lnTo>
                  <a:pt x="1058" y="12"/>
                </a:lnTo>
                <a:lnTo>
                  <a:pt x="1067" y="15"/>
                </a:lnTo>
                <a:lnTo>
                  <a:pt x="1075" y="18"/>
                </a:lnTo>
                <a:lnTo>
                  <a:pt x="1090" y="28"/>
                </a:lnTo>
                <a:lnTo>
                  <a:pt x="1105" y="37"/>
                </a:lnTo>
                <a:lnTo>
                  <a:pt x="1112" y="44"/>
                </a:lnTo>
                <a:lnTo>
                  <a:pt x="1118" y="49"/>
                </a:lnTo>
                <a:lnTo>
                  <a:pt x="1560" y="486"/>
                </a:lnTo>
                <a:lnTo>
                  <a:pt x="2002" y="922"/>
                </a:lnTo>
                <a:lnTo>
                  <a:pt x="1568" y="1359"/>
                </a:lnTo>
                <a:lnTo>
                  <a:pt x="1133" y="1796"/>
                </a:lnTo>
                <a:lnTo>
                  <a:pt x="1127" y="1803"/>
                </a:lnTo>
                <a:lnTo>
                  <a:pt x="1120" y="1808"/>
                </a:lnTo>
                <a:lnTo>
                  <a:pt x="1113" y="1814"/>
                </a:lnTo>
                <a:lnTo>
                  <a:pt x="1106" y="1819"/>
                </a:lnTo>
                <a:lnTo>
                  <a:pt x="1099" y="1823"/>
                </a:lnTo>
                <a:lnTo>
                  <a:pt x="1091" y="1828"/>
                </a:lnTo>
                <a:lnTo>
                  <a:pt x="1083" y="1831"/>
                </a:lnTo>
                <a:lnTo>
                  <a:pt x="1075" y="1834"/>
                </a:lnTo>
                <a:lnTo>
                  <a:pt x="1067" y="1837"/>
                </a:lnTo>
                <a:lnTo>
                  <a:pt x="1058" y="1840"/>
                </a:lnTo>
                <a:lnTo>
                  <a:pt x="1050" y="1842"/>
                </a:lnTo>
                <a:lnTo>
                  <a:pt x="1041" y="1843"/>
                </a:lnTo>
                <a:lnTo>
                  <a:pt x="1032" y="1844"/>
                </a:lnTo>
                <a:lnTo>
                  <a:pt x="1024" y="1845"/>
                </a:lnTo>
                <a:lnTo>
                  <a:pt x="1015" y="1845"/>
                </a:lnTo>
                <a:lnTo>
                  <a:pt x="1006" y="1845"/>
                </a:lnTo>
                <a:lnTo>
                  <a:pt x="998" y="1845"/>
                </a:lnTo>
                <a:lnTo>
                  <a:pt x="989" y="1844"/>
                </a:lnTo>
                <a:lnTo>
                  <a:pt x="972" y="1841"/>
                </a:lnTo>
                <a:lnTo>
                  <a:pt x="954" y="1836"/>
                </a:lnTo>
                <a:lnTo>
                  <a:pt x="938" y="1830"/>
                </a:lnTo>
                <a:lnTo>
                  <a:pt x="922" y="1821"/>
                </a:lnTo>
                <a:lnTo>
                  <a:pt x="906" y="1812"/>
                </a:lnTo>
                <a:lnTo>
                  <a:pt x="898" y="1806"/>
                </a:lnTo>
                <a:lnTo>
                  <a:pt x="891" y="1801"/>
                </a:lnTo>
                <a:lnTo>
                  <a:pt x="876" y="1788"/>
                </a:lnTo>
                <a:lnTo>
                  <a:pt x="870" y="1781"/>
                </a:lnTo>
                <a:lnTo>
                  <a:pt x="863" y="1774"/>
                </a:lnTo>
                <a:lnTo>
                  <a:pt x="858" y="1766"/>
                </a:lnTo>
                <a:lnTo>
                  <a:pt x="853" y="1759"/>
                </a:lnTo>
                <a:lnTo>
                  <a:pt x="847" y="1751"/>
                </a:lnTo>
                <a:lnTo>
                  <a:pt x="843" y="1743"/>
                </a:lnTo>
                <a:lnTo>
                  <a:pt x="835" y="1727"/>
                </a:lnTo>
                <a:lnTo>
                  <a:pt x="832" y="1719"/>
                </a:lnTo>
                <a:lnTo>
                  <a:pt x="829" y="1710"/>
                </a:lnTo>
                <a:lnTo>
                  <a:pt x="827" y="1701"/>
                </a:lnTo>
                <a:lnTo>
                  <a:pt x="824" y="1693"/>
                </a:lnTo>
                <a:lnTo>
                  <a:pt x="822" y="1684"/>
                </a:lnTo>
                <a:lnTo>
                  <a:pt x="821" y="1675"/>
                </a:lnTo>
                <a:lnTo>
                  <a:pt x="820" y="1667"/>
                </a:lnTo>
                <a:lnTo>
                  <a:pt x="819" y="1658"/>
                </a:lnTo>
                <a:lnTo>
                  <a:pt x="819" y="1649"/>
                </a:lnTo>
                <a:lnTo>
                  <a:pt x="820" y="1641"/>
                </a:lnTo>
                <a:lnTo>
                  <a:pt x="820" y="1632"/>
                </a:lnTo>
                <a:lnTo>
                  <a:pt x="821" y="1624"/>
                </a:lnTo>
                <a:lnTo>
                  <a:pt x="823" y="1615"/>
                </a:lnTo>
                <a:lnTo>
                  <a:pt x="826" y="1607"/>
                </a:lnTo>
                <a:lnTo>
                  <a:pt x="828" y="1599"/>
                </a:lnTo>
                <a:lnTo>
                  <a:pt x="831" y="1590"/>
                </a:lnTo>
                <a:lnTo>
                  <a:pt x="834" y="1582"/>
                </a:lnTo>
                <a:lnTo>
                  <a:pt x="837" y="1575"/>
                </a:lnTo>
                <a:lnTo>
                  <a:pt x="842" y="1567"/>
                </a:lnTo>
                <a:lnTo>
                  <a:pt x="846" y="1560"/>
                </a:lnTo>
                <a:lnTo>
                  <a:pt x="850" y="1552"/>
                </a:lnTo>
                <a:lnTo>
                  <a:pt x="856" y="1546"/>
                </a:lnTo>
                <a:lnTo>
                  <a:pt x="862" y="1538"/>
                </a:lnTo>
                <a:lnTo>
                  <a:pt x="868" y="1532"/>
                </a:lnTo>
                <a:lnTo>
                  <a:pt x="1304" y="1097"/>
                </a:lnTo>
                <a:lnTo>
                  <a:pt x="717" y="1097"/>
                </a:lnTo>
                <a:lnTo>
                  <a:pt x="131" y="1097"/>
                </a:lnTo>
                <a:lnTo>
                  <a:pt x="124" y="1096"/>
                </a:lnTo>
                <a:lnTo>
                  <a:pt x="116" y="1096"/>
                </a:lnTo>
                <a:lnTo>
                  <a:pt x="108" y="1094"/>
                </a:lnTo>
                <a:lnTo>
                  <a:pt x="101" y="1093"/>
                </a:lnTo>
                <a:lnTo>
                  <a:pt x="88" y="1089"/>
                </a:lnTo>
                <a:lnTo>
                  <a:pt x="81" y="1085"/>
                </a:lnTo>
                <a:lnTo>
                  <a:pt x="75" y="1082"/>
                </a:lnTo>
                <a:lnTo>
                  <a:pt x="63" y="1074"/>
                </a:lnTo>
                <a:lnTo>
                  <a:pt x="57" y="1069"/>
                </a:lnTo>
                <a:lnTo>
                  <a:pt x="52" y="1065"/>
                </a:lnTo>
                <a:lnTo>
                  <a:pt x="48" y="1060"/>
                </a:lnTo>
                <a:lnTo>
                  <a:pt x="42" y="1054"/>
                </a:lnTo>
                <a:lnTo>
                  <a:pt x="38" y="1049"/>
                </a:lnTo>
                <a:lnTo>
                  <a:pt x="34" y="1042"/>
                </a:lnTo>
                <a:lnTo>
                  <a:pt x="26" y="1029"/>
                </a:lnTo>
                <a:lnTo>
                  <a:pt x="20" y="1016"/>
                </a:lnTo>
                <a:lnTo>
                  <a:pt x="16" y="1009"/>
                </a:lnTo>
                <a:lnTo>
                  <a:pt x="13" y="1001"/>
                </a:lnTo>
                <a:lnTo>
                  <a:pt x="9" y="986"/>
                </a:lnTo>
                <a:lnTo>
                  <a:pt x="5" y="971"/>
                </a:lnTo>
                <a:lnTo>
                  <a:pt x="2" y="955"/>
                </a:lnTo>
                <a:lnTo>
                  <a:pt x="1" y="939"/>
                </a:lnTo>
                <a:lnTo>
                  <a:pt x="0" y="922"/>
                </a:lnTo>
                <a:lnTo>
                  <a:pt x="1" y="906"/>
                </a:lnTo>
                <a:lnTo>
                  <a:pt x="1" y="899"/>
                </a:lnTo>
                <a:lnTo>
                  <a:pt x="2" y="891"/>
                </a:lnTo>
                <a:lnTo>
                  <a:pt x="5" y="875"/>
                </a:lnTo>
                <a:lnTo>
                  <a:pt x="9" y="860"/>
                </a:lnTo>
                <a:lnTo>
                  <a:pt x="12" y="852"/>
                </a:lnTo>
                <a:lnTo>
                  <a:pt x="14" y="845"/>
                </a:lnTo>
                <a:lnTo>
                  <a:pt x="20" y="831"/>
                </a:lnTo>
                <a:lnTo>
                  <a:pt x="27" y="816"/>
                </a:lnTo>
                <a:lnTo>
                  <a:pt x="31" y="810"/>
                </a:lnTo>
                <a:lnTo>
                  <a:pt x="35" y="805"/>
                </a:lnTo>
                <a:lnTo>
                  <a:pt x="44" y="793"/>
                </a:lnTo>
                <a:lnTo>
                  <a:pt x="54" y="782"/>
                </a:lnTo>
                <a:lnTo>
                  <a:pt x="65" y="772"/>
                </a:lnTo>
                <a:lnTo>
                  <a:pt x="70" y="768"/>
                </a:lnTo>
                <a:lnTo>
                  <a:pt x="77" y="765"/>
                </a:lnTo>
                <a:lnTo>
                  <a:pt x="83" y="760"/>
                </a:lnTo>
                <a:lnTo>
                  <a:pt x="90" y="758"/>
                </a:lnTo>
                <a:lnTo>
                  <a:pt x="96" y="755"/>
                </a:lnTo>
                <a:lnTo>
                  <a:pt x="104" y="753"/>
                </a:lnTo>
                <a:lnTo>
                  <a:pt x="111" y="752"/>
                </a:lnTo>
                <a:lnTo>
                  <a:pt x="118" y="749"/>
                </a:lnTo>
                <a:lnTo>
                  <a:pt x="126" y="749"/>
                </a:lnTo>
                <a:lnTo>
                  <a:pt x="133" y="748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38" name="Freeform 12"/>
          <p:cNvSpPr>
            <a:spLocks noChangeAspect="1"/>
          </p:cNvSpPr>
          <p:nvPr userDrawn="1"/>
        </p:nvSpPr>
        <p:spPr bwMode="auto">
          <a:xfrm>
            <a:off x="6168008" y="5445272"/>
            <a:ext cx="467999" cy="432000"/>
          </a:xfrm>
          <a:custGeom>
            <a:avLst/>
            <a:gdLst>
              <a:gd name="T0" fmla="*/ 1308 w 2002"/>
              <a:gd name="T1" fmla="*/ 748 h 1845"/>
              <a:gd name="T2" fmla="*/ 841 w 2002"/>
              <a:gd name="T3" fmla="*/ 301 h 1845"/>
              <a:gd name="T4" fmla="*/ 826 w 2002"/>
              <a:gd name="T5" fmla="*/ 280 h 1845"/>
              <a:gd name="T6" fmla="*/ 815 w 2002"/>
              <a:gd name="T7" fmla="*/ 256 h 1845"/>
              <a:gd name="T8" fmla="*/ 807 w 2002"/>
              <a:gd name="T9" fmla="*/ 230 h 1845"/>
              <a:gd name="T10" fmla="*/ 804 w 2002"/>
              <a:gd name="T11" fmla="*/ 204 h 1845"/>
              <a:gd name="T12" fmla="*/ 804 w 2002"/>
              <a:gd name="T13" fmla="*/ 178 h 1845"/>
              <a:gd name="T14" fmla="*/ 807 w 2002"/>
              <a:gd name="T15" fmla="*/ 152 h 1845"/>
              <a:gd name="T16" fmla="*/ 815 w 2002"/>
              <a:gd name="T17" fmla="*/ 126 h 1845"/>
              <a:gd name="T18" fmla="*/ 835 w 2002"/>
              <a:gd name="T19" fmla="*/ 85 h 1845"/>
              <a:gd name="T20" fmla="*/ 853 w 2002"/>
              <a:gd name="T21" fmla="*/ 63 h 1845"/>
              <a:gd name="T22" fmla="*/ 874 w 2002"/>
              <a:gd name="T23" fmla="*/ 44 h 1845"/>
              <a:gd name="T24" fmla="*/ 897 w 2002"/>
              <a:gd name="T25" fmla="*/ 28 h 1845"/>
              <a:gd name="T26" fmla="*/ 921 w 2002"/>
              <a:gd name="T27" fmla="*/ 15 h 1845"/>
              <a:gd name="T28" fmla="*/ 947 w 2002"/>
              <a:gd name="T29" fmla="*/ 6 h 1845"/>
              <a:gd name="T30" fmla="*/ 973 w 2002"/>
              <a:gd name="T31" fmla="*/ 1 h 1845"/>
              <a:gd name="T32" fmla="*/ 999 w 2002"/>
              <a:gd name="T33" fmla="*/ 0 h 1845"/>
              <a:gd name="T34" fmla="*/ 1025 w 2002"/>
              <a:gd name="T35" fmla="*/ 2 h 1845"/>
              <a:gd name="T36" fmla="*/ 1051 w 2002"/>
              <a:gd name="T37" fmla="*/ 8 h 1845"/>
              <a:gd name="T38" fmla="*/ 1075 w 2002"/>
              <a:gd name="T39" fmla="*/ 18 h 1845"/>
              <a:gd name="T40" fmla="*/ 1112 w 2002"/>
              <a:gd name="T41" fmla="*/ 44 h 1845"/>
              <a:gd name="T42" fmla="*/ 2002 w 2002"/>
              <a:gd name="T43" fmla="*/ 922 h 1845"/>
              <a:gd name="T44" fmla="*/ 1127 w 2002"/>
              <a:gd name="T45" fmla="*/ 1803 h 1845"/>
              <a:gd name="T46" fmla="*/ 1106 w 2002"/>
              <a:gd name="T47" fmla="*/ 1819 h 1845"/>
              <a:gd name="T48" fmla="*/ 1083 w 2002"/>
              <a:gd name="T49" fmla="*/ 1831 h 1845"/>
              <a:gd name="T50" fmla="*/ 1058 w 2002"/>
              <a:gd name="T51" fmla="*/ 1840 h 1845"/>
              <a:gd name="T52" fmla="*/ 1032 w 2002"/>
              <a:gd name="T53" fmla="*/ 1844 h 1845"/>
              <a:gd name="T54" fmla="*/ 1006 w 2002"/>
              <a:gd name="T55" fmla="*/ 1845 h 1845"/>
              <a:gd name="T56" fmla="*/ 972 w 2002"/>
              <a:gd name="T57" fmla="*/ 1841 h 1845"/>
              <a:gd name="T58" fmla="*/ 922 w 2002"/>
              <a:gd name="T59" fmla="*/ 1821 h 1845"/>
              <a:gd name="T60" fmla="*/ 891 w 2002"/>
              <a:gd name="T61" fmla="*/ 1801 h 1845"/>
              <a:gd name="T62" fmla="*/ 863 w 2002"/>
              <a:gd name="T63" fmla="*/ 1774 h 1845"/>
              <a:gd name="T64" fmla="*/ 847 w 2002"/>
              <a:gd name="T65" fmla="*/ 1751 h 1845"/>
              <a:gd name="T66" fmla="*/ 832 w 2002"/>
              <a:gd name="T67" fmla="*/ 1719 h 1845"/>
              <a:gd name="T68" fmla="*/ 824 w 2002"/>
              <a:gd name="T69" fmla="*/ 1693 h 1845"/>
              <a:gd name="T70" fmla="*/ 820 w 2002"/>
              <a:gd name="T71" fmla="*/ 1667 h 1845"/>
              <a:gd name="T72" fmla="*/ 820 w 2002"/>
              <a:gd name="T73" fmla="*/ 1641 h 1845"/>
              <a:gd name="T74" fmla="*/ 823 w 2002"/>
              <a:gd name="T75" fmla="*/ 1615 h 1845"/>
              <a:gd name="T76" fmla="*/ 831 w 2002"/>
              <a:gd name="T77" fmla="*/ 1590 h 1845"/>
              <a:gd name="T78" fmla="*/ 842 w 2002"/>
              <a:gd name="T79" fmla="*/ 1567 h 1845"/>
              <a:gd name="T80" fmla="*/ 856 w 2002"/>
              <a:gd name="T81" fmla="*/ 1546 h 1845"/>
              <a:gd name="T82" fmla="*/ 1304 w 2002"/>
              <a:gd name="T83" fmla="*/ 1097 h 1845"/>
              <a:gd name="T84" fmla="*/ 124 w 2002"/>
              <a:gd name="T85" fmla="*/ 1096 h 1845"/>
              <a:gd name="T86" fmla="*/ 101 w 2002"/>
              <a:gd name="T87" fmla="*/ 1093 h 1845"/>
              <a:gd name="T88" fmla="*/ 75 w 2002"/>
              <a:gd name="T89" fmla="*/ 1082 h 1845"/>
              <a:gd name="T90" fmla="*/ 52 w 2002"/>
              <a:gd name="T91" fmla="*/ 1065 h 1845"/>
              <a:gd name="T92" fmla="*/ 38 w 2002"/>
              <a:gd name="T93" fmla="*/ 1049 h 1845"/>
              <a:gd name="T94" fmla="*/ 20 w 2002"/>
              <a:gd name="T95" fmla="*/ 1016 h 1845"/>
              <a:gd name="T96" fmla="*/ 9 w 2002"/>
              <a:gd name="T97" fmla="*/ 986 h 1845"/>
              <a:gd name="T98" fmla="*/ 1 w 2002"/>
              <a:gd name="T99" fmla="*/ 939 h 1845"/>
              <a:gd name="T100" fmla="*/ 1 w 2002"/>
              <a:gd name="T101" fmla="*/ 899 h 1845"/>
              <a:gd name="T102" fmla="*/ 9 w 2002"/>
              <a:gd name="T103" fmla="*/ 860 h 1845"/>
              <a:gd name="T104" fmla="*/ 20 w 2002"/>
              <a:gd name="T105" fmla="*/ 831 h 1845"/>
              <a:gd name="T106" fmla="*/ 35 w 2002"/>
              <a:gd name="T107" fmla="*/ 805 h 1845"/>
              <a:gd name="T108" fmla="*/ 65 w 2002"/>
              <a:gd name="T109" fmla="*/ 772 h 1845"/>
              <a:gd name="T110" fmla="*/ 83 w 2002"/>
              <a:gd name="T111" fmla="*/ 760 h 1845"/>
              <a:gd name="T112" fmla="*/ 104 w 2002"/>
              <a:gd name="T113" fmla="*/ 753 h 1845"/>
              <a:gd name="T114" fmla="*/ 126 w 2002"/>
              <a:gd name="T115" fmla="*/ 749 h 1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2" h="1845">
                <a:moveTo>
                  <a:pt x="133" y="748"/>
                </a:moveTo>
                <a:lnTo>
                  <a:pt x="720" y="748"/>
                </a:lnTo>
                <a:lnTo>
                  <a:pt x="1308" y="748"/>
                </a:lnTo>
                <a:lnTo>
                  <a:pt x="853" y="314"/>
                </a:lnTo>
                <a:lnTo>
                  <a:pt x="847" y="308"/>
                </a:lnTo>
                <a:lnTo>
                  <a:pt x="841" y="301"/>
                </a:lnTo>
                <a:lnTo>
                  <a:pt x="835" y="294"/>
                </a:lnTo>
                <a:lnTo>
                  <a:pt x="831" y="287"/>
                </a:lnTo>
                <a:lnTo>
                  <a:pt x="826" y="280"/>
                </a:lnTo>
                <a:lnTo>
                  <a:pt x="821" y="271"/>
                </a:lnTo>
                <a:lnTo>
                  <a:pt x="818" y="263"/>
                </a:lnTo>
                <a:lnTo>
                  <a:pt x="815" y="256"/>
                </a:lnTo>
                <a:lnTo>
                  <a:pt x="811" y="247"/>
                </a:lnTo>
                <a:lnTo>
                  <a:pt x="809" y="238"/>
                </a:lnTo>
                <a:lnTo>
                  <a:pt x="807" y="230"/>
                </a:lnTo>
                <a:lnTo>
                  <a:pt x="805" y="221"/>
                </a:lnTo>
                <a:lnTo>
                  <a:pt x="804" y="213"/>
                </a:lnTo>
                <a:lnTo>
                  <a:pt x="804" y="204"/>
                </a:lnTo>
                <a:lnTo>
                  <a:pt x="803" y="195"/>
                </a:lnTo>
                <a:lnTo>
                  <a:pt x="803" y="187"/>
                </a:lnTo>
                <a:lnTo>
                  <a:pt x="804" y="178"/>
                </a:lnTo>
                <a:lnTo>
                  <a:pt x="804" y="169"/>
                </a:lnTo>
                <a:lnTo>
                  <a:pt x="806" y="161"/>
                </a:lnTo>
                <a:lnTo>
                  <a:pt x="807" y="152"/>
                </a:lnTo>
                <a:lnTo>
                  <a:pt x="809" y="143"/>
                </a:lnTo>
                <a:lnTo>
                  <a:pt x="811" y="135"/>
                </a:lnTo>
                <a:lnTo>
                  <a:pt x="815" y="126"/>
                </a:lnTo>
                <a:lnTo>
                  <a:pt x="818" y="117"/>
                </a:lnTo>
                <a:lnTo>
                  <a:pt x="826" y="101"/>
                </a:lnTo>
                <a:lnTo>
                  <a:pt x="835" y="85"/>
                </a:lnTo>
                <a:lnTo>
                  <a:pt x="841" y="77"/>
                </a:lnTo>
                <a:lnTo>
                  <a:pt x="847" y="71"/>
                </a:lnTo>
                <a:lnTo>
                  <a:pt x="853" y="63"/>
                </a:lnTo>
                <a:lnTo>
                  <a:pt x="860" y="56"/>
                </a:lnTo>
                <a:lnTo>
                  <a:pt x="867" y="49"/>
                </a:lnTo>
                <a:lnTo>
                  <a:pt x="874" y="44"/>
                </a:lnTo>
                <a:lnTo>
                  <a:pt x="882" y="37"/>
                </a:lnTo>
                <a:lnTo>
                  <a:pt x="889" y="32"/>
                </a:lnTo>
                <a:lnTo>
                  <a:pt x="897" y="28"/>
                </a:lnTo>
                <a:lnTo>
                  <a:pt x="905" y="22"/>
                </a:lnTo>
                <a:lnTo>
                  <a:pt x="913" y="19"/>
                </a:lnTo>
                <a:lnTo>
                  <a:pt x="921" y="15"/>
                </a:lnTo>
                <a:lnTo>
                  <a:pt x="930" y="12"/>
                </a:lnTo>
                <a:lnTo>
                  <a:pt x="938" y="8"/>
                </a:lnTo>
                <a:lnTo>
                  <a:pt x="947" y="6"/>
                </a:lnTo>
                <a:lnTo>
                  <a:pt x="956" y="4"/>
                </a:lnTo>
                <a:lnTo>
                  <a:pt x="964" y="3"/>
                </a:lnTo>
                <a:lnTo>
                  <a:pt x="973" y="1"/>
                </a:lnTo>
                <a:lnTo>
                  <a:pt x="982" y="1"/>
                </a:lnTo>
                <a:lnTo>
                  <a:pt x="990" y="0"/>
                </a:lnTo>
                <a:lnTo>
                  <a:pt x="999" y="0"/>
                </a:lnTo>
                <a:lnTo>
                  <a:pt x="1008" y="1"/>
                </a:lnTo>
                <a:lnTo>
                  <a:pt x="1016" y="1"/>
                </a:lnTo>
                <a:lnTo>
                  <a:pt x="1025" y="2"/>
                </a:lnTo>
                <a:lnTo>
                  <a:pt x="1034" y="4"/>
                </a:lnTo>
                <a:lnTo>
                  <a:pt x="1042" y="6"/>
                </a:lnTo>
                <a:lnTo>
                  <a:pt x="1051" y="8"/>
                </a:lnTo>
                <a:lnTo>
                  <a:pt x="1058" y="12"/>
                </a:lnTo>
                <a:lnTo>
                  <a:pt x="1067" y="15"/>
                </a:lnTo>
                <a:lnTo>
                  <a:pt x="1075" y="18"/>
                </a:lnTo>
                <a:lnTo>
                  <a:pt x="1090" y="28"/>
                </a:lnTo>
                <a:lnTo>
                  <a:pt x="1105" y="37"/>
                </a:lnTo>
                <a:lnTo>
                  <a:pt x="1112" y="44"/>
                </a:lnTo>
                <a:lnTo>
                  <a:pt x="1118" y="49"/>
                </a:lnTo>
                <a:lnTo>
                  <a:pt x="1560" y="486"/>
                </a:lnTo>
                <a:lnTo>
                  <a:pt x="2002" y="922"/>
                </a:lnTo>
                <a:lnTo>
                  <a:pt x="1568" y="1359"/>
                </a:lnTo>
                <a:lnTo>
                  <a:pt x="1133" y="1796"/>
                </a:lnTo>
                <a:lnTo>
                  <a:pt x="1127" y="1803"/>
                </a:lnTo>
                <a:lnTo>
                  <a:pt x="1120" y="1808"/>
                </a:lnTo>
                <a:lnTo>
                  <a:pt x="1113" y="1814"/>
                </a:lnTo>
                <a:lnTo>
                  <a:pt x="1106" y="1819"/>
                </a:lnTo>
                <a:lnTo>
                  <a:pt x="1099" y="1823"/>
                </a:lnTo>
                <a:lnTo>
                  <a:pt x="1091" y="1828"/>
                </a:lnTo>
                <a:lnTo>
                  <a:pt x="1083" y="1831"/>
                </a:lnTo>
                <a:lnTo>
                  <a:pt x="1075" y="1834"/>
                </a:lnTo>
                <a:lnTo>
                  <a:pt x="1067" y="1837"/>
                </a:lnTo>
                <a:lnTo>
                  <a:pt x="1058" y="1840"/>
                </a:lnTo>
                <a:lnTo>
                  <a:pt x="1050" y="1842"/>
                </a:lnTo>
                <a:lnTo>
                  <a:pt x="1041" y="1843"/>
                </a:lnTo>
                <a:lnTo>
                  <a:pt x="1032" y="1844"/>
                </a:lnTo>
                <a:lnTo>
                  <a:pt x="1024" y="1845"/>
                </a:lnTo>
                <a:lnTo>
                  <a:pt x="1015" y="1845"/>
                </a:lnTo>
                <a:lnTo>
                  <a:pt x="1006" y="1845"/>
                </a:lnTo>
                <a:lnTo>
                  <a:pt x="998" y="1845"/>
                </a:lnTo>
                <a:lnTo>
                  <a:pt x="989" y="1844"/>
                </a:lnTo>
                <a:lnTo>
                  <a:pt x="972" y="1841"/>
                </a:lnTo>
                <a:lnTo>
                  <a:pt x="954" y="1836"/>
                </a:lnTo>
                <a:lnTo>
                  <a:pt x="938" y="1830"/>
                </a:lnTo>
                <a:lnTo>
                  <a:pt x="922" y="1821"/>
                </a:lnTo>
                <a:lnTo>
                  <a:pt x="906" y="1812"/>
                </a:lnTo>
                <a:lnTo>
                  <a:pt x="898" y="1806"/>
                </a:lnTo>
                <a:lnTo>
                  <a:pt x="891" y="1801"/>
                </a:lnTo>
                <a:lnTo>
                  <a:pt x="876" y="1788"/>
                </a:lnTo>
                <a:lnTo>
                  <a:pt x="870" y="1781"/>
                </a:lnTo>
                <a:lnTo>
                  <a:pt x="863" y="1774"/>
                </a:lnTo>
                <a:lnTo>
                  <a:pt x="858" y="1766"/>
                </a:lnTo>
                <a:lnTo>
                  <a:pt x="853" y="1759"/>
                </a:lnTo>
                <a:lnTo>
                  <a:pt x="847" y="1751"/>
                </a:lnTo>
                <a:lnTo>
                  <a:pt x="843" y="1743"/>
                </a:lnTo>
                <a:lnTo>
                  <a:pt x="835" y="1727"/>
                </a:lnTo>
                <a:lnTo>
                  <a:pt x="832" y="1719"/>
                </a:lnTo>
                <a:lnTo>
                  <a:pt x="829" y="1710"/>
                </a:lnTo>
                <a:lnTo>
                  <a:pt x="827" y="1701"/>
                </a:lnTo>
                <a:lnTo>
                  <a:pt x="824" y="1693"/>
                </a:lnTo>
                <a:lnTo>
                  <a:pt x="822" y="1684"/>
                </a:lnTo>
                <a:lnTo>
                  <a:pt x="821" y="1675"/>
                </a:lnTo>
                <a:lnTo>
                  <a:pt x="820" y="1667"/>
                </a:lnTo>
                <a:lnTo>
                  <a:pt x="819" y="1658"/>
                </a:lnTo>
                <a:lnTo>
                  <a:pt x="819" y="1649"/>
                </a:lnTo>
                <a:lnTo>
                  <a:pt x="820" y="1641"/>
                </a:lnTo>
                <a:lnTo>
                  <a:pt x="820" y="1632"/>
                </a:lnTo>
                <a:lnTo>
                  <a:pt x="821" y="1624"/>
                </a:lnTo>
                <a:lnTo>
                  <a:pt x="823" y="1615"/>
                </a:lnTo>
                <a:lnTo>
                  <a:pt x="826" y="1607"/>
                </a:lnTo>
                <a:lnTo>
                  <a:pt x="828" y="1599"/>
                </a:lnTo>
                <a:lnTo>
                  <a:pt x="831" y="1590"/>
                </a:lnTo>
                <a:lnTo>
                  <a:pt x="834" y="1582"/>
                </a:lnTo>
                <a:lnTo>
                  <a:pt x="837" y="1575"/>
                </a:lnTo>
                <a:lnTo>
                  <a:pt x="842" y="1567"/>
                </a:lnTo>
                <a:lnTo>
                  <a:pt x="846" y="1560"/>
                </a:lnTo>
                <a:lnTo>
                  <a:pt x="850" y="1552"/>
                </a:lnTo>
                <a:lnTo>
                  <a:pt x="856" y="1546"/>
                </a:lnTo>
                <a:lnTo>
                  <a:pt x="862" y="1538"/>
                </a:lnTo>
                <a:lnTo>
                  <a:pt x="868" y="1532"/>
                </a:lnTo>
                <a:lnTo>
                  <a:pt x="1304" y="1097"/>
                </a:lnTo>
                <a:lnTo>
                  <a:pt x="717" y="1097"/>
                </a:lnTo>
                <a:lnTo>
                  <a:pt x="131" y="1097"/>
                </a:lnTo>
                <a:lnTo>
                  <a:pt x="124" y="1096"/>
                </a:lnTo>
                <a:lnTo>
                  <a:pt x="116" y="1096"/>
                </a:lnTo>
                <a:lnTo>
                  <a:pt x="108" y="1094"/>
                </a:lnTo>
                <a:lnTo>
                  <a:pt x="101" y="1093"/>
                </a:lnTo>
                <a:lnTo>
                  <a:pt x="88" y="1089"/>
                </a:lnTo>
                <a:lnTo>
                  <a:pt x="81" y="1085"/>
                </a:lnTo>
                <a:lnTo>
                  <a:pt x="75" y="1082"/>
                </a:lnTo>
                <a:lnTo>
                  <a:pt x="63" y="1074"/>
                </a:lnTo>
                <a:lnTo>
                  <a:pt x="57" y="1069"/>
                </a:lnTo>
                <a:lnTo>
                  <a:pt x="52" y="1065"/>
                </a:lnTo>
                <a:lnTo>
                  <a:pt x="48" y="1060"/>
                </a:lnTo>
                <a:lnTo>
                  <a:pt x="42" y="1054"/>
                </a:lnTo>
                <a:lnTo>
                  <a:pt x="38" y="1049"/>
                </a:lnTo>
                <a:lnTo>
                  <a:pt x="34" y="1042"/>
                </a:lnTo>
                <a:lnTo>
                  <a:pt x="26" y="1029"/>
                </a:lnTo>
                <a:lnTo>
                  <a:pt x="20" y="1016"/>
                </a:lnTo>
                <a:lnTo>
                  <a:pt x="16" y="1009"/>
                </a:lnTo>
                <a:lnTo>
                  <a:pt x="13" y="1001"/>
                </a:lnTo>
                <a:lnTo>
                  <a:pt x="9" y="986"/>
                </a:lnTo>
                <a:lnTo>
                  <a:pt x="5" y="971"/>
                </a:lnTo>
                <a:lnTo>
                  <a:pt x="2" y="955"/>
                </a:lnTo>
                <a:lnTo>
                  <a:pt x="1" y="939"/>
                </a:lnTo>
                <a:lnTo>
                  <a:pt x="0" y="922"/>
                </a:lnTo>
                <a:lnTo>
                  <a:pt x="1" y="906"/>
                </a:lnTo>
                <a:lnTo>
                  <a:pt x="1" y="899"/>
                </a:lnTo>
                <a:lnTo>
                  <a:pt x="2" y="891"/>
                </a:lnTo>
                <a:lnTo>
                  <a:pt x="5" y="875"/>
                </a:lnTo>
                <a:lnTo>
                  <a:pt x="9" y="860"/>
                </a:lnTo>
                <a:lnTo>
                  <a:pt x="12" y="852"/>
                </a:lnTo>
                <a:lnTo>
                  <a:pt x="14" y="845"/>
                </a:lnTo>
                <a:lnTo>
                  <a:pt x="20" y="831"/>
                </a:lnTo>
                <a:lnTo>
                  <a:pt x="27" y="816"/>
                </a:lnTo>
                <a:lnTo>
                  <a:pt x="31" y="810"/>
                </a:lnTo>
                <a:lnTo>
                  <a:pt x="35" y="805"/>
                </a:lnTo>
                <a:lnTo>
                  <a:pt x="44" y="793"/>
                </a:lnTo>
                <a:lnTo>
                  <a:pt x="54" y="782"/>
                </a:lnTo>
                <a:lnTo>
                  <a:pt x="65" y="772"/>
                </a:lnTo>
                <a:lnTo>
                  <a:pt x="70" y="768"/>
                </a:lnTo>
                <a:lnTo>
                  <a:pt x="77" y="765"/>
                </a:lnTo>
                <a:lnTo>
                  <a:pt x="83" y="760"/>
                </a:lnTo>
                <a:lnTo>
                  <a:pt x="90" y="758"/>
                </a:lnTo>
                <a:lnTo>
                  <a:pt x="96" y="755"/>
                </a:lnTo>
                <a:lnTo>
                  <a:pt x="104" y="753"/>
                </a:lnTo>
                <a:lnTo>
                  <a:pt x="111" y="752"/>
                </a:lnTo>
                <a:lnTo>
                  <a:pt x="118" y="749"/>
                </a:lnTo>
                <a:lnTo>
                  <a:pt x="126" y="749"/>
                </a:lnTo>
                <a:lnTo>
                  <a:pt x="133" y="748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2410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Picture 5" preserve="1" userDrawn="1">
  <p:cSld name="slide_18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1" y="1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AE4CD2-FF2B-481A-BD1B-6461D82DC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4" y="836712"/>
            <a:ext cx="7993062" cy="2215991"/>
          </a:xfrm>
        </p:spPr>
        <p:txBody>
          <a:bodyPr anchor="t" anchorCtr="0">
            <a:spAutoFit/>
          </a:bodyPr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4FF0EC-24DB-4A3B-8AA6-004F9170BE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4" y="4221088"/>
            <a:ext cx="7993062" cy="86407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B46E24-653A-4FF9-9521-1C6FB86597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0D632E-720A-4E57-8F18-FB9A91500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479C78-A5F2-40DD-9834-030D8B177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767408" y="5589762"/>
            <a:ext cx="1832400" cy="432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785201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4" preserve="1" userDrawn="1">
  <p:cSld name="slide_59">
    <p:bg>
      <p:bgPr>
        <a:gradFill>
          <a:gsLst>
            <a:gs pos="0">
              <a:schemeClr val="accent2"/>
            </a:gs>
            <a:gs pos="100000">
              <a:schemeClr val="accent2">
                <a:alpha val="9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B46E24-653A-4FF9-9521-1C6FB86597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0D632E-720A-4E57-8F18-FB9A91500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479C78-A5F2-40DD-9834-030D8B177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FFF79C0-764E-481A-9AE2-9405855923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87489" y="1268414"/>
            <a:ext cx="9217024" cy="4321174"/>
          </a:xfrm>
        </p:spPr>
        <p:txBody>
          <a:bodyPr anchor="ctr" anchorCtr="0"/>
          <a:lstStyle>
            <a:lvl1pPr marL="0" indent="0">
              <a:buFontTx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0" indent="0" algn="r">
              <a:buFontTx/>
              <a:buNone/>
              <a:defRPr>
                <a:solidFill>
                  <a:schemeClr val="bg1"/>
                </a:solidFill>
              </a:defRPr>
            </a:lvl2pPr>
            <a:lvl3pPr marL="0" indent="0" algn="r">
              <a:buFontTx/>
              <a:buNone/>
              <a:defRPr>
                <a:solidFill>
                  <a:schemeClr val="bg1"/>
                </a:solidFill>
              </a:defRPr>
            </a:lvl3pPr>
            <a:lvl4pPr marL="0" indent="0" algn="r"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r">
              <a:buFontTx/>
              <a:buNone/>
              <a:defRPr>
                <a:solidFill>
                  <a:schemeClr val="bg1"/>
                </a:solidFill>
              </a:defRPr>
            </a:lvl5pPr>
            <a:lvl6pPr marL="0" indent="0" algn="r">
              <a:buFontTx/>
              <a:buNone/>
              <a:defRPr>
                <a:solidFill>
                  <a:schemeClr val="bg1"/>
                </a:solidFill>
              </a:defRPr>
            </a:lvl6pPr>
            <a:lvl7pPr marL="0" indent="0" algn="r">
              <a:buFontTx/>
              <a:buNone/>
              <a:defRPr>
                <a:solidFill>
                  <a:schemeClr val="bg1"/>
                </a:solidFill>
              </a:defRPr>
            </a:lvl7pPr>
            <a:lvl8pPr marL="0" indent="0" algn="r">
              <a:buFontTx/>
              <a:buNone/>
              <a:defRPr>
                <a:solidFill>
                  <a:schemeClr val="bg1"/>
                </a:solidFill>
              </a:defRPr>
            </a:lvl8pPr>
            <a:lvl9pPr marL="0" indent="0" algn="r"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“Add Quote”</a:t>
            </a:r>
          </a:p>
          <a:p>
            <a:pPr lvl="1"/>
            <a:r>
              <a:rPr lang="en-US"/>
              <a:t>Who Said</a:t>
            </a:r>
          </a:p>
        </p:txBody>
      </p:sp>
    </p:spTree>
    <p:extLst>
      <p:ext uri="{BB962C8B-B14F-4D97-AF65-F5344CB8AC3E}">
        <p14:creationId xmlns:p14="http://schemas.microsoft.com/office/powerpoint/2010/main" val="2020218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rt" preserve="1" userDrawn="1">
  <p:cSld name="slide_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F34E1-4A03-4647-AD6A-109BB455893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66763" y="5301208"/>
            <a:ext cx="5185221" cy="936080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240016" y="5301208"/>
            <a:ext cx="5185222" cy="936080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C20DEED-EAB8-426F-889C-7C6756447A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4" y="1916112"/>
            <a:ext cx="10658474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5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766763" y="2565400"/>
            <a:ext cx="10658475" cy="2591792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286822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harts" preserve="1" userDrawn="1">
  <p:cSld name="slide_6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F34E1-4A03-4647-AD6A-109BB455893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66763" y="5301208"/>
            <a:ext cx="5185221" cy="936080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240016" y="5301208"/>
            <a:ext cx="5185222" cy="936080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C20DEED-EAB8-426F-889C-7C6756447A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4" y="1916112"/>
            <a:ext cx="5185220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3ADB2B8F-08C6-4B45-8AFD-B0B3D921FA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0016" y="1916112"/>
            <a:ext cx="5185222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0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766763" y="2565400"/>
            <a:ext cx="5185221" cy="2591792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21" name="Chart Placeholder 7"/>
          <p:cNvSpPr>
            <a:spLocks noGrp="1"/>
          </p:cNvSpPr>
          <p:nvPr>
            <p:ph type="chart" sz="quarter" idx="16"/>
          </p:nvPr>
        </p:nvSpPr>
        <p:spPr>
          <a:xfrm>
            <a:off x="6240016" y="2565400"/>
            <a:ext cx="5185223" cy="2591792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2254715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harts" preserve="1" userDrawn="1">
  <p:cSld name="slide_6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66763" y="5301208"/>
            <a:ext cx="3385021" cy="936080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439816" y="5301208"/>
            <a:ext cx="3312368" cy="936080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8040217" y="5301208"/>
            <a:ext cx="3385021" cy="936080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F34E1-4A03-4647-AD6A-109BB455893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C20DEED-EAB8-426F-889C-7C6756447A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4" y="1916112"/>
            <a:ext cx="3385020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3ADB2B8F-08C6-4B45-8AFD-B0B3D921FA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39816" y="1916112"/>
            <a:ext cx="3312368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3ADB2B8F-08C6-4B45-8AFD-B0B3D921FA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40216" y="1916112"/>
            <a:ext cx="3385022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6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766763" y="2565400"/>
            <a:ext cx="3385021" cy="2591792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27" name="Chart Placeholder 7"/>
          <p:cNvSpPr>
            <a:spLocks noGrp="1"/>
          </p:cNvSpPr>
          <p:nvPr>
            <p:ph type="chart" sz="quarter" idx="18"/>
          </p:nvPr>
        </p:nvSpPr>
        <p:spPr>
          <a:xfrm>
            <a:off x="4439815" y="2565400"/>
            <a:ext cx="3312370" cy="2591792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28" name="Chart Placeholder 7"/>
          <p:cNvSpPr>
            <a:spLocks noGrp="1"/>
          </p:cNvSpPr>
          <p:nvPr>
            <p:ph type="chart" sz="quarter" idx="19"/>
          </p:nvPr>
        </p:nvSpPr>
        <p:spPr>
          <a:xfrm>
            <a:off x="8040217" y="2565400"/>
            <a:ext cx="3385021" cy="2591792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1534213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[DATA] chart" preserve="1" userDrawn="1">
  <p:cSld name="slide_6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0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766763" y="1916113"/>
            <a:ext cx="10658475" cy="4321175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0971589" y="6398726"/>
            <a:ext cx="453649" cy="125898"/>
          </a:xfrm>
        </p:spPr>
        <p:txBody>
          <a:bodyPr wrap="none" bIns="18000" anchor="b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2pPr>
            <a:lvl3pPr marL="53975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3pPr>
            <a:lvl4pPr marL="80645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4pPr>
            <a:lvl5pPr marL="1071562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5pPr>
          </a:lstStyle>
          <a:p>
            <a:pPr lvl="0"/>
            <a:r>
              <a:rPr lang="en-US"/>
              <a:t>Add source</a:t>
            </a:r>
          </a:p>
        </p:txBody>
      </p:sp>
    </p:spTree>
    <p:extLst>
      <p:ext uri="{BB962C8B-B14F-4D97-AF65-F5344CB8AC3E}">
        <p14:creationId xmlns:p14="http://schemas.microsoft.com/office/powerpoint/2010/main" val="3786458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[DATA] Two Charts" preserve="1" userDrawn="1">
  <p:cSld name="slide_6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2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766763" y="1916113"/>
            <a:ext cx="5185221" cy="4321175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13" name="Chart Placeholder 7"/>
          <p:cNvSpPr>
            <a:spLocks noGrp="1"/>
          </p:cNvSpPr>
          <p:nvPr>
            <p:ph type="chart" sz="quarter" idx="19"/>
          </p:nvPr>
        </p:nvSpPr>
        <p:spPr>
          <a:xfrm>
            <a:off x="6240017" y="1916113"/>
            <a:ext cx="5185222" cy="4321175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971589" y="6398726"/>
            <a:ext cx="453649" cy="125898"/>
          </a:xfrm>
        </p:spPr>
        <p:txBody>
          <a:bodyPr wrap="none" bIns="18000" anchor="b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2pPr>
            <a:lvl3pPr marL="53975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3pPr>
            <a:lvl4pPr marL="80645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4pPr>
            <a:lvl5pPr marL="1071562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5pPr>
          </a:lstStyle>
          <a:p>
            <a:pPr lvl="0"/>
            <a:r>
              <a:rPr lang="en-US"/>
              <a:t>Add source</a:t>
            </a:r>
          </a:p>
        </p:txBody>
      </p:sp>
    </p:spTree>
    <p:extLst>
      <p:ext uri="{BB962C8B-B14F-4D97-AF65-F5344CB8AC3E}">
        <p14:creationId xmlns:p14="http://schemas.microsoft.com/office/powerpoint/2010/main" val="3364241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[DATA] Three Charts" preserve="1" userDrawn="1">
  <p:cSld name="slide_6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0971589" y="6398726"/>
            <a:ext cx="453649" cy="125898"/>
          </a:xfrm>
        </p:spPr>
        <p:txBody>
          <a:bodyPr wrap="none" bIns="18000" anchor="b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2pPr>
            <a:lvl3pPr marL="53975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3pPr>
            <a:lvl4pPr marL="80645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4pPr>
            <a:lvl5pPr marL="1071562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12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766763" y="1916113"/>
            <a:ext cx="3385021" cy="4321175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13" name="Chart Placeholder 7"/>
          <p:cNvSpPr>
            <a:spLocks noGrp="1"/>
          </p:cNvSpPr>
          <p:nvPr>
            <p:ph type="chart" sz="quarter" idx="21"/>
          </p:nvPr>
        </p:nvSpPr>
        <p:spPr>
          <a:xfrm>
            <a:off x="4439815" y="1916113"/>
            <a:ext cx="3312370" cy="4321175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14" name="Chart Placeholder 7"/>
          <p:cNvSpPr>
            <a:spLocks noGrp="1"/>
          </p:cNvSpPr>
          <p:nvPr>
            <p:ph type="chart" sz="quarter" idx="22"/>
          </p:nvPr>
        </p:nvSpPr>
        <p:spPr>
          <a:xfrm>
            <a:off x="8040217" y="1916113"/>
            <a:ext cx="3385022" cy="4321175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1810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[DATA] just chart" preserve="1" userDrawn="1">
  <p:cSld name="slide_6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33375"/>
            <a:ext cx="10658475" cy="287338"/>
          </a:xfrm>
        </p:spPr>
        <p:txBody>
          <a:bodyPr/>
          <a:lstStyle>
            <a:lvl1pPr>
              <a:lnSpc>
                <a:spcPct val="100000"/>
              </a:lnSpc>
              <a:defRPr sz="1600">
                <a:latin typeface="+mn-lt"/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766763" y="620713"/>
            <a:ext cx="10658475" cy="5616575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0971589" y="6398726"/>
            <a:ext cx="453649" cy="125898"/>
          </a:xfrm>
        </p:spPr>
        <p:txBody>
          <a:bodyPr wrap="none" bIns="18000" anchor="b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2pPr>
            <a:lvl3pPr marL="53975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3pPr>
            <a:lvl4pPr marL="80645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4pPr>
            <a:lvl5pPr marL="1071562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5pPr>
          </a:lstStyle>
          <a:p>
            <a:pPr lvl="0"/>
            <a:r>
              <a:rPr lang="en-US"/>
              <a:t>Add source</a:t>
            </a:r>
          </a:p>
        </p:txBody>
      </p:sp>
    </p:spTree>
    <p:extLst>
      <p:ext uri="{BB962C8B-B14F-4D97-AF65-F5344CB8AC3E}">
        <p14:creationId xmlns:p14="http://schemas.microsoft.com/office/powerpoint/2010/main" val="98323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ive Charts" preserve="1" userDrawn="1">
  <p:cSld name="slide_66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66763" y="4077072"/>
            <a:ext cx="2016869" cy="2160216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2927648" y="4077072"/>
            <a:ext cx="2016224" cy="2160216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087889" y="4077072"/>
            <a:ext cx="2016223" cy="2160216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F34E1-4A03-4647-AD6A-109BB455893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26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766763" y="1916832"/>
            <a:ext cx="2016869" cy="2016224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27" name="Chart Placeholder 7"/>
          <p:cNvSpPr>
            <a:spLocks noGrp="1"/>
          </p:cNvSpPr>
          <p:nvPr>
            <p:ph type="chart" sz="quarter" idx="18"/>
          </p:nvPr>
        </p:nvSpPr>
        <p:spPr>
          <a:xfrm>
            <a:off x="2927648" y="1916832"/>
            <a:ext cx="2016224" cy="2016224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32" name="Chart Placeholder 7">
            <a:extLst>
              <a:ext uri="{FF2B5EF4-FFF2-40B4-BE49-F238E27FC236}">
                <a16:creationId xmlns:a16="http://schemas.microsoft.com/office/drawing/2014/main" id="{964777E0-583C-4520-8A0B-CD271BF5DDD8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5087888" y="1916832"/>
            <a:ext cx="2016224" cy="2016224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3567A947-C791-4E4C-AA4C-73CA400C3B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248128" y="4077072"/>
            <a:ext cx="2016224" cy="2160216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4" name="Chart Placeholder 7">
            <a:extLst>
              <a:ext uri="{FF2B5EF4-FFF2-40B4-BE49-F238E27FC236}">
                <a16:creationId xmlns:a16="http://schemas.microsoft.com/office/drawing/2014/main" id="{26F0EB33-72A9-4842-827E-CEACD01C28E0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7248126" y="1916832"/>
            <a:ext cx="2016225" cy="2016224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162836B4-87F2-4A05-890B-FF98A7D2796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408368" y="4077072"/>
            <a:ext cx="2016223" cy="2160216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6" name="Chart Placeholder 7">
            <a:extLst>
              <a:ext uri="{FF2B5EF4-FFF2-40B4-BE49-F238E27FC236}">
                <a16:creationId xmlns:a16="http://schemas.microsoft.com/office/drawing/2014/main" id="{8D7A5398-785E-445A-B6AF-E5122BC685E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408367" y="1916832"/>
            <a:ext cx="2016224" cy="2016224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D2A53461-FD13-46D7-9B65-06DFDF2B3E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09" b="13404"/>
          <a:stretch/>
        </p:blipFill>
        <p:spPr>
          <a:xfrm>
            <a:off x="0" y="620688"/>
            <a:ext cx="12192000" cy="5218043"/>
          </a:xfrm>
          <a:prstGeom prst="rect">
            <a:avLst/>
          </a:prstGeom>
        </p:spPr>
      </p:pic>
      <p:sp>
        <p:nvSpPr>
          <p:cNvPr id="38" name="Freeform 6">
            <a:extLst>
              <a:ext uri="{FF2B5EF4-FFF2-40B4-BE49-F238E27FC236}">
                <a16:creationId xmlns:a16="http://schemas.microsoft.com/office/drawing/2014/main" id="{98E75F86-89EF-41AD-A9F1-F217AE88FCF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11020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Content Blue" type="obj" preserve="1">
  <p:cSld name="slide_6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>
            <a:spLocks noEditPoints="1"/>
          </p:cNvSpPr>
          <p:nvPr userDrawn="1"/>
        </p:nvSpPr>
        <p:spPr bwMode="auto">
          <a:xfrm>
            <a:off x="9227862" y="4572704"/>
            <a:ext cx="2964138" cy="2285296"/>
          </a:xfrm>
          <a:custGeom>
            <a:avLst/>
            <a:gdLst>
              <a:gd name="T0" fmla="*/ 1306 w 2943"/>
              <a:gd name="T1" fmla="*/ 86 h 2269"/>
              <a:gd name="T2" fmla="*/ 1146 w 2943"/>
              <a:gd name="T3" fmla="*/ 156 h 2269"/>
              <a:gd name="T4" fmla="*/ 981 w 2943"/>
              <a:gd name="T5" fmla="*/ 272 h 2269"/>
              <a:gd name="T6" fmla="*/ 830 w 2943"/>
              <a:gd name="T7" fmla="*/ 409 h 2269"/>
              <a:gd name="T8" fmla="*/ 2484 w 2943"/>
              <a:gd name="T9" fmla="*/ 196 h 2269"/>
              <a:gd name="T10" fmla="*/ 2662 w 2943"/>
              <a:gd name="T11" fmla="*/ 241 h 2269"/>
              <a:gd name="T12" fmla="*/ 530 w 2943"/>
              <a:gd name="T13" fmla="*/ 749 h 2269"/>
              <a:gd name="T14" fmla="*/ 369 w 2943"/>
              <a:gd name="T15" fmla="*/ 1038 h 2269"/>
              <a:gd name="T16" fmla="*/ 210 w 2943"/>
              <a:gd name="T17" fmla="*/ 1476 h 2269"/>
              <a:gd name="T18" fmla="*/ 103 w 2943"/>
              <a:gd name="T19" fmla="*/ 1864 h 2269"/>
              <a:gd name="T20" fmla="*/ 23 w 2943"/>
              <a:gd name="T21" fmla="*/ 2262 h 2269"/>
              <a:gd name="T22" fmla="*/ 2051 w 2943"/>
              <a:gd name="T23" fmla="*/ 2226 h 2269"/>
              <a:gd name="T24" fmla="*/ 2345 w 2943"/>
              <a:gd name="T25" fmla="*/ 2074 h 2269"/>
              <a:gd name="T26" fmla="*/ 2533 w 2943"/>
              <a:gd name="T27" fmla="*/ 2011 h 2269"/>
              <a:gd name="T28" fmla="*/ 1696 w 2943"/>
              <a:gd name="T29" fmla="*/ 2140 h 2269"/>
              <a:gd name="T30" fmla="*/ 2029 w 2943"/>
              <a:gd name="T31" fmla="*/ 1898 h 2269"/>
              <a:gd name="T32" fmla="*/ 2719 w 2943"/>
              <a:gd name="T33" fmla="*/ 1738 h 2269"/>
              <a:gd name="T34" fmla="*/ 2406 w 2943"/>
              <a:gd name="T35" fmla="*/ 1779 h 2269"/>
              <a:gd name="T36" fmla="*/ 1389 w 2943"/>
              <a:gd name="T37" fmla="*/ 2095 h 2269"/>
              <a:gd name="T38" fmla="*/ 1668 w 2943"/>
              <a:gd name="T39" fmla="*/ 1825 h 2269"/>
              <a:gd name="T40" fmla="*/ 2797 w 2943"/>
              <a:gd name="T41" fmla="*/ 1521 h 2269"/>
              <a:gd name="T42" fmla="*/ 2603 w 2943"/>
              <a:gd name="T43" fmla="*/ 1489 h 2269"/>
              <a:gd name="T44" fmla="*/ 2189 w 2943"/>
              <a:gd name="T45" fmla="*/ 1529 h 2269"/>
              <a:gd name="T46" fmla="*/ 1051 w 2943"/>
              <a:gd name="T47" fmla="*/ 2125 h 2269"/>
              <a:gd name="T48" fmla="*/ 1304 w 2943"/>
              <a:gd name="T49" fmla="*/ 1800 h 2269"/>
              <a:gd name="T50" fmla="*/ 2918 w 2943"/>
              <a:gd name="T51" fmla="*/ 1313 h 2269"/>
              <a:gd name="T52" fmla="*/ 1698 w 2943"/>
              <a:gd name="T53" fmla="*/ 1471 h 2269"/>
              <a:gd name="T54" fmla="*/ 1879 w 2943"/>
              <a:gd name="T55" fmla="*/ 1359 h 2269"/>
              <a:gd name="T56" fmla="*/ 2303 w 2943"/>
              <a:gd name="T57" fmla="*/ 1243 h 2269"/>
              <a:gd name="T58" fmla="*/ 737 w 2943"/>
              <a:gd name="T59" fmla="*/ 2186 h 2269"/>
              <a:gd name="T60" fmla="*/ 936 w 2943"/>
              <a:gd name="T61" fmla="*/ 1843 h 2269"/>
              <a:gd name="T62" fmla="*/ 1196 w 2943"/>
              <a:gd name="T63" fmla="*/ 1538 h 2269"/>
              <a:gd name="T64" fmla="*/ 2823 w 2943"/>
              <a:gd name="T65" fmla="*/ 1075 h 2269"/>
              <a:gd name="T66" fmla="*/ 1551 w 2943"/>
              <a:gd name="T67" fmla="*/ 1234 h 2269"/>
              <a:gd name="T68" fmla="*/ 1724 w 2943"/>
              <a:gd name="T69" fmla="*/ 1134 h 2269"/>
              <a:gd name="T70" fmla="*/ 1908 w 2943"/>
              <a:gd name="T71" fmla="*/ 1044 h 2269"/>
              <a:gd name="T72" fmla="*/ 537 w 2943"/>
              <a:gd name="T73" fmla="*/ 2146 h 2269"/>
              <a:gd name="T74" fmla="*/ 708 w 2943"/>
              <a:gd name="T75" fmla="*/ 1786 h 2269"/>
              <a:gd name="T76" fmla="*/ 929 w 2943"/>
              <a:gd name="T77" fmla="*/ 1457 h 2269"/>
              <a:gd name="T78" fmla="*/ 1144 w 2943"/>
              <a:gd name="T79" fmla="*/ 1206 h 2269"/>
              <a:gd name="T80" fmla="*/ 2641 w 2943"/>
              <a:gd name="T81" fmla="*/ 833 h 2269"/>
              <a:gd name="T82" fmla="*/ 2382 w 2943"/>
              <a:gd name="T83" fmla="*/ 806 h 2269"/>
              <a:gd name="T84" fmla="*/ 2182 w 2943"/>
              <a:gd name="T85" fmla="*/ 771 h 2269"/>
              <a:gd name="T86" fmla="*/ 1803 w 2943"/>
              <a:gd name="T87" fmla="*/ 806 h 2269"/>
              <a:gd name="T88" fmla="*/ 375 w 2943"/>
              <a:gd name="T89" fmla="*/ 2079 h 2269"/>
              <a:gd name="T90" fmla="*/ 524 w 2943"/>
              <a:gd name="T91" fmla="*/ 1716 h 2269"/>
              <a:gd name="T92" fmla="*/ 707 w 2943"/>
              <a:gd name="T93" fmla="*/ 1362 h 2269"/>
              <a:gd name="T94" fmla="*/ 883 w 2943"/>
              <a:gd name="T95" fmla="*/ 1085 h 2269"/>
              <a:gd name="T96" fmla="*/ 2716 w 2943"/>
              <a:gd name="T97" fmla="*/ 657 h 2269"/>
              <a:gd name="T98" fmla="*/ 1110 w 2943"/>
              <a:gd name="T99" fmla="*/ 845 h 2269"/>
              <a:gd name="T100" fmla="*/ 1258 w 2943"/>
              <a:gd name="T101" fmla="*/ 730 h 2269"/>
              <a:gd name="T102" fmla="*/ 1502 w 2943"/>
              <a:gd name="T103" fmla="*/ 591 h 2269"/>
              <a:gd name="T104" fmla="*/ 1876 w 2943"/>
              <a:gd name="T105" fmla="*/ 499 h 2269"/>
              <a:gd name="T106" fmla="*/ 213 w 2943"/>
              <a:gd name="T107" fmla="*/ 2022 h 2269"/>
              <a:gd name="T108" fmla="*/ 336 w 2943"/>
              <a:gd name="T109" fmla="*/ 1645 h 2269"/>
              <a:gd name="T110" fmla="*/ 500 w 2943"/>
              <a:gd name="T111" fmla="*/ 1291 h 2269"/>
              <a:gd name="T112" fmla="*/ 701 w 2943"/>
              <a:gd name="T113" fmla="*/ 944 h 2269"/>
              <a:gd name="T114" fmla="*/ 2732 w 2943"/>
              <a:gd name="T115" fmla="*/ 452 h 2269"/>
              <a:gd name="T116" fmla="*/ 2530 w 2943"/>
              <a:gd name="T117" fmla="*/ 412 h 2269"/>
              <a:gd name="T118" fmla="*/ 982 w 2943"/>
              <a:gd name="T119" fmla="*/ 607 h 2269"/>
              <a:gd name="T120" fmla="*/ 1138 w 2943"/>
              <a:gd name="T121" fmla="*/ 484 h 2269"/>
              <a:gd name="T122" fmla="*/ 1312 w 2943"/>
              <a:gd name="T123" fmla="*/ 388 h 2269"/>
              <a:gd name="T124" fmla="*/ 1517 w 2943"/>
              <a:gd name="T125" fmla="*/ 301 h 2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943" h="2269">
                <a:moveTo>
                  <a:pt x="1502" y="12"/>
                </a:moveTo>
                <a:lnTo>
                  <a:pt x="1505" y="12"/>
                </a:lnTo>
                <a:lnTo>
                  <a:pt x="1507" y="12"/>
                </a:lnTo>
                <a:lnTo>
                  <a:pt x="1510" y="13"/>
                </a:lnTo>
                <a:lnTo>
                  <a:pt x="1512" y="14"/>
                </a:lnTo>
                <a:lnTo>
                  <a:pt x="1514" y="16"/>
                </a:lnTo>
                <a:lnTo>
                  <a:pt x="1515" y="18"/>
                </a:lnTo>
                <a:lnTo>
                  <a:pt x="1517" y="20"/>
                </a:lnTo>
                <a:lnTo>
                  <a:pt x="1517" y="23"/>
                </a:lnTo>
                <a:lnTo>
                  <a:pt x="1517" y="25"/>
                </a:lnTo>
                <a:lnTo>
                  <a:pt x="1517" y="28"/>
                </a:lnTo>
                <a:lnTo>
                  <a:pt x="1515" y="33"/>
                </a:lnTo>
                <a:lnTo>
                  <a:pt x="1513" y="34"/>
                </a:lnTo>
                <a:lnTo>
                  <a:pt x="1511" y="36"/>
                </a:lnTo>
                <a:lnTo>
                  <a:pt x="1509" y="37"/>
                </a:lnTo>
                <a:lnTo>
                  <a:pt x="1507" y="38"/>
                </a:lnTo>
                <a:lnTo>
                  <a:pt x="1504" y="38"/>
                </a:lnTo>
                <a:lnTo>
                  <a:pt x="1501" y="38"/>
                </a:lnTo>
                <a:lnTo>
                  <a:pt x="1499" y="37"/>
                </a:lnTo>
                <a:lnTo>
                  <a:pt x="1496" y="35"/>
                </a:lnTo>
                <a:lnTo>
                  <a:pt x="1495" y="34"/>
                </a:lnTo>
                <a:lnTo>
                  <a:pt x="1493" y="32"/>
                </a:lnTo>
                <a:lnTo>
                  <a:pt x="1492" y="29"/>
                </a:lnTo>
                <a:lnTo>
                  <a:pt x="1491" y="27"/>
                </a:lnTo>
                <a:lnTo>
                  <a:pt x="1491" y="24"/>
                </a:lnTo>
                <a:lnTo>
                  <a:pt x="1491" y="22"/>
                </a:lnTo>
                <a:lnTo>
                  <a:pt x="1493" y="17"/>
                </a:lnTo>
                <a:lnTo>
                  <a:pt x="1495" y="15"/>
                </a:lnTo>
                <a:lnTo>
                  <a:pt x="1497" y="14"/>
                </a:lnTo>
                <a:lnTo>
                  <a:pt x="1499" y="13"/>
                </a:lnTo>
                <a:lnTo>
                  <a:pt x="1502" y="12"/>
                </a:lnTo>
                <a:close/>
                <a:moveTo>
                  <a:pt x="1437" y="24"/>
                </a:moveTo>
                <a:lnTo>
                  <a:pt x="1442" y="24"/>
                </a:lnTo>
                <a:lnTo>
                  <a:pt x="1444" y="25"/>
                </a:lnTo>
                <a:lnTo>
                  <a:pt x="1447" y="26"/>
                </a:lnTo>
                <a:lnTo>
                  <a:pt x="1448" y="28"/>
                </a:lnTo>
                <a:lnTo>
                  <a:pt x="1450" y="30"/>
                </a:lnTo>
                <a:lnTo>
                  <a:pt x="1451" y="32"/>
                </a:lnTo>
                <a:lnTo>
                  <a:pt x="1452" y="34"/>
                </a:lnTo>
                <a:lnTo>
                  <a:pt x="1452" y="37"/>
                </a:lnTo>
                <a:lnTo>
                  <a:pt x="1452" y="39"/>
                </a:lnTo>
                <a:lnTo>
                  <a:pt x="1452" y="42"/>
                </a:lnTo>
                <a:lnTo>
                  <a:pt x="1450" y="44"/>
                </a:lnTo>
                <a:lnTo>
                  <a:pt x="1449" y="46"/>
                </a:lnTo>
                <a:lnTo>
                  <a:pt x="1447" y="48"/>
                </a:lnTo>
                <a:lnTo>
                  <a:pt x="1445" y="49"/>
                </a:lnTo>
                <a:lnTo>
                  <a:pt x="1442" y="50"/>
                </a:lnTo>
                <a:lnTo>
                  <a:pt x="1437" y="50"/>
                </a:lnTo>
                <a:lnTo>
                  <a:pt x="1434" y="49"/>
                </a:lnTo>
                <a:lnTo>
                  <a:pt x="1432" y="48"/>
                </a:lnTo>
                <a:lnTo>
                  <a:pt x="1430" y="47"/>
                </a:lnTo>
                <a:lnTo>
                  <a:pt x="1428" y="45"/>
                </a:lnTo>
                <a:lnTo>
                  <a:pt x="1427" y="42"/>
                </a:lnTo>
                <a:lnTo>
                  <a:pt x="1426" y="40"/>
                </a:lnTo>
                <a:lnTo>
                  <a:pt x="1426" y="37"/>
                </a:lnTo>
                <a:lnTo>
                  <a:pt x="1426" y="35"/>
                </a:lnTo>
                <a:lnTo>
                  <a:pt x="1427" y="32"/>
                </a:lnTo>
                <a:lnTo>
                  <a:pt x="1428" y="30"/>
                </a:lnTo>
                <a:lnTo>
                  <a:pt x="1430" y="28"/>
                </a:lnTo>
                <a:lnTo>
                  <a:pt x="1432" y="26"/>
                </a:lnTo>
                <a:lnTo>
                  <a:pt x="1434" y="25"/>
                </a:lnTo>
                <a:lnTo>
                  <a:pt x="1436" y="24"/>
                </a:lnTo>
                <a:lnTo>
                  <a:pt x="1437" y="24"/>
                </a:lnTo>
                <a:close/>
                <a:moveTo>
                  <a:pt x="1568" y="4"/>
                </a:moveTo>
                <a:lnTo>
                  <a:pt x="1571" y="4"/>
                </a:lnTo>
                <a:lnTo>
                  <a:pt x="1573" y="4"/>
                </a:lnTo>
                <a:lnTo>
                  <a:pt x="1576" y="5"/>
                </a:lnTo>
                <a:lnTo>
                  <a:pt x="1578" y="7"/>
                </a:lnTo>
                <a:lnTo>
                  <a:pt x="1580" y="9"/>
                </a:lnTo>
                <a:lnTo>
                  <a:pt x="1582" y="11"/>
                </a:lnTo>
                <a:lnTo>
                  <a:pt x="1583" y="13"/>
                </a:lnTo>
                <a:lnTo>
                  <a:pt x="1583" y="16"/>
                </a:lnTo>
                <a:lnTo>
                  <a:pt x="1583" y="18"/>
                </a:lnTo>
                <a:lnTo>
                  <a:pt x="1583" y="21"/>
                </a:lnTo>
                <a:lnTo>
                  <a:pt x="1582" y="23"/>
                </a:lnTo>
                <a:lnTo>
                  <a:pt x="1580" y="25"/>
                </a:lnTo>
                <a:lnTo>
                  <a:pt x="1577" y="28"/>
                </a:lnTo>
                <a:lnTo>
                  <a:pt x="1575" y="29"/>
                </a:lnTo>
                <a:lnTo>
                  <a:pt x="1572" y="30"/>
                </a:lnTo>
                <a:lnTo>
                  <a:pt x="1569" y="30"/>
                </a:lnTo>
                <a:lnTo>
                  <a:pt x="1566" y="29"/>
                </a:lnTo>
                <a:lnTo>
                  <a:pt x="1564" y="28"/>
                </a:lnTo>
                <a:lnTo>
                  <a:pt x="1562" y="27"/>
                </a:lnTo>
                <a:lnTo>
                  <a:pt x="1560" y="25"/>
                </a:lnTo>
                <a:lnTo>
                  <a:pt x="1558" y="23"/>
                </a:lnTo>
                <a:lnTo>
                  <a:pt x="1557" y="21"/>
                </a:lnTo>
                <a:lnTo>
                  <a:pt x="1557" y="18"/>
                </a:lnTo>
                <a:lnTo>
                  <a:pt x="1557" y="16"/>
                </a:lnTo>
                <a:lnTo>
                  <a:pt x="1557" y="13"/>
                </a:lnTo>
                <a:lnTo>
                  <a:pt x="1558" y="11"/>
                </a:lnTo>
                <a:lnTo>
                  <a:pt x="1559" y="9"/>
                </a:lnTo>
                <a:lnTo>
                  <a:pt x="1563" y="6"/>
                </a:lnTo>
                <a:lnTo>
                  <a:pt x="1565" y="5"/>
                </a:lnTo>
                <a:lnTo>
                  <a:pt x="1568" y="4"/>
                </a:lnTo>
                <a:close/>
                <a:moveTo>
                  <a:pt x="1373" y="41"/>
                </a:moveTo>
                <a:lnTo>
                  <a:pt x="1378" y="41"/>
                </a:lnTo>
                <a:lnTo>
                  <a:pt x="1380" y="41"/>
                </a:lnTo>
                <a:lnTo>
                  <a:pt x="1382" y="42"/>
                </a:lnTo>
                <a:lnTo>
                  <a:pt x="1384" y="44"/>
                </a:lnTo>
                <a:lnTo>
                  <a:pt x="1386" y="46"/>
                </a:lnTo>
                <a:lnTo>
                  <a:pt x="1387" y="48"/>
                </a:lnTo>
                <a:lnTo>
                  <a:pt x="1388" y="50"/>
                </a:lnTo>
                <a:lnTo>
                  <a:pt x="1388" y="53"/>
                </a:lnTo>
                <a:lnTo>
                  <a:pt x="1388" y="55"/>
                </a:lnTo>
                <a:lnTo>
                  <a:pt x="1388" y="58"/>
                </a:lnTo>
                <a:lnTo>
                  <a:pt x="1387" y="60"/>
                </a:lnTo>
                <a:lnTo>
                  <a:pt x="1385" y="62"/>
                </a:lnTo>
                <a:lnTo>
                  <a:pt x="1384" y="64"/>
                </a:lnTo>
                <a:lnTo>
                  <a:pt x="1381" y="65"/>
                </a:lnTo>
                <a:lnTo>
                  <a:pt x="1379" y="66"/>
                </a:lnTo>
                <a:lnTo>
                  <a:pt x="1377" y="67"/>
                </a:lnTo>
                <a:lnTo>
                  <a:pt x="1373" y="67"/>
                </a:lnTo>
                <a:lnTo>
                  <a:pt x="1370" y="66"/>
                </a:lnTo>
                <a:lnTo>
                  <a:pt x="1368" y="65"/>
                </a:lnTo>
                <a:lnTo>
                  <a:pt x="1366" y="63"/>
                </a:lnTo>
                <a:lnTo>
                  <a:pt x="1365" y="62"/>
                </a:lnTo>
                <a:lnTo>
                  <a:pt x="1363" y="60"/>
                </a:lnTo>
                <a:lnTo>
                  <a:pt x="1362" y="57"/>
                </a:lnTo>
                <a:lnTo>
                  <a:pt x="1362" y="55"/>
                </a:lnTo>
                <a:lnTo>
                  <a:pt x="1362" y="52"/>
                </a:lnTo>
                <a:lnTo>
                  <a:pt x="1363" y="50"/>
                </a:lnTo>
                <a:lnTo>
                  <a:pt x="1364" y="47"/>
                </a:lnTo>
                <a:lnTo>
                  <a:pt x="1365" y="45"/>
                </a:lnTo>
                <a:lnTo>
                  <a:pt x="1367" y="43"/>
                </a:lnTo>
                <a:lnTo>
                  <a:pt x="1369" y="42"/>
                </a:lnTo>
                <a:lnTo>
                  <a:pt x="1371" y="41"/>
                </a:lnTo>
                <a:lnTo>
                  <a:pt x="1373" y="41"/>
                </a:lnTo>
                <a:close/>
                <a:moveTo>
                  <a:pt x="1634" y="1"/>
                </a:moveTo>
                <a:lnTo>
                  <a:pt x="1636" y="0"/>
                </a:lnTo>
                <a:lnTo>
                  <a:pt x="1638" y="1"/>
                </a:lnTo>
                <a:lnTo>
                  <a:pt x="1641" y="1"/>
                </a:lnTo>
                <a:lnTo>
                  <a:pt x="1643" y="3"/>
                </a:lnTo>
                <a:lnTo>
                  <a:pt x="1645" y="4"/>
                </a:lnTo>
                <a:lnTo>
                  <a:pt x="1647" y="6"/>
                </a:lnTo>
                <a:lnTo>
                  <a:pt x="1648" y="8"/>
                </a:lnTo>
                <a:lnTo>
                  <a:pt x="1649" y="11"/>
                </a:lnTo>
                <a:lnTo>
                  <a:pt x="1649" y="13"/>
                </a:lnTo>
                <a:lnTo>
                  <a:pt x="1649" y="16"/>
                </a:lnTo>
                <a:lnTo>
                  <a:pt x="1648" y="18"/>
                </a:lnTo>
                <a:lnTo>
                  <a:pt x="1647" y="20"/>
                </a:lnTo>
                <a:lnTo>
                  <a:pt x="1646" y="22"/>
                </a:lnTo>
                <a:lnTo>
                  <a:pt x="1645" y="24"/>
                </a:lnTo>
                <a:lnTo>
                  <a:pt x="1643" y="25"/>
                </a:lnTo>
                <a:lnTo>
                  <a:pt x="1641" y="26"/>
                </a:lnTo>
                <a:lnTo>
                  <a:pt x="1638" y="27"/>
                </a:lnTo>
                <a:lnTo>
                  <a:pt x="1636" y="27"/>
                </a:lnTo>
                <a:lnTo>
                  <a:pt x="1633" y="27"/>
                </a:lnTo>
                <a:lnTo>
                  <a:pt x="1631" y="26"/>
                </a:lnTo>
                <a:lnTo>
                  <a:pt x="1629" y="25"/>
                </a:lnTo>
                <a:lnTo>
                  <a:pt x="1627" y="23"/>
                </a:lnTo>
                <a:lnTo>
                  <a:pt x="1625" y="21"/>
                </a:lnTo>
                <a:lnTo>
                  <a:pt x="1624" y="19"/>
                </a:lnTo>
                <a:lnTo>
                  <a:pt x="1623" y="17"/>
                </a:lnTo>
                <a:lnTo>
                  <a:pt x="1623" y="14"/>
                </a:lnTo>
                <a:lnTo>
                  <a:pt x="1623" y="11"/>
                </a:lnTo>
                <a:lnTo>
                  <a:pt x="1623" y="9"/>
                </a:lnTo>
                <a:lnTo>
                  <a:pt x="1624" y="7"/>
                </a:lnTo>
                <a:lnTo>
                  <a:pt x="1626" y="5"/>
                </a:lnTo>
                <a:lnTo>
                  <a:pt x="1627" y="4"/>
                </a:lnTo>
                <a:lnTo>
                  <a:pt x="1629" y="2"/>
                </a:lnTo>
                <a:lnTo>
                  <a:pt x="1631" y="1"/>
                </a:lnTo>
                <a:lnTo>
                  <a:pt x="1634" y="1"/>
                </a:lnTo>
                <a:close/>
                <a:moveTo>
                  <a:pt x="1310" y="61"/>
                </a:moveTo>
                <a:lnTo>
                  <a:pt x="1315" y="61"/>
                </a:lnTo>
                <a:lnTo>
                  <a:pt x="1317" y="62"/>
                </a:lnTo>
                <a:lnTo>
                  <a:pt x="1319" y="63"/>
                </a:lnTo>
                <a:lnTo>
                  <a:pt x="1321" y="64"/>
                </a:lnTo>
                <a:lnTo>
                  <a:pt x="1322" y="66"/>
                </a:lnTo>
                <a:lnTo>
                  <a:pt x="1324" y="67"/>
                </a:lnTo>
                <a:lnTo>
                  <a:pt x="1325" y="70"/>
                </a:lnTo>
                <a:lnTo>
                  <a:pt x="1326" y="75"/>
                </a:lnTo>
                <a:lnTo>
                  <a:pt x="1325" y="77"/>
                </a:lnTo>
                <a:lnTo>
                  <a:pt x="1324" y="80"/>
                </a:lnTo>
                <a:lnTo>
                  <a:pt x="1323" y="82"/>
                </a:lnTo>
                <a:lnTo>
                  <a:pt x="1321" y="84"/>
                </a:lnTo>
                <a:lnTo>
                  <a:pt x="1319" y="85"/>
                </a:lnTo>
                <a:lnTo>
                  <a:pt x="1317" y="87"/>
                </a:lnTo>
                <a:lnTo>
                  <a:pt x="1315" y="87"/>
                </a:lnTo>
                <a:lnTo>
                  <a:pt x="1310" y="87"/>
                </a:lnTo>
                <a:lnTo>
                  <a:pt x="1308" y="87"/>
                </a:lnTo>
                <a:lnTo>
                  <a:pt x="1306" y="86"/>
                </a:lnTo>
                <a:lnTo>
                  <a:pt x="1304" y="84"/>
                </a:lnTo>
                <a:lnTo>
                  <a:pt x="1302" y="83"/>
                </a:lnTo>
                <a:lnTo>
                  <a:pt x="1301" y="81"/>
                </a:lnTo>
                <a:lnTo>
                  <a:pt x="1300" y="79"/>
                </a:lnTo>
                <a:lnTo>
                  <a:pt x="1299" y="73"/>
                </a:lnTo>
                <a:lnTo>
                  <a:pt x="1300" y="71"/>
                </a:lnTo>
                <a:lnTo>
                  <a:pt x="1300" y="69"/>
                </a:lnTo>
                <a:lnTo>
                  <a:pt x="1302" y="66"/>
                </a:lnTo>
                <a:lnTo>
                  <a:pt x="1303" y="64"/>
                </a:lnTo>
                <a:lnTo>
                  <a:pt x="1305" y="63"/>
                </a:lnTo>
                <a:lnTo>
                  <a:pt x="1308" y="62"/>
                </a:lnTo>
                <a:lnTo>
                  <a:pt x="1310" y="61"/>
                </a:lnTo>
                <a:close/>
                <a:moveTo>
                  <a:pt x="1700" y="2"/>
                </a:moveTo>
                <a:lnTo>
                  <a:pt x="1703" y="2"/>
                </a:lnTo>
                <a:lnTo>
                  <a:pt x="1705" y="2"/>
                </a:lnTo>
                <a:lnTo>
                  <a:pt x="1708" y="3"/>
                </a:lnTo>
                <a:lnTo>
                  <a:pt x="1710" y="4"/>
                </a:lnTo>
                <a:lnTo>
                  <a:pt x="1712" y="6"/>
                </a:lnTo>
                <a:lnTo>
                  <a:pt x="1713" y="8"/>
                </a:lnTo>
                <a:lnTo>
                  <a:pt x="1715" y="10"/>
                </a:lnTo>
                <a:lnTo>
                  <a:pt x="1715" y="13"/>
                </a:lnTo>
                <a:lnTo>
                  <a:pt x="1715" y="16"/>
                </a:lnTo>
                <a:lnTo>
                  <a:pt x="1715" y="18"/>
                </a:lnTo>
                <a:lnTo>
                  <a:pt x="1714" y="20"/>
                </a:lnTo>
                <a:lnTo>
                  <a:pt x="1712" y="24"/>
                </a:lnTo>
                <a:lnTo>
                  <a:pt x="1710" y="25"/>
                </a:lnTo>
                <a:lnTo>
                  <a:pt x="1709" y="26"/>
                </a:lnTo>
                <a:lnTo>
                  <a:pt x="1707" y="27"/>
                </a:lnTo>
                <a:lnTo>
                  <a:pt x="1704" y="28"/>
                </a:lnTo>
                <a:lnTo>
                  <a:pt x="1701" y="28"/>
                </a:lnTo>
                <a:lnTo>
                  <a:pt x="1699" y="28"/>
                </a:lnTo>
                <a:lnTo>
                  <a:pt x="1696" y="27"/>
                </a:lnTo>
                <a:lnTo>
                  <a:pt x="1694" y="25"/>
                </a:lnTo>
                <a:lnTo>
                  <a:pt x="1692" y="24"/>
                </a:lnTo>
                <a:lnTo>
                  <a:pt x="1691" y="22"/>
                </a:lnTo>
                <a:lnTo>
                  <a:pt x="1690" y="19"/>
                </a:lnTo>
                <a:lnTo>
                  <a:pt x="1689" y="17"/>
                </a:lnTo>
                <a:lnTo>
                  <a:pt x="1689" y="14"/>
                </a:lnTo>
                <a:lnTo>
                  <a:pt x="1689" y="12"/>
                </a:lnTo>
                <a:lnTo>
                  <a:pt x="1690" y="10"/>
                </a:lnTo>
                <a:lnTo>
                  <a:pt x="1692" y="6"/>
                </a:lnTo>
                <a:lnTo>
                  <a:pt x="1694" y="5"/>
                </a:lnTo>
                <a:lnTo>
                  <a:pt x="1696" y="3"/>
                </a:lnTo>
                <a:lnTo>
                  <a:pt x="1698" y="2"/>
                </a:lnTo>
                <a:lnTo>
                  <a:pt x="1700" y="2"/>
                </a:lnTo>
                <a:close/>
                <a:moveTo>
                  <a:pt x="1249" y="85"/>
                </a:moveTo>
                <a:lnTo>
                  <a:pt x="1253" y="85"/>
                </a:lnTo>
                <a:lnTo>
                  <a:pt x="1255" y="86"/>
                </a:lnTo>
                <a:lnTo>
                  <a:pt x="1257" y="87"/>
                </a:lnTo>
                <a:lnTo>
                  <a:pt x="1259" y="88"/>
                </a:lnTo>
                <a:lnTo>
                  <a:pt x="1261" y="89"/>
                </a:lnTo>
                <a:lnTo>
                  <a:pt x="1263" y="93"/>
                </a:lnTo>
                <a:lnTo>
                  <a:pt x="1264" y="96"/>
                </a:lnTo>
                <a:lnTo>
                  <a:pt x="1264" y="98"/>
                </a:lnTo>
                <a:lnTo>
                  <a:pt x="1264" y="101"/>
                </a:lnTo>
                <a:lnTo>
                  <a:pt x="1263" y="103"/>
                </a:lnTo>
                <a:lnTo>
                  <a:pt x="1262" y="106"/>
                </a:lnTo>
                <a:lnTo>
                  <a:pt x="1260" y="108"/>
                </a:lnTo>
                <a:lnTo>
                  <a:pt x="1259" y="109"/>
                </a:lnTo>
                <a:lnTo>
                  <a:pt x="1256" y="111"/>
                </a:lnTo>
                <a:lnTo>
                  <a:pt x="1253" y="112"/>
                </a:lnTo>
                <a:lnTo>
                  <a:pt x="1249" y="112"/>
                </a:lnTo>
                <a:lnTo>
                  <a:pt x="1247" y="111"/>
                </a:lnTo>
                <a:lnTo>
                  <a:pt x="1245" y="110"/>
                </a:lnTo>
                <a:lnTo>
                  <a:pt x="1243" y="109"/>
                </a:lnTo>
                <a:lnTo>
                  <a:pt x="1241" y="108"/>
                </a:lnTo>
                <a:lnTo>
                  <a:pt x="1239" y="104"/>
                </a:lnTo>
                <a:lnTo>
                  <a:pt x="1238" y="101"/>
                </a:lnTo>
                <a:lnTo>
                  <a:pt x="1238" y="99"/>
                </a:lnTo>
                <a:lnTo>
                  <a:pt x="1238" y="96"/>
                </a:lnTo>
                <a:lnTo>
                  <a:pt x="1239" y="94"/>
                </a:lnTo>
                <a:lnTo>
                  <a:pt x="1240" y="91"/>
                </a:lnTo>
                <a:lnTo>
                  <a:pt x="1241" y="89"/>
                </a:lnTo>
                <a:lnTo>
                  <a:pt x="1243" y="88"/>
                </a:lnTo>
                <a:lnTo>
                  <a:pt x="1246" y="86"/>
                </a:lnTo>
                <a:lnTo>
                  <a:pt x="1249" y="85"/>
                </a:lnTo>
                <a:close/>
                <a:moveTo>
                  <a:pt x="1766" y="8"/>
                </a:moveTo>
                <a:lnTo>
                  <a:pt x="1770" y="8"/>
                </a:lnTo>
                <a:lnTo>
                  <a:pt x="1772" y="8"/>
                </a:lnTo>
                <a:lnTo>
                  <a:pt x="1775" y="9"/>
                </a:lnTo>
                <a:lnTo>
                  <a:pt x="1777" y="11"/>
                </a:lnTo>
                <a:lnTo>
                  <a:pt x="1778" y="13"/>
                </a:lnTo>
                <a:lnTo>
                  <a:pt x="1780" y="15"/>
                </a:lnTo>
                <a:lnTo>
                  <a:pt x="1781" y="17"/>
                </a:lnTo>
                <a:lnTo>
                  <a:pt x="1781" y="20"/>
                </a:lnTo>
                <a:lnTo>
                  <a:pt x="1781" y="22"/>
                </a:lnTo>
                <a:lnTo>
                  <a:pt x="1781" y="24"/>
                </a:lnTo>
                <a:lnTo>
                  <a:pt x="1780" y="26"/>
                </a:lnTo>
                <a:lnTo>
                  <a:pt x="1779" y="28"/>
                </a:lnTo>
                <a:lnTo>
                  <a:pt x="1778" y="30"/>
                </a:lnTo>
                <a:lnTo>
                  <a:pt x="1774" y="32"/>
                </a:lnTo>
                <a:lnTo>
                  <a:pt x="1772" y="33"/>
                </a:lnTo>
                <a:lnTo>
                  <a:pt x="1770" y="34"/>
                </a:lnTo>
                <a:lnTo>
                  <a:pt x="1766" y="34"/>
                </a:lnTo>
                <a:lnTo>
                  <a:pt x="1764" y="33"/>
                </a:lnTo>
                <a:lnTo>
                  <a:pt x="1761" y="32"/>
                </a:lnTo>
                <a:lnTo>
                  <a:pt x="1759" y="31"/>
                </a:lnTo>
                <a:lnTo>
                  <a:pt x="1758" y="29"/>
                </a:lnTo>
                <a:lnTo>
                  <a:pt x="1756" y="27"/>
                </a:lnTo>
                <a:lnTo>
                  <a:pt x="1755" y="24"/>
                </a:lnTo>
                <a:lnTo>
                  <a:pt x="1755" y="22"/>
                </a:lnTo>
                <a:lnTo>
                  <a:pt x="1755" y="19"/>
                </a:lnTo>
                <a:lnTo>
                  <a:pt x="1755" y="17"/>
                </a:lnTo>
                <a:lnTo>
                  <a:pt x="1756" y="15"/>
                </a:lnTo>
                <a:lnTo>
                  <a:pt x="1757" y="13"/>
                </a:lnTo>
                <a:lnTo>
                  <a:pt x="1758" y="11"/>
                </a:lnTo>
                <a:lnTo>
                  <a:pt x="1762" y="9"/>
                </a:lnTo>
                <a:lnTo>
                  <a:pt x="1764" y="8"/>
                </a:lnTo>
                <a:lnTo>
                  <a:pt x="1766" y="8"/>
                </a:lnTo>
                <a:close/>
                <a:moveTo>
                  <a:pt x="1189" y="113"/>
                </a:moveTo>
                <a:lnTo>
                  <a:pt x="1193" y="113"/>
                </a:lnTo>
                <a:lnTo>
                  <a:pt x="1195" y="114"/>
                </a:lnTo>
                <a:lnTo>
                  <a:pt x="1197" y="115"/>
                </a:lnTo>
                <a:lnTo>
                  <a:pt x="1199" y="116"/>
                </a:lnTo>
                <a:lnTo>
                  <a:pt x="1200" y="117"/>
                </a:lnTo>
                <a:lnTo>
                  <a:pt x="1202" y="119"/>
                </a:lnTo>
                <a:lnTo>
                  <a:pt x="1203" y="120"/>
                </a:lnTo>
                <a:lnTo>
                  <a:pt x="1204" y="126"/>
                </a:lnTo>
                <a:lnTo>
                  <a:pt x="1204" y="128"/>
                </a:lnTo>
                <a:lnTo>
                  <a:pt x="1204" y="131"/>
                </a:lnTo>
                <a:lnTo>
                  <a:pt x="1203" y="133"/>
                </a:lnTo>
                <a:lnTo>
                  <a:pt x="1201" y="135"/>
                </a:lnTo>
                <a:lnTo>
                  <a:pt x="1199" y="137"/>
                </a:lnTo>
                <a:lnTo>
                  <a:pt x="1197" y="138"/>
                </a:lnTo>
                <a:lnTo>
                  <a:pt x="1193" y="139"/>
                </a:lnTo>
                <a:lnTo>
                  <a:pt x="1189" y="139"/>
                </a:lnTo>
                <a:lnTo>
                  <a:pt x="1187" y="139"/>
                </a:lnTo>
                <a:lnTo>
                  <a:pt x="1185" y="138"/>
                </a:lnTo>
                <a:lnTo>
                  <a:pt x="1183" y="137"/>
                </a:lnTo>
                <a:lnTo>
                  <a:pt x="1182" y="136"/>
                </a:lnTo>
                <a:lnTo>
                  <a:pt x="1180" y="134"/>
                </a:lnTo>
                <a:lnTo>
                  <a:pt x="1179" y="132"/>
                </a:lnTo>
                <a:lnTo>
                  <a:pt x="1178" y="130"/>
                </a:lnTo>
                <a:lnTo>
                  <a:pt x="1178" y="127"/>
                </a:lnTo>
                <a:lnTo>
                  <a:pt x="1178" y="125"/>
                </a:lnTo>
                <a:lnTo>
                  <a:pt x="1178" y="122"/>
                </a:lnTo>
                <a:lnTo>
                  <a:pt x="1179" y="120"/>
                </a:lnTo>
                <a:lnTo>
                  <a:pt x="1181" y="118"/>
                </a:lnTo>
                <a:lnTo>
                  <a:pt x="1183" y="116"/>
                </a:lnTo>
                <a:lnTo>
                  <a:pt x="1185" y="115"/>
                </a:lnTo>
                <a:lnTo>
                  <a:pt x="1189" y="113"/>
                </a:lnTo>
                <a:close/>
                <a:moveTo>
                  <a:pt x="1831" y="18"/>
                </a:moveTo>
                <a:lnTo>
                  <a:pt x="1836" y="18"/>
                </a:lnTo>
                <a:lnTo>
                  <a:pt x="1838" y="19"/>
                </a:lnTo>
                <a:lnTo>
                  <a:pt x="1841" y="20"/>
                </a:lnTo>
                <a:lnTo>
                  <a:pt x="1843" y="22"/>
                </a:lnTo>
                <a:lnTo>
                  <a:pt x="1844" y="23"/>
                </a:lnTo>
                <a:lnTo>
                  <a:pt x="1845" y="26"/>
                </a:lnTo>
                <a:lnTo>
                  <a:pt x="1846" y="28"/>
                </a:lnTo>
                <a:lnTo>
                  <a:pt x="1847" y="31"/>
                </a:lnTo>
                <a:lnTo>
                  <a:pt x="1846" y="33"/>
                </a:lnTo>
                <a:lnTo>
                  <a:pt x="1846" y="35"/>
                </a:lnTo>
                <a:lnTo>
                  <a:pt x="1845" y="37"/>
                </a:lnTo>
                <a:lnTo>
                  <a:pt x="1843" y="40"/>
                </a:lnTo>
                <a:lnTo>
                  <a:pt x="1841" y="42"/>
                </a:lnTo>
                <a:lnTo>
                  <a:pt x="1839" y="43"/>
                </a:lnTo>
                <a:lnTo>
                  <a:pt x="1836" y="44"/>
                </a:lnTo>
                <a:lnTo>
                  <a:pt x="1831" y="44"/>
                </a:lnTo>
                <a:lnTo>
                  <a:pt x="1828" y="43"/>
                </a:lnTo>
                <a:lnTo>
                  <a:pt x="1826" y="42"/>
                </a:lnTo>
                <a:lnTo>
                  <a:pt x="1824" y="40"/>
                </a:lnTo>
                <a:lnTo>
                  <a:pt x="1822" y="38"/>
                </a:lnTo>
                <a:lnTo>
                  <a:pt x="1821" y="36"/>
                </a:lnTo>
                <a:lnTo>
                  <a:pt x="1820" y="34"/>
                </a:lnTo>
                <a:lnTo>
                  <a:pt x="1820" y="31"/>
                </a:lnTo>
                <a:lnTo>
                  <a:pt x="1820" y="28"/>
                </a:lnTo>
                <a:lnTo>
                  <a:pt x="1821" y="26"/>
                </a:lnTo>
                <a:lnTo>
                  <a:pt x="1822" y="25"/>
                </a:lnTo>
                <a:lnTo>
                  <a:pt x="1824" y="21"/>
                </a:lnTo>
                <a:lnTo>
                  <a:pt x="1826" y="20"/>
                </a:lnTo>
                <a:lnTo>
                  <a:pt x="1827" y="19"/>
                </a:lnTo>
                <a:lnTo>
                  <a:pt x="1831" y="18"/>
                </a:lnTo>
                <a:close/>
                <a:moveTo>
                  <a:pt x="1130" y="145"/>
                </a:moveTo>
                <a:lnTo>
                  <a:pt x="1134" y="144"/>
                </a:lnTo>
                <a:lnTo>
                  <a:pt x="1138" y="146"/>
                </a:lnTo>
                <a:lnTo>
                  <a:pt x="1140" y="147"/>
                </a:lnTo>
                <a:lnTo>
                  <a:pt x="1142" y="148"/>
                </a:lnTo>
                <a:lnTo>
                  <a:pt x="1143" y="149"/>
                </a:lnTo>
                <a:lnTo>
                  <a:pt x="1144" y="151"/>
                </a:lnTo>
                <a:lnTo>
                  <a:pt x="1145" y="153"/>
                </a:lnTo>
                <a:lnTo>
                  <a:pt x="1146" y="156"/>
                </a:lnTo>
                <a:lnTo>
                  <a:pt x="1146" y="159"/>
                </a:lnTo>
                <a:lnTo>
                  <a:pt x="1145" y="161"/>
                </a:lnTo>
                <a:lnTo>
                  <a:pt x="1145" y="163"/>
                </a:lnTo>
                <a:lnTo>
                  <a:pt x="1143" y="166"/>
                </a:lnTo>
                <a:lnTo>
                  <a:pt x="1141" y="168"/>
                </a:lnTo>
                <a:lnTo>
                  <a:pt x="1139" y="169"/>
                </a:lnTo>
                <a:lnTo>
                  <a:pt x="1137" y="170"/>
                </a:lnTo>
                <a:lnTo>
                  <a:pt x="1135" y="171"/>
                </a:lnTo>
                <a:lnTo>
                  <a:pt x="1131" y="171"/>
                </a:lnTo>
                <a:lnTo>
                  <a:pt x="1127" y="170"/>
                </a:lnTo>
                <a:lnTo>
                  <a:pt x="1125" y="169"/>
                </a:lnTo>
                <a:lnTo>
                  <a:pt x="1124" y="167"/>
                </a:lnTo>
                <a:lnTo>
                  <a:pt x="1122" y="166"/>
                </a:lnTo>
                <a:lnTo>
                  <a:pt x="1121" y="164"/>
                </a:lnTo>
                <a:lnTo>
                  <a:pt x="1120" y="162"/>
                </a:lnTo>
                <a:lnTo>
                  <a:pt x="1120" y="159"/>
                </a:lnTo>
                <a:lnTo>
                  <a:pt x="1120" y="157"/>
                </a:lnTo>
                <a:lnTo>
                  <a:pt x="1120" y="154"/>
                </a:lnTo>
                <a:lnTo>
                  <a:pt x="1121" y="152"/>
                </a:lnTo>
                <a:lnTo>
                  <a:pt x="1122" y="150"/>
                </a:lnTo>
                <a:lnTo>
                  <a:pt x="1124" y="148"/>
                </a:lnTo>
                <a:lnTo>
                  <a:pt x="1126" y="146"/>
                </a:lnTo>
                <a:lnTo>
                  <a:pt x="1128" y="145"/>
                </a:lnTo>
                <a:lnTo>
                  <a:pt x="1130" y="145"/>
                </a:lnTo>
                <a:close/>
                <a:moveTo>
                  <a:pt x="1896" y="32"/>
                </a:moveTo>
                <a:lnTo>
                  <a:pt x="1898" y="32"/>
                </a:lnTo>
                <a:lnTo>
                  <a:pt x="1901" y="33"/>
                </a:lnTo>
                <a:lnTo>
                  <a:pt x="1904" y="34"/>
                </a:lnTo>
                <a:lnTo>
                  <a:pt x="1906" y="35"/>
                </a:lnTo>
                <a:lnTo>
                  <a:pt x="1908" y="37"/>
                </a:lnTo>
                <a:lnTo>
                  <a:pt x="1909" y="39"/>
                </a:lnTo>
                <a:lnTo>
                  <a:pt x="1910" y="41"/>
                </a:lnTo>
                <a:lnTo>
                  <a:pt x="1911" y="44"/>
                </a:lnTo>
                <a:lnTo>
                  <a:pt x="1911" y="46"/>
                </a:lnTo>
                <a:lnTo>
                  <a:pt x="1911" y="49"/>
                </a:lnTo>
                <a:lnTo>
                  <a:pt x="1910" y="51"/>
                </a:lnTo>
                <a:lnTo>
                  <a:pt x="1909" y="52"/>
                </a:lnTo>
                <a:lnTo>
                  <a:pt x="1907" y="55"/>
                </a:lnTo>
                <a:lnTo>
                  <a:pt x="1904" y="57"/>
                </a:lnTo>
                <a:lnTo>
                  <a:pt x="1900" y="58"/>
                </a:lnTo>
                <a:lnTo>
                  <a:pt x="1897" y="59"/>
                </a:lnTo>
                <a:lnTo>
                  <a:pt x="1894" y="58"/>
                </a:lnTo>
                <a:lnTo>
                  <a:pt x="1892" y="57"/>
                </a:lnTo>
                <a:lnTo>
                  <a:pt x="1890" y="56"/>
                </a:lnTo>
                <a:lnTo>
                  <a:pt x="1888" y="54"/>
                </a:lnTo>
                <a:lnTo>
                  <a:pt x="1886" y="52"/>
                </a:lnTo>
                <a:lnTo>
                  <a:pt x="1885" y="50"/>
                </a:lnTo>
                <a:lnTo>
                  <a:pt x="1885" y="47"/>
                </a:lnTo>
                <a:lnTo>
                  <a:pt x="1885" y="45"/>
                </a:lnTo>
                <a:lnTo>
                  <a:pt x="1885" y="42"/>
                </a:lnTo>
                <a:lnTo>
                  <a:pt x="1886" y="40"/>
                </a:lnTo>
                <a:lnTo>
                  <a:pt x="1887" y="39"/>
                </a:lnTo>
                <a:lnTo>
                  <a:pt x="1889" y="36"/>
                </a:lnTo>
                <a:lnTo>
                  <a:pt x="1892" y="34"/>
                </a:lnTo>
                <a:lnTo>
                  <a:pt x="1896" y="32"/>
                </a:lnTo>
                <a:close/>
                <a:moveTo>
                  <a:pt x="1074" y="179"/>
                </a:moveTo>
                <a:lnTo>
                  <a:pt x="1078" y="179"/>
                </a:lnTo>
                <a:lnTo>
                  <a:pt x="1081" y="180"/>
                </a:lnTo>
                <a:lnTo>
                  <a:pt x="1085" y="182"/>
                </a:lnTo>
                <a:lnTo>
                  <a:pt x="1086" y="183"/>
                </a:lnTo>
                <a:lnTo>
                  <a:pt x="1087" y="185"/>
                </a:lnTo>
                <a:lnTo>
                  <a:pt x="1089" y="187"/>
                </a:lnTo>
                <a:lnTo>
                  <a:pt x="1089" y="190"/>
                </a:lnTo>
                <a:lnTo>
                  <a:pt x="1089" y="195"/>
                </a:lnTo>
                <a:lnTo>
                  <a:pt x="1088" y="197"/>
                </a:lnTo>
                <a:lnTo>
                  <a:pt x="1087" y="199"/>
                </a:lnTo>
                <a:lnTo>
                  <a:pt x="1085" y="201"/>
                </a:lnTo>
                <a:lnTo>
                  <a:pt x="1083" y="203"/>
                </a:lnTo>
                <a:lnTo>
                  <a:pt x="1081" y="204"/>
                </a:lnTo>
                <a:lnTo>
                  <a:pt x="1078" y="205"/>
                </a:lnTo>
                <a:lnTo>
                  <a:pt x="1075" y="205"/>
                </a:lnTo>
                <a:lnTo>
                  <a:pt x="1071" y="204"/>
                </a:lnTo>
                <a:lnTo>
                  <a:pt x="1068" y="202"/>
                </a:lnTo>
                <a:lnTo>
                  <a:pt x="1066" y="201"/>
                </a:lnTo>
                <a:lnTo>
                  <a:pt x="1065" y="199"/>
                </a:lnTo>
                <a:lnTo>
                  <a:pt x="1064" y="197"/>
                </a:lnTo>
                <a:lnTo>
                  <a:pt x="1063" y="194"/>
                </a:lnTo>
                <a:lnTo>
                  <a:pt x="1063" y="189"/>
                </a:lnTo>
                <a:lnTo>
                  <a:pt x="1064" y="187"/>
                </a:lnTo>
                <a:lnTo>
                  <a:pt x="1065" y="184"/>
                </a:lnTo>
                <a:lnTo>
                  <a:pt x="1067" y="182"/>
                </a:lnTo>
                <a:lnTo>
                  <a:pt x="1069" y="181"/>
                </a:lnTo>
                <a:lnTo>
                  <a:pt x="1071" y="179"/>
                </a:lnTo>
                <a:lnTo>
                  <a:pt x="1074" y="179"/>
                </a:lnTo>
                <a:close/>
                <a:moveTo>
                  <a:pt x="1959" y="50"/>
                </a:moveTo>
                <a:lnTo>
                  <a:pt x="1962" y="50"/>
                </a:lnTo>
                <a:lnTo>
                  <a:pt x="1965" y="50"/>
                </a:lnTo>
                <a:lnTo>
                  <a:pt x="1968" y="51"/>
                </a:lnTo>
                <a:lnTo>
                  <a:pt x="1970" y="53"/>
                </a:lnTo>
                <a:lnTo>
                  <a:pt x="1972" y="54"/>
                </a:lnTo>
                <a:lnTo>
                  <a:pt x="1973" y="56"/>
                </a:lnTo>
                <a:lnTo>
                  <a:pt x="1974" y="59"/>
                </a:lnTo>
                <a:lnTo>
                  <a:pt x="1975" y="61"/>
                </a:lnTo>
                <a:lnTo>
                  <a:pt x="1975" y="64"/>
                </a:lnTo>
                <a:lnTo>
                  <a:pt x="1974" y="66"/>
                </a:lnTo>
                <a:lnTo>
                  <a:pt x="1973" y="70"/>
                </a:lnTo>
                <a:lnTo>
                  <a:pt x="1970" y="73"/>
                </a:lnTo>
                <a:lnTo>
                  <a:pt x="1967" y="75"/>
                </a:lnTo>
                <a:lnTo>
                  <a:pt x="1964" y="76"/>
                </a:lnTo>
                <a:lnTo>
                  <a:pt x="1961" y="76"/>
                </a:lnTo>
                <a:lnTo>
                  <a:pt x="1958" y="76"/>
                </a:lnTo>
                <a:lnTo>
                  <a:pt x="1956" y="75"/>
                </a:lnTo>
                <a:lnTo>
                  <a:pt x="1953" y="73"/>
                </a:lnTo>
                <a:lnTo>
                  <a:pt x="1952" y="72"/>
                </a:lnTo>
                <a:lnTo>
                  <a:pt x="1950" y="69"/>
                </a:lnTo>
                <a:lnTo>
                  <a:pt x="1949" y="67"/>
                </a:lnTo>
                <a:lnTo>
                  <a:pt x="1948" y="65"/>
                </a:lnTo>
                <a:lnTo>
                  <a:pt x="1948" y="62"/>
                </a:lnTo>
                <a:lnTo>
                  <a:pt x="1949" y="59"/>
                </a:lnTo>
                <a:lnTo>
                  <a:pt x="1950" y="56"/>
                </a:lnTo>
                <a:lnTo>
                  <a:pt x="1953" y="53"/>
                </a:lnTo>
                <a:lnTo>
                  <a:pt x="1956" y="51"/>
                </a:lnTo>
                <a:lnTo>
                  <a:pt x="1959" y="50"/>
                </a:lnTo>
                <a:close/>
                <a:moveTo>
                  <a:pt x="1019" y="216"/>
                </a:moveTo>
                <a:lnTo>
                  <a:pt x="1023" y="216"/>
                </a:lnTo>
                <a:lnTo>
                  <a:pt x="1026" y="217"/>
                </a:lnTo>
                <a:lnTo>
                  <a:pt x="1029" y="218"/>
                </a:lnTo>
                <a:lnTo>
                  <a:pt x="1032" y="221"/>
                </a:lnTo>
                <a:lnTo>
                  <a:pt x="1033" y="223"/>
                </a:lnTo>
                <a:lnTo>
                  <a:pt x="1034" y="226"/>
                </a:lnTo>
                <a:lnTo>
                  <a:pt x="1035" y="228"/>
                </a:lnTo>
                <a:lnTo>
                  <a:pt x="1034" y="231"/>
                </a:lnTo>
                <a:lnTo>
                  <a:pt x="1034" y="233"/>
                </a:lnTo>
                <a:lnTo>
                  <a:pt x="1033" y="236"/>
                </a:lnTo>
                <a:lnTo>
                  <a:pt x="1031" y="238"/>
                </a:lnTo>
                <a:lnTo>
                  <a:pt x="1029" y="240"/>
                </a:lnTo>
                <a:lnTo>
                  <a:pt x="1026" y="241"/>
                </a:lnTo>
                <a:lnTo>
                  <a:pt x="1024" y="242"/>
                </a:lnTo>
                <a:lnTo>
                  <a:pt x="1020" y="242"/>
                </a:lnTo>
                <a:lnTo>
                  <a:pt x="1016" y="241"/>
                </a:lnTo>
                <a:lnTo>
                  <a:pt x="1013" y="239"/>
                </a:lnTo>
                <a:lnTo>
                  <a:pt x="1011" y="236"/>
                </a:lnTo>
                <a:lnTo>
                  <a:pt x="1009" y="234"/>
                </a:lnTo>
                <a:lnTo>
                  <a:pt x="1008" y="232"/>
                </a:lnTo>
                <a:lnTo>
                  <a:pt x="1008" y="229"/>
                </a:lnTo>
                <a:lnTo>
                  <a:pt x="1008" y="227"/>
                </a:lnTo>
                <a:lnTo>
                  <a:pt x="1009" y="224"/>
                </a:lnTo>
                <a:lnTo>
                  <a:pt x="1010" y="222"/>
                </a:lnTo>
                <a:lnTo>
                  <a:pt x="1012" y="220"/>
                </a:lnTo>
                <a:lnTo>
                  <a:pt x="1014" y="218"/>
                </a:lnTo>
                <a:lnTo>
                  <a:pt x="1016" y="217"/>
                </a:lnTo>
                <a:lnTo>
                  <a:pt x="1019" y="216"/>
                </a:lnTo>
                <a:close/>
                <a:moveTo>
                  <a:pt x="2023" y="67"/>
                </a:moveTo>
                <a:lnTo>
                  <a:pt x="2026" y="67"/>
                </a:lnTo>
                <a:lnTo>
                  <a:pt x="2029" y="68"/>
                </a:lnTo>
                <a:lnTo>
                  <a:pt x="2031" y="69"/>
                </a:lnTo>
                <a:lnTo>
                  <a:pt x="2034" y="70"/>
                </a:lnTo>
                <a:lnTo>
                  <a:pt x="2035" y="72"/>
                </a:lnTo>
                <a:lnTo>
                  <a:pt x="2037" y="74"/>
                </a:lnTo>
                <a:lnTo>
                  <a:pt x="2038" y="76"/>
                </a:lnTo>
                <a:lnTo>
                  <a:pt x="2039" y="79"/>
                </a:lnTo>
                <a:lnTo>
                  <a:pt x="2039" y="81"/>
                </a:lnTo>
                <a:lnTo>
                  <a:pt x="2038" y="84"/>
                </a:lnTo>
                <a:lnTo>
                  <a:pt x="2037" y="88"/>
                </a:lnTo>
                <a:lnTo>
                  <a:pt x="2034" y="90"/>
                </a:lnTo>
                <a:lnTo>
                  <a:pt x="2031" y="92"/>
                </a:lnTo>
                <a:lnTo>
                  <a:pt x="2028" y="94"/>
                </a:lnTo>
                <a:lnTo>
                  <a:pt x="2025" y="94"/>
                </a:lnTo>
                <a:lnTo>
                  <a:pt x="2022" y="93"/>
                </a:lnTo>
                <a:lnTo>
                  <a:pt x="2019" y="92"/>
                </a:lnTo>
                <a:lnTo>
                  <a:pt x="2017" y="91"/>
                </a:lnTo>
                <a:lnTo>
                  <a:pt x="2015" y="89"/>
                </a:lnTo>
                <a:lnTo>
                  <a:pt x="2014" y="87"/>
                </a:lnTo>
                <a:lnTo>
                  <a:pt x="2013" y="85"/>
                </a:lnTo>
                <a:lnTo>
                  <a:pt x="2012" y="82"/>
                </a:lnTo>
                <a:lnTo>
                  <a:pt x="2012" y="80"/>
                </a:lnTo>
                <a:lnTo>
                  <a:pt x="2013" y="77"/>
                </a:lnTo>
                <a:lnTo>
                  <a:pt x="2014" y="73"/>
                </a:lnTo>
                <a:lnTo>
                  <a:pt x="2017" y="71"/>
                </a:lnTo>
                <a:lnTo>
                  <a:pt x="2020" y="69"/>
                </a:lnTo>
                <a:lnTo>
                  <a:pt x="2023" y="67"/>
                </a:lnTo>
                <a:close/>
                <a:moveTo>
                  <a:pt x="966" y="255"/>
                </a:moveTo>
                <a:lnTo>
                  <a:pt x="970" y="255"/>
                </a:lnTo>
                <a:lnTo>
                  <a:pt x="973" y="256"/>
                </a:lnTo>
                <a:lnTo>
                  <a:pt x="976" y="258"/>
                </a:lnTo>
                <a:lnTo>
                  <a:pt x="979" y="260"/>
                </a:lnTo>
                <a:lnTo>
                  <a:pt x="980" y="262"/>
                </a:lnTo>
                <a:lnTo>
                  <a:pt x="981" y="265"/>
                </a:lnTo>
                <a:lnTo>
                  <a:pt x="982" y="267"/>
                </a:lnTo>
                <a:lnTo>
                  <a:pt x="981" y="270"/>
                </a:lnTo>
                <a:lnTo>
                  <a:pt x="981" y="272"/>
                </a:lnTo>
                <a:lnTo>
                  <a:pt x="980" y="275"/>
                </a:lnTo>
                <a:lnTo>
                  <a:pt x="978" y="277"/>
                </a:lnTo>
                <a:lnTo>
                  <a:pt x="977" y="279"/>
                </a:lnTo>
                <a:lnTo>
                  <a:pt x="974" y="280"/>
                </a:lnTo>
                <a:lnTo>
                  <a:pt x="971" y="281"/>
                </a:lnTo>
                <a:lnTo>
                  <a:pt x="967" y="282"/>
                </a:lnTo>
                <a:lnTo>
                  <a:pt x="964" y="281"/>
                </a:lnTo>
                <a:lnTo>
                  <a:pt x="961" y="279"/>
                </a:lnTo>
                <a:lnTo>
                  <a:pt x="958" y="277"/>
                </a:lnTo>
                <a:lnTo>
                  <a:pt x="957" y="274"/>
                </a:lnTo>
                <a:lnTo>
                  <a:pt x="956" y="272"/>
                </a:lnTo>
                <a:lnTo>
                  <a:pt x="955" y="269"/>
                </a:lnTo>
                <a:lnTo>
                  <a:pt x="955" y="267"/>
                </a:lnTo>
                <a:lnTo>
                  <a:pt x="956" y="264"/>
                </a:lnTo>
                <a:lnTo>
                  <a:pt x="957" y="262"/>
                </a:lnTo>
                <a:lnTo>
                  <a:pt x="958" y="260"/>
                </a:lnTo>
                <a:lnTo>
                  <a:pt x="960" y="258"/>
                </a:lnTo>
                <a:lnTo>
                  <a:pt x="963" y="256"/>
                </a:lnTo>
                <a:lnTo>
                  <a:pt x="966" y="255"/>
                </a:lnTo>
                <a:close/>
                <a:moveTo>
                  <a:pt x="2087" y="85"/>
                </a:moveTo>
                <a:lnTo>
                  <a:pt x="2090" y="85"/>
                </a:lnTo>
                <a:lnTo>
                  <a:pt x="2093" y="85"/>
                </a:lnTo>
                <a:lnTo>
                  <a:pt x="2095" y="86"/>
                </a:lnTo>
                <a:lnTo>
                  <a:pt x="2097" y="88"/>
                </a:lnTo>
                <a:lnTo>
                  <a:pt x="2099" y="89"/>
                </a:lnTo>
                <a:lnTo>
                  <a:pt x="2101" y="92"/>
                </a:lnTo>
                <a:lnTo>
                  <a:pt x="2102" y="94"/>
                </a:lnTo>
                <a:lnTo>
                  <a:pt x="2102" y="96"/>
                </a:lnTo>
                <a:lnTo>
                  <a:pt x="2102" y="99"/>
                </a:lnTo>
                <a:lnTo>
                  <a:pt x="2102" y="102"/>
                </a:lnTo>
                <a:lnTo>
                  <a:pt x="2100" y="105"/>
                </a:lnTo>
                <a:lnTo>
                  <a:pt x="2098" y="108"/>
                </a:lnTo>
                <a:lnTo>
                  <a:pt x="2095" y="110"/>
                </a:lnTo>
                <a:lnTo>
                  <a:pt x="2091" y="111"/>
                </a:lnTo>
                <a:lnTo>
                  <a:pt x="2089" y="111"/>
                </a:lnTo>
                <a:lnTo>
                  <a:pt x="2086" y="111"/>
                </a:lnTo>
                <a:lnTo>
                  <a:pt x="2083" y="110"/>
                </a:lnTo>
                <a:lnTo>
                  <a:pt x="2081" y="108"/>
                </a:lnTo>
                <a:lnTo>
                  <a:pt x="2079" y="107"/>
                </a:lnTo>
                <a:lnTo>
                  <a:pt x="2078" y="105"/>
                </a:lnTo>
                <a:lnTo>
                  <a:pt x="2077" y="102"/>
                </a:lnTo>
                <a:lnTo>
                  <a:pt x="2076" y="100"/>
                </a:lnTo>
                <a:lnTo>
                  <a:pt x="2076" y="97"/>
                </a:lnTo>
                <a:lnTo>
                  <a:pt x="2076" y="95"/>
                </a:lnTo>
                <a:lnTo>
                  <a:pt x="2078" y="91"/>
                </a:lnTo>
                <a:lnTo>
                  <a:pt x="2080" y="88"/>
                </a:lnTo>
                <a:lnTo>
                  <a:pt x="2083" y="86"/>
                </a:lnTo>
                <a:lnTo>
                  <a:pt x="2087" y="85"/>
                </a:lnTo>
                <a:close/>
                <a:moveTo>
                  <a:pt x="915" y="297"/>
                </a:moveTo>
                <a:lnTo>
                  <a:pt x="918" y="297"/>
                </a:lnTo>
                <a:lnTo>
                  <a:pt x="922" y="298"/>
                </a:lnTo>
                <a:lnTo>
                  <a:pt x="925" y="299"/>
                </a:lnTo>
                <a:lnTo>
                  <a:pt x="927" y="302"/>
                </a:lnTo>
                <a:lnTo>
                  <a:pt x="929" y="304"/>
                </a:lnTo>
                <a:lnTo>
                  <a:pt x="930" y="306"/>
                </a:lnTo>
                <a:lnTo>
                  <a:pt x="930" y="309"/>
                </a:lnTo>
                <a:lnTo>
                  <a:pt x="930" y="311"/>
                </a:lnTo>
                <a:lnTo>
                  <a:pt x="930" y="314"/>
                </a:lnTo>
                <a:lnTo>
                  <a:pt x="929" y="316"/>
                </a:lnTo>
                <a:lnTo>
                  <a:pt x="928" y="318"/>
                </a:lnTo>
                <a:lnTo>
                  <a:pt x="926" y="320"/>
                </a:lnTo>
                <a:lnTo>
                  <a:pt x="923" y="322"/>
                </a:lnTo>
                <a:lnTo>
                  <a:pt x="919" y="323"/>
                </a:lnTo>
                <a:lnTo>
                  <a:pt x="916" y="323"/>
                </a:lnTo>
                <a:lnTo>
                  <a:pt x="913" y="323"/>
                </a:lnTo>
                <a:lnTo>
                  <a:pt x="910" y="321"/>
                </a:lnTo>
                <a:lnTo>
                  <a:pt x="907" y="319"/>
                </a:lnTo>
                <a:lnTo>
                  <a:pt x="906" y="317"/>
                </a:lnTo>
                <a:lnTo>
                  <a:pt x="905" y="314"/>
                </a:lnTo>
                <a:lnTo>
                  <a:pt x="904" y="312"/>
                </a:lnTo>
                <a:lnTo>
                  <a:pt x="904" y="309"/>
                </a:lnTo>
                <a:lnTo>
                  <a:pt x="904" y="307"/>
                </a:lnTo>
                <a:lnTo>
                  <a:pt x="905" y="304"/>
                </a:lnTo>
                <a:lnTo>
                  <a:pt x="907" y="302"/>
                </a:lnTo>
                <a:lnTo>
                  <a:pt x="909" y="300"/>
                </a:lnTo>
                <a:lnTo>
                  <a:pt x="912" y="298"/>
                </a:lnTo>
                <a:lnTo>
                  <a:pt x="915" y="297"/>
                </a:lnTo>
                <a:close/>
                <a:moveTo>
                  <a:pt x="2151" y="103"/>
                </a:moveTo>
                <a:lnTo>
                  <a:pt x="2154" y="102"/>
                </a:lnTo>
                <a:lnTo>
                  <a:pt x="2156" y="103"/>
                </a:lnTo>
                <a:lnTo>
                  <a:pt x="2159" y="104"/>
                </a:lnTo>
                <a:lnTo>
                  <a:pt x="2161" y="105"/>
                </a:lnTo>
                <a:lnTo>
                  <a:pt x="2163" y="107"/>
                </a:lnTo>
                <a:lnTo>
                  <a:pt x="2164" y="109"/>
                </a:lnTo>
                <a:lnTo>
                  <a:pt x="2165" y="111"/>
                </a:lnTo>
                <a:lnTo>
                  <a:pt x="2166" y="114"/>
                </a:lnTo>
                <a:lnTo>
                  <a:pt x="2166" y="117"/>
                </a:lnTo>
                <a:lnTo>
                  <a:pt x="2166" y="119"/>
                </a:lnTo>
                <a:lnTo>
                  <a:pt x="2164" y="123"/>
                </a:lnTo>
                <a:lnTo>
                  <a:pt x="2162" y="125"/>
                </a:lnTo>
                <a:lnTo>
                  <a:pt x="2159" y="128"/>
                </a:lnTo>
                <a:lnTo>
                  <a:pt x="2155" y="129"/>
                </a:lnTo>
                <a:lnTo>
                  <a:pt x="2152" y="129"/>
                </a:lnTo>
                <a:lnTo>
                  <a:pt x="2149" y="128"/>
                </a:lnTo>
                <a:lnTo>
                  <a:pt x="2147" y="127"/>
                </a:lnTo>
                <a:lnTo>
                  <a:pt x="2145" y="126"/>
                </a:lnTo>
                <a:lnTo>
                  <a:pt x="2143" y="124"/>
                </a:lnTo>
                <a:lnTo>
                  <a:pt x="2141" y="122"/>
                </a:lnTo>
                <a:lnTo>
                  <a:pt x="2140" y="120"/>
                </a:lnTo>
                <a:lnTo>
                  <a:pt x="2140" y="117"/>
                </a:lnTo>
                <a:lnTo>
                  <a:pt x="2140" y="115"/>
                </a:lnTo>
                <a:lnTo>
                  <a:pt x="2140" y="112"/>
                </a:lnTo>
                <a:lnTo>
                  <a:pt x="2142" y="109"/>
                </a:lnTo>
                <a:lnTo>
                  <a:pt x="2144" y="106"/>
                </a:lnTo>
                <a:lnTo>
                  <a:pt x="2147" y="104"/>
                </a:lnTo>
                <a:lnTo>
                  <a:pt x="2151" y="103"/>
                </a:lnTo>
                <a:close/>
                <a:moveTo>
                  <a:pt x="865" y="341"/>
                </a:moveTo>
                <a:lnTo>
                  <a:pt x="869" y="341"/>
                </a:lnTo>
                <a:lnTo>
                  <a:pt x="872" y="342"/>
                </a:lnTo>
                <a:lnTo>
                  <a:pt x="875" y="343"/>
                </a:lnTo>
                <a:lnTo>
                  <a:pt x="876" y="344"/>
                </a:lnTo>
                <a:lnTo>
                  <a:pt x="877" y="345"/>
                </a:lnTo>
                <a:lnTo>
                  <a:pt x="879" y="347"/>
                </a:lnTo>
                <a:lnTo>
                  <a:pt x="880" y="350"/>
                </a:lnTo>
                <a:lnTo>
                  <a:pt x="881" y="352"/>
                </a:lnTo>
                <a:lnTo>
                  <a:pt x="881" y="355"/>
                </a:lnTo>
                <a:lnTo>
                  <a:pt x="881" y="357"/>
                </a:lnTo>
                <a:lnTo>
                  <a:pt x="880" y="360"/>
                </a:lnTo>
                <a:lnTo>
                  <a:pt x="879" y="362"/>
                </a:lnTo>
                <a:lnTo>
                  <a:pt x="877" y="364"/>
                </a:lnTo>
                <a:lnTo>
                  <a:pt x="874" y="366"/>
                </a:lnTo>
                <a:lnTo>
                  <a:pt x="870" y="367"/>
                </a:lnTo>
                <a:lnTo>
                  <a:pt x="867" y="367"/>
                </a:lnTo>
                <a:lnTo>
                  <a:pt x="864" y="367"/>
                </a:lnTo>
                <a:lnTo>
                  <a:pt x="861" y="365"/>
                </a:lnTo>
                <a:lnTo>
                  <a:pt x="859" y="364"/>
                </a:lnTo>
                <a:lnTo>
                  <a:pt x="858" y="363"/>
                </a:lnTo>
                <a:lnTo>
                  <a:pt x="856" y="361"/>
                </a:lnTo>
                <a:lnTo>
                  <a:pt x="855" y="359"/>
                </a:lnTo>
                <a:lnTo>
                  <a:pt x="855" y="356"/>
                </a:lnTo>
                <a:lnTo>
                  <a:pt x="855" y="354"/>
                </a:lnTo>
                <a:lnTo>
                  <a:pt x="855" y="351"/>
                </a:lnTo>
                <a:lnTo>
                  <a:pt x="856" y="349"/>
                </a:lnTo>
                <a:lnTo>
                  <a:pt x="857" y="346"/>
                </a:lnTo>
                <a:lnTo>
                  <a:pt x="859" y="344"/>
                </a:lnTo>
                <a:lnTo>
                  <a:pt x="862" y="342"/>
                </a:lnTo>
                <a:lnTo>
                  <a:pt x="865" y="341"/>
                </a:lnTo>
                <a:close/>
                <a:moveTo>
                  <a:pt x="2215" y="120"/>
                </a:moveTo>
                <a:lnTo>
                  <a:pt x="2218" y="120"/>
                </a:lnTo>
                <a:lnTo>
                  <a:pt x="2221" y="120"/>
                </a:lnTo>
                <a:lnTo>
                  <a:pt x="2224" y="121"/>
                </a:lnTo>
                <a:lnTo>
                  <a:pt x="2226" y="123"/>
                </a:lnTo>
                <a:lnTo>
                  <a:pt x="2228" y="125"/>
                </a:lnTo>
                <a:lnTo>
                  <a:pt x="2229" y="127"/>
                </a:lnTo>
                <a:lnTo>
                  <a:pt x="2230" y="129"/>
                </a:lnTo>
                <a:lnTo>
                  <a:pt x="2231" y="131"/>
                </a:lnTo>
                <a:lnTo>
                  <a:pt x="2231" y="134"/>
                </a:lnTo>
                <a:lnTo>
                  <a:pt x="2230" y="137"/>
                </a:lnTo>
                <a:lnTo>
                  <a:pt x="2230" y="139"/>
                </a:lnTo>
                <a:lnTo>
                  <a:pt x="2229" y="140"/>
                </a:lnTo>
                <a:lnTo>
                  <a:pt x="2227" y="143"/>
                </a:lnTo>
                <a:lnTo>
                  <a:pt x="2223" y="145"/>
                </a:lnTo>
                <a:lnTo>
                  <a:pt x="2220" y="146"/>
                </a:lnTo>
                <a:lnTo>
                  <a:pt x="2217" y="146"/>
                </a:lnTo>
                <a:lnTo>
                  <a:pt x="2214" y="146"/>
                </a:lnTo>
                <a:lnTo>
                  <a:pt x="2212" y="145"/>
                </a:lnTo>
                <a:lnTo>
                  <a:pt x="2208" y="144"/>
                </a:lnTo>
                <a:lnTo>
                  <a:pt x="2207" y="142"/>
                </a:lnTo>
                <a:lnTo>
                  <a:pt x="2205" y="140"/>
                </a:lnTo>
                <a:lnTo>
                  <a:pt x="2204" y="137"/>
                </a:lnTo>
                <a:lnTo>
                  <a:pt x="2204" y="135"/>
                </a:lnTo>
                <a:lnTo>
                  <a:pt x="2203" y="132"/>
                </a:lnTo>
                <a:lnTo>
                  <a:pt x="2204" y="130"/>
                </a:lnTo>
                <a:lnTo>
                  <a:pt x="2205" y="128"/>
                </a:lnTo>
                <a:lnTo>
                  <a:pt x="2205" y="126"/>
                </a:lnTo>
                <a:lnTo>
                  <a:pt x="2208" y="123"/>
                </a:lnTo>
                <a:lnTo>
                  <a:pt x="2212" y="121"/>
                </a:lnTo>
                <a:lnTo>
                  <a:pt x="2215" y="120"/>
                </a:lnTo>
                <a:close/>
                <a:moveTo>
                  <a:pt x="818" y="387"/>
                </a:moveTo>
                <a:lnTo>
                  <a:pt x="821" y="387"/>
                </a:lnTo>
                <a:lnTo>
                  <a:pt x="824" y="387"/>
                </a:lnTo>
                <a:lnTo>
                  <a:pt x="827" y="389"/>
                </a:lnTo>
                <a:lnTo>
                  <a:pt x="830" y="391"/>
                </a:lnTo>
                <a:lnTo>
                  <a:pt x="831" y="393"/>
                </a:lnTo>
                <a:lnTo>
                  <a:pt x="832" y="395"/>
                </a:lnTo>
                <a:lnTo>
                  <a:pt x="833" y="398"/>
                </a:lnTo>
                <a:lnTo>
                  <a:pt x="833" y="400"/>
                </a:lnTo>
                <a:lnTo>
                  <a:pt x="833" y="403"/>
                </a:lnTo>
                <a:lnTo>
                  <a:pt x="832" y="405"/>
                </a:lnTo>
                <a:lnTo>
                  <a:pt x="831" y="407"/>
                </a:lnTo>
                <a:lnTo>
                  <a:pt x="830" y="409"/>
                </a:lnTo>
                <a:lnTo>
                  <a:pt x="826" y="412"/>
                </a:lnTo>
                <a:lnTo>
                  <a:pt x="822" y="413"/>
                </a:lnTo>
                <a:lnTo>
                  <a:pt x="819" y="413"/>
                </a:lnTo>
                <a:lnTo>
                  <a:pt x="816" y="413"/>
                </a:lnTo>
                <a:lnTo>
                  <a:pt x="813" y="411"/>
                </a:lnTo>
                <a:lnTo>
                  <a:pt x="811" y="409"/>
                </a:lnTo>
                <a:lnTo>
                  <a:pt x="809" y="407"/>
                </a:lnTo>
                <a:lnTo>
                  <a:pt x="808" y="405"/>
                </a:lnTo>
                <a:lnTo>
                  <a:pt x="807" y="403"/>
                </a:lnTo>
                <a:lnTo>
                  <a:pt x="807" y="400"/>
                </a:lnTo>
                <a:lnTo>
                  <a:pt x="807" y="398"/>
                </a:lnTo>
                <a:lnTo>
                  <a:pt x="808" y="395"/>
                </a:lnTo>
                <a:lnTo>
                  <a:pt x="809" y="393"/>
                </a:lnTo>
                <a:lnTo>
                  <a:pt x="811" y="391"/>
                </a:lnTo>
                <a:lnTo>
                  <a:pt x="814" y="388"/>
                </a:lnTo>
                <a:lnTo>
                  <a:pt x="818" y="387"/>
                </a:lnTo>
                <a:close/>
                <a:moveTo>
                  <a:pt x="2279" y="138"/>
                </a:moveTo>
                <a:lnTo>
                  <a:pt x="2282" y="137"/>
                </a:lnTo>
                <a:lnTo>
                  <a:pt x="2285" y="138"/>
                </a:lnTo>
                <a:lnTo>
                  <a:pt x="2287" y="139"/>
                </a:lnTo>
                <a:lnTo>
                  <a:pt x="2290" y="140"/>
                </a:lnTo>
                <a:lnTo>
                  <a:pt x="2292" y="142"/>
                </a:lnTo>
                <a:lnTo>
                  <a:pt x="2293" y="144"/>
                </a:lnTo>
                <a:lnTo>
                  <a:pt x="2294" y="146"/>
                </a:lnTo>
                <a:lnTo>
                  <a:pt x="2295" y="149"/>
                </a:lnTo>
                <a:lnTo>
                  <a:pt x="2295" y="152"/>
                </a:lnTo>
                <a:lnTo>
                  <a:pt x="2294" y="154"/>
                </a:lnTo>
                <a:lnTo>
                  <a:pt x="2293" y="158"/>
                </a:lnTo>
                <a:lnTo>
                  <a:pt x="2290" y="161"/>
                </a:lnTo>
                <a:lnTo>
                  <a:pt x="2287" y="163"/>
                </a:lnTo>
                <a:lnTo>
                  <a:pt x="2284" y="164"/>
                </a:lnTo>
                <a:lnTo>
                  <a:pt x="2281" y="164"/>
                </a:lnTo>
                <a:lnTo>
                  <a:pt x="2278" y="163"/>
                </a:lnTo>
                <a:lnTo>
                  <a:pt x="2275" y="163"/>
                </a:lnTo>
                <a:lnTo>
                  <a:pt x="2273" y="161"/>
                </a:lnTo>
                <a:lnTo>
                  <a:pt x="2271" y="159"/>
                </a:lnTo>
                <a:lnTo>
                  <a:pt x="2270" y="157"/>
                </a:lnTo>
                <a:lnTo>
                  <a:pt x="2269" y="155"/>
                </a:lnTo>
                <a:lnTo>
                  <a:pt x="2268" y="152"/>
                </a:lnTo>
                <a:lnTo>
                  <a:pt x="2268" y="150"/>
                </a:lnTo>
                <a:lnTo>
                  <a:pt x="2269" y="147"/>
                </a:lnTo>
                <a:lnTo>
                  <a:pt x="2269" y="145"/>
                </a:lnTo>
                <a:lnTo>
                  <a:pt x="2270" y="144"/>
                </a:lnTo>
                <a:lnTo>
                  <a:pt x="2273" y="141"/>
                </a:lnTo>
                <a:lnTo>
                  <a:pt x="2276" y="139"/>
                </a:lnTo>
                <a:lnTo>
                  <a:pt x="2279" y="138"/>
                </a:lnTo>
                <a:close/>
                <a:moveTo>
                  <a:pt x="2343" y="155"/>
                </a:moveTo>
                <a:lnTo>
                  <a:pt x="2346" y="155"/>
                </a:lnTo>
                <a:lnTo>
                  <a:pt x="2349" y="155"/>
                </a:lnTo>
                <a:lnTo>
                  <a:pt x="2351" y="156"/>
                </a:lnTo>
                <a:lnTo>
                  <a:pt x="2353" y="158"/>
                </a:lnTo>
                <a:lnTo>
                  <a:pt x="2355" y="160"/>
                </a:lnTo>
                <a:lnTo>
                  <a:pt x="2357" y="162"/>
                </a:lnTo>
                <a:lnTo>
                  <a:pt x="2358" y="164"/>
                </a:lnTo>
                <a:lnTo>
                  <a:pt x="2358" y="166"/>
                </a:lnTo>
                <a:lnTo>
                  <a:pt x="2358" y="169"/>
                </a:lnTo>
                <a:lnTo>
                  <a:pt x="2358" y="172"/>
                </a:lnTo>
                <a:lnTo>
                  <a:pt x="2357" y="174"/>
                </a:lnTo>
                <a:lnTo>
                  <a:pt x="2357" y="175"/>
                </a:lnTo>
                <a:lnTo>
                  <a:pt x="2354" y="178"/>
                </a:lnTo>
                <a:lnTo>
                  <a:pt x="2351" y="180"/>
                </a:lnTo>
                <a:lnTo>
                  <a:pt x="2348" y="181"/>
                </a:lnTo>
                <a:lnTo>
                  <a:pt x="2345" y="181"/>
                </a:lnTo>
                <a:lnTo>
                  <a:pt x="2342" y="181"/>
                </a:lnTo>
                <a:lnTo>
                  <a:pt x="2339" y="180"/>
                </a:lnTo>
                <a:lnTo>
                  <a:pt x="2337" y="179"/>
                </a:lnTo>
                <a:lnTo>
                  <a:pt x="2335" y="177"/>
                </a:lnTo>
                <a:lnTo>
                  <a:pt x="2334" y="175"/>
                </a:lnTo>
                <a:lnTo>
                  <a:pt x="2333" y="172"/>
                </a:lnTo>
                <a:lnTo>
                  <a:pt x="2332" y="170"/>
                </a:lnTo>
                <a:lnTo>
                  <a:pt x="2332" y="167"/>
                </a:lnTo>
                <a:lnTo>
                  <a:pt x="2333" y="165"/>
                </a:lnTo>
                <a:lnTo>
                  <a:pt x="2333" y="163"/>
                </a:lnTo>
                <a:lnTo>
                  <a:pt x="2334" y="161"/>
                </a:lnTo>
                <a:lnTo>
                  <a:pt x="2336" y="158"/>
                </a:lnTo>
                <a:lnTo>
                  <a:pt x="2339" y="156"/>
                </a:lnTo>
                <a:lnTo>
                  <a:pt x="2343" y="155"/>
                </a:lnTo>
                <a:close/>
                <a:moveTo>
                  <a:pt x="772" y="435"/>
                </a:moveTo>
                <a:lnTo>
                  <a:pt x="775" y="435"/>
                </a:lnTo>
                <a:lnTo>
                  <a:pt x="778" y="435"/>
                </a:lnTo>
                <a:lnTo>
                  <a:pt x="781" y="436"/>
                </a:lnTo>
                <a:lnTo>
                  <a:pt x="783" y="438"/>
                </a:lnTo>
                <a:lnTo>
                  <a:pt x="785" y="440"/>
                </a:lnTo>
                <a:lnTo>
                  <a:pt x="786" y="442"/>
                </a:lnTo>
                <a:lnTo>
                  <a:pt x="787" y="445"/>
                </a:lnTo>
                <a:lnTo>
                  <a:pt x="787" y="447"/>
                </a:lnTo>
                <a:lnTo>
                  <a:pt x="787" y="450"/>
                </a:lnTo>
                <a:lnTo>
                  <a:pt x="787" y="452"/>
                </a:lnTo>
                <a:lnTo>
                  <a:pt x="786" y="455"/>
                </a:lnTo>
                <a:lnTo>
                  <a:pt x="784" y="457"/>
                </a:lnTo>
                <a:lnTo>
                  <a:pt x="781" y="459"/>
                </a:lnTo>
                <a:lnTo>
                  <a:pt x="779" y="460"/>
                </a:lnTo>
                <a:lnTo>
                  <a:pt x="777" y="461"/>
                </a:lnTo>
                <a:lnTo>
                  <a:pt x="774" y="461"/>
                </a:lnTo>
                <a:lnTo>
                  <a:pt x="771" y="460"/>
                </a:lnTo>
                <a:lnTo>
                  <a:pt x="768" y="459"/>
                </a:lnTo>
                <a:lnTo>
                  <a:pt x="765" y="457"/>
                </a:lnTo>
                <a:lnTo>
                  <a:pt x="763" y="455"/>
                </a:lnTo>
                <a:lnTo>
                  <a:pt x="762" y="453"/>
                </a:lnTo>
                <a:lnTo>
                  <a:pt x="761" y="451"/>
                </a:lnTo>
                <a:lnTo>
                  <a:pt x="761" y="448"/>
                </a:lnTo>
                <a:lnTo>
                  <a:pt x="761" y="446"/>
                </a:lnTo>
                <a:lnTo>
                  <a:pt x="762" y="443"/>
                </a:lnTo>
                <a:lnTo>
                  <a:pt x="763" y="441"/>
                </a:lnTo>
                <a:lnTo>
                  <a:pt x="765" y="439"/>
                </a:lnTo>
                <a:lnTo>
                  <a:pt x="768" y="436"/>
                </a:lnTo>
                <a:lnTo>
                  <a:pt x="770" y="435"/>
                </a:lnTo>
                <a:lnTo>
                  <a:pt x="772" y="435"/>
                </a:lnTo>
                <a:close/>
                <a:moveTo>
                  <a:pt x="2407" y="173"/>
                </a:moveTo>
                <a:lnTo>
                  <a:pt x="2410" y="172"/>
                </a:lnTo>
                <a:lnTo>
                  <a:pt x="2413" y="173"/>
                </a:lnTo>
                <a:lnTo>
                  <a:pt x="2415" y="174"/>
                </a:lnTo>
                <a:lnTo>
                  <a:pt x="2417" y="175"/>
                </a:lnTo>
                <a:lnTo>
                  <a:pt x="2419" y="177"/>
                </a:lnTo>
                <a:lnTo>
                  <a:pt x="2421" y="179"/>
                </a:lnTo>
                <a:lnTo>
                  <a:pt x="2422" y="181"/>
                </a:lnTo>
                <a:lnTo>
                  <a:pt x="2422" y="184"/>
                </a:lnTo>
                <a:lnTo>
                  <a:pt x="2422" y="186"/>
                </a:lnTo>
                <a:lnTo>
                  <a:pt x="2422" y="189"/>
                </a:lnTo>
                <a:lnTo>
                  <a:pt x="2421" y="191"/>
                </a:lnTo>
                <a:lnTo>
                  <a:pt x="2420" y="193"/>
                </a:lnTo>
                <a:lnTo>
                  <a:pt x="2418" y="195"/>
                </a:lnTo>
                <a:lnTo>
                  <a:pt x="2415" y="198"/>
                </a:lnTo>
                <a:lnTo>
                  <a:pt x="2411" y="199"/>
                </a:lnTo>
                <a:lnTo>
                  <a:pt x="2409" y="199"/>
                </a:lnTo>
                <a:lnTo>
                  <a:pt x="2406" y="198"/>
                </a:lnTo>
                <a:lnTo>
                  <a:pt x="2403" y="197"/>
                </a:lnTo>
                <a:lnTo>
                  <a:pt x="2401" y="196"/>
                </a:lnTo>
                <a:lnTo>
                  <a:pt x="2399" y="194"/>
                </a:lnTo>
                <a:lnTo>
                  <a:pt x="2398" y="192"/>
                </a:lnTo>
                <a:lnTo>
                  <a:pt x="2397" y="190"/>
                </a:lnTo>
                <a:lnTo>
                  <a:pt x="2396" y="187"/>
                </a:lnTo>
                <a:lnTo>
                  <a:pt x="2396" y="185"/>
                </a:lnTo>
                <a:lnTo>
                  <a:pt x="2396" y="182"/>
                </a:lnTo>
                <a:lnTo>
                  <a:pt x="2397" y="180"/>
                </a:lnTo>
                <a:lnTo>
                  <a:pt x="2398" y="179"/>
                </a:lnTo>
                <a:lnTo>
                  <a:pt x="2400" y="176"/>
                </a:lnTo>
                <a:lnTo>
                  <a:pt x="2403" y="174"/>
                </a:lnTo>
                <a:lnTo>
                  <a:pt x="2407" y="173"/>
                </a:lnTo>
                <a:close/>
                <a:moveTo>
                  <a:pt x="727" y="484"/>
                </a:moveTo>
                <a:lnTo>
                  <a:pt x="730" y="484"/>
                </a:lnTo>
                <a:lnTo>
                  <a:pt x="733" y="484"/>
                </a:lnTo>
                <a:lnTo>
                  <a:pt x="735" y="485"/>
                </a:lnTo>
                <a:lnTo>
                  <a:pt x="739" y="487"/>
                </a:lnTo>
                <a:lnTo>
                  <a:pt x="741" y="489"/>
                </a:lnTo>
                <a:lnTo>
                  <a:pt x="742" y="491"/>
                </a:lnTo>
                <a:lnTo>
                  <a:pt x="743" y="494"/>
                </a:lnTo>
                <a:lnTo>
                  <a:pt x="743" y="496"/>
                </a:lnTo>
                <a:lnTo>
                  <a:pt x="743" y="499"/>
                </a:lnTo>
                <a:lnTo>
                  <a:pt x="743" y="501"/>
                </a:lnTo>
                <a:lnTo>
                  <a:pt x="742" y="503"/>
                </a:lnTo>
                <a:lnTo>
                  <a:pt x="740" y="506"/>
                </a:lnTo>
                <a:lnTo>
                  <a:pt x="739" y="506"/>
                </a:lnTo>
                <a:lnTo>
                  <a:pt x="738" y="507"/>
                </a:lnTo>
                <a:lnTo>
                  <a:pt x="737" y="509"/>
                </a:lnTo>
                <a:lnTo>
                  <a:pt x="734" y="509"/>
                </a:lnTo>
                <a:lnTo>
                  <a:pt x="731" y="510"/>
                </a:lnTo>
                <a:lnTo>
                  <a:pt x="729" y="510"/>
                </a:lnTo>
                <a:lnTo>
                  <a:pt x="726" y="510"/>
                </a:lnTo>
                <a:lnTo>
                  <a:pt x="723" y="509"/>
                </a:lnTo>
                <a:lnTo>
                  <a:pt x="720" y="507"/>
                </a:lnTo>
                <a:lnTo>
                  <a:pt x="719" y="505"/>
                </a:lnTo>
                <a:lnTo>
                  <a:pt x="717" y="503"/>
                </a:lnTo>
                <a:lnTo>
                  <a:pt x="716" y="500"/>
                </a:lnTo>
                <a:lnTo>
                  <a:pt x="716" y="498"/>
                </a:lnTo>
                <a:lnTo>
                  <a:pt x="716" y="495"/>
                </a:lnTo>
                <a:lnTo>
                  <a:pt x="717" y="493"/>
                </a:lnTo>
                <a:lnTo>
                  <a:pt x="718" y="490"/>
                </a:lnTo>
                <a:lnTo>
                  <a:pt x="719" y="488"/>
                </a:lnTo>
                <a:lnTo>
                  <a:pt x="720" y="487"/>
                </a:lnTo>
                <a:lnTo>
                  <a:pt x="721" y="487"/>
                </a:lnTo>
                <a:lnTo>
                  <a:pt x="723" y="485"/>
                </a:lnTo>
                <a:lnTo>
                  <a:pt x="725" y="484"/>
                </a:lnTo>
                <a:lnTo>
                  <a:pt x="727" y="484"/>
                </a:lnTo>
                <a:close/>
                <a:moveTo>
                  <a:pt x="2471" y="190"/>
                </a:moveTo>
                <a:lnTo>
                  <a:pt x="2473" y="190"/>
                </a:lnTo>
                <a:lnTo>
                  <a:pt x="2476" y="190"/>
                </a:lnTo>
                <a:lnTo>
                  <a:pt x="2479" y="191"/>
                </a:lnTo>
                <a:lnTo>
                  <a:pt x="2481" y="193"/>
                </a:lnTo>
                <a:lnTo>
                  <a:pt x="2483" y="194"/>
                </a:lnTo>
                <a:lnTo>
                  <a:pt x="2484" y="196"/>
                </a:lnTo>
                <a:lnTo>
                  <a:pt x="2485" y="199"/>
                </a:lnTo>
                <a:lnTo>
                  <a:pt x="2486" y="201"/>
                </a:lnTo>
                <a:lnTo>
                  <a:pt x="2486" y="204"/>
                </a:lnTo>
                <a:lnTo>
                  <a:pt x="2486" y="206"/>
                </a:lnTo>
                <a:lnTo>
                  <a:pt x="2485" y="208"/>
                </a:lnTo>
                <a:lnTo>
                  <a:pt x="2484" y="210"/>
                </a:lnTo>
                <a:lnTo>
                  <a:pt x="2482" y="213"/>
                </a:lnTo>
                <a:lnTo>
                  <a:pt x="2479" y="215"/>
                </a:lnTo>
                <a:lnTo>
                  <a:pt x="2475" y="216"/>
                </a:lnTo>
                <a:lnTo>
                  <a:pt x="2472" y="216"/>
                </a:lnTo>
                <a:lnTo>
                  <a:pt x="2469" y="216"/>
                </a:lnTo>
                <a:lnTo>
                  <a:pt x="2467" y="215"/>
                </a:lnTo>
                <a:lnTo>
                  <a:pt x="2465" y="213"/>
                </a:lnTo>
                <a:lnTo>
                  <a:pt x="2463" y="212"/>
                </a:lnTo>
                <a:lnTo>
                  <a:pt x="2461" y="210"/>
                </a:lnTo>
                <a:lnTo>
                  <a:pt x="2460" y="207"/>
                </a:lnTo>
                <a:lnTo>
                  <a:pt x="2460" y="205"/>
                </a:lnTo>
                <a:lnTo>
                  <a:pt x="2460" y="202"/>
                </a:lnTo>
                <a:lnTo>
                  <a:pt x="2460" y="199"/>
                </a:lnTo>
                <a:lnTo>
                  <a:pt x="2461" y="198"/>
                </a:lnTo>
                <a:lnTo>
                  <a:pt x="2462" y="196"/>
                </a:lnTo>
                <a:lnTo>
                  <a:pt x="2464" y="193"/>
                </a:lnTo>
                <a:lnTo>
                  <a:pt x="2467" y="191"/>
                </a:lnTo>
                <a:lnTo>
                  <a:pt x="2471" y="190"/>
                </a:lnTo>
                <a:close/>
                <a:moveTo>
                  <a:pt x="2534" y="207"/>
                </a:moveTo>
                <a:lnTo>
                  <a:pt x="2537" y="207"/>
                </a:lnTo>
                <a:lnTo>
                  <a:pt x="2540" y="207"/>
                </a:lnTo>
                <a:lnTo>
                  <a:pt x="2543" y="208"/>
                </a:lnTo>
                <a:lnTo>
                  <a:pt x="2545" y="210"/>
                </a:lnTo>
                <a:lnTo>
                  <a:pt x="2547" y="211"/>
                </a:lnTo>
                <a:lnTo>
                  <a:pt x="2548" y="214"/>
                </a:lnTo>
                <a:lnTo>
                  <a:pt x="2549" y="216"/>
                </a:lnTo>
                <a:lnTo>
                  <a:pt x="2550" y="218"/>
                </a:lnTo>
                <a:lnTo>
                  <a:pt x="2550" y="221"/>
                </a:lnTo>
                <a:lnTo>
                  <a:pt x="2550" y="224"/>
                </a:lnTo>
                <a:lnTo>
                  <a:pt x="2549" y="225"/>
                </a:lnTo>
                <a:lnTo>
                  <a:pt x="2548" y="227"/>
                </a:lnTo>
                <a:lnTo>
                  <a:pt x="2546" y="230"/>
                </a:lnTo>
                <a:lnTo>
                  <a:pt x="2543" y="232"/>
                </a:lnTo>
                <a:lnTo>
                  <a:pt x="2539" y="233"/>
                </a:lnTo>
                <a:lnTo>
                  <a:pt x="2536" y="233"/>
                </a:lnTo>
                <a:lnTo>
                  <a:pt x="2533" y="233"/>
                </a:lnTo>
                <a:lnTo>
                  <a:pt x="2531" y="232"/>
                </a:lnTo>
                <a:lnTo>
                  <a:pt x="2529" y="231"/>
                </a:lnTo>
                <a:lnTo>
                  <a:pt x="2527" y="229"/>
                </a:lnTo>
                <a:lnTo>
                  <a:pt x="2525" y="227"/>
                </a:lnTo>
                <a:lnTo>
                  <a:pt x="2524" y="224"/>
                </a:lnTo>
                <a:lnTo>
                  <a:pt x="2524" y="222"/>
                </a:lnTo>
                <a:lnTo>
                  <a:pt x="2524" y="219"/>
                </a:lnTo>
                <a:lnTo>
                  <a:pt x="2524" y="217"/>
                </a:lnTo>
                <a:lnTo>
                  <a:pt x="2525" y="215"/>
                </a:lnTo>
                <a:lnTo>
                  <a:pt x="2526" y="213"/>
                </a:lnTo>
                <a:lnTo>
                  <a:pt x="2528" y="210"/>
                </a:lnTo>
                <a:lnTo>
                  <a:pt x="2531" y="208"/>
                </a:lnTo>
                <a:lnTo>
                  <a:pt x="2534" y="207"/>
                </a:lnTo>
                <a:close/>
                <a:moveTo>
                  <a:pt x="684" y="535"/>
                </a:moveTo>
                <a:lnTo>
                  <a:pt x="687" y="534"/>
                </a:lnTo>
                <a:lnTo>
                  <a:pt x="690" y="535"/>
                </a:lnTo>
                <a:lnTo>
                  <a:pt x="692" y="536"/>
                </a:lnTo>
                <a:lnTo>
                  <a:pt x="695" y="537"/>
                </a:lnTo>
                <a:lnTo>
                  <a:pt x="697" y="539"/>
                </a:lnTo>
                <a:lnTo>
                  <a:pt x="698" y="541"/>
                </a:lnTo>
                <a:lnTo>
                  <a:pt x="700" y="546"/>
                </a:lnTo>
                <a:lnTo>
                  <a:pt x="700" y="549"/>
                </a:lnTo>
                <a:lnTo>
                  <a:pt x="699" y="551"/>
                </a:lnTo>
                <a:lnTo>
                  <a:pt x="698" y="554"/>
                </a:lnTo>
                <a:lnTo>
                  <a:pt x="697" y="556"/>
                </a:lnTo>
                <a:lnTo>
                  <a:pt x="695" y="558"/>
                </a:lnTo>
                <a:lnTo>
                  <a:pt x="693" y="559"/>
                </a:lnTo>
                <a:lnTo>
                  <a:pt x="691" y="560"/>
                </a:lnTo>
                <a:lnTo>
                  <a:pt x="689" y="561"/>
                </a:lnTo>
                <a:lnTo>
                  <a:pt x="686" y="561"/>
                </a:lnTo>
                <a:lnTo>
                  <a:pt x="683" y="560"/>
                </a:lnTo>
                <a:lnTo>
                  <a:pt x="681" y="559"/>
                </a:lnTo>
                <a:lnTo>
                  <a:pt x="678" y="558"/>
                </a:lnTo>
                <a:lnTo>
                  <a:pt x="676" y="556"/>
                </a:lnTo>
                <a:lnTo>
                  <a:pt x="675" y="554"/>
                </a:lnTo>
                <a:lnTo>
                  <a:pt x="673" y="549"/>
                </a:lnTo>
                <a:lnTo>
                  <a:pt x="673" y="546"/>
                </a:lnTo>
                <a:lnTo>
                  <a:pt x="674" y="544"/>
                </a:lnTo>
                <a:lnTo>
                  <a:pt x="675" y="542"/>
                </a:lnTo>
                <a:lnTo>
                  <a:pt x="676" y="539"/>
                </a:lnTo>
                <a:lnTo>
                  <a:pt x="678" y="538"/>
                </a:lnTo>
                <a:lnTo>
                  <a:pt x="680" y="536"/>
                </a:lnTo>
                <a:lnTo>
                  <a:pt x="682" y="535"/>
                </a:lnTo>
                <a:lnTo>
                  <a:pt x="684" y="535"/>
                </a:lnTo>
                <a:close/>
                <a:moveTo>
                  <a:pt x="2598" y="224"/>
                </a:moveTo>
                <a:lnTo>
                  <a:pt x="2601" y="224"/>
                </a:lnTo>
                <a:lnTo>
                  <a:pt x="2604" y="224"/>
                </a:lnTo>
                <a:lnTo>
                  <a:pt x="2607" y="225"/>
                </a:lnTo>
                <a:lnTo>
                  <a:pt x="2609" y="227"/>
                </a:lnTo>
                <a:lnTo>
                  <a:pt x="2611" y="228"/>
                </a:lnTo>
                <a:lnTo>
                  <a:pt x="2612" y="231"/>
                </a:lnTo>
                <a:lnTo>
                  <a:pt x="2613" y="233"/>
                </a:lnTo>
                <a:lnTo>
                  <a:pt x="2614" y="235"/>
                </a:lnTo>
                <a:lnTo>
                  <a:pt x="2614" y="238"/>
                </a:lnTo>
                <a:lnTo>
                  <a:pt x="2613" y="241"/>
                </a:lnTo>
                <a:lnTo>
                  <a:pt x="2613" y="242"/>
                </a:lnTo>
                <a:lnTo>
                  <a:pt x="2612" y="244"/>
                </a:lnTo>
                <a:lnTo>
                  <a:pt x="2610" y="247"/>
                </a:lnTo>
                <a:lnTo>
                  <a:pt x="2606" y="249"/>
                </a:lnTo>
                <a:lnTo>
                  <a:pt x="2603" y="250"/>
                </a:lnTo>
                <a:lnTo>
                  <a:pt x="2600" y="250"/>
                </a:lnTo>
                <a:lnTo>
                  <a:pt x="2597" y="250"/>
                </a:lnTo>
                <a:lnTo>
                  <a:pt x="2595" y="249"/>
                </a:lnTo>
                <a:lnTo>
                  <a:pt x="2593" y="248"/>
                </a:lnTo>
                <a:lnTo>
                  <a:pt x="2591" y="246"/>
                </a:lnTo>
                <a:lnTo>
                  <a:pt x="2589" y="244"/>
                </a:lnTo>
                <a:lnTo>
                  <a:pt x="2588" y="242"/>
                </a:lnTo>
                <a:lnTo>
                  <a:pt x="2588" y="239"/>
                </a:lnTo>
                <a:lnTo>
                  <a:pt x="2587" y="236"/>
                </a:lnTo>
                <a:lnTo>
                  <a:pt x="2588" y="234"/>
                </a:lnTo>
                <a:lnTo>
                  <a:pt x="2589" y="232"/>
                </a:lnTo>
                <a:lnTo>
                  <a:pt x="2589" y="230"/>
                </a:lnTo>
                <a:lnTo>
                  <a:pt x="2592" y="227"/>
                </a:lnTo>
                <a:lnTo>
                  <a:pt x="2595" y="225"/>
                </a:lnTo>
                <a:lnTo>
                  <a:pt x="2598" y="224"/>
                </a:lnTo>
                <a:close/>
                <a:moveTo>
                  <a:pt x="643" y="587"/>
                </a:moveTo>
                <a:lnTo>
                  <a:pt x="646" y="586"/>
                </a:lnTo>
                <a:lnTo>
                  <a:pt x="649" y="587"/>
                </a:lnTo>
                <a:lnTo>
                  <a:pt x="651" y="588"/>
                </a:lnTo>
                <a:lnTo>
                  <a:pt x="654" y="589"/>
                </a:lnTo>
                <a:lnTo>
                  <a:pt x="656" y="591"/>
                </a:lnTo>
                <a:lnTo>
                  <a:pt x="657" y="593"/>
                </a:lnTo>
                <a:lnTo>
                  <a:pt x="658" y="595"/>
                </a:lnTo>
                <a:lnTo>
                  <a:pt x="659" y="598"/>
                </a:lnTo>
                <a:lnTo>
                  <a:pt x="659" y="600"/>
                </a:lnTo>
                <a:lnTo>
                  <a:pt x="659" y="603"/>
                </a:lnTo>
                <a:lnTo>
                  <a:pt x="658" y="605"/>
                </a:lnTo>
                <a:lnTo>
                  <a:pt x="656" y="608"/>
                </a:lnTo>
                <a:lnTo>
                  <a:pt x="655" y="610"/>
                </a:lnTo>
                <a:lnTo>
                  <a:pt x="653" y="611"/>
                </a:lnTo>
                <a:lnTo>
                  <a:pt x="650" y="612"/>
                </a:lnTo>
                <a:lnTo>
                  <a:pt x="648" y="613"/>
                </a:lnTo>
                <a:lnTo>
                  <a:pt x="645" y="613"/>
                </a:lnTo>
                <a:lnTo>
                  <a:pt x="643" y="613"/>
                </a:lnTo>
                <a:lnTo>
                  <a:pt x="640" y="612"/>
                </a:lnTo>
                <a:lnTo>
                  <a:pt x="638" y="610"/>
                </a:lnTo>
                <a:lnTo>
                  <a:pt x="636" y="608"/>
                </a:lnTo>
                <a:lnTo>
                  <a:pt x="634" y="606"/>
                </a:lnTo>
                <a:lnTo>
                  <a:pt x="633" y="604"/>
                </a:lnTo>
                <a:lnTo>
                  <a:pt x="633" y="601"/>
                </a:lnTo>
                <a:lnTo>
                  <a:pt x="633" y="599"/>
                </a:lnTo>
                <a:lnTo>
                  <a:pt x="633" y="596"/>
                </a:lnTo>
                <a:lnTo>
                  <a:pt x="634" y="594"/>
                </a:lnTo>
                <a:lnTo>
                  <a:pt x="635" y="592"/>
                </a:lnTo>
                <a:lnTo>
                  <a:pt x="637" y="590"/>
                </a:lnTo>
                <a:lnTo>
                  <a:pt x="639" y="588"/>
                </a:lnTo>
                <a:lnTo>
                  <a:pt x="641" y="587"/>
                </a:lnTo>
                <a:lnTo>
                  <a:pt x="643" y="587"/>
                </a:lnTo>
                <a:close/>
                <a:moveTo>
                  <a:pt x="2662" y="241"/>
                </a:moveTo>
                <a:lnTo>
                  <a:pt x="2665" y="241"/>
                </a:lnTo>
                <a:lnTo>
                  <a:pt x="2668" y="241"/>
                </a:lnTo>
                <a:lnTo>
                  <a:pt x="2670" y="242"/>
                </a:lnTo>
                <a:lnTo>
                  <a:pt x="2673" y="244"/>
                </a:lnTo>
                <a:lnTo>
                  <a:pt x="2675" y="245"/>
                </a:lnTo>
                <a:lnTo>
                  <a:pt x="2676" y="247"/>
                </a:lnTo>
                <a:lnTo>
                  <a:pt x="2677" y="250"/>
                </a:lnTo>
                <a:lnTo>
                  <a:pt x="2678" y="252"/>
                </a:lnTo>
                <a:lnTo>
                  <a:pt x="2678" y="255"/>
                </a:lnTo>
                <a:lnTo>
                  <a:pt x="2677" y="257"/>
                </a:lnTo>
                <a:lnTo>
                  <a:pt x="2677" y="259"/>
                </a:lnTo>
                <a:lnTo>
                  <a:pt x="2676" y="261"/>
                </a:lnTo>
                <a:lnTo>
                  <a:pt x="2674" y="264"/>
                </a:lnTo>
                <a:lnTo>
                  <a:pt x="2670" y="266"/>
                </a:lnTo>
                <a:lnTo>
                  <a:pt x="2667" y="267"/>
                </a:lnTo>
                <a:lnTo>
                  <a:pt x="2664" y="267"/>
                </a:lnTo>
                <a:lnTo>
                  <a:pt x="2661" y="267"/>
                </a:lnTo>
                <a:lnTo>
                  <a:pt x="2659" y="266"/>
                </a:lnTo>
                <a:lnTo>
                  <a:pt x="2657" y="265"/>
                </a:lnTo>
                <a:lnTo>
                  <a:pt x="2655" y="263"/>
                </a:lnTo>
                <a:lnTo>
                  <a:pt x="2653" y="261"/>
                </a:lnTo>
                <a:lnTo>
                  <a:pt x="2652" y="258"/>
                </a:lnTo>
                <a:lnTo>
                  <a:pt x="2652" y="256"/>
                </a:lnTo>
                <a:lnTo>
                  <a:pt x="2651" y="253"/>
                </a:lnTo>
                <a:lnTo>
                  <a:pt x="2652" y="251"/>
                </a:lnTo>
                <a:lnTo>
                  <a:pt x="2652" y="249"/>
                </a:lnTo>
                <a:lnTo>
                  <a:pt x="2653" y="247"/>
                </a:lnTo>
                <a:lnTo>
                  <a:pt x="2656" y="244"/>
                </a:lnTo>
                <a:lnTo>
                  <a:pt x="2659" y="242"/>
                </a:lnTo>
                <a:lnTo>
                  <a:pt x="2662" y="241"/>
                </a:lnTo>
                <a:close/>
                <a:moveTo>
                  <a:pt x="2726" y="258"/>
                </a:moveTo>
                <a:lnTo>
                  <a:pt x="2729" y="257"/>
                </a:lnTo>
                <a:lnTo>
                  <a:pt x="2732" y="258"/>
                </a:lnTo>
                <a:lnTo>
                  <a:pt x="2734" y="259"/>
                </a:lnTo>
                <a:lnTo>
                  <a:pt x="2737" y="260"/>
                </a:lnTo>
                <a:lnTo>
                  <a:pt x="2739" y="262"/>
                </a:lnTo>
                <a:lnTo>
                  <a:pt x="2740" y="264"/>
                </a:lnTo>
                <a:lnTo>
                  <a:pt x="2741" y="266"/>
                </a:lnTo>
                <a:lnTo>
                  <a:pt x="2742" y="269"/>
                </a:lnTo>
                <a:lnTo>
                  <a:pt x="2742" y="271"/>
                </a:lnTo>
                <a:lnTo>
                  <a:pt x="2741" y="274"/>
                </a:lnTo>
                <a:lnTo>
                  <a:pt x="2741" y="276"/>
                </a:lnTo>
                <a:lnTo>
                  <a:pt x="2740" y="278"/>
                </a:lnTo>
                <a:lnTo>
                  <a:pt x="2738" y="280"/>
                </a:lnTo>
                <a:lnTo>
                  <a:pt x="2734" y="283"/>
                </a:lnTo>
                <a:lnTo>
                  <a:pt x="2731" y="284"/>
                </a:lnTo>
                <a:lnTo>
                  <a:pt x="2728" y="284"/>
                </a:lnTo>
                <a:lnTo>
                  <a:pt x="2725" y="284"/>
                </a:lnTo>
                <a:lnTo>
                  <a:pt x="2723" y="283"/>
                </a:lnTo>
                <a:lnTo>
                  <a:pt x="2721" y="281"/>
                </a:lnTo>
                <a:lnTo>
                  <a:pt x="2719" y="279"/>
                </a:lnTo>
                <a:lnTo>
                  <a:pt x="2717" y="277"/>
                </a:lnTo>
                <a:lnTo>
                  <a:pt x="2716" y="275"/>
                </a:lnTo>
                <a:lnTo>
                  <a:pt x="2716" y="273"/>
                </a:lnTo>
                <a:lnTo>
                  <a:pt x="2715" y="270"/>
                </a:lnTo>
                <a:lnTo>
                  <a:pt x="2716" y="267"/>
                </a:lnTo>
                <a:lnTo>
                  <a:pt x="2716" y="266"/>
                </a:lnTo>
                <a:lnTo>
                  <a:pt x="2717" y="264"/>
                </a:lnTo>
                <a:lnTo>
                  <a:pt x="2720" y="261"/>
                </a:lnTo>
                <a:lnTo>
                  <a:pt x="2723" y="259"/>
                </a:lnTo>
                <a:lnTo>
                  <a:pt x="2726" y="258"/>
                </a:lnTo>
                <a:close/>
                <a:moveTo>
                  <a:pt x="604" y="640"/>
                </a:moveTo>
                <a:lnTo>
                  <a:pt x="609" y="640"/>
                </a:lnTo>
                <a:lnTo>
                  <a:pt x="612" y="641"/>
                </a:lnTo>
                <a:lnTo>
                  <a:pt x="614" y="642"/>
                </a:lnTo>
                <a:lnTo>
                  <a:pt x="616" y="644"/>
                </a:lnTo>
                <a:lnTo>
                  <a:pt x="618" y="646"/>
                </a:lnTo>
                <a:lnTo>
                  <a:pt x="619" y="648"/>
                </a:lnTo>
                <a:lnTo>
                  <a:pt x="619" y="651"/>
                </a:lnTo>
                <a:lnTo>
                  <a:pt x="620" y="653"/>
                </a:lnTo>
                <a:lnTo>
                  <a:pt x="619" y="656"/>
                </a:lnTo>
                <a:lnTo>
                  <a:pt x="619" y="658"/>
                </a:lnTo>
                <a:lnTo>
                  <a:pt x="617" y="661"/>
                </a:lnTo>
                <a:lnTo>
                  <a:pt x="615" y="663"/>
                </a:lnTo>
                <a:lnTo>
                  <a:pt x="613" y="664"/>
                </a:lnTo>
                <a:lnTo>
                  <a:pt x="611" y="665"/>
                </a:lnTo>
                <a:lnTo>
                  <a:pt x="609" y="666"/>
                </a:lnTo>
                <a:lnTo>
                  <a:pt x="604" y="666"/>
                </a:lnTo>
                <a:lnTo>
                  <a:pt x="601" y="665"/>
                </a:lnTo>
                <a:lnTo>
                  <a:pt x="599" y="664"/>
                </a:lnTo>
                <a:lnTo>
                  <a:pt x="597" y="662"/>
                </a:lnTo>
                <a:lnTo>
                  <a:pt x="595" y="660"/>
                </a:lnTo>
                <a:lnTo>
                  <a:pt x="594" y="657"/>
                </a:lnTo>
                <a:lnTo>
                  <a:pt x="593" y="655"/>
                </a:lnTo>
                <a:lnTo>
                  <a:pt x="593" y="652"/>
                </a:lnTo>
                <a:lnTo>
                  <a:pt x="593" y="650"/>
                </a:lnTo>
                <a:lnTo>
                  <a:pt x="594" y="647"/>
                </a:lnTo>
                <a:lnTo>
                  <a:pt x="596" y="645"/>
                </a:lnTo>
                <a:lnTo>
                  <a:pt x="597" y="643"/>
                </a:lnTo>
                <a:lnTo>
                  <a:pt x="599" y="642"/>
                </a:lnTo>
                <a:lnTo>
                  <a:pt x="602" y="640"/>
                </a:lnTo>
                <a:lnTo>
                  <a:pt x="604" y="640"/>
                </a:lnTo>
                <a:close/>
                <a:moveTo>
                  <a:pt x="2790" y="274"/>
                </a:moveTo>
                <a:lnTo>
                  <a:pt x="2793" y="274"/>
                </a:lnTo>
                <a:lnTo>
                  <a:pt x="2796" y="274"/>
                </a:lnTo>
                <a:lnTo>
                  <a:pt x="2798" y="275"/>
                </a:lnTo>
                <a:lnTo>
                  <a:pt x="2801" y="276"/>
                </a:lnTo>
                <a:lnTo>
                  <a:pt x="2803" y="278"/>
                </a:lnTo>
                <a:lnTo>
                  <a:pt x="2804" y="280"/>
                </a:lnTo>
                <a:lnTo>
                  <a:pt x="2805" y="283"/>
                </a:lnTo>
                <a:lnTo>
                  <a:pt x="2806" y="285"/>
                </a:lnTo>
                <a:lnTo>
                  <a:pt x="2806" y="288"/>
                </a:lnTo>
                <a:lnTo>
                  <a:pt x="2806" y="290"/>
                </a:lnTo>
                <a:lnTo>
                  <a:pt x="2805" y="292"/>
                </a:lnTo>
                <a:lnTo>
                  <a:pt x="2804" y="294"/>
                </a:lnTo>
                <a:lnTo>
                  <a:pt x="2802" y="297"/>
                </a:lnTo>
                <a:lnTo>
                  <a:pt x="2799" y="299"/>
                </a:lnTo>
                <a:lnTo>
                  <a:pt x="2795" y="300"/>
                </a:lnTo>
                <a:lnTo>
                  <a:pt x="2792" y="300"/>
                </a:lnTo>
                <a:lnTo>
                  <a:pt x="2789" y="300"/>
                </a:lnTo>
                <a:lnTo>
                  <a:pt x="2787" y="299"/>
                </a:lnTo>
                <a:lnTo>
                  <a:pt x="2785" y="298"/>
                </a:lnTo>
                <a:lnTo>
                  <a:pt x="2783" y="296"/>
                </a:lnTo>
                <a:lnTo>
                  <a:pt x="2781" y="294"/>
                </a:lnTo>
                <a:lnTo>
                  <a:pt x="2780" y="292"/>
                </a:lnTo>
                <a:lnTo>
                  <a:pt x="2780" y="289"/>
                </a:lnTo>
                <a:lnTo>
                  <a:pt x="2780" y="286"/>
                </a:lnTo>
                <a:lnTo>
                  <a:pt x="2780" y="284"/>
                </a:lnTo>
                <a:lnTo>
                  <a:pt x="2781" y="282"/>
                </a:lnTo>
                <a:lnTo>
                  <a:pt x="2781" y="280"/>
                </a:lnTo>
                <a:lnTo>
                  <a:pt x="2784" y="277"/>
                </a:lnTo>
                <a:lnTo>
                  <a:pt x="2787" y="275"/>
                </a:lnTo>
                <a:lnTo>
                  <a:pt x="2790" y="274"/>
                </a:lnTo>
                <a:close/>
                <a:moveTo>
                  <a:pt x="2855" y="290"/>
                </a:moveTo>
                <a:lnTo>
                  <a:pt x="2857" y="290"/>
                </a:lnTo>
                <a:lnTo>
                  <a:pt x="2860" y="290"/>
                </a:lnTo>
                <a:lnTo>
                  <a:pt x="2863" y="291"/>
                </a:lnTo>
                <a:lnTo>
                  <a:pt x="2865" y="292"/>
                </a:lnTo>
                <a:lnTo>
                  <a:pt x="2867" y="294"/>
                </a:lnTo>
                <a:lnTo>
                  <a:pt x="2868" y="296"/>
                </a:lnTo>
                <a:lnTo>
                  <a:pt x="2869" y="298"/>
                </a:lnTo>
                <a:lnTo>
                  <a:pt x="2870" y="301"/>
                </a:lnTo>
                <a:lnTo>
                  <a:pt x="2870" y="303"/>
                </a:lnTo>
                <a:lnTo>
                  <a:pt x="2870" y="306"/>
                </a:lnTo>
                <a:lnTo>
                  <a:pt x="2868" y="310"/>
                </a:lnTo>
                <a:lnTo>
                  <a:pt x="2866" y="313"/>
                </a:lnTo>
                <a:lnTo>
                  <a:pt x="2863" y="315"/>
                </a:lnTo>
                <a:lnTo>
                  <a:pt x="2859" y="316"/>
                </a:lnTo>
                <a:lnTo>
                  <a:pt x="2857" y="316"/>
                </a:lnTo>
                <a:lnTo>
                  <a:pt x="2854" y="316"/>
                </a:lnTo>
                <a:lnTo>
                  <a:pt x="2851" y="315"/>
                </a:lnTo>
                <a:lnTo>
                  <a:pt x="2849" y="314"/>
                </a:lnTo>
                <a:lnTo>
                  <a:pt x="2847" y="312"/>
                </a:lnTo>
                <a:lnTo>
                  <a:pt x="2846" y="310"/>
                </a:lnTo>
                <a:lnTo>
                  <a:pt x="2845" y="308"/>
                </a:lnTo>
                <a:lnTo>
                  <a:pt x="2844" y="305"/>
                </a:lnTo>
                <a:lnTo>
                  <a:pt x="2844" y="302"/>
                </a:lnTo>
                <a:lnTo>
                  <a:pt x="2844" y="300"/>
                </a:lnTo>
                <a:lnTo>
                  <a:pt x="2846" y="296"/>
                </a:lnTo>
                <a:lnTo>
                  <a:pt x="2848" y="293"/>
                </a:lnTo>
                <a:lnTo>
                  <a:pt x="2851" y="291"/>
                </a:lnTo>
                <a:lnTo>
                  <a:pt x="2855" y="290"/>
                </a:lnTo>
                <a:close/>
                <a:moveTo>
                  <a:pt x="566" y="694"/>
                </a:moveTo>
                <a:lnTo>
                  <a:pt x="571" y="694"/>
                </a:lnTo>
                <a:lnTo>
                  <a:pt x="574" y="695"/>
                </a:lnTo>
                <a:lnTo>
                  <a:pt x="576" y="696"/>
                </a:lnTo>
                <a:lnTo>
                  <a:pt x="578" y="698"/>
                </a:lnTo>
                <a:lnTo>
                  <a:pt x="580" y="700"/>
                </a:lnTo>
                <a:lnTo>
                  <a:pt x="581" y="702"/>
                </a:lnTo>
                <a:lnTo>
                  <a:pt x="582" y="705"/>
                </a:lnTo>
                <a:lnTo>
                  <a:pt x="582" y="710"/>
                </a:lnTo>
                <a:lnTo>
                  <a:pt x="581" y="712"/>
                </a:lnTo>
                <a:lnTo>
                  <a:pt x="580" y="715"/>
                </a:lnTo>
                <a:lnTo>
                  <a:pt x="578" y="717"/>
                </a:lnTo>
                <a:lnTo>
                  <a:pt x="576" y="718"/>
                </a:lnTo>
                <a:lnTo>
                  <a:pt x="573" y="719"/>
                </a:lnTo>
                <a:lnTo>
                  <a:pt x="571" y="720"/>
                </a:lnTo>
                <a:lnTo>
                  <a:pt x="566" y="720"/>
                </a:lnTo>
                <a:lnTo>
                  <a:pt x="564" y="719"/>
                </a:lnTo>
                <a:lnTo>
                  <a:pt x="561" y="718"/>
                </a:lnTo>
                <a:lnTo>
                  <a:pt x="559" y="716"/>
                </a:lnTo>
                <a:lnTo>
                  <a:pt x="558" y="714"/>
                </a:lnTo>
                <a:lnTo>
                  <a:pt x="556" y="712"/>
                </a:lnTo>
                <a:lnTo>
                  <a:pt x="556" y="710"/>
                </a:lnTo>
                <a:lnTo>
                  <a:pt x="556" y="705"/>
                </a:lnTo>
                <a:lnTo>
                  <a:pt x="556" y="702"/>
                </a:lnTo>
                <a:lnTo>
                  <a:pt x="558" y="700"/>
                </a:lnTo>
                <a:lnTo>
                  <a:pt x="559" y="698"/>
                </a:lnTo>
                <a:lnTo>
                  <a:pt x="562" y="696"/>
                </a:lnTo>
                <a:lnTo>
                  <a:pt x="564" y="695"/>
                </a:lnTo>
                <a:lnTo>
                  <a:pt x="566" y="694"/>
                </a:lnTo>
                <a:close/>
                <a:moveTo>
                  <a:pt x="2919" y="305"/>
                </a:moveTo>
                <a:lnTo>
                  <a:pt x="2922" y="305"/>
                </a:lnTo>
                <a:lnTo>
                  <a:pt x="2924" y="305"/>
                </a:lnTo>
                <a:lnTo>
                  <a:pt x="2927" y="306"/>
                </a:lnTo>
                <a:lnTo>
                  <a:pt x="2929" y="308"/>
                </a:lnTo>
                <a:lnTo>
                  <a:pt x="2931" y="309"/>
                </a:lnTo>
                <a:lnTo>
                  <a:pt x="2932" y="311"/>
                </a:lnTo>
                <a:lnTo>
                  <a:pt x="2934" y="314"/>
                </a:lnTo>
                <a:lnTo>
                  <a:pt x="2934" y="316"/>
                </a:lnTo>
                <a:lnTo>
                  <a:pt x="2934" y="319"/>
                </a:lnTo>
                <a:lnTo>
                  <a:pt x="2934" y="321"/>
                </a:lnTo>
                <a:lnTo>
                  <a:pt x="2933" y="325"/>
                </a:lnTo>
                <a:lnTo>
                  <a:pt x="2930" y="328"/>
                </a:lnTo>
                <a:lnTo>
                  <a:pt x="2927" y="330"/>
                </a:lnTo>
                <a:lnTo>
                  <a:pt x="2924" y="331"/>
                </a:lnTo>
                <a:lnTo>
                  <a:pt x="2921" y="332"/>
                </a:lnTo>
                <a:lnTo>
                  <a:pt x="2918" y="331"/>
                </a:lnTo>
                <a:lnTo>
                  <a:pt x="2916" y="330"/>
                </a:lnTo>
                <a:lnTo>
                  <a:pt x="2913" y="329"/>
                </a:lnTo>
                <a:lnTo>
                  <a:pt x="2912" y="327"/>
                </a:lnTo>
                <a:lnTo>
                  <a:pt x="2910" y="325"/>
                </a:lnTo>
                <a:lnTo>
                  <a:pt x="2909" y="323"/>
                </a:lnTo>
                <a:lnTo>
                  <a:pt x="2908" y="321"/>
                </a:lnTo>
                <a:lnTo>
                  <a:pt x="2908" y="318"/>
                </a:lnTo>
                <a:lnTo>
                  <a:pt x="2908" y="315"/>
                </a:lnTo>
                <a:lnTo>
                  <a:pt x="2910" y="312"/>
                </a:lnTo>
                <a:lnTo>
                  <a:pt x="2912" y="309"/>
                </a:lnTo>
                <a:lnTo>
                  <a:pt x="2915" y="306"/>
                </a:lnTo>
                <a:lnTo>
                  <a:pt x="2919" y="305"/>
                </a:lnTo>
                <a:close/>
                <a:moveTo>
                  <a:pt x="530" y="749"/>
                </a:moveTo>
                <a:lnTo>
                  <a:pt x="535" y="749"/>
                </a:lnTo>
                <a:lnTo>
                  <a:pt x="537" y="750"/>
                </a:lnTo>
                <a:lnTo>
                  <a:pt x="539" y="751"/>
                </a:lnTo>
                <a:lnTo>
                  <a:pt x="542" y="753"/>
                </a:lnTo>
                <a:lnTo>
                  <a:pt x="543" y="755"/>
                </a:lnTo>
                <a:lnTo>
                  <a:pt x="544" y="757"/>
                </a:lnTo>
                <a:lnTo>
                  <a:pt x="545" y="760"/>
                </a:lnTo>
                <a:lnTo>
                  <a:pt x="546" y="762"/>
                </a:lnTo>
                <a:lnTo>
                  <a:pt x="545" y="765"/>
                </a:lnTo>
                <a:lnTo>
                  <a:pt x="545" y="767"/>
                </a:lnTo>
                <a:lnTo>
                  <a:pt x="544" y="770"/>
                </a:lnTo>
                <a:lnTo>
                  <a:pt x="542" y="772"/>
                </a:lnTo>
                <a:lnTo>
                  <a:pt x="540" y="774"/>
                </a:lnTo>
                <a:lnTo>
                  <a:pt x="537" y="775"/>
                </a:lnTo>
                <a:lnTo>
                  <a:pt x="535" y="775"/>
                </a:lnTo>
                <a:lnTo>
                  <a:pt x="530" y="775"/>
                </a:lnTo>
                <a:lnTo>
                  <a:pt x="527" y="775"/>
                </a:lnTo>
                <a:lnTo>
                  <a:pt x="525" y="774"/>
                </a:lnTo>
                <a:lnTo>
                  <a:pt x="523" y="772"/>
                </a:lnTo>
                <a:lnTo>
                  <a:pt x="521" y="770"/>
                </a:lnTo>
                <a:lnTo>
                  <a:pt x="520" y="768"/>
                </a:lnTo>
                <a:lnTo>
                  <a:pt x="519" y="765"/>
                </a:lnTo>
                <a:lnTo>
                  <a:pt x="519" y="763"/>
                </a:lnTo>
                <a:lnTo>
                  <a:pt x="519" y="760"/>
                </a:lnTo>
                <a:lnTo>
                  <a:pt x="520" y="758"/>
                </a:lnTo>
                <a:lnTo>
                  <a:pt x="521" y="755"/>
                </a:lnTo>
                <a:lnTo>
                  <a:pt x="523" y="753"/>
                </a:lnTo>
                <a:lnTo>
                  <a:pt x="525" y="751"/>
                </a:lnTo>
                <a:lnTo>
                  <a:pt x="527" y="750"/>
                </a:lnTo>
                <a:lnTo>
                  <a:pt x="530" y="749"/>
                </a:lnTo>
                <a:close/>
                <a:moveTo>
                  <a:pt x="495" y="806"/>
                </a:moveTo>
                <a:lnTo>
                  <a:pt x="500" y="806"/>
                </a:lnTo>
                <a:lnTo>
                  <a:pt x="502" y="806"/>
                </a:lnTo>
                <a:lnTo>
                  <a:pt x="504" y="807"/>
                </a:lnTo>
                <a:lnTo>
                  <a:pt x="508" y="811"/>
                </a:lnTo>
                <a:lnTo>
                  <a:pt x="510" y="816"/>
                </a:lnTo>
                <a:lnTo>
                  <a:pt x="511" y="818"/>
                </a:lnTo>
                <a:lnTo>
                  <a:pt x="511" y="821"/>
                </a:lnTo>
                <a:lnTo>
                  <a:pt x="510" y="823"/>
                </a:lnTo>
                <a:lnTo>
                  <a:pt x="509" y="826"/>
                </a:lnTo>
                <a:lnTo>
                  <a:pt x="508" y="827"/>
                </a:lnTo>
                <a:lnTo>
                  <a:pt x="507" y="828"/>
                </a:lnTo>
                <a:lnTo>
                  <a:pt x="505" y="830"/>
                </a:lnTo>
                <a:lnTo>
                  <a:pt x="502" y="831"/>
                </a:lnTo>
                <a:lnTo>
                  <a:pt x="500" y="832"/>
                </a:lnTo>
                <a:lnTo>
                  <a:pt x="495" y="832"/>
                </a:lnTo>
                <a:lnTo>
                  <a:pt x="493" y="831"/>
                </a:lnTo>
                <a:lnTo>
                  <a:pt x="491" y="830"/>
                </a:lnTo>
                <a:lnTo>
                  <a:pt x="487" y="826"/>
                </a:lnTo>
                <a:lnTo>
                  <a:pt x="485" y="822"/>
                </a:lnTo>
                <a:lnTo>
                  <a:pt x="484" y="819"/>
                </a:lnTo>
                <a:lnTo>
                  <a:pt x="484" y="817"/>
                </a:lnTo>
                <a:lnTo>
                  <a:pt x="485" y="814"/>
                </a:lnTo>
                <a:lnTo>
                  <a:pt x="486" y="812"/>
                </a:lnTo>
                <a:lnTo>
                  <a:pt x="487" y="811"/>
                </a:lnTo>
                <a:lnTo>
                  <a:pt x="488" y="810"/>
                </a:lnTo>
                <a:lnTo>
                  <a:pt x="490" y="808"/>
                </a:lnTo>
                <a:lnTo>
                  <a:pt x="493" y="806"/>
                </a:lnTo>
                <a:lnTo>
                  <a:pt x="495" y="806"/>
                </a:lnTo>
                <a:close/>
                <a:moveTo>
                  <a:pt x="462" y="863"/>
                </a:moveTo>
                <a:lnTo>
                  <a:pt x="466" y="863"/>
                </a:lnTo>
                <a:lnTo>
                  <a:pt x="468" y="863"/>
                </a:lnTo>
                <a:lnTo>
                  <a:pt x="471" y="864"/>
                </a:lnTo>
                <a:lnTo>
                  <a:pt x="473" y="866"/>
                </a:lnTo>
                <a:lnTo>
                  <a:pt x="475" y="868"/>
                </a:lnTo>
                <a:lnTo>
                  <a:pt x="476" y="870"/>
                </a:lnTo>
                <a:lnTo>
                  <a:pt x="477" y="872"/>
                </a:lnTo>
                <a:lnTo>
                  <a:pt x="477" y="875"/>
                </a:lnTo>
                <a:lnTo>
                  <a:pt x="477" y="877"/>
                </a:lnTo>
                <a:lnTo>
                  <a:pt x="477" y="880"/>
                </a:lnTo>
                <a:lnTo>
                  <a:pt x="476" y="882"/>
                </a:lnTo>
                <a:lnTo>
                  <a:pt x="474" y="885"/>
                </a:lnTo>
                <a:lnTo>
                  <a:pt x="472" y="887"/>
                </a:lnTo>
                <a:lnTo>
                  <a:pt x="469" y="888"/>
                </a:lnTo>
                <a:lnTo>
                  <a:pt x="466" y="889"/>
                </a:lnTo>
                <a:lnTo>
                  <a:pt x="462" y="889"/>
                </a:lnTo>
                <a:lnTo>
                  <a:pt x="460" y="888"/>
                </a:lnTo>
                <a:lnTo>
                  <a:pt x="458" y="887"/>
                </a:lnTo>
                <a:lnTo>
                  <a:pt x="455" y="886"/>
                </a:lnTo>
                <a:lnTo>
                  <a:pt x="454" y="884"/>
                </a:lnTo>
                <a:lnTo>
                  <a:pt x="452" y="882"/>
                </a:lnTo>
                <a:lnTo>
                  <a:pt x="451" y="879"/>
                </a:lnTo>
                <a:lnTo>
                  <a:pt x="451" y="877"/>
                </a:lnTo>
                <a:lnTo>
                  <a:pt x="451" y="874"/>
                </a:lnTo>
                <a:lnTo>
                  <a:pt x="451" y="872"/>
                </a:lnTo>
                <a:lnTo>
                  <a:pt x="453" y="869"/>
                </a:lnTo>
                <a:lnTo>
                  <a:pt x="454" y="867"/>
                </a:lnTo>
                <a:lnTo>
                  <a:pt x="457" y="865"/>
                </a:lnTo>
                <a:lnTo>
                  <a:pt x="459" y="864"/>
                </a:lnTo>
                <a:lnTo>
                  <a:pt x="462" y="863"/>
                </a:lnTo>
                <a:close/>
                <a:moveTo>
                  <a:pt x="430" y="921"/>
                </a:moveTo>
                <a:lnTo>
                  <a:pt x="434" y="921"/>
                </a:lnTo>
                <a:lnTo>
                  <a:pt x="436" y="921"/>
                </a:lnTo>
                <a:lnTo>
                  <a:pt x="438" y="922"/>
                </a:lnTo>
                <a:lnTo>
                  <a:pt x="440" y="923"/>
                </a:lnTo>
                <a:lnTo>
                  <a:pt x="442" y="925"/>
                </a:lnTo>
                <a:lnTo>
                  <a:pt x="444" y="927"/>
                </a:lnTo>
                <a:lnTo>
                  <a:pt x="445" y="930"/>
                </a:lnTo>
                <a:lnTo>
                  <a:pt x="445" y="932"/>
                </a:lnTo>
                <a:lnTo>
                  <a:pt x="445" y="935"/>
                </a:lnTo>
                <a:lnTo>
                  <a:pt x="445" y="937"/>
                </a:lnTo>
                <a:lnTo>
                  <a:pt x="444" y="940"/>
                </a:lnTo>
                <a:lnTo>
                  <a:pt x="442" y="942"/>
                </a:lnTo>
                <a:lnTo>
                  <a:pt x="440" y="944"/>
                </a:lnTo>
                <a:lnTo>
                  <a:pt x="437" y="946"/>
                </a:lnTo>
                <a:lnTo>
                  <a:pt x="434" y="947"/>
                </a:lnTo>
                <a:lnTo>
                  <a:pt x="430" y="947"/>
                </a:lnTo>
                <a:lnTo>
                  <a:pt x="428" y="946"/>
                </a:lnTo>
                <a:lnTo>
                  <a:pt x="426" y="945"/>
                </a:lnTo>
                <a:lnTo>
                  <a:pt x="423" y="944"/>
                </a:lnTo>
                <a:lnTo>
                  <a:pt x="422" y="942"/>
                </a:lnTo>
                <a:lnTo>
                  <a:pt x="420" y="940"/>
                </a:lnTo>
                <a:lnTo>
                  <a:pt x="419" y="937"/>
                </a:lnTo>
                <a:lnTo>
                  <a:pt x="419" y="935"/>
                </a:lnTo>
                <a:lnTo>
                  <a:pt x="419" y="932"/>
                </a:lnTo>
                <a:lnTo>
                  <a:pt x="419" y="930"/>
                </a:lnTo>
                <a:lnTo>
                  <a:pt x="420" y="927"/>
                </a:lnTo>
                <a:lnTo>
                  <a:pt x="422" y="925"/>
                </a:lnTo>
                <a:lnTo>
                  <a:pt x="424" y="923"/>
                </a:lnTo>
                <a:lnTo>
                  <a:pt x="427" y="921"/>
                </a:lnTo>
                <a:lnTo>
                  <a:pt x="430" y="921"/>
                </a:lnTo>
                <a:close/>
                <a:moveTo>
                  <a:pt x="399" y="979"/>
                </a:moveTo>
                <a:lnTo>
                  <a:pt x="403" y="979"/>
                </a:lnTo>
                <a:lnTo>
                  <a:pt x="407" y="980"/>
                </a:lnTo>
                <a:lnTo>
                  <a:pt x="409" y="982"/>
                </a:lnTo>
                <a:lnTo>
                  <a:pt x="411" y="984"/>
                </a:lnTo>
                <a:lnTo>
                  <a:pt x="413" y="986"/>
                </a:lnTo>
                <a:lnTo>
                  <a:pt x="414" y="988"/>
                </a:lnTo>
                <a:lnTo>
                  <a:pt x="414" y="991"/>
                </a:lnTo>
                <a:lnTo>
                  <a:pt x="414" y="993"/>
                </a:lnTo>
                <a:lnTo>
                  <a:pt x="414" y="996"/>
                </a:lnTo>
                <a:lnTo>
                  <a:pt x="413" y="998"/>
                </a:lnTo>
                <a:lnTo>
                  <a:pt x="411" y="1001"/>
                </a:lnTo>
                <a:lnTo>
                  <a:pt x="409" y="1003"/>
                </a:lnTo>
                <a:lnTo>
                  <a:pt x="406" y="1004"/>
                </a:lnTo>
                <a:lnTo>
                  <a:pt x="404" y="1005"/>
                </a:lnTo>
                <a:lnTo>
                  <a:pt x="399" y="1005"/>
                </a:lnTo>
                <a:lnTo>
                  <a:pt x="395" y="1004"/>
                </a:lnTo>
                <a:lnTo>
                  <a:pt x="393" y="1003"/>
                </a:lnTo>
                <a:lnTo>
                  <a:pt x="391" y="1001"/>
                </a:lnTo>
                <a:lnTo>
                  <a:pt x="390" y="999"/>
                </a:lnTo>
                <a:lnTo>
                  <a:pt x="389" y="996"/>
                </a:lnTo>
                <a:lnTo>
                  <a:pt x="388" y="994"/>
                </a:lnTo>
                <a:lnTo>
                  <a:pt x="388" y="991"/>
                </a:lnTo>
                <a:lnTo>
                  <a:pt x="388" y="989"/>
                </a:lnTo>
                <a:lnTo>
                  <a:pt x="389" y="986"/>
                </a:lnTo>
                <a:lnTo>
                  <a:pt x="391" y="984"/>
                </a:lnTo>
                <a:lnTo>
                  <a:pt x="393" y="981"/>
                </a:lnTo>
                <a:lnTo>
                  <a:pt x="396" y="980"/>
                </a:lnTo>
                <a:lnTo>
                  <a:pt x="399" y="979"/>
                </a:lnTo>
                <a:close/>
                <a:moveTo>
                  <a:pt x="369" y="1038"/>
                </a:moveTo>
                <a:lnTo>
                  <a:pt x="373" y="1038"/>
                </a:lnTo>
                <a:lnTo>
                  <a:pt x="376" y="1039"/>
                </a:lnTo>
                <a:lnTo>
                  <a:pt x="378" y="1040"/>
                </a:lnTo>
                <a:lnTo>
                  <a:pt x="380" y="1041"/>
                </a:lnTo>
                <a:lnTo>
                  <a:pt x="382" y="1043"/>
                </a:lnTo>
                <a:lnTo>
                  <a:pt x="383" y="1045"/>
                </a:lnTo>
                <a:lnTo>
                  <a:pt x="384" y="1047"/>
                </a:lnTo>
                <a:lnTo>
                  <a:pt x="385" y="1050"/>
                </a:lnTo>
                <a:lnTo>
                  <a:pt x="385" y="1052"/>
                </a:lnTo>
                <a:lnTo>
                  <a:pt x="385" y="1055"/>
                </a:lnTo>
                <a:lnTo>
                  <a:pt x="384" y="1057"/>
                </a:lnTo>
                <a:lnTo>
                  <a:pt x="382" y="1060"/>
                </a:lnTo>
                <a:lnTo>
                  <a:pt x="380" y="1062"/>
                </a:lnTo>
                <a:lnTo>
                  <a:pt x="377" y="1064"/>
                </a:lnTo>
                <a:lnTo>
                  <a:pt x="374" y="1064"/>
                </a:lnTo>
                <a:lnTo>
                  <a:pt x="370" y="1065"/>
                </a:lnTo>
                <a:lnTo>
                  <a:pt x="368" y="1064"/>
                </a:lnTo>
                <a:lnTo>
                  <a:pt x="366" y="1063"/>
                </a:lnTo>
                <a:lnTo>
                  <a:pt x="364" y="1062"/>
                </a:lnTo>
                <a:lnTo>
                  <a:pt x="362" y="1060"/>
                </a:lnTo>
                <a:lnTo>
                  <a:pt x="360" y="1058"/>
                </a:lnTo>
                <a:lnTo>
                  <a:pt x="359" y="1056"/>
                </a:lnTo>
                <a:lnTo>
                  <a:pt x="359" y="1053"/>
                </a:lnTo>
                <a:lnTo>
                  <a:pt x="359" y="1051"/>
                </a:lnTo>
                <a:lnTo>
                  <a:pt x="359" y="1048"/>
                </a:lnTo>
                <a:lnTo>
                  <a:pt x="360" y="1046"/>
                </a:lnTo>
                <a:lnTo>
                  <a:pt x="362" y="1043"/>
                </a:lnTo>
                <a:lnTo>
                  <a:pt x="364" y="1041"/>
                </a:lnTo>
                <a:lnTo>
                  <a:pt x="367" y="1039"/>
                </a:lnTo>
                <a:lnTo>
                  <a:pt x="369" y="1038"/>
                </a:lnTo>
                <a:close/>
                <a:moveTo>
                  <a:pt x="341" y="1098"/>
                </a:moveTo>
                <a:lnTo>
                  <a:pt x="345" y="1098"/>
                </a:lnTo>
                <a:lnTo>
                  <a:pt x="349" y="1099"/>
                </a:lnTo>
                <a:lnTo>
                  <a:pt x="351" y="1101"/>
                </a:lnTo>
                <a:lnTo>
                  <a:pt x="353" y="1102"/>
                </a:lnTo>
                <a:lnTo>
                  <a:pt x="355" y="1104"/>
                </a:lnTo>
                <a:lnTo>
                  <a:pt x="356" y="1107"/>
                </a:lnTo>
                <a:lnTo>
                  <a:pt x="357" y="1109"/>
                </a:lnTo>
                <a:lnTo>
                  <a:pt x="357" y="1112"/>
                </a:lnTo>
                <a:lnTo>
                  <a:pt x="356" y="1114"/>
                </a:lnTo>
                <a:lnTo>
                  <a:pt x="356" y="1117"/>
                </a:lnTo>
                <a:lnTo>
                  <a:pt x="354" y="1120"/>
                </a:lnTo>
                <a:lnTo>
                  <a:pt x="351" y="1122"/>
                </a:lnTo>
                <a:lnTo>
                  <a:pt x="350" y="1123"/>
                </a:lnTo>
                <a:lnTo>
                  <a:pt x="349" y="1123"/>
                </a:lnTo>
                <a:lnTo>
                  <a:pt x="346" y="1124"/>
                </a:lnTo>
                <a:lnTo>
                  <a:pt x="342" y="1124"/>
                </a:lnTo>
                <a:lnTo>
                  <a:pt x="338" y="1123"/>
                </a:lnTo>
                <a:lnTo>
                  <a:pt x="336" y="1122"/>
                </a:lnTo>
                <a:lnTo>
                  <a:pt x="334" y="1120"/>
                </a:lnTo>
                <a:lnTo>
                  <a:pt x="332" y="1118"/>
                </a:lnTo>
                <a:lnTo>
                  <a:pt x="331" y="1116"/>
                </a:lnTo>
                <a:lnTo>
                  <a:pt x="330" y="1113"/>
                </a:lnTo>
                <a:lnTo>
                  <a:pt x="330" y="1111"/>
                </a:lnTo>
                <a:lnTo>
                  <a:pt x="331" y="1108"/>
                </a:lnTo>
                <a:lnTo>
                  <a:pt x="331" y="1106"/>
                </a:lnTo>
                <a:lnTo>
                  <a:pt x="333" y="1103"/>
                </a:lnTo>
                <a:lnTo>
                  <a:pt x="335" y="1101"/>
                </a:lnTo>
                <a:lnTo>
                  <a:pt x="337" y="1100"/>
                </a:lnTo>
                <a:lnTo>
                  <a:pt x="338" y="1099"/>
                </a:lnTo>
                <a:lnTo>
                  <a:pt x="341" y="1098"/>
                </a:lnTo>
                <a:close/>
                <a:moveTo>
                  <a:pt x="314" y="1160"/>
                </a:moveTo>
                <a:lnTo>
                  <a:pt x="318" y="1159"/>
                </a:lnTo>
                <a:lnTo>
                  <a:pt x="322" y="1160"/>
                </a:lnTo>
                <a:lnTo>
                  <a:pt x="324" y="1162"/>
                </a:lnTo>
                <a:lnTo>
                  <a:pt x="326" y="1164"/>
                </a:lnTo>
                <a:lnTo>
                  <a:pt x="328" y="1166"/>
                </a:lnTo>
                <a:lnTo>
                  <a:pt x="329" y="1168"/>
                </a:lnTo>
                <a:lnTo>
                  <a:pt x="329" y="1170"/>
                </a:lnTo>
                <a:lnTo>
                  <a:pt x="330" y="1173"/>
                </a:lnTo>
                <a:lnTo>
                  <a:pt x="329" y="1175"/>
                </a:lnTo>
                <a:lnTo>
                  <a:pt x="329" y="1178"/>
                </a:lnTo>
                <a:lnTo>
                  <a:pt x="327" y="1181"/>
                </a:lnTo>
                <a:lnTo>
                  <a:pt x="325" y="1183"/>
                </a:lnTo>
                <a:lnTo>
                  <a:pt x="322" y="1185"/>
                </a:lnTo>
                <a:lnTo>
                  <a:pt x="319" y="1186"/>
                </a:lnTo>
                <a:lnTo>
                  <a:pt x="315" y="1186"/>
                </a:lnTo>
                <a:lnTo>
                  <a:pt x="311" y="1185"/>
                </a:lnTo>
                <a:lnTo>
                  <a:pt x="309" y="1183"/>
                </a:lnTo>
                <a:lnTo>
                  <a:pt x="307" y="1182"/>
                </a:lnTo>
                <a:lnTo>
                  <a:pt x="305" y="1180"/>
                </a:lnTo>
                <a:lnTo>
                  <a:pt x="304" y="1177"/>
                </a:lnTo>
                <a:lnTo>
                  <a:pt x="303" y="1175"/>
                </a:lnTo>
                <a:lnTo>
                  <a:pt x="303" y="1172"/>
                </a:lnTo>
                <a:lnTo>
                  <a:pt x="303" y="1170"/>
                </a:lnTo>
                <a:lnTo>
                  <a:pt x="304" y="1167"/>
                </a:lnTo>
                <a:lnTo>
                  <a:pt x="306" y="1164"/>
                </a:lnTo>
                <a:lnTo>
                  <a:pt x="308" y="1162"/>
                </a:lnTo>
                <a:lnTo>
                  <a:pt x="311" y="1161"/>
                </a:lnTo>
                <a:lnTo>
                  <a:pt x="314" y="1160"/>
                </a:lnTo>
                <a:close/>
                <a:moveTo>
                  <a:pt x="288" y="1220"/>
                </a:moveTo>
                <a:lnTo>
                  <a:pt x="292" y="1220"/>
                </a:lnTo>
                <a:lnTo>
                  <a:pt x="296" y="1221"/>
                </a:lnTo>
                <a:lnTo>
                  <a:pt x="298" y="1223"/>
                </a:lnTo>
                <a:lnTo>
                  <a:pt x="300" y="1224"/>
                </a:lnTo>
                <a:lnTo>
                  <a:pt x="302" y="1226"/>
                </a:lnTo>
                <a:lnTo>
                  <a:pt x="303" y="1228"/>
                </a:lnTo>
                <a:lnTo>
                  <a:pt x="304" y="1231"/>
                </a:lnTo>
                <a:lnTo>
                  <a:pt x="304" y="1233"/>
                </a:lnTo>
                <a:lnTo>
                  <a:pt x="304" y="1236"/>
                </a:lnTo>
                <a:lnTo>
                  <a:pt x="303" y="1239"/>
                </a:lnTo>
                <a:lnTo>
                  <a:pt x="301" y="1242"/>
                </a:lnTo>
                <a:lnTo>
                  <a:pt x="299" y="1244"/>
                </a:lnTo>
                <a:lnTo>
                  <a:pt x="296" y="1246"/>
                </a:lnTo>
                <a:lnTo>
                  <a:pt x="293" y="1247"/>
                </a:lnTo>
                <a:lnTo>
                  <a:pt x="289" y="1247"/>
                </a:lnTo>
                <a:lnTo>
                  <a:pt x="286" y="1246"/>
                </a:lnTo>
                <a:lnTo>
                  <a:pt x="283" y="1244"/>
                </a:lnTo>
                <a:lnTo>
                  <a:pt x="281" y="1243"/>
                </a:lnTo>
                <a:lnTo>
                  <a:pt x="280" y="1241"/>
                </a:lnTo>
                <a:lnTo>
                  <a:pt x="278" y="1239"/>
                </a:lnTo>
                <a:lnTo>
                  <a:pt x="278" y="1236"/>
                </a:lnTo>
                <a:lnTo>
                  <a:pt x="277" y="1234"/>
                </a:lnTo>
                <a:lnTo>
                  <a:pt x="278" y="1231"/>
                </a:lnTo>
                <a:lnTo>
                  <a:pt x="278" y="1228"/>
                </a:lnTo>
                <a:lnTo>
                  <a:pt x="280" y="1225"/>
                </a:lnTo>
                <a:lnTo>
                  <a:pt x="282" y="1223"/>
                </a:lnTo>
                <a:lnTo>
                  <a:pt x="285" y="1221"/>
                </a:lnTo>
                <a:lnTo>
                  <a:pt x="288" y="1220"/>
                </a:lnTo>
                <a:close/>
                <a:moveTo>
                  <a:pt x="264" y="1282"/>
                </a:moveTo>
                <a:lnTo>
                  <a:pt x="267" y="1282"/>
                </a:lnTo>
                <a:lnTo>
                  <a:pt x="271" y="1283"/>
                </a:lnTo>
                <a:lnTo>
                  <a:pt x="275" y="1285"/>
                </a:lnTo>
                <a:lnTo>
                  <a:pt x="277" y="1287"/>
                </a:lnTo>
                <a:lnTo>
                  <a:pt x="278" y="1290"/>
                </a:lnTo>
                <a:lnTo>
                  <a:pt x="279" y="1292"/>
                </a:lnTo>
                <a:lnTo>
                  <a:pt x="279" y="1295"/>
                </a:lnTo>
                <a:lnTo>
                  <a:pt x="279" y="1297"/>
                </a:lnTo>
                <a:lnTo>
                  <a:pt x="278" y="1300"/>
                </a:lnTo>
                <a:lnTo>
                  <a:pt x="276" y="1303"/>
                </a:lnTo>
                <a:lnTo>
                  <a:pt x="274" y="1305"/>
                </a:lnTo>
                <a:lnTo>
                  <a:pt x="271" y="1307"/>
                </a:lnTo>
                <a:lnTo>
                  <a:pt x="268" y="1308"/>
                </a:lnTo>
                <a:lnTo>
                  <a:pt x="265" y="1308"/>
                </a:lnTo>
                <a:lnTo>
                  <a:pt x="261" y="1307"/>
                </a:lnTo>
                <a:lnTo>
                  <a:pt x="257" y="1304"/>
                </a:lnTo>
                <a:lnTo>
                  <a:pt x="255" y="1302"/>
                </a:lnTo>
                <a:lnTo>
                  <a:pt x="254" y="1300"/>
                </a:lnTo>
                <a:lnTo>
                  <a:pt x="253" y="1298"/>
                </a:lnTo>
                <a:lnTo>
                  <a:pt x="253" y="1295"/>
                </a:lnTo>
                <a:lnTo>
                  <a:pt x="253" y="1293"/>
                </a:lnTo>
                <a:lnTo>
                  <a:pt x="254" y="1290"/>
                </a:lnTo>
                <a:lnTo>
                  <a:pt x="255" y="1287"/>
                </a:lnTo>
                <a:lnTo>
                  <a:pt x="258" y="1285"/>
                </a:lnTo>
                <a:lnTo>
                  <a:pt x="260" y="1283"/>
                </a:lnTo>
                <a:lnTo>
                  <a:pt x="264" y="1282"/>
                </a:lnTo>
                <a:close/>
                <a:moveTo>
                  <a:pt x="240" y="1344"/>
                </a:moveTo>
                <a:lnTo>
                  <a:pt x="243" y="1343"/>
                </a:lnTo>
                <a:lnTo>
                  <a:pt x="247" y="1344"/>
                </a:lnTo>
                <a:lnTo>
                  <a:pt x="249" y="1345"/>
                </a:lnTo>
                <a:lnTo>
                  <a:pt x="251" y="1347"/>
                </a:lnTo>
                <a:lnTo>
                  <a:pt x="253" y="1349"/>
                </a:lnTo>
                <a:lnTo>
                  <a:pt x="254" y="1351"/>
                </a:lnTo>
                <a:lnTo>
                  <a:pt x="255" y="1352"/>
                </a:lnTo>
                <a:lnTo>
                  <a:pt x="255" y="1354"/>
                </a:lnTo>
                <a:lnTo>
                  <a:pt x="255" y="1356"/>
                </a:lnTo>
                <a:lnTo>
                  <a:pt x="255" y="1361"/>
                </a:lnTo>
                <a:lnTo>
                  <a:pt x="253" y="1364"/>
                </a:lnTo>
                <a:lnTo>
                  <a:pt x="251" y="1367"/>
                </a:lnTo>
                <a:lnTo>
                  <a:pt x="248" y="1369"/>
                </a:lnTo>
                <a:lnTo>
                  <a:pt x="245" y="1370"/>
                </a:lnTo>
                <a:lnTo>
                  <a:pt x="241" y="1370"/>
                </a:lnTo>
                <a:lnTo>
                  <a:pt x="238" y="1369"/>
                </a:lnTo>
                <a:lnTo>
                  <a:pt x="235" y="1368"/>
                </a:lnTo>
                <a:lnTo>
                  <a:pt x="233" y="1366"/>
                </a:lnTo>
                <a:lnTo>
                  <a:pt x="231" y="1364"/>
                </a:lnTo>
                <a:lnTo>
                  <a:pt x="230" y="1362"/>
                </a:lnTo>
                <a:lnTo>
                  <a:pt x="230" y="1361"/>
                </a:lnTo>
                <a:lnTo>
                  <a:pt x="229" y="1360"/>
                </a:lnTo>
                <a:lnTo>
                  <a:pt x="229" y="1357"/>
                </a:lnTo>
                <a:lnTo>
                  <a:pt x="230" y="1352"/>
                </a:lnTo>
                <a:lnTo>
                  <a:pt x="231" y="1349"/>
                </a:lnTo>
                <a:lnTo>
                  <a:pt x="234" y="1346"/>
                </a:lnTo>
                <a:lnTo>
                  <a:pt x="237" y="1345"/>
                </a:lnTo>
                <a:lnTo>
                  <a:pt x="240" y="1344"/>
                </a:lnTo>
                <a:close/>
                <a:moveTo>
                  <a:pt x="217" y="1406"/>
                </a:moveTo>
                <a:lnTo>
                  <a:pt x="221" y="1406"/>
                </a:lnTo>
                <a:lnTo>
                  <a:pt x="224" y="1406"/>
                </a:lnTo>
                <a:lnTo>
                  <a:pt x="226" y="1408"/>
                </a:lnTo>
                <a:lnTo>
                  <a:pt x="229" y="1409"/>
                </a:lnTo>
                <a:lnTo>
                  <a:pt x="230" y="1411"/>
                </a:lnTo>
                <a:lnTo>
                  <a:pt x="232" y="1413"/>
                </a:lnTo>
                <a:lnTo>
                  <a:pt x="232" y="1414"/>
                </a:lnTo>
                <a:lnTo>
                  <a:pt x="232" y="1416"/>
                </a:lnTo>
                <a:lnTo>
                  <a:pt x="233" y="1418"/>
                </a:lnTo>
                <a:lnTo>
                  <a:pt x="232" y="1423"/>
                </a:lnTo>
                <a:lnTo>
                  <a:pt x="230" y="1426"/>
                </a:lnTo>
                <a:lnTo>
                  <a:pt x="228" y="1429"/>
                </a:lnTo>
                <a:lnTo>
                  <a:pt x="225" y="1431"/>
                </a:lnTo>
                <a:lnTo>
                  <a:pt x="222" y="1432"/>
                </a:lnTo>
                <a:lnTo>
                  <a:pt x="219" y="1432"/>
                </a:lnTo>
                <a:lnTo>
                  <a:pt x="215" y="1431"/>
                </a:lnTo>
                <a:lnTo>
                  <a:pt x="213" y="1430"/>
                </a:lnTo>
                <a:lnTo>
                  <a:pt x="211" y="1429"/>
                </a:lnTo>
                <a:lnTo>
                  <a:pt x="209" y="1427"/>
                </a:lnTo>
                <a:lnTo>
                  <a:pt x="208" y="1425"/>
                </a:lnTo>
                <a:lnTo>
                  <a:pt x="207" y="1423"/>
                </a:lnTo>
                <a:lnTo>
                  <a:pt x="207" y="1422"/>
                </a:lnTo>
                <a:lnTo>
                  <a:pt x="206" y="1420"/>
                </a:lnTo>
                <a:lnTo>
                  <a:pt x="207" y="1414"/>
                </a:lnTo>
                <a:lnTo>
                  <a:pt x="209" y="1411"/>
                </a:lnTo>
                <a:lnTo>
                  <a:pt x="211" y="1409"/>
                </a:lnTo>
                <a:lnTo>
                  <a:pt x="214" y="1407"/>
                </a:lnTo>
                <a:lnTo>
                  <a:pt x="217" y="1406"/>
                </a:lnTo>
                <a:close/>
                <a:moveTo>
                  <a:pt x="196" y="1468"/>
                </a:moveTo>
                <a:lnTo>
                  <a:pt x="199" y="1468"/>
                </a:lnTo>
                <a:lnTo>
                  <a:pt x="202" y="1469"/>
                </a:lnTo>
                <a:lnTo>
                  <a:pt x="205" y="1470"/>
                </a:lnTo>
                <a:lnTo>
                  <a:pt x="207" y="1472"/>
                </a:lnTo>
                <a:lnTo>
                  <a:pt x="209" y="1473"/>
                </a:lnTo>
                <a:lnTo>
                  <a:pt x="210" y="1476"/>
                </a:lnTo>
                <a:lnTo>
                  <a:pt x="211" y="1478"/>
                </a:lnTo>
                <a:lnTo>
                  <a:pt x="211" y="1480"/>
                </a:lnTo>
                <a:lnTo>
                  <a:pt x="211" y="1483"/>
                </a:lnTo>
                <a:lnTo>
                  <a:pt x="211" y="1486"/>
                </a:lnTo>
                <a:lnTo>
                  <a:pt x="209" y="1489"/>
                </a:lnTo>
                <a:lnTo>
                  <a:pt x="207" y="1492"/>
                </a:lnTo>
                <a:lnTo>
                  <a:pt x="204" y="1493"/>
                </a:lnTo>
                <a:lnTo>
                  <a:pt x="200" y="1494"/>
                </a:lnTo>
                <a:lnTo>
                  <a:pt x="197" y="1495"/>
                </a:lnTo>
                <a:lnTo>
                  <a:pt x="194" y="1494"/>
                </a:lnTo>
                <a:lnTo>
                  <a:pt x="192" y="1493"/>
                </a:lnTo>
                <a:lnTo>
                  <a:pt x="189" y="1491"/>
                </a:lnTo>
                <a:lnTo>
                  <a:pt x="188" y="1490"/>
                </a:lnTo>
                <a:lnTo>
                  <a:pt x="186" y="1487"/>
                </a:lnTo>
                <a:lnTo>
                  <a:pt x="185" y="1485"/>
                </a:lnTo>
                <a:lnTo>
                  <a:pt x="185" y="1482"/>
                </a:lnTo>
                <a:lnTo>
                  <a:pt x="185" y="1480"/>
                </a:lnTo>
                <a:lnTo>
                  <a:pt x="186" y="1477"/>
                </a:lnTo>
                <a:lnTo>
                  <a:pt x="187" y="1474"/>
                </a:lnTo>
                <a:lnTo>
                  <a:pt x="190" y="1471"/>
                </a:lnTo>
                <a:lnTo>
                  <a:pt x="193" y="1469"/>
                </a:lnTo>
                <a:lnTo>
                  <a:pt x="196" y="1468"/>
                </a:lnTo>
                <a:close/>
                <a:moveTo>
                  <a:pt x="175" y="1531"/>
                </a:moveTo>
                <a:lnTo>
                  <a:pt x="179" y="1531"/>
                </a:lnTo>
                <a:lnTo>
                  <a:pt x="182" y="1532"/>
                </a:lnTo>
                <a:lnTo>
                  <a:pt x="184" y="1533"/>
                </a:lnTo>
                <a:lnTo>
                  <a:pt x="186" y="1534"/>
                </a:lnTo>
                <a:lnTo>
                  <a:pt x="188" y="1536"/>
                </a:lnTo>
                <a:lnTo>
                  <a:pt x="189" y="1538"/>
                </a:lnTo>
                <a:lnTo>
                  <a:pt x="191" y="1543"/>
                </a:lnTo>
                <a:lnTo>
                  <a:pt x="191" y="1546"/>
                </a:lnTo>
                <a:lnTo>
                  <a:pt x="190" y="1548"/>
                </a:lnTo>
                <a:lnTo>
                  <a:pt x="189" y="1552"/>
                </a:lnTo>
                <a:lnTo>
                  <a:pt x="186" y="1554"/>
                </a:lnTo>
                <a:lnTo>
                  <a:pt x="183" y="1556"/>
                </a:lnTo>
                <a:lnTo>
                  <a:pt x="180" y="1557"/>
                </a:lnTo>
                <a:lnTo>
                  <a:pt x="177" y="1558"/>
                </a:lnTo>
                <a:lnTo>
                  <a:pt x="174" y="1557"/>
                </a:lnTo>
                <a:lnTo>
                  <a:pt x="171" y="1556"/>
                </a:lnTo>
                <a:lnTo>
                  <a:pt x="169" y="1554"/>
                </a:lnTo>
                <a:lnTo>
                  <a:pt x="167" y="1553"/>
                </a:lnTo>
                <a:lnTo>
                  <a:pt x="166" y="1550"/>
                </a:lnTo>
                <a:lnTo>
                  <a:pt x="165" y="1546"/>
                </a:lnTo>
                <a:lnTo>
                  <a:pt x="165" y="1543"/>
                </a:lnTo>
                <a:lnTo>
                  <a:pt x="165" y="1540"/>
                </a:lnTo>
                <a:lnTo>
                  <a:pt x="167" y="1537"/>
                </a:lnTo>
                <a:lnTo>
                  <a:pt x="169" y="1534"/>
                </a:lnTo>
                <a:lnTo>
                  <a:pt x="172" y="1532"/>
                </a:lnTo>
                <a:lnTo>
                  <a:pt x="175" y="1531"/>
                </a:lnTo>
                <a:close/>
                <a:moveTo>
                  <a:pt x="156" y="1595"/>
                </a:moveTo>
                <a:lnTo>
                  <a:pt x="159" y="1594"/>
                </a:lnTo>
                <a:lnTo>
                  <a:pt x="162" y="1595"/>
                </a:lnTo>
                <a:lnTo>
                  <a:pt x="164" y="1596"/>
                </a:lnTo>
                <a:lnTo>
                  <a:pt x="167" y="1597"/>
                </a:lnTo>
                <a:lnTo>
                  <a:pt x="168" y="1599"/>
                </a:lnTo>
                <a:lnTo>
                  <a:pt x="170" y="1601"/>
                </a:lnTo>
                <a:lnTo>
                  <a:pt x="171" y="1606"/>
                </a:lnTo>
                <a:lnTo>
                  <a:pt x="171" y="1609"/>
                </a:lnTo>
                <a:lnTo>
                  <a:pt x="171" y="1611"/>
                </a:lnTo>
                <a:lnTo>
                  <a:pt x="169" y="1615"/>
                </a:lnTo>
                <a:lnTo>
                  <a:pt x="167" y="1618"/>
                </a:lnTo>
                <a:lnTo>
                  <a:pt x="164" y="1620"/>
                </a:lnTo>
                <a:lnTo>
                  <a:pt x="162" y="1620"/>
                </a:lnTo>
                <a:lnTo>
                  <a:pt x="161" y="1621"/>
                </a:lnTo>
                <a:lnTo>
                  <a:pt x="157" y="1621"/>
                </a:lnTo>
                <a:lnTo>
                  <a:pt x="154" y="1620"/>
                </a:lnTo>
                <a:lnTo>
                  <a:pt x="152" y="1619"/>
                </a:lnTo>
                <a:lnTo>
                  <a:pt x="150" y="1618"/>
                </a:lnTo>
                <a:lnTo>
                  <a:pt x="148" y="1616"/>
                </a:lnTo>
                <a:lnTo>
                  <a:pt x="147" y="1614"/>
                </a:lnTo>
                <a:lnTo>
                  <a:pt x="145" y="1609"/>
                </a:lnTo>
                <a:lnTo>
                  <a:pt x="145" y="1606"/>
                </a:lnTo>
                <a:lnTo>
                  <a:pt x="146" y="1604"/>
                </a:lnTo>
                <a:lnTo>
                  <a:pt x="147" y="1600"/>
                </a:lnTo>
                <a:lnTo>
                  <a:pt x="150" y="1598"/>
                </a:lnTo>
                <a:lnTo>
                  <a:pt x="153" y="1596"/>
                </a:lnTo>
                <a:lnTo>
                  <a:pt x="154" y="1595"/>
                </a:lnTo>
                <a:lnTo>
                  <a:pt x="156" y="1595"/>
                </a:lnTo>
                <a:close/>
                <a:moveTo>
                  <a:pt x="137" y="1658"/>
                </a:moveTo>
                <a:lnTo>
                  <a:pt x="140" y="1658"/>
                </a:lnTo>
                <a:lnTo>
                  <a:pt x="143" y="1658"/>
                </a:lnTo>
                <a:lnTo>
                  <a:pt x="146" y="1659"/>
                </a:lnTo>
                <a:lnTo>
                  <a:pt x="148" y="1661"/>
                </a:lnTo>
                <a:lnTo>
                  <a:pt x="150" y="1663"/>
                </a:lnTo>
                <a:lnTo>
                  <a:pt x="151" y="1665"/>
                </a:lnTo>
                <a:lnTo>
                  <a:pt x="152" y="1667"/>
                </a:lnTo>
                <a:lnTo>
                  <a:pt x="153" y="1669"/>
                </a:lnTo>
                <a:lnTo>
                  <a:pt x="153" y="1672"/>
                </a:lnTo>
                <a:lnTo>
                  <a:pt x="152" y="1675"/>
                </a:lnTo>
                <a:lnTo>
                  <a:pt x="151" y="1678"/>
                </a:lnTo>
                <a:lnTo>
                  <a:pt x="149" y="1681"/>
                </a:lnTo>
                <a:lnTo>
                  <a:pt x="145" y="1683"/>
                </a:lnTo>
                <a:lnTo>
                  <a:pt x="144" y="1684"/>
                </a:lnTo>
                <a:lnTo>
                  <a:pt x="142" y="1684"/>
                </a:lnTo>
                <a:lnTo>
                  <a:pt x="139" y="1684"/>
                </a:lnTo>
                <a:lnTo>
                  <a:pt x="136" y="1684"/>
                </a:lnTo>
                <a:lnTo>
                  <a:pt x="134" y="1683"/>
                </a:lnTo>
                <a:lnTo>
                  <a:pt x="131" y="1681"/>
                </a:lnTo>
                <a:lnTo>
                  <a:pt x="130" y="1680"/>
                </a:lnTo>
                <a:lnTo>
                  <a:pt x="128" y="1678"/>
                </a:lnTo>
                <a:lnTo>
                  <a:pt x="127" y="1675"/>
                </a:lnTo>
                <a:lnTo>
                  <a:pt x="127" y="1673"/>
                </a:lnTo>
                <a:lnTo>
                  <a:pt x="127" y="1670"/>
                </a:lnTo>
                <a:lnTo>
                  <a:pt x="127" y="1667"/>
                </a:lnTo>
                <a:lnTo>
                  <a:pt x="129" y="1664"/>
                </a:lnTo>
                <a:lnTo>
                  <a:pt x="131" y="1661"/>
                </a:lnTo>
                <a:lnTo>
                  <a:pt x="134" y="1659"/>
                </a:lnTo>
                <a:lnTo>
                  <a:pt x="136" y="1659"/>
                </a:lnTo>
                <a:lnTo>
                  <a:pt x="137" y="1658"/>
                </a:lnTo>
                <a:close/>
                <a:moveTo>
                  <a:pt x="120" y="1722"/>
                </a:moveTo>
                <a:lnTo>
                  <a:pt x="123" y="1722"/>
                </a:lnTo>
                <a:lnTo>
                  <a:pt x="126" y="1722"/>
                </a:lnTo>
                <a:lnTo>
                  <a:pt x="128" y="1723"/>
                </a:lnTo>
                <a:lnTo>
                  <a:pt x="130" y="1724"/>
                </a:lnTo>
                <a:lnTo>
                  <a:pt x="132" y="1726"/>
                </a:lnTo>
                <a:lnTo>
                  <a:pt x="134" y="1728"/>
                </a:lnTo>
                <a:lnTo>
                  <a:pt x="135" y="1731"/>
                </a:lnTo>
                <a:lnTo>
                  <a:pt x="135" y="1733"/>
                </a:lnTo>
                <a:lnTo>
                  <a:pt x="135" y="1736"/>
                </a:lnTo>
                <a:lnTo>
                  <a:pt x="135" y="1738"/>
                </a:lnTo>
                <a:lnTo>
                  <a:pt x="134" y="1740"/>
                </a:lnTo>
                <a:lnTo>
                  <a:pt x="133" y="1742"/>
                </a:lnTo>
                <a:lnTo>
                  <a:pt x="131" y="1745"/>
                </a:lnTo>
                <a:lnTo>
                  <a:pt x="128" y="1747"/>
                </a:lnTo>
                <a:lnTo>
                  <a:pt x="124" y="1748"/>
                </a:lnTo>
                <a:lnTo>
                  <a:pt x="122" y="1748"/>
                </a:lnTo>
                <a:lnTo>
                  <a:pt x="119" y="1748"/>
                </a:lnTo>
                <a:lnTo>
                  <a:pt x="116" y="1747"/>
                </a:lnTo>
                <a:lnTo>
                  <a:pt x="114" y="1745"/>
                </a:lnTo>
                <a:lnTo>
                  <a:pt x="112" y="1744"/>
                </a:lnTo>
                <a:lnTo>
                  <a:pt x="111" y="1742"/>
                </a:lnTo>
                <a:lnTo>
                  <a:pt x="110" y="1739"/>
                </a:lnTo>
                <a:lnTo>
                  <a:pt x="109" y="1737"/>
                </a:lnTo>
                <a:lnTo>
                  <a:pt x="109" y="1734"/>
                </a:lnTo>
                <a:lnTo>
                  <a:pt x="109" y="1731"/>
                </a:lnTo>
                <a:lnTo>
                  <a:pt x="110" y="1730"/>
                </a:lnTo>
                <a:lnTo>
                  <a:pt x="111" y="1728"/>
                </a:lnTo>
                <a:lnTo>
                  <a:pt x="113" y="1725"/>
                </a:lnTo>
                <a:lnTo>
                  <a:pt x="116" y="1723"/>
                </a:lnTo>
                <a:lnTo>
                  <a:pt x="120" y="1722"/>
                </a:lnTo>
                <a:close/>
                <a:moveTo>
                  <a:pt x="103" y="1786"/>
                </a:moveTo>
                <a:lnTo>
                  <a:pt x="106" y="1786"/>
                </a:lnTo>
                <a:lnTo>
                  <a:pt x="109" y="1786"/>
                </a:lnTo>
                <a:lnTo>
                  <a:pt x="111" y="1787"/>
                </a:lnTo>
                <a:lnTo>
                  <a:pt x="114" y="1788"/>
                </a:lnTo>
                <a:lnTo>
                  <a:pt x="115" y="1790"/>
                </a:lnTo>
                <a:lnTo>
                  <a:pt x="117" y="1792"/>
                </a:lnTo>
                <a:lnTo>
                  <a:pt x="118" y="1794"/>
                </a:lnTo>
                <a:lnTo>
                  <a:pt x="119" y="1797"/>
                </a:lnTo>
                <a:lnTo>
                  <a:pt x="119" y="1800"/>
                </a:lnTo>
                <a:lnTo>
                  <a:pt x="118" y="1802"/>
                </a:lnTo>
                <a:lnTo>
                  <a:pt x="118" y="1804"/>
                </a:lnTo>
                <a:lnTo>
                  <a:pt x="117" y="1806"/>
                </a:lnTo>
                <a:lnTo>
                  <a:pt x="114" y="1809"/>
                </a:lnTo>
                <a:lnTo>
                  <a:pt x="111" y="1811"/>
                </a:lnTo>
                <a:lnTo>
                  <a:pt x="108" y="1812"/>
                </a:lnTo>
                <a:lnTo>
                  <a:pt x="105" y="1812"/>
                </a:lnTo>
                <a:lnTo>
                  <a:pt x="102" y="1812"/>
                </a:lnTo>
                <a:lnTo>
                  <a:pt x="100" y="1811"/>
                </a:lnTo>
                <a:lnTo>
                  <a:pt x="98" y="1809"/>
                </a:lnTo>
                <a:lnTo>
                  <a:pt x="96" y="1808"/>
                </a:lnTo>
                <a:lnTo>
                  <a:pt x="94" y="1806"/>
                </a:lnTo>
                <a:lnTo>
                  <a:pt x="93" y="1803"/>
                </a:lnTo>
                <a:lnTo>
                  <a:pt x="92" y="1801"/>
                </a:lnTo>
                <a:lnTo>
                  <a:pt x="92" y="1798"/>
                </a:lnTo>
                <a:lnTo>
                  <a:pt x="93" y="1796"/>
                </a:lnTo>
                <a:lnTo>
                  <a:pt x="93" y="1794"/>
                </a:lnTo>
                <a:lnTo>
                  <a:pt x="94" y="1792"/>
                </a:lnTo>
                <a:lnTo>
                  <a:pt x="97" y="1789"/>
                </a:lnTo>
                <a:lnTo>
                  <a:pt x="100" y="1787"/>
                </a:lnTo>
                <a:lnTo>
                  <a:pt x="103" y="1786"/>
                </a:lnTo>
                <a:close/>
                <a:moveTo>
                  <a:pt x="88" y="1850"/>
                </a:moveTo>
                <a:lnTo>
                  <a:pt x="90" y="1850"/>
                </a:lnTo>
                <a:lnTo>
                  <a:pt x="93" y="1850"/>
                </a:lnTo>
                <a:lnTo>
                  <a:pt x="95" y="1851"/>
                </a:lnTo>
                <a:lnTo>
                  <a:pt x="98" y="1853"/>
                </a:lnTo>
                <a:lnTo>
                  <a:pt x="100" y="1854"/>
                </a:lnTo>
                <a:lnTo>
                  <a:pt x="101" y="1856"/>
                </a:lnTo>
                <a:lnTo>
                  <a:pt x="102" y="1859"/>
                </a:lnTo>
                <a:lnTo>
                  <a:pt x="103" y="1861"/>
                </a:lnTo>
                <a:lnTo>
                  <a:pt x="103" y="1864"/>
                </a:lnTo>
                <a:lnTo>
                  <a:pt x="103" y="1866"/>
                </a:lnTo>
                <a:lnTo>
                  <a:pt x="101" y="1870"/>
                </a:lnTo>
                <a:lnTo>
                  <a:pt x="99" y="1873"/>
                </a:lnTo>
                <a:lnTo>
                  <a:pt x="96" y="1875"/>
                </a:lnTo>
                <a:lnTo>
                  <a:pt x="92" y="1876"/>
                </a:lnTo>
                <a:lnTo>
                  <a:pt x="89" y="1876"/>
                </a:lnTo>
                <a:lnTo>
                  <a:pt x="87" y="1876"/>
                </a:lnTo>
                <a:lnTo>
                  <a:pt x="84" y="1875"/>
                </a:lnTo>
                <a:lnTo>
                  <a:pt x="82" y="1874"/>
                </a:lnTo>
                <a:lnTo>
                  <a:pt x="80" y="1872"/>
                </a:lnTo>
                <a:lnTo>
                  <a:pt x="79" y="1870"/>
                </a:lnTo>
                <a:lnTo>
                  <a:pt x="77" y="1868"/>
                </a:lnTo>
                <a:lnTo>
                  <a:pt x="77" y="1865"/>
                </a:lnTo>
                <a:lnTo>
                  <a:pt x="77" y="1863"/>
                </a:lnTo>
                <a:lnTo>
                  <a:pt x="77" y="1860"/>
                </a:lnTo>
                <a:lnTo>
                  <a:pt x="78" y="1856"/>
                </a:lnTo>
                <a:lnTo>
                  <a:pt x="81" y="1853"/>
                </a:lnTo>
                <a:lnTo>
                  <a:pt x="84" y="1851"/>
                </a:lnTo>
                <a:lnTo>
                  <a:pt x="88" y="1850"/>
                </a:lnTo>
                <a:close/>
                <a:moveTo>
                  <a:pt x="73" y="1915"/>
                </a:moveTo>
                <a:lnTo>
                  <a:pt x="78" y="1915"/>
                </a:lnTo>
                <a:lnTo>
                  <a:pt x="80" y="1916"/>
                </a:lnTo>
                <a:lnTo>
                  <a:pt x="83" y="1917"/>
                </a:lnTo>
                <a:lnTo>
                  <a:pt x="85" y="1919"/>
                </a:lnTo>
                <a:lnTo>
                  <a:pt x="86" y="1921"/>
                </a:lnTo>
                <a:lnTo>
                  <a:pt x="87" y="1923"/>
                </a:lnTo>
                <a:lnTo>
                  <a:pt x="88" y="1925"/>
                </a:lnTo>
                <a:lnTo>
                  <a:pt x="88" y="1931"/>
                </a:lnTo>
                <a:lnTo>
                  <a:pt x="86" y="1934"/>
                </a:lnTo>
                <a:lnTo>
                  <a:pt x="85" y="1936"/>
                </a:lnTo>
                <a:lnTo>
                  <a:pt x="84" y="1937"/>
                </a:lnTo>
                <a:lnTo>
                  <a:pt x="81" y="1939"/>
                </a:lnTo>
                <a:lnTo>
                  <a:pt x="77" y="1941"/>
                </a:lnTo>
                <a:lnTo>
                  <a:pt x="72" y="1941"/>
                </a:lnTo>
                <a:lnTo>
                  <a:pt x="70" y="1940"/>
                </a:lnTo>
                <a:lnTo>
                  <a:pt x="67" y="1938"/>
                </a:lnTo>
                <a:lnTo>
                  <a:pt x="65" y="1937"/>
                </a:lnTo>
                <a:lnTo>
                  <a:pt x="64" y="1935"/>
                </a:lnTo>
                <a:lnTo>
                  <a:pt x="63" y="1933"/>
                </a:lnTo>
                <a:lnTo>
                  <a:pt x="62" y="1930"/>
                </a:lnTo>
                <a:lnTo>
                  <a:pt x="62" y="1925"/>
                </a:lnTo>
                <a:lnTo>
                  <a:pt x="63" y="1921"/>
                </a:lnTo>
                <a:lnTo>
                  <a:pt x="65" y="1919"/>
                </a:lnTo>
                <a:lnTo>
                  <a:pt x="66" y="1918"/>
                </a:lnTo>
                <a:lnTo>
                  <a:pt x="69" y="1916"/>
                </a:lnTo>
                <a:lnTo>
                  <a:pt x="73" y="1915"/>
                </a:lnTo>
                <a:close/>
                <a:moveTo>
                  <a:pt x="59" y="1979"/>
                </a:moveTo>
                <a:lnTo>
                  <a:pt x="64" y="1979"/>
                </a:lnTo>
                <a:lnTo>
                  <a:pt x="66" y="1980"/>
                </a:lnTo>
                <a:lnTo>
                  <a:pt x="69" y="1981"/>
                </a:lnTo>
                <a:lnTo>
                  <a:pt x="70" y="1983"/>
                </a:lnTo>
                <a:lnTo>
                  <a:pt x="72" y="1985"/>
                </a:lnTo>
                <a:lnTo>
                  <a:pt x="73" y="1987"/>
                </a:lnTo>
                <a:lnTo>
                  <a:pt x="74" y="1990"/>
                </a:lnTo>
                <a:lnTo>
                  <a:pt x="74" y="1995"/>
                </a:lnTo>
                <a:lnTo>
                  <a:pt x="73" y="1997"/>
                </a:lnTo>
                <a:lnTo>
                  <a:pt x="73" y="1999"/>
                </a:lnTo>
                <a:lnTo>
                  <a:pt x="71" y="2000"/>
                </a:lnTo>
                <a:lnTo>
                  <a:pt x="70" y="2002"/>
                </a:lnTo>
                <a:lnTo>
                  <a:pt x="69" y="2003"/>
                </a:lnTo>
                <a:lnTo>
                  <a:pt x="67" y="2004"/>
                </a:lnTo>
                <a:lnTo>
                  <a:pt x="63" y="2005"/>
                </a:lnTo>
                <a:lnTo>
                  <a:pt x="58" y="2005"/>
                </a:lnTo>
                <a:lnTo>
                  <a:pt x="56" y="2004"/>
                </a:lnTo>
                <a:lnTo>
                  <a:pt x="53" y="2003"/>
                </a:lnTo>
                <a:lnTo>
                  <a:pt x="51" y="2002"/>
                </a:lnTo>
                <a:lnTo>
                  <a:pt x="50" y="2000"/>
                </a:lnTo>
                <a:lnTo>
                  <a:pt x="49" y="1997"/>
                </a:lnTo>
                <a:lnTo>
                  <a:pt x="48" y="1995"/>
                </a:lnTo>
                <a:lnTo>
                  <a:pt x="48" y="1990"/>
                </a:lnTo>
                <a:lnTo>
                  <a:pt x="49" y="1988"/>
                </a:lnTo>
                <a:lnTo>
                  <a:pt x="49" y="1986"/>
                </a:lnTo>
                <a:lnTo>
                  <a:pt x="51" y="1984"/>
                </a:lnTo>
                <a:lnTo>
                  <a:pt x="52" y="1983"/>
                </a:lnTo>
                <a:lnTo>
                  <a:pt x="53" y="1982"/>
                </a:lnTo>
                <a:lnTo>
                  <a:pt x="55" y="1981"/>
                </a:lnTo>
                <a:lnTo>
                  <a:pt x="59" y="1979"/>
                </a:lnTo>
                <a:close/>
                <a:moveTo>
                  <a:pt x="46" y="2044"/>
                </a:moveTo>
                <a:lnTo>
                  <a:pt x="50" y="2044"/>
                </a:lnTo>
                <a:lnTo>
                  <a:pt x="53" y="2045"/>
                </a:lnTo>
                <a:lnTo>
                  <a:pt x="55" y="2046"/>
                </a:lnTo>
                <a:lnTo>
                  <a:pt x="57" y="2048"/>
                </a:lnTo>
                <a:lnTo>
                  <a:pt x="59" y="2050"/>
                </a:lnTo>
                <a:lnTo>
                  <a:pt x="60" y="2052"/>
                </a:lnTo>
                <a:lnTo>
                  <a:pt x="61" y="2054"/>
                </a:lnTo>
                <a:lnTo>
                  <a:pt x="61" y="2057"/>
                </a:lnTo>
                <a:lnTo>
                  <a:pt x="61" y="2060"/>
                </a:lnTo>
                <a:lnTo>
                  <a:pt x="60" y="2062"/>
                </a:lnTo>
                <a:lnTo>
                  <a:pt x="59" y="2064"/>
                </a:lnTo>
                <a:lnTo>
                  <a:pt x="57" y="2067"/>
                </a:lnTo>
                <a:lnTo>
                  <a:pt x="56" y="2068"/>
                </a:lnTo>
                <a:lnTo>
                  <a:pt x="54" y="2069"/>
                </a:lnTo>
                <a:lnTo>
                  <a:pt x="50" y="2070"/>
                </a:lnTo>
                <a:lnTo>
                  <a:pt x="45" y="2070"/>
                </a:lnTo>
                <a:lnTo>
                  <a:pt x="43" y="2069"/>
                </a:lnTo>
                <a:lnTo>
                  <a:pt x="40" y="2068"/>
                </a:lnTo>
                <a:lnTo>
                  <a:pt x="38" y="2067"/>
                </a:lnTo>
                <a:lnTo>
                  <a:pt x="37" y="2065"/>
                </a:lnTo>
                <a:lnTo>
                  <a:pt x="36" y="2062"/>
                </a:lnTo>
                <a:lnTo>
                  <a:pt x="35" y="2060"/>
                </a:lnTo>
                <a:lnTo>
                  <a:pt x="35" y="2057"/>
                </a:lnTo>
                <a:lnTo>
                  <a:pt x="35" y="2055"/>
                </a:lnTo>
                <a:lnTo>
                  <a:pt x="35" y="2053"/>
                </a:lnTo>
                <a:lnTo>
                  <a:pt x="36" y="2051"/>
                </a:lnTo>
                <a:lnTo>
                  <a:pt x="39" y="2048"/>
                </a:lnTo>
                <a:lnTo>
                  <a:pt x="40" y="2046"/>
                </a:lnTo>
                <a:lnTo>
                  <a:pt x="42" y="2045"/>
                </a:lnTo>
                <a:lnTo>
                  <a:pt x="46" y="2044"/>
                </a:lnTo>
                <a:close/>
                <a:moveTo>
                  <a:pt x="33" y="2109"/>
                </a:moveTo>
                <a:lnTo>
                  <a:pt x="38" y="2109"/>
                </a:lnTo>
                <a:lnTo>
                  <a:pt x="41" y="2110"/>
                </a:lnTo>
                <a:lnTo>
                  <a:pt x="43" y="2111"/>
                </a:lnTo>
                <a:lnTo>
                  <a:pt x="45" y="2113"/>
                </a:lnTo>
                <a:lnTo>
                  <a:pt x="46" y="2115"/>
                </a:lnTo>
                <a:lnTo>
                  <a:pt x="48" y="2117"/>
                </a:lnTo>
                <a:lnTo>
                  <a:pt x="48" y="2119"/>
                </a:lnTo>
                <a:lnTo>
                  <a:pt x="49" y="2122"/>
                </a:lnTo>
                <a:lnTo>
                  <a:pt x="49" y="2125"/>
                </a:lnTo>
                <a:lnTo>
                  <a:pt x="47" y="2128"/>
                </a:lnTo>
                <a:lnTo>
                  <a:pt x="45" y="2132"/>
                </a:lnTo>
                <a:lnTo>
                  <a:pt x="43" y="2133"/>
                </a:lnTo>
                <a:lnTo>
                  <a:pt x="42" y="2134"/>
                </a:lnTo>
                <a:lnTo>
                  <a:pt x="38" y="2135"/>
                </a:lnTo>
                <a:lnTo>
                  <a:pt x="33" y="2135"/>
                </a:lnTo>
                <a:lnTo>
                  <a:pt x="31" y="2134"/>
                </a:lnTo>
                <a:lnTo>
                  <a:pt x="28" y="2133"/>
                </a:lnTo>
                <a:lnTo>
                  <a:pt x="26" y="2132"/>
                </a:lnTo>
                <a:lnTo>
                  <a:pt x="25" y="2130"/>
                </a:lnTo>
                <a:lnTo>
                  <a:pt x="23" y="2127"/>
                </a:lnTo>
                <a:lnTo>
                  <a:pt x="23" y="2125"/>
                </a:lnTo>
                <a:lnTo>
                  <a:pt x="22" y="2122"/>
                </a:lnTo>
                <a:lnTo>
                  <a:pt x="23" y="2120"/>
                </a:lnTo>
                <a:lnTo>
                  <a:pt x="24" y="2116"/>
                </a:lnTo>
                <a:lnTo>
                  <a:pt x="26" y="2113"/>
                </a:lnTo>
                <a:lnTo>
                  <a:pt x="28" y="2111"/>
                </a:lnTo>
                <a:lnTo>
                  <a:pt x="29" y="2110"/>
                </a:lnTo>
                <a:lnTo>
                  <a:pt x="33" y="2109"/>
                </a:lnTo>
                <a:close/>
                <a:moveTo>
                  <a:pt x="22" y="2174"/>
                </a:moveTo>
                <a:lnTo>
                  <a:pt x="26" y="2174"/>
                </a:lnTo>
                <a:lnTo>
                  <a:pt x="29" y="2175"/>
                </a:lnTo>
                <a:lnTo>
                  <a:pt x="31" y="2176"/>
                </a:lnTo>
                <a:lnTo>
                  <a:pt x="33" y="2178"/>
                </a:lnTo>
                <a:lnTo>
                  <a:pt x="35" y="2180"/>
                </a:lnTo>
                <a:lnTo>
                  <a:pt x="36" y="2182"/>
                </a:lnTo>
                <a:lnTo>
                  <a:pt x="37" y="2183"/>
                </a:lnTo>
                <a:lnTo>
                  <a:pt x="37" y="2184"/>
                </a:lnTo>
                <a:lnTo>
                  <a:pt x="37" y="2187"/>
                </a:lnTo>
                <a:lnTo>
                  <a:pt x="37" y="2190"/>
                </a:lnTo>
                <a:lnTo>
                  <a:pt x="36" y="2194"/>
                </a:lnTo>
                <a:lnTo>
                  <a:pt x="33" y="2197"/>
                </a:lnTo>
                <a:lnTo>
                  <a:pt x="32" y="2198"/>
                </a:lnTo>
                <a:lnTo>
                  <a:pt x="30" y="2199"/>
                </a:lnTo>
                <a:lnTo>
                  <a:pt x="26" y="2200"/>
                </a:lnTo>
                <a:lnTo>
                  <a:pt x="22" y="2200"/>
                </a:lnTo>
                <a:lnTo>
                  <a:pt x="19" y="2200"/>
                </a:lnTo>
                <a:lnTo>
                  <a:pt x="17" y="2199"/>
                </a:lnTo>
                <a:lnTo>
                  <a:pt x="15" y="2197"/>
                </a:lnTo>
                <a:lnTo>
                  <a:pt x="13" y="2195"/>
                </a:lnTo>
                <a:lnTo>
                  <a:pt x="12" y="2193"/>
                </a:lnTo>
                <a:lnTo>
                  <a:pt x="12" y="2192"/>
                </a:lnTo>
                <a:lnTo>
                  <a:pt x="11" y="2190"/>
                </a:lnTo>
                <a:lnTo>
                  <a:pt x="11" y="2188"/>
                </a:lnTo>
                <a:lnTo>
                  <a:pt x="11" y="2185"/>
                </a:lnTo>
                <a:lnTo>
                  <a:pt x="12" y="2181"/>
                </a:lnTo>
                <a:lnTo>
                  <a:pt x="15" y="2178"/>
                </a:lnTo>
                <a:lnTo>
                  <a:pt x="16" y="2177"/>
                </a:lnTo>
                <a:lnTo>
                  <a:pt x="18" y="2176"/>
                </a:lnTo>
                <a:lnTo>
                  <a:pt x="22" y="2174"/>
                </a:lnTo>
                <a:close/>
                <a:moveTo>
                  <a:pt x="11" y="2240"/>
                </a:moveTo>
                <a:lnTo>
                  <a:pt x="15" y="2240"/>
                </a:lnTo>
                <a:lnTo>
                  <a:pt x="18" y="2240"/>
                </a:lnTo>
                <a:lnTo>
                  <a:pt x="20" y="2241"/>
                </a:lnTo>
                <a:lnTo>
                  <a:pt x="22" y="2243"/>
                </a:lnTo>
                <a:lnTo>
                  <a:pt x="24" y="2245"/>
                </a:lnTo>
                <a:lnTo>
                  <a:pt x="25" y="2247"/>
                </a:lnTo>
                <a:lnTo>
                  <a:pt x="26" y="2248"/>
                </a:lnTo>
                <a:lnTo>
                  <a:pt x="26" y="2249"/>
                </a:lnTo>
                <a:lnTo>
                  <a:pt x="27" y="2252"/>
                </a:lnTo>
                <a:lnTo>
                  <a:pt x="26" y="2255"/>
                </a:lnTo>
                <a:lnTo>
                  <a:pt x="25" y="2259"/>
                </a:lnTo>
                <a:lnTo>
                  <a:pt x="23" y="2262"/>
                </a:lnTo>
                <a:lnTo>
                  <a:pt x="19" y="2264"/>
                </a:lnTo>
                <a:lnTo>
                  <a:pt x="18" y="2265"/>
                </a:lnTo>
                <a:lnTo>
                  <a:pt x="16" y="2266"/>
                </a:lnTo>
                <a:lnTo>
                  <a:pt x="11" y="2266"/>
                </a:lnTo>
                <a:lnTo>
                  <a:pt x="9" y="2265"/>
                </a:lnTo>
                <a:lnTo>
                  <a:pt x="6" y="2264"/>
                </a:lnTo>
                <a:lnTo>
                  <a:pt x="4" y="2262"/>
                </a:lnTo>
                <a:lnTo>
                  <a:pt x="3" y="2260"/>
                </a:lnTo>
                <a:lnTo>
                  <a:pt x="1" y="2258"/>
                </a:lnTo>
                <a:lnTo>
                  <a:pt x="1" y="2257"/>
                </a:lnTo>
                <a:lnTo>
                  <a:pt x="1" y="2256"/>
                </a:lnTo>
                <a:lnTo>
                  <a:pt x="0" y="2253"/>
                </a:lnTo>
                <a:lnTo>
                  <a:pt x="0" y="2251"/>
                </a:lnTo>
                <a:lnTo>
                  <a:pt x="2" y="2247"/>
                </a:lnTo>
                <a:lnTo>
                  <a:pt x="4" y="2243"/>
                </a:lnTo>
                <a:lnTo>
                  <a:pt x="7" y="2241"/>
                </a:lnTo>
                <a:lnTo>
                  <a:pt x="9" y="2240"/>
                </a:lnTo>
                <a:lnTo>
                  <a:pt x="11" y="2240"/>
                </a:lnTo>
                <a:close/>
                <a:moveTo>
                  <a:pt x="2940" y="2220"/>
                </a:moveTo>
                <a:lnTo>
                  <a:pt x="2941" y="2215"/>
                </a:lnTo>
                <a:lnTo>
                  <a:pt x="2942" y="2213"/>
                </a:lnTo>
                <a:lnTo>
                  <a:pt x="2943" y="2212"/>
                </a:lnTo>
                <a:lnTo>
                  <a:pt x="2943" y="2227"/>
                </a:lnTo>
                <a:lnTo>
                  <a:pt x="2941" y="2224"/>
                </a:lnTo>
                <a:lnTo>
                  <a:pt x="2940" y="2222"/>
                </a:lnTo>
                <a:lnTo>
                  <a:pt x="2940" y="2220"/>
                </a:lnTo>
                <a:close/>
                <a:moveTo>
                  <a:pt x="2624" y="2258"/>
                </a:moveTo>
                <a:lnTo>
                  <a:pt x="2629" y="2258"/>
                </a:lnTo>
                <a:lnTo>
                  <a:pt x="2631" y="2258"/>
                </a:lnTo>
                <a:lnTo>
                  <a:pt x="2633" y="2259"/>
                </a:lnTo>
                <a:lnTo>
                  <a:pt x="2635" y="2261"/>
                </a:lnTo>
                <a:lnTo>
                  <a:pt x="2636" y="2262"/>
                </a:lnTo>
                <a:lnTo>
                  <a:pt x="2637" y="2264"/>
                </a:lnTo>
                <a:lnTo>
                  <a:pt x="2638" y="2266"/>
                </a:lnTo>
                <a:lnTo>
                  <a:pt x="2639" y="2269"/>
                </a:lnTo>
                <a:lnTo>
                  <a:pt x="2614" y="2269"/>
                </a:lnTo>
                <a:lnTo>
                  <a:pt x="2615" y="2265"/>
                </a:lnTo>
                <a:lnTo>
                  <a:pt x="2617" y="2262"/>
                </a:lnTo>
                <a:lnTo>
                  <a:pt x="2618" y="2261"/>
                </a:lnTo>
                <a:lnTo>
                  <a:pt x="2620" y="2260"/>
                </a:lnTo>
                <a:lnTo>
                  <a:pt x="2623" y="2258"/>
                </a:lnTo>
                <a:lnTo>
                  <a:pt x="2624" y="2258"/>
                </a:lnTo>
                <a:close/>
                <a:moveTo>
                  <a:pt x="2884" y="2211"/>
                </a:moveTo>
                <a:lnTo>
                  <a:pt x="2887" y="2211"/>
                </a:lnTo>
                <a:lnTo>
                  <a:pt x="2890" y="2211"/>
                </a:lnTo>
                <a:lnTo>
                  <a:pt x="2892" y="2212"/>
                </a:lnTo>
                <a:lnTo>
                  <a:pt x="2894" y="2213"/>
                </a:lnTo>
                <a:lnTo>
                  <a:pt x="2896" y="2215"/>
                </a:lnTo>
                <a:lnTo>
                  <a:pt x="2897" y="2217"/>
                </a:lnTo>
                <a:lnTo>
                  <a:pt x="2898" y="2219"/>
                </a:lnTo>
                <a:lnTo>
                  <a:pt x="2899" y="2222"/>
                </a:lnTo>
                <a:lnTo>
                  <a:pt x="2899" y="2224"/>
                </a:lnTo>
                <a:lnTo>
                  <a:pt x="2898" y="2226"/>
                </a:lnTo>
                <a:lnTo>
                  <a:pt x="2896" y="2230"/>
                </a:lnTo>
                <a:lnTo>
                  <a:pt x="2895" y="2232"/>
                </a:lnTo>
                <a:lnTo>
                  <a:pt x="2893" y="2233"/>
                </a:lnTo>
                <a:lnTo>
                  <a:pt x="2891" y="2234"/>
                </a:lnTo>
                <a:lnTo>
                  <a:pt x="2889" y="2235"/>
                </a:lnTo>
                <a:lnTo>
                  <a:pt x="2886" y="2235"/>
                </a:lnTo>
                <a:lnTo>
                  <a:pt x="2883" y="2234"/>
                </a:lnTo>
                <a:lnTo>
                  <a:pt x="2881" y="2233"/>
                </a:lnTo>
                <a:lnTo>
                  <a:pt x="2879" y="2232"/>
                </a:lnTo>
                <a:lnTo>
                  <a:pt x="2877" y="2230"/>
                </a:lnTo>
                <a:lnTo>
                  <a:pt x="2876" y="2228"/>
                </a:lnTo>
                <a:lnTo>
                  <a:pt x="2875" y="2226"/>
                </a:lnTo>
                <a:lnTo>
                  <a:pt x="2874" y="2224"/>
                </a:lnTo>
                <a:lnTo>
                  <a:pt x="2874" y="2221"/>
                </a:lnTo>
                <a:lnTo>
                  <a:pt x="2875" y="2219"/>
                </a:lnTo>
                <a:lnTo>
                  <a:pt x="2877" y="2215"/>
                </a:lnTo>
                <a:lnTo>
                  <a:pt x="2878" y="2214"/>
                </a:lnTo>
                <a:lnTo>
                  <a:pt x="2880" y="2212"/>
                </a:lnTo>
                <a:lnTo>
                  <a:pt x="2882" y="2211"/>
                </a:lnTo>
                <a:lnTo>
                  <a:pt x="2884" y="2211"/>
                </a:lnTo>
                <a:close/>
                <a:moveTo>
                  <a:pt x="2688" y="2241"/>
                </a:moveTo>
                <a:lnTo>
                  <a:pt x="2693" y="2241"/>
                </a:lnTo>
                <a:lnTo>
                  <a:pt x="2695" y="2242"/>
                </a:lnTo>
                <a:lnTo>
                  <a:pt x="2697" y="2243"/>
                </a:lnTo>
                <a:lnTo>
                  <a:pt x="2699" y="2244"/>
                </a:lnTo>
                <a:lnTo>
                  <a:pt x="2700" y="2246"/>
                </a:lnTo>
                <a:lnTo>
                  <a:pt x="2702" y="2248"/>
                </a:lnTo>
                <a:lnTo>
                  <a:pt x="2702" y="2250"/>
                </a:lnTo>
                <a:lnTo>
                  <a:pt x="2703" y="2253"/>
                </a:lnTo>
                <a:lnTo>
                  <a:pt x="2703" y="2255"/>
                </a:lnTo>
                <a:lnTo>
                  <a:pt x="2702" y="2257"/>
                </a:lnTo>
                <a:lnTo>
                  <a:pt x="2701" y="2260"/>
                </a:lnTo>
                <a:lnTo>
                  <a:pt x="2699" y="2261"/>
                </a:lnTo>
                <a:lnTo>
                  <a:pt x="2698" y="2263"/>
                </a:lnTo>
                <a:lnTo>
                  <a:pt x="2696" y="2264"/>
                </a:lnTo>
                <a:lnTo>
                  <a:pt x="2693" y="2265"/>
                </a:lnTo>
                <a:lnTo>
                  <a:pt x="2688" y="2265"/>
                </a:lnTo>
                <a:lnTo>
                  <a:pt x="2686" y="2264"/>
                </a:lnTo>
                <a:lnTo>
                  <a:pt x="2684" y="2263"/>
                </a:lnTo>
                <a:lnTo>
                  <a:pt x="2682" y="2262"/>
                </a:lnTo>
                <a:lnTo>
                  <a:pt x="2680" y="2260"/>
                </a:lnTo>
                <a:lnTo>
                  <a:pt x="2679" y="2258"/>
                </a:lnTo>
                <a:lnTo>
                  <a:pt x="2678" y="2256"/>
                </a:lnTo>
                <a:lnTo>
                  <a:pt x="2678" y="2253"/>
                </a:lnTo>
                <a:lnTo>
                  <a:pt x="2678" y="2251"/>
                </a:lnTo>
                <a:lnTo>
                  <a:pt x="2679" y="2249"/>
                </a:lnTo>
                <a:lnTo>
                  <a:pt x="2680" y="2247"/>
                </a:lnTo>
                <a:lnTo>
                  <a:pt x="2681" y="2245"/>
                </a:lnTo>
                <a:lnTo>
                  <a:pt x="2683" y="2243"/>
                </a:lnTo>
                <a:lnTo>
                  <a:pt x="2685" y="2242"/>
                </a:lnTo>
                <a:lnTo>
                  <a:pt x="2688" y="2241"/>
                </a:lnTo>
                <a:close/>
                <a:moveTo>
                  <a:pt x="2818" y="2217"/>
                </a:moveTo>
                <a:lnTo>
                  <a:pt x="2821" y="2217"/>
                </a:lnTo>
                <a:lnTo>
                  <a:pt x="2824" y="2218"/>
                </a:lnTo>
                <a:lnTo>
                  <a:pt x="2828" y="2220"/>
                </a:lnTo>
                <a:lnTo>
                  <a:pt x="2831" y="2223"/>
                </a:lnTo>
                <a:lnTo>
                  <a:pt x="2833" y="2228"/>
                </a:lnTo>
                <a:lnTo>
                  <a:pt x="2833" y="2230"/>
                </a:lnTo>
                <a:lnTo>
                  <a:pt x="2832" y="2233"/>
                </a:lnTo>
                <a:lnTo>
                  <a:pt x="2832" y="2235"/>
                </a:lnTo>
                <a:lnTo>
                  <a:pt x="2830" y="2237"/>
                </a:lnTo>
                <a:lnTo>
                  <a:pt x="2829" y="2238"/>
                </a:lnTo>
                <a:lnTo>
                  <a:pt x="2827" y="2240"/>
                </a:lnTo>
                <a:lnTo>
                  <a:pt x="2825" y="2241"/>
                </a:lnTo>
                <a:lnTo>
                  <a:pt x="2823" y="2242"/>
                </a:lnTo>
                <a:lnTo>
                  <a:pt x="2820" y="2242"/>
                </a:lnTo>
                <a:lnTo>
                  <a:pt x="2818" y="2241"/>
                </a:lnTo>
                <a:lnTo>
                  <a:pt x="2813" y="2239"/>
                </a:lnTo>
                <a:lnTo>
                  <a:pt x="2810" y="2236"/>
                </a:lnTo>
                <a:lnTo>
                  <a:pt x="2809" y="2233"/>
                </a:lnTo>
                <a:lnTo>
                  <a:pt x="2808" y="2231"/>
                </a:lnTo>
                <a:lnTo>
                  <a:pt x="2808" y="2229"/>
                </a:lnTo>
                <a:lnTo>
                  <a:pt x="2809" y="2226"/>
                </a:lnTo>
                <a:lnTo>
                  <a:pt x="2810" y="2224"/>
                </a:lnTo>
                <a:lnTo>
                  <a:pt x="2811" y="2222"/>
                </a:lnTo>
                <a:lnTo>
                  <a:pt x="2812" y="2220"/>
                </a:lnTo>
                <a:lnTo>
                  <a:pt x="2814" y="2219"/>
                </a:lnTo>
                <a:lnTo>
                  <a:pt x="2816" y="2218"/>
                </a:lnTo>
                <a:lnTo>
                  <a:pt x="2818" y="2217"/>
                </a:lnTo>
                <a:close/>
                <a:moveTo>
                  <a:pt x="2753" y="2228"/>
                </a:moveTo>
                <a:lnTo>
                  <a:pt x="2758" y="2228"/>
                </a:lnTo>
                <a:lnTo>
                  <a:pt x="2760" y="2228"/>
                </a:lnTo>
                <a:lnTo>
                  <a:pt x="2762" y="2230"/>
                </a:lnTo>
                <a:lnTo>
                  <a:pt x="2764" y="2231"/>
                </a:lnTo>
                <a:lnTo>
                  <a:pt x="2766" y="2233"/>
                </a:lnTo>
                <a:lnTo>
                  <a:pt x="2767" y="2235"/>
                </a:lnTo>
                <a:lnTo>
                  <a:pt x="2767" y="2237"/>
                </a:lnTo>
                <a:lnTo>
                  <a:pt x="2767" y="2242"/>
                </a:lnTo>
                <a:lnTo>
                  <a:pt x="2766" y="2245"/>
                </a:lnTo>
                <a:lnTo>
                  <a:pt x="2765" y="2247"/>
                </a:lnTo>
                <a:lnTo>
                  <a:pt x="2764" y="2248"/>
                </a:lnTo>
                <a:lnTo>
                  <a:pt x="2762" y="2250"/>
                </a:lnTo>
                <a:lnTo>
                  <a:pt x="2760" y="2251"/>
                </a:lnTo>
                <a:lnTo>
                  <a:pt x="2757" y="2252"/>
                </a:lnTo>
                <a:lnTo>
                  <a:pt x="2753" y="2252"/>
                </a:lnTo>
                <a:lnTo>
                  <a:pt x="2750" y="2251"/>
                </a:lnTo>
                <a:lnTo>
                  <a:pt x="2748" y="2250"/>
                </a:lnTo>
                <a:lnTo>
                  <a:pt x="2746" y="2248"/>
                </a:lnTo>
                <a:lnTo>
                  <a:pt x="2745" y="2246"/>
                </a:lnTo>
                <a:lnTo>
                  <a:pt x="2744" y="2244"/>
                </a:lnTo>
                <a:lnTo>
                  <a:pt x="2743" y="2242"/>
                </a:lnTo>
                <a:lnTo>
                  <a:pt x="2743" y="2237"/>
                </a:lnTo>
                <a:lnTo>
                  <a:pt x="2744" y="2235"/>
                </a:lnTo>
                <a:lnTo>
                  <a:pt x="2745" y="2233"/>
                </a:lnTo>
                <a:lnTo>
                  <a:pt x="2747" y="2231"/>
                </a:lnTo>
                <a:lnTo>
                  <a:pt x="2749" y="2229"/>
                </a:lnTo>
                <a:lnTo>
                  <a:pt x="2751" y="2228"/>
                </a:lnTo>
                <a:lnTo>
                  <a:pt x="2753" y="2228"/>
                </a:lnTo>
                <a:close/>
                <a:moveTo>
                  <a:pt x="1984" y="2257"/>
                </a:moveTo>
                <a:lnTo>
                  <a:pt x="1987" y="2257"/>
                </a:lnTo>
                <a:lnTo>
                  <a:pt x="1990" y="2258"/>
                </a:lnTo>
                <a:lnTo>
                  <a:pt x="1993" y="2260"/>
                </a:lnTo>
                <a:lnTo>
                  <a:pt x="1995" y="2261"/>
                </a:lnTo>
                <a:lnTo>
                  <a:pt x="1996" y="2262"/>
                </a:lnTo>
                <a:lnTo>
                  <a:pt x="1998" y="2266"/>
                </a:lnTo>
                <a:lnTo>
                  <a:pt x="1998" y="2269"/>
                </a:lnTo>
                <a:lnTo>
                  <a:pt x="1973" y="2269"/>
                </a:lnTo>
                <a:lnTo>
                  <a:pt x="1974" y="2266"/>
                </a:lnTo>
                <a:lnTo>
                  <a:pt x="1975" y="2264"/>
                </a:lnTo>
                <a:lnTo>
                  <a:pt x="1976" y="2261"/>
                </a:lnTo>
                <a:lnTo>
                  <a:pt x="1979" y="2259"/>
                </a:lnTo>
                <a:lnTo>
                  <a:pt x="1981" y="2258"/>
                </a:lnTo>
                <a:lnTo>
                  <a:pt x="1984" y="2257"/>
                </a:lnTo>
                <a:close/>
                <a:moveTo>
                  <a:pt x="2038" y="2220"/>
                </a:moveTo>
                <a:lnTo>
                  <a:pt x="2042" y="2220"/>
                </a:lnTo>
                <a:lnTo>
                  <a:pt x="2045" y="2221"/>
                </a:lnTo>
                <a:lnTo>
                  <a:pt x="2048" y="2223"/>
                </a:lnTo>
                <a:lnTo>
                  <a:pt x="2051" y="2226"/>
                </a:lnTo>
                <a:lnTo>
                  <a:pt x="2052" y="2228"/>
                </a:lnTo>
                <a:lnTo>
                  <a:pt x="2053" y="2230"/>
                </a:lnTo>
                <a:lnTo>
                  <a:pt x="2053" y="2235"/>
                </a:lnTo>
                <a:lnTo>
                  <a:pt x="2052" y="2237"/>
                </a:lnTo>
                <a:lnTo>
                  <a:pt x="2051" y="2239"/>
                </a:lnTo>
                <a:lnTo>
                  <a:pt x="2049" y="2241"/>
                </a:lnTo>
                <a:lnTo>
                  <a:pt x="2047" y="2243"/>
                </a:lnTo>
                <a:lnTo>
                  <a:pt x="2045" y="2244"/>
                </a:lnTo>
                <a:lnTo>
                  <a:pt x="2043" y="2245"/>
                </a:lnTo>
                <a:lnTo>
                  <a:pt x="2039" y="2245"/>
                </a:lnTo>
                <a:lnTo>
                  <a:pt x="2036" y="2244"/>
                </a:lnTo>
                <a:lnTo>
                  <a:pt x="2033" y="2242"/>
                </a:lnTo>
                <a:lnTo>
                  <a:pt x="2030" y="2239"/>
                </a:lnTo>
                <a:lnTo>
                  <a:pt x="2029" y="2237"/>
                </a:lnTo>
                <a:lnTo>
                  <a:pt x="2028" y="2235"/>
                </a:lnTo>
                <a:lnTo>
                  <a:pt x="2028" y="2230"/>
                </a:lnTo>
                <a:lnTo>
                  <a:pt x="2029" y="2227"/>
                </a:lnTo>
                <a:lnTo>
                  <a:pt x="2030" y="2225"/>
                </a:lnTo>
                <a:lnTo>
                  <a:pt x="2032" y="2224"/>
                </a:lnTo>
                <a:lnTo>
                  <a:pt x="2034" y="2222"/>
                </a:lnTo>
                <a:lnTo>
                  <a:pt x="2036" y="2221"/>
                </a:lnTo>
                <a:lnTo>
                  <a:pt x="2038" y="2220"/>
                </a:lnTo>
                <a:close/>
                <a:moveTo>
                  <a:pt x="2094" y="2185"/>
                </a:moveTo>
                <a:lnTo>
                  <a:pt x="2098" y="2185"/>
                </a:lnTo>
                <a:lnTo>
                  <a:pt x="2102" y="2186"/>
                </a:lnTo>
                <a:lnTo>
                  <a:pt x="2105" y="2188"/>
                </a:lnTo>
                <a:lnTo>
                  <a:pt x="2106" y="2189"/>
                </a:lnTo>
                <a:lnTo>
                  <a:pt x="2107" y="2191"/>
                </a:lnTo>
                <a:lnTo>
                  <a:pt x="2108" y="2193"/>
                </a:lnTo>
                <a:lnTo>
                  <a:pt x="2109" y="2195"/>
                </a:lnTo>
                <a:lnTo>
                  <a:pt x="2109" y="2198"/>
                </a:lnTo>
                <a:lnTo>
                  <a:pt x="2109" y="2200"/>
                </a:lnTo>
                <a:lnTo>
                  <a:pt x="2108" y="2202"/>
                </a:lnTo>
                <a:lnTo>
                  <a:pt x="2107" y="2204"/>
                </a:lnTo>
                <a:lnTo>
                  <a:pt x="2105" y="2206"/>
                </a:lnTo>
                <a:lnTo>
                  <a:pt x="2103" y="2208"/>
                </a:lnTo>
                <a:lnTo>
                  <a:pt x="2101" y="2209"/>
                </a:lnTo>
                <a:lnTo>
                  <a:pt x="2099" y="2209"/>
                </a:lnTo>
                <a:lnTo>
                  <a:pt x="2095" y="2209"/>
                </a:lnTo>
                <a:lnTo>
                  <a:pt x="2092" y="2208"/>
                </a:lnTo>
                <a:lnTo>
                  <a:pt x="2088" y="2206"/>
                </a:lnTo>
                <a:lnTo>
                  <a:pt x="2087" y="2205"/>
                </a:lnTo>
                <a:lnTo>
                  <a:pt x="2086" y="2204"/>
                </a:lnTo>
                <a:lnTo>
                  <a:pt x="2085" y="2201"/>
                </a:lnTo>
                <a:lnTo>
                  <a:pt x="2084" y="2199"/>
                </a:lnTo>
                <a:lnTo>
                  <a:pt x="2084" y="2197"/>
                </a:lnTo>
                <a:lnTo>
                  <a:pt x="2085" y="2194"/>
                </a:lnTo>
                <a:lnTo>
                  <a:pt x="2085" y="2192"/>
                </a:lnTo>
                <a:lnTo>
                  <a:pt x="2087" y="2190"/>
                </a:lnTo>
                <a:lnTo>
                  <a:pt x="2088" y="2188"/>
                </a:lnTo>
                <a:lnTo>
                  <a:pt x="2090" y="2187"/>
                </a:lnTo>
                <a:lnTo>
                  <a:pt x="2092" y="2186"/>
                </a:lnTo>
                <a:lnTo>
                  <a:pt x="2094" y="2185"/>
                </a:lnTo>
                <a:close/>
                <a:moveTo>
                  <a:pt x="2152" y="2152"/>
                </a:moveTo>
                <a:lnTo>
                  <a:pt x="2155" y="2152"/>
                </a:lnTo>
                <a:lnTo>
                  <a:pt x="2159" y="2153"/>
                </a:lnTo>
                <a:lnTo>
                  <a:pt x="2162" y="2155"/>
                </a:lnTo>
                <a:lnTo>
                  <a:pt x="2164" y="2156"/>
                </a:lnTo>
                <a:lnTo>
                  <a:pt x="2165" y="2158"/>
                </a:lnTo>
                <a:lnTo>
                  <a:pt x="2166" y="2160"/>
                </a:lnTo>
                <a:lnTo>
                  <a:pt x="2166" y="2163"/>
                </a:lnTo>
                <a:lnTo>
                  <a:pt x="2166" y="2165"/>
                </a:lnTo>
                <a:lnTo>
                  <a:pt x="2166" y="2167"/>
                </a:lnTo>
                <a:lnTo>
                  <a:pt x="2165" y="2170"/>
                </a:lnTo>
                <a:lnTo>
                  <a:pt x="2164" y="2172"/>
                </a:lnTo>
                <a:lnTo>
                  <a:pt x="2162" y="2173"/>
                </a:lnTo>
                <a:lnTo>
                  <a:pt x="2160" y="2175"/>
                </a:lnTo>
                <a:lnTo>
                  <a:pt x="2158" y="2176"/>
                </a:lnTo>
                <a:lnTo>
                  <a:pt x="2156" y="2176"/>
                </a:lnTo>
                <a:lnTo>
                  <a:pt x="2152" y="2176"/>
                </a:lnTo>
                <a:lnTo>
                  <a:pt x="2149" y="2175"/>
                </a:lnTo>
                <a:lnTo>
                  <a:pt x="2145" y="2173"/>
                </a:lnTo>
                <a:lnTo>
                  <a:pt x="2144" y="2172"/>
                </a:lnTo>
                <a:lnTo>
                  <a:pt x="2143" y="2170"/>
                </a:lnTo>
                <a:lnTo>
                  <a:pt x="2142" y="2168"/>
                </a:lnTo>
                <a:lnTo>
                  <a:pt x="2142" y="2165"/>
                </a:lnTo>
                <a:lnTo>
                  <a:pt x="2142" y="2163"/>
                </a:lnTo>
                <a:lnTo>
                  <a:pt x="2142" y="2161"/>
                </a:lnTo>
                <a:lnTo>
                  <a:pt x="2143" y="2158"/>
                </a:lnTo>
                <a:lnTo>
                  <a:pt x="2144" y="2156"/>
                </a:lnTo>
                <a:lnTo>
                  <a:pt x="2146" y="2155"/>
                </a:lnTo>
                <a:lnTo>
                  <a:pt x="2148" y="2153"/>
                </a:lnTo>
                <a:lnTo>
                  <a:pt x="2150" y="2152"/>
                </a:lnTo>
                <a:lnTo>
                  <a:pt x="2152" y="2152"/>
                </a:lnTo>
                <a:close/>
                <a:moveTo>
                  <a:pt x="2211" y="2121"/>
                </a:moveTo>
                <a:lnTo>
                  <a:pt x="2215" y="2121"/>
                </a:lnTo>
                <a:lnTo>
                  <a:pt x="2217" y="2121"/>
                </a:lnTo>
                <a:lnTo>
                  <a:pt x="2219" y="2122"/>
                </a:lnTo>
                <a:lnTo>
                  <a:pt x="2220" y="2123"/>
                </a:lnTo>
                <a:lnTo>
                  <a:pt x="2222" y="2124"/>
                </a:lnTo>
                <a:lnTo>
                  <a:pt x="2224" y="2128"/>
                </a:lnTo>
                <a:lnTo>
                  <a:pt x="2225" y="2130"/>
                </a:lnTo>
                <a:lnTo>
                  <a:pt x="2226" y="2132"/>
                </a:lnTo>
                <a:lnTo>
                  <a:pt x="2226" y="2135"/>
                </a:lnTo>
                <a:lnTo>
                  <a:pt x="2225" y="2137"/>
                </a:lnTo>
                <a:lnTo>
                  <a:pt x="2224" y="2139"/>
                </a:lnTo>
                <a:lnTo>
                  <a:pt x="2223" y="2141"/>
                </a:lnTo>
                <a:lnTo>
                  <a:pt x="2221" y="2143"/>
                </a:lnTo>
                <a:lnTo>
                  <a:pt x="2219" y="2144"/>
                </a:lnTo>
                <a:lnTo>
                  <a:pt x="2215" y="2145"/>
                </a:lnTo>
                <a:lnTo>
                  <a:pt x="2212" y="2145"/>
                </a:lnTo>
                <a:lnTo>
                  <a:pt x="2210" y="2145"/>
                </a:lnTo>
                <a:lnTo>
                  <a:pt x="2207" y="2144"/>
                </a:lnTo>
                <a:lnTo>
                  <a:pt x="2205" y="2143"/>
                </a:lnTo>
                <a:lnTo>
                  <a:pt x="2204" y="2142"/>
                </a:lnTo>
                <a:lnTo>
                  <a:pt x="2201" y="2139"/>
                </a:lnTo>
                <a:lnTo>
                  <a:pt x="2200" y="2136"/>
                </a:lnTo>
                <a:lnTo>
                  <a:pt x="2200" y="2134"/>
                </a:lnTo>
                <a:lnTo>
                  <a:pt x="2200" y="2132"/>
                </a:lnTo>
                <a:lnTo>
                  <a:pt x="2201" y="2129"/>
                </a:lnTo>
                <a:lnTo>
                  <a:pt x="2202" y="2127"/>
                </a:lnTo>
                <a:lnTo>
                  <a:pt x="2203" y="2125"/>
                </a:lnTo>
                <a:lnTo>
                  <a:pt x="2205" y="2123"/>
                </a:lnTo>
                <a:lnTo>
                  <a:pt x="2207" y="2122"/>
                </a:lnTo>
                <a:lnTo>
                  <a:pt x="2211" y="2121"/>
                </a:lnTo>
                <a:close/>
                <a:moveTo>
                  <a:pt x="2271" y="2092"/>
                </a:moveTo>
                <a:lnTo>
                  <a:pt x="2275" y="2092"/>
                </a:lnTo>
                <a:lnTo>
                  <a:pt x="2279" y="2093"/>
                </a:lnTo>
                <a:lnTo>
                  <a:pt x="2280" y="2095"/>
                </a:lnTo>
                <a:lnTo>
                  <a:pt x="2282" y="2096"/>
                </a:lnTo>
                <a:lnTo>
                  <a:pt x="2283" y="2097"/>
                </a:lnTo>
                <a:lnTo>
                  <a:pt x="2284" y="2099"/>
                </a:lnTo>
                <a:lnTo>
                  <a:pt x="2285" y="2102"/>
                </a:lnTo>
                <a:lnTo>
                  <a:pt x="2285" y="2104"/>
                </a:lnTo>
                <a:lnTo>
                  <a:pt x="2285" y="2109"/>
                </a:lnTo>
                <a:lnTo>
                  <a:pt x="2283" y="2111"/>
                </a:lnTo>
                <a:lnTo>
                  <a:pt x="2282" y="2113"/>
                </a:lnTo>
                <a:lnTo>
                  <a:pt x="2280" y="2114"/>
                </a:lnTo>
                <a:lnTo>
                  <a:pt x="2278" y="2116"/>
                </a:lnTo>
                <a:lnTo>
                  <a:pt x="2275" y="2117"/>
                </a:lnTo>
                <a:lnTo>
                  <a:pt x="2271" y="2117"/>
                </a:lnTo>
                <a:lnTo>
                  <a:pt x="2267" y="2115"/>
                </a:lnTo>
                <a:lnTo>
                  <a:pt x="2266" y="2114"/>
                </a:lnTo>
                <a:lnTo>
                  <a:pt x="2264" y="2113"/>
                </a:lnTo>
                <a:lnTo>
                  <a:pt x="2263" y="2111"/>
                </a:lnTo>
                <a:lnTo>
                  <a:pt x="2262" y="2110"/>
                </a:lnTo>
                <a:lnTo>
                  <a:pt x="2261" y="2107"/>
                </a:lnTo>
                <a:lnTo>
                  <a:pt x="2261" y="2105"/>
                </a:lnTo>
                <a:lnTo>
                  <a:pt x="2261" y="2100"/>
                </a:lnTo>
                <a:lnTo>
                  <a:pt x="2262" y="2098"/>
                </a:lnTo>
                <a:lnTo>
                  <a:pt x="2264" y="2096"/>
                </a:lnTo>
                <a:lnTo>
                  <a:pt x="2266" y="2094"/>
                </a:lnTo>
                <a:lnTo>
                  <a:pt x="2268" y="2093"/>
                </a:lnTo>
                <a:lnTo>
                  <a:pt x="2271" y="2092"/>
                </a:lnTo>
                <a:close/>
                <a:moveTo>
                  <a:pt x="2913" y="1968"/>
                </a:moveTo>
                <a:lnTo>
                  <a:pt x="2916" y="1968"/>
                </a:lnTo>
                <a:lnTo>
                  <a:pt x="2919" y="1968"/>
                </a:lnTo>
                <a:lnTo>
                  <a:pt x="2921" y="1969"/>
                </a:lnTo>
                <a:lnTo>
                  <a:pt x="2925" y="1972"/>
                </a:lnTo>
                <a:lnTo>
                  <a:pt x="2926" y="1974"/>
                </a:lnTo>
                <a:lnTo>
                  <a:pt x="2927" y="1976"/>
                </a:lnTo>
                <a:lnTo>
                  <a:pt x="2928" y="1981"/>
                </a:lnTo>
                <a:lnTo>
                  <a:pt x="2928" y="1983"/>
                </a:lnTo>
                <a:lnTo>
                  <a:pt x="2927" y="1985"/>
                </a:lnTo>
                <a:lnTo>
                  <a:pt x="2926" y="1987"/>
                </a:lnTo>
                <a:lnTo>
                  <a:pt x="2925" y="1988"/>
                </a:lnTo>
                <a:lnTo>
                  <a:pt x="2923" y="1990"/>
                </a:lnTo>
                <a:lnTo>
                  <a:pt x="2922" y="1991"/>
                </a:lnTo>
                <a:lnTo>
                  <a:pt x="2920" y="1992"/>
                </a:lnTo>
                <a:lnTo>
                  <a:pt x="2918" y="1992"/>
                </a:lnTo>
                <a:lnTo>
                  <a:pt x="2915" y="1992"/>
                </a:lnTo>
                <a:lnTo>
                  <a:pt x="2913" y="1992"/>
                </a:lnTo>
                <a:lnTo>
                  <a:pt x="2910" y="1991"/>
                </a:lnTo>
                <a:lnTo>
                  <a:pt x="2907" y="1988"/>
                </a:lnTo>
                <a:lnTo>
                  <a:pt x="2905" y="1987"/>
                </a:lnTo>
                <a:lnTo>
                  <a:pt x="2904" y="1984"/>
                </a:lnTo>
                <a:lnTo>
                  <a:pt x="2903" y="1980"/>
                </a:lnTo>
                <a:lnTo>
                  <a:pt x="2904" y="1977"/>
                </a:lnTo>
                <a:lnTo>
                  <a:pt x="2904" y="1975"/>
                </a:lnTo>
                <a:lnTo>
                  <a:pt x="2905" y="1974"/>
                </a:lnTo>
                <a:lnTo>
                  <a:pt x="2906" y="1972"/>
                </a:lnTo>
                <a:lnTo>
                  <a:pt x="2908" y="1970"/>
                </a:lnTo>
                <a:lnTo>
                  <a:pt x="2910" y="1969"/>
                </a:lnTo>
                <a:lnTo>
                  <a:pt x="2911" y="1968"/>
                </a:lnTo>
                <a:lnTo>
                  <a:pt x="2913" y="1968"/>
                </a:lnTo>
                <a:close/>
                <a:moveTo>
                  <a:pt x="2332" y="2066"/>
                </a:moveTo>
                <a:lnTo>
                  <a:pt x="2336" y="2066"/>
                </a:lnTo>
                <a:lnTo>
                  <a:pt x="2340" y="2067"/>
                </a:lnTo>
                <a:lnTo>
                  <a:pt x="2343" y="2070"/>
                </a:lnTo>
                <a:lnTo>
                  <a:pt x="2344" y="2072"/>
                </a:lnTo>
                <a:lnTo>
                  <a:pt x="2345" y="2074"/>
                </a:lnTo>
                <a:lnTo>
                  <a:pt x="2346" y="2076"/>
                </a:lnTo>
                <a:lnTo>
                  <a:pt x="2346" y="2078"/>
                </a:lnTo>
                <a:lnTo>
                  <a:pt x="2346" y="2081"/>
                </a:lnTo>
                <a:lnTo>
                  <a:pt x="2345" y="2083"/>
                </a:lnTo>
                <a:lnTo>
                  <a:pt x="2344" y="2085"/>
                </a:lnTo>
                <a:lnTo>
                  <a:pt x="2342" y="2087"/>
                </a:lnTo>
                <a:lnTo>
                  <a:pt x="2341" y="2089"/>
                </a:lnTo>
                <a:lnTo>
                  <a:pt x="2338" y="2090"/>
                </a:lnTo>
                <a:lnTo>
                  <a:pt x="2336" y="2090"/>
                </a:lnTo>
                <a:lnTo>
                  <a:pt x="2332" y="2090"/>
                </a:lnTo>
                <a:lnTo>
                  <a:pt x="2328" y="2089"/>
                </a:lnTo>
                <a:lnTo>
                  <a:pt x="2324" y="2087"/>
                </a:lnTo>
                <a:lnTo>
                  <a:pt x="2323" y="2085"/>
                </a:lnTo>
                <a:lnTo>
                  <a:pt x="2322" y="2083"/>
                </a:lnTo>
                <a:lnTo>
                  <a:pt x="2322" y="2081"/>
                </a:lnTo>
                <a:lnTo>
                  <a:pt x="2321" y="2078"/>
                </a:lnTo>
                <a:lnTo>
                  <a:pt x="2322" y="2076"/>
                </a:lnTo>
                <a:lnTo>
                  <a:pt x="2322" y="2073"/>
                </a:lnTo>
                <a:lnTo>
                  <a:pt x="2323" y="2071"/>
                </a:lnTo>
                <a:lnTo>
                  <a:pt x="2325" y="2070"/>
                </a:lnTo>
                <a:lnTo>
                  <a:pt x="2327" y="2068"/>
                </a:lnTo>
                <a:lnTo>
                  <a:pt x="2329" y="2067"/>
                </a:lnTo>
                <a:lnTo>
                  <a:pt x="2332" y="2066"/>
                </a:lnTo>
                <a:close/>
                <a:moveTo>
                  <a:pt x="2847" y="1965"/>
                </a:moveTo>
                <a:lnTo>
                  <a:pt x="2850" y="1965"/>
                </a:lnTo>
                <a:lnTo>
                  <a:pt x="2852" y="1966"/>
                </a:lnTo>
                <a:lnTo>
                  <a:pt x="2855" y="1966"/>
                </a:lnTo>
                <a:lnTo>
                  <a:pt x="2857" y="1968"/>
                </a:lnTo>
                <a:lnTo>
                  <a:pt x="2858" y="1969"/>
                </a:lnTo>
                <a:lnTo>
                  <a:pt x="2860" y="1971"/>
                </a:lnTo>
                <a:lnTo>
                  <a:pt x="2861" y="1973"/>
                </a:lnTo>
                <a:lnTo>
                  <a:pt x="2862" y="1975"/>
                </a:lnTo>
                <a:lnTo>
                  <a:pt x="2862" y="1978"/>
                </a:lnTo>
                <a:lnTo>
                  <a:pt x="2862" y="1980"/>
                </a:lnTo>
                <a:lnTo>
                  <a:pt x="2861" y="1982"/>
                </a:lnTo>
                <a:lnTo>
                  <a:pt x="2860" y="1984"/>
                </a:lnTo>
                <a:lnTo>
                  <a:pt x="2859" y="1986"/>
                </a:lnTo>
                <a:lnTo>
                  <a:pt x="2856" y="1988"/>
                </a:lnTo>
                <a:lnTo>
                  <a:pt x="2854" y="1989"/>
                </a:lnTo>
                <a:lnTo>
                  <a:pt x="2852" y="1990"/>
                </a:lnTo>
                <a:lnTo>
                  <a:pt x="2849" y="1990"/>
                </a:lnTo>
                <a:lnTo>
                  <a:pt x="2847" y="1990"/>
                </a:lnTo>
                <a:lnTo>
                  <a:pt x="2844" y="1989"/>
                </a:lnTo>
                <a:lnTo>
                  <a:pt x="2842" y="1988"/>
                </a:lnTo>
                <a:lnTo>
                  <a:pt x="2841" y="1986"/>
                </a:lnTo>
                <a:lnTo>
                  <a:pt x="2839" y="1984"/>
                </a:lnTo>
                <a:lnTo>
                  <a:pt x="2838" y="1982"/>
                </a:lnTo>
                <a:lnTo>
                  <a:pt x="2837" y="1980"/>
                </a:lnTo>
                <a:lnTo>
                  <a:pt x="2837" y="1977"/>
                </a:lnTo>
                <a:lnTo>
                  <a:pt x="2837" y="1975"/>
                </a:lnTo>
                <a:lnTo>
                  <a:pt x="2838" y="1973"/>
                </a:lnTo>
                <a:lnTo>
                  <a:pt x="2839" y="1971"/>
                </a:lnTo>
                <a:lnTo>
                  <a:pt x="2840" y="1970"/>
                </a:lnTo>
                <a:lnTo>
                  <a:pt x="2843" y="1967"/>
                </a:lnTo>
                <a:lnTo>
                  <a:pt x="2845" y="1966"/>
                </a:lnTo>
                <a:lnTo>
                  <a:pt x="2847" y="1965"/>
                </a:lnTo>
                <a:close/>
                <a:moveTo>
                  <a:pt x="2393" y="2043"/>
                </a:moveTo>
                <a:lnTo>
                  <a:pt x="2398" y="2043"/>
                </a:lnTo>
                <a:lnTo>
                  <a:pt x="2400" y="2043"/>
                </a:lnTo>
                <a:lnTo>
                  <a:pt x="2402" y="2044"/>
                </a:lnTo>
                <a:lnTo>
                  <a:pt x="2405" y="2047"/>
                </a:lnTo>
                <a:lnTo>
                  <a:pt x="2406" y="2049"/>
                </a:lnTo>
                <a:lnTo>
                  <a:pt x="2407" y="2051"/>
                </a:lnTo>
                <a:lnTo>
                  <a:pt x="2408" y="2055"/>
                </a:lnTo>
                <a:lnTo>
                  <a:pt x="2407" y="2058"/>
                </a:lnTo>
                <a:lnTo>
                  <a:pt x="2407" y="2060"/>
                </a:lnTo>
                <a:lnTo>
                  <a:pt x="2405" y="2062"/>
                </a:lnTo>
                <a:lnTo>
                  <a:pt x="2404" y="2064"/>
                </a:lnTo>
                <a:lnTo>
                  <a:pt x="2402" y="2065"/>
                </a:lnTo>
                <a:lnTo>
                  <a:pt x="2400" y="2066"/>
                </a:lnTo>
                <a:lnTo>
                  <a:pt x="2398" y="2067"/>
                </a:lnTo>
                <a:lnTo>
                  <a:pt x="2393" y="2067"/>
                </a:lnTo>
                <a:lnTo>
                  <a:pt x="2391" y="2066"/>
                </a:lnTo>
                <a:lnTo>
                  <a:pt x="2389" y="2065"/>
                </a:lnTo>
                <a:lnTo>
                  <a:pt x="2386" y="2063"/>
                </a:lnTo>
                <a:lnTo>
                  <a:pt x="2385" y="2061"/>
                </a:lnTo>
                <a:lnTo>
                  <a:pt x="2384" y="2059"/>
                </a:lnTo>
                <a:lnTo>
                  <a:pt x="2383" y="2054"/>
                </a:lnTo>
                <a:lnTo>
                  <a:pt x="2383" y="2052"/>
                </a:lnTo>
                <a:lnTo>
                  <a:pt x="2384" y="2049"/>
                </a:lnTo>
                <a:lnTo>
                  <a:pt x="2386" y="2047"/>
                </a:lnTo>
                <a:lnTo>
                  <a:pt x="2387" y="2046"/>
                </a:lnTo>
                <a:lnTo>
                  <a:pt x="2389" y="2044"/>
                </a:lnTo>
                <a:lnTo>
                  <a:pt x="2391" y="2043"/>
                </a:lnTo>
                <a:lnTo>
                  <a:pt x="2393" y="2043"/>
                </a:lnTo>
                <a:close/>
                <a:moveTo>
                  <a:pt x="2781" y="1966"/>
                </a:moveTo>
                <a:lnTo>
                  <a:pt x="2783" y="1966"/>
                </a:lnTo>
                <a:lnTo>
                  <a:pt x="2788" y="1967"/>
                </a:lnTo>
                <a:lnTo>
                  <a:pt x="2790" y="1968"/>
                </a:lnTo>
                <a:lnTo>
                  <a:pt x="2792" y="1969"/>
                </a:lnTo>
                <a:lnTo>
                  <a:pt x="2793" y="1971"/>
                </a:lnTo>
                <a:lnTo>
                  <a:pt x="2795" y="1973"/>
                </a:lnTo>
                <a:lnTo>
                  <a:pt x="2795" y="1975"/>
                </a:lnTo>
                <a:lnTo>
                  <a:pt x="2796" y="1978"/>
                </a:lnTo>
                <a:lnTo>
                  <a:pt x="2795" y="1982"/>
                </a:lnTo>
                <a:lnTo>
                  <a:pt x="2793" y="1986"/>
                </a:lnTo>
                <a:lnTo>
                  <a:pt x="2790" y="1989"/>
                </a:lnTo>
                <a:lnTo>
                  <a:pt x="2788" y="1990"/>
                </a:lnTo>
                <a:lnTo>
                  <a:pt x="2786" y="1990"/>
                </a:lnTo>
                <a:lnTo>
                  <a:pt x="2784" y="1991"/>
                </a:lnTo>
                <a:lnTo>
                  <a:pt x="2779" y="1990"/>
                </a:lnTo>
                <a:lnTo>
                  <a:pt x="2777" y="1989"/>
                </a:lnTo>
                <a:lnTo>
                  <a:pt x="2775" y="1987"/>
                </a:lnTo>
                <a:lnTo>
                  <a:pt x="2773" y="1986"/>
                </a:lnTo>
                <a:lnTo>
                  <a:pt x="2772" y="1983"/>
                </a:lnTo>
                <a:lnTo>
                  <a:pt x="2771" y="1981"/>
                </a:lnTo>
                <a:lnTo>
                  <a:pt x="2771" y="1979"/>
                </a:lnTo>
                <a:lnTo>
                  <a:pt x="2772" y="1974"/>
                </a:lnTo>
                <a:lnTo>
                  <a:pt x="2774" y="1970"/>
                </a:lnTo>
                <a:lnTo>
                  <a:pt x="2777" y="1968"/>
                </a:lnTo>
                <a:lnTo>
                  <a:pt x="2779" y="1967"/>
                </a:lnTo>
                <a:lnTo>
                  <a:pt x="2781" y="1966"/>
                </a:lnTo>
                <a:close/>
                <a:moveTo>
                  <a:pt x="2456" y="2022"/>
                </a:moveTo>
                <a:lnTo>
                  <a:pt x="2461" y="2022"/>
                </a:lnTo>
                <a:lnTo>
                  <a:pt x="2463" y="2022"/>
                </a:lnTo>
                <a:lnTo>
                  <a:pt x="2465" y="2023"/>
                </a:lnTo>
                <a:lnTo>
                  <a:pt x="2466" y="2025"/>
                </a:lnTo>
                <a:lnTo>
                  <a:pt x="2468" y="2026"/>
                </a:lnTo>
                <a:lnTo>
                  <a:pt x="2469" y="2028"/>
                </a:lnTo>
                <a:lnTo>
                  <a:pt x="2470" y="2030"/>
                </a:lnTo>
                <a:lnTo>
                  <a:pt x="2471" y="2033"/>
                </a:lnTo>
                <a:lnTo>
                  <a:pt x="2471" y="2035"/>
                </a:lnTo>
                <a:lnTo>
                  <a:pt x="2470" y="2038"/>
                </a:lnTo>
                <a:lnTo>
                  <a:pt x="2469" y="2040"/>
                </a:lnTo>
                <a:lnTo>
                  <a:pt x="2468" y="2042"/>
                </a:lnTo>
                <a:lnTo>
                  <a:pt x="2466" y="2044"/>
                </a:lnTo>
                <a:lnTo>
                  <a:pt x="2464" y="2045"/>
                </a:lnTo>
                <a:lnTo>
                  <a:pt x="2462" y="2046"/>
                </a:lnTo>
                <a:lnTo>
                  <a:pt x="2460" y="2046"/>
                </a:lnTo>
                <a:lnTo>
                  <a:pt x="2456" y="2046"/>
                </a:lnTo>
                <a:lnTo>
                  <a:pt x="2454" y="2046"/>
                </a:lnTo>
                <a:lnTo>
                  <a:pt x="2452" y="2045"/>
                </a:lnTo>
                <a:lnTo>
                  <a:pt x="2450" y="2043"/>
                </a:lnTo>
                <a:lnTo>
                  <a:pt x="2449" y="2042"/>
                </a:lnTo>
                <a:lnTo>
                  <a:pt x="2447" y="2040"/>
                </a:lnTo>
                <a:lnTo>
                  <a:pt x="2446" y="2038"/>
                </a:lnTo>
                <a:lnTo>
                  <a:pt x="2446" y="2035"/>
                </a:lnTo>
                <a:lnTo>
                  <a:pt x="2446" y="2033"/>
                </a:lnTo>
                <a:lnTo>
                  <a:pt x="2446" y="2030"/>
                </a:lnTo>
                <a:lnTo>
                  <a:pt x="2447" y="2028"/>
                </a:lnTo>
                <a:lnTo>
                  <a:pt x="2449" y="2026"/>
                </a:lnTo>
                <a:lnTo>
                  <a:pt x="2450" y="2025"/>
                </a:lnTo>
                <a:lnTo>
                  <a:pt x="2452" y="2023"/>
                </a:lnTo>
                <a:lnTo>
                  <a:pt x="2455" y="2022"/>
                </a:lnTo>
                <a:lnTo>
                  <a:pt x="2456" y="2022"/>
                </a:lnTo>
                <a:close/>
                <a:moveTo>
                  <a:pt x="2715" y="1970"/>
                </a:moveTo>
                <a:lnTo>
                  <a:pt x="2718" y="1970"/>
                </a:lnTo>
                <a:lnTo>
                  <a:pt x="2721" y="1971"/>
                </a:lnTo>
                <a:lnTo>
                  <a:pt x="2723" y="1972"/>
                </a:lnTo>
                <a:lnTo>
                  <a:pt x="2725" y="1973"/>
                </a:lnTo>
                <a:lnTo>
                  <a:pt x="2727" y="1975"/>
                </a:lnTo>
                <a:lnTo>
                  <a:pt x="2728" y="1977"/>
                </a:lnTo>
                <a:lnTo>
                  <a:pt x="2729" y="1979"/>
                </a:lnTo>
                <a:lnTo>
                  <a:pt x="2730" y="1981"/>
                </a:lnTo>
                <a:lnTo>
                  <a:pt x="2730" y="1984"/>
                </a:lnTo>
                <a:lnTo>
                  <a:pt x="2729" y="1986"/>
                </a:lnTo>
                <a:lnTo>
                  <a:pt x="2727" y="1990"/>
                </a:lnTo>
                <a:lnTo>
                  <a:pt x="2726" y="1992"/>
                </a:lnTo>
                <a:lnTo>
                  <a:pt x="2724" y="1993"/>
                </a:lnTo>
                <a:lnTo>
                  <a:pt x="2720" y="1995"/>
                </a:lnTo>
                <a:lnTo>
                  <a:pt x="2717" y="1995"/>
                </a:lnTo>
                <a:lnTo>
                  <a:pt x="2714" y="1994"/>
                </a:lnTo>
                <a:lnTo>
                  <a:pt x="2712" y="1993"/>
                </a:lnTo>
                <a:lnTo>
                  <a:pt x="2710" y="1992"/>
                </a:lnTo>
                <a:lnTo>
                  <a:pt x="2708" y="1990"/>
                </a:lnTo>
                <a:lnTo>
                  <a:pt x="2706" y="1988"/>
                </a:lnTo>
                <a:lnTo>
                  <a:pt x="2706" y="1986"/>
                </a:lnTo>
                <a:lnTo>
                  <a:pt x="2705" y="1984"/>
                </a:lnTo>
                <a:lnTo>
                  <a:pt x="2705" y="1981"/>
                </a:lnTo>
                <a:lnTo>
                  <a:pt x="2705" y="1979"/>
                </a:lnTo>
                <a:lnTo>
                  <a:pt x="2708" y="1975"/>
                </a:lnTo>
                <a:lnTo>
                  <a:pt x="2709" y="1973"/>
                </a:lnTo>
                <a:lnTo>
                  <a:pt x="2711" y="1972"/>
                </a:lnTo>
                <a:lnTo>
                  <a:pt x="2715" y="1970"/>
                </a:lnTo>
                <a:close/>
                <a:moveTo>
                  <a:pt x="2520" y="2004"/>
                </a:moveTo>
                <a:lnTo>
                  <a:pt x="2524" y="2004"/>
                </a:lnTo>
                <a:lnTo>
                  <a:pt x="2527" y="2005"/>
                </a:lnTo>
                <a:lnTo>
                  <a:pt x="2529" y="2006"/>
                </a:lnTo>
                <a:lnTo>
                  <a:pt x="2530" y="2007"/>
                </a:lnTo>
                <a:lnTo>
                  <a:pt x="2532" y="2009"/>
                </a:lnTo>
                <a:lnTo>
                  <a:pt x="2533" y="2011"/>
                </a:lnTo>
                <a:lnTo>
                  <a:pt x="2534" y="2013"/>
                </a:lnTo>
                <a:lnTo>
                  <a:pt x="2534" y="2016"/>
                </a:lnTo>
                <a:lnTo>
                  <a:pt x="2534" y="2018"/>
                </a:lnTo>
                <a:lnTo>
                  <a:pt x="2533" y="2023"/>
                </a:lnTo>
                <a:lnTo>
                  <a:pt x="2531" y="2025"/>
                </a:lnTo>
                <a:lnTo>
                  <a:pt x="2530" y="2025"/>
                </a:lnTo>
                <a:lnTo>
                  <a:pt x="2529" y="2026"/>
                </a:lnTo>
                <a:lnTo>
                  <a:pt x="2527" y="2027"/>
                </a:lnTo>
                <a:lnTo>
                  <a:pt x="2525" y="2028"/>
                </a:lnTo>
                <a:lnTo>
                  <a:pt x="2520" y="2028"/>
                </a:lnTo>
                <a:lnTo>
                  <a:pt x="2518" y="2028"/>
                </a:lnTo>
                <a:lnTo>
                  <a:pt x="2515" y="2027"/>
                </a:lnTo>
                <a:lnTo>
                  <a:pt x="2514" y="2025"/>
                </a:lnTo>
                <a:lnTo>
                  <a:pt x="2512" y="2024"/>
                </a:lnTo>
                <a:lnTo>
                  <a:pt x="2511" y="2022"/>
                </a:lnTo>
                <a:lnTo>
                  <a:pt x="2510" y="2019"/>
                </a:lnTo>
                <a:lnTo>
                  <a:pt x="2510" y="2017"/>
                </a:lnTo>
                <a:lnTo>
                  <a:pt x="2510" y="2014"/>
                </a:lnTo>
                <a:lnTo>
                  <a:pt x="2511" y="2010"/>
                </a:lnTo>
                <a:lnTo>
                  <a:pt x="2513" y="2008"/>
                </a:lnTo>
                <a:lnTo>
                  <a:pt x="2514" y="2007"/>
                </a:lnTo>
                <a:lnTo>
                  <a:pt x="2515" y="2006"/>
                </a:lnTo>
                <a:lnTo>
                  <a:pt x="2517" y="2005"/>
                </a:lnTo>
                <a:lnTo>
                  <a:pt x="2519" y="2004"/>
                </a:lnTo>
                <a:lnTo>
                  <a:pt x="2520" y="2004"/>
                </a:lnTo>
                <a:close/>
                <a:moveTo>
                  <a:pt x="2650" y="1978"/>
                </a:moveTo>
                <a:lnTo>
                  <a:pt x="2652" y="1978"/>
                </a:lnTo>
                <a:lnTo>
                  <a:pt x="2655" y="1978"/>
                </a:lnTo>
                <a:lnTo>
                  <a:pt x="2657" y="1979"/>
                </a:lnTo>
                <a:lnTo>
                  <a:pt x="2659" y="1980"/>
                </a:lnTo>
                <a:lnTo>
                  <a:pt x="2661" y="1982"/>
                </a:lnTo>
                <a:lnTo>
                  <a:pt x="2662" y="1984"/>
                </a:lnTo>
                <a:lnTo>
                  <a:pt x="2663" y="1986"/>
                </a:lnTo>
                <a:lnTo>
                  <a:pt x="2664" y="1989"/>
                </a:lnTo>
                <a:lnTo>
                  <a:pt x="2664" y="1991"/>
                </a:lnTo>
                <a:lnTo>
                  <a:pt x="2664" y="1993"/>
                </a:lnTo>
                <a:lnTo>
                  <a:pt x="2663" y="1996"/>
                </a:lnTo>
                <a:lnTo>
                  <a:pt x="2662" y="1998"/>
                </a:lnTo>
                <a:lnTo>
                  <a:pt x="2660" y="1999"/>
                </a:lnTo>
                <a:lnTo>
                  <a:pt x="2658" y="2001"/>
                </a:lnTo>
                <a:lnTo>
                  <a:pt x="2656" y="2002"/>
                </a:lnTo>
                <a:lnTo>
                  <a:pt x="2654" y="2003"/>
                </a:lnTo>
                <a:lnTo>
                  <a:pt x="2651" y="2003"/>
                </a:lnTo>
                <a:lnTo>
                  <a:pt x="2649" y="2002"/>
                </a:lnTo>
                <a:lnTo>
                  <a:pt x="2646" y="2001"/>
                </a:lnTo>
                <a:lnTo>
                  <a:pt x="2644" y="2000"/>
                </a:lnTo>
                <a:lnTo>
                  <a:pt x="2643" y="1999"/>
                </a:lnTo>
                <a:lnTo>
                  <a:pt x="2641" y="1997"/>
                </a:lnTo>
                <a:lnTo>
                  <a:pt x="2640" y="1995"/>
                </a:lnTo>
                <a:lnTo>
                  <a:pt x="2639" y="1992"/>
                </a:lnTo>
                <a:lnTo>
                  <a:pt x="2639" y="1990"/>
                </a:lnTo>
                <a:lnTo>
                  <a:pt x="2640" y="1987"/>
                </a:lnTo>
                <a:lnTo>
                  <a:pt x="2640" y="1985"/>
                </a:lnTo>
                <a:lnTo>
                  <a:pt x="2642" y="1983"/>
                </a:lnTo>
                <a:lnTo>
                  <a:pt x="2643" y="1981"/>
                </a:lnTo>
                <a:lnTo>
                  <a:pt x="2645" y="1980"/>
                </a:lnTo>
                <a:lnTo>
                  <a:pt x="2647" y="1979"/>
                </a:lnTo>
                <a:lnTo>
                  <a:pt x="2650" y="1978"/>
                </a:lnTo>
                <a:close/>
                <a:moveTo>
                  <a:pt x="2584" y="1989"/>
                </a:moveTo>
                <a:lnTo>
                  <a:pt x="2589" y="1990"/>
                </a:lnTo>
                <a:lnTo>
                  <a:pt x="2591" y="1990"/>
                </a:lnTo>
                <a:lnTo>
                  <a:pt x="2593" y="1991"/>
                </a:lnTo>
                <a:lnTo>
                  <a:pt x="2595" y="1993"/>
                </a:lnTo>
                <a:lnTo>
                  <a:pt x="2597" y="1995"/>
                </a:lnTo>
                <a:lnTo>
                  <a:pt x="2598" y="1997"/>
                </a:lnTo>
                <a:lnTo>
                  <a:pt x="2599" y="1999"/>
                </a:lnTo>
                <a:lnTo>
                  <a:pt x="2599" y="2004"/>
                </a:lnTo>
                <a:lnTo>
                  <a:pt x="2598" y="2006"/>
                </a:lnTo>
                <a:lnTo>
                  <a:pt x="2597" y="2009"/>
                </a:lnTo>
                <a:lnTo>
                  <a:pt x="2595" y="2010"/>
                </a:lnTo>
                <a:lnTo>
                  <a:pt x="2593" y="2012"/>
                </a:lnTo>
                <a:lnTo>
                  <a:pt x="2591" y="2013"/>
                </a:lnTo>
                <a:lnTo>
                  <a:pt x="2589" y="2014"/>
                </a:lnTo>
                <a:lnTo>
                  <a:pt x="2584" y="2014"/>
                </a:lnTo>
                <a:lnTo>
                  <a:pt x="2582" y="2013"/>
                </a:lnTo>
                <a:lnTo>
                  <a:pt x="2580" y="2012"/>
                </a:lnTo>
                <a:lnTo>
                  <a:pt x="2578" y="2010"/>
                </a:lnTo>
                <a:lnTo>
                  <a:pt x="2576" y="2009"/>
                </a:lnTo>
                <a:lnTo>
                  <a:pt x="2575" y="2006"/>
                </a:lnTo>
                <a:lnTo>
                  <a:pt x="2574" y="2004"/>
                </a:lnTo>
                <a:lnTo>
                  <a:pt x="2574" y="1999"/>
                </a:lnTo>
                <a:lnTo>
                  <a:pt x="2575" y="1997"/>
                </a:lnTo>
                <a:lnTo>
                  <a:pt x="2576" y="1995"/>
                </a:lnTo>
                <a:lnTo>
                  <a:pt x="2578" y="1993"/>
                </a:lnTo>
                <a:lnTo>
                  <a:pt x="2580" y="1991"/>
                </a:lnTo>
                <a:lnTo>
                  <a:pt x="2582" y="1990"/>
                </a:lnTo>
                <a:lnTo>
                  <a:pt x="2584" y="1990"/>
                </a:lnTo>
                <a:lnTo>
                  <a:pt x="2584" y="1989"/>
                </a:lnTo>
                <a:close/>
                <a:moveTo>
                  <a:pt x="1561" y="2260"/>
                </a:moveTo>
                <a:lnTo>
                  <a:pt x="1564" y="2259"/>
                </a:lnTo>
                <a:lnTo>
                  <a:pt x="1567" y="2260"/>
                </a:lnTo>
                <a:lnTo>
                  <a:pt x="1570" y="2261"/>
                </a:lnTo>
                <a:lnTo>
                  <a:pt x="1572" y="2263"/>
                </a:lnTo>
                <a:lnTo>
                  <a:pt x="1573" y="2264"/>
                </a:lnTo>
                <a:lnTo>
                  <a:pt x="1574" y="2266"/>
                </a:lnTo>
                <a:lnTo>
                  <a:pt x="1575" y="2269"/>
                </a:lnTo>
                <a:lnTo>
                  <a:pt x="1551" y="2269"/>
                </a:lnTo>
                <a:lnTo>
                  <a:pt x="1552" y="2266"/>
                </a:lnTo>
                <a:lnTo>
                  <a:pt x="1554" y="2263"/>
                </a:lnTo>
                <a:lnTo>
                  <a:pt x="1556" y="2262"/>
                </a:lnTo>
                <a:lnTo>
                  <a:pt x="1557" y="2261"/>
                </a:lnTo>
                <a:lnTo>
                  <a:pt x="1561" y="2260"/>
                </a:lnTo>
                <a:close/>
                <a:moveTo>
                  <a:pt x="1608" y="2213"/>
                </a:moveTo>
                <a:lnTo>
                  <a:pt x="1611" y="2213"/>
                </a:lnTo>
                <a:lnTo>
                  <a:pt x="1614" y="2213"/>
                </a:lnTo>
                <a:lnTo>
                  <a:pt x="1617" y="2215"/>
                </a:lnTo>
                <a:lnTo>
                  <a:pt x="1619" y="2217"/>
                </a:lnTo>
                <a:lnTo>
                  <a:pt x="1621" y="2219"/>
                </a:lnTo>
                <a:lnTo>
                  <a:pt x="1622" y="2221"/>
                </a:lnTo>
                <a:lnTo>
                  <a:pt x="1623" y="2223"/>
                </a:lnTo>
                <a:lnTo>
                  <a:pt x="1623" y="2226"/>
                </a:lnTo>
                <a:lnTo>
                  <a:pt x="1623" y="2228"/>
                </a:lnTo>
                <a:lnTo>
                  <a:pt x="1622" y="2230"/>
                </a:lnTo>
                <a:lnTo>
                  <a:pt x="1621" y="2232"/>
                </a:lnTo>
                <a:lnTo>
                  <a:pt x="1619" y="2234"/>
                </a:lnTo>
                <a:lnTo>
                  <a:pt x="1616" y="2237"/>
                </a:lnTo>
                <a:lnTo>
                  <a:pt x="1613" y="2238"/>
                </a:lnTo>
                <a:lnTo>
                  <a:pt x="1610" y="2238"/>
                </a:lnTo>
                <a:lnTo>
                  <a:pt x="1607" y="2237"/>
                </a:lnTo>
                <a:lnTo>
                  <a:pt x="1604" y="2236"/>
                </a:lnTo>
                <a:lnTo>
                  <a:pt x="1601" y="2234"/>
                </a:lnTo>
                <a:lnTo>
                  <a:pt x="1600" y="2232"/>
                </a:lnTo>
                <a:lnTo>
                  <a:pt x="1599" y="2230"/>
                </a:lnTo>
                <a:lnTo>
                  <a:pt x="1598" y="2228"/>
                </a:lnTo>
                <a:lnTo>
                  <a:pt x="1598" y="2225"/>
                </a:lnTo>
                <a:lnTo>
                  <a:pt x="1598" y="2223"/>
                </a:lnTo>
                <a:lnTo>
                  <a:pt x="1599" y="2220"/>
                </a:lnTo>
                <a:lnTo>
                  <a:pt x="1600" y="2218"/>
                </a:lnTo>
                <a:lnTo>
                  <a:pt x="1602" y="2216"/>
                </a:lnTo>
                <a:lnTo>
                  <a:pt x="1605" y="2214"/>
                </a:lnTo>
                <a:lnTo>
                  <a:pt x="1608" y="2213"/>
                </a:lnTo>
                <a:close/>
                <a:moveTo>
                  <a:pt x="1657" y="2168"/>
                </a:moveTo>
                <a:lnTo>
                  <a:pt x="1660" y="2168"/>
                </a:lnTo>
                <a:lnTo>
                  <a:pt x="1663" y="2168"/>
                </a:lnTo>
                <a:lnTo>
                  <a:pt x="1665" y="2170"/>
                </a:lnTo>
                <a:lnTo>
                  <a:pt x="1668" y="2172"/>
                </a:lnTo>
                <a:lnTo>
                  <a:pt x="1669" y="2174"/>
                </a:lnTo>
                <a:lnTo>
                  <a:pt x="1671" y="2176"/>
                </a:lnTo>
                <a:lnTo>
                  <a:pt x="1671" y="2181"/>
                </a:lnTo>
                <a:lnTo>
                  <a:pt x="1671" y="2183"/>
                </a:lnTo>
                <a:lnTo>
                  <a:pt x="1670" y="2186"/>
                </a:lnTo>
                <a:lnTo>
                  <a:pt x="1669" y="2188"/>
                </a:lnTo>
                <a:lnTo>
                  <a:pt x="1667" y="2190"/>
                </a:lnTo>
                <a:lnTo>
                  <a:pt x="1664" y="2191"/>
                </a:lnTo>
                <a:lnTo>
                  <a:pt x="1661" y="2193"/>
                </a:lnTo>
                <a:lnTo>
                  <a:pt x="1658" y="2193"/>
                </a:lnTo>
                <a:lnTo>
                  <a:pt x="1655" y="2192"/>
                </a:lnTo>
                <a:lnTo>
                  <a:pt x="1652" y="2191"/>
                </a:lnTo>
                <a:lnTo>
                  <a:pt x="1649" y="2189"/>
                </a:lnTo>
                <a:lnTo>
                  <a:pt x="1648" y="2187"/>
                </a:lnTo>
                <a:lnTo>
                  <a:pt x="1647" y="2184"/>
                </a:lnTo>
                <a:lnTo>
                  <a:pt x="1646" y="2180"/>
                </a:lnTo>
                <a:lnTo>
                  <a:pt x="1647" y="2177"/>
                </a:lnTo>
                <a:lnTo>
                  <a:pt x="1647" y="2175"/>
                </a:lnTo>
                <a:lnTo>
                  <a:pt x="1649" y="2173"/>
                </a:lnTo>
                <a:lnTo>
                  <a:pt x="1650" y="2171"/>
                </a:lnTo>
                <a:lnTo>
                  <a:pt x="1653" y="2169"/>
                </a:lnTo>
                <a:lnTo>
                  <a:pt x="1657" y="2168"/>
                </a:lnTo>
                <a:close/>
                <a:moveTo>
                  <a:pt x="1706" y="2124"/>
                </a:moveTo>
                <a:lnTo>
                  <a:pt x="1709" y="2124"/>
                </a:lnTo>
                <a:lnTo>
                  <a:pt x="1712" y="2125"/>
                </a:lnTo>
                <a:lnTo>
                  <a:pt x="1715" y="2126"/>
                </a:lnTo>
                <a:lnTo>
                  <a:pt x="1717" y="2127"/>
                </a:lnTo>
                <a:lnTo>
                  <a:pt x="1718" y="2128"/>
                </a:lnTo>
                <a:lnTo>
                  <a:pt x="1719" y="2131"/>
                </a:lnTo>
                <a:lnTo>
                  <a:pt x="1720" y="2133"/>
                </a:lnTo>
                <a:lnTo>
                  <a:pt x="1721" y="2135"/>
                </a:lnTo>
                <a:lnTo>
                  <a:pt x="1721" y="2138"/>
                </a:lnTo>
                <a:lnTo>
                  <a:pt x="1720" y="2140"/>
                </a:lnTo>
                <a:lnTo>
                  <a:pt x="1720" y="2142"/>
                </a:lnTo>
                <a:lnTo>
                  <a:pt x="1718" y="2144"/>
                </a:lnTo>
                <a:lnTo>
                  <a:pt x="1716" y="2146"/>
                </a:lnTo>
                <a:lnTo>
                  <a:pt x="1714" y="2148"/>
                </a:lnTo>
                <a:lnTo>
                  <a:pt x="1711" y="2149"/>
                </a:lnTo>
                <a:lnTo>
                  <a:pt x="1707" y="2149"/>
                </a:lnTo>
                <a:lnTo>
                  <a:pt x="1704" y="2148"/>
                </a:lnTo>
                <a:lnTo>
                  <a:pt x="1701" y="2147"/>
                </a:lnTo>
                <a:lnTo>
                  <a:pt x="1700" y="2146"/>
                </a:lnTo>
                <a:lnTo>
                  <a:pt x="1699" y="2145"/>
                </a:lnTo>
                <a:lnTo>
                  <a:pt x="1697" y="2143"/>
                </a:lnTo>
                <a:lnTo>
                  <a:pt x="1696" y="2140"/>
                </a:lnTo>
                <a:lnTo>
                  <a:pt x="1696" y="2138"/>
                </a:lnTo>
                <a:lnTo>
                  <a:pt x="1696" y="2136"/>
                </a:lnTo>
                <a:lnTo>
                  <a:pt x="1696" y="2133"/>
                </a:lnTo>
                <a:lnTo>
                  <a:pt x="1697" y="2131"/>
                </a:lnTo>
                <a:lnTo>
                  <a:pt x="1699" y="2129"/>
                </a:lnTo>
                <a:lnTo>
                  <a:pt x="1700" y="2127"/>
                </a:lnTo>
                <a:lnTo>
                  <a:pt x="1703" y="2125"/>
                </a:lnTo>
                <a:lnTo>
                  <a:pt x="1706" y="2124"/>
                </a:lnTo>
                <a:close/>
                <a:moveTo>
                  <a:pt x="1757" y="2082"/>
                </a:moveTo>
                <a:lnTo>
                  <a:pt x="1760" y="2082"/>
                </a:lnTo>
                <a:lnTo>
                  <a:pt x="1764" y="2083"/>
                </a:lnTo>
                <a:lnTo>
                  <a:pt x="1767" y="2084"/>
                </a:lnTo>
                <a:lnTo>
                  <a:pt x="1769" y="2087"/>
                </a:lnTo>
                <a:lnTo>
                  <a:pt x="1770" y="2089"/>
                </a:lnTo>
                <a:lnTo>
                  <a:pt x="1771" y="2091"/>
                </a:lnTo>
                <a:lnTo>
                  <a:pt x="1772" y="2093"/>
                </a:lnTo>
                <a:lnTo>
                  <a:pt x="1772" y="2096"/>
                </a:lnTo>
                <a:lnTo>
                  <a:pt x="1771" y="2098"/>
                </a:lnTo>
                <a:lnTo>
                  <a:pt x="1770" y="2100"/>
                </a:lnTo>
                <a:lnTo>
                  <a:pt x="1769" y="2102"/>
                </a:lnTo>
                <a:lnTo>
                  <a:pt x="1767" y="2104"/>
                </a:lnTo>
                <a:lnTo>
                  <a:pt x="1764" y="2106"/>
                </a:lnTo>
                <a:lnTo>
                  <a:pt x="1762" y="2107"/>
                </a:lnTo>
                <a:lnTo>
                  <a:pt x="1758" y="2107"/>
                </a:lnTo>
                <a:lnTo>
                  <a:pt x="1755" y="2106"/>
                </a:lnTo>
                <a:lnTo>
                  <a:pt x="1752" y="2105"/>
                </a:lnTo>
                <a:lnTo>
                  <a:pt x="1750" y="2102"/>
                </a:lnTo>
                <a:lnTo>
                  <a:pt x="1748" y="2100"/>
                </a:lnTo>
                <a:lnTo>
                  <a:pt x="1747" y="2098"/>
                </a:lnTo>
                <a:lnTo>
                  <a:pt x="1747" y="2095"/>
                </a:lnTo>
                <a:lnTo>
                  <a:pt x="1747" y="2093"/>
                </a:lnTo>
                <a:lnTo>
                  <a:pt x="1747" y="2091"/>
                </a:lnTo>
                <a:lnTo>
                  <a:pt x="1748" y="2088"/>
                </a:lnTo>
                <a:lnTo>
                  <a:pt x="1750" y="2086"/>
                </a:lnTo>
                <a:lnTo>
                  <a:pt x="1752" y="2085"/>
                </a:lnTo>
                <a:lnTo>
                  <a:pt x="1754" y="2083"/>
                </a:lnTo>
                <a:lnTo>
                  <a:pt x="1757" y="2082"/>
                </a:lnTo>
                <a:close/>
                <a:moveTo>
                  <a:pt x="1809" y="2041"/>
                </a:moveTo>
                <a:lnTo>
                  <a:pt x="1813" y="2041"/>
                </a:lnTo>
                <a:lnTo>
                  <a:pt x="1816" y="2042"/>
                </a:lnTo>
                <a:lnTo>
                  <a:pt x="1819" y="2044"/>
                </a:lnTo>
                <a:lnTo>
                  <a:pt x="1822" y="2046"/>
                </a:lnTo>
                <a:lnTo>
                  <a:pt x="1824" y="2051"/>
                </a:lnTo>
                <a:lnTo>
                  <a:pt x="1824" y="2053"/>
                </a:lnTo>
                <a:lnTo>
                  <a:pt x="1824" y="2056"/>
                </a:lnTo>
                <a:lnTo>
                  <a:pt x="1822" y="2060"/>
                </a:lnTo>
                <a:lnTo>
                  <a:pt x="1821" y="2062"/>
                </a:lnTo>
                <a:lnTo>
                  <a:pt x="1819" y="2064"/>
                </a:lnTo>
                <a:lnTo>
                  <a:pt x="1817" y="2065"/>
                </a:lnTo>
                <a:lnTo>
                  <a:pt x="1814" y="2066"/>
                </a:lnTo>
                <a:lnTo>
                  <a:pt x="1810" y="2066"/>
                </a:lnTo>
                <a:lnTo>
                  <a:pt x="1807" y="2065"/>
                </a:lnTo>
                <a:lnTo>
                  <a:pt x="1804" y="2064"/>
                </a:lnTo>
                <a:lnTo>
                  <a:pt x="1802" y="2061"/>
                </a:lnTo>
                <a:lnTo>
                  <a:pt x="1799" y="2057"/>
                </a:lnTo>
                <a:lnTo>
                  <a:pt x="1799" y="2054"/>
                </a:lnTo>
                <a:lnTo>
                  <a:pt x="1799" y="2052"/>
                </a:lnTo>
                <a:lnTo>
                  <a:pt x="1801" y="2047"/>
                </a:lnTo>
                <a:lnTo>
                  <a:pt x="1802" y="2045"/>
                </a:lnTo>
                <a:lnTo>
                  <a:pt x="1804" y="2044"/>
                </a:lnTo>
                <a:lnTo>
                  <a:pt x="1807" y="2042"/>
                </a:lnTo>
                <a:lnTo>
                  <a:pt x="1809" y="2041"/>
                </a:lnTo>
                <a:close/>
                <a:moveTo>
                  <a:pt x="1863" y="2003"/>
                </a:moveTo>
                <a:lnTo>
                  <a:pt x="1866" y="2003"/>
                </a:lnTo>
                <a:lnTo>
                  <a:pt x="1870" y="2003"/>
                </a:lnTo>
                <a:lnTo>
                  <a:pt x="1873" y="2005"/>
                </a:lnTo>
                <a:lnTo>
                  <a:pt x="1874" y="2006"/>
                </a:lnTo>
                <a:lnTo>
                  <a:pt x="1875" y="2008"/>
                </a:lnTo>
                <a:lnTo>
                  <a:pt x="1877" y="2010"/>
                </a:lnTo>
                <a:lnTo>
                  <a:pt x="1877" y="2012"/>
                </a:lnTo>
                <a:lnTo>
                  <a:pt x="1877" y="2017"/>
                </a:lnTo>
                <a:lnTo>
                  <a:pt x="1877" y="2019"/>
                </a:lnTo>
                <a:lnTo>
                  <a:pt x="1876" y="2022"/>
                </a:lnTo>
                <a:lnTo>
                  <a:pt x="1874" y="2023"/>
                </a:lnTo>
                <a:lnTo>
                  <a:pt x="1872" y="2025"/>
                </a:lnTo>
                <a:lnTo>
                  <a:pt x="1870" y="2026"/>
                </a:lnTo>
                <a:lnTo>
                  <a:pt x="1867" y="2027"/>
                </a:lnTo>
                <a:lnTo>
                  <a:pt x="1864" y="2027"/>
                </a:lnTo>
                <a:lnTo>
                  <a:pt x="1860" y="2026"/>
                </a:lnTo>
                <a:lnTo>
                  <a:pt x="1857" y="2025"/>
                </a:lnTo>
                <a:lnTo>
                  <a:pt x="1856" y="2024"/>
                </a:lnTo>
                <a:lnTo>
                  <a:pt x="1855" y="2022"/>
                </a:lnTo>
                <a:lnTo>
                  <a:pt x="1854" y="2020"/>
                </a:lnTo>
                <a:lnTo>
                  <a:pt x="1853" y="2018"/>
                </a:lnTo>
                <a:lnTo>
                  <a:pt x="1853" y="2013"/>
                </a:lnTo>
                <a:lnTo>
                  <a:pt x="1853" y="2010"/>
                </a:lnTo>
                <a:lnTo>
                  <a:pt x="1855" y="2008"/>
                </a:lnTo>
                <a:lnTo>
                  <a:pt x="1856" y="2006"/>
                </a:lnTo>
                <a:lnTo>
                  <a:pt x="1858" y="2005"/>
                </a:lnTo>
                <a:lnTo>
                  <a:pt x="1860" y="2003"/>
                </a:lnTo>
                <a:lnTo>
                  <a:pt x="1863" y="2003"/>
                </a:lnTo>
                <a:close/>
                <a:moveTo>
                  <a:pt x="1918" y="1966"/>
                </a:moveTo>
                <a:lnTo>
                  <a:pt x="1921" y="1966"/>
                </a:lnTo>
                <a:lnTo>
                  <a:pt x="1925" y="1966"/>
                </a:lnTo>
                <a:lnTo>
                  <a:pt x="1926" y="1967"/>
                </a:lnTo>
                <a:lnTo>
                  <a:pt x="1928" y="1968"/>
                </a:lnTo>
                <a:lnTo>
                  <a:pt x="1930" y="1971"/>
                </a:lnTo>
                <a:lnTo>
                  <a:pt x="1932" y="1973"/>
                </a:lnTo>
                <a:lnTo>
                  <a:pt x="1932" y="1976"/>
                </a:lnTo>
                <a:lnTo>
                  <a:pt x="1932" y="1981"/>
                </a:lnTo>
                <a:lnTo>
                  <a:pt x="1931" y="1983"/>
                </a:lnTo>
                <a:lnTo>
                  <a:pt x="1930" y="1985"/>
                </a:lnTo>
                <a:lnTo>
                  <a:pt x="1929" y="1987"/>
                </a:lnTo>
                <a:lnTo>
                  <a:pt x="1927" y="1988"/>
                </a:lnTo>
                <a:lnTo>
                  <a:pt x="1925" y="1990"/>
                </a:lnTo>
                <a:lnTo>
                  <a:pt x="1922" y="1990"/>
                </a:lnTo>
                <a:lnTo>
                  <a:pt x="1919" y="1990"/>
                </a:lnTo>
                <a:lnTo>
                  <a:pt x="1915" y="1989"/>
                </a:lnTo>
                <a:lnTo>
                  <a:pt x="1913" y="1989"/>
                </a:lnTo>
                <a:lnTo>
                  <a:pt x="1912" y="1988"/>
                </a:lnTo>
                <a:lnTo>
                  <a:pt x="1910" y="1985"/>
                </a:lnTo>
                <a:lnTo>
                  <a:pt x="1908" y="1982"/>
                </a:lnTo>
                <a:lnTo>
                  <a:pt x="1908" y="1980"/>
                </a:lnTo>
                <a:lnTo>
                  <a:pt x="1908" y="1975"/>
                </a:lnTo>
                <a:lnTo>
                  <a:pt x="1908" y="1973"/>
                </a:lnTo>
                <a:lnTo>
                  <a:pt x="1910" y="1971"/>
                </a:lnTo>
                <a:lnTo>
                  <a:pt x="1911" y="1969"/>
                </a:lnTo>
                <a:lnTo>
                  <a:pt x="1913" y="1967"/>
                </a:lnTo>
                <a:lnTo>
                  <a:pt x="1915" y="1966"/>
                </a:lnTo>
                <a:lnTo>
                  <a:pt x="1918" y="1966"/>
                </a:lnTo>
                <a:close/>
                <a:moveTo>
                  <a:pt x="1974" y="1931"/>
                </a:moveTo>
                <a:lnTo>
                  <a:pt x="1978" y="1931"/>
                </a:lnTo>
                <a:lnTo>
                  <a:pt x="1981" y="1932"/>
                </a:lnTo>
                <a:lnTo>
                  <a:pt x="1984" y="1934"/>
                </a:lnTo>
                <a:lnTo>
                  <a:pt x="1986" y="1935"/>
                </a:lnTo>
                <a:lnTo>
                  <a:pt x="1987" y="1937"/>
                </a:lnTo>
                <a:lnTo>
                  <a:pt x="1988" y="1939"/>
                </a:lnTo>
                <a:lnTo>
                  <a:pt x="1988" y="1941"/>
                </a:lnTo>
                <a:lnTo>
                  <a:pt x="1989" y="1944"/>
                </a:lnTo>
                <a:lnTo>
                  <a:pt x="1988" y="1946"/>
                </a:lnTo>
                <a:lnTo>
                  <a:pt x="1987" y="1948"/>
                </a:lnTo>
                <a:lnTo>
                  <a:pt x="1986" y="1950"/>
                </a:lnTo>
                <a:lnTo>
                  <a:pt x="1985" y="1952"/>
                </a:lnTo>
                <a:lnTo>
                  <a:pt x="1983" y="1954"/>
                </a:lnTo>
                <a:lnTo>
                  <a:pt x="1980" y="1955"/>
                </a:lnTo>
                <a:lnTo>
                  <a:pt x="1978" y="1955"/>
                </a:lnTo>
                <a:lnTo>
                  <a:pt x="1975" y="1955"/>
                </a:lnTo>
                <a:lnTo>
                  <a:pt x="1971" y="1954"/>
                </a:lnTo>
                <a:lnTo>
                  <a:pt x="1968" y="1952"/>
                </a:lnTo>
                <a:lnTo>
                  <a:pt x="1967" y="1951"/>
                </a:lnTo>
                <a:lnTo>
                  <a:pt x="1965" y="1949"/>
                </a:lnTo>
                <a:lnTo>
                  <a:pt x="1964" y="1947"/>
                </a:lnTo>
                <a:lnTo>
                  <a:pt x="1964" y="1945"/>
                </a:lnTo>
                <a:lnTo>
                  <a:pt x="1964" y="1942"/>
                </a:lnTo>
                <a:lnTo>
                  <a:pt x="1964" y="1940"/>
                </a:lnTo>
                <a:lnTo>
                  <a:pt x="1965" y="1938"/>
                </a:lnTo>
                <a:lnTo>
                  <a:pt x="1966" y="1936"/>
                </a:lnTo>
                <a:lnTo>
                  <a:pt x="1968" y="1934"/>
                </a:lnTo>
                <a:lnTo>
                  <a:pt x="1970" y="1932"/>
                </a:lnTo>
                <a:lnTo>
                  <a:pt x="1972" y="1931"/>
                </a:lnTo>
                <a:lnTo>
                  <a:pt x="1974" y="1931"/>
                </a:lnTo>
                <a:close/>
                <a:moveTo>
                  <a:pt x="2031" y="1898"/>
                </a:moveTo>
                <a:lnTo>
                  <a:pt x="2035" y="1898"/>
                </a:lnTo>
                <a:lnTo>
                  <a:pt x="2039" y="1899"/>
                </a:lnTo>
                <a:lnTo>
                  <a:pt x="2041" y="1900"/>
                </a:lnTo>
                <a:lnTo>
                  <a:pt x="2042" y="1901"/>
                </a:lnTo>
                <a:lnTo>
                  <a:pt x="2044" y="1904"/>
                </a:lnTo>
                <a:lnTo>
                  <a:pt x="2045" y="1906"/>
                </a:lnTo>
                <a:lnTo>
                  <a:pt x="2046" y="1909"/>
                </a:lnTo>
                <a:lnTo>
                  <a:pt x="2046" y="1911"/>
                </a:lnTo>
                <a:lnTo>
                  <a:pt x="2046" y="1914"/>
                </a:lnTo>
                <a:lnTo>
                  <a:pt x="2045" y="1916"/>
                </a:lnTo>
                <a:lnTo>
                  <a:pt x="2043" y="1918"/>
                </a:lnTo>
                <a:lnTo>
                  <a:pt x="2042" y="1920"/>
                </a:lnTo>
                <a:lnTo>
                  <a:pt x="2040" y="1921"/>
                </a:lnTo>
                <a:lnTo>
                  <a:pt x="2038" y="1922"/>
                </a:lnTo>
                <a:lnTo>
                  <a:pt x="2036" y="1922"/>
                </a:lnTo>
                <a:lnTo>
                  <a:pt x="2032" y="1922"/>
                </a:lnTo>
                <a:lnTo>
                  <a:pt x="2028" y="1921"/>
                </a:lnTo>
                <a:lnTo>
                  <a:pt x="2027" y="1920"/>
                </a:lnTo>
                <a:lnTo>
                  <a:pt x="2025" y="1919"/>
                </a:lnTo>
                <a:lnTo>
                  <a:pt x="2023" y="1916"/>
                </a:lnTo>
                <a:lnTo>
                  <a:pt x="2022" y="1914"/>
                </a:lnTo>
                <a:lnTo>
                  <a:pt x="2021" y="1911"/>
                </a:lnTo>
                <a:lnTo>
                  <a:pt x="2021" y="1909"/>
                </a:lnTo>
                <a:lnTo>
                  <a:pt x="2022" y="1907"/>
                </a:lnTo>
                <a:lnTo>
                  <a:pt x="2022" y="1904"/>
                </a:lnTo>
                <a:lnTo>
                  <a:pt x="2024" y="1902"/>
                </a:lnTo>
                <a:lnTo>
                  <a:pt x="2025" y="1901"/>
                </a:lnTo>
                <a:lnTo>
                  <a:pt x="2028" y="1899"/>
                </a:lnTo>
                <a:lnTo>
                  <a:pt x="2029" y="1898"/>
                </a:lnTo>
                <a:lnTo>
                  <a:pt x="2031" y="1898"/>
                </a:lnTo>
                <a:close/>
                <a:moveTo>
                  <a:pt x="2927" y="1739"/>
                </a:moveTo>
                <a:lnTo>
                  <a:pt x="2931" y="1738"/>
                </a:lnTo>
                <a:lnTo>
                  <a:pt x="2933" y="1739"/>
                </a:lnTo>
                <a:lnTo>
                  <a:pt x="2935" y="1740"/>
                </a:lnTo>
                <a:lnTo>
                  <a:pt x="2937" y="1741"/>
                </a:lnTo>
                <a:lnTo>
                  <a:pt x="2939" y="1743"/>
                </a:lnTo>
                <a:lnTo>
                  <a:pt x="2940" y="1745"/>
                </a:lnTo>
                <a:lnTo>
                  <a:pt x="2941" y="1747"/>
                </a:lnTo>
                <a:lnTo>
                  <a:pt x="2942" y="1749"/>
                </a:lnTo>
                <a:lnTo>
                  <a:pt x="2942" y="1752"/>
                </a:lnTo>
                <a:lnTo>
                  <a:pt x="2942" y="1754"/>
                </a:lnTo>
                <a:lnTo>
                  <a:pt x="2941" y="1756"/>
                </a:lnTo>
                <a:lnTo>
                  <a:pt x="2940" y="1758"/>
                </a:lnTo>
                <a:lnTo>
                  <a:pt x="2939" y="1759"/>
                </a:lnTo>
                <a:lnTo>
                  <a:pt x="2936" y="1762"/>
                </a:lnTo>
                <a:lnTo>
                  <a:pt x="2934" y="1763"/>
                </a:lnTo>
                <a:lnTo>
                  <a:pt x="2932" y="1763"/>
                </a:lnTo>
                <a:lnTo>
                  <a:pt x="2928" y="1763"/>
                </a:lnTo>
                <a:lnTo>
                  <a:pt x="2926" y="1763"/>
                </a:lnTo>
                <a:lnTo>
                  <a:pt x="2924" y="1762"/>
                </a:lnTo>
                <a:lnTo>
                  <a:pt x="2922" y="1761"/>
                </a:lnTo>
                <a:lnTo>
                  <a:pt x="2920" y="1759"/>
                </a:lnTo>
                <a:lnTo>
                  <a:pt x="2919" y="1757"/>
                </a:lnTo>
                <a:lnTo>
                  <a:pt x="2918" y="1755"/>
                </a:lnTo>
                <a:lnTo>
                  <a:pt x="2917" y="1752"/>
                </a:lnTo>
                <a:lnTo>
                  <a:pt x="2917" y="1750"/>
                </a:lnTo>
                <a:lnTo>
                  <a:pt x="2917" y="1748"/>
                </a:lnTo>
                <a:lnTo>
                  <a:pt x="2918" y="1746"/>
                </a:lnTo>
                <a:lnTo>
                  <a:pt x="2919" y="1744"/>
                </a:lnTo>
                <a:lnTo>
                  <a:pt x="2920" y="1742"/>
                </a:lnTo>
                <a:lnTo>
                  <a:pt x="2924" y="1740"/>
                </a:lnTo>
                <a:lnTo>
                  <a:pt x="2925" y="1739"/>
                </a:lnTo>
                <a:lnTo>
                  <a:pt x="2927" y="1739"/>
                </a:lnTo>
                <a:close/>
                <a:moveTo>
                  <a:pt x="2861" y="1733"/>
                </a:moveTo>
                <a:lnTo>
                  <a:pt x="2865" y="1733"/>
                </a:lnTo>
                <a:lnTo>
                  <a:pt x="2867" y="1733"/>
                </a:lnTo>
                <a:lnTo>
                  <a:pt x="2869" y="1734"/>
                </a:lnTo>
                <a:lnTo>
                  <a:pt x="2871" y="1736"/>
                </a:lnTo>
                <a:lnTo>
                  <a:pt x="2873" y="1737"/>
                </a:lnTo>
                <a:lnTo>
                  <a:pt x="2874" y="1739"/>
                </a:lnTo>
                <a:lnTo>
                  <a:pt x="2875" y="1741"/>
                </a:lnTo>
                <a:lnTo>
                  <a:pt x="2876" y="1744"/>
                </a:lnTo>
                <a:lnTo>
                  <a:pt x="2876" y="1746"/>
                </a:lnTo>
                <a:lnTo>
                  <a:pt x="2876" y="1748"/>
                </a:lnTo>
                <a:lnTo>
                  <a:pt x="2875" y="1750"/>
                </a:lnTo>
                <a:lnTo>
                  <a:pt x="2874" y="1752"/>
                </a:lnTo>
                <a:lnTo>
                  <a:pt x="2873" y="1754"/>
                </a:lnTo>
                <a:lnTo>
                  <a:pt x="2870" y="1756"/>
                </a:lnTo>
                <a:lnTo>
                  <a:pt x="2868" y="1757"/>
                </a:lnTo>
                <a:lnTo>
                  <a:pt x="2866" y="1758"/>
                </a:lnTo>
                <a:lnTo>
                  <a:pt x="2863" y="1758"/>
                </a:lnTo>
                <a:lnTo>
                  <a:pt x="2860" y="1757"/>
                </a:lnTo>
                <a:lnTo>
                  <a:pt x="2858" y="1756"/>
                </a:lnTo>
                <a:lnTo>
                  <a:pt x="2856" y="1755"/>
                </a:lnTo>
                <a:lnTo>
                  <a:pt x="2854" y="1754"/>
                </a:lnTo>
                <a:lnTo>
                  <a:pt x="2853" y="1752"/>
                </a:lnTo>
                <a:lnTo>
                  <a:pt x="2852" y="1749"/>
                </a:lnTo>
                <a:lnTo>
                  <a:pt x="2851" y="1747"/>
                </a:lnTo>
                <a:lnTo>
                  <a:pt x="2851" y="1744"/>
                </a:lnTo>
                <a:lnTo>
                  <a:pt x="2852" y="1742"/>
                </a:lnTo>
                <a:lnTo>
                  <a:pt x="2852" y="1740"/>
                </a:lnTo>
                <a:lnTo>
                  <a:pt x="2853" y="1739"/>
                </a:lnTo>
                <a:lnTo>
                  <a:pt x="2854" y="1737"/>
                </a:lnTo>
                <a:lnTo>
                  <a:pt x="2858" y="1734"/>
                </a:lnTo>
                <a:lnTo>
                  <a:pt x="2859" y="1734"/>
                </a:lnTo>
                <a:lnTo>
                  <a:pt x="2861" y="1733"/>
                </a:lnTo>
                <a:close/>
                <a:moveTo>
                  <a:pt x="2090" y="1867"/>
                </a:moveTo>
                <a:lnTo>
                  <a:pt x="2094" y="1867"/>
                </a:lnTo>
                <a:lnTo>
                  <a:pt x="2096" y="1868"/>
                </a:lnTo>
                <a:lnTo>
                  <a:pt x="2098" y="1868"/>
                </a:lnTo>
                <a:lnTo>
                  <a:pt x="2099" y="1869"/>
                </a:lnTo>
                <a:lnTo>
                  <a:pt x="2101" y="1871"/>
                </a:lnTo>
                <a:lnTo>
                  <a:pt x="2103" y="1874"/>
                </a:lnTo>
                <a:lnTo>
                  <a:pt x="2104" y="1876"/>
                </a:lnTo>
                <a:lnTo>
                  <a:pt x="2105" y="1879"/>
                </a:lnTo>
                <a:lnTo>
                  <a:pt x="2104" y="1884"/>
                </a:lnTo>
                <a:lnTo>
                  <a:pt x="2103" y="1886"/>
                </a:lnTo>
                <a:lnTo>
                  <a:pt x="2102" y="1888"/>
                </a:lnTo>
                <a:lnTo>
                  <a:pt x="2100" y="1889"/>
                </a:lnTo>
                <a:lnTo>
                  <a:pt x="2098" y="1891"/>
                </a:lnTo>
                <a:lnTo>
                  <a:pt x="2096" y="1891"/>
                </a:lnTo>
                <a:lnTo>
                  <a:pt x="2094" y="1892"/>
                </a:lnTo>
                <a:lnTo>
                  <a:pt x="2090" y="1892"/>
                </a:lnTo>
                <a:lnTo>
                  <a:pt x="2088" y="1891"/>
                </a:lnTo>
                <a:lnTo>
                  <a:pt x="2087" y="1891"/>
                </a:lnTo>
                <a:lnTo>
                  <a:pt x="2085" y="1890"/>
                </a:lnTo>
                <a:lnTo>
                  <a:pt x="2083" y="1888"/>
                </a:lnTo>
                <a:lnTo>
                  <a:pt x="2081" y="1885"/>
                </a:lnTo>
                <a:lnTo>
                  <a:pt x="2080" y="1883"/>
                </a:lnTo>
                <a:lnTo>
                  <a:pt x="2080" y="1880"/>
                </a:lnTo>
                <a:lnTo>
                  <a:pt x="2080" y="1878"/>
                </a:lnTo>
                <a:lnTo>
                  <a:pt x="2080" y="1876"/>
                </a:lnTo>
                <a:lnTo>
                  <a:pt x="2081" y="1873"/>
                </a:lnTo>
                <a:lnTo>
                  <a:pt x="2083" y="1871"/>
                </a:lnTo>
                <a:lnTo>
                  <a:pt x="2085" y="1870"/>
                </a:lnTo>
                <a:lnTo>
                  <a:pt x="2087" y="1868"/>
                </a:lnTo>
                <a:lnTo>
                  <a:pt x="2088" y="1868"/>
                </a:lnTo>
                <a:lnTo>
                  <a:pt x="2090" y="1867"/>
                </a:lnTo>
                <a:close/>
                <a:moveTo>
                  <a:pt x="2795" y="1728"/>
                </a:moveTo>
                <a:lnTo>
                  <a:pt x="2799" y="1728"/>
                </a:lnTo>
                <a:lnTo>
                  <a:pt x="2801" y="1728"/>
                </a:lnTo>
                <a:lnTo>
                  <a:pt x="2803" y="1729"/>
                </a:lnTo>
                <a:lnTo>
                  <a:pt x="2805" y="1731"/>
                </a:lnTo>
                <a:lnTo>
                  <a:pt x="2807" y="1732"/>
                </a:lnTo>
                <a:lnTo>
                  <a:pt x="2809" y="1736"/>
                </a:lnTo>
                <a:lnTo>
                  <a:pt x="2810" y="1739"/>
                </a:lnTo>
                <a:lnTo>
                  <a:pt x="2810" y="1741"/>
                </a:lnTo>
                <a:lnTo>
                  <a:pt x="2810" y="1743"/>
                </a:lnTo>
                <a:lnTo>
                  <a:pt x="2809" y="1745"/>
                </a:lnTo>
                <a:lnTo>
                  <a:pt x="2808" y="1747"/>
                </a:lnTo>
                <a:lnTo>
                  <a:pt x="2807" y="1749"/>
                </a:lnTo>
                <a:lnTo>
                  <a:pt x="2804" y="1751"/>
                </a:lnTo>
                <a:lnTo>
                  <a:pt x="2802" y="1752"/>
                </a:lnTo>
                <a:lnTo>
                  <a:pt x="2800" y="1753"/>
                </a:lnTo>
                <a:lnTo>
                  <a:pt x="2797" y="1753"/>
                </a:lnTo>
                <a:lnTo>
                  <a:pt x="2794" y="1753"/>
                </a:lnTo>
                <a:lnTo>
                  <a:pt x="2792" y="1752"/>
                </a:lnTo>
                <a:lnTo>
                  <a:pt x="2790" y="1750"/>
                </a:lnTo>
                <a:lnTo>
                  <a:pt x="2788" y="1749"/>
                </a:lnTo>
                <a:lnTo>
                  <a:pt x="2786" y="1745"/>
                </a:lnTo>
                <a:lnTo>
                  <a:pt x="2785" y="1742"/>
                </a:lnTo>
                <a:lnTo>
                  <a:pt x="2785" y="1740"/>
                </a:lnTo>
                <a:lnTo>
                  <a:pt x="2786" y="1737"/>
                </a:lnTo>
                <a:lnTo>
                  <a:pt x="2786" y="1736"/>
                </a:lnTo>
                <a:lnTo>
                  <a:pt x="2787" y="1734"/>
                </a:lnTo>
                <a:lnTo>
                  <a:pt x="2788" y="1732"/>
                </a:lnTo>
                <a:lnTo>
                  <a:pt x="2792" y="1730"/>
                </a:lnTo>
                <a:lnTo>
                  <a:pt x="2793" y="1729"/>
                </a:lnTo>
                <a:lnTo>
                  <a:pt x="2795" y="1728"/>
                </a:lnTo>
                <a:close/>
                <a:moveTo>
                  <a:pt x="2150" y="1839"/>
                </a:moveTo>
                <a:lnTo>
                  <a:pt x="2154" y="1839"/>
                </a:lnTo>
                <a:lnTo>
                  <a:pt x="2158" y="1840"/>
                </a:lnTo>
                <a:lnTo>
                  <a:pt x="2161" y="1843"/>
                </a:lnTo>
                <a:lnTo>
                  <a:pt x="2162" y="1844"/>
                </a:lnTo>
                <a:lnTo>
                  <a:pt x="2163" y="1846"/>
                </a:lnTo>
                <a:lnTo>
                  <a:pt x="2164" y="1849"/>
                </a:lnTo>
                <a:lnTo>
                  <a:pt x="2165" y="1851"/>
                </a:lnTo>
                <a:lnTo>
                  <a:pt x="2164" y="1856"/>
                </a:lnTo>
                <a:lnTo>
                  <a:pt x="2163" y="1858"/>
                </a:lnTo>
                <a:lnTo>
                  <a:pt x="2161" y="1860"/>
                </a:lnTo>
                <a:lnTo>
                  <a:pt x="2159" y="1862"/>
                </a:lnTo>
                <a:lnTo>
                  <a:pt x="2157" y="1863"/>
                </a:lnTo>
                <a:lnTo>
                  <a:pt x="2154" y="1864"/>
                </a:lnTo>
                <a:lnTo>
                  <a:pt x="2150" y="1864"/>
                </a:lnTo>
                <a:lnTo>
                  <a:pt x="2146" y="1862"/>
                </a:lnTo>
                <a:lnTo>
                  <a:pt x="2143" y="1860"/>
                </a:lnTo>
                <a:lnTo>
                  <a:pt x="2142" y="1858"/>
                </a:lnTo>
                <a:lnTo>
                  <a:pt x="2141" y="1856"/>
                </a:lnTo>
                <a:lnTo>
                  <a:pt x="2140" y="1854"/>
                </a:lnTo>
                <a:lnTo>
                  <a:pt x="2140" y="1852"/>
                </a:lnTo>
                <a:lnTo>
                  <a:pt x="2140" y="1847"/>
                </a:lnTo>
                <a:lnTo>
                  <a:pt x="2141" y="1845"/>
                </a:lnTo>
                <a:lnTo>
                  <a:pt x="2143" y="1843"/>
                </a:lnTo>
                <a:lnTo>
                  <a:pt x="2145" y="1841"/>
                </a:lnTo>
                <a:lnTo>
                  <a:pt x="2147" y="1840"/>
                </a:lnTo>
                <a:lnTo>
                  <a:pt x="2150" y="1839"/>
                </a:lnTo>
                <a:close/>
                <a:moveTo>
                  <a:pt x="2729" y="1724"/>
                </a:moveTo>
                <a:lnTo>
                  <a:pt x="2732" y="1724"/>
                </a:lnTo>
                <a:lnTo>
                  <a:pt x="2735" y="1724"/>
                </a:lnTo>
                <a:lnTo>
                  <a:pt x="2737" y="1725"/>
                </a:lnTo>
                <a:lnTo>
                  <a:pt x="2741" y="1728"/>
                </a:lnTo>
                <a:lnTo>
                  <a:pt x="2742" y="1730"/>
                </a:lnTo>
                <a:lnTo>
                  <a:pt x="2743" y="1732"/>
                </a:lnTo>
                <a:lnTo>
                  <a:pt x="2744" y="1734"/>
                </a:lnTo>
                <a:lnTo>
                  <a:pt x="2744" y="1737"/>
                </a:lnTo>
                <a:lnTo>
                  <a:pt x="2744" y="1739"/>
                </a:lnTo>
                <a:lnTo>
                  <a:pt x="2743" y="1741"/>
                </a:lnTo>
                <a:lnTo>
                  <a:pt x="2742" y="1743"/>
                </a:lnTo>
                <a:lnTo>
                  <a:pt x="2741" y="1744"/>
                </a:lnTo>
                <a:lnTo>
                  <a:pt x="2739" y="1746"/>
                </a:lnTo>
                <a:lnTo>
                  <a:pt x="2738" y="1747"/>
                </a:lnTo>
                <a:lnTo>
                  <a:pt x="2736" y="1748"/>
                </a:lnTo>
                <a:lnTo>
                  <a:pt x="2734" y="1748"/>
                </a:lnTo>
                <a:lnTo>
                  <a:pt x="2731" y="1749"/>
                </a:lnTo>
                <a:lnTo>
                  <a:pt x="2729" y="1748"/>
                </a:lnTo>
                <a:lnTo>
                  <a:pt x="2726" y="1747"/>
                </a:lnTo>
                <a:lnTo>
                  <a:pt x="2722" y="1745"/>
                </a:lnTo>
                <a:lnTo>
                  <a:pt x="2721" y="1743"/>
                </a:lnTo>
                <a:lnTo>
                  <a:pt x="2720" y="1740"/>
                </a:lnTo>
                <a:lnTo>
                  <a:pt x="2719" y="1738"/>
                </a:lnTo>
                <a:lnTo>
                  <a:pt x="2719" y="1736"/>
                </a:lnTo>
                <a:lnTo>
                  <a:pt x="2719" y="1733"/>
                </a:lnTo>
                <a:lnTo>
                  <a:pt x="2720" y="1731"/>
                </a:lnTo>
                <a:lnTo>
                  <a:pt x="2721" y="1730"/>
                </a:lnTo>
                <a:lnTo>
                  <a:pt x="2722" y="1728"/>
                </a:lnTo>
                <a:lnTo>
                  <a:pt x="2724" y="1726"/>
                </a:lnTo>
                <a:lnTo>
                  <a:pt x="2725" y="1725"/>
                </a:lnTo>
                <a:lnTo>
                  <a:pt x="2727" y="1724"/>
                </a:lnTo>
                <a:lnTo>
                  <a:pt x="2729" y="1724"/>
                </a:lnTo>
                <a:close/>
                <a:moveTo>
                  <a:pt x="2212" y="1814"/>
                </a:moveTo>
                <a:lnTo>
                  <a:pt x="2216" y="1814"/>
                </a:lnTo>
                <a:lnTo>
                  <a:pt x="2218" y="1814"/>
                </a:lnTo>
                <a:lnTo>
                  <a:pt x="2220" y="1815"/>
                </a:lnTo>
                <a:lnTo>
                  <a:pt x="2222" y="1816"/>
                </a:lnTo>
                <a:lnTo>
                  <a:pt x="2223" y="1818"/>
                </a:lnTo>
                <a:lnTo>
                  <a:pt x="2225" y="1819"/>
                </a:lnTo>
                <a:lnTo>
                  <a:pt x="2226" y="1821"/>
                </a:lnTo>
                <a:lnTo>
                  <a:pt x="2226" y="1824"/>
                </a:lnTo>
                <a:lnTo>
                  <a:pt x="2227" y="1826"/>
                </a:lnTo>
                <a:lnTo>
                  <a:pt x="2226" y="1829"/>
                </a:lnTo>
                <a:lnTo>
                  <a:pt x="2226" y="1831"/>
                </a:lnTo>
                <a:lnTo>
                  <a:pt x="2224" y="1833"/>
                </a:lnTo>
                <a:lnTo>
                  <a:pt x="2223" y="1835"/>
                </a:lnTo>
                <a:lnTo>
                  <a:pt x="2221" y="1836"/>
                </a:lnTo>
                <a:lnTo>
                  <a:pt x="2219" y="1838"/>
                </a:lnTo>
                <a:lnTo>
                  <a:pt x="2216" y="1838"/>
                </a:lnTo>
                <a:lnTo>
                  <a:pt x="2212" y="1838"/>
                </a:lnTo>
                <a:lnTo>
                  <a:pt x="2210" y="1838"/>
                </a:lnTo>
                <a:lnTo>
                  <a:pt x="2207" y="1837"/>
                </a:lnTo>
                <a:lnTo>
                  <a:pt x="2205" y="1836"/>
                </a:lnTo>
                <a:lnTo>
                  <a:pt x="2204" y="1834"/>
                </a:lnTo>
                <a:lnTo>
                  <a:pt x="2202" y="1832"/>
                </a:lnTo>
                <a:lnTo>
                  <a:pt x="2201" y="1830"/>
                </a:lnTo>
                <a:lnTo>
                  <a:pt x="2201" y="1828"/>
                </a:lnTo>
                <a:lnTo>
                  <a:pt x="2201" y="1826"/>
                </a:lnTo>
                <a:lnTo>
                  <a:pt x="2201" y="1823"/>
                </a:lnTo>
                <a:lnTo>
                  <a:pt x="2202" y="1821"/>
                </a:lnTo>
                <a:lnTo>
                  <a:pt x="2203" y="1819"/>
                </a:lnTo>
                <a:lnTo>
                  <a:pt x="2204" y="1817"/>
                </a:lnTo>
                <a:lnTo>
                  <a:pt x="2206" y="1815"/>
                </a:lnTo>
                <a:lnTo>
                  <a:pt x="2210" y="1814"/>
                </a:lnTo>
                <a:lnTo>
                  <a:pt x="2212" y="1814"/>
                </a:lnTo>
                <a:close/>
                <a:moveTo>
                  <a:pt x="2663" y="1723"/>
                </a:moveTo>
                <a:lnTo>
                  <a:pt x="2665" y="1722"/>
                </a:lnTo>
                <a:lnTo>
                  <a:pt x="2668" y="1723"/>
                </a:lnTo>
                <a:lnTo>
                  <a:pt x="2670" y="1723"/>
                </a:lnTo>
                <a:lnTo>
                  <a:pt x="2672" y="1724"/>
                </a:lnTo>
                <a:lnTo>
                  <a:pt x="2674" y="1726"/>
                </a:lnTo>
                <a:lnTo>
                  <a:pt x="2676" y="1728"/>
                </a:lnTo>
                <a:lnTo>
                  <a:pt x="2677" y="1730"/>
                </a:lnTo>
                <a:lnTo>
                  <a:pt x="2678" y="1732"/>
                </a:lnTo>
                <a:lnTo>
                  <a:pt x="2678" y="1735"/>
                </a:lnTo>
                <a:lnTo>
                  <a:pt x="2677" y="1739"/>
                </a:lnTo>
                <a:lnTo>
                  <a:pt x="2676" y="1741"/>
                </a:lnTo>
                <a:lnTo>
                  <a:pt x="2675" y="1743"/>
                </a:lnTo>
                <a:lnTo>
                  <a:pt x="2672" y="1746"/>
                </a:lnTo>
                <a:lnTo>
                  <a:pt x="2668" y="1747"/>
                </a:lnTo>
                <a:lnTo>
                  <a:pt x="2666" y="1747"/>
                </a:lnTo>
                <a:lnTo>
                  <a:pt x="2663" y="1747"/>
                </a:lnTo>
                <a:lnTo>
                  <a:pt x="2661" y="1746"/>
                </a:lnTo>
                <a:lnTo>
                  <a:pt x="2659" y="1745"/>
                </a:lnTo>
                <a:lnTo>
                  <a:pt x="2657" y="1744"/>
                </a:lnTo>
                <a:lnTo>
                  <a:pt x="2655" y="1742"/>
                </a:lnTo>
                <a:lnTo>
                  <a:pt x="2654" y="1740"/>
                </a:lnTo>
                <a:lnTo>
                  <a:pt x="2653" y="1737"/>
                </a:lnTo>
                <a:lnTo>
                  <a:pt x="2653" y="1735"/>
                </a:lnTo>
                <a:lnTo>
                  <a:pt x="2654" y="1731"/>
                </a:lnTo>
                <a:lnTo>
                  <a:pt x="2655" y="1729"/>
                </a:lnTo>
                <a:lnTo>
                  <a:pt x="2656" y="1727"/>
                </a:lnTo>
                <a:lnTo>
                  <a:pt x="2659" y="1724"/>
                </a:lnTo>
                <a:lnTo>
                  <a:pt x="2663" y="1723"/>
                </a:lnTo>
                <a:close/>
                <a:moveTo>
                  <a:pt x="2274" y="1791"/>
                </a:moveTo>
                <a:lnTo>
                  <a:pt x="2278" y="1791"/>
                </a:lnTo>
                <a:lnTo>
                  <a:pt x="2281" y="1791"/>
                </a:lnTo>
                <a:lnTo>
                  <a:pt x="2282" y="1792"/>
                </a:lnTo>
                <a:lnTo>
                  <a:pt x="2286" y="1795"/>
                </a:lnTo>
                <a:lnTo>
                  <a:pt x="2287" y="1797"/>
                </a:lnTo>
                <a:lnTo>
                  <a:pt x="2288" y="1799"/>
                </a:lnTo>
                <a:lnTo>
                  <a:pt x="2289" y="1804"/>
                </a:lnTo>
                <a:lnTo>
                  <a:pt x="2288" y="1806"/>
                </a:lnTo>
                <a:lnTo>
                  <a:pt x="2287" y="1809"/>
                </a:lnTo>
                <a:lnTo>
                  <a:pt x="2286" y="1811"/>
                </a:lnTo>
                <a:lnTo>
                  <a:pt x="2284" y="1812"/>
                </a:lnTo>
                <a:lnTo>
                  <a:pt x="2282" y="1814"/>
                </a:lnTo>
                <a:lnTo>
                  <a:pt x="2280" y="1815"/>
                </a:lnTo>
                <a:lnTo>
                  <a:pt x="2278" y="1815"/>
                </a:lnTo>
                <a:lnTo>
                  <a:pt x="2274" y="1815"/>
                </a:lnTo>
                <a:lnTo>
                  <a:pt x="2272" y="1815"/>
                </a:lnTo>
                <a:lnTo>
                  <a:pt x="2270" y="1814"/>
                </a:lnTo>
                <a:lnTo>
                  <a:pt x="2267" y="1811"/>
                </a:lnTo>
                <a:lnTo>
                  <a:pt x="2265" y="1809"/>
                </a:lnTo>
                <a:lnTo>
                  <a:pt x="2264" y="1807"/>
                </a:lnTo>
                <a:lnTo>
                  <a:pt x="2264" y="1802"/>
                </a:lnTo>
                <a:lnTo>
                  <a:pt x="2264" y="1800"/>
                </a:lnTo>
                <a:lnTo>
                  <a:pt x="2265" y="1798"/>
                </a:lnTo>
                <a:lnTo>
                  <a:pt x="2266" y="1796"/>
                </a:lnTo>
                <a:lnTo>
                  <a:pt x="2268" y="1794"/>
                </a:lnTo>
                <a:lnTo>
                  <a:pt x="2270" y="1792"/>
                </a:lnTo>
                <a:lnTo>
                  <a:pt x="2272" y="1791"/>
                </a:lnTo>
                <a:lnTo>
                  <a:pt x="2274" y="1791"/>
                </a:lnTo>
                <a:close/>
                <a:moveTo>
                  <a:pt x="2337" y="1771"/>
                </a:moveTo>
                <a:lnTo>
                  <a:pt x="2342" y="1771"/>
                </a:lnTo>
                <a:lnTo>
                  <a:pt x="2344" y="1772"/>
                </a:lnTo>
                <a:lnTo>
                  <a:pt x="2346" y="1773"/>
                </a:lnTo>
                <a:lnTo>
                  <a:pt x="2348" y="1774"/>
                </a:lnTo>
                <a:lnTo>
                  <a:pt x="2349" y="1776"/>
                </a:lnTo>
                <a:lnTo>
                  <a:pt x="2350" y="1778"/>
                </a:lnTo>
                <a:lnTo>
                  <a:pt x="2351" y="1780"/>
                </a:lnTo>
                <a:lnTo>
                  <a:pt x="2352" y="1782"/>
                </a:lnTo>
                <a:lnTo>
                  <a:pt x="2352" y="1785"/>
                </a:lnTo>
                <a:lnTo>
                  <a:pt x="2351" y="1787"/>
                </a:lnTo>
                <a:lnTo>
                  <a:pt x="2350" y="1789"/>
                </a:lnTo>
                <a:lnTo>
                  <a:pt x="2349" y="1791"/>
                </a:lnTo>
                <a:lnTo>
                  <a:pt x="2347" y="1793"/>
                </a:lnTo>
                <a:lnTo>
                  <a:pt x="2345" y="1794"/>
                </a:lnTo>
                <a:lnTo>
                  <a:pt x="2343" y="1795"/>
                </a:lnTo>
                <a:lnTo>
                  <a:pt x="2340" y="1796"/>
                </a:lnTo>
                <a:lnTo>
                  <a:pt x="2337" y="1796"/>
                </a:lnTo>
                <a:lnTo>
                  <a:pt x="2335" y="1795"/>
                </a:lnTo>
                <a:lnTo>
                  <a:pt x="2333" y="1794"/>
                </a:lnTo>
                <a:lnTo>
                  <a:pt x="2331" y="1793"/>
                </a:lnTo>
                <a:lnTo>
                  <a:pt x="2329" y="1791"/>
                </a:lnTo>
                <a:lnTo>
                  <a:pt x="2328" y="1789"/>
                </a:lnTo>
                <a:lnTo>
                  <a:pt x="2327" y="1787"/>
                </a:lnTo>
                <a:lnTo>
                  <a:pt x="2327" y="1784"/>
                </a:lnTo>
                <a:lnTo>
                  <a:pt x="2327" y="1782"/>
                </a:lnTo>
                <a:lnTo>
                  <a:pt x="2327" y="1780"/>
                </a:lnTo>
                <a:lnTo>
                  <a:pt x="2328" y="1777"/>
                </a:lnTo>
                <a:lnTo>
                  <a:pt x="2330" y="1775"/>
                </a:lnTo>
                <a:lnTo>
                  <a:pt x="2331" y="1774"/>
                </a:lnTo>
                <a:lnTo>
                  <a:pt x="2333" y="1772"/>
                </a:lnTo>
                <a:lnTo>
                  <a:pt x="2336" y="1771"/>
                </a:lnTo>
                <a:lnTo>
                  <a:pt x="2337" y="1771"/>
                </a:lnTo>
                <a:close/>
                <a:moveTo>
                  <a:pt x="2597" y="1725"/>
                </a:moveTo>
                <a:lnTo>
                  <a:pt x="2599" y="1725"/>
                </a:lnTo>
                <a:lnTo>
                  <a:pt x="2601" y="1725"/>
                </a:lnTo>
                <a:lnTo>
                  <a:pt x="2603" y="1726"/>
                </a:lnTo>
                <a:lnTo>
                  <a:pt x="2606" y="1727"/>
                </a:lnTo>
                <a:lnTo>
                  <a:pt x="2608" y="1728"/>
                </a:lnTo>
                <a:lnTo>
                  <a:pt x="2609" y="1730"/>
                </a:lnTo>
                <a:lnTo>
                  <a:pt x="2611" y="1732"/>
                </a:lnTo>
                <a:lnTo>
                  <a:pt x="2611" y="1734"/>
                </a:lnTo>
                <a:lnTo>
                  <a:pt x="2612" y="1737"/>
                </a:lnTo>
                <a:lnTo>
                  <a:pt x="2612" y="1739"/>
                </a:lnTo>
                <a:lnTo>
                  <a:pt x="2611" y="1741"/>
                </a:lnTo>
                <a:lnTo>
                  <a:pt x="2609" y="1745"/>
                </a:lnTo>
                <a:lnTo>
                  <a:pt x="2608" y="1747"/>
                </a:lnTo>
                <a:lnTo>
                  <a:pt x="2606" y="1748"/>
                </a:lnTo>
                <a:lnTo>
                  <a:pt x="2604" y="1749"/>
                </a:lnTo>
                <a:lnTo>
                  <a:pt x="2602" y="1750"/>
                </a:lnTo>
                <a:lnTo>
                  <a:pt x="2600" y="1750"/>
                </a:lnTo>
                <a:lnTo>
                  <a:pt x="2595" y="1749"/>
                </a:lnTo>
                <a:lnTo>
                  <a:pt x="2593" y="1748"/>
                </a:lnTo>
                <a:lnTo>
                  <a:pt x="2591" y="1747"/>
                </a:lnTo>
                <a:lnTo>
                  <a:pt x="2590" y="1745"/>
                </a:lnTo>
                <a:lnTo>
                  <a:pt x="2588" y="1743"/>
                </a:lnTo>
                <a:lnTo>
                  <a:pt x="2587" y="1741"/>
                </a:lnTo>
                <a:lnTo>
                  <a:pt x="2587" y="1738"/>
                </a:lnTo>
                <a:lnTo>
                  <a:pt x="2587" y="1736"/>
                </a:lnTo>
                <a:lnTo>
                  <a:pt x="2587" y="1734"/>
                </a:lnTo>
                <a:lnTo>
                  <a:pt x="2590" y="1730"/>
                </a:lnTo>
                <a:lnTo>
                  <a:pt x="2591" y="1728"/>
                </a:lnTo>
                <a:lnTo>
                  <a:pt x="2593" y="1727"/>
                </a:lnTo>
                <a:lnTo>
                  <a:pt x="2595" y="1726"/>
                </a:lnTo>
                <a:lnTo>
                  <a:pt x="2597" y="1725"/>
                </a:lnTo>
                <a:close/>
                <a:moveTo>
                  <a:pt x="2401" y="1754"/>
                </a:moveTo>
                <a:lnTo>
                  <a:pt x="2406" y="1755"/>
                </a:lnTo>
                <a:lnTo>
                  <a:pt x="2408" y="1755"/>
                </a:lnTo>
                <a:lnTo>
                  <a:pt x="2410" y="1756"/>
                </a:lnTo>
                <a:lnTo>
                  <a:pt x="2412" y="1758"/>
                </a:lnTo>
                <a:lnTo>
                  <a:pt x="2413" y="1760"/>
                </a:lnTo>
                <a:lnTo>
                  <a:pt x="2415" y="1762"/>
                </a:lnTo>
                <a:lnTo>
                  <a:pt x="2415" y="1764"/>
                </a:lnTo>
                <a:lnTo>
                  <a:pt x="2416" y="1766"/>
                </a:lnTo>
                <a:lnTo>
                  <a:pt x="2416" y="1769"/>
                </a:lnTo>
                <a:lnTo>
                  <a:pt x="2415" y="1771"/>
                </a:lnTo>
                <a:lnTo>
                  <a:pt x="2414" y="1773"/>
                </a:lnTo>
                <a:lnTo>
                  <a:pt x="2412" y="1775"/>
                </a:lnTo>
                <a:lnTo>
                  <a:pt x="2411" y="1777"/>
                </a:lnTo>
                <a:lnTo>
                  <a:pt x="2409" y="1778"/>
                </a:lnTo>
                <a:lnTo>
                  <a:pt x="2406" y="1779"/>
                </a:lnTo>
                <a:lnTo>
                  <a:pt x="2401" y="1779"/>
                </a:lnTo>
                <a:lnTo>
                  <a:pt x="2399" y="1778"/>
                </a:lnTo>
                <a:lnTo>
                  <a:pt x="2396" y="1777"/>
                </a:lnTo>
                <a:lnTo>
                  <a:pt x="2395" y="1776"/>
                </a:lnTo>
                <a:lnTo>
                  <a:pt x="2393" y="1774"/>
                </a:lnTo>
                <a:lnTo>
                  <a:pt x="2392" y="1772"/>
                </a:lnTo>
                <a:lnTo>
                  <a:pt x="2391" y="1770"/>
                </a:lnTo>
                <a:lnTo>
                  <a:pt x="2391" y="1767"/>
                </a:lnTo>
                <a:lnTo>
                  <a:pt x="2391" y="1765"/>
                </a:lnTo>
                <a:lnTo>
                  <a:pt x="2392" y="1762"/>
                </a:lnTo>
                <a:lnTo>
                  <a:pt x="2393" y="1760"/>
                </a:lnTo>
                <a:lnTo>
                  <a:pt x="2394" y="1758"/>
                </a:lnTo>
                <a:lnTo>
                  <a:pt x="2396" y="1757"/>
                </a:lnTo>
                <a:lnTo>
                  <a:pt x="2398" y="1755"/>
                </a:lnTo>
                <a:lnTo>
                  <a:pt x="2400" y="1755"/>
                </a:lnTo>
                <a:lnTo>
                  <a:pt x="2401" y="1754"/>
                </a:lnTo>
                <a:close/>
                <a:moveTo>
                  <a:pt x="2531" y="1731"/>
                </a:moveTo>
                <a:lnTo>
                  <a:pt x="2534" y="1731"/>
                </a:lnTo>
                <a:lnTo>
                  <a:pt x="2537" y="1732"/>
                </a:lnTo>
                <a:lnTo>
                  <a:pt x="2539" y="1732"/>
                </a:lnTo>
                <a:lnTo>
                  <a:pt x="2541" y="1734"/>
                </a:lnTo>
                <a:lnTo>
                  <a:pt x="2543" y="1735"/>
                </a:lnTo>
                <a:lnTo>
                  <a:pt x="2544" y="1737"/>
                </a:lnTo>
                <a:lnTo>
                  <a:pt x="2545" y="1740"/>
                </a:lnTo>
                <a:lnTo>
                  <a:pt x="2546" y="1742"/>
                </a:lnTo>
                <a:lnTo>
                  <a:pt x="2546" y="1745"/>
                </a:lnTo>
                <a:lnTo>
                  <a:pt x="2546" y="1747"/>
                </a:lnTo>
                <a:lnTo>
                  <a:pt x="2545" y="1749"/>
                </a:lnTo>
                <a:lnTo>
                  <a:pt x="2544" y="1751"/>
                </a:lnTo>
                <a:lnTo>
                  <a:pt x="2542" y="1753"/>
                </a:lnTo>
                <a:lnTo>
                  <a:pt x="2540" y="1754"/>
                </a:lnTo>
                <a:lnTo>
                  <a:pt x="2538" y="1755"/>
                </a:lnTo>
                <a:lnTo>
                  <a:pt x="2536" y="1756"/>
                </a:lnTo>
                <a:lnTo>
                  <a:pt x="2533" y="1756"/>
                </a:lnTo>
                <a:lnTo>
                  <a:pt x="2530" y="1756"/>
                </a:lnTo>
                <a:lnTo>
                  <a:pt x="2528" y="1755"/>
                </a:lnTo>
                <a:lnTo>
                  <a:pt x="2526" y="1753"/>
                </a:lnTo>
                <a:lnTo>
                  <a:pt x="2524" y="1752"/>
                </a:lnTo>
                <a:lnTo>
                  <a:pt x="2523" y="1750"/>
                </a:lnTo>
                <a:lnTo>
                  <a:pt x="2522" y="1748"/>
                </a:lnTo>
                <a:lnTo>
                  <a:pt x="2521" y="1745"/>
                </a:lnTo>
                <a:lnTo>
                  <a:pt x="2521" y="1743"/>
                </a:lnTo>
                <a:lnTo>
                  <a:pt x="2521" y="1740"/>
                </a:lnTo>
                <a:lnTo>
                  <a:pt x="2522" y="1738"/>
                </a:lnTo>
                <a:lnTo>
                  <a:pt x="2523" y="1736"/>
                </a:lnTo>
                <a:lnTo>
                  <a:pt x="2525" y="1734"/>
                </a:lnTo>
                <a:lnTo>
                  <a:pt x="2527" y="1733"/>
                </a:lnTo>
                <a:lnTo>
                  <a:pt x="2529" y="1732"/>
                </a:lnTo>
                <a:lnTo>
                  <a:pt x="2531" y="1731"/>
                </a:lnTo>
                <a:close/>
                <a:moveTo>
                  <a:pt x="2466" y="1741"/>
                </a:moveTo>
                <a:lnTo>
                  <a:pt x="2471" y="1741"/>
                </a:lnTo>
                <a:lnTo>
                  <a:pt x="2473" y="1742"/>
                </a:lnTo>
                <a:lnTo>
                  <a:pt x="2475" y="1743"/>
                </a:lnTo>
                <a:lnTo>
                  <a:pt x="2477" y="1745"/>
                </a:lnTo>
                <a:lnTo>
                  <a:pt x="2479" y="1747"/>
                </a:lnTo>
                <a:lnTo>
                  <a:pt x="2480" y="1749"/>
                </a:lnTo>
                <a:lnTo>
                  <a:pt x="2480" y="1751"/>
                </a:lnTo>
                <a:lnTo>
                  <a:pt x="2480" y="1756"/>
                </a:lnTo>
                <a:lnTo>
                  <a:pt x="2479" y="1758"/>
                </a:lnTo>
                <a:lnTo>
                  <a:pt x="2478" y="1761"/>
                </a:lnTo>
                <a:lnTo>
                  <a:pt x="2477" y="1762"/>
                </a:lnTo>
                <a:lnTo>
                  <a:pt x="2475" y="1764"/>
                </a:lnTo>
                <a:lnTo>
                  <a:pt x="2473" y="1765"/>
                </a:lnTo>
                <a:lnTo>
                  <a:pt x="2470" y="1766"/>
                </a:lnTo>
                <a:lnTo>
                  <a:pt x="2465" y="1766"/>
                </a:lnTo>
                <a:lnTo>
                  <a:pt x="2463" y="1765"/>
                </a:lnTo>
                <a:lnTo>
                  <a:pt x="2461" y="1764"/>
                </a:lnTo>
                <a:lnTo>
                  <a:pt x="2459" y="1762"/>
                </a:lnTo>
                <a:lnTo>
                  <a:pt x="2458" y="1760"/>
                </a:lnTo>
                <a:lnTo>
                  <a:pt x="2456" y="1758"/>
                </a:lnTo>
                <a:lnTo>
                  <a:pt x="2456" y="1756"/>
                </a:lnTo>
                <a:lnTo>
                  <a:pt x="2456" y="1751"/>
                </a:lnTo>
                <a:lnTo>
                  <a:pt x="2457" y="1748"/>
                </a:lnTo>
                <a:lnTo>
                  <a:pt x="2458" y="1746"/>
                </a:lnTo>
                <a:lnTo>
                  <a:pt x="2459" y="1744"/>
                </a:lnTo>
                <a:lnTo>
                  <a:pt x="2461" y="1743"/>
                </a:lnTo>
                <a:lnTo>
                  <a:pt x="2463" y="1742"/>
                </a:lnTo>
                <a:lnTo>
                  <a:pt x="2466" y="1741"/>
                </a:lnTo>
                <a:close/>
                <a:moveTo>
                  <a:pt x="1254" y="2223"/>
                </a:moveTo>
                <a:lnTo>
                  <a:pt x="1256" y="2223"/>
                </a:lnTo>
                <a:lnTo>
                  <a:pt x="1259" y="2224"/>
                </a:lnTo>
                <a:lnTo>
                  <a:pt x="1261" y="2224"/>
                </a:lnTo>
                <a:lnTo>
                  <a:pt x="1263" y="2226"/>
                </a:lnTo>
                <a:lnTo>
                  <a:pt x="1265" y="2228"/>
                </a:lnTo>
                <a:lnTo>
                  <a:pt x="1267" y="2230"/>
                </a:lnTo>
                <a:lnTo>
                  <a:pt x="1268" y="2234"/>
                </a:lnTo>
                <a:lnTo>
                  <a:pt x="1268" y="2237"/>
                </a:lnTo>
                <a:lnTo>
                  <a:pt x="1268" y="2239"/>
                </a:lnTo>
                <a:lnTo>
                  <a:pt x="1266" y="2243"/>
                </a:lnTo>
                <a:lnTo>
                  <a:pt x="1264" y="2245"/>
                </a:lnTo>
                <a:lnTo>
                  <a:pt x="1262" y="2247"/>
                </a:lnTo>
                <a:lnTo>
                  <a:pt x="1260" y="2248"/>
                </a:lnTo>
                <a:lnTo>
                  <a:pt x="1258" y="2248"/>
                </a:lnTo>
                <a:lnTo>
                  <a:pt x="1255" y="2248"/>
                </a:lnTo>
                <a:lnTo>
                  <a:pt x="1253" y="2248"/>
                </a:lnTo>
                <a:lnTo>
                  <a:pt x="1250" y="2247"/>
                </a:lnTo>
                <a:lnTo>
                  <a:pt x="1248" y="2246"/>
                </a:lnTo>
                <a:lnTo>
                  <a:pt x="1246" y="2244"/>
                </a:lnTo>
                <a:lnTo>
                  <a:pt x="1245" y="2242"/>
                </a:lnTo>
                <a:lnTo>
                  <a:pt x="1243" y="2237"/>
                </a:lnTo>
                <a:lnTo>
                  <a:pt x="1243" y="2235"/>
                </a:lnTo>
                <a:lnTo>
                  <a:pt x="1244" y="2233"/>
                </a:lnTo>
                <a:lnTo>
                  <a:pt x="1246" y="2228"/>
                </a:lnTo>
                <a:lnTo>
                  <a:pt x="1247" y="2226"/>
                </a:lnTo>
                <a:lnTo>
                  <a:pt x="1249" y="2225"/>
                </a:lnTo>
                <a:lnTo>
                  <a:pt x="1251" y="2224"/>
                </a:lnTo>
                <a:lnTo>
                  <a:pt x="1254" y="2223"/>
                </a:lnTo>
                <a:close/>
                <a:moveTo>
                  <a:pt x="1295" y="2172"/>
                </a:moveTo>
                <a:lnTo>
                  <a:pt x="1297" y="2171"/>
                </a:lnTo>
                <a:lnTo>
                  <a:pt x="1300" y="2172"/>
                </a:lnTo>
                <a:lnTo>
                  <a:pt x="1302" y="2173"/>
                </a:lnTo>
                <a:lnTo>
                  <a:pt x="1305" y="2174"/>
                </a:lnTo>
                <a:lnTo>
                  <a:pt x="1307" y="2176"/>
                </a:lnTo>
                <a:lnTo>
                  <a:pt x="1308" y="2178"/>
                </a:lnTo>
                <a:lnTo>
                  <a:pt x="1309" y="2183"/>
                </a:lnTo>
                <a:lnTo>
                  <a:pt x="1309" y="2185"/>
                </a:lnTo>
                <a:lnTo>
                  <a:pt x="1309" y="2187"/>
                </a:lnTo>
                <a:lnTo>
                  <a:pt x="1307" y="2192"/>
                </a:lnTo>
                <a:lnTo>
                  <a:pt x="1305" y="2194"/>
                </a:lnTo>
                <a:lnTo>
                  <a:pt x="1303" y="2195"/>
                </a:lnTo>
                <a:lnTo>
                  <a:pt x="1299" y="2196"/>
                </a:lnTo>
                <a:lnTo>
                  <a:pt x="1296" y="2197"/>
                </a:lnTo>
                <a:lnTo>
                  <a:pt x="1294" y="2196"/>
                </a:lnTo>
                <a:lnTo>
                  <a:pt x="1291" y="2195"/>
                </a:lnTo>
                <a:lnTo>
                  <a:pt x="1289" y="2194"/>
                </a:lnTo>
                <a:lnTo>
                  <a:pt x="1287" y="2192"/>
                </a:lnTo>
                <a:lnTo>
                  <a:pt x="1286" y="2190"/>
                </a:lnTo>
                <a:lnTo>
                  <a:pt x="1284" y="2185"/>
                </a:lnTo>
                <a:lnTo>
                  <a:pt x="1284" y="2183"/>
                </a:lnTo>
                <a:lnTo>
                  <a:pt x="1285" y="2180"/>
                </a:lnTo>
                <a:lnTo>
                  <a:pt x="1287" y="2176"/>
                </a:lnTo>
                <a:lnTo>
                  <a:pt x="1289" y="2174"/>
                </a:lnTo>
                <a:lnTo>
                  <a:pt x="1291" y="2173"/>
                </a:lnTo>
                <a:lnTo>
                  <a:pt x="1295" y="2172"/>
                </a:lnTo>
                <a:close/>
                <a:moveTo>
                  <a:pt x="1337" y="2121"/>
                </a:moveTo>
                <a:lnTo>
                  <a:pt x="1340" y="2121"/>
                </a:lnTo>
                <a:lnTo>
                  <a:pt x="1343" y="2121"/>
                </a:lnTo>
                <a:lnTo>
                  <a:pt x="1345" y="2122"/>
                </a:lnTo>
                <a:lnTo>
                  <a:pt x="1347" y="2124"/>
                </a:lnTo>
                <a:lnTo>
                  <a:pt x="1349" y="2125"/>
                </a:lnTo>
                <a:lnTo>
                  <a:pt x="1351" y="2128"/>
                </a:lnTo>
                <a:lnTo>
                  <a:pt x="1351" y="2130"/>
                </a:lnTo>
                <a:lnTo>
                  <a:pt x="1352" y="2132"/>
                </a:lnTo>
                <a:lnTo>
                  <a:pt x="1352" y="2135"/>
                </a:lnTo>
                <a:lnTo>
                  <a:pt x="1351" y="2137"/>
                </a:lnTo>
                <a:lnTo>
                  <a:pt x="1350" y="2139"/>
                </a:lnTo>
                <a:lnTo>
                  <a:pt x="1349" y="2141"/>
                </a:lnTo>
                <a:lnTo>
                  <a:pt x="1347" y="2143"/>
                </a:lnTo>
                <a:lnTo>
                  <a:pt x="1345" y="2144"/>
                </a:lnTo>
                <a:lnTo>
                  <a:pt x="1344" y="2145"/>
                </a:lnTo>
                <a:lnTo>
                  <a:pt x="1341" y="2146"/>
                </a:lnTo>
                <a:lnTo>
                  <a:pt x="1339" y="2146"/>
                </a:lnTo>
                <a:lnTo>
                  <a:pt x="1336" y="2145"/>
                </a:lnTo>
                <a:lnTo>
                  <a:pt x="1333" y="2144"/>
                </a:lnTo>
                <a:lnTo>
                  <a:pt x="1331" y="2143"/>
                </a:lnTo>
                <a:lnTo>
                  <a:pt x="1329" y="2141"/>
                </a:lnTo>
                <a:lnTo>
                  <a:pt x="1328" y="2139"/>
                </a:lnTo>
                <a:lnTo>
                  <a:pt x="1327" y="2137"/>
                </a:lnTo>
                <a:lnTo>
                  <a:pt x="1327" y="2134"/>
                </a:lnTo>
                <a:lnTo>
                  <a:pt x="1327" y="2132"/>
                </a:lnTo>
                <a:lnTo>
                  <a:pt x="1327" y="2129"/>
                </a:lnTo>
                <a:lnTo>
                  <a:pt x="1328" y="2127"/>
                </a:lnTo>
                <a:lnTo>
                  <a:pt x="1330" y="2125"/>
                </a:lnTo>
                <a:lnTo>
                  <a:pt x="1331" y="2123"/>
                </a:lnTo>
                <a:lnTo>
                  <a:pt x="1333" y="2122"/>
                </a:lnTo>
                <a:lnTo>
                  <a:pt x="1335" y="2121"/>
                </a:lnTo>
                <a:lnTo>
                  <a:pt x="1337" y="2121"/>
                </a:lnTo>
                <a:close/>
                <a:moveTo>
                  <a:pt x="1381" y="2071"/>
                </a:moveTo>
                <a:lnTo>
                  <a:pt x="1384" y="2071"/>
                </a:lnTo>
                <a:lnTo>
                  <a:pt x="1386" y="2071"/>
                </a:lnTo>
                <a:lnTo>
                  <a:pt x="1389" y="2072"/>
                </a:lnTo>
                <a:lnTo>
                  <a:pt x="1391" y="2074"/>
                </a:lnTo>
                <a:lnTo>
                  <a:pt x="1393" y="2076"/>
                </a:lnTo>
                <a:lnTo>
                  <a:pt x="1394" y="2078"/>
                </a:lnTo>
                <a:lnTo>
                  <a:pt x="1395" y="2080"/>
                </a:lnTo>
                <a:lnTo>
                  <a:pt x="1396" y="2083"/>
                </a:lnTo>
                <a:lnTo>
                  <a:pt x="1395" y="2088"/>
                </a:lnTo>
                <a:lnTo>
                  <a:pt x="1394" y="2090"/>
                </a:lnTo>
                <a:lnTo>
                  <a:pt x="1392" y="2092"/>
                </a:lnTo>
                <a:lnTo>
                  <a:pt x="1391" y="2093"/>
                </a:lnTo>
                <a:lnTo>
                  <a:pt x="1389" y="2095"/>
                </a:lnTo>
                <a:lnTo>
                  <a:pt x="1387" y="2095"/>
                </a:lnTo>
                <a:lnTo>
                  <a:pt x="1385" y="2096"/>
                </a:lnTo>
                <a:lnTo>
                  <a:pt x="1382" y="2096"/>
                </a:lnTo>
                <a:lnTo>
                  <a:pt x="1380" y="2096"/>
                </a:lnTo>
                <a:lnTo>
                  <a:pt x="1377" y="2095"/>
                </a:lnTo>
                <a:lnTo>
                  <a:pt x="1375" y="2093"/>
                </a:lnTo>
                <a:lnTo>
                  <a:pt x="1373" y="2091"/>
                </a:lnTo>
                <a:lnTo>
                  <a:pt x="1372" y="2089"/>
                </a:lnTo>
                <a:lnTo>
                  <a:pt x="1371" y="2087"/>
                </a:lnTo>
                <a:lnTo>
                  <a:pt x="1370" y="2084"/>
                </a:lnTo>
                <a:lnTo>
                  <a:pt x="1371" y="2079"/>
                </a:lnTo>
                <a:lnTo>
                  <a:pt x="1372" y="2077"/>
                </a:lnTo>
                <a:lnTo>
                  <a:pt x="1374" y="2075"/>
                </a:lnTo>
                <a:lnTo>
                  <a:pt x="1375" y="2074"/>
                </a:lnTo>
                <a:lnTo>
                  <a:pt x="1377" y="2072"/>
                </a:lnTo>
                <a:lnTo>
                  <a:pt x="1379" y="2072"/>
                </a:lnTo>
                <a:lnTo>
                  <a:pt x="1381" y="2071"/>
                </a:lnTo>
                <a:close/>
                <a:moveTo>
                  <a:pt x="1426" y="2023"/>
                </a:moveTo>
                <a:lnTo>
                  <a:pt x="1429" y="2022"/>
                </a:lnTo>
                <a:lnTo>
                  <a:pt x="1432" y="2023"/>
                </a:lnTo>
                <a:lnTo>
                  <a:pt x="1434" y="2024"/>
                </a:lnTo>
                <a:lnTo>
                  <a:pt x="1437" y="2026"/>
                </a:lnTo>
                <a:lnTo>
                  <a:pt x="1438" y="2028"/>
                </a:lnTo>
                <a:lnTo>
                  <a:pt x="1440" y="2030"/>
                </a:lnTo>
                <a:lnTo>
                  <a:pt x="1440" y="2032"/>
                </a:lnTo>
                <a:lnTo>
                  <a:pt x="1441" y="2035"/>
                </a:lnTo>
                <a:lnTo>
                  <a:pt x="1440" y="2039"/>
                </a:lnTo>
                <a:lnTo>
                  <a:pt x="1439" y="2042"/>
                </a:lnTo>
                <a:lnTo>
                  <a:pt x="1437" y="2044"/>
                </a:lnTo>
                <a:lnTo>
                  <a:pt x="1434" y="2046"/>
                </a:lnTo>
                <a:lnTo>
                  <a:pt x="1430" y="2047"/>
                </a:lnTo>
                <a:lnTo>
                  <a:pt x="1427" y="2048"/>
                </a:lnTo>
                <a:lnTo>
                  <a:pt x="1424" y="2047"/>
                </a:lnTo>
                <a:lnTo>
                  <a:pt x="1422" y="2046"/>
                </a:lnTo>
                <a:lnTo>
                  <a:pt x="1419" y="2044"/>
                </a:lnTo>
                <a:lnTo>
                  <a:pt x="1418" y="2042"/>
                </a:lnTo>
                <a:lnTo>
                  <a:pt x="1416" y="2040"/>
                </a:lnTo>
                <a:lnTo>
                  <a:pt x="1416" y="2038"/>
                </a:lnTo>
                <a:lnTo>
                  <a:pt x="1415" y="2035"/>
                </a:lnTo>
                <a:lnTo>
                  <a:pt x="1416" y="2031"/>
                </a:lnTo>
                <a:lnTo>
                  <a:pt x="1417" y="2028"/>
                </a:lnTo>
                <a:lnTo>
                  <a:pt x="1419" y="2026"/>
                </a:lnTo>
                <a:lnTo>
                  <a:pt x="1422" y="2024"/>
                </a:lnTo>
                <a:lnTo>
                  <a:pt x="1426" y="2023"/>
                </a:lnTo>
                <a:close/>
                <a:moveTo>
                  <a:pt x="1472" y="1975"/>
                </a:moveTo>
                <a:lnTo>
                  <a:pt x="1475" y="1975"/>
                </a:lnTo>
                <a:lnTo>
                  <a:pt x="1478" y="1976"/>
                </a:lnTo>
                <a:lnTo>
                  <a:pt x="1481" y="1977"/>
                </a:lnTo>
                <a:lnTo>
                  <a:pt x="1483" y="1979"/>
                </a:lnTo>
                <a:lnTo>
                  <a:pt x="1485" y="1981"/>
                </a:lnTo>
                <a:lnTo>
                  <a:pt x="1486" y="1983"/>
                </a:lnTo>
                <a:lnTo>
                  <a:pt x="1487" y="1985"/>
                </a:lnTo>
                <a:lnTo>
                  <a:pt x="1487" y="1988"/>
                </a:lnTo>
                <a:lnTo>
                  <a:pt x="1487" y="1990"/>
                </a:lnTo>
                <a:lnTo>
                  <a:pt x="1486" y="1993"/>
                </a:lnTo>
                <a:lnTo>
                  <a:pt x="1485" y="1995"/>
                </a:lnTo>
                <a:lnTo>
                  <a:pt x="1483" y="1997"/>
                </a:lnTo>
                <a:lnTo>
                  <a:pt x="1482" y="1998"/>
                </a:lnTo>
                <a:lnTo>
                  <a:pt x="1480" y="1999"/>
                </a:lnTo>
                <a:lnTo>
                  <a:pt x="1476" y="2000"/>
                </a:lnTo>
                <a:lnTo>
                  <a:pt x="1473" y="2000"/>
                </a:lnTo>
                <a:lnTo>
                  <a:pt x="1471" y="2000"/>
                </a:lnTo>
                <a:lnTo>
                  <a:pt x="1468" y="1999"/>
                </a:lnTo>
                <a:lnTo>
                  <a:pt x="1465" y="1997"/>
                </a:lnTo>
                <a:lnTo>
                  <a:pt x="1464" y="1995"/>
                </a:lnTo>
                <a:lnTo>
                  <a:pt x="1463" y="1992"/>
                </a:lnTo>
                <a:lnTo>
                  <a:pt x="1462" y="1990"/>
                </a:lnTo>
                <a:lnTo>
                  <a:pt x="1462" y="1988"/>
                </a:lnTo>
                <a:lnTo>
                  <a:pt x="1462" y="1985"/>
                </a:lnTo>
                <a:lnTo>
                  <a:pt x="1463" y="1983"/>
                </a:lnTo>
                <a:lnTo>
                  <a:pt x="1464" y="1981"/>
                </a:lnTo>
                <a:lnTo>
                  <a:pt x="1465" y="1979"/>
                </a:lnTo>
                <a:lnTo>
                  <a:pt x="1467" y="1978"/>
                </a:lnTo>
                <a:lnTo>
                  <a:pt x="1469" y="1977"/>
                </a:lnTo>
                <a:lnTo>
                  <a:pt x="1472" y="1975"/>
                </a:lnTo>
                <a:close/>
                <a:moveTo>
                  <a:pt x="1520" y="1929"/>
                </a:moveTo>
                <a:lnTo>
                  <a:pt x="1523" y="1929"/>
                </a:lnTo>
                <a:lnTo>
                  <a:pt x="1526" y="1930"/>
                </a:lnTo>
                <a:lnTo>
                  <a:pt x="1529" y="1931"/>
                </a:lnTo>
                <a:lnTo>
                  <a:pt x="1531" y="1933"/>
                </a:lnTo>
                <a:lnTo>
                  <a:pt x="1533" y="1935"/>
                </a:lnTo>
                <a:lnTo>
                  <a:pt x="1534" y="1937"/>
                </a:lnTo>
                <a:lnTo>
                  <a:pt x="1534" y="1942"/>
                </a:lnTo>
                <a:lnTo>
                  <a:pt x="1534" y="1945"/>
                </a:lnTo>
                <a:lnTo>
                  <a:pt x="1533" y="1947"/>
                </a:lnTo>
                <a:lnTo>
                  <a:pt x="1532" y="1949"/>
                </a:lnTo>
                <a:lnTo>
                  <a:pt x="1531" y="1951"/>
                </a:lnTo>
                <a:lnTo>
                  <a:pt x="1527" y="1953"/>
                </a:lnTo>
                <a:lnTo>
                  <a:pt x="1526" y="1954"/>
                </a:lnTo>
                <a:lnTo>
                  <a:pt x="1524" y="1954"/>
                </a:lnTo>
                <a:lnTo>
                  <a:pt x="1521" y="1954"/>
                </a:lnTo>
                <a:lnTo>
                  <a:pt x="1518" y="1954"/>
                </a:lnTo>
                <a:lnTo>
                  <a:pt x="1515" y="1952"/>
                </a:lnTo>
                <a:lnTo>
                  <a:pt x="1513" y="1950"/>
                </a:lnTo>
                <a:lnTo>
                  <a:pt x="1511" y="1948"/>
                </a:lnTo>
                <a:lnTo>
                  <a:pt x="1510" y="1946"/>
                </a:lnTo>
                <a:lnTo>
                  <a:pt x="1509" y="1941"/>
                </a:lnTo>
                <a:lnTo>
                  <a:pt x="1510" y="1939"/>
                </a:lnTo>
                <a:lnTo>
                  <a:pt x="1510" y="1937"/>
                </a:lnTo>
                <a:lnTo>
                  <a:pt x="1512" y="1935"/>
                </a:lnTo>
                <a:lnTo>
                  <a:pt x="1513" y="1933"/>
                </a:lnTo>
                <a:lnTo>
                  <a:pt x="1516" y="1931"/>
                </a:lnTo>
                <a:lnTo>
                  <a:pt x="1518" y="1930"/>
                </a:lnTo>
                <a:lnTo>
                  <a:pt x="1520" y="1929"/>
                </a:lnTo>
                <a:close/>
                <a:moveTo>
                  <a:pt x="1569" y="1885"/>
                </a:moveTo>
                <a:lnTo>
                  <a:pt x="1572" y="1885"/>
                </a:lnTo>
                <a:lnTo>
                  <a:pt x="1575" y="1885"/>
                </a:lnTo>
                <a:lnTo>
                  <a:pt x="1578" y="1887"/>
                </a:lnTo>
                <a:lnTo>
                  <a:pt x="1579" y="1888"/>
                </a:lnTo>
                <a:lnTo>
                  <a:pt x="1580" y="1889"/>
                </a:lnTo>
                <a:lnTo>
                  <a:pt x="1582" y="1891"/>
                </a:lnTo>
                <a:lnTo>
                  <a:pt x="1583" y="1893"/>
                </a:lnTo>
                <a:lnTo>
                  <a:pt x="1583" y="1896"/>
                </a:lnTo>
                <a:lnTo>
                  <a:pt x="1583" y="1898"/>
                </a:lnTo>
                <a:lnTo>
                  <a:pt x="1583" y="1901"/>
                </a:lnTo>
                <a:lnTo>
                  <a:pt x="1582" y="1903"/>
                </a:lnTo>
                <a:lnTo>
                  <a:pt x="1581" y="1905"/>
                </a:lnTo>
                <a:lnTo>
                  <a:pt x="1579" y="1907"/>
                </a:lnTo>
                <a:lnTo>
                  <a:pt x="1576" y="1909"/>
                </a:lnTo>
                <a:lnTo>
                  <a:pt x="1573" y="1910"/>
                </a:lnTo>
                <a:lnTo>
                  <a:pt x="1570" y="1910"/>
                </a:lnTo>
                <a:lnTo>
                  <a:pt x="1567" y="1909"/>
                </a:lnTo>
                <a:lnTo>
                  <a:pt x="1564" y="1908"/>
                </a:lnTo>
                <a:lnTo>
                  <a:pt x="1563" y="1907"/>
                </a:lnTo>
                <a:lnTo>
                  <a:pt x="1561" y="1906"/>
                </a:lnTo>
                <a:lnTo>
                  <a:pt x="1560" y="1904"/>
                </a:lnTo>
                <a:lnTo>
                  <a:pt x="1559" y="1901"/>
                </a:lnTo>
                <a:lnTo>
                  <a:pt x="1558" y="1899"/>
                </a:lnTo>
                <a:lnTo>
                  <a:pt x="1558" y="1897"/>
                </a:lnTo>
                <a:lnTo>
                  <a:pt x="1559" y="1894"/>
                </a:lnTo>
                <a:lnTo>
                  <a:pt x="1560" y="1892"/>
                </a:lnTo>
                <a:lnTo>
                  <a:pt x="1561" y="1890"/>
                </a:lnTo>
                <a:lnTo>
                  <a:pt x="1563" y="1888"/>
                </a:lnTo>
                <a:lnTo>
                  <a:pt x="1565" y="1886"/>
                </a:lnTo>
                <a:lnTo>
                  <a:pt x="1569" y="1885"/>
                </a:lnTo>
                <a:close/>
                <a:moveTo>
                  <a:pt x="1619" y="1842"/>
                </a:moveTo>
                <a:lnTo>
                  <a:pt x="1622" y="1842"/>
                </a:lnTo>
                <a:lnTo>
                  <a:pt x="1625" y="1843"/>
                </a:lnTo>
                <a:lnTo>
                  <a:pt x="1628" y="1844"/>
                </a:lnTo>
                <a:lnTo>
                  <a:pt x="1631" y="1846"/>
                </a:lnTo>
                <a:lnTo>
                  <a:pt x="1632" y="1848"/>
                </a:lnTo>
                <a:lnTo>
                  <a:pt x="1633" y="1851"/>
                </a:lnTo>
                <a:lnTo>
                  <a:pt x="1634" y="1853"/>
                </a:lnTo>
                <a:lnTo>
                  <a:pt x="1634" y="1856"/>
                </a:lnTo>
                <a:lnTo>
                  <a:pt x="1633" y="1858"/>
                </a:lnTo>
                <a:lnTo>
                  <a:pt x="1632" y="1860"/>
                </a:lnTo>
                <a:lnTo>
                  <a:pt x="1631" y="1862"/>
                </a:lnTo>
                <a:lnTo>
                  <a:pt x="1629" y="1864"/>
                </a:lnTo>
                <a:lnTo>
                  <a:pt x="1626" y="1866"/>
                </a:lnTo>
                <a:lnTo>
                  <a:pt x="1623" y="1867"/>
                </a:lnTo>
                <a:lnTo>
                  <a:pt x="1620" y="1867"/>
                </a:lnTo>
                <a:lnTo>
                  <a:pt x="1617" y="1866"/>
                </a:lnTo>
                <a:lnTo>
                  <a:pt x="1614" y="1865"/>
                </a:lnTo>
                <a:lnTo>
                  <a:pt x="1611" y="1862"/>
                </a:lnTo>
                <a:lnTo>
                  <a:pt x="1610" y="1860"/>
                </a:lnTo>
                <a:lnTo>
                  <a:pt x="1609" y="1858"/>
                </a:lnTo>
                <a:lnTo>
                  <a:pt x="1609" y="1856"/>
                </a:lnTo>
                <a:lnTo>
                  <a:pt x="1609" y="1853"/>
                </a:lnTo>
                <a:lnTo>
                  <a:pt x="1609" y="1851"/>
                </a:lnTo>
                <a:lnTo>
                  <a:pt x="1610" y="1849"/>
                </a:lnTo>
                <a:lnTo>
                  <a:pt x="1611" y="1846"/>
                </a:lnTo>
                <a:lnTo>
                  <a:pt x="1613" y="1845"/>
                </a:lnTo>
                <a:lnTo>
                  <a:pt x="1616" y="1843"/>
                </a:lnTo>
                <a:lnTo>
                  <a:pt x="1619" y="1842"/>
                </a:lnTo>
                <a:close/>
                <a:moveTo>
                  <a:pt x="1671" y="1801"/>
                </a:moveTo>
                <a:lnTo>
                  <a:pt x="1674" y="1801"/>
                </a:lnTo>
                <a:lnTo>
                  <a:pt x="1677" y="1801"/>
                </a:lnTo>
                <a:lnTo>
                  <a:pt x="1680" y="1803"/>
                </a:lnTo>
                <a:lnTo>
                  <a:pt x="1683" y="1805"/>
                </a:lnTo>
                <a:lnTo>
                  <a:pt x="1685" y="1810"/>
                </a:lnTo>
                <a:lnTo>
                  <a:pt x="1685" y="1812"/>
                </a:lnTo>
                <a:lnTo>
                  <a:pt x="1685" y="1815"/>
                </a:lnTo>
                <a:lnTo>
                  <a:pt x="1685" y="1817"/>
                </a:lnTo>
                <a:lnTo>
                  <a:pt x="1684" y="1819"/>
                </a:lnTo>
                <a:lnTo>
                  <a:pt x="1682" y="1821"/>
                </a:lnTo>
                <a:lnTo>
                  <a:pt x="1681" y="1823"/>
                </a:lnTo>
                <a:lnTo>
                  <a:pt x="1679" y="1824"/>
                </a:lnTo>
                <a:lnTo>
                  <a:pt x="1678" y="1825"/>
                </a:lnTo>
                <a:lnTo>
                  <a:pt x="1675" y="1825"/>
                </a:lnTo>
                <a:lnTo>
                  <a:pt x="1672" y="1826"/>
                </a:lnTo>
                <a:lnTo>
                  <a:pt x="1668" y="1825"/>
                </a:lnTo>
                <a:lnTo>
                  <a:pt x="1665" y="1823"/>
                </a:lnTo>
                <a:lnTo>
                  <a:pt x="1663" y="1821"/>
                </a:lnTo>
                <a:lnTo>
                  <a:pt x="1661" y="1816"/>
                </a:lnTo>
                <a:lnTo>
                  <a:pt x="1660" y="1814"/>
                </a:lnTo>
                <a:lnTo>
                  <a:pt x="1660" y="1811"/>
                </a:lnTo>
                <a:lnTo>
                  <a:pt x="1661" y="1809"/>
                </a:lnTo>
                <a:lnTo>
                  <a:pt x="1662" y="1807"/>
                </a:lnTo>
                <a:lnTo>
                  <a:pt x="1663" y="1805"/>
                </a:lnTo>
                <a:lnTo>
                  <a:pt x="1665" y="1803"/>
                </a:lnTo>
                <a:lnTo>
                  <a:pt x="1666" y="1802"/>
                </a:lnTo>
                <a:lnTo>
                  <a:pt x="1668" y="1802"/>
                </a:lnTo>
                <a:lnTo>
                  <a:pt x="1671" y="1801"/>
                </a:lnTo>
                <a:close/>
                <a:moveTo>
                  <a:pt x="1724" y="1761"/>
                </a:moveTo>
                <a:lnTo>
                  <a:pt x="1727" y="1761"/>
                </a:lnTo>
                <a:lnTo>
                  <a:pt x="1731" y="1762"/>
                </a:lnTo>
                <a:lnTo>
                  <a:pt x="1734" y="1764"/>
                </a:lnTo>
                <a:lnTo>
                  <a:pt x="1736" y="1766"/>
                </a:lnTo>
                <a:lnTo>
                  <a:pt x="1737" y="1768"/>
                </a:lnTo>
                <a:lnTo>
                  <a:pt x="1738" y="1771"/>
                </a:lnTo>
                <a:lnTo>
                  <a:pt x="1739" y="1773"/>
                </a:lnTo>
                <a:lnTo>
                  <a:pt x="1738" y="1776"/>
                </a:lnTo>
                <a:lnTo>
                  <a:pt x="1738" y="1778"/>
                </a:lnTo>
                <a:lnTo>
                  <a:pt x="1737" y="1780"/>
                </a:lnTo>
                <a:lnTo>
                  <a:pt x="1735" y="1782"/>
                </a:lnTo>
                <a:lnTo>
                  <a:pt x="1733" y="1784"/>
                </a:lnTo>
                <a:lnTo>
                  <a:pt x="1731" y="1785"/>
                </a:lnTo>
                <a:lnTo>
                  <a:pt x="1728" y="1786"/>
                </a:lnTo>
                <a:lnTo>
                  <a:pt x="1725" y="1786"/>
                </a:lnTo>
                <a:lnTo>
                  <a:pt x="1721" y="1785"/>
                </a:lnTo>
                <a:lnTo>
                  <a:pt x="1718" y="1784"/>
                </a:lnTo>
                <a:lnTo>
                  <a:pt x="1716" y="1781"/>
                </a:lnTo>
                <a:lnTo>
                  <a:pt x="1714" y="1779"/>
                </a:lnTo>
                <a:lnTo>
                  <a:pt x="1714" y="1776"/>
                </a:lnTo>
                <a:lnTo>
                  <a:pt x="1713" y="1774"/>
                </a:lnTo>
                <a:lnTo>
                  <a:pt x="1714" y="1772"/>
                </a:lnTo>
                <a:lnTo>
                  <a:pt x="1714" y="1769"/>
                </a:lnTo>
                <a:lnTo>
                  <a:pt x="1715" y="1767"/>
                </a:lnTo>
                <a:lnTo>
                  <a:pt x="1717" y="1765"/>
                </a:lnTo>
                <a:lnTo>
                  <a:pt x="1719" y="1763"/>
                </a:lnTo>
                <a:lnTo>
                  <a:pt x="1721" y="1762"/>
                </a:lnTo>
                <a:lnTo>
                  <a:pt x="1724" y="1761"/>
                </a:lnTo>
                <a:close/>
                <a:moveTo>
                  <a:pt x="1778" y="1724"/>
                </a:moveTo>
                <a:lnTo>
                  <a:pt x="1782" y="1723"/>
                </a:lnTo>
                <a:lnTo>
                  <a:pt x="1785" y="1724"/>
                </a:lnTo>
                <a:lnTo>
                  <a:pt x="1788" y="1726"/>
                </a:lnTo>
                <a:lnTo>
                  <a:pt x="1791" y="1729"/>
                </a:lnTo>
                <a:lnTo>
                  <a:pt x="1792" y="1731"/>
                </a:lnTo>
                <a:lnTo>
                  <a:pt x="1793" y="1734"/>
                </a:lnTo>
                <a:lnTo>
                  <a:pt x="1793" y="1738"/>
                </a:lnTo>
                <a:lnTo>
                  <a:pt x="1792" y="1741"/>
                </a:lnTo>
                <a:lnTo>
                  <a:pt x="1791" y="1743"/>
                </a:lnTo>
                <a:lnTo>
                  <a:pt x="1789" y="1745"/>
                </a:lnTo>
                <a:lnTo>
                  <a:pt x="1787" y="1746"/>
                </a:lnTo>
                <a:lnTo>
                  <a:pt x="1785" y="1748"/>
                </a:lnTo>
                <a:lnTo>
                  <a:pt x="1783" y="1748"/>
                </a:lnTo>
                <a:lnTo>
                  <a:pt x="1779" y="1748"/>
                </a:lnTo>
                <a:lnTo>
                  <a:pt x="1775" y="1748"/>
                </a:lnTo>
                <a:lnTo>
                  <a:pt x="1772" y="1746"/>
                </a:lnTo>
                <a:lnTo>
                  <a:pt x="1770" y="1743"/>
                </a:lnTo>
                <a:lnTo>
                  <a:pt x="1769" y="1741"/>
                </a:lnTo>
                <a:lnTo>
                  <a:pt x="1768" y="1738"/>
                </a:lnTo>
                <a:lnTo>
                  <a:pt x="1768" y="1733"/>
                </a:lnTo>
                <a:lnTo>
                  <a:pt x="1769" y="1731"/>
                </a:lnTo>
                <a:lnTo>
                  <a:pt x="1770" y="1729"/>
                </a:lnTo>
                <a:lnTo>
                  <a:pt x="1771" y="1727"/>
                </a:lnTo>
                <a:lnTo>
                  <a:pt x="1773" y="1725"/>
                </a:lnTo>
                <a:lnTo>
                  <a:pt x="1776" y="1724"/>
                </a:lnTo>
                <a:lnTo>
                  <a:pt x="1778" y="1724"/>
                </a:lnTo>
                <a:close/>
                <a:moveTo>
                  <a:pt x="2917" y="1515"/>
                </a:moveTo>
                <a:lnTo>
                  <a:pt x="2921" y="1515"/>
                </a:lnTo>
                <a:lnTo>
                  <a:pt x="2924" y="1516"/>
                </a:lnTo>
                <a:lnTo>
                  <a:pt x="2926" y="1517"/>
                </a:lnTo>
                <a:lnTo>
                  <a:pt x="2928" y="1518"/>
                </a:lnTo>
                <a:lnTo>
                  <a:pt x="2930" y="1520"/>
                </a:lnTo>
                <a:lnTo>
                  <a:pt x="2931" y="1522"/>
                </a:lnTo>
                <a:lnTo>
                  <a:pt x="2932" y="1524"/>
                </a:lnTo>
                <a:lnTo>
                  <a:pt x="2932" y="1527"/>
                </a:lnTo>
                <a:lnTo>
                  <a:pt x="2932" y="1529"/>
                </a:lnTo>
                <a:lnTo>
                  <a:pt x="2932" y="1531"/>
                </a:lnTo>
                <a:lnTo>
                  <a:pt x="2931" y="1533"/>
                </a:lnTo>
                <a:lnTo>
                  <a:pt x="2930" y="1535"/>
                </a:lnTo>
                <a:lnTo>
                  <a:pt x="2929" y="1536"/>
                </a:lnTo>
                <a:lnTo>
                  <a:pt x="2927" y="1538"/>
                </a:lnTo>
                <a:lnTo>
                  <a:pt x="2926" y="1539"/>
                </a:lnTo>
                <a:lnTo>
                  <a:pt x="2922" y="1540"/>
                </a:lnTo>
                <a:lnTo>
                  <a:pt x="2918" y="1540"/>
                </a:lnTo>
                <a:lnTo>
                  <a:pt x="2916" y="1540"/>
                </a:lnTo>
                <a:lnTo>
                  <a:pt x="2913" y="1539"/>
                </a:lnTo>
                <a:lnTo>
                  <a:pt x="2911" y="1537"/>
                </a:lnTo>
                <a:lnTo>
                  <a:pt x="2910" y="1535"/>
                </a:lnTo>
                <a:lnTo>
                  <a:pt x="2908" y="1533"/>
                </a:lnTo>
                <a:lnTo>
                  <a:pt x="2908" y="1531"/>
                </a:lnTo>
                <a:lnTo>
                  <a:pt x="2907" y="1529"/>
                </a:lnTo>
                <a:lnTo>
                  <a:pt x="2907" y="1526"/>
                </a:lnTo>
                <a:lnTo>
                  <a:pt x="2908" y="1524"/>
                </a:lnTo>
                <a:lnTo>
                  <a:pt x="2908" y="1522"/>
                </a:lnTo>
                <a:lnTo>
                  <a:pt x="2909" y="1521"/>
                </a:lnTo>
                <a:lnTo>
                  <a:pt x="2911" y="1519"/>
                </a:lnTo>
                <a:lnTo>
                  <a:pt x="2912" y="1518"/>
                </a:lnTo>
                <a:lnTo>
                  <a:pt x="2914" y="1517"/>
                </a:lnTo>
                <a:lnTo>
                  <a:pt x="2917" y="1515"/>
                </a:lnTo>
                <a:close/>
                <a:moveTo>
                  <a:pt x="1834" y="1688"/>
                </a:moveTo>
                <a:lnTo>
                  <a:pt x="1838" y="1688"/>
                </a:lnTo>
                <a:lnTo>
                  <a:pt x="1841" y="1689"/>
                </a:lnTo>
                <a:lnTo>
                  <a:pt x="1844" y="1691"/>
                </a:lnTo>
                <a:lnTo>
                  <a:pt x="1846" y="1692"/>
                </a:lnTo>
                <a:lnTo>
                  <a:pt x="1847" y="1694"/>
                </a:lnTo>
                <a:lnTo>
                  <a:pt x="1848" y="1696"/>
                </a:lnTo>
                <a:lnTo>
                  <a:pt x="1849" y="1698"/>
                </a:lnTo>
                <a:lnTo>
                  <a:pt x="1849" y="1701"/>
                </a:lnTo>
                <a:lnTo>
                  <a:pt x="1848" y="1703"/>
                </a:lnTo>
                <a:lnTo>
                  <a:pt x="1848" y="1706"/>
                </a:lnTo>
                <a:lnTo>
                  <a:pt x="1846" y="1708"/>
                </a:lnTo>
                <a:lnTo>
                  <a:pt x="1845" y="1710"/>
                </a:lnTo>
                <a:lnTo>
                  <a:pt x="1843" y="1711"/>
                </a:lnTo>
                <a:lnTo>
                  <a:pt x="1841" y="1712"/>
                </a:lnTo>
                <a:lnTo>
                  <a:pt x="1838" y="1713"/>
                </a:lnTo>
                <a:lnTo>
                  <a:pt x="1835" y="1713"/>
                </a:lnTo>
                <a:lnTo>
                  <a:pt x="1831" y="1712"/>
                </a:lnTo>
                <a:lnTo>
                  <a:pt x="1828" y="1710"/>
                </a:lnTo>
                <a:lnTo>
                  <a:pt x="1827" y="1709"/>
                </a:lnTo>
                <a:lnTo>
                  <a:pt x="1825" y="1707"/>
                </a:lnTo>
                <a:lnTo>
                  <a:pt x="1824" y="1705"/>
                </a:lnTo>
                <a:lnTo>
                  <a:pt x="1824" y="1702"/>
                </a:lnTo>
                <a:lnTo>
                  <a:pt x="1824" y="1700"/>
                </a:lnTo>
                <a:lnTo>
                  <a:pt x="1824" y="1697"/>
                </a:lnTo>
                <a:lnTo>
                  <a:pt x="1825" y="1695"/>
                </a:lnTo>
                <a:lnTo>
                  <a:pt x="1826" y="1693"/>
                </a:lnTo>
                <a:lnTo>
                  <a:pt x="1827" y="1691"/>
                </a:lnTo>
                <a:lnTo>
                  <a:pt x="1830" y="1690"/>
                </a:lnTo>
                <a:lnTo>
                  <a:pt x="1832" y="1689"/>
                </a:lnTo>
                <a:lnTo>
                  <a:pt x="1834" y="1688"/>
                </a:lnTo>
                <a:close/>
                <a:moveTo>
                  <a:pt x="2852" y="1507"/>
                </a:moveTo>
                <a:lnTo>
                  <a:pt x="2855" y="1507"/>
                </a:lnTo>
                <a:lnTo>
                  <a:pt x="2858" y="1508"/>
                </a:lnTo>
                <a:lnTo>
                  <a:pt x="2860" y="1509"/>
                </a:lnTo>
                <a:lnTo>
                  <a:pt x="2861" y="1509"/>
                </a:lnTo>
                <a:lnTo>
                  <a:pt x="2862" y="1510"/>
                </a:lnTo>
                <a:lnTo>
                  <a:pt x="2864" y="1512"/>
                </a:lnTo>
                <a:lnTo>
                  <a:pt x="2865" y="1514"/>
                </a:lnTo>
                <a:lnTo>
                  <a:pt x="2866" y="1516"/>
                </a:lnTo>
                <a:lnTo>
                  <a:pt x="2867" y="1519"/>
                </a:lnTo>
                <a:lnTo>
                  <a:pt x="2866" y="1521"/>
                </a:lnTo>
                <a:lnTo>
                  <a:pt x="2866" y="1523"/>
                </a:lnTo>
                <a:lnTo>
                  <a:pt x="2865" y="1525"/>
                </a:lnTo>
                <a:lnTo>
                  <a:pt x="2864" y="1527"/>
                </a:lnTo>
                <a:lnTo>
                  <a:pt x="2863" y="1529"/>
                </a:lnTo>
                <a:lnTo>
                  <a:pt x="2860" y="1531"/>
                </a:lnTo>
                <a:lnTo>
                  <a:pt x="2858" y="1532"/>
                </a:lnTo>
                <a:lnTo>
                  <a:pt x="2856" y="1532"/>
                </a:lnTo>
                <a:lnTo>
                  <a:pt x="2853" y="1532"/>
                </a:lnTo>
                <a:lnTo>
                  <a:pt x="2850" y="1532"/>
                </a:lnTo>
                <a:lnTo>
                  <a:pt x="2848" y="1531"/>
                </a:lnTo>
                <a:lnTo>
                  <a:pt x="2847" y="1530"/>
                </a:lnTo>
                <a:lnTo>
                  <a:pt x="2846" y="1529"/>
                </a:lnTo>
                <a:lnTo>
                  <a:pt x="2844" y="1528"/>
                </a:lnTo>
                <a:lnTo>
                  <a:pt x="2843" y="1526"/>
                </a:lnTo>
                <a:lnTo>
                  <a:pt x="2842" y="1523"/>
                </a:lnTo>
                <a:lnTo>
                  <a:pt x="2841" y="1521"/>
                </a:lnTo>
                <a:lnTo>
                  <a:pt x="2841" y="1518"/>
                </a:lnTo>
                <a:lnTo>
                  <a:pt x="2842" y="1516"/>
                </a:lnTo>
                <a:lnTo>
                  <a:pt x="2843" y="1514"/>
                </a:lnTo>
                <a:lnTo>
                  <a:pt x="2844" y="1513"/>
                </a:lnTo>
                <a:lnTo>
                  <a:pt x="2845" y="1511"/>
                </a:lnTo>
                <a:lnTo>
                  <a:pt x="2848" y="1509"/>
                </a:lnTo>
                <a:lnTo>
                  <a:pt x="2850" y="1508"/>
                </a:lnTo>
                <a:lnTo>
                  <a:pt x="2852" y="1507"/>
                </a:lnTo>
                <a:close/>
                <a:moveTo>
                  <a:pt x="2786" y="1500"/>
                </a:moveTo>
                <a:lnTo>
                  <a:pt x="2790" y="1500"/>
                </a:lnTo>
                <a:lnTo>
                  <a:pt x="2792" y="1500"/>
                </a:lnTo>
                <a:lnTo>
                  <a:pt x="2794" y="1501"/>
                </a:lnTo>
                <a:lnTo>
                  <a:pt x="2795" y="1502"/>
                </a:lnTo>
                <a:lnTo>
                  <a:pt x="2796" y="1503"/>
                </a:lnTo>
                <a:lnTo>
                  <a:pt x="2798" y="1504"/>
                </a:lnTo>
                <a:lnTo>
                  <a:pt x="2799" y="1506"/>
                </a:lnTo>
                <a:lnTo>
                  <a:pt x="2800" y="1509"/>
                </a:lnTo>
                <a:lnTo>
                  <a:pt x="2801" y="1511"/>
                </a:lnTo>
                <a:lnTo>
                  <a:pt x="2801" y="1514"/>
                </a:lnTo>
                <a:lnTo>
                  <a:pt x="2800" y="1518"/>
                </a:lnTo>
                <a:lnTo>
                  <a:pt x="2799" y="1519"/>
                </a:lnTo>
                <a:lnTo>
                  <a:pt x="2797" y="1521"/>
                </a:lnTo>
                <a:lnTo>
                  <a:pt x="2794" y="1523"/>
                </a:lnTo>
                <a:lnTo>
                  <a:pt x="2792" y="1524"/>
                </a:lnTo>
                <a:lnTo>
                  <a:pt x="2790" y="1525"/>
                </a:lnTo>
                <a:lnTo>
                  <a:pt x="2787" y="1525"/>
                </a:lnTo>
                <a:lnTo>
                  <a:pt x="2784" y="1524"/>
                </a:lnTo>
                <a:lnTo>
                  <a:pt x="2782" y="1523"/>
                </a:lnTo>
                <a:lnTo>
                  <a:pt x="2781" y="1523"/>
                </a:lnTo>
                <a:lnTo>
                  <a:pt x="2780" y="1522"/>
                </a:lnTo>
                <a:lnTo>
                  <a:pt x="2778" y="1520"/>
                </a:lnTo>
                <a:lnTo>
                  <a:pt x="2777" y="1518"/>
                </a:lnTo>
                <a:lnTo>
                  <a:pt x="2776" y="1516"/>
                </a:lnTo>
                <a:lnTo>
                  <a:pt x="2776" y="1514"/>
                </a:lnTo>
                <a:lnTo>
                  <a:pt x="2776" y="1511"/>
                </a:lnTo>
                <a:lnTo>
                  <a:pt x="2777" y="1507"/>
                </a:lnTo>
                <a:lnTo>
                  <a:pt x="2778" y="1505"/>
                </a:lnTo>
                <a:lnTo>
                  <a:pt x="2779" y="1504"/>
                </a:lnTo>
                <a:lnTo>
                  <a:pt x="2782" y="1501"/>
                </a:lnTo>
                <a:lnTo>
                  <a:pt x="2784" y="1500"/>
                </a:lnTo>
                <a:lnTo>
                  <a:pt x="2786" y="1500"/>
                </a:lnTo>
                <a:close/>
                <a:moveTo>
                  <a:pt x="1891" y="1655"/>
                </a:moveTo>
                <a:lnTo>
                  <a:pt x="1895" y="1654"/>
                </a:lnTo>
                <a:lnTo>
                  <a:pt x="1899" y="1656"/>
                </a:lnTo>
                <a:lnTo>
                  <a:pt x="1900" y="1656"/>
                </a:lnTo>
                <a:lnTo>
                  <a:pt x="1902" y="1658"/>
                </a:lnTo>
                <a:lnTo>
                  <a:pt x="1904" y="1661"/>
                </a:lnTo>
                <a:lnTo>
                  <a:pt x="1906" y="1666"/>
                </a:lnTo>
                <a:lnTo>
                  <a:pt x="1906" y="1668"/>
                </a:lnTo>
                <a:lnTo>
                  <a:pt x="1905" y="1670"/>
                </a:lnTo>
                <a:lnTo>
                  <a:pt x="1904" y="1673"/>
                </a:lnTo>
                <a:lnTo>
                  <a:pt x="1903" y="1675"/>
                </a:lnTo>
                <a:lnTo>
                  <a:pt x="1901" y="1676"/>
                </a:lnTo>
                <a:lnTo>
                  <a:pt x="1899" y="1678"/>
                </a:lnTo>
                <a:lnTo>
                  <a:pt x="1897" y="1679"/>
                </a:lnTo>
                <a:lnTo>
                  <a:pt x="1895" y="1679"/>
                </a:lnTo>
                <a:lnTo>
                  <a:pt x="1892" y="1679"/>
                </a:lnTo>
                <a:lnTo>
                  <a:pt x="1888" y="1678"/>
                </a:lnTo>
                <a:lnTo>
                  <a:pt x="1886" y="1677"/>
                </a:lnTo>
                <a:lnTo>
                  <a:pt x="1885" y="1676"/>
                </a:lnTo>
                <a:lnTo>
                  <a:pt x="1882" y="1673"/>
                </a:lnTo>
                <a:lnTo>
                  <a:pt x="1881" y="1668"/>
                </a:lnTo>
                <a:lnTo>
                  <a:pt x="1881" y="1666"/>
                </a:lnTo>
                <a:lnTo>
                  <a:pt x="1881" y="1664"/>
                </a:lnTo>
                <a:lnTo>
                  <a:pt x="1882" y="1661"/>
                </a:lnTo>
                <a:lnTo>
                  <a:pt x="1883" y="1659"/>
                </a:lnTo>
                <a:lnTo>
                  <a:pt x="1885" y="1657"/>
                </a:lnTo>
                <a:lnTo>
                  <a:pt x="1887" y="1656"/>
                </a:lnTo>
                <a:lnTo>
                  <a:pt x="1889" y="1655"/>
                </a:lnTo>
                <a:lnTo>
                  <a:pt x="1891" y="1655"/>
                </a:lnTo>
                <a:close/>
                <a:moveTo>
                  <a:pt x="2720" y="1493"/>
                </a:moveTo>
                <a:lnTo>
                  <a:pt x="2724" y="1493"/>
                </a:lnTo>
                <a:lnTo>
                  <a:pt x="2726" y="1493"/>
                </a:lnTo>
                <a:lnTo>
                  <a:pt x="2728" y="1494"/>
                </a:lnTo>
                <a:lnTo>
                  <a:pt x="2730" y="1495"/>
                </a:lnTo>
                <a:lnTo>
                  <a:pt x="2731" y="1496"/>
                </a:lnTo>
                <a:lnTo>
                  <a:pt x="2732" y="1497"/>
                </a:lnTo>
                <a:lnTo>
                  <a:pt x="2734" y="1499"/>
                </a:lnTo>
                <a:lnTo>
                  <a:pt x="2734" y="1502"/>
                </a:lnTo>
                <a:lnTo>
                  <a:pt x="2735" y="1504"/>
                </a:lnTo>
                <a:lnTo>
                  <a:pt x="2735" y="1507"/>
                </a:lnTo>
                <a:lnTo>
                  <a:pt x="2734" y="1511"/>
                </a:lnTo>
                <a:lnTo>
                  <a:pt x="2733" y="1512"/>
                </a:lnTo>
                <a:lnTo>
                  <a:pt x="2732" y="1514"/>
                </a:lnTo>
                <a:lnTo>
                  <a:pt x="2728" y="1516"/>
                </a:lnTo>
                <a:lnTo>
                  <a:pt x="2727" y="1517"/>
                </a:lnTo>
                <a:lnTo>
                  <a:pt x="2725" y="1518"/>
                </a:lnTo>
                <a:lnTo>
                  <a:pt x="2721" y="1518"/>
                </a:lnTo>
                <a:lnTo>
                  <a:pt x="2719" y="1517"/>
                </a:lnTo>
                <a:lnTo>
                  <a:pt x="2716" y="1516"/>
                </a:lnTo>
                <a:lnTo>
                  <a:pt x="2714" y="1515"/>
                </a:lnTo>
                <a:lnTo>
                  <a:pt x="2713" y="1513"/>
                </a:lnTo>
                <a:lnTo>
                  <a:pt x="2711" y="1511"/>
                </a:lnTo>
                <a:lnTo>
                  <a:pt x="2710" y="1509"/>
                </a:lnTo>
                <a:lnTo>
                  <a:pt x="2710" y="1507"/>
                </a:lnTo>
                <a:lnTo>
                  <a:pt x="2710" y="1504"/>
                </a:lnTo>
                <a:lnTo>
                  <a:pt x="2711" y="1500"/>
                </a:lnTo>
                <a:lnTo>
                  <a:pt x="2712" y="1498"/>
                </a:lnTo>
                <a:lnTo>
                  <a:pt x="2713" y="1497"/>
                </a:lnTo>
                <a:lnTo>
                  <a:pt x="2716" y="1494"/>
                </a:lnTo>
                <a:lnTo>
                  <a:pt x="2718" y="1493"/>
                </a:lnTo>
                <a:lnTo>
                  <a:pt x="2720" y="1493"/>
                </a:lnTo>
                <a:close/>
                <a:moveTo>
                  <a:pt x="1949" y="1624"/>
                </a:moveTo>
                <a:lnTo>
                  <a:pt x="1953" y="1623"/>
                </a:lnTo>
                <a:lnTo>
                  <a:pt x="1955" y="1624"/>
                </a:lnTo>
                <a:lnTo>
                  <a:pt x="1957" y="1625"/>
                </a:lnTo>
                <a:lnTo>
                  <a:pt x="1959" y="1626"/>
                </a:lnTo>
                <a:lnTo>
                  <a:pt x="1960" y="1627"/>
                </a:lnTo>
                <a:lnTo>
                  <a:pt x="1963" y="1630"/>
                </a:lnTo>
                <a:lnTo>
                  <a:pt x="1964" y="1633"/>
                </a:lnTo>
                <a:lnTo>
                  <a:pt x="1964" y="1635"/>
                </a:lnTo>
                <a:lnTo>
                  <a:pt x="1964" y="1637"/>
                </a:lnTo>
                <a:lnTo>
                  <a:pt x="1964" y="1640"/>
                </a:lnTo>
                <a:lnTo>
                  <a:pt x="1963" y="1642"/>
                </a:lnTo>
                <a:lnTo>
                  <a:pt x="1962" y="1643"/>
                </a:lnTo>
                <a:lnTo>
                  <a:pt x="1961" y="1644"/>
                </a:lnTo>
                <a:lnTo>
                  <a:pt x="1959" y="1646"/>
                </a:lnTo>
                <a:lnTo>
                  <a:pt x="1957" y="1647"/>
                </a:lnTo>
                <a:lnTo>
                  <a:pt x="1954" y="1648"/>
                </a:lnTo>
                <a:lnTo>
                  <a:pt x="1950" y="1648"/>
                </a:lnTo>
                <a:lnTo>
                  <a:pt x="1948" y="1648"/>
                </a:lnTo>
                <a:lnTo>
                  <a:pt x="1946" y="1647"/>
                </a:lnTo>
                <a:lnTo>
                  <a:pt x="1944" y="1646"/>
                </a:lnTo>
                <a:lnTo>
                  <a:pt x="1943" y="1645"/>
                </a:lnTo>
                <a:lnTo>
                  <a:pt x="1940" y="1642"/>
                </a:lnTo>
                <a:lnTo>
                  <a:pt x="1939" y="1639"/>
                </a:lnTo>
                <a:lnTo>
                  <a:pt x="1939" y="1637"/>
                </a:lnTo>
                <a:lnTo>
                  <a:pt x="1939" y="1634"/>
                </a:lnTo>
                <a:lnTo>
                  <a:pt x="1940" y="1632"/>
                </a:lnTo>
                <a:lnTo>
                  <a:pt x="1941" y="1630"/>
                </a:lnTo>
                <a:lnTo>
                  <a:pt x="1941" y="1629"/>
                </a:lnTo>
                <a:lnTo>
                  <a:pt x="1942" y="1628"/>
                </a:lnTo>
                <a:lnTo>
                  <a:pt x="1944" y="1626"/>
                </a:lnTo>
                <a:lnTo>
                  <a:pt x="1946" y="1625"/>
                </a:lnTo>
                <a:lnTo>
                  <a:pt x="1949" y="1624"/>
                </a:lnTo>
                <a:close/>
                <a:moveTo>
                  <a:pt x="2654" y="1486"/>
                </a:moveTo>
                <a:lnTo>
                  <a:pt x="2658" y="1486"/>
                </a:lnTo>
                <a:lnTo>
                  <a:pt x="2660" y="1487"/>
                </a:lnTo>
                <a:lnTo>
                  <a:pt x="2663" y="1488"/>
                </a:lnTo>
                <a:lnTo>
                  <a:pt x="2665" y="1489"/>
                </a:lnTo>
                <a:lnTo>
                  <a:pt x="2666" y="1491"/>
                </a:lnTo>
                <a:lnTo>
                  <a:pt x="2668" y="1493"/>
                </a:lnTo>
                <a:lnTo>
                  <a:pt x="2669" y="1495"/>
                </a:lnTo>
                <a:lnTo>
                  <a:pt x="2669" y="1497"/>
                </a:lnTo>
                <a:lnTo>
                  <a:pt x="2669" y="1500"/>
                </a:lnTo>
                <a:lnTo>
                  <a:pt x="2668" y="1504"/>
                </a:lnTo>
                <a:lnTo>
                  <a:pt x="2667" y="1506"/>
                </a:lnTo>
                <a:lnTo>
                  <a:pt x="2666" y="1507"/>
                </a:lnTo>
                <a:lnTo>
                  <a:pt x="2663" y="1510"/>
                </a:lnTo>
                <a:lnTo>
                  <a:pt x="2661" y="1511"/>
                </a:lnTo>
                <a:lnTo>
                  <a:pt x="2659" y="1511"/>
                </a:lnTo>
                <a:lnTo>
                  <a:pt x="2655" y="1511"/>
                </a:lnTo>
                <a:lnTo>
                  <a:pt x="2653" y="1511"/>
                </a:lnTo>
                <a:lnTo>
                  <a:pt x="2651" y="1510"/>
                </a:lnTo>
                <a:lnTo>
                  <a:pt x="2649" y="1508"/>
                </a:lnTo>
                <a:lnTo>
                  <a:pt x="2647" y="1507"/>
                </a:lnTo>
                <a:lnTo>
                  <a:pt x="2646" y="1505"/>
                </a:lnTo>
                <a:lnTo>
                  <a:pt x="2645" y="1503"/>
                </a:lnTo>
                <a:lnTo>
                  <a:pt x="2644" y="1500"/>
                </a:lnTo>
                <a:lnTo>
                  <a:pt x="2644" y="1498"/>
                </a:lnTo>
                <a:lnTo>
                  <a:pt x="2645" y="1493"/>
                </a:lnTo>
                <a:lnTo>
                  <a:pt x="2646" y="1492"/>
                </a:lnTo>
                <a:lnTo>
                  <a:pt x="2647" y="1490"/>
                </a:lnTo>
                <a:lnTo>
                  <a:pt x="2651" y="1488"/>
                </a:lnTo>
                <a:lnTo>
                  <a:pt x="2652" y="1487"/>
                </a:lnTo>
                <a:lnTo>
                  <a:pt x="2654" y="1486"/>
                </a:lnTo>
                <a:close/>
                <a:moveTo>
                  <a:pt x="2009" y="1595"/>
                </a:moveTo>
                <a:lnTo>
                  <a:pt x="2013" y="1595"/>
                </a:lnTo>
                <a:lnTo>
                  <a:pt x="2017" y="1596"/>
                </a:lnTo>
                <a:lnTo>
                  <a:pt x="2020" y="1599"/>
                </a:lnTo>
                <a:lnTo>
                  <a:pt x="2023" y="1602"/>
                </a:lnTo>
                <a:lnTo>
                  <a:pt x="2023" y="1603"/>
                </a:lnTo>
                <a:lnTo>
                  <a:pt x="2024" y="1605"/>
                </a:lnTo>
                <a:lnTo>
                  <a:pt x="2024" y="1607"/>
                </a:lnTo>
                <a:lnTo>
                  <a:pt x="2024" y="1610"/>
                </a:lnTo>
                <a:lnTo>
                  <a:pt x="2023" y="1612"/>
                </a:lnTo>
                <a:lnTo>
                  <a:pt x="2022" y="1614"/>
                </a:lnTo>
                <a:lnTo>
                  <a:pt x="2021" y="1616"/>
                </a:lnTo>
                <a:lnTo>
                  <a:pt x="2019" y="1618"/>
                </a:lnTo>
                <a:lnTo>
                  <a:pt x="2016" y="1619"/>
                </a:lnTo>
                <a:lnTo>
                  <a:pt x="2013" y="1620"/>
                </a:lnTo>
                <a:lnTo>
                  <a:pt x="2009" y="1620"/>
                </a:lnTo>
                <a:lnTo>
                  <a:pt x="2005" y="1619"/>
                </a:lnTo>
                <a:lnTo>
                  <a:pt x="2002" y="1616"/>
                </a:lnTo>
                <a:lnTo>
                  <a:pt x="2000" y="1613"/>
                </a:lnTo>
                <a:lnTo>
                  <a:pt x="1999" y="1611"/>
                </a:lnTo>
                <a:lnTo>
                  <a:pt x="1999" y="1610"/>
                </a:lnTo>
                <a:lnTo>
                  <a:pt x="1999" y="1608"/>
                </a:lnTo>
                <a:lnTo>
                  <a:pt x="1999" y="1605"/>
                </a:lnTo>
                <a:lnTo>
                  <a:pt x="1999" y="1603"/>
                </a:lnTo>
                <a:lnTo>
                  <a:pt x="2001" y="1601"/>
                </a:lnTo>
                <a:lnTo>
                  <a:pt x="2002" y="1599"/>
                </a:lnTo>
                <a:lnTo>
                  <a:pt x="2004" y="1597"/>
                </a:lnTo>
                <a:lnTo>
                  <a:pt x="2006" y="1596"/>
                </a:lnTo>
                <a:lnTo>
                  <a:pt x="2009" y="1595"/>
                </a:lnTo>
                <a:close/>
                <a:moveTo>
                  <a:pt x="2588" y="1481"/>
                </a:moveTo>
                <a:lnTo>
                  <a:pt x="2591" y="1481"/>
                </a:lnTo>
                <a:lnTo>
                  <a:pt x="2594" y="1481"/>
                </a:lnTo>
                <a:lnTo>
                  <a:pt x="2596" y="1482"/>
                </a:lnTo>
                <a:lnTo>
                  <a:pt x="2598" y="1483"/>
                </a:lnTo>
                <a:lnTo>
                  <a:pt x="2600" y="1485"/>
                </a:lnTo>
                <a:lnTo>
                  <a:pt x="2601" y="1487"/>
                </a:lnTo>
                <a:lnTo>
                  <a:pt x="2603" y="1489"/>
                </a:lnTo>
                <a:lnTo>
                  <a:pt x="2603" y="1491"/>
                </a:lnTo>
                <a:lnTo>
                  <a:pt x="2603" y="1494"/>
                </a:lnTo>
                <a:lnTo>
                  <a:pt x="2603" y="1496"/>
                </a:lnTo>
                <a:lnTo>
                  <a:pt x="2602" y="1498"/>
                </a:lnTo>
                <a:lnTo>
                  <a:pt x="2601" y="1500"/>
                </a:lnTo>
                <a:lnTo>
                  <a:pt x="2600" y="1502"/>
                </a:lnTo>
                <a:lnTo>
                  <a:pt x="2599" y="1503"/>
                </a:lnTo>
                <a:lnTo>
                  <a:pt x="2597" y="1504"/>
                </a:lnTo>
                <a:lnTo>
                  <a:pt x="2595" y="1505"/>
                </a:lnTo>
                <a:lnTo>
                  <a:pt x="2593" y="1506"/>
                </a:lnTo>
                <a:lnTo>
                  <a:pt x="2590" y="1506"/>
                </a:lnTo>
                <a:lnTo>
                  <a:pt x="2587" y="1505"/>
                </a:lnTo>
                <a:lnTo>
                  <a:pt x="2585" y="1505"/>
                </a:lnTo>
                <a:lnTo>
                  <a:pt x="2583" y="1503"/>
                </a:lnTo>
                <a:lnTo>
                  <a:pt x="2581" y="1502"/>
                </a:lnTo>
                <a:lnTo>
                  <a:pt x="2580" y="1500"/>
                </a:lnTo>
                <a:lnTo>
                  <a:pt x="2579" y="1497"/>
                </a:lnTo>
                <a:lnTo>
                  <a:pt x="2578" y="1495"/>
                </a:lnTo>
                <a:lnTo>
                  <a:pt x="2578" y="1492"/>
                </a:lnTo>
                <a:lnTo>
                  <a:pt x="2578" y="1490"/>
                </a:lnTo>
                <a:lnTo>
                  <a:pt x="2579" y="1488"/>
                </a:lnTo>
                <a:lnTo>
                  <a:pt x="2580" y="1486"/>
                </a:lnTo>
                <a:lnTo>
                  <a:pt x="2581" y="1485"/>
                </a:lnTo>
                <a:lnTo>
                  <a:pt x="2583" y="1483"/>
                </a:lnTo>
                <a:lnTo>
                  <a:pt x="2585" y="1482"/>
                </a:lnTo>
                <a:lnTo>
                  <a:pt x="2586" y="1481"/>
                </a:lnTo>
                <a:lnTo>
                  <a:pt x="2588" y="1481"/>
                </a:lnTo>
                <a:close/>
                <a:moveTo>
                  <a:pt x="2070" y="1569"/>
                </a:moveTo>
                <a:lnTo>
                  <a:pt x="2074" y="1569"/>
                </a:lnTo>
                <a:lnTo>
                  <a:pt x="2076" y="1570"/>
                </a:lnTo>
                <a:lnTo>
                  <a:pt x="2078" y="1571"/>
                </a:lnTo>
                <a:lnTo>
                  <a:pt x="2080" y="1572"/>
                </a:lnTo>
                <a:lnTo>
                  <a:pt x="2082" y="1573"/>
                </a:lnTo>
                <a:lnTo>
                  <a:pt x="2083" y="1575"/>
                </a:lnTo>
                <a:lnTo>
                  <a:pt x="2084" y="1577"/>
                </a:lnTo>
                <a:lnTo>
                  <a:pt x="2085" y="1579"/>
                </a:lnTo>
                <a:lnTo>
                  <a:pt x="2085" y="1582"/>
                </a:lnTo>
                <a:lnTo>
                  <a:pt x="2084" y="1584"/>
                </a:lnTo>
                <a:lnTo>
                  <a:pt x="2084" y="1587"/>
                </a:lnTo>
                <a:lnTo>
                  <a:pt x="2083" y="1589"/>
                </a:lnTo>
                <a:lnTo>
                  <a:pt x="2081" y="1591"/>
                </a:lnTo>
                <a:lnTo>
                  <a:pt x="2079" y="1592"/>
                </a:lnTo>
                <a:lnTo>
                  <a:pt x="2077" y="1593"/>
                </a:lnTo>
                <a:lnTo>
                  <a:pt x="2074" y="1594"/>
                </a:lnTo>
                <a:lnTo>
                  <a:pt x="2070" y="1594"/>
                </a:lnTo>
                <a:lnTo>
                  <a:pt x="2068" y="1593"/>
                </a:lnTo>
                <a:lnTo>
                  <a:pt x="2066" y="1593"/>
                </a:lnTo>
                <a:lnTo>
                  <a:pt x="2064" y="1591"/>
                </a:lnTo>
                <a:lnTo>
                  <a:pt x="2063" y="1590"/>
                </a:lnTo>
                <a:lnTo>
                  <a:pt x="2061" y="1588"/>
                </a:lnTo>
                <a:lnTo>
                  <a:pt x="2060" y="1586"/>
                </a:lnTo>
                <a:lnTo>
                  <a:pt x="2060" y="1584"/>
                </a:lnTo>
                <a:lnTo>
                  <a:pt x="2060" y="1581"/>
                </a:lnTo>
                <a:lnTo>
                  <a:pt x="2060" y="1579"/>
                </a:lnTo>
                <a:lnTo>
                  <a:pt x="2061" y="1577"/>
                </a:lnTo>
                <a:lnTo>
                  <a:pt x="2062" y="1574"/>
                </a:lnTo>
                <a:lnTo>
                  <a:pt x="2063" y="1573"/>
                </a:lnTo>
                <a:lnTo>
                  <a:pt x="2065" y="1571"/>
                </a:lnTo>
                <a:lnTo>
                  <a:pt x="2068" y="1570"/>
                </a:lnTo>
                <a:lnTo>
                  <a:pt x="2070" y="1569"/>
                </a:lnTo>
                <a:close/>
                <a:moveTo>
                  <a:pt x="2522" y="1479"/>
                </a:moveTo>
                <a:lnTo>
                  <a:pt x="2525" y="1479"/>
                </a:lnTo>
                <a:lnTo>
                  <a:pt x="2527" y="1479"/>
                </a:lnTo>
                <a:lnTo>
                  <a:pt x="2529" y="1480"/>
                </a:lnTo>
                <a:lnTo>
                  <a:pt x="2532" y="1481"/>
                </a:lnTo>
                <a:lnTo>
                  <a:pt x="2533" y="1482"/>
                </a:lnTo>
                <a:lnTo>
                  <a:pt x="2535" y="1484"/>
                </a:lnTo>
                <a:lnTo>
                  <a:pt x="2536" y="1486"/>
                </a:lnTo>
                <a:lnTo>
                  <a:pt x="2537" y="1489"/>
                </a:lnTo>
                <a:lnTo>
                  <a:pt x="2537" y="1491"/>
                </a:lnTo>
                <a:lnTo>
                  <a:pt x="2536" y="1496"/>
                </a:lnTo>
                <a:lnTo>
                  <a:pt x="2535" y="1498"/>
                </a:lnTo>
                <a:lnTo>
                  <a:pt x="2534" y="1499"/>
                </a:lnTo>
                <a:lnTo>
                  <a:pt x="2531" y="1502"/>
                </a:lnTo>
                <a:lnTo>
                  <a:pt x="2527" y="1504"/>
                </a:lnTo>
                <a:lnTo>
                  <a:pt x="2525" y="1504"/>
                </a:lnTo>
                <a:lnTo>
                  <a:pt x="2522" y="1504"/>
                </a:lnTo>
                <a:lnTo>
                  <a:pt x="2520" y="1503"/>
                </a:lnTo>
                <a:lnTo>
                  <a:pt x="2518" y="1502"/>
                </a:lnTo>
                <a:lnTo>
                  <a:pt x="2516" y="1500"/>
                </a:lnTo>
                <a:lnTo>
                  <a:pt x="2514" y="1498"/>
                </a:lnTo>
                <a:lnTo>
                  <a:pt x="2513" y="1496"/>
                </a:lnTo>
                <a:lnTo>
                  <a:pt x="2512" y="1494"/>
                </a:lnTo>
                <a:lnTo>
                  <a:pt x="2512" y="1491"/>
                </a:lnTo>
                <a:lnTo>
                  <a:pt x="2513" y="1487"/>
                </a:lnTo>
                <a:lnTo>
                  <a:pt x="2514" y="1485"/>
                </a:lnTo>
                <a:lnTo>
                  <a:pt x="2515" y="1483"/>
                </a:lnTo>
                <a:lnTo>
                  <a:pt x="2518" y="1480"/>
                </a:lnTo>
                <a:lnTo>
                  <a:pt x="2522" y="1479"/>
                </a:lnTo>
                <a:close/>
                <a:moveTo>
                  <a:pt x="2132" y="1546"/>
                </a:moveTo>
                <a:lnTo>
                  <a:pt x="2136" y="1546"/>
                </a:lnTo>
                <a:lnTo>
                  <a:pt x="2139" y="1547"/>
                </a:lnTo>
                <a:lnTo>
                  <a:pt x="2141" y="1548"/>
                </a:lnTo>
                <a:lnTo>
                  <a:pt x="2144" y="1551"/>
                </a:lnTo>
                <a:lnTo>
                  <a:pt x="2145" y="1552"/>
                </a:lnTo>
                <a:lnTo>
                  <a:pt x="2146" y="1555"/>
                </a:lnTo>
                <a:lnTo>
                  <a:pt x="2147" y="1560"/>
                </a:lnTo>
                <a:lnTo>
                  <a:pt x="2146" y="1562"/>
                </a:lnTo>
                <a:lnTo>
                  <a:pt x="2145" y="1564"/>
                </a:lnTo>
                <a:lnTo>
                  <a:pt x="2144" y="1566"/>
                </a:lnTo>
                <a:lnTo>
                  <a:pt x="2143" y="1568"/>
                </a:lnTo>
                <a:lnTo>
                  <a:pt x="2141" y="1569"/>
                </a:lnTo>
                <a:lnTo>
                  <a:pt x="2138" y="1571"/>
                </a:lnTo>
                <a:lnTo>
                  <a:pt x="2136" y="1571"/>
                </a:lnTo>
                <a:lnTo>
                  <a:pt x="2132" y="1571"/>
                </a:lnTo>
                <a:lnTo>
                  <a:pt x="2130" y="1570"/>
                </a:lnTo>
                <a:lnTo>
                  <a:pt x="2128" y="1570"/>
                </a:lnTo>
                <a:lnTo>
                  <a:pt x="2124" y="1567"/>
                </a:lnTo>
                <a:lnTo>
                  <a:pt x="2123" y="1565"/>
                </a:lnTo>
                <a:lnTo>
                  <a:pt x="2122" y="1563"/>
                </a:lnTo>
                <a:lnTo>
                  <a:pt x="2122" y="1558"/>
                </a:lnTo>
                <a:lnTo>
                  <a:pt x="2122" y="1555"/>
                </a:lnTo>
                <a:lnTo>
                  <a:pt x="2123" y="1553"/>
                </a:lnTo>
                <a:lnTo>
                  <a:pt x="2124" y="1551"/>
                </a:lnTo>
                <a:lnTo>
                  <a:pt x="2126" y="1549"/>
                </a:lnTo>
                <a:lnTo>
                  <a:pt x="2128" y="1548"/>
                </a:lnTo>
                <a:lnTo>
                  <a:pt x="2130" y="1547"/>
                </a:lnTo>
                <a:lnTo>
                  <a:pt x="2132" y="1546"/>
                </a:lnTo>
                <a:close/>
                <a:moveTo>
                  <a:pt x="2456" y="1481"/>
                </a:moveTo>
                <a:lnTo>
                  <a:pt x="2458" y="1481"/>
                </a:lnTo>
                <a:lnTo>
                  <a:pt x="2463" y="1482"/>
                </a:lnTo>
                <a:lnTo>
                  <a:pt x="2465" y="1483"/>
                </a:lnTo>
                <a:lnTo>
                  <a:pt x="2467" y="1484"/>
                </a:lnTo>
                <a:lnTo>
                  <a:pt x="2468" y="1486"/>
                </a:lnTo>
                <a:lnTo>
                  <a:pt x="2470" y="1488"/>
                </a:lnTo>
                <a:lnTo>
                  <a:pt x="2471" y="1490"/>
                </a:lnTo>
                <a:lnTo>
                  <a:pt x="2471" y="1493"/>
                </a:lnTo>
                <a:lnTo>
                  <a:pt x="2471" y="1495"/>
                </a:lnTo>
                <a:lnTo>
                  <a:pt x="2470" y="1497"/>
                </a:lnTo>
                <a:lnTo>
                  <a:pt x="2470" y="1499"/>
                </a:lnTo>
                <a:lnTo>
                  <a:pt x="2468" y="1501"/>
                </a:lnTo>
                <a:lnTo>
                  <a:pt x="2467" y="1503"/>
                </a:lnTo>
                <a:lnTo>
                  <a:pt x="2465" y="1504"/>
                </a:lnTo>
                <a:lnTo>
                  <a:pt x="2463" y="1505"/>
                </a:lnTo>
                <a:lnTo>
                  <a:pt x="2461" y="1506"/>
                </a:lnTo>
                <a:lnTo>
                  <a:pt x="2459" y="1506"/>
                </a:lnTo>
                <a:lnTo>
                  <a:pt x="2454" y="1505"/>
                </a:lnTo>
                <a:lnTo>
                  <a:pt x="2452" y="1504"/>
                </a:lnTo>
                <a:lnTo>
                  <a:pt x="2450" y="1503"/>
                </a:lnTo>
                <a:lnTo>
                  <a:pt x="2448" y="1501"/>
                </a:lnTo>
                <a:lnTo>
                  <a:pt x="2447" y="1499"/>
                </a:lnTo>
                <a:lnTo>
                  <a:pt x="2446" y="1497"/>
                </a:lnTo>
                <a:lnTo>
                  <a:pt x="2446" y="1494"/>
                </a:lnTo>
                <a:lnTo>
                  <a:pt x="2446" y="1492"/>
                </a:lnTo>
                <a:lnTo>
                  <a:pt x="2446" y="1490"/>
                </a:lnTo>
                <a:lnTo>
                  <a:pt x="2447" y="1487"/>
                </a:lnTo>
                <a:lnTo>
                  <a:pt x="2449" y="1486"/>
                </a:lnTo>
                <a:lnTo>
                  <a:pt x="2450" y="1484"/>
                </a:lnTo>
                <a:lnTo>
                  <a:pt x="2452" y="1483"/>
                </a:lnTo>
                <a:lnTo>
                  <a:pt x="2454" y="1482"/>
                </a:lnTo>
                <a:lnTo>
                  <a:pt x="2456" y="1481"/>
                </a:lnTo>
                <a:close/>
                <a:moveTo>
                  <a:pt x="2195" y="1526"/>
                </a:moveTo>
                <a:lnTo>
                  <a:pt x="2200" y="1526"/>
                </a:lnTo>
                <a:lnTo>
                  <a:pt x="2202" y="1527"/>
                </a:lnTo>
                <a:lnTo>
                  <a:pt x="2204" y="1528"/>
                </a:lnTo>
                <a:lnTo>
                  <a:pt x="2206" y="1529"/>
                </a:lnTo>
                <a:lnTo>
                  <a:pt x="2207" y="1531"/>
                </a:lnTo>
                <a:lnTo>
                  <a:pt x="2208" y="1533"/>
                </a:lnTo>
                <a:lnTo>
                  <a:pt x="2210" y="1535"/>
                </a:lnTo>
                <a:lnTo>
                  <a:pt x="2211" y="1538"/>
                </a:lnTo>
                <a:lnTo>
                  <a:pt x="2211" y="1540"/>
                </a:lnTo>
                <a:lnTo>
                  <a:pt x="2210" y="1543"/>
                </a:lnTo>
                <a:lnTo>
                  <a:pt x="2208" y="1545"/>
                </a:lnTo>
                <a:lnTo>
                  <a:pt x="2207" y="1547"/>
                </a:lnTo>
                <a:lnTo>
                  <a:pt x="2205" y="1549"/>
                </a:lnTo>
                <a:lnTo>
                  <a:pt x="2203" y="1550"/>
                </a:lnTo>
                <a:lnTo>
                  <a:pt x="2201" y="1551"/>
                </a:lnTo>
                <a:lnTo>
                  <a:pt x="2198" y="1551"/>
                </a:lnTo>
                <a:lnTo>
                  <a:pt x="2195" y="1551"/>
                </a:lnTo>
                <a:lnTo>
                  <a:pt x="2193" y="1550"/>
                </a:lnTo>
                <a:lnTo>
                  <a:pt x="2191" y="1549"/>
                </a:lnTo>
                <a:lnTo>
                  <a:pt x="2189" y="1548"/>
                </a:lnTo>
                <a:lnTo>
                  <a:pt x="2187" y="1546"/>
                </a:lnTo>
                <a:lnTo>
                  <a:pt x="2186" y="1544"/>
                </a:lnTo>
                <a:lnTo>
                  <a:pt x="2185" y="1542"/>
                </a:lnTo>
                <a:lnTo>
                  <a:pt x="2185" y="1540"/>
                </a:lnTo>
                <a:lnTo>
                  <a:pt x="2185" y="1537"/>
                </a:lnTo>
                <a:lnTo>
                  <a:pt x="2185" y="1535"/>
                </a:lnTo>
                <a:lnTo>
                  <a:pt x="2186" y="1533"/>
                </a:lnTo>
                <a:lnTo>
                  <a:pt x="2188" y="1531"/>
                </a:lnTo>
                <a:lnTo>
                  <a:pt x="2189" y="1529"/>
                </a:lnTo>
                <a:lnTo>
                  <a:pt x="2191" y="1528"/>
                </a:lnTo>
                <a:lnTo>
                  <a:pt x="2194" y="1527"/>
                </a:lnTo>
                <a:lnTo>
                  <a:pt x="2195" y="1526"/>
                </a:lnTo>
                <a:close/>
                <a:moveTo>
                  <a:pt x="2390" y="1487"/>
                </a:moveTo>
                <a:lnTo>
                  <a:pt x="2393" y="1487"/>
                </a:lnTo>
                <a:lnTo>
                  <a:pt x="2396" y="1487"/>
                </a:lnTo>
                <a:lnTo>
                  <a:pt x="2398" y="1488"/>
                </a:lnTo>
                <a:lnTo>
                  <a:pt x="2400" y="1489"/>
                </a:lnTo>
                <a:lnTo>
                  <a:pt x="2402" y="1491"/>
                </a:lnTo>
                <a:lnTo>
                  <a:pt x="2403" y="1493"/>
                </a:lnTo>
                <a:lnTo>
                  <a:pt x="2404" y="1495"/>
                </a:lnTo>
                <a:lnTo>
                  <a:pt x="2405" y="1498"/>
                </a:lnTo>
                <a:lnTo>
                  <a:pt x="2405" y="1500"/>
                </a:lnTo>
                <a:lnTo>
                  <a:pt x="2405" y="1503"/>
                </a:lnTo>
                <a:lnTo>
                  <a:pt x="2404" y="1505"/>
                </a:lnTo>
                <a:lnTo>
                  <a:pt x="2403" y="1507"/>
                </a:lnTo>
                <a:lnTo>
                  <a:pt x="2401" y="1509"/>
                </a:lnTo>
                <a:lnTo>
                  <a:pt x="2399" y="1510"/>
                </a:lnTo>
                <a:lnTo>
                  <a:pt x="2397" y="1511"/>
                </a:lnTo>
                <a:lnTo>
                  <a:pt x="2395" y="1512"/>
                </a:lnTo>
                <a:lnTo>
                  <a:pt x="2392" y="1512"/>
                </a:lnTo>
                <a:lnTo>
                  <a:pt x="2389" y="1511"/>
                </a:lnTo>
                <a:lnTo>
                  <a:pt x="2387" y="1510"/>
                </a:lnTo>
                <a:lnTo>
                  <a:pt x="2385" y="1509"/>
                </a:lnTo>
                <a:lnTo>
                  <a:pt x="2383" y="1508"/>
                </a:lnTo>
                <a:lnTo>
                  <a:pt x="2382" y="1506"/>
                </a:lnTo>
                <a:lnTo>
                  <a:pt x="2381" y="1503"/>
                </a:lnTo>
                <a:lnTo>
                  <a:pt x="2380" y="1501"/>
                </a:lnTo>
                <a:lnTo>
                  <a:pt x="2380" y="1498"/>
                </a:lnTo>
                <a:lnTo>
                  <a:pt x="2380" y="1496"/>
                </a:lnTo>
                <a:lnTo>
                  <a:pt x="2381" y="1494"/>
                </a:lnTo>
                <a:lnTo>
                  <a:pt x="2382" y="1492"/>
                </a:lnTo>
                <a:lnTo>
                  <a:pt x="2384" y="1490"/>
                </a:lnTo>
                <a:lnTo>
                  <a:pt x="2386" y="1489"/>
                </a:lnTo>
                <a:lnTo>
                  <a:pt x="2388" y="1488"/>
                </a:lnTo>
                <a:lnTo>
                  <a:pt x="2390" y="1487"/>
                </a:lnTo>
                <a:close/>
                <a:moveTo>
                  <a:pt x="2260" y="1510"/>
                </a:moveTo>
                <a:lnTo>
                  <a:pt x="2265" y="1510"/>
                </a:lnTo>
                <a:lnTo>
                  <a:pt x="2267" y="1511"/>
                </a:lnTo>
                <a:lnTo>
                  <a:pt x="2269" y="1512"/>
                </a:lnTo>
                <a:lnTo>
                  <a:pt x="2271" y="1513"/>
                </a:lnTo>
                <a:lnTo>
                  <a:pt x="2273" y="1515"/>
                </a:lnTo>
                <a:lnTo>
                  <a:pt x="2274" y="1517"/>
                </a:lnTo>
                <a:lnTo>
                  <a:pt x="2275" y="1519"/>
                </a:lnTo>
                <a:lnTo>
                  <a:pt x="2275" y="1522"/>
                </a:lnTo>
                <a:lnTo>
                  <a:pt x="2275" y="1524"/>
                </a:lnTo>
                <a:lnTo>
                  <a:pt x="2274" y="1527"/>
                </a:lnTo>
                <a:lnTo>
                  <a:pt x="2273" y="1529"/>
                </a:lnTo>
                <a:lnTo>
                  <a:pt x="2271" y="1531"/>
                </a:lnTo>
                <a:lnTo>
                  <a:pt x="2270" y="1532"/>
                </a:lnTo>
                <a:lnTo>
                  <a:pt x="2268" y="1534"/>
                </a:lnTo>
                <a:lnTo>
                  <a:pt x="2265" y="1534"/>
                </a:lnTo>
                <a:lnTo>
                  <a:pt x="2260" y="1534"/>
                </a:lnTo>
                <a:lnTo>
                  <a:pt x="2258" y="1534"/>
                </a:lnTo>
                <a:lnTo>
                  <a:pt x="2255" y="1533"/>
                </a:lnTo>
                <a:lnTo>
                  <a:pt x="2254" y="1531"/>
                </a:lnTo>
                <a:lnTo>
                  <a:pt x="2252" y="1529"/>
                </a:lnTo>
                <a:lnTo>
                  <a:pt x="2251" y="1527"/>
                </a:lnTo>
                <a:lnTo>
                  <a:pt x="2250" y="1525"/>
                </a:lnTo>
                <a:lnTo>
                  <a:pt x="2250" y="1522"/>
                </a:lnTo>
                <a:lnTo>
                  <a:pt x="2250" y="1520"/>
                </a:lnTo>
                <a:lnTo>
                  <a:pt x="2250" y="1518"/>
                </a:lnTo>
                <a:lnTo>
                  <a:pt x="2252" y="1515"/>
                </a:lnTo>
                <a:lnTo>
                  <a:pt x="2253" y="1514"/>
                </a:lnTo>
                <a:lnTo>
                  <a:pt x="2255" y="1512"/>
                </a:lnTo>
                <a:lnTo>
                  <a:pt x="2257" y="1511"/>
                </a:lnTo>
                <a:lnTo>
                  <a:pt x="2259" y="1510"/>
                </a:lnTo>
                <a:lnTo>
                  <a:pt x="2260" y="1510"/>
                </a:lnTo>
                <a:close/>
                <a:moveTo>
                  <a:pt x="2325" y="1497"/>
                </a:moveTo>
                <a:lnTo>
                  <a:pt x="2327" y="1496"/>
                </a:lnTo>
                <a:lnTo>
                  <a:pt x="2330" y="1497"/>
                </a:lnTo>
                <a:lnTo>
                  <a:pt x="2332" y="1497"/>
                </a:lnTo>
                <a:lnTo>
                  <a:pt x="2334" y="1499"/>
                </a:lnTo>
                <a:lnTo>
                  <a:pt x="2336" y="1500"/>
                </a:lnTo>
                <a:lnTo>
                  <a:pt x="2338" y="1502"/>
                </a:lnTo>
                <a:lnTo>
                  <a:pt x="2339" y="1504"/>
                </a:lnTo>
                <a:lnTo>
                  <a:pt x="2339" y="1507"/>
                </a:lnTo>
                <a:lnTo>
                  <a:pt x="2339" y="1512"/>
                </a:lnTo>
                <a:lnTo>
                  <a:pt x="2339" y="1514"/>
                </a:lnTo>
                <a:lnTo>
                  <a:pt x="2337" y="1516"/>
                </a:lnTo>
                <a:lnTo>
                  <a:pt x="2336" y="1518"/>
                </a:lnTo>
                <a:lnTo>
                  <a:pt x="2334" y="1520"/>
                </a:lnTo>
                <a:lnTo>
                  <a:pt x="2332" y="1521"/>
                </a:lnTo>
                <a:lnTo>
                  <a:pt x="2329" y="1521"/>
                </a:lnTo>
                <a:lnTo>
                  <a:pt x="2327" y="1522"/>
                </a:lnTo>
                <a:lnTo>
                  <a:pt x="2324" y="1521"/>
                </a:lnTo>
                <a:lnTo>
                  <a:pt x="2322" y="1520"/>
                </a:lnTo>
                <a:lnTo>
                  <a:pt x="2320" y="1519"/>
                </a:lnTo>
                <a:lnTo>
                  <a:pt x="2318" y="1518"/>
                </a:lnTo>
                <a:lnTo>
                  <a:pt x="2316" y="1516"/>
                </a:lnTo>
                <a:lnTo>
                  <a:pt x="2315" y="1514"/>
                </a:lnTo>
                <a:lnTo>
                  <a:pt x="2315" y="1511"/>
                </a:lnTo>
                <a:lnTo>
                  <a:pt x="2314" y="1509"/>
                </a:lnTo>
                <a:lnTo>
                  <a:pt x="2315" y="1506"/>
                </a:lnTo>
                <a:lnTo>
                  <a:pt x="2316" y="1504"/>
                </a:lnTo>
                <a:lnTo>
                  <a:pt x="2317" y="1502"/>
                </a:lnTo>
                <a:lnTo>
                  <a:pt x="2318" y="1500"/>
                </a:lnTo>
                <a:lnTo>
                  <a:pt x="2320" y="1498"/>
                </a:lnTo>
                <a:lnTo>
                  <a:pt x="2322" y="1497"/>
                </a:lnTo>
                <a:lnTo>
                  <a:pt x="2325" y="1497"/>
                </a:lnTo>
                <a:close/>
                <a:moveTo>
                  <a:pt x="939" y="2269"/>
                </a:moveTo>
                <a:lnTo>
                  <a:pt x="942" y="2269"/>
                </a:lnTo>
                <a:lnTo>
                  <a:pt x="945" y="2269"/>
                </a:lnTo>
                <a:lnTo>
                  <a:pt x="938" y="2269"/>
                </a:lnTo>
                <a:lnTo>
                  <a:pt x="939" y="2269"/>
                </a:lnTo>
                <a:close/>
                <a:moveTo>
                  <a:pt x="973" y="2212"/>
                </a:moveTo>
                <a:lnTo>
                  <a:pt x="978" y="2212"/>
                </a:lnTo>
                <a:lnTo>
                  <a:pt x="980" y="2213"/>
                </a:lnTo>
                <a:lnTo>
                  <a:pt x="982" y="2214"/>
                </a:lnTo>
                <a:lnTo>
                  <a:pt x="984" y="2215"/>
                </a:lnTo>
                <a:lnTo>
                  <a:pt x="986" y="2217"/>
                </a:lnTo>
                <a:lnTo>
                  <a:pt x="987" y="2219"/>
                </a:lnTo>
                <a:lnTo>
                  <a:pt x="988" y="2222"/>
                </a:lnTo>
                <a:lnTo>
                  <a:pt x="988" y="2224"/>
                </a:lnTo>
                <a:lnTo>
                  <a:pt x="988" y="2226"/>
                </a:lnTo>
                <a:lnTo>
                  <a:pt x="987" y="2229"/>
                </a:lnTo>
                <a:lnTo>
                  <a:pt x="986" y="2231"/>
                </a:lnTo>
                <a:lnTo>
                  <a:pt x="985" y="2233"/>
                </a:lnTo>
                <a:lnTo>
                  <a:pt x="982" y="2235"/>
                </a:lnTo>
                <a:lnTo>
                  <a:pt x="980" y="2236"/>
                </a:lnTo>
                <a:lnTo>
                  <a:pt x="978" y="2237"/>
                </a:lnTo>
                <a:lnTo>
                  <a:pt x="973" y="2237"/>
                </a:lnTo>
                <a:lnTo>
                  <a:pt x="971" y="2236"/>
                </a:lnTo>
                <a:lnTo>
                  <a:pt x="969" y="2235"/>
                </a:lnTo>
                <a:lnTo>
                  <a:pt x="967" y="2234"/>
                </a:lnTo>
                <a:lnTo>
                  <a:pt x="965" y="2232"/>
                </a:lnTo>
                <a:lnTo>
                  <a:pt x="964" y="2230"/>
                </a:lnTo>
                <a:lnTo>
                  <a:pt x="963" y="2228"/>
                </a:lnTo>
                <a:lnTo>
                  <a:pt x="963" y="2225"/>
                </a:lnTo>
                <a:lnTo>
                  <a:pt x="963" y="2223"/>
                </a:lnTo>
                <a:lnTo>
                  <a:pt x="963" y="2220"/>
                </a:lnTo>
                <a:lnTo>
                  <a:pt x="965" y="2218"/>
                </a:lnTo>
                <a:lnTo>
                  <a:pt x="966" y="2216"/>
                </a:lnTo>
                <a:lnTo>
                  <a:pt x="968" y="2214"/>
                </a:lnTo>
                <a:lnTo>
                  <a:pt x="971" y="2213"/>
                </a:lnTo>
                <a:lnTo>
                  <a:pt x="973" y="2212"/>
                </a:lnTo>
                <a:close/>
                <a:moveTo>
                  <a:pt x="1008" y="2156"/>
                </a:moveTo>
                <a:lnTo>
                  <a:pt x="1013" y="2156"/>
                </a:lnTo>
                <a:lnTo>
                  <a:pt x="1015" y="2157"/>
                </a:lnTo>
                <a:lnTo>
                  <a:pt x="1017" y="2158"/>
                </a:lnTo>
                <a:lnTo>
                  <a:pt x="1019" y="2159"/>
                </a:lnTo>
                <a:lnTo>
                  <a:pt x="1021" y="2161"/>
                </a:lnTo>
                <a:lnTo>
                  <a:pt x="1022" y="2163"/>
                </a:lnTo>
                <a:lnTo>
                  <a:pt x="1023" y="2166"/>
                </a:lnTo>
                <a:lnTo>
                  <a:pt x="1023" y="2168"/>
                </a:lnTo>
                <a:lnTo>
                  <a:pt x="1023" y="2171"/>
                </a:lnTo>
                <a:lnTo>
                  <a:pt x="1022" y="2173"/>
                </a:lnTo>
                <a:lnTo>
                  <a:pt x="1021" y="2175"/>
                </a:lnTo>
                <a:lnTo>
                  <a:pt x="1019" y="2177"/>
                </a:lnTo>
                <a:lnTo>
                  <a:pt x="1017" y="2179"/>
                </a:lnTo>
                <a:lnTo>
                  <a:pt x="1015" y="2180"/>
                </a:lnTo>
                <a:lnTo>
                  <a:pt x="1013" y="2181"/>
                </a:lnTo>
                <a:lnTo>
                  <a:pt x="1008" y="2181"/>
                </a:lnTo>
                <a:lnTo>
                  <a:pt x="1006" y="2180"/>
                </a:lnTo>
                <a:lnTo>
                  <a:pt x="1004" y="2179"/>
                </a:lnTo>
                <a:lnTo>
                  <a:pt x="1002" y="2178"/>
                </a:lnTo>
                <a:lnTo>
                  <a:pt x="1000" y="2176"/>
                </a:lnTo>
                <a:lnTo>
                  <a:pt x="999" y="2174"/>
                </a:lnTo>
                <a:lnTo>
                  <a:pt x="998" y="2171"/>
                </a:lnTo>
                <a:lnTo>
                  <a:pt x="998" y="2169"/>
                </a:lnTo>
                <a:lnTo>
                  <a:pt x="998" y="2166"/>
                </a:lnTo>
                <a:lnTo>
                  <a:pt x="999" y="2164"/>
                </a:lnTo>
                <a:lnTo>
                  <a:pt x="1000" y="2162"/>
                </a:lnTo>
                <a:lnTo>
                  <a:pt x="1001" y="2160"/>
                </a:lnTo>
                <a:lnTo>
                  <a:pt x="1003" y="2158"/>
                </a:lnTo>
                <a:lnTo>
                  <a:pt x="1006" y="2157"/>
                </a:lnTo>
                <a:lnTo>
                  <a:pt x="1008" y="2156"/>
                </a:lnTo>
                <a:close/>
                <a:moveTo>
                  <a:pt x="1045" y="2101"/>
                </a:moveTo>
                <a:lnTo>
                  <a:pt x="1049" y="2101"/>
                </a:lnTo>
                <a:lnTo>
                  <a:pt x="1052" y="2101"/>
                </a:lnTo>
                <a:lnTo>
                  <a:pt x="1054" y="2103"/>
                </a:lnTo>
                <a:lnTo>
                  <a:pt x="1056" y="2104"/>
                </a:lnTo>
                <a:lnTo>
                  <a:pt x="1057" y="2106"/>
                </a:lnTo>
                <a:lnTo>
                  <a:pt x="1059" y="2108"/>
                </a:lnTo>
                <a:lnTo>
                  <a:pt x="1059" y="2111"/>
                </a:lnTo>
                <a:lnTo>
                  <a:pt x="1059" y="2116"/>
                </a:lnTo>
                <a:lnTo>
                  <a:pt x="1058" y="2118"/>
                </a:lnTo>
                <a:lnTo>
                  <a:pt x="1057" y="2120"/>
                </a:lnTo>
                <a:lnTo>
                  <a:pt x="1056" y="2122"/>
                </a:lnTo>
                <a:lnTo>
                  <a:pt x="1054" y="2124"/>
                </a:lnTo>
                <a:lnTo>
                  <a:pt x="1051" y="2125"/>
                </a:lnTo>
                <a:lnTo>
                  <a:pt x="1049" y="2126"/>
                </a:lnTo>
                <a:lnTo>
                  <a:pt x="1044" y="2126"/>
                </a:lnTo>
                <a:lnTo>
                  <a:pt x="1042" y="2125"/>
                </a:lnTo>
                <a:lnTo>
                  <a:pt x="1040" y="2124"/>
                </a:lnTo>
                <a:lnTo>
                  <a:pt x="1038" y="2122"/>
                </a:lnTo>
                <a:lnTo>
                  <a:pt x="1036" y="2120"/>
                </a:lnTo>
                <a:lnTo>
                  <a:pt x="1035" y="2118"/>
                </a:lnTo>
                <a:lnTo>
                  <a:pt x="1034" y="2116"/>
                </a:lnTo>
                <a:lnTo>
                  <a:pt x="1034" y="2111"/>
                </a:lnTo>
                <a:lnTo>
                  <a:pt x="1035" y="2108"/>
                </a:lnTo>
                <a:lnTo>
                  <a:pt x="1036" y="2106"/>
                </a:lnTo>
                <a:lnTo>
                  <a:pt x="1038" y="2104"/>
                </a:lnTo>
                <a:lnTo>
                  <a:pt x="1040" y="2102"/>
                </a:lnTo>
                <a:lnTo>
                  <a:pt x="1042" y="2101"/>
                </a:lnTo>
                <a:lnTo>
                  <a:pt x="1045" y="2101"/>
                </a:lnTo>
                <a:close/>
                <a:moveTo>
                  <a:pt x="1082" y="2046"/>
                </a:moveTo>
                <a:lnTo>
                  <a:pt x="1087" y="2046"/>
                </a:lnTo>
                <a:lnTo>
                  <a:pt x="1089" y="2047"/>
                </a:lnTo>
                <a:lnTo>
                  <a:pt x="1092" y="2048"/>
                </a:lnTo>
                <a:lnTo>
                  <a:pt x="1094" y="2050"/>
                </a:lnTo>
                <a:lnTo>
                  <a:pt x="1095" y="2052"/>
                </a:lnTo>
                <a:lnTo>
                  <a:pt x="1096" y="2054"/>
                </a:lnTo>
                <a:lnTo>
                  <a:pt x="1097" y="2056"/>
                </a:lnTo>
                <a:lnTo>
                  <a:pt x="1097" y="2061"/>
                </a:lnTo>
                <a:lnTo>
                  <a:pt x="1096" y="2064"/>
                </a:lnTo>
                <a:lnTo>
                  <a:pt x="1095" y="2066"/>
                </a:lnTo>
                <a:lnTo>
                  <a:pt x="1093" y="2068"/>
                </a:lnTo>
                <a:lnTo>
                  <a:pt x="1091" y="2069"/>
                </a:lnTo>
                <a:lnTo>
                  <a:pt x="1089" y="2071"/>
                </a:lnTo>
                <a:lnTo>
                  <a:pt x="1086" y="2071"/>
                </a:lnTo>
                <a:lnTo>
                  <a:pt x="1082" y="2071"/>
                </a:lnTo>
                <a:lnTo>
                  <a:pt x="1079" y="2070"/>
                </a:lnTo>
                <a:lnTo>
                  <a:pt x="1077" y="2069"/>
                </a:lnTo>
                <a:lnTo>
                  <a:pt x="1075" y="2067"/>
                </a:lnTo>
                <a:lnTo>
                  <a:pt x="1073" y="2065"/>
                </a:lnTo>
                <a:lnTo>
                  <a:pt x="1072" y="2063"/>
                </a:lnTo>
                <a:lnTo>
                  <a:pt x="1072" y="2061"/>
                </a:lnTo>
                <a:lnTo>
                  <a:pt x="1072" y="2056"/>
                </a:lnTo>
                <a:lnTo>
                  <a:pt x="1073" y="2054"/>
                </a:lnTo>
                <a:lnTo>
                  <a:pt x="1074" y="2051"/>
                </a:lnTo>
                <a:lnTo>
                  <a:pt x="1076" y="2049"/>
                </a:lnTo>
                <a:lnTo>
                  <a:pt x="1078" y="2048"/>
                </a:lnTo>
                <a:lnTo>
                  <a:pt x="1080" y="2047"/>
                </a:lnTo>
                <a:lnTo>
                  <a:pt x="1082" y="2046"/>
                </a:lnTo>
                <a:close/>
                <a:moveTo>
                  <a:pt x="1121" y="1993"/>
                </a:moveTo>
                <a:lnTo>
                  <a:pt x="1126" y="1993"/>
                </a:lnTo>
                <a:lnTo>
                  <a:pt x="1128" y="1993"/>
                </a:lnTo>
                <a:lnTo>
                  <a:pt x="1131" y="1995"/>
                </a:lnTo>
                <a:lnTo>
                  <a:pt x="1133" y="1997"/>
                </a:lnTo>
                <a:lnTo>
                  <a:pt x="1134" y="1999"/>
                </a:lnTo>
                <a:lnTo>
                  <a:pt x="1135" y="2001"/>
                </a:lnTo>
                <a:lnTo>
                  <a:pt x="1136" y="2003"/>
                </a:lnTo>
                <a:lnTo>
                  <a:pt x="1136" y="2006"/>
                </a:lnTo>
                <a:lnTo>
                  <a:pt x="1135" y="2008"/>
                </a:lnTo>
                <a:lnTo>
                  <a:pt x="1135" y="2010"/>
                </a:lnTo>
                <a:lnTo>
                  <a:pt x="1133" y="2013"/>
                </a:lnTo>
                <a:lnTo>
                  <a:pt x="1132" y="2014"/>
                </a:lnTo>
                <a:lnTo>
                  <a:pt x="1130" y="2016"/>
                </a:lnTo>
                <a:lnTo>
                  <a:pt x="1128" y="2017"/>
                </a:lnTo>
                <a:lnTo>
                  <a:pt x="1125" y="2018"/>
                </a:lnTo>
                <a:lnTo>
                  <a:pt x="1120" y="2017"/>
                </a:lnTo>
                <a:lnTo>
                  <a:pt x="1118" y="2017"/>
                </a:lnTo>
                <a:lnTo>
                  <a:pt x="1115" y="2015"/>
                </a:lnTo>
                <a:lnTo>
                  <a:pt x="1114" y="2014"/>
                </a:lnTo>
                <a:lnTo>
                  <a:pt x="1112" y="2011"/>
                </a:lnTo>
                <a:lnTo>
                  <a:pt x="1111" y="2009"/>
                </a:lnTo>
                <a:lnTo>
                  <a:pt x="1110" y="2007"/>
                </a:lnTo>
                <a:lnTo>
                  <a:pt x="1110" y="2004"/>
                </a:lnTo>
                <a:lnTo>
                  <a:pt x="1111" y="2002"/>
                </a:lnTo>
                <a:lnTo>
                  <a:pt x="1112" y="2000"/>
                </a:lnTo>
                <a:lnTo>
                  <a:pt x="1113" y="1997"/>
                </a:lnTo>
                <a:lnTo>
                  <a:pt x="1115" y="1996"/>
                </a:lnTo>
                <a:lnTo>
                  <a:pt x="1116" y="1994"/>
                </a:lnTo>
                <a:lnTo>
                  <a:pt x="1119" y="1993"/>
                </a:lnTo>
                <a:lnTo>
                  <a:pt x="1121" y="1993"/>
                </a:lnTo>
                <a:close/>
                <a:moveTo>
                  <a:pt x="1161" y="1940"/>
                </a:moveTo>
                <a:lnTo>
                  <a:pt x="1163" y="1940"/>
                </a:lnTo>
                <a:lnTo>
                  <a:pt x="1166" y="1940"/>
                </a:lnTo>
                <a:lnTo>
                  <a:pt x="1169" y="1941"/>
                </a:lnTo>
                <a:lnTo>
                  <a:pt x="1171" y="1942"/>
                </a:lnTo>
                <a:lnTo>
                  <a:pt x="1173" y="1944"/>
                </a:lnTo>
                <a:lnTo>
                  <a:pt x="1174" y="1946"/>
                </a:lnTo>
                <a:lnTo>
                  <a:pt x="1175" y="1948"/>
                </a:lnTo>
                <a:lnTo>
                  <a:pt x="1176" y="1951"/>
                </a:lnTo>
                <a:lnTo>
                  <a:pt x="1176" y="1953"/>
                </a:lnTo>
                <a:lnTo>
                  <a:pt x="1175" y="1956"/>
                </a:lnTo>
                <a:lnTo>
                  <a:pt x="1174" y="1958"/>
                </a:lnTo>
                <a:lnTo>
                  <a:pt x="1173" y="1960"/>
                </a:lnTo>
                <a:lnTo>
                  <a:pt x="1171" y="1962"/>
                </a:lnTo>
                <a:lnTo>
                  <a:pt x="1170" y="1963"/>
                </a:lnTo>
                <a:lnTo>
                  <a:pt x="1168" y="1964"/>
                </a:lnTo>
                <a:lnTo>
                  <a:pt x="1165" y="1965"/>
                </a:lnTo>
                <a:lnTo>
                  <a:pt x="1163" y="1965"/>
                </a:lnTo>
                <a:lnTo>
                  <a:pt x="1160" y="1965"/>
                </a:lnTo>
                <a:lnTo>
                  <a:pt x="1158" y="1964"/>
                </a:lnTo>
                <a:lnTo>
                  <a:pt x="1155" y="1962"/>
                </a:lnTo>
                <a:lnTo>
                  <a:pt x="1153" y="1961"/>
                </a:lnTo>
                <a:lnTo>
                  <a:pt x="1152" y="1959"/>
                </a:lnTo>
                <a:lnTo>
                  <a:pt x="1151" y="1956"/>
                </a:lnTo>
                <a:lnTo>
                  <a:pt x="1150" y="1954"/>
                </a:lnTo>
                <a:lnTo>
                  <a:pt x="1150" y="1952"/>
                </a:lnTo>
                <a:lnTo>
                  <a:pt x="1151" y="1949"/>
                </a:lnTo>
                <a:lnTo>
                  <a:pt x="1152" y="1947"/>
                </a:lnTo>
                <a:lnTo>
                  <a:pt x="1153" y="1945"/>
                </a:lnTo>
                <a:lnTo>
                  <a:pt x="1155" y="1943"/>
                </a:lnTo>
                <a:lnTo>
                  <a:pt x="1157" y="1941"/>
                </a:lnTo>
                <a:lnTo>
                  <a:pt x="1159" y="1940"/>
                </a:lnTo>
                <a:lnTo>
                  <a:pt x="1161" y="1940"/>
                </a:lnTo>
                <a:close/>
                <a:moveTo>
                  <a:pt x="1202" y="1888"/>
                </a:moveTo>
                <a:lnTo>
                  <a:pt x="1205" y="1888"/>
                </a:lnTo>
                <a:lnTo>
                  <a:pt x="1208" y="1888"/>
                </a:lnTo>
                <a:lnTo>
                  <a:pt x="1210" y="1889"/>
                </a:lnTo>
                <a:lnTo>
                  <a:pt x="1213" y="1891"/>
                </a:lnTo>
                <a:lnTo>
                  <a:pt x="1214" y="1893"/>
                </a:lnTo>
                <a:lnTo>
                  <a:pt x="1216" y="1895"/>
                </a:lnTo>
                <a:lnTo>
                  <a:pt x="1217" y="1897"/>
                </a:lnTo>
                <a:lnTo>
                  <a:pt x="1217" y="1900"/>
                </a:lnTo>
                <a:lnTo>
                  <a:pt x="1217" y="1902"/>
                </a:lnTo>
                <a:lnTo>
                  <a:pt x="1217" y="1904"/>
                </a:lnTo>
                <a:lnTo>
                  <a:pt x="1214" y="1909"/>
                </a:lnTo>
                <a:lnTo>
                  <a:pt x="1213" y="1910"/>
                </a:lnTo>
                <a:lnTo>
                  <a:pt x="1211" y="1912"/>
                </a:lnTo>
                <a:lnTo>
                  <a:pt x="1209" y="1913"/>
                </a:lnTo>
                <a:lnTo>
                  <a:pt x="1207" y="1913"/>
                </a:lnTo>
                <a:lnTo>
                  <a:pt x="1204" y="1913"/>
                </a:lnTo>
                <a:lnTo>
                  <a:pt x="1201" y="1913"/>
                </a:lnTo>
                <a:lnTo>
                  <a:pt x="1199" y="1912"/>
                </a:lnTo>
                <a:lnTo>
                  <a:pt x="1196" y="1911"/>
                </a:lnTo>
                <a:lnTo>
                  <a:pt x="1195" y="1909"/>
                </a:lnTo>
                <a:lnTo>
                  <a:pt x="1193" y="1907"/>
                </a:lnTo>
                <a:lnTo>
                  <a:pt x="1192" y="1904"/>
                </a:lnTo>
                <a:lnTo>
                  <a:pt x="1192" y="1902"/>
                </a:lnTo>
                <a:lnTo>
                  <a:pt x="1192" y="1900"/>
                </a:lnTo>
                <a:lnTo>
                  <a:pt x="1192" y="1897"/>
                </a:lnTo>
                <a:lnTo>
                  <a:pt x="1195" y="1893"/>
                </a:lnTo>
                <a:lnTo>
                  <a:pt x="1196" y="1891"/>
                </a:lnTo>
                <a:lnTo>
                  <a:pt x="1198" y="1890"/>
                </a:lnTo>
                <a:lnTo>
                  <a:pt x="1200" y="1889"/>
                </a:lnTo>
                <a:lnTo>
                  <a:pt x="1202" y="1888"/>
                </a:lnTo>
                <a:close/>
                <a:moveTo>
                  <a:pt x="1245" y="1838"/>
                </a:moveTo>
                <a:lnTo>
                  <a:pt x="1248" y="1838"/>
                </a:lnTo>
                <a:lnTo>
                  <a:pt x="1250" y="1838"/>
                </a:lnTo>
                <a:lnTo>
                  <a:pt x="1253" y="1839"/>
                </a:lnTo>
                <a:lnTo>
                  <a:pt x="1255" y="1841"/>
                </a:lnTo>
                <a:lnTo>
                  <a:pt x="1257" y="1842"/>
                </a:lnTo>
                <a:lnTo>
                  <a:pt x="1259" y="1845"/>
                </a:lnTo>
                <a:lnTo>
                  <a:pt x="1259" y="1847"/>
                </a:lnTo>
                <a:lnTo>
                  <a:pt x="1260" y="1849"/>
                </a:lnTo>
                <a:lnTo>
                  <a:pt x="1260" y="1852"/>
                </a:lnTo>
                <a:lnTo>
                  <a:pt x="1259" y="1854"/>
                </a:lnTo>
                <a:lnTo>
                  <a:pt x="1258" y="1856"/>
                </a:lnTo>
                <a:lnTo>
                  <a:pt x="1257" y="1859"/>
                </a:lnTo>
                <a:lnTo>
                  <a:pt x="1255" y="1860"/>
                </a:lnTo>
                <a:lnTo>
                  <a:pt x="1253" y="1861"/>
                </a:lnTo>
                <a:lnTo>
                  <a:pt x="1251" y="1862"/>
                </a:lnTo>
                <a:lnTo>
                  <a:pt x="1249" y="1863"/>
                </a:lnTo>
                <a:lnTo>
                  <a:pt x="1247" y="1863"/>
                </a:lnTo>
                <a:lnTo>
                  <a:pt x="1244" y="1862"/>
                </a:lnTo>
                <a:lnTo>
                  <a:pt x="1241" y="1861"/>
                </a:lnTo>
                <a:lnTo>
                  <a:pt x="1239" y="1860"/>
                </a:lnTo>
                <a:lnTo>
                  <a:pt x="1237" y="1858"/>
                </a:lnTo>
                <a:lnTo>
                  <a:pt x="1236" y="1856"/>
                </a:lnTo>
                <a:lnTo>
                  <a:pt x="1235" y="1853"/>
                </a:lnTo>
                <a:lnTo>
                  <a:pt x="1234" y="1851"/>
                </a:lnTo>
                <a:lnTo>
                  <a:pt x="1235" y="1849"/>
                </a:lnTo>
                <a:lnTo>
                  <a:pt x="1235" y="1846"/>
                </a:lnTo>
                <a:lnTo>
                  <a:pt x="1236" y="1844"/>
                </a:lnTo>
                <a:lnTo>
                  <a:pt x="1238" y="1842"/>
                </a:lnTo>
                <a:lnTo>
                  <a:pt x="1239" y="1840"/>
                </a:lnTo>
                <a:lnTo>
                  <a:pt x="1241" y="1839"/>
                </a:lnTo>
                <a:lnTo>
                  <a:pt x="1243" y="1838"/>
                </a:lnTo>
                <a:lnTo>
                  <a:pt x="1245" y="1838"/>
                </a:lnTo>
                <a:close/>
                <a:moveTo>
                  <a:pt x="1289" y="1788"/>
                </a:moveTo>
                <a:lnTo>
                  <a:pt x="1292" y="1788"/>
                </a:lnTo>
                <a:lnTo>
                  <a:pt x="1295" y="1789"/>
                </a:lnTo>
                <a:lnTo>
                  <a:pt x="1297" y="1790"/>
                </a:lnTo>
                <a:lnTo>
                  <a:pt x="1300" y="1791"/>
                </a:lnTo>
                <a:lnTo>
                  <a:pt x="1301" y="1793"/>
                </a:lnTo>
                <a:lnTo>
                  <a:pt x="1303" y="1796"/>
                </a:lnTo>
                <a:lnTo>
                  <a:pt x="1304" y="1798"/>
                </a:lnTo>
                <a:lnTo>
                  <a:pt x="1304" y="1800"/>
                </a:lnTo>
                <a:lnTo>
                  <a:pt x="1303" y="1805"/>
                </a:lnTo>
                <a:lnTo>
                  <a:pt x="1302" y="1807"/>
                </a:lnTo>
                <a:lnTo>
                  <a:pt x="1301" y="1809"/>
                </a:lnTo>
                <a:lnTo>
                  <a:pt x="1299" y="1811"/>
                </a:lnTo>
                <a:lnTo>
                  <a:pt x="1297" y="1812"/>
                </a:lnTo>
                <a:lnTo>
                  <a:pt x="1295" y="1813"/>
                </a:lnTo>
                <a:lnTo>
                  <a:pt x="1293" y="1813"/>
                </a:lnTo>
                <a:lnTo>
                  <a:pt x="1291" y="1813"/>
                </a:lnTo>
                <a:lnTo>
                  <a:pt x="1288" y="1813"/>
                </a:lnTo>
                <a:lnTo>
                  <a:pt x="1285" y="1812"/>
                </a:lnTo>
                <a:lnTo>
                  <a:pt x="1283" y="1810"/>
                </a:lnTo>
                <a:lnTo>
                  <a:pt x="1281" y="1808"/>
                </a:lnTo>
                <a:lnTo>
                  <a:pt x="1280" y="1806"/>
                </a:lnTo>
                <a:lnTo>
                  <a:pt x="1279" y="1804"/>
                </a:lnTo>
                <a:lnTo>
                  <a:pt x="1278" y="1801"/>
                </a:lnTo>
                <a:lnTo>
                  <a:pt x="1279" y="1797"/>
                </a:lnTo>
                <a:lnTo>
                  <a:pt x="1280" y="1794"/>
                </a:lnTo>
                <a:lnTo>
                  <a:pt x="1282" y="1792"/>
                </a:lnTo>
                <a:lnTo>
                  <a:pt x="1283" y="1791"/>
                </a:lnTo>
                <a:lnTo>
                  <a:pt x="1285" y="1790"/>
                </a:lnTo>
                <a:lnTo>
                  <a:pt x="1287" y="1789"/>
                </a:lnTo>
                <a:lnTo>
                  <a:pt x="1289" y="1788"/>
                </a:lnTo>
                <a:close/>
                <a:moveTo>
                  <a:pt x="1334" y="1740"/>
                </a:moveTo>
                <a:lnTo>
                  <a:pt x="1337" y="1740"/>
                </a:lnTo>
                <a:lnTo>
                  <a:pt x="1340" y="1740"/>
                </a:lnTo>
                <a:lnTo>
                  <a:pt x="1343" y="1742"/>
                </a:lnTo>
                <a:lnTo>
                  <a:pt x="1345" y="1744"/>
                </a:lnTo>
                <a:lnTo>
                  <a:pt x="1347" y="1746"/>
                </a:lnTo>
                <a:lnTo>
                  <a:pt x="1348" y="1748"/>
                </a:lnTo>
                <a:lnTo>
                  <a:pt x="1349" y="1750"/>
                </a:lnTo>
                <a:lnTo>
                  <a:pt x="1349" y="1752"/>
                </a:lnTo>
                <a:lnTo>
                  <a:pt x="1348" y="1757"/>
                </a:lnTo>
                <a:lnTo>
                  <a:pt x="1347" y="1759"/>
                </a:lnTo>
                <a:lnTo>
                  <a:pt x="1346" y="1762"/>
                </a:lnTo>
                <a:lnTo>
                  <a:pt x="1342" y="1764"/>
                </a:lnTo>
                <a:lnTo>
                  <a:pt x="1339" y="1765"/>
                </a:lnTo>
                <a:lnTo>
                  <a:pt x="1336" y="1765"/>
                </a:lnTo>
                <a:lnTo>
                  <a:pt x="1333" y="1765"/>
                </a:lnTo>
                <a:lnTo>
                  <a:pt x="1330" y="1764"/>
                </a:lnTo>
                <a:lnTo>
                  <a:pt x="1328" y="1762"/>
                </a:lnTo>
                <a:lnTo>
                  <a:pt x="1326" y="1760"/>
                </a:lnTo>
                <a:lnTo>
                  <a:pt x="1325" y="1758"/>
                </a:lnTo>
                <a:lnTo>
                  <a:pt x="1324" y="1755"/>
                </a:lnTo>
                <a:lnTo>
                  <a:pt x="1324" y="1753"/>
                </a:lnTo>
                <a:lnTo>
                  <a:pt x="1325" y="1748"/>
                </a:lnTo>
                <a:lnTo>
                  <a:pt x="1326" y="1746"/>
                </a:lnTo>
                <a:lnTo>
                  <a:pt x="1327" y="1744"/>
                </a:lnTo>
                <a:lnTo>
                  <a:pt x="1331" y="1741"/>
                </a:lnTo>
                <a:lnTo>
                  <a:pt x="1334" y="1740"/>
                </a:lnTo>
                <a:close/>
                <a:moveTo>
                  <a:pt x="1381" y="1693"/>
                </a:moveTo>
                <a:lnTo>
                  <a:pt x="1384" y="1693"/>
                </a:lnTo>
                <a:lnTo>
                  <a:pt x="1387" y="1694"/>
                </a:lnTo>
                <a:lnTo>
                  <a:pt x="1390" y="1695"/>
                </a:lnTo>
                <a:lnTo>
                  <a:pt x="1392" y="1697"/>
                </a:lnTo>
                <a:lnTo>
                  <a:pt x="1394" y="1699"/>
                </a:lnTo>
                <a:lnTo>
                  <a:pt x="1395" y="1701"/>
                </a:lnTo>
                <a:lnTo>
                  <a:pt x="1396" y="1704"/>
                </a:lnTo>
                <a:lnTo>
                  <a:pt x="1396" y="1706"/>
                </a:lnTo>
                <a:lnTo>
                  <a:pt x="1396" y="1708"/>
                </a:lnTo>
                <a:lnTo>
                  <a:pt x="1395" y="1711"/>
                </a:lnTo>
                <a:lnTo>
                  <a:pt x="1394" y="1713"/>
                </a:lnTo>
                <a:lnTo>
                  <a:pt x="1392" y="1715"/>
                </a:lnTo>
                <a:lnTo>
                  <a:pt x="1389" y="1717"/>
                </a:lnTo>
                <a:lnTo>
                  <a:pt x="1386" y="1718"/>
                </a:lnTo>
                <a:lnTo>
                  <a:pt x="1382" y="1719"/>
                </a:lnTo>
                <a:lnTo>
                  <a:pt x="1379" y="1718"/>
                </a:lnTo>
                <a:lnTo>
                  <a:pt x="1377" y="1717"/>
                </a:lnTo>
                <a:lnTo>
                  <a:pt x="1374" y="1715"/>
                </a:lnTo>
                <a:lnTo>
                  <a:pt x="1373" y="1713"/>
                </a:lnTo>
                <a:lnTo>
                  <a:pt x="1371" y="1710"/>
                </a:lnTo>
                <a:lnTo>
                  <a:pt x="1371" y="1708"/>
                </a:lnTo>
                <a:lnTo>
                  <a:pt x="1371" y="1706"/>
                </a:lnTo>
                <a:lnTo>
                  <a:pt x="1371" y="1703"/>
                </a:lnTo>
                <a:lnTo>
                  <a:pt x="1372" y="1701"/>
                </a:lnTo>
                <a:lnTo>
                  <a:pt x="1373" y="1699"/>
                </a:lnTo>
                <a:lnTo>
                  <a:pt x="1374" y="1697"/>
                </a:lnTo>
                <a:lnTo>
                  <a:pt x="1378" y="1695"/>
                </a:lnTo>
                <a:lnTo>
                  <a:pt x="1381" y="1693"/>
                </a:lnTo>
                <a:close/>
                <a:moveTo>
                  <a:pt x="1429" y="1648"/>
                </a:moveTo>
                <a:lnTo>
                  <a:pt x="1432" y="1648"/>
                </a:lnTo>
                <a:lnTo>
                  <a:pt x="1435" y="1648"/>
                </a:lnTo>
                <a:lnTo>
                  <a:pt x="1438" y="1650"/>
                </a:lnTo>
                <a:lnTo>
                  <a:pt x="1440" y="1651"/>
                </a:lnTo>
                <a:lnTo>
                  <a:pt x="1441" y="1652"/>
                </a:lnTo>
                <a:lnTo>
                  <a:pt x="1442" y="1654"/>
                </a:lnTo>
                <a:lnTo>
                  <a:pt x="1443" y="1656"/>
                </a:lnTo>
                <a:lnTo>
                  <a:pt x="1444" y="1661"/>
                </a:lnTo>
                <a:lnTo>
                  <a:pt x="1444" y="1663"/>
                </a:lnTo>
                <a:lnTo>
                  <a:pt x="1443" y="1666"/>
                </a:lnTo>
                <a:lnTo>
                  <a:pt x="1442" y="1668"/>
                </a:lnTo>
                <a:lnTo>
                  <a:pt x="1440" y="1670"/>
                </a:lnTo>
                <a:lnTo>
                  <a:pt x="1437" y="1672"/>
                </a:lnTo>
                <a:lnTo>
                  <a:pt x="1435" y="1673"/>
                </a:lnTo>
                <a:lnTo>
                  <a:pt x="1434" y="1673"/>
                </a:lnTo>
                <a:lnTo>
                  <a:pt x="1431" y="1673"/>
                </a:lnTo>
                <a:lnTo>
                  <a:pt x="1427" y="1673"/>
                </a:lnTo>
                <a:lnTo>
                  <a:pt x="1425" y="1671"/>
                </a:lnTo>
                <a:lnTo>
                  <a:pt x="1423" y="1670"/>
                </a:lnTo>
                <a:lnTo>
                  <a:pt x="1422" y="1669"/>
                </a:lnTo>
                <a:lnTo>
                  <a:pt x="1421" y="1667"/>
                </a:lnTo>
                <a:lnTo>
                  <a:pt x="1419" y="1665"/>
                </a:lnTo>
                <a:lnTo>
                  <a:pt x="1419" y="1660"/>
                </a:lnTo>
                <a:lnTo>
                  <a:pt x="1419" y="1658"/>
                </a:lnTo>
                <a:lnTo>
                  <a:pt x="1420" y="1655"/>
                </a:lnTo>
                <a:lnTo>
                  <a:pt x="1421" y="1653"/>
                </a:lnTo>
                <a:lnTo>
                  <a:pt x="1423" y="1651"/>
                </a:lnTo>
                <a:lnTo>
                  <a:pt x="1426" y="1649"/>
                </a:lnTo>
                <a:lnTo>
                  <a:pt x="1428" y="1648"/>
                </a:lnTo>
                <a:lnTo>
                  <a:pt x="1429" y="1648"/>
                </a:lnTo>
                <a:close/>
                <a:moveTo>
                  <a:pt x="1479" y="1604"/>
                </a:moveTo>
                <a:lnTo>
                  <a:pt x="1482" y="1604"/>
                </a:lnTo>
                <a:lnTo>
                  <a:pt x="1485" y="1605"/>
                </a:lnTo>
                <a:lnTo>
                  <a:pt x="1488" y="1606"/>
                </a:lnTo>
                <a:lnTo>
                  <a:pt x="1489" y="1607"/>
                </a:lnTo>
                <a:lnTo>
                  <a:pt x="1491" y="1608"/>
                </a:lnTo>
                <a:lnTo>
                  <a:pt x="1492" y="1611"/>
                </a:lnTo>
                <a:lnTo>
                  <a:pt x="1493" y="1613"/>
                </a:lnTo>
                <a:lnTo>
                  <a:pt x="1494" y="1615"/>
                </a:lnTo>
                <a:lnTo>
                  <a:pt x="1494" y="1618"/>
                </a:lnTo>
                <a:lnTo>
                  <a:pt x="1493" y="1620"/>
                </a:lnTo>
                <a:lnTo>
                  <a:pt x="1492" y="1622"/>
                </a:lnTo>
                <a:lnTo>
                  <a:pt x="1491" y="1624"/>
                </a:lnTo>
                <a:lnTo>
                  <a:pt x="1489" y="1626"/>
                </a:lnTo>
                <a:lnTo>
                  <a:pt x="1488" y="1627"/>
                </a:lnTo>
                <a:lnTo>
                  <a:pt x="1486" y="1628"/>
                </a:lnTo>
                <a:lnTo>
                  <a:pt x="1483" y="1629"/>
                </a:lnTo>
                <a:lnTo>
                  <a:pt x="1480" y="1629"/>
                </a:lnTo>
                <a:lnTo>
                  <a:pt x="1477" y="1629"/>
                </a:lnTo>
                <a:lnTo>
                  <a:pt x="1474" y="1627"/>
                </a:lnTo>
                <a:lnTo>
                  <a:pt x="1473" y="1626"/>
                </a:lnTo>
                <a:lnTo>
                  <a:pt x="1471" y="1625"/>
                </a:lnTo>
                <a:lnTo>
                  <a:pt x="1470" y="1623"/>
                </a:lnTo>
                <a:lnTo>
                  <a:pt x="1469" y="1621"/>
                </a:lnTo>
                <a:lnTo>
                  <a:pt x="1468" y="1618"/>
                </a:lnTo>
                <a:lnTo>
                  <a:pt x="1468" y="1616"/>
                </a:lnTo>
                <a:lnTo>
                  <a:pt x="1469" y="1613"/>
                </a:lnTo>
                <a:lnTo>
                  <a:pt x="1470" y="1611"/>
                </a:lnTo>
                <a:lnTo>
                  <a:pt x="1471" y="1609"/>
                </a:lnTo>
                <a:lnTo>
                  <a:pt x="1473" y="1607"/>
                </a:lnTo>
                <a:lnTo>
                  <a:pt x="1474" y="1606"/>
                </a:lnTo>
                <a:lnTo>
                  <a:pt x="1476" y="1605"/>
                </a:lnTo>
                <a:lnTo>
                  <a:pt x="1479" y="1604"/>
                </a:lnTo>
                <a:close/>
                <a:moveTo>
                  <a:pt x="1530" y="1562"/>
                </a:moveTo>
                <a:lnTo>
                  <a:pt x="1533" y="1562"/>
                </a:lnTo>
                <a:lnTo>
                  <a:pt x="1536" y="1563"/>
                </a:lnTo>
                <a:lnTo>
                  <a:pt x="1539" y="1564"/>
                </a:lnTo>
                <a:lnTo>
                  <a:pt x="1542" y="1567"/>
                </a:lnTo>
                <a:lnTo>
                  <a:pt x="1543" y="1569"/>
                </a:lnTo>
                <a:lnTo>
                  <a:pt x="1544" y="1571"/>
                </a:lnTo>
                <a:lnTo>
                  <a:pt x="1545" y="1574"/>
                </a:lnTo>
                <a:lnTo>
                  <a:pt x="1545" y="1576"/>
                </a:lnTo>
                <a:lnTo>
                  <a:pt x="1543" y="1581"/>
                </a:lnTo>
                <a:lnTo>
                  <a:pt x="1543" y="1582"/>
                </a:lnTo>
                <a:lnTo>
                  <a:pt x="1542" y="1583"/>
                </a:lnTo>
                <a:lnTo>
                  <a:pt x="1540" y="1584"/>
                </a:lnTo>
                <a:lnTo>
                  <a:pt x="1537" y="1586"/>
                </a:lnTo>
                <a:lnTo>
                  <a:pt x="1534" y="1587"/>
                </a:lnTo>
                <a:lnTo>
                  <a:pt x="1531" y="1587"/>
                </a:lnTo>
                <a:lnTo>
                  <a:pt x="1528" y="1586"/>
                </a:lnTo>
                <a:lnTo>
                  <a:pt x="1525" y="1585"/>
                </a:lnTo>
                <a:lnTo>
                  <a:pt x="1522" y="1582"/>
                </a:lnTo>
                <a:lnTo>
                  <a:pt x="1521" y="1580"/>
                </a:lnTo>
                <a:lnTo>
                  <a:pt x="1520" y="1578"/>
                </a:lnTo>
                <a:lnTo>
                  <a:pt x="1519" y="1576"/>
                </a:lnTo>
                <a:lnTo>
                  <a:pt x="1519" y="1573"/>
                </a:lnTo>
                <a:lnTo>
                  <a:pt x="1521" y="1568"/>
                </a:lnTo>
                <a:lnTo>
                  <a:pt x="1521" y="1567"/>
                </a:lnTo>
                <a:lnTo>
                  <a:pt x="1522" y="1566"/>
                </a:lnTo>
                <a:lnTo>
                  <a:pt x="1524" y="1565"/>
                </a:lnTo>
                <a:lnTo>
                  <a:pt x="1527" y="1563"/>
                </a:lnTo>
                <a:lnTo>
                  <a:pt x="1530" y="1562"/>
                </a:lnTo>
                <a:close/>
                <a:moveTo>
                  <a:pt x="2903" y="1298"/>
                </a:moveTo>
                <a:lnTo>
                  <a:pt x="2907" y="1298"/>
                </a:lnTo>
                <a:lnTo>
                  <a:pt x="2910" y="1299"/>
                </a:lnTo>
                <a:lnTo>
                  <a:pt x="2912" y="1300"/>
                </a:lnTo>
                <a:lnTo>
                  <a:pt x="2914" y="1302"/>
                </a:lnTo>
                <a:lnTo>
                  <a:pt x="2916" y="1303"/>
                </a:lnTo>
                <a:lnTo>
                  <a:pt x="2917" y="1305"/>
                </a:lnTo>
                <a:lnTo>
                  <a:pt x="2918" y="1308"/>
                </a:lnTo>
                <a:lnTo>
                  <a:pt x="2918" y="1310"/>
                </a:lnTo>
                <a:lnTo>
                  <a:pt x="2918" y="1313"/>
                </a:lnTo>
                <a:lnTo>
                  <a:pt x="2917" y="1317"/>
                </a:lnTo>
                <a:lnTo>
                  <a:pt x="2916" y="1318"/>
                </a:lnTo>
                <a:lnTo>
                  <a:pt x="2914" y="1320"/>
                </a:lnTo>
                <a:lnTo>
                  <a:pt x="2911" y="1322"/>
                </a:lnTo>
                <a:lnTo>
                  <a:pt x="2908" y="1323"/>
                </a:lnTo>
                <a:lnTo>
                  <a:pt x="2903" y="1323"/>
                </a:lnTo>
                <a:lnTo>
                  <a:pt x="2901" y="1323"/>
                </a:lnTo>
                <a:lnTo>
                  <a:pt x="2899" y="1322"/>
                </a:lnTo>
                <a:lnTo>
                  <a:pt x="2897" y="1320"/>
                </a:lnTo>
                <a:lnTo>
                  <a:pt x="2895" y="1318"/>
                </a:lnTo>
                <a:lnTo>
                  <a:pt x="2894" y="1316"/>
                </a:lnTo>
                <a:lnTo>
                  <a:pt x="2893" y="1314"/>
                </a:lnTo>
                <a:lnTo>
                  <a:pt x="2893" y="1311"/>
                </a:lnTo>
                <a:lnTo>
                  <a:pt x="2893" y="1309"/>
                </a:lnTo>
                <a:lnTo>
                  <a:pt x="2894" y="1305"/>
                </a:lnTo>
                <a:lnTo>
                  <a:pt x="2895" y="1303"/>
                </a:lnTo>
                <a:lnTo>
                  <a:pt x="2896" y="1302"/>
                </a:lnTo>
                <a:lnTo>
                  <a:pt x="2900" y="1300"/>
                </a:lnTo>
                <a:lnTo>
                  <a:pt x="2903" y="1298"/>
                </a:lnTo>
                <a:close/>
                <a:moveTo>
                  <a:pt x="1582" y="1522"/>
                </a:moveTo>
                <a:lnTo>
                  <a:pt x="1586" y="1522"/>
                </a:lnTo>
                <a:lnTo>
                  <a:pt x="1589" y="1522"/>
                </a:lnTo>
                <a:lnTo>
                  <a:pt x="1592" y="1524"/>
                </a:lnTo>
                <a:lnTo>
                  <a:pt x="1595" y="1527"/>
                </a:lnTo>
                <a:lnTo>
                  <a:pt x="1597" y="1531"/>
                </a:lnTo>
                <a:lnTo>
                  <a:pt x="1597" y="1534"/>
                </a:lnTo>
                <a:lnTo>
                  <a:pt x="1597" y="1536"/>
                </a:lnTo>
                <a:lnTo>
                  <a:pt x="1596" y="1538"/>
                </a:lnTo>
                <a:lnTo>
                  <a:pt x="1595" y="1541"/>
                </a:lnTo>
                <a:lnTo>
                  <a:pt x="1594" y="1543"/>
                </a:lnTo>
                <a:lnTo>
                  <a:pt x="1592" y="1544"/>
                </a:lnTo>
                <a:lnTo>
                  <a:pt x="1589" y="1546"/>
                </a:lnTo>
                <a:lnTo>
                  <a:pt x="1587" y="1547"/>
                </a:lnTo>
                <a:lnTo>
                  <a:pt x="1583" y="1547"/>
                </a:lnTo>
                <a:lnTo>
                  <a:pt x="1580" y="1546"/>
                </a:lnTo>
                <a:lnTo>
                  <a:pt x="1577" y="1544"/>
                </a:lnTo>
                <a:lnTo>
                  <a:pt x="1574" y="1542"/>
                </a:lnTo>
                <a:lnTo>
                  <a:pt x="1572" y="1537"/>
                </a:lnTo>
                <a:lnTo>
                  <a:pt x="1572" y="1535"/>
                </a:lnTo>
                <a:lnTo>
                  <a:pt x="1572" y="1532"/>
                </a:lnTo>
                <a:lnTo>
                  <a:pt x="1572" y="1530"/>
                </a:lnTo>
                <a:lnTo>
                  <a:pt x="1573" y="1528"/>
                </a:lnTo>
                <a:lnTo>
                  <a:pt x="1575" y="1526"/>
                </a:lnTo>
                <a:lnTo>
                  <a:pt x="1577" y="1524"/>
                </a:lnTo>
                <a:lnTo>
                  <a:pt x="1579" y="1522"/>
                </a:lnTo>
                <a:lnTo>
                  <a:pt x="1582" y="1522"/>
                </a:lnTo>
                <a:close/>
                <a:moveTo>
                  <a:pt x="2838" y="1288"/>
                </a:moveTo>
                <a:lnTo>
                  <a:pt x="2842" y="1288"/>
                </a:lnTo>
                <a:lnTo>
                  <a:pt x="2844" y="1289"/>
                </a:lnTo>
                <a:lnTo>
                  <a:pt x="2847" y="1290"/>
                </a:lnTo>
                <a:lnTo>
                  <a:pt x="2849" y="1291"/>
                </a:lnTo>
                <a:lnTo>
                  <a:pt x="2850" y="1293"/>
                </a:lnTo>
                <a:lnTo>
                  <a:pt x="2852" y="1295"/>
                </a:lnTo>
                <a:lnTo>
                  <a:pt x="2852" y="1297"/>
                </a:lnTo>
                <a:lnTo>
                  <a:pt x="2853" y="1300"/>
                </a:lnTo>
                <a:lnTo>
                  <a:pt x="2853" y="1302"/>
                </a:lnTo>
                <a:lnTo>
                  <a:pt x="2851" y="1306"/>
                </a:lnTo>
                <a:lnTo>
                  <a:pt x="2850" y="1308"/>
                </a:lnTo>
                <a:lnTo>
                  <a:pt x="2849" y="1310"/>
                </a:lnTo>
                <a:lnTo>
                  <a:pt x="2846" y="1312"/>
                </a:lnTo>
                <a:lnTo>
                  <a:pt x="2842" y="1313"/>
                </a:lnTo>
                <a:lnTo>
                  <a:pt x="2838" y="1313"/>
                </a:lnTo>
                <a:lnTo>
                  <a:pt x="2836" y="1312"/>
                </a:lnTo>
                <a:lnTo>
                  <a:pt x="2833" y="1311"/>
                </a:lnTo>
                <a:lnTo>
                  <a:pt x="2831" y="1310"/>
                </a:lnTo>
                <a:lnTo>
                  <a:pt x="2830" y="1308"/>
                </a:lnTo>
                <a:lnTo>
                  <a:pt x="2829" y="1306"/>
                </a:lnTo>
                <a:lnTo>
                  <a:pt x="2828" y="1304"/>
                </a:lnTo>
                <a:lnTo>
                  <a:pt x="2827" y="1301"/>
                </a:lnTo>
                <a:lnTo>
                  <a:pt x="2827" y="1299"/>
                </a:lnTo>
                <a:lnTo>
                  <a:pt x="2829" y="1295"/>
                </a:lnTo>
                <a:lnTo>
                  <a:pt x="2830" y="1293"/>
                </a:lnTo>
                <a:lnTo>
                  <a:pt x="2831" y="1292"/>
                </a:lnTo>
                <a:lnTo>
                  <a:pt x="2834" y="1289"/>
                </a:lnTo>
                <a:lnTo>
                  <a:pt x="2838" y="1288"/>
                </a:lnTo>
                <a:close/>
                <a:moveTo>
                  <a:pt x="1636" y="1483"/>
                </a:moveTo>
                <a:lnTo>
                  <a:pt x="1640" y="1483"/>
                </a:lnTo>
                <a:lnTo>
                  <a:pt x="1643" y="1484"/>
                </a:lnTo>
                <a:lnTo>
                  <a:pt x="1646" y="1486"/>
                </a:lnTo>
                <a:lnTo>
                  <a:pt x="1649" y="1489"/>
                </a:lnTo>
                <a:lnTo>
                  <a:pt x="1650" y="1491"/>
                </a:lnTo>
                <a:lnTo>
                  <a:pt x="1651" y="1493"/>
                </a:lnTo>
                <a:lnTo>
                  <a:pt x="1651" y="1498"/>
                </a:lnTo>
                <a:lnTo>
                  <a:pt x="1650" y="1500"/>
                </a:lnTo>
                <a:lnTo>
                  <a:pt x="1649" y="1503"/>
                </a:lnTo>
                <a:lnTo>
                  <a:pt x="1647" y="1505"/>
                </a:lnTo>
                <a:lnTo>
                  <a:pt x="1645" y="1506"/>
                </a:lnTo>
                <a:lnTo>
                  <a:pt x="1643" y="1508"/>
                </a:lnTo>
                <a:lnTo>
                  <a:pt x="1640" y="1508"/>
                </a:lnTo>
                <a:lnTo>
                  <a:pt x="1637" y="1508"/>
                </a:lnTo>
                <a:lnTo>
                  <a:pt x="1633" y="1507"/>
                </a:lnTo>
                <a:lnTo>
                  <a:pt x="1630" y="1506"/>
                </a:lnTo>
                <a:lnTo>
                  <a:pt x="1628" y="1503"/>
                </a:lnTo>
                <a:lnTo>
                  <a:pt x="1627" y="1501"/>
                </a:lnTo>
                <a:lnTo>
                  <a:pt x="1626" y="1498"/>
                </a:lnTo>
                <a:lnTo>
                  <a:pt x="1626" y="1493"/>
                </a:lnTo>
                <a:lnTo>
                  <a:pt x="1626" y="1491"/>
                </a:lnTo>
                <a:lnTo>
                  <a:pt x="1628" y="1489"/>
                </a:lnTo>
                <a:lnTo>
                  <a:pt x="1629" y="1487"/>
                </a:lnTo>
                <a:lnTo>
                  <a:pt x="1631" y="1485"/>
                </a:lnTo>
                <a:lnTo>
                  <a:pt x="1633" y="1484"/>
                </a:lnTo>
                <a:lnTo>
                  <a:pt x="1636" y="1483"/>
                </a:lnTo>
                <a:close/>
                <a:moveTo>
                  <a:pt x="2772" y="1278"/>
                </a:moveTo>
                <a:lnTo>
                  <a:pt x="2776" y="1278"/>
                </a:lnTo>
                <a:lnTo>
                  <a:pt x="2779" y="1279"/>
                </a:lnTo>
                <a:lnTo>
                  <a:pt x="2781" y="1280"/>
                </a:lnTo>
                <a:lnTo>
                  <a:pt x="2783" y="1281"/>
                </a:lnTo>
                <a:lnTo>
                  <a:pt x="2785" y="1283"/>
                </a:lnTo>
                <a:lnTo>
                  <a:pt x="2786" y="1285"/>
                </a:lnTo>
                <a:lnTo>
                  <a:pt x="2787" y="1288"/>
                </a:lnTo>
                <a:lnTo>
                  <a:pt x="2787" y="1290"/>
                </a:lnTo>
                <a:lnTo>
                  <a:pt x="2787" y="1293"/>
                </a:lnTo>
                <a:lnTo>
                  <a:pt x="2787" y="1295"/>
                </a:lnTo>
                <a:lnTo>
                  <a:pt x="2786" y="1296"/>
                </a:lnTo>
                <a:lnTo>
                  <a:pt x="2785" y="1298"/>
                </a:lnTo>
                <a:lnTo>
                  <a:pt x="2784" y="1300"/>
                </a:lnTo>
                <a:lnTo>
                  <a:pt x="2781" y="1302"/>
                </a:lnTo>
                <a:lnTo>
                  <a:pt x="2777" y="1303"/>
                </a:lnTo>
                <a:lnTo>
                  <a:pt x="2773" y="1303"/>
                </a:lnTo>
                <a:lnTo>
                  <a:pt x="2770" y="1303"/>
                </a:lnTo>
                <a:lnTo>
                  <a:pt x="2768" y="1302"/>
                </a:lnTo>
                <a:lnTo>
                  <a:pt x="2766" y="1300"/>
                </a:lnTo>
                <a:lnTo>
                  <a:pt x="2764" y="1298"/>
                </a:lnTo>
                <a:lnTo>
                  <a:pt x="2763" y="1296"/>
                </a:lnTo>
                <a:lnTo>
                  <a:pt x="2762" y="1294"/>
                </a:lnTo>
                <a:lnTo>
                  <a:pt x="2762" y="1292"/>
                </a:lnTo>
                <a:lnTo>
                  <a:pt x="2762" y="1289"/>
                </a:lnTo>
                <a:lnTo>
                  <a:pt x="2762" y="1287"/>
                </a:lnTo>
                <a:lnTo>
                  <a:pt x="2763" y="1285"/>
                </a:lnTo>
                <a:lnTo>
                  <a:pt x="2764" y="1283"/>
                </a:lnTo>
                <a:lnTo>
                  <a:pt x="2766" y="1282"/>
                </a:lnTo>
                <a:lnTo>
                  <a:pt x="2769" y="1280"/>
                </a:lnTo>
                <a:lnTo>
                  <a:pt x="2772" y="1278"/>
                </a:lnTo>
                <a:close/>
                <a:moveTo>
                  <a:pt x="2707" y="1269"/>
                </a:moveTo>
                <a:lnTo>
                  <a:pt x="2711" y="1269"/>
                </a:lnTo>
                <a:lnTo>
                  <a:pt x="2713" y="1269"/>
                </a:lnTo>
                <a:lnTo>
                  <a:pt x="2716" y="1270"/>
                </a:lnTo>
                <a:lnTo>
                  <a:pt x="2718" y="1272"/>
                </a:lnTo>
                <a:lnTo>
                  <a:pt x="2719" y="1274"/>
                </a:lnTo>
                <a:lnTo>
                  <a:pt x="2721" y="1276"/>
                </a:lnTo>
                <a:lnTo>
                  <a:pt x="2721" y="1278"/>
                </a:lnTo>
                <a:lnTo>
                  <a:pt x="2722" y="1281"/>
                </a:lnTo>
                <a:lnTo>
                  <a:pt x="2722" y="1283"/>
                </a:lnTo>
                <a:lnTo>
                  <a:pt x="2721" y="1285"/>
                </a:lnTo>
                <a:lnTo>
                  <a:pt x="2720" y="1287"/>
                </a:lnTo>
                <a:lnTo>
                  <a:pt x="2719" y="1289"/>
                </a:lnTo>
                <a:lnTo>
                  <a:pt x="2718" y="1290"/>
                </a:lnTo>
                <a:lnTo>
                  <a:pt x="2717" y="1292"/>
                </a:lnTo>
                <a:lnTo>
                  <a:pt x="2715" y="1293"/>
                </a:lnTo>
                <a:lnTo>
                  <a:pt x="2711" y="1294"/>
                </a:lnTo>
                <a:lnTo>
                  <a:pt x="2707" y="1294"/>
                </a:lnTo>
                <a:lnTo>
                  <a:pt x="2705" y="1293"/>
                </a:lnTo>
                <a:lnTo>
                  <a:pt x="2703" y="1292"/>
                </a:lnTo>
                <a:lnTo>
                  <a:pt x="2701" y="1291"/>
                </a:lnTo>
                <a:lnTo>
                  <a:pt x="2699" y="1289"/>
                </a:lnTo>
                <a:lnTo>
                  <a:pt x="2698" y="1287"/>
                </a:lnTo>
                <a:lnTo>
                  <a:pt x="2697" y="1285"/>
                </a:lnTo>
                <a:lnTo>
                  <a:pt x="2696" y="1282"/>
                </a:lnTo>
                <a:lnTo>
                  <a:pt x="2697" y="1280"/>
                </a:lnTo>
                <a:lnTo>
                  <a:pt x="2697" y="1278"/>
                </a:lnTo>
                <a:lnTo>
                  <a:pt x="2698" y="1276"/>
                </a:lnTo>
                <a:lnTo>
                  <a:pt x="2699" y="1274"/>
                </a:lnTo>
                <a:lnTo>
                  <a:pt x="2700" y="1272"/>
                </a:lnTo>
                <a:lnTo>
                  <a:pt x="2701" y="1271"/>
                </a:lnTo>
                <a:lnTo>
                  <a:pt x="2703" y="1270"/>
                </a:lnTo>
                <a:lnTo>
                  <a:pt x="2707" y="1269"/>
                </a:lnTo>
                <a:close/>
                <a:moveTo>
                  <a:pt x="1691" y="1447"/>
                </a:moveTo>
                <a:lnTo>
                  <a:pt x="1695" y="1447"/>
                </a:lnTo>
                <a:lnTo>
                  <a:pt x="1699" y="1448"/>
                </a:lnTo>
                <a:lnTo>
                  <a:pt x="1702" y="1450"/>
                </a:lnTo>
                <a:lnTo>
                  <a:pt x="1703" y="1451"/>
                </a:lnTo>
                <a:lnTo>
                  <a:pt x="1704" y="1453"/>
                </a:lnTo>
                <a:lnTo>
                  <a:pt x="1705" y="1455"/>
                </a:lnTo>
                <a:lnTo>
                  <a:pt x="1706" y="1457"/>
                </a:lnTo>
                <a:lnTo>
                  <a:pt x="1706" y="1460"/>
                </a:lnTo>
                <a:lnTo>
                  <a:pt x="1706" y="1462"/>
                </a:lnTo>
                <a:lnTo>
                  <a:pt x="1705" y="1465"/>
                </a:lnTo>
                <a:lnTo>
                  <a:pt x="1704" y="1467"/>
                </a:lnTo>
                <a:lnTo>
                  <a:pt x="1702" y="1469"/>
                </a:lnTo>
                <a:lnTo>
                  <a:pt x="1700" y="1470"/>
                </a:lnTo>
                <a:lnTo>
                  <a:pt x="1698" y="1471"/>
                </a:lnTo>
                <a:lnTo>
                  <a:pt x="1696" y="1472"/>
                </a:lnTo>
                <a:lnTo>
                  <a:pt x="1692" y="1472"/>
                </a:lnTo>
                <a:lnTo>
                  <a:pt x="1688" y="1471"/>
                </a:lnTo>
                <a:lnTo>
                  <a:pt x="1685" y="1469"/>
                </a:lnTo>
                <a:lnTo>
                  <a:pt x="1684" y="1468"/>
                </a:lnTo>
                <a:lnTo>
                  <a:pt x="1683" y="1466"/>
                </a:lnTo>
                <a:lnTo>
                  <a:pt x="1682" y="1464"/>
                </a:lnTo>
                <a:lnTo>
                  <a:pt x="1681" y="1461"/>
                </a:lnTo>
                <a:lnTo>
                  <a:pt x="1681" y="1459"/>
                </a:lnTo>
                <a:lnTo>
                  <a:pt x="1681" y="1457"/>
                </a:lnTo>
                <a:lnTo>
                  <a:pt x="1682" y="1454"/>
                </a:lnTo>
                <a:lnTo>
                  <a:pt x="1683" y="1452"/>
                </a:lnTo>
                <a:lnTo>
                  <a:pt x="1685" y="1450"/>
                </a:lnTo>
                <a:lnTo>
                  <a:pt x="1687" y="1449"/>
                </a:lnTo>
                <a:lnTo>
                  <a:pt x="1689" y="1448"/>
                </a:lnTo>
                <a:lnTo>
                  <a:pt x="1691" y="1447"/>
                </a:lnTo>
                <a:close/>
                <a:moveTo>
                  <a:pt x="2641" y="1260"/>
                </a:moveTo>
                <a:lnTo>
                  <a:pt x="2645" y="1260"/>
                </a:lnTo>
                <a:lnTo>
                  <a:pt x="2648" y="1260"/>
                </a:lnTo>
                <a:lnTo>
                  <a:pt x="2650" y="1261"/>
                </a:lnTo>
                <a:lnTo>
                  <a:pt x="2652" y="1263"/>
                </a:lnTo>
                <a:lnTo>
                  <a:pt x="2654" y="1265"/>
                </a:lnTo>
                <a:lnTo>
                  <a:pt x="2655" y="1267"/>
                </a:lnTo>
                <a:lnTo>
                  <a:pt x="2656" y="1269"/>
                </a:lnTo>
                <a:lnTo>
                  <a:pt x="2656" y="1271"/>
                </a:lnTo>
                <a:lnTo>
                  <a:pt x="2656" y="1274"/>
                </a:lnTo>
                <a:lnTo>
                  <a:pt x="2656" y="1276"/>
                </a:lnTo>
                <a:lnTo>
                  <a:pt x="2655" y="1278"/>
                </a:lnTo>
                <a:lnTo>
                  <a:pt x="2654" y="1280"/>
                </a:lnTo>
                <a:lnTo>
                  <a:pt x="2653" y="1281"/>
                </a:lnTo>
                <a:lnTo>
                  <a:pt x="2651" y="1283"/>
                </a:lnTo>
                <a:lnTo>
                  <a:pt x="2650" y="1284"/>
                </a:lnTo>
                <a:lnTo>
                  <a:pt x="2646" y="1285"/>
                </a:lnTo>
                <a:lnTo>
                  <a:pt x="2642" y="1285"/>
                </a:lnTo>
                <a:lnTo>
                  <a:pt x="2639" y="1284"/>
                </a:lnTo>
                <a:lnTo>
                  <a:pt x="2637" y="1283"/>
                </a:lnTo>
                <a:lnTo>
                  <a:pt x="2635" y="1282"/>
                </a:lnTo>
                <a:lnTo>
                  <a:pt x="2633" y="1280"/>
                </a:lnTo>
                <a:lnTo>
                  <a:pt x="2632" y="1278"/>
                </a:lnTo>
                <a:lnTo>
                  <a:pt x="2631" y="1276"/>
                </a:lnTo>
                <a:lnTo>
                  <a:pt x="2631" y="1273"/>
                </a:lnTo>
                <a:lnTo>
                  <a:pt x="2631" y="1271"/>
                </a:lnTo>
                <a:lnTo>
                  <a:pt x="2631" y="1269"/>
                </a:lnTo>
                <a:lnTo>
                  <a:pt x="2632" y="1267"/>
                </a:lnTo>
                <a:lnTo>
                  <a:pt x="2633" y="1265"/>
                </a:lnTo>
                <a:lnTo>
                  <a:pt x="2634" y="1264"/>
                </a:lnTo>
                <a:lnTo>
                  <a:pt x="2636" y="1262"/>
                </a:lnTo>
                <a:lnTo>
                  <a:pt x="2638" y="1261"/>
                </a:lnTo>
                <a:lnTo>
                  <a:pt x="2641" y="1260"/>
                </a:lnTo>
                <a:close/>
                <a:moveTo>
                  <a:pt x="1748" y="1413"/>
                </a:moveTo>
                <a:lnTo>
                  <a:pt x="1752" y="1413"/>
                </a:lnTo>
                <a:lnTo>
                  <a:pt x="1755" y="1414"/>
                </a:lnTo>
                <a:lnTo>
                  <a:pt x="1759" y="1416"/>
                </a:lnTo>
                <a:lnTo>
                  <a:pt x="1760" y="1417"/>
                </a:lnTo>
                <a:lnTo>
                  <a:pt x="1761" y="1419"/>
                </a:lnTo>
                <a:lnTo>
                  <a:pt x="1762" y="1421"/>
                </a:lnTo>
                <a:lnTo>
                  <a:pt x="1763" y="1424"/>
                </a:lnTo>
                <a:lnTo>
                  <a:pt x="1763" y="1426"/>
                </a:lnTo>
                <a:lnTo>
                  <a:pt x="1762" y="1429"/>
                </a:lnTo>
                <a:lnTo>
                  <a:pt x="1762" y="1431"/>
                </a:lnTo>
                <a:lnTo>
                  <a:pt x="1760" y="1433"/>
                </a:lnTo>
                <a:lnTo>
                  <a:pt x="1759" y="1435"/>
                </a:lnTo>
                <a:lnTo>
                  <a:pt x="1757" y="1436"/>
                </a:lnTo>
                <a:lnTo>
                  <a:pt x="1752" y="1438"/>
                </a:lnTo>
                <a:lnTo>
                  <a:pt x="1749" y="1438"/>
                </a:lnTo>
                <a:lnTo>
                  <a:pt x="1745" y="1437"/>
                </a:lnTo>
                <a:lnTo>
                  <a:pt x="1742" y="1435"/>
                </a:lnTo>
                <a:lnTo>
                  <a:pt x="1740" y="1433"/>
                </a:lnTo>
                <a:lnTo>
                  <a:pt x="1739" y="1432"/>
                </a:lnTo>
                <a:lnTo>
                  <a:pt x="1738" y="1429"/>
                </a:lnTo>
                <a:lnTo>
                  <a:pt x="1738" y="1427"/>
                </a:lnTo>
                <a:lnTo>
                  <a:pt x="1738" y="1424"/>
                </a:lnTo>
                <a:lnTo>
                  <a:pt x="1738" y="1422"/>
                </a:lnTo>
                <a:lnTo>
                  <a:pt x="1739" y="1420"/>
                </a:lnTo>
                <a:lnTo>
                  <a:pt x="1740" y="1418"/>
                </a:lnTo>
                <a:lnTo>
                  <a:pt x="1742" y="1416"/>
                </a:lnTo>
                <a:lnTo>
                  <a:pt x="1744" y="1414"/>
                </a:lnTo>
                <a:lnTo>
                  <a:pt x="1748" y="1413"/>
                </a:lnTo>
                <a:close/>
                <a:moveTo>
                  <a:pt x="2576" y="1251"/>
                </a:moveTo>
                <a:lnTo>
                  <a:pt x="2580" y="1251"/>
                </a:lnTo>
                <a:lnTo>
                  <a:pt x="2582" y="1252"/>
                </a:lnTo>
                <a:lnTo>
                  <a:pt x="2584" y="1253"/>
                </a:lnTo>
                <a:lnTo>
                  <a:pt x="2586" y="1254"/>
                </a:lnTo>
                <a:lnTo>
                  <a:pt x="2588" y="1256"/>
                </a:lnTo>
                <a:lnTo>
                  <a:pt x="2589" y="1258"/>
                </a:lnTo>
                <a:lnTo>
                  <a:pt x="2590" y="1260"/>
                </a:lnTo>
                <a:lnTo>
                  <a:pt x="2591" y="1263"/>
                </a:lnTo>
                <a:lnTo>
                  <a:pt x="2591" y="1265"/>
                </a:lnTo>
                <a:lnTo>
                  <a:pt x="2590" y="1267"/>
                </a:lnTo>
                <a:lnTo>
                  <a:pt x="2589" y="1269"/>
                </a:lnTo>
                <a:lnTo>
                  <a:pt x="2588" y="1271"/>
                </a:lnTo>
                <a:lnTo>
                  <a:pt x="2587" y="1273"/>
                </a:lnTo>
                <a:lnTo>
                  <a:pt x="2586" y="1274"/>
                </a:lnTo>
                <a:lnTo>
                  <a:pt x="2584" y="1275"/>
                </a:lnTo>
                <a:lnTo>
                  <a:pt x="2580" y="1276"/>
                </a:lnTo>
                <a:lnTo>
                  <a:pt x="2576" y="1276"/>
                </a:lnTo>
                <a:lnTo>
                  <a:pt x="2574" y="1276"/>
                </a:lnTo>
                <a:lnTo>
                  <a:pt x="2572" y="1275"/>
                </a:lnTo>
                <a:lnTo>
                  <a:pt x="2570" y="1273"/>
                </a:lnTo>
                <a:lnTo>
                  <a:pt x="2568" y="1271"/>
                </a:lnTo>
                <a:lnTo>
                  <a:pt x="2567" y="1269"/>
                </a:lnTo>
                <a:lnTo>
                  <a:pt x="2566" y="1267"/>
                </a:lnTo>
                <a:lnTo>
                  <a:pt x="2565" y="1265"/>
                </a:lnTo>
                <a:lnTo>
                  <a:pt x="2565" y="1262"/>
                </a:lnTo>
                <a:lnTo>
                  <a:pt x="2566" y="1260"/>
                </a:lnTo>
                <a:lnTo>
                  <a:pt x="2567" y="1258"/>
                </a:lnTo>
                <a:lnTo>
                  <a:pt x="2568" y="1256"/>
                </a:lnTo>
                <a:lnTo>
                  <a:pt x="2569" y="1255"/>
                </a:lnTo>
                <a:lnTo>
                  <a:pt x="2570" y="1254"/>
                </a:lnTo>
                <a:lnTo>
                  <a:pt x="2572" y="1253"/>
                </a:lnTo>
                <a:lnTo>
                  <a:pt x="2576" y="1251"/>
                </a:lnTo>
                <a:close/>
                <a:moveTo>
                  <a:pt x="1806" y="1381"/>
                </a:moveTo>
                <a:lnTo>
                  <a:pt x="1810" y="1381"/>
                </a:lnTo>
                <a:lnTo>
                  <a:pt x="1812" y="1381"/>
                </a:lnTo>
                <a:lnTo>
                  <a:pt x="1814" y="1382"/>
                </a:lnTo>
                <a:lnTo>
                  <a:pt x="1816" y="1383"/>
                </a:lnTo>
                <a:lnTo>
                  <a:pt x="1817" y="1384"/>
                </a:lnTo>
                <a:lnTo>
                  <a:pt x="1820" y="1388"/>
                </a:lnTo>
                <a:lnTo>
                  <a:pt x="1821" y="1393"/>
                </a:lnTo>
                <a:lnTo>
                  <a:pt x="1821" y="1395"/>
                </a:lnTo>
                <a:lnTo>
                  <a:pt x="1820" y="1397"/>
                </a:lnTo>
                <a:lnTo>
                  <a:pt x="1819" y="1400"/>
                </a:lnTo>
                <a:lnTo>
                  <a:pt x="1819" y="1401"/>
                </a:lnTo>
                <a:lnTo>
                  <a:pt x="1818" y="1402"/>
                </a:lnTo>
                <a:lnTo>
                  <a:pt x="1816" y="1403"/>
                </a:lnTo>
                <a:lnTo>
                  <a:pt x="1814" y="1405"/>
                </a:lnTo>
                <a:lnTo>
                  <a:pt x="1810" y="1406"/>
                </a:lnTo>
                <a:lnTo>
                  <a:pt x="1806" y="1406"/>
                </a:lnTo>
                <a:lnTo>
                  <a:pt x="1805" y="1406"/>
                </a:lnTo>
                <a:lnTo>
                  <a:pt x="1803" y="1405"/>
                </a:lnTo>
                <a:lnTo>
                  <a:pt x="1801" y="1404"/>
                </a:lnTo>
                <a:lnTo>
                  <a:pt x="1799" y="1403"/>
                </a:lnTo>
                <a:lnTo>
                  <a:pt x="1797" y="1399"/>
                </a:lnTo>
                <a:lnTo>
                  <a:pt x="1796" y="1395"/>
                </a:lnTo>
                <a:lnTo>
                  <a:pt x="1796" y="1392"/>
                </a:lnTo>
                <a:lnTo>
                  <a:pt x="1796" y="1390"/>
                </a:lnTo>
                <a:lnTo>
                  <a:pt x="1797" y="1388"/>
                </a:lnTo>
                <a:lnTo>
                  <a:pt x="1798" y="1386"/>
                </a:lnTo>
                <a:lnTo>
                  <a:pt x="1798" y="1385"/>
                </a:lnTo>
                <a:lnTo>
                  <a:pt x="1800" y="1384"/>
                </a:lnTo>
                <a:lnTo>
                  <a:pt x="1802" y="1382"/>
                </a:lnTo>
                <a:lnTo>
                  <a:pt x="1806" y="1381"/>
                </a:lnTo>
                <a:close/>
                <a:moveTo>
                  <a:pt x="2510" y="1243"/>
                </a:moveTo>
                <a:lnTo>
                  <a:pt x="2514" y="1243"/>
                </a:lnTo>
                <a:lnTo>
                  <a:pt x="2516" y="1243"/>
                </a:lnTo>
                <a:lnTo>
                  <a:pt x="2519" y="1244"/>
                </a:lnTo>
                <a:lnTo>
                  <a:pt x="2521" y="1246"/>
                </a:lnTo>
                <a:lnTo>
                  <a:pt x="2522" y="1248"/>
                </a:lnTo>
                <a:lnTo>
                  <a:pt x="2524" y="1250"/>
                </a:lnTo>
                <a:lnTo>
                  <a:pt x="2525" y="1252"/>
                </a:lnTo>
                <a:lnTo>
                  <a:pt x="2525" y="1254"/>
                </a:lnTo>
                <a:lnTo>
                  <a:pt x="2525" y="1257"/>
                </a:lnTo>
                <a:lnTo>
                  <a:pt x="2524" y="1259"/>
                </a:lnTo>
                <a:lnTo>
                  <a:pt x="2524" y="1261"/>
                </a:lnTo>
                <a:lnTo>
                  <a:pt x="2523" y="1263"/>
                </a:lnTo>
                <a:lnTo>
                  <a:pt x="2521" y="1264"/>
                </a:lnTo>
                <a:lnTo>
                  <a:pt x="2518" y="1267"/>
                </a:lnTo>
                <a:lnTo>
                  <a:pt x="2516" y="1267"/>
                </a:lnTo>
                <a:lnTo>
                  <a:pt x="2515" y="1268"/>
                </a:lnTo>
                <a:lnTo>
                  <a:pt x="2511" y="1268"/>
                </a:lnTo>
                <a:lnTo>
                  <a:pt x="2508" y="1267"/>
                </a:lnTo>
                <a:lnTo>
                  <a:pt x="2506" y="1266"/>
                </a:lnTo>
                <a:lnTo>
                  <a:pt x="2504" y="1265"/>
                </a:lnTo>
                <a:lnTo>
                  <a:pt x="2502" y="1263"/>
                </a:lnTo>
                <a:lnTo>
                  <a:pt x="2501" y="1261"/>
                </a:lnTo>
                <a:lnTo>
                  <a:pt x="2500" y="1259"/>
                </a:lnTo>
                <a:lnTo>
                  <a:pt x="2500" y="1256"/>
                </a:lnTo>
                <a:lnTo>
                  <a:pt x="2500" y="1254"/>
                </a:lnTo>
                <a:lnTo>
                  <a:pt x="2500" y="1252"/>
                </a:lnTo>
                <a:lnTo>
                  <a:pt x="2501" y="1250"/>
                </a:lnTo>
                <a:lnTo>
                  <a:pt x="2502" y="1248"/>
                </a:lnTo>
                <a:lnTo>
                  <a:pt x="2503" y="1247"/>
                </a:lnTo>
                <a:lnTo>
                  <a:pt x="2506" y="1244"/>
                </a:lnTo>
                <a:lnTo>
                  <a:pt x="2508" y="1243"/>
                </a:lnTo>
                <a:lnTo>
                  <a:pt x="2510" y="1243"/>
                </a:lnTo>
                <a:close/>
                <a:moveTo>
                  <a:pt x="1865" y="1352"/>
                </a:moveTo>
                <a:lnTo>
                  <a:pt x="1870" y="1352"/>
                </a:lnTo>
                <a:lnTo>
                  <a:pt x="1873" y="1353"/>
                </a:lnTo>
                <a:lnTo>
                  <a:pt x="1875" y="1354"/>
                </a:lnTo>
                <a:lnTo>
                  <a:pt x="1877" y="1356"/>
                </a:lnTo>
                <a:lnTo>
                  <a:pt x="1879" y="1359"/>
                </a:lnTo>
                <a:lnTo>
                  <a:pt x="1880" y="1360"/>
                </a:lnTo>
                <a:lnTo>
                  <a:pt x="1880" y="1362"/>
                </a:lnTo>
                <a:lnTo>
                  <a:pt x="1880" y="1364"/>
                </a:lnTo>
                <a:lnTo>
                  <a:pt x="1880" y="1367"/>
                </a:lnTo>
                <a:lnTo>
                  <a:pt x="1880" y="1369"/>
                </a:lnTo>
                <a:lnTo>
                  <a:pt x="1878" y="1371"/>
                </a:lnTo>
                <a:lnTo>
                  <a:pt x="1877" y="1373"/>
                </a:lnTo>
                <a:lnTo>
                  <a:pt x="1875" y="1375"/>
                </a:lnTo>
                <a:lnTo>
                  <a:pt x="1873" y="1376"/>
                </a:lnTo>
                <a:lnTo>
                  <a:pt x="1870" y="1377"/>
                </a:lnTo>
                <a:lnTo>
                  <a:pt x="1866" y="1377"/>
                </a:lnTo>
                <a:lnTo>
                  <a:pt x="1862" y="1376"/>
                </a:lnTo>
                <a:lnTo>
                  <a:pt x="1860" y="1375"/>
                </a:lnTo>
                <a:lnTo>
                  <a:pt x="1859" y="1373"/>
                </a:lnTo>
                <a:lnTo>
                  <a:pt x="1856" y="1370"/>
                </a:lnTo>
                <a:lnTo>
                  <a:pt x="1856" y="1369"/>
                </a:lnTo>
                <a:lnTo>
                  <a:pt x="1855" y="1367"/>
                </a:lnTo>
                <a:lnTo>
                  <a:pt x="1855" y="1365"/>
                </a:lnTo>
                <a:lnTo>
                  <a:pt x="1855" y="1362"/>
                </a:lnTo>
                <a:lnTo>
                  <a:pt x="1856" y="1360"/>
                </a:lnTo>
                <a:lnTo>
                  <a:pt x="1857" y="1358"/>
                </a:lnTo>
                <a:lnTo>
                  <a:pt x="1858" y="1356"/>
                </a:lnTo>
                <a:lnTo>
                  <a:pt x="1860" y="1354"/>
                </a:lnTo>
                <a:lnTo>
                  <a:pt x="1862" y="1353"/>
                </a:lnTo>
                <a:lnTo>
                  <a:pt x="1865" y="1352"/>
                </a:lnTo>
                <a:close/>
                <a:moveTo>
                  <a:pt x="2444" y="1237"/>
                </a:moveTo>
                <a:lnTo>
                  <a:pt x="2447" y="1237"/>
                </a:lnTo>
                <a:lnTo>
                  <a:pt x="2450" y="1237"/>
                </a:lnTo>
                <a:lnTo>
                  <a:pt x="2452" y="1238"/>
                </a:lnTo>
                <a:lnTo>
                  <a:pt x="2454" y="1239"/>
                </a:lnTo>
                <a:lnTo>
                  <a:pt x="2456" y="1241"/>
                </a:lnTo>
                <a:lnTo>
                  <a:pt x="2457" y="1243"/>
                </a:lnTo>
                <a:lnTo>
                  <a:pt x="2458" y="1245"/>
                </a:lnTo>
                <a:lnTo>
                  <a:pt x="2459" y="1247"/>
                </a:lnTo>
                <a:lnTo>
                  <a:pt x="2459" y="1250"/>
                </a:lnTo>
                <a:lnTo>
                  <a:pt x="2459" y="1252"/>
                </a:lnTo>
                <a:lnTo>
                  <a:pt x="2458" y="1254"/>
                </a:lnTo>
                <a:lnTo>
                  <a:pt x="2457" y="1256"/>
                </a:lnTo>
                <a:lnTo>
                  <a:pt x="2456" y="1258"/>
                </a:lnTo>
                <a:lnTo>
                  <a:pt x="2454" y="1259"/>
                </a:lnTo>
                <a:lnTo>
                  <a:pt x="2453" y="1260"/>
                </a:lnTo>
                <a:lnTo>
                  <a:pt x="2451" y="1261"/>
                </a:lnTo>
                <a:lnTo>
                  <a:pt x="2449" y="1262"/>
                </a:lnTo>
                <a:lnTo>
                  <a:pt x="2446" y="1262"/>
                </a:lnTo>
                <a:lnTo>
                  <a:pt x="2443" y="1262"/>
                </a:lnTo>
                <a:lnTo>
                  <a:pt x="2441" y="1261"/>
                </a:lnTo>
                <a:lnTo>
                  <a:pt x="2439" y="1259"/>
                </a:lnTo>
                <a:lnTo>
                  <a:pt x="2437" y="1258"/>
                </a:lnTo>
                <a:lnTo>
                  <a:pt x="2435" y="1256"/>
                </a:lnTo>
                <a:lnTo>
                  <a:pt x="2434" y="1253"/>
                </a:lnTo>
                <a:lnTo>
                  <a:pt x="2434" y="1251"/>
                </a:lnTo>
                <a:lnTo>
                  <a:pt x="2434" y="1248"/>
                </a:lnTo>
                <a:lnTo>
                  <a:pt x="2434" y="1246"/>
                </a:lnTo>
                <a:lnTo>
                  <a:pt x="2435" y="1244"/>
                </a:lnTo>
                <a:lnTo>
                  <a:pt x="2436" y="1242"/>
                </a:lnTo>
                <a:lnTo>
                  <a:pt x="2437" y="1241"/>
                </a:lnTo>
                <a:lnTo>
                  <a:pt x="2439" y="1239"/>
                </a:lnTo>
                <a:lnTo>
                  <a:pt x="2440" y="1238"/>
                </a:lnTo>
                <a:lnTo>
                  <a:pt x="2442" y="1237"/>
                </a:lnTo>
                <a:lnTo>
                  <a:pt x="2444" y="1237"/>
                </a:lnTo>
                <a:close/>
                <a:moveTo>
                  <a:pt x="1926" y="1326"/>
                </a:moveTo>
                <a:lnTo>
                  <a:pt x="1930" y="1326"/>
                </a:lnTo>
                <a:lnTo>
                  <a:pt x="1932" y="1326"/>
                </a:lnTo>
                <a:lnTo>
                  <a:pt x="1934" y="1327"/>
                </a:lnTo>
                <a:lnTo>
                  <a:pt x="1936" y="1328"/>
                </a:lnTo>
                <a:lnTo>
                  <a:pt x="1938" y="1330"/>
                </a:lnTo>
                <a:lnTo>
                  <a:pt x="1939" y="1331"/>
                </a:lnTo>
                <a:lnTo>
                  <a:pt x="1940" y="1333"/>
                </a:lnTo>
                <a:lnTo>
                  <a:pt x="1941" y="1336"/>
                </a:lnTo>
                <a:lnTo>
                  <a:pt x="1941" y="1338"/>
                </a:lnTo>
                <a:lnTo>
                  <a:pt x="1941" y="1341"/>
                </a:lnTo>
                <a:lnTo>
                  <a:pt x="1940" y="1343"/>
                </a:lnTo>
                <a:lnTo>
                  <a:pt x="1939" y="1345"/>
                </a:lnTo>
                <a:lnTo>
                  <a:pt x="1937" y="1347"/>
                </a:lnTo>
                <a:lnTo>
                  <a:pt x="1935" y="1349"/>
                </a:lnTo>
                <a:lnTo>
                  <a:pt x="1933" y="1350"/>
                </a:lnTo>
                <a:lnTo>
                  <a:pt x="1930" y="1351"/>
                </a:lnTo>
                <a:lnTo>
                  <a:pt x="1926" y="1351"/>
                </a:lnTo>
                <a:lnTo>
                  <a:pt x="1924" y="1350"/>
                </a:lnTo>
                <a:lnTo>
                  <a:pt x="1922" y="1349"/>
                </a:lnTo>
                <a:lnTo>
                  <a:pt x="1920" y="1348"/>
                </a:lnTo>
                <a:lnTo>
                  <a:pt x="1919" y="1347"/>
                </a:lnTo>
                <a:lnTo>
                  <a:pt x="1918" y="1345"/>
                </a:lnTo>
                <a:lnTo>
                  <a:pt x="1917" y="1343"/>
                </a:lnTo>
                <a:lnTo>
                  <a:pt x="1916" y="1340"/>
                </a:lnTo>
                <a:lnTo>
                  <a:pt x="1916" y="1338"/>
                </a:lnTo>
                <a:lnTo>
                  <a:pt x="1916" y="1336"/>
                </a:lnTo>
                <a:lnTo>
                  <a:pt x="1917" y="1333"/>
                </a:lnTo>
                <a:lnTo>
                  <a:pt x="1918" y="1331"/>
                </a:lnTo>
                <a:lnTo>
                  <a:pt x="1919" y="1329"/>
                </a:lnTo>
                <a:lnTo>
                  <a:pt x="1921" y="1328"/>
                </a:lnTo>
                <a:lnTo>
                  <a:pt x="1924" y="1326"/>
                </a:lnTo>
                <a:lnTo>
                  <a:pt x="1926" y="1326"/>
                </a:lnTo>
                <a:close/>
                <a:moveTo>
                  <a:pt x="2378" y="1235"/>
                </a:moveTo>
                <a:lnTo>
                  <a:pt x="2380" y="1234"/>
                </a:lnTo>
                <a:lnTo>
                  <a:pt x="2383" y="1235"/>
                </a:lnTo>
                <a:lnTo>
                  <a:pt x="2385" y="1235"/>
                </a:lnTo>
                <a:lnTo>
                  <a:pt x="2387" y="1237"/>
                </a:lnTo>
                <a:lnTo>
                  <a:pt x="2389" y="1238"/>
                </a:lnTo>
                <a:lnTo>
                  <a:pt x="2391" y="1240"/>
                </a:lnTo>
                <a:lnTo>
                  <a:pt x="2392" y="1242"/>
                </a:lnTo>
                <a:lnTo>
                  <a:pt x="2393" y="1245"/>
                </a:lnTo>
                <a:lnTo>
                  <a:pt x="2393" y="1247"/>
                </a:lnTo>
                <a:lnTo>
                  <a:pt x="2392" y="1252"/>
                </a:lnTo>
                <a:lnTo>
                  <a:pt x="2391" y="1254"/>
                </a:lnTo>
                <a:lnTo>
                  <a:pt x="2390" y="1255"/>
                </a:lnTo>
                <a:lnTo>
                  <a:pt x="2387" y="1258"/>
                </a:lnTo>
                <a:lnTo>
                  <a:pt x="2385" y="1259"/>
                </a:lnTo>
                <a:lnTo>
                  <a:pt x="2383" y="1260"/>
                </a:lnTo>
                <a:lnTo>
                  <a:pt x="2380" y="1260"/>
                </a:lnTo>
                <a:lnTo>
                  <a:pt x="2378" y="1260"/>
                </a:lnTo>
                <a:lnTo>
                  <a:pt x="2375" y="1259"/>
                </a:lnTo>
                <a:lnTo>
                  <a:pt x="2373" y="1258"/>
                </a:lnTo>
                <a:lnTo>
                  <a:pt x="2371" y="1256"/>
                </a:lnTo>
                <a:lnTo>
                  <a:pt x="2370" y="1254"/>
                </a:lnTo>
                <a:lnTo>
                  <a:pt x="2369" y="1252"/>
                </a:lnTo>
                <a:lnTo>
                  <a:pt x="2368" y="1250"/>
                </a:lnTo>
                <a:lnTo>
                  <a:pt x="2368" y="1247"/>
                </a:lnTo>
                <a:lnTo>
                  <a:pt x="2368" y="1243"/>
                </a:lnTo>
                <a:lnTo>
                  <a:pt x="2369" y="1241"/>
                </a:lnTo>
                <a:lnTo>
                  <a:pt x="2371" y="1239"/>
                </a:lnTo>
                <a:lnTo>
                  <a:pt x="2374" y="1236"/>
                </a:lnTo>
                <a:lnTo>
                  <a:pt x="2376" y="1235"/>
                </a:lnTo>
                <a:lnTo>
                  <a:pt x="2378" y="1235"/>
                </a:lnTo>
                <a:close/>
                <a:moveTo>
                  <a:pt x="1988" y="1302"/>
                </a:moveTo>
                <a:lnTo>
                  <a:pt x="1992" y="1302"/>
                </a:lnTo>
                <a:lnTo>
                  <a:pt x="1995" y="1303"/>
                </a:lnTo>
                <a:lnTo>
                  <a:pt x="1997" y="1304"/>
                </a:lnTo>
                <a:lnTo>
                  <a:pt x="2000" y="1307"/>
                </a:lnTo>
                <a:lnTo>
                  <a:pt x="2001" y="1308"/>
                </a:lnTo>
                <a:lnTo>
                  <a:pt x="2002" y="1311"/>
                </a:lnTo>
                <a:lnTo>
                  <a:pt x="2003" y="1316"/>
                </a:lnTo>
                <a:lnTo>
                  <a:pt x="2002" y="1318"/>
                </a:lnTo>
                <a:lnTo>
                  <a:pt x="2002" y="1320"/>
                </a:lnTo>
                <a:lnTo>
                  <a:pt x="2000" y="1322"/>
                </a:lnTo>
                <a:lnTo>
                  <a:pt x="1999" y="1324"/>
                </a:lnTo>
                <a:lnTo>
                  <a:pt x="1997" y="1326"/>
                </a:lnTo>
                <a:lnTo>
                  <a:pt x="1994" y="1327"/>
                </a:lnTo>
                <a:lnTo>
                  <a:pt x="1992" y="1327"/>
                </a:lnTo>
                <a:lnTo>
                  <a:pt x="1988" y="1327"/>
                </a:lnTo>
                <a:lnTo>
                  <a:pt x="1986" y="1327"/>
                </a:lnTo>
                <a:lnTo>
                  <a:pt x="1984" y="1326"/>
                </a:lnTo>
                <a:lnTo>
                  <a:pt x="1980" y="1323"/>
                </a:lnTo>
                <a:lnTo>
                  <a:pt x="1979" y="1321"/>
                </a:lnTo>
                <a:lnTo>
                  <a:pt x="1978" y="1319"/>
                </a:lnTo>
                <a:lnTo>
                  <a:pt x="1977" y="1314"/>
                </a:lnTo>
                <a:lnTo>
                  <a:pt x="1978" y="1312"/>
                </a:lnTo>
                <a:lnTo>
                  <a:pt x="1979" y="1309"/>
                </a:lnTo>
                <a:lnTo>
                  <a:pt x="1980" y="1307"/>
                </a:lnTo>
                <a:lnTo>
                  <a:pt x="1982" y="1305"/>
                </a:lnTo>
                <a:lnTo>
                  <a:pt x="1984" y="1304"/>
                </a:lnTo>
                <a:lnTo>
                  <a:pt x="1986" y="1303"/>
                </a:lnTo>
                <a:lnTo>
                  <a:pt x="1988" y="1302"/>
                </a:lnTo>
                <a:close/>
                <a:moveTo>
                  <a:pt x="2312" y="1236"/>
                </a:moveTo>
                <a:lnTo>
                  <a:pt x="2313" y="1236"/>
                </a:lnTo>
                <a:lnTo>
                  <a:pt x="2318" y="1237"/>
                </a:lnTo>
                <a:lnTo>
                  <a:pt x="2321" y="1238"/>
                </a:lnTo>
                <a:lnTo>
                  <a:pt x="2323" y="1239"/>
                </a:lnTo>
                <a:lnTo>
                  <a:pt x="2324" y="1241"/>
                </a:lnTo>
                <a:lnTo>
                  <a:pt x="2326" y="1243"/>
                </a:lnTo>
                <a:lnTo>
                  <a:pt x="2326" y="1246"/>
                </a:lnTo>
                <a:lnTo>
                  <a:pt x="2327" y="1248"/>
                </a:lnTo>
                <a:lnTo>
                  <a:pt x="2327" y="1251"/>
                </a:lnTo>
                <a:lnTo>
                  <a:pt x="2326" y="1253"/>
                </a:lnTo>
                <a:lnTo>
                  <a:pt x="2325" y="1255"/>
                </a:lnTo>
                <a:lnTo>
                  <a:pt x="2324" y="1257"/>
                </a:lnTo>
                <a:lnTo>
                  <a:pt x="2323" y="1258"/>
                </a:lnTo>
                <a:lnTo>
                  <a:pt x="2321" y="1260"/>
                </a:lnTo>
                <a:lnTo>
                  <a:pt x="2319" y="1261"/>
                </a:lnTo>
                <a:lnTo>
                  <a:pt x="2316" y="1261"/>
                </a:lnTo>
                <a:lnTo>
                  <a:pt x="2315" y="1262"/>
                </a:lnTo>
                <a:lnTo>
                  <a:pt x="2310" y="1261"/>
                </a:lnTo>
                <a:lnTo>
                  <a:pt x="2308" y="1260"/>
                </a:lnTo>
                <a:lnTo>
                  <a:pt x="2306" y="1258"/>
                </a:lnTo>
                <a:lnTo>
                  <a:pt x="2304" y="1257"/>
                </a:lnTo>
                <a:lnTo>
                  <a:pt x="2303" y="1255"/>
                </a:lnTo>
                <a:lnTo>
                  <a:pt x="2302" y="1252"/>
                </a:lnTo>
                <a:lnTo>
                  <a:pt x="2302" y="1250"/>
                </a:lnTo>
                <a:lnTo>
                  <a:pt x="2302" y="1247"/>
                </a:lnTo>
                <a:lnTo>
                  <a:pt x="2302" y="1245"/>
                </a:lnTo>
                <a:lnTo>
                  <a:pt x="2303" y="1243"/>
                </a:lnTo>
                <a:lnTo>
                  <a:pt x="2304" y="1241"/>
                </a:lnTo>
                <a:lnTo>
                  <a:pt x="2306" y="1239"/>
                </a:lnTo>
                <a:lnTo>
                  <a:pt x="2308" y="1238"/>
                </a:lnTo>
                <a:lnTo>
                  <a:pt x="2310" y="1237"/>
                </a:lnTo>
                <a:lnTo>
                  <a:pt x="2312" y="1236"/>
                </a:lnTo>
                <a:close/>
                <a:moveTo>
                  <a:pt x="2051" y="1282"/>
                </a:moveTo>
                <a:lnTo>
                  <a:pt x="2056" y="1282"/>
                </a:lnTo>
                <a:lnTo>
                  <a:pt x="2058" y="1283"/>
                </a:lnTo>
                <a:lnTo>
                  <a:pt x="2060" y="1284"/>
                </a:lnTo>
                <a:lnTo>
                  <a:pt x="2062" y="1285"/>
                </a:lnTo>
                <a:lnTo>
                  <a:pt x="2063" y="1287"/>
                </a:lnTo>
                <a:lnTo>
                  <a:pt x="2064" y="1289"/>
                </a:lnTo>
                <a:lnTo>
                  <a:pt x="2065" y="1291"/>
                </a:lnTo>
                <a:lnTo>
                  <a:pt x="2066" y="1294"/>
                </a:lnTo>
                <a:lnTo>
                  <a:pt x="2066" y="1296"/>
                </a:lnTo>
                <a:lnTo>
                  <a:pt x="2065" y="1298"/>
                </a:lnTo>
                <a:lnTo>
                  <a:pt x="2064" y="1301"/>
                </a:lnTo>
                <a:lnTo>
                  <a:pt x="2063" y="1303"/>
                </a:lnTo>
                <a:lnTo>
                  <a:pt x="2061" y="1304"/>
                </a:lnTo>
                <a:lnTo>
                  <a:pt x="2059" y="1306"/>
                </a:lnTo>
                <a:lnTo>
                  <a:pt x="2057" y="1307"/>
                </a:lnTo>
                <a:lnTo>
                  <a:pt x="2055" y="1307"/>
                </a:lnTo>
                <a:lnTo>
                  <a:pt x="2051" y="1307"/>
                </a:lnTo>
                <a:lnTo>
                  <a:pt x="2048" y="1306"/>
                </a:lnTo>
                <a:lnTo>
                  <a:pt x="2046" y="1305"/>
                </a:lnTo>
                <a:lnTo>
                  <a:pt x="2045" y="1304"/>
                </a:lnTo>
                <a:lnTo>
                  <a:pt x="2043" y="1302"/>
                </a:lnTo>
                <a:lnTo>
                  <a:pt x="2042" y="1300"/>
                </a:lnTo>
                <a:lnTo>
                  <a:pt x="2041" y="1298"/>
                </a:lnTo>
                <a:lnTo>
                  <a:pt x="2040" y="1296"/>
                </a:lnTo>
                <a:lnTo>
                  <a:pt x="2041" y="1293"/>
                </a:lnTo>
                <a:lnTo>
                  <a:pt x="2041" y="1291"/>
                </a:lnTo>
                <a:lnTo>
                  <a:pt x="2042" y="1288"/>
                </a:lnTo>
                <a:lnTo>
                  <a:pt x="2043" y="1286"/>
                </a:lnTo>
                <a:lnTo>
                  <a:pt x="2045" y="1285"/>
                </a:lnTo>
                <a:lnTo>
                  <a:pt x="2047" y="1283"/>
                </a:lnTo>
                <a:lnTo>
                  <a:pt x="2050" y="1282"/>
                </a:lnTo>
                <a:lnTo>
                  <a:pt x="2051" y="1282"/>
                </a:lnTo>
                <a:close/>
                <a:moveTo>
                  <a:pt x="2115" y="1265"/>
                </a:moveTo>
                <a:lnTo>
                  <a:pt x="2120" y="1265"/>
                </a:lnTo>
                <a:lnTo>
                  <a:pt x="2122" y="1266"/>
                </a:lnTo>
                <a:lnTo>
                  <a:pt x="2124" y="1267"/>
                </a:lnTo>
                <a:lnTo>
                  <a:pt x="2126" y="1269"/>
                </a:lnTo>
                <a:lnTo>
                  <a:pt x="2127" y="1270"/>
                </a:lnTo>
                <a:lnTo>
                  <a:pt x="2129" y="1272"/>
                </a:lnTo>
                <a:lnTo>
                  <a:pt x="2129" y="1275"/>
                </a:lnTo>
                <a:lnTo>
                  <a:pt x="2130" y="1277"/>
                </a:lnTo>
                <a:lnTo>
                  <a:pt x="2130" y="1280"/>
                </a:lnTo>
                <a:lnTo>
                  <a:pt x="2129" y="1282"/>
                </a:lnTo>
                <a:lnTo>
                  <a:pt x="2128" y="1284"/>
                </a:lnTo>
                <a:lnTo>
                  <a:pt x="2126" y="1286"/>
                </a:lnTo>
                <a:lnTo>
                  <a:pt x="2125" y="1288"/>
                </a:lnTo>
                <a:lnTo>
                  <a:pt x="2122" y="1289"/>
                </a:lnTo>
                <a:lnTo>
                  <a:pt x="2120" y="1290"/>
                </a:lnTo>
                <a:lnTo>
                  <a:pt x="2115" y="1290"/>
                </a:lnTo>
                <a:lnTo>
                  <a:pt x="2112" y="1289"/>
                </a:lnTo>
                <a:lnTo>
                  <a:pt x="2110" y="1288"/>
                </a:lnTo>
                <a:lnTo>
                  <a:pt x="2108" y="1287"/>
                </a:lnTo>
                <a:lnTo>
                  <a:pt x="2107" y="1285"/>
                </a:lnTo>
                <a:lnTo>
                  <a:pt x="2105" y="1283"/>
                </a:lnTo>
                <a:lnTo>
                  <a:pt x="2105" y="1281"/>
                </a:lnTo>
                <a:lnTo>
                  <a:pt x="2104" y="1278"/>
                </a:lnTo>
                <a:lnTo>
                  <a:pt x="2105" y="1276"/>
                </a:lnTo>
                <a:lnTo>
                  <a:pt x="2105" y="1273"/>
                </a:lnTo>
                <a:lnTo>
                  <a:pt x="2106" y="1271"/>
                </a:lnTo>
                <a:lnTo>
                  <a:pt x="2108" y="1269"/>
                </a:lnTo>
                <a:lnTo>
                  <a:pt x="2110" y="1267"/>
                </a:lnTo>
                <a:lnTo>
                  <a:pt x="2112" y="1266"/>
                </a:lnTo>
                <a:lnTo>
                  <a:pt x="2114" y="1265"/>
                </a:lnTo>
                <a:lnTo>
                  <a:pt x="2115" y="1265"/>
                </a:lnTo>
                <a:close/>
                <a:moveTo>
                  <a:pt x="2246" y="1242"/>
                </a:moveTo>
                <a:lnTo>
                  <a:pt x="2249" y="1242"/>
                </a:lnTo>
                <a:lnTo>
                  <a:pt x="2252" y="1243"/>
                </a:lnTo>
                <a:lnTo>
                  <a:pt x="2254" y="1243"/>
                </a:lnTo>
                <a:lnTo>
                  <a:pt x="2256" y="1245"/>
                </a:lnTo>
                <a:lnTo>
                  <a:pt x="2258" y="1246"/>
                </a:lnTo>
                <a:lnTo>
                  <a:pt x="2259" y="1248"/>
                </a:lnTo>
                <a:lnTo>
                  <a:pt x="2260" y="1251"/>
                </a:lnTo>
                <a:lnTo>
                  <a:pt x="2261" y="1253"/>
                </a:lnTo>
                <a:lnTo>
                  <a:pt x="2261" y="1256"/>
                </a:lnTo>
                <a:lnTo>
                  <a:pt x="2261" y="1258"/>
                </a:lnTo>
                <a:lnTo>
                  <a:pt x="2258" y="1262"/>
                </a:lnTo>
                <a:lnTo>
                  <a:pt x="2257" y="1264"/>
                </a:lnTo>
                <a:lnTo>
                  <a:pt x="2255" y="1266"/>
                </a:lnTo>
                <a:lnTo>
                  <a:pt x="2253" y="1267"/>
                </a:lnTo>
                <a:lnTo>
                  <a:pt x="2251" y="1267"/>
                </a:lnTo>
                <a:lnTo>
                  <a:pt x="2248" y="1267"/>
                </a:lnTo>
                <a:lnTo>
                  <a:pt x="2245" y="1267"/>
                </a:lnTo>
                <a:lnTo>
                  <a:pt x="2243" y="1266"/>
                </a:lnTo>
                <a:lnTo>
                  <a:pt x="2241" y="1265"/>
                </a:lnTo>
                <a:lnTo>
                  <a:pt x="2239" y="1263"/>
                </a:lnTo>
                <a:lnTo>
                  <a:pt x="2237" y="1261"/>
                </a:lnTo>
                <a:lnTo>
                  <a:pt x="2236" y="1259"/>
                </a:lnTo>
                <a:lnTo>
                  <a:pt x="2236" y="1256"/>
                </a:lnTo>
                <a:lnTo>
                  <a:pt x="2236" y="1254"/>
                </a:lnTo>
                <a:lnTo>
                  <a:pt x="2236" y="1251"/>
                </a:lnTo>
                <a:lnTo>
                  <a:pt x="2238" y="1247"/>
                </a:lnTo>
                <a:lnTo>
                  <a:pt x="2240" y="1245"/>
                </a:lnTo>
                <a:lnTo>
                  <a:pt x="2242" y="1244"/>
                </a:lnTo>
                <a:lnTo>
                  <a:pt x="2244" y="1243"/>
                </a:lnTo>
                <a:lnTo>
                  <a:pt x="2246" y="1242"/>
                </a:lnTo>
                <a:close/>
                <a:moveTo>
                  <a:pt x="2180" y="1252"/>
                </a:moveTo>
                <a:lnTo>
                  <a:pt x="2185" y="1252"/>
                </a:lnTo>
                <a:lnTo>
                  <a:pt x="2187" y="1253"/>
                </a:lnTo>
                <a:lnTo>
                  <a:pt x="2189" y="1254"/>
                </a:lnTo>
                <a:lnTo>
                  <a:pt x="2191" y="1256"/>
                </a:lnTo>
                <a:lnTo>
                  <a:pt x="2193" y="1257"/>
                </a:lnTo>
                <a:lnTo>
                  <a:pt x="2194" y="1260"/>
                </a:lnTo>
                <a:lnTo>
                  <a:pt x="2194" y="1262"/>
                </a:lnTo>
                <a:lnTo>
                  <a:pt x="2194" y="1267"/>
                </a:lnTo>
                <a:lnTo>
                  <a:pt x="2193" y="1270"/>
                </a:lnTo>
                <a:lnTo>
                  <a:pt x="2192" y="1272"/>
                </a:lnTo>
                <a:lnTo>
                  <a:pt x="2191" y="1274"/>
                </a:lnTo>
                <a:lnTo>
                  <a:pt x="2189" y="1275"/>
                </a:lnTo>
                <a:lnTo>
                  <a:pt x="2187" y="1276"/>
                </a:lnTo>
                <a:lnTo>
                  <a:pt x="2184" y="1277"/>
                </a:lnTo>
                <a:lnTo>
                  <a:pt x="2179" y="1277"/>
                </a:lnTo>
                <a:lnTo>
                  <a:pt x="2177" y="1276"/>
                </a:lnTo>
                <a:lnTo>
                  <a:pt x="2175" y="1275"/>
                </a:lnTo>
                <a:lnTo>
                  <a:pt x="2173" y="1273"/>
                </a:lnTo>
                <a:lnTo>
                  <a:pt x="2171" y="1271"/>
                </a:lnTo>
                <a:lnTo>
                  <a:pt x="2170" y="1269"/>
                </a:lnTo>
                <a:lnTo>
                  <a:pt x="2169" y="1267"/>
                </a:lnTo>
                <a:lnTo>
                  <a:pt x="2169" y="1262"/>
                </a:lnTo>
                <a:lnTo>
                  <a:pt x="2170" y="1259"/>
                </a:lnTo>
                <a:lnTo>
                  <a:pt x="2171" y="1257"/>
                </a:lnTo>
                <a:lnTo>
                  <a:pt x="2173" y="1255"/>
                </a:lnTo>
                <a:lnTo>
                  <a:pt x="2175" y="1254"/>
                </a:lnTo>
                <a:lnTo>
                  <a:pt x="2177" y="1253"/>
                </a:lnTo>
                <a:lnTo>
                  <a:pt x="2180" y="1252"/>
                </a:lnTo>
                <a:close/>
                <a:moveTo>
                  <a:pt x="717" y="2229"/>
                </a:moveTo>
                <a:lnTo>
                  <a:pt x="721" y="2229"/>
                </a:lnTo>
                <a:lnTo>
                  <a:pt x="723" y="2229"/>
                </a:lnTo>
                <a:lnTo>
                  <a:pt x="725" y="2230"/>
                </a:lnTo>
                <a:lnTo>
                  <a:pt x="727" y="2231"/>
                </a:lnTo>
                <a:lnTo>
                  <a:pt x="729" y="2233"/>
                </a:lnTo>
                <a:lnTo>
                  <a:pt x="730" y="2235"/>
                </a:lnTo>
                <a:lnTo>
                  <a:pt x="731" y="2237"/>
                </a:lnTo>
                <a:lnTo>
                  <a:pt x="732" y="2242"/>
                </a:lnTo>
                <a:lnTo>
                  <a:pt x="732" y="2245"/>
                </a:lnTo>
                <a:lnTo>
                  <a:pt x="731" y="2247"/>
                </a:lnTo>
                <a:lnTo>
                  <a:pt x="729" y="2250"/>
                </a:lnTo>
                <a:lnTo>
                  <a:pt x="727" y="2252"/>
                </a:lnTo>
                <a:lnTo>
                  <a:pt x="724" y="2253"/>
                </a:lnTo>
                <a:lnTo>
                  <a:pt x="722" y="2254"/>
                </a:lnTo>
                <a:lnTo>
                  <a:pt x="718" y="2254"/>
                </a:lnTo>
                <a:lnTo>
                  <a:pt x="716" y="2254"/>
                </a:lnTo>
                <a:lnTo>
                  <a:pt x="714" y="2253"/>
                </a:lnTo>
                <a:lnTo>
                  <a:pt x="712" y="2252"/>
                </a:lnTo>
                <a:lnTo>
                  <a:pt x="710" y="2250"/>
                </a:lnTo>
                <a:lnTo>
                  <a:pt x="708" y="2248"/>
                </a:lnTo>
                <a:lnTo>
                  <a:pt x="707" y="2246"/>
                </a:lnTo>
                <a:lnTo>
                  <a:pt x="707" y="2241"/>
                </a:lnTo>
                <a:lnTo>
                  <a:pt x="707" y="2239"/>
                </a:lnTo>
                <a:lnTo>
                  <a:pt x="708" y="2236"/>
                </a:lnTo>
                <a:lnTo>
                  <a:pt x="710" y="2234"/>
                </a:lnTo>
                <a:lnTo>
                  <a:pt x="712" y="2231"/>
                </a:lnTo>
                <a:lnTo>
                  <a:pt x="714" y="2230"/>
                </a:lnTo>
                <a:lnTo>
                  <a:pt x="717" y="2229"/>
                </a:lnTo>
                <a:close/>
                <a:moveTo>
                  <a:pt x="747" y="2170"/>
                </a:moveTo>
                <a:lnTo>
                  <a:pt x="751" y="2169"/>
                </a:lnTo>
                <a:lnTo>
                  <a:pt x="753" y="2170"/>
                </a:lnTo>
                <a:lnTo>
                  <a:pt x="755" y="2171"/>
                </a:lnTo>
                <a:lnTo>
                  <a:pt x="757" y="2172"/>
                </a:lnTo>
                <a:lnTo>
                  <a:pt x="759" y="2174"/>
                </a:lnTo>
                <a:lnTo>
                  <a:pt x="760" y="2176"/>
                </a:lnTo>
                <a:lnTo>
                  <a:pt x="761" y="2178"/>
                </a:lnTo>
                <a:lnTo>
                  <a:pt x="762" y="2183"/>
                </a:lnTo>
                <a:lnTo>
                  <a:pt x="762" y="2185"/>
                </a:lnTo>
                <a:lnTo>
                  <a:pt x="761" y="2188"/>
                </a:lnTo>
                <a:lnTo>
                  <a:pt x="759" y="2190"/>
                </a:lnTo>
                <a:lnTo>
                  <a:pt x="757" y="2192"/>
                </a:lnTo>
                <a:lnTo>
                  <a:pt x="754" y="2194"/>
                </a:lnTo>
                <a:lnTo>
                  <a:pt x="752" y="2195"/>
                </a:lnTo>
                <a:lnTo>
                  <a:pt x="748" y="2195"/>
                </a:lnTo>
                <a:lnTo>
                  <a:pt x="746" y="2194"/>
                </a:lnTo>
                <a:lnTo>
                  <a:pt x="744" y="2194"/>
                </a:lnTo>
                <a:lnTo>
                  <a:pt x="741" y="2192"/>
                </a:lnTo>
                <a:lnTo>
                  <a:pt x="740" y="2190"/>
                </a:lnTo>
                <a:lnTo>
                  <a:pt x="738" y="2188"/>
                </a:lnTo>
                <a:lnTo>
                  <a:pt x="737" y="2186"/>
                </a:lnTo>
                <a:lnTo>
                  <a:pt x="737" y="2181"/>
                </a:lnTo>
                <a:lnTo>
                  <a:pt x="737" y="2179"/>
                </a:lnTo>
                <a:lnTo>
                  <a:pt x="738" y="2176"/>
                </a:lnTo>
                <a:lnTo>
                  <a:pt x="740" y="2174"/>
                </a:lnTo>
                <a:lnTo>
                  <a:pt x="742" y="2172"/>
                </a:lnTo>
                <a:lnTo>
                  <a:pt x="744" y="2170"/>
                </a:lnTo>
                <a:lnTo>
                  <a:pt x="747" y="2170"/>
                </a:lnTo>
                <a:close/>
                <a:moveTo>
                  <a:pt x="777" y="2111"/>
                </a:moveTo>
                <a:lnTo>
                  <a:pt x="781" y="2111"/>
                </a:lnTo>
                <a:lnTo>
                  <a:pt x="785" y="2112"/>
                </a:lnTo>
                <a:lnTo>
                  <a:pt x="787" y="2113"/>
                </a:lnTo>
                <a:lnTo>
                  <a:pt x="789" y="2115"/>
                </a:lnTo>
                <a:lnTo>
                  <a:pt x="791" y="2117"/>
                </a:lnTo>
                <a:lnTo>
                  <a:pt x="792" y="2119"/>
                </a:lnTo>
                <a:lnTo>
                  <a:pt x="792" y="2122"/>
                </a:lnTo>
                <a:lnTo>
                  <a:pt x="792" y="2124"/>
                </a:lnTo>
                <a:lnTo>
                  <a:pt x="792" y="2127"/>
                </a:lnTo>
                <a:lnTo>
                  <a:pt x="791" y="2129"/>
                </a:lnTo>
                <a:lnTo>
                  <a:pt x="789" y="2132"/>
                </a:lnTo>
                <a:lnTo>
                  <a:pt x="787" y="2134"/>
                </a:lnTo>
                <a:lnTo>
                  <a:pt x="784" y="2135"/>
                </a:lnTo>
                <a:lnTo>
                  <a:pt x="782" y="2136"/>
                </a:lnTo>
                <a:lnTo>
                  <a:pt x="777" y="2136"/>
                </a:lnTo>
                <a:lnTo>
                  <a:pt x="773" y="2135"/>
                </a:lnTo>
                <a:lnTo>
                  <a:pt x="771" y="2133"/>
                </a:lnTo>
                <a:lnTo>
                  <a:pt x="769" y="2131"/>
                </a:lnTo>
                <a:lnTo>
                  <a:pt x="768" y="2129"/>
                </a:lnTo>
                <a:lnTo>
                  <a:pt x="767" y="2127"/>
                </a:lnTo>
                <a:lnTo>
                  <a:pt x="767" y="2125"/>
                </a:lnTo>
                <a:lnTo>
                  <a:pt x="767" y="2122"/>
                </a:lnTo>
                <a:lnTo>
                  <a:pt x="767" y="2120"/>
                </a:lnTo>
                <a:lnTo>
                  <a:pt x="768" y="2117"/>
                </a:lnTo>
                <a:lnTo>
                  <a:pt x="770" y="2115"/>
                </a:lnTo>
                <a:lnTo>
                  <a:pt x="772" y="2113"/>
                </a:lnTo>
                <a:lnTo>
                  <a:pt x="774" y="2111"/>
                </a:lnTo>
                <a:lnTo>
                  <a:pt x="777" y="2111"/>
                </a:lnTo>
                <a:close/>
                <a:moveTo>
                  <a:pt x="808" y="2052"/>
                </a:moveTo>
                <a:lnTo>
                  <a:pt x="813" y="2052"/>
                </a:lnTo>
                <a:lnTo>
                  <a:pt x="817" y="2054"/>
                </a:lnTo>
                <a:lnTo>
                  <a:pt x="819" y="2055"/>
                </a:lnTo>
                <a:lnTo>
                  <a:pt x="821" y="2057"/>
                </a:lnTo>
                <a:lnTo>
                  <a:pt x="822" y="2059"/>
                </a:lnTo>
                <a:lnTo>
                  <a:pt x="823" y="2061"/>
                </a:lnTo>
                <a:lnTo>
                  <a:pt x="823" y="2064"/>
                </a:lnTo>
                <a:lnTo>
                  <a:pt x="823" y="2066"/>
                </a:lnTo>
                <a:lnTo>
                  <a:pt x="823" y="2069"/>
                </a:lnTo>
                <a:lnTo>
                  <a:pt x="822" y="2071"/>
                </a:lnTo>
                <a:lnTo>
                  <a:pt x="820" y="2073"/>
                </a:lnTo>
                <a:lnTo>
                  <a:pt x="818" y="2075"/>
                </a:lnTo>
                <a:lnTo>
                  <a:pt x="815" y="2077"/>
                </a:lnTo>
                <a:lnTo>
                  <a:pt x="813" y="2077"/>
                </a:lnTo>
                <a:lnTo>
                  <a:pt x="809" y="2078"/>
                </a:lnTo>
                <a:lnTo>
                  <a:pt x="804" y="2076"/>
                </a:lnTo>
                <a:lnTo>
                  <a:pt x="802" y="2075"/>
                </a:lnTo>
                <a:lnTo>
                  <a:pt x="801" y="2073"/>
                </a:lnTo>
                <a:lnTo>
                  <a:pt x="799" y="2071"/>
                </a:lnTo>
                <a:lnTo>
                  <a:pt x="798" y="2068"/>
                </a:lnTo>
                <a:lnTo>
                  <a:pt x="798" y="2066"/>
                </a:lnTo>
                <a:lnTo>
                  <a:pt x="798" y="2064"/>
                </a:lnTo>
                <a:lnTo>
                  <a:pt x="798" y="2061"/>
                </a:lnTo>
                <a:lnTo>
                  <a:pt x="799" y="2059"/>
                </a:lnTo>
                <a:lnTo>
                  <a:pt x="801" y="2056"/>
                </a:lnTo>
                <a:lnTo>
                  <a:pt x="803" y="2054"/>
                </a:lnTo>
                <a:lnTo>
                  <a:pt x="806" y="2053"/>
                </a:lnTo>
                <a:lnTo>
                  <a:pt x="808" y="2052"/>
                </a:lnTo>
                <a:close/>
                <a:moveTo>
                  <a:pt x="841" y="1995"/>
                </a:moveTo>
                <a:lnTo>
                  <a:pt x="845" y="1995"/>
                </a:lnTo>
                <a:lnTo>
                  <a:pt x="847" y="1995"/>
                </a:lnTo>
                <a:lnTo>
                  <a:pt x="849" y="1996"/>
                </a:lnTo>
                <a:lnTo>
                  <a:pt x="851" y="1998"/>
                </a:lnTo>
                <a:lnTo>
                  <a:pt x="853" y="1999"/>
                </a:lnTo>
                <a:lnTo>
                  <a:pt x="854" y="2002"/>
                </a:lnTo>
                <a:lnTo>
                  <a:pt x="855" y="2004"/>
                </a:lnTo>
                <a:lnTo>
                  <a:pt x="856" y="2006"/>
                </a:lnTo>
                <a:lnTo>
                  <a:pt x="856" y="2009"/>
                </a:lnTo>
                <a:lnTo>
                  <a:pt x="855" y="2011"/>
                </a:lnTo>
                <a:lnTo>
                  <a:pt x="854" y="2014"/>
                </a:lnTo>
                <a:lnTo>
                  <a:pt x="853" y="2015"/>
                </a:lnTo>
                <a:lnTo>
                  <a:pt x="852" y="2016"/>
                </a:lnTo>
                <a:lnTo>
                  <a:pt x="850" y="2018"/>
                </a:lnTo>
                <a:lnTo>
                  <a:pt x="848" y="2019"/>
                </a:lnTo>
                <a:lnTo>
                  <a:pt x="845" y="2020"/>
                </a:lnTo>
                <a:lnTo>
                  <a:pt x="841" y="2020"/>
                </a:lnTo>
                <a:lnTo>
                  <a:pt x="839" y="2019"/>
                </a:lnTo>
                <a:lnTo>
                  <a:pt x="837" y="2018"/>
                </a:lnTo>
                <a:lnTo>
                  <a:pt x="834" y="2017"/>
                </a:lnTo>
                <a:lnTo>
                  <a:pt x="833" y="2015"/>
                </a:lnTo>
                <a:lnTo>
                  <a:pt x="831" y="2013"/>
                </a:lnTo>
                <a:lnTo>
                  <a:pt x="831" y="2011"/>
                </a:lnTo>
                <a:lnTo>
                  <a:pt x="830" y="2008"/>
                </a:lnTo>
                <a:lnTo>
                  <a:pt x="830" y="2006"/>
                </a:lnTo>
                <a:lnTo>
                  <a:pt x="831" y="2003"/>
                </a:lnTo>
                <a:lnTo>
                  <a:pt x="832" y="2001"/>
                </a:lnTo>
                <a:lnTo>
                  <a:pt x="833" y="2000"/>
                </a:lnTo>
                <a:lnTo>
                  <a:pt x="834" y="1998"/>
                </a:lnTo>
                <a:lnTo>
                  <a:pt x="836" y="1997"/>
                </a:lnTo>
                <a:lnTo>
                  <a:pt x="838" y="1995"/>
                </a:lnTo>
                <a:lnTo>
                  <a:pt x="841" y="1995"/>
                </a:lnTo>
                <a:close/>
                <a:moveTo>
                  <a:pt x="874" y="1938"/>
                </a:moveTo>
                <a:lnTo>
                  <a:pt x="879" y="1938"/>
                </a:lnTo>
                <a:lnTo>
                  <a:pt x="881" y="1938"/>
                </a:lnTo>
                <a:lnTo>
                  <a:pt x="883" y="1939"/>
                </a:lnTo>
                <a:lnTo>
                  <a:pt x="885" y="1941"/>
                </a:lnTo>
                <a:lnTo>
                  <a:pt x="887" y="1943"/>
                </a:lnTo>
                <a:lnTo>
                  <a:pt x="888" y="1945"/>
                </a:lnTo>
                <a:lnTo>
                  <a:pt x="889" y="1947"/>
                </a:lnTo>
                <a:lnTo>
                  <a:pt x="889" y="1950"/>
                </a:lnTo>
                <a:lnTo>
                  <a:pt x="889" y="1952"/>
                </a:lnTo>
                <a:lnTo>
                  <a:pt x="889" y="1954"/>
                </a:lnTo>
                <a:lnTo>
                  <a:pt x="888" y="1957"/>
                </a:lnTo>
                <a:lnTo>
                  <a:pt x="886" y="1959"/>
                </a:lnTo>
                <a:lnTo>
                  <a:pt x="884" y="1961"/>
                </a:lnTo>
                <a:lnTo>
                  <a:pt x="881" y="1962"/>
                </a:lnTo>
                <a:lnTo>
                  <a:pt x="879" y="1963"/>
                </a:lnTo>
                <a:lnTo>
                  <a:pt x="874" y="1963"/>
                </a:lnTo>
                <a:lnTo>
                  <a:pt x="872" y="1962"/>
                </a:lnTo>
                <a:lnTo>
                  <a:pt x="870" y="1961"/>
                </a:lnTo>
                <a:lnTo>
                  <a:pt x="868" y="1960"/>
                </a:lnTo>
                <a:lnTo>
                  <a:pt x="866" y="1958"/>
                </a:lnTo>
                <a:lnTo>
                  <a:pt x="865" y="1956"/>
                </a:lnTo>
                <a:lnTo>
                  <a:pt x="864" y="1953"/>
                </a:lnTo>
                <a:lnTo>
                  <a:pt x="864" y="1951"/>
                </a:lnTo>
                <a:lnTo>
                  <a:pt x="864" y="1948"/>
                </a:lnTo>
                <a:lnTo>
                  <a:pt x="865" y="1946"/>
                </a:lnTo>
                <a:lnTo>
                  <a:pt x="866" y="1944"/>
                </a:lnTo>
                <a:lnTo>
                  <a:pt x="867" y="1941"/>
                </a:lnTo>
                <a:lnTo>
                  <a:pt x="869" y="1940"/>
                </a:lnTo>
                <a:lnTo>
                  <a:pt x="872" y="1938"/>
                </a:lnTo>
                <a:lnTo>
                  <a:pt x="874" y="1938"/>
                </a:lnTo>
                <a:close/>
                <a:moveTo>
                  <a:pt x="909" y="1881"/>
                </a:moveTo>
                <a:lnTo>
                  <a:pt x="914" y="1881"/>
                </a:lnTo>
                <a:lnTo>
                  <a:pt x="916" y="1882"/>
                </a:lnTo>
                <a:lnTo>
                  <a:pt x="918" y="1883"/>
                </a:lnTo>
                <a:lnTo>
                  <a:pt x="920" y="1885"/>
                </a:lnTo>
                <a:lnTo>
                  <a:pt x="922" y="1887"/>
                </a:lnTo>
                <a:lnTo>
                  <a:pt x="923" y="1889"/>
                </a:lnTo>
                <a:lnTo>
                  <a:pt x="924" y="1891"/>
                </a:lnTo>
                <a:lnTo>
                  <a:pt x="924" y="1894"/>
                </a:lnTo>
                <a:lnTo>
                  <a:pt x="924" y="1896"/>
                </a:lnTo>
                <a:lnTo>
                  <a:pt x="923" y="1899"/>
                </a:lnTo>
                <a:lnTo>
                  <a:pt x="922" y="1901"/>
                </a:lnTo>
                <a:lnTo>
                  <a:pt x="921" y="1903"/>
                </a:lnTo>
                <a:lnTo>
                  <a:pt x="918" y="1905"/>
                </a:lnTo>
                <a:lnTo>
                  <a:pt x="916" y="1906"/>
                </a:lnTo>
                <a:lnTo>
                  <a:pt x="914" y="1907"/>
                </a:lnTo>
                <a:lnTo>
                  <a:pt x="909" y="1907"/>
                </a:lnTo>
                <a:lnTo>
                  <a:pt x="907" y="1906"/>
                </a:lnTo>
                <a:lnTo>
                  <a:pt x="905" y="1905"/>
                </a:lnTo>
                <a:lnTo>
                  <a:pt x="903" y="1903"/>
                </a:lnTo>
                <a:lnTo>
                  <a:pt x="901" y="1901"/>
                </a:lnTo>
                <a:lnTo>
                  <a:pt x="900" y="1899"/>
                </a:lnTo>
                <a:lnTo>
                  <a:pt x="899" y="1897"/>
                </a:lnTo>
                <a:lnTo>
                  <a:pt x="899" y="1894"/>
                </a:lnTo>
                <a:lnTo>
                  <a:pt x="899" y="1892"/>
                </a:lnTo>
                <a:lnTo>
                  <a:pt x="899" y="1889"/>
                </a:lnTo>
                <a:lnTo>
                  <a:pt x="901" y="1887"/>
                </a:lnTo>
                <a:lnTo>
                  <a:pt x="902" y="1885"/>
                </a:lnTo>
                <a:lnTo>
                  <a:pt x="904" y="1883"/>
                </a:lnTo>
                <a:lnTo>
                  <a:pt x="907" y="1882"/>
                </a:lnTo>
                <a:lnTo>
                  <a:pt x="909" y="1881"/>
                </a:lnTo>
                <a:close/>
                <a:moveTo>
                  <a:pt x="945" y="1826"/>
                </a:moveTo>
                <a:lnTo>
                  <a:pt x="950" y="1826"/>
                </a:lnTo>
                <a:lnTo>
                  <a:pt x="952" y="1827"/>
                </a:lnTo>
                <a:lnTo>
                  <a:pt x="955" y="1828"/>
                </a:lnTo>
                <a:lnTo>
                  <a:pt x="957" y="1830"/>
                </a:lnTo>
                <a:lnTo>
                  <a:pt x="958" y="1831"/>
                </a:lnTo>
                <a:lnTo>
                  <a:pt x="959" y="1834"/>
                </a:lnTo>
                <a:lnTo>
                  <a:pt x="960" y="1836"/>
                </a:lnTo>
                <a:lnTo>
                  <a:pt x="960" y="1841"/>
                </a:lnTo>
                <a:lnTo>
                  <a:pt x="959" y="1843"/>
                </a:lnTo>
                <a:lnTo>
                  <a:pt x="958" y="1846"/>
                </a:lnTo>
                <a:lnTo>
                  <a:pt x="956" y="1848"/>
                </a:lnTo>
                <a:lnTo>
                  <a:pt x="954" y="1849"/>
                </a:lnTo>
                <a:lnTo>
                  <a:pt x="952" y="1850"/>
                </a:lnTo>
                <a:lnTo>
                  <a:pt x="950" y="1851"/>
                </a:lnTo>
                <a:lnTo>
                  <a:pt x="945" y="1851"/>
                </a:lnTo>
                <a:lnTo>
                  <a:pt x="943" y="1850"/>
                </a:lnTo>
                <a:lnTo>
                  <a:pt x="940" y="1849"/>
                </a:lnTo>
                <a:lnTo>
                  <a:pt x="938" y="1848"/>
                </a:lnTo>
                <a:lnTo>
                  <a:pt x="937" y="1846"/>
                </a:lnTo>
                <a:lnTo>
                  <a:pt x="936" y="1843"/>
                </a:lnTo>
                <a:lnTo>
                  <a:pt x="935" y="1841"/>
                </a:lnTo>
                <a:lnTo>
                  <a:pt x="935" y="1836"/>
                </a:lnTo>
                <a:lnTo>
                  <a:pt x="936" y="1834"/>
                </a:lnTo>
                <a:lnTo>
                  <a:pt x="937" y="1831"/>
                </a:lnTo>
                <a:lnTo>
                  <a:pt x="939" y="1829"/>
                </a:lnTo>
                <a:lnTo>
                  <a:pt x="941" y="1828"/>
                </a:lnTo>
                <a:lnTo>
                  <a:pt x="943" y="1827"/>
                </a:lnTo>
                <a:lnTo>
                  <a:pt x="945" y="1826"/>
                </a:lnTo>
                <a:close/>
                <a:moveTo>
                  <a:pt x="983" y="1771"/>
                </a:moveTo>
                <a:lnTo>
                  <a:pt x="988" y="1771"/>
                </a:lnTo>
                <a:lnTo>
                  <a:pt x="990" y="1772"/>
                </a:lnTo>
                <a:lnTo>
                  <a:pt x="992" y="1773"/>
                </a:lnTo>
                <a:lnTo>
                  <a:pt x="994" y="1775"/>
                </a:lnTo>
                <a:lnTo>
                  <a:pt x="996" y="1777"/>
                </a:lnTo>
                <a:lnTo>
                  <a:pt x="997" y="1779"/>
                </a:lnTo>
                <a:lnTo>
                  <a:pt x="998" y="1782"/>
                </a:lnTo>
                <a:lnTo>
                  <a:pt x="997" y="1787"/>
                </a:lnTo>
                <a:lnTo>
                  <a:pt x="997" y="1789"/>
                </a:lnTo>
                <a:lnTo>
                  <a:pt x="995" y="1791"/>
                </a:lnTo>
                <a:lnTo>
                  <a:pt x="994" y="1793"/>
                </a:lnTo>
                <a:lnTo>
                  <a:pt x="992" y="1795"/>
                </a:lnTo>
                <a:lnTo>
                  <a:pt x="990" y="1796"/>
                </a:lnTo>
                <a:lnTo>
                  <a:pt x="987" y="1797"/>
                </a:lnTo>
                <a:lnTo>
                  <a:pt x="982" y="1796"/>
                </a:lnTo>
                <a:lnTo>
                  <a:pt x="980" y="1796"/>
                </a:lnTo>
                <a:lnTo>
                  <a:pt x="978" y="1794"/>
                </a:lnTo>
                <a:lnTo>
                  <a:pt x="976" y="1793"/>
                </a:lnTo>
                <a:lnTo>
                  <a:pt x="974" y="1791"/>
                </a:lnTo>
                <a:lnTo>
                  <a:pt x="973" y="1789"/>
                </a:lnTo>
                <a:lnTo>
                  <a:pt x="972" y="1786"/>
                </a:lnTo>
                <a:lnTo>
                  <a:pt x="972" y="1781"/>
                </a:lnTo>
                <a:lnTo>
                  <a:pt x="973" y="1779"/>
                </a:lnTo>
                <a:lnTo>
                  <a:pt x="974" y="1777"/>
                </a:lnTo>
                <a:lnTo>
                  <a:pt x="976" y="1775"/>
                </a:lnTo>
                <a:lnTo>
                  <a:pt x="978" y="1773"/>
                </a:lnTo>
                <a:lnTo>
                  <a:pt x="980" y="1772"/>
                </a:lnTo>
                <a:lnTo>
                  <a:pt x="983" y="1771"/>
                </a:lnTo>
                <a:close/>
                <a:moveTo>
                  <a:pt x="1021" y="1718"/>
                </a:moveTo>
                <a:lnTo>
                  <a:pt x="1026" y="1718"/>
                </a:lnTo>
                <a:lnTo>
                  <a:pt x="1029" y="1719"/>
                </a:lnTo>
                <a:lnTo>
                  <a:pt x="1031" y="1720"/>
                </a:lnTo>
                <a:lnTo>
                  <a:pt x="1033" y="1722"/>
                </a:lnTo>
                <a:lnTo>
                  <a:pt x="1035" y="1724"/>
                </a:lnTo>
                <a:lnTo>
                  <a:pt x="1036" y="1726"/>
                </a:lnTo>
                <a:lnTo>
                  <a:pt x="1036" y="1728"/>
                </a:lnTo>
                <a:lnTo>
                  <a:pt x="1036" y="1731"/>
                </a:lnTo>
                <a:lnTo>
                  <a:pt x="1036" y="1733"/>
                </a:lnTo>
                <a:lnTo>
                  <a:pt x="1035" y="1736"/>
                </a:lnTo>
                <a:lnTo>
                  <a:pt x="1034" y="1738"/>
                </a:lnTo>
                <a:lnTo>
                  <a:pt x="1032" y="1740"/>
                </a:lnTo>
                <a:lnTo>
                  <a:pt x="1030" y="1741"/>
                </a:lnTo>
                <a:lnTo>
                  <a:pt x="1028" y="1742"/>
                </a:lnTo>
                <a:lnTo>
                  <a:pt x="1026" y="1743"/>
                </a:lnTo>
                <a:lnTo>
                  <a:pt x="1021" y="1743"/>
                </a:lnTo>
                <a:lnTo>
                  <a:pt x="1018" y="1742"/>
                </a:lnTo>
                <a:lnTo>
                  <a:pt x="1016" y="1741"/>
                </a:lnTo>
                <a:lnTo>
                  <a:pt x="1014" y="1739"/>
                </a:lnTo>
                <a:lnTo>
                  <a:pt x="1013" y="1737"/>
                </a:lnTo>
                <a:lnTo>
                  <a:pt x="1012" y="1735"/>
                </a:lnTo>
                <a:lnTo>
                  <a:pt x="1011" y="1732"/>
                </a:lnTo>
                <a:lnTo>
                  <a:pt x="1011" y="1730"/>
                </a:lnTo>
                <a:lnTo>
                  <a:pt x="1011" y="1727"/>
                </a:lnTo>
                <a:lnTo>
                  <a:pt x="1012" y="1725"/>
                </a:lnTo>
                <a:lnTo>
                  <a:pt x="1013" y="1723"/>
                </a:lnTo>
                <a:lnTo>
                  <a:pt x="1015" y="1721"/>
                </a:lnTo>
                <a:lnTo>
                  <a:pt x="1017" y="1719"/>
                </a:lnTo>
                <a:lnTo>
                  <a:pt x="1019" y="1718"/>
                </a:lnTo>
                <a:lnTo>
                  <a:pt x="1021" y="1718"/>
                </a:lnTo>
                <a:close/>
                <a:moveTo>
                  <a:pt x="1061" y="1665"/>
                </a:moveTo>
                <a:lnTo>
                  <a:pt x="1064" y="1665"/>
                </a:lnTo>
                <a:lnTo>
                  <a:pt x="1067" y="1665"/>
                </a:lnTo>
                <a:lnTo>
                  <a:pt x="1069" y="1666"/>
                </a:lnTo>
                <a:lnTo>
                  <a:pt x="1072" y="1667"/>
                </a:lnTo>
                <a:lnTo>
                  <a:pt x="1073" y="1669"/>
                </a:lnTo>
                <a:lnTo>
                  <a:pt x="1075" y="1671"/>
                </a:lnTo>
                <a:lnTo>
                  <a:pt x="1076" y="1674"/>
                </a:lnTo>
                <a:lnTo>
                  <a:pt x="1076" y="1676"/>
                </a:lnTo>
                <a:lnTo>
                  <a:pt x="1076" y="1678"/>
                </a:lnTo>
                <a:lnTo>
                  <a:pt x="1076" y="1681"/>
                </a:lnTo>
                <a:lnTo>
                  <a:pt x="1075" y="1683"/>
                </a:lnTo>
                <a:lnTo>
                  <a:pt x="1074" y="1685"/>
                </a:lnTo>
                <a:lnTo>
                  <a:pt x="1070" y="1689"/>
                </a:lnTo>
                <a:lnTo>
                  <a:pt x="1068" y="1690"/>
                </a:lnTo>
                <a:lnTo>
                  <a:pt x="1066" y="1690"/>
                </a:lnTo>
                <a:lnTo>
                  <a:pt x="1063" y="1690"/>
                </a:lnTo>
                <a:lnTo>
                  <a:pt x="1061" y="1690"/>
                </a:lnTo>
                <a:lnTo>
                  <a:pt x="1058" y="1689"/>
                </a:lnTo>
                <a:lnTo>
                  <a:pt x="1056" y="1688"/>
                </a:lnTo>
                <a:lnTo>
                  <a:pt x="1054" y="1686"/>
                </a:lnTo>
                <a:lnTo>
                  <a:pt x="1052" y="1684"/>
                </a:lnTo>
                <a:lnTo>
                  <a:pt x="1051" y="1682"/>
                </a:lnTo>
                <a:lnTo>
                  <a:pt x="1051" y="1679"/>
                </a:lnTo>
                <a:lnTo>
                  <a:pt x="1051" y="1677"/>
                </a:lnTo>
                <a:lnTo>
                  <a:pt x="1051" y="1674"/>
                </a:lnTo>
                <a:lnTo>
                  <a:pt x="1052" y="1672"/>
                </a:lnTo>
                <a:lnTo>
                  <a:pt x="1054" y="1670"/>
                </a:lnTo>
                <a:lnTo>
                  <a:pt x="1057" y="1667"/>
                </a:lnTo>
                <a:lnTo>
                  <a:pt x="1059" y="1666"/>
                </a:lnTo>
                <a:lnTo>
                  <a:pt x="1061" y="1665"/>
                </a:lnTo>
                <a:close/>
                <a:moveTo>
                  <a:pt x="1103" y="1613"/>
                </a:moveTo>
                <a:lnTo>
                  <a:pt x="1105" y="1613"/>
                </a:lnTo>
                <a:lnTo>
                  <a:pt x="1108" y="1614"/>
                </a:lnTo>
                <a:lnTo>
                  <a:pt x="1111" y="1615"/>
                </a:lnTo>
                <a:lnTo>
                  <a:pt x="1113" y="1616"/>
                </a:lnTo>
                <a:lnTo>
                  <a:pt x="1115" y="1618"/>
                </a:lnTo>
                <a:lnTo>
                  <a:pt x="1116" y="1620"/>
                </a:lnTo>
                <a:lnTo>
                  <a:pt x="1117" y="1622"/>
                </a:lnTo>
                <a:lnTo>
                  <a:pt x="1118" y="1625"/>
                </a:lnTo>
                <a:lnTo>
                  <a:pt x="1118" y="1627"/>
                </a:lnTo>
                <a:lnTo>
                  <a:pt x="1117" y="1630"/>
                </a:lnTo>
                <a:lnTo>
                  <a:pt x="1116" y="1632"/>
                </a:lnTo>
                <a:lnTo>
                  <a:pt x="1115" y="1634"/>
                </a:lnTo>
                <a:lnTo>
                  <a:pt x="1113" y="1636"/>
                </a:lnTo>
                <a:lnTo>
                  <a:pt x="1111" y="1637"/>
                </a:lnTo>
                <a:lnTo>
                  <a:pt x="1109" y="1638"/>
                </a:lnTo>
                <a:lnTo>
                  <a:pt x="1107" y="1639"/>
                </a:lnTo>
                <a:lnTo>
                  <a:pt x="1105" y="1639"/>
                </a:lnTo>
                <a:lnTo>
                  <a:pt x="1102" y="1638"/>
                </a:lnTo>
                <a:lnTo>
                  <a:pt x="1099" y="1637"/>
                </a:lnTo>
                <a:lnTo>
                  <a:pt x="1097" y="1636"/>
                </a:lnTo>
                <a:lnTo>
                  <a:pt x="1095" y="1634"/>
                </a:lnTo>
                <a:lnTo>
                  <a:pt x="1094" y="1632"/>
                </a:lnTo>
                <a:lnTo>
                  <a:pt x="1093" y="1630"/>
                </a:lnTo>
                <a:lnTo>
                  <a:pt x="1092" y="1627"/>
                </a:lnTo>
                <a:lnTo>
                  <a:pt x="1092" y="1625"/>
                </a:lnTo>
                <a:lnTo>
                  <a:pt x="1093" y="1622"/>
                </a:lnTo>
                <a:lnTo>
                  <a:pt x="1094" y="1620"/>
                </a:lnTo>
                <a:lnTo>
                  <a:pt x="1095" y="1618"/>
                </a:lnTo>
                <a:lnTo>
                  <a:pt x="1097" y="1616"/>
                </a:lnTo>
                <a:lnTo>
                  <a:pt x="1099" y="1615"/>
                </a:lnTo>
                <a:lnTo>
                  <a:pt x="1101" y="1614"/>
                </a:lnTo>
                <a:lnTo>
                  <a:pt x="1103" y="1613"/>
                </a:lnTo>
                <a:close/>
                <a:moveTo>
                  <a:pt x="1146" y="1563"/>
                </a:moveTo>
                <a:lnTo>
                  <a:pt x="1148" y="1563"/>
                </a:lnTo>
                <a:lnTo>
                  <a:pt x="1151" y="1563"/>
                </a:lnTo>
                <a:lnTo>
                  <a:pt x="1154" y="1564"/>
                </a:lnTo>
                <a:lnTo>
                  <a:pt x="1156" y="1566"/>
                </a:lnTo>
                <a:lnTo>
                  <a:pt x="1158" y="1568"/>
                </a:lnTo>
                <a:lnTo>
                  <a:pt x="1159" y="1570"/>
                </a:lnTo>
                <a:lnTo>
                  <a:pt x="1160" y="1572"/>
                </a:lnTo>
                <a:lnTo>
                  <a:pt x="1161" y="1575"/>
                </a:lnTo>
                <a:lnTo>
                  <a:pt x="1160" y="1577"/>
                </a:lnTo>
                <a:lnTo>
                  <a:pt x="1160" y="1579"/>
                </a:lnTo>
                <a:lnTo>
                  <a:pt x="1159" y="1582"/>
                </a:lnTo>
                <a:lnTo>
                  <a:pt x="1157" y="1584"/>
                </a:lnTo>
                <a:lnTo>
                  <a:pt x="1156" y="1585"/>
                </a:lnTo>
                <a:lnTo>
                  <a:pt x="1154" y="1587"/>
                </a:lnTo>
                <a:lnTo>
                  <a:pt x="1152" y="1588"/>
                </a:lnTo>
                <a:lnTo>
                  <a:pt x="1150" y="1588"/>
                </a:lnTo>
                <a:lnTo>
                  <a:pt x="1147" y="1588"/>
                </a:lnTo>
                <a:lnTo>
                  <a:pt x="1144" y="1588"/>
                </a:lnTo>
                <a:lnTo>
                  <a:pt x="1142" y="1587"/>
                </a:lnTo>
                <a:lnTo>
                  <a:pt x="1139" y="1585"/>
                </a:lnTo>
                <a:lnTo>
                  <a:pt x="1138" y="1583"/>
                </a:lnTo>
                <a:lnTo>
                  <a:pt x="1136" y="1581"/>
                </a:lnTo>
                <a:lnTo>
                  <a:pt x="1135" y="1579"/>
                </a:lnTo>
                <a:lnTo>
                  <a:pt x="1135" y="1576"/>
                </a:lnTo>
                <a:lnTo>
                  <a:pt x="1135" y="1574"/>
                </a:lnTo>
                <a:lnTo>
                  <a:pt x="1136" y="1571"/>
                </a:lnTo>
                <a:lnTo>
                  <a:pt x="1137" y="1569"/>
                </a:lnTo>
                <a:lnTo>
                  <a:pt x="1138" y="1567"/>
                </a:lnTo>
                <a:lnTo>
                  <a:pt x="1140" y="1566"/>
                </a:lnTo>
                <a:lnTo>
                  <a:pt x="1142" y="1564"/>
                </a:lnTo>
                <a:lnTo>
                  <a:pt x="1143" y="1563"/>
                </a:lnTo>
                <a:lnTo>
                  <a:pt x="1146" y="1563"/>
                </a:lnTo>
                <a:close/>
                <a:moveTo>
                  <a:pt x="1190" y="1514"/>
                </a:moveTo>
                <a:lnTo>
                  <a:pt x="1193" y="1513"/>
                </a:lnTo>
                <a:lnTo>
                  <a:pt x="1195" y="1514"/>
                </a:lnTo>
                <a:lnTo>
                  <a:pt x="1198" y="1515"/>
                </a:lnTo>
                <a:lnTo>
                  <a:pt x="1201" y="1517"/>
                </a:lnTo>
                <a:lnTo>
                  <a:pt x="1202" y="1519"/>
                </a:lnTo>
                <a:lnTo>
                  <a:pt x="1204" y="1521"/>
                </a:lnTo>
                <a:lnTo>
                  <a:pt x="1204" y="1523"/>
                </a:lnTo>
                <a:lnTo>
                  <a:pt x="1205" y="1526"/>
                </a:lnTo>
                <a:lnTo>
                  <a:pt x="1205" y="1528"/>
                </a:lnTo>
                <a:lnTo>
                  <a:pt x="1204" y="1531"/>
                </a:lnTo>
                <a:lnTo>
                  <a:pt x="1203" y="1533"/>
                </a:lnTo>
                <a:lnTo>
                  <a:pt x="1201" y="1535"/>
                </a:lnTo>
                <a:lnTo>
                  <a:pt x="1200" y="1536"/>
                </a:lnTo>
                <a:lnTo>
                  <a:pt x="1198" y="1537"/>
                </a:lnTo>
                <a:lnTo>
                  <a:pt x="1196" y="1538"/>
                </a:lnTo>
                <a:lnTo>
                  <a:pt x="1194" y="1539"/>
                </a:lnTo>
                <a:lnTo>
                  <a:pt x="1191" y="1539"/>
                </a:lnTo>
                <a:lnTo>
                  <a:pt x="1188" y="1539"/>
                </a:lnTo>
                <a:lnTo>
                  <a:pt x="1186" y="1537"/>
                </a:lnTo>
                <a:lnTo>
                  <a:pt x="1183" y="1536"/>
                </a:lnTo>
                <a:lnTo>
                  <a:pt x="1182" y="1534"/>
                </a:lnTo>
                <a:lnTo>
                  <a:pt x="1180" y="1531"/>
                </a:lnTo>
                <a:lnTo>
                  <a:pt x="1179" y="1529"/>
                </a:lnTo>
                <a:lnTo>
                  <a:pt x="1179" y="1527"/>
                </a:lnTo>
                <a:lnTo>
                  <a:pt x="1179" y="1524"/>
                </a:lnTo>
                <a:lnTo>
                  <a:pt x="1180" y="1522"/>
                </a:lnTo>
                <a:lnTo>
                  <a:pt x="1181" y="1520"/>
                </a:lnTo>
                <a:lnTo>
                  <a:pt x="1183" y="1518"/>
                </a:lnTo>
                <a:lnTo>
                  <a:pt x="1184" y="1516"/>
                </a:lnTo>
                <a:lnTo>
                  <a:pt x="1186" y="1515"/>
                </a:lnTo>
                <a:lnTo>
                  <a:pt x="1188" y="1514"/>
                </a:lnTo>
                <a:lnTo>
                  <a:pt x="1190" y="1514"/>
                </a:lnTo>
                <a:close/>
                <a:moveTo>
                  <a:pt x="1235" y="1466"/>
                </a:moveTo>
                <a:lnTo>
                  <a:pt x="1238" y="1465"/>
                </a:lnTo>
                <a:lnTo>
                  <a:pt x="1241" y="1466"/>
                </a:lnTo>
                <a:lnTo>
                  <a:pt x="1244" y="1467"/>
                </a:lnTo>
                <a:lnTo>
                  <a:pt x="1246" y="1469"/>
                </a:lnTo>
                <a:lnTo>
                  <a:pt x="1248" y="1471"/>
                </a:lnTo>
                <a:lnTo>
                  <a:pt x="1249" y="1473"/>
                </a:lnTo>
                <a:lnTo>
                  <a:pt x="1250" y="1476"/>
                </a:lnTo>
                <a:lnTo>
                  <a:pt x="1250" y="1478"/>
                </a:lnTo>
                <a:lnTo>
                  <a:pt x="1250" y="1481"/>
                </a:lnTo>
                <a:lnTo>
                  <a:pt x="1249" y="1483"/>
                </a:lnTo>
                <a:lnTo>
                  <a:pt x="1248" y="1485"/>
                </a:lnTo>
                <a:lnTo>
                  <a:pt x="1247" y="1487"/>
                </a:lnTo>
                <a:lnTo>
                  <a:pt x="1243" y="1490"/>
                </a:lnTo>
                <a:lnTo>
                  <a:pt x="1240" y="1491"/>
                </a:lnTo>
                <a:lnTo>
                  <a:pt x="1237" y="1491"/>
                </a:lnTo>
                <a:lnTo>
                  <a:pt x="1234" y="1491"/>
                </a:lnTo>
                <a:lnTo>
                  <a:pt x="1231" y="1489"/>
                </a:lnTo>
                <a:lnTo>
                  <a:pt x="1229" y="1487"/>
                </a:lnTo>
                <a:lnTo>
                  <a:pt x="1227" y="1485"/>
                </a:lnTo>
                <a:lnTo>
                  <a:pt x="1226" y="1483"/>
                </a:lnTo>
                <a:lnTo>
                  <a:pt x="1225" y="1481"/>
                </a:lnTo>
                <a:lnTo>
                  <a:pt x="1225" y="1478"/>
                </a:lnTo>
                <a:lnTo>
                  <a:pt x="1225" y="1476"/>
                </a:lnTo>
                <a:lnTo>
                  <a:pt x="1226" y="1474"/>
                </a:lnTo>
                <a:lnTo>
                  <a:pt x="1227" y="1471"/>
                </a:lnTo>
                <a:lnTo>
                  <a:pt x="1228" y="1469"/>
                </a:lnTo>
                <a:lnTo>
                  <a:pt x="1232" y="1467"/>
                </a:lnTo>
                <a:lnTo>
                  <a:pt x="1235" y="1466"/>
                </a:lnTo>
                <a:close/>
                <a:moveTo>
                  <a:pt x="1282" y="1419"/>
                </a:moveTo>
                <a:lnTo>
                  <a:pt x="1285" y="1419"/>
                </a:lnTo>
                <a:lnTo>
                  <a:pt x="1288" y="1420"/>
                </a:lnTo>
                <a:lnTo>
                  <a:pt x="1291" y="1421"/>
                </a:lnTo>
                <a:lnTo>
                  <a:pt x="1294" y="1423"/>
                </a:lnTo>
                <a:lnTo>
                  <a:pt x="1295" y="1425"/>
                </a:lnTo>
                <a:lnTo>
                  <a:pt x="1296" y="1427"/>
                </a:lnTo>
                <a:lnTo>
                  <a:pt x="1297" y="1432"/>
                </a:lnTo>
                <a:lnTo>
                  <a:pt x="1297" y="1434"/>
                </a:lnTo>
                <a:lnTo>
                  <a:pt x="1296" y="1437"/>
                </a:lnTo>
                <a:lnTo>
                  <a:pt x="1295" y="1439"/>
                </a:lnTo>
                <a:lnTo>
                  <a:pt x="1293" y="1441"/>
                </a:lnTo>
                <a:lnTo>
                  <a:pt x="1290" y="1443"/>
                </a:lnTo>
                <a:lnTo>
                  <a:pt x="1287" y="1444"/>
                </a:lnTo>
                <a:lnTo>
                  <a:pt x="1284" y="1444"/>
                </a:lnTo>
                <a:lnTo>
                  <a:pt x="1281" y="1444"/>
                </a:lnTo>
                <a:lnTo>
                  <a:pt x="1278" y="1443"/>
                </a:lnTo>
                <a:lnTo>
                  <a:pt x="1275" y="1441"/>
                </a:lnTo>
                <a:lnTo>
                  <a:pt x="1274" y="1439"/>
                </a:lnTo>
                <a:lnTo>
                  <a:pt x="1273" y="1436"/>
                </a:lnTo>
                <a:lnTo>
                  <a:pt x="1272" y="1431"/>
                </a:lnTo>
                <a:lnTo>
                  <a:pt x="1272" y="1429"/>
                </a:lnTo>
                <a:lnTo>
                  <a:pt x="1273" y="1427"/>
                </a:lnTo>
                <a:lnTo>
                  <a:pt x="1274" y="1424"/>
                </a:lnTo>
                <a:lnTo>
                  <a:pt x="1276" y="1422"/>
                </a:lnTo>
                <a:lnTo>
                  <a:pt x="1279" y="1420"/>
                </a:lnTo>
                <a:lnTo>
                  <a:pt x="1282" y="1419"/>
                </a:lnTo>
                <a:close/>
                <a:moveTo>
                  <a:pt x="2942" y="1097"/>
                </a:moveTo>
                <a:lnTo>
                  <a:pt x="2943" y="1096"/>
                </a:lnTo>
                <a:lnTo>
                  <a:pt x="2943" y="1122"/>
                </a:lnTo>
                <a:lnTo>
                  <a:pt x="2941" y="1122"/>
                </a:lnTo>
                <a:lnTo>
                  <a:pt x="2939" y="1121"/>
                </a:lnTo>
                <a:lnTo>
                  <a:pt x="2937" y="1120"/>
                </a:lnTo>
                <a:lnTo>
                  <a:pt x="2935" y="1118"/>
                </a:lnTo>
                <a:lnTo>
                  <a:pt x="2933" y="1116"/>
                </a:lnTo>
                <a:lnTo>
                  <a:pt x="2932" y="1114"/>
                </a:lnTo>
                <a:lnTo>
                  <a:pt x="2931" y="1112"/>
                </a:lnTo>
                <a:lnTo>
                  <a:pt x="2931" y="1107"/>
                </a:lnTo>
                <a:lnTo>
                  <a:pt x="2933" y="1103"/>
                </a:lnTo>
                <a:lnTo>
                  <a:pt x="2934" y="1101"/>
                </a:lnTo>
                <a:lnTo>
                  <a:pt x="2935" y="1100"/>
                </a:lnTo>
                <a:lnTo>
                  <a:pt x="2938" y="1098"/>
                </a:lnTo>
                <a:lnTo>
                  <a:pt x="2942" y="1097"/>
                </a:lnTo>
                <a:close/>
                <a:moveTo>
                  <a:pt x="1331" y="1374"/>
                </a:moveTo>
                <a:lnTo>
                  <a:pt x="1334" y="1374"/>
                </a:lnTo>
                <a:lnTo>
                  <a:pt x="1337" y="1375"/>
                </a:lnTo>
                <a:lnTo>
                  <a:pt x="1340" y="1376"/>
                </a:lnTo>
                <a:lnTo>
                  <a:pt x="1341" y="1377"/>
                </a:lnTo>
                <a:lnTo>
                  <a:pt x="1343" y="1378"/>
                </a:lnTo>
                <a:lnTo>
                  <a:pt x="1344" y="1380"/>
                </a:lnTo>
                <a:lnTo>
                  <a:pt x="1345" y="1383"/>
                </a:lnTo>
                <a:lnTo>
                  <a:pt x="1346" y="1387"/>
                </a:lnTo>
                <a:lnTo>
                  <a:pt x="1345" y="1390"/>
                </a:lnTo>
                <a:lnTo>
                  <a:pt x="1345" y="1392"/>
                </a:lnTo>
                <a:lnTo>
                  <a:pt x="1343" y="1394"/>
                </a:lnTo>
                <a:lnTo>
                  <a:pt x="1342" y="1396"/>
                </a:lnTo>
                <a:lnTo>
                  <a:pt x="1339" y="1398"/>
                </a:lnTo>
                <a:lnTo>
                  <a:pt x="1335" y="1399"/>
                </a:lnTo>
                <a:lnTo>
                  <a:pt x="1332" y="1399"/>
                </a:lnTo>
                <a:lnTo>
                  <a:pt x="1329" y="1399"/>
                </a:lnTo>
                <a:lnTo>
                  <a:pt x="1326" y="1397"/>
                </a:lnTo>
                <a:lnTo>
                  <a:pt x="1325" y="1396"/>
                </a:lnTo>
                <a:lnTo>
                  <a:pt x="1323" y="1395"/>
                </a:lnTo>
                <a:lnTo>
                  <a:pt x="1322" y="1393"/>
                </a:lnTo>
                <a:lnTo>
                  <a:pt x="1321" y="1391"/>
                </a:lnTo>
                <a:lnTo>
                  <a:pt x="1320" y="1386"/>
                </a:lnTo>
                <a:lnTo>
                  <a:pt x="1321" y="1384"/>
                </a:lnTo>
                <a:lnTo>
                  <a:pt x="1321" y="1381"/>
                </a:lnTo>
                <a:lnTo>
                  <a:pt x="1323" y="1379"/>
                </a:lnTo>
                <a:lnTo>
                  <a:pt x="1324" y="1377"/>
                </a:lnTo>
                <a:lnTo>
                  <a:pt x="1327" y="1375"/>
                </a:lnTo>
                <a:lnTo>
                  <a:pt x="1331" y="1374"/>
                </a:lnTo>
                <a:close/>
                <a:moveTo>
                  <a:pt x="2877" y="1084"/>
                </a:moveTo>
                <a:lnTo>
                  <a:pt x="2881" y="1084"/>
                </a:lnTo>
                <a:lnTo>
                  <a:pt x="2884" y="1085"/>
                </a:lnTo>
                <a:lnTo>
                  <a:pt x="2886" y="1086"/>
                </a:lnTo>
                <a:lnTo>
                  <a:pt x="2888" y="1087"/>
                </a:lnTo>
                <a:lnTo>
                  <a:pt x="2889" y="1089"/>
                </a:lnTo>
                <a:lnTo>
                  <a:pt x="2891" y="1092"/>
                </a:lnTo>
                <a:lnTo>
                  <a:pt x="2891" y="1094"/>
                </a:lnTo>
                <a:lnTo>
                  <a:pt x="2892" y="1096"/>
                </a:lnTo>
                <a:lnTo>
                  <a:pt x="2891" y="1099"/>
                </a:lnTo>
                <a:lnTo>
                  <a:pt x="2890" y="1103"/>
                </a:lnTo>
                <a:lnTo>
                  <a:pt x="2889" y="1104"/>
                </a:lnTo>
                <a:lnTo>
                  <a:pt x="2888" y="1106"/>
                </a:lnTo>
                <a:lnTo>
                  <a:pt x="2885" y="1108"/>
                </a:lnTo>
                <a:lnTo>
                  <a:pt x="2881" y="1109"/>
                </a:lnTo>
                <a:lnTo>
                  <a:pt x="2876" y="1109"/>
                </a:lnTo>
                <a:lnTo>
                  <a:pt x="2874" y="1108"/>
                </a:lnTo>
                <a:lnTo>
                  <a:pt x="2872" y="1107"/>
                </a:lnTo>
                <a:lnTo>
                  <a:pt x="2870" y="1106"/>
                </a:lnTo>
                <a:lnTo>
                  <a:pt x="2868" y="1104"/>
                </a:lnTo>
                <a:lnTo>
                  <a:pt x="2867" y="1102"/>
                </a:lnTo>
                <a:lnTo>
                  <a:pt x="2866" y="1099"/>
                </a:lnTo>
                <a:lnTo>
                  <a:pt x="2866" y="1097"/>
                </a:lnTo>
                <a:lnTo>
                  <a:pt x="2866" y="1094"/>
                </a:lnTo>
                <a:lnTo>
                  <a:pt x="2868" y="1090"/>
                </a:lnTo>
                <a:lnTo>
                  <a:pt x="2869" y="1089"/>
                </a:lnTo>
                <a:lnTo>
                  <a:pt x="2870" y="1087"/>
                </a:lnTo>
                <a:lnTo>
                  <a:pt x="2873" y="1085"/>
                </a:lnTo>
                <a:lnTo>
                  <a:pt x="2877" y="1084"/>
                </a:lnTo>
                <a:close/>
                <a:moveTo>
                  <a:pt x="1381" y="1331"/>
                </a:moveTo>
                <a:lnTo>
                  <a:pt x="1384" y="1331"/>
                </a:lnTo>
                <a:lnTo>
                  <a:pt x="1387" y="1331"/>
                </a:lnTo>
                <a:lnTo>
                  <a:pt x="1390" y="1333"/>
                </a:lnTo>
                <a:lnTo>
                  <a:pt x="1393" y="1335"/>
                </a:lnTo>
                <a:lnTo>
                  <a:pt x="1394" y="1337"/>
                </a:lnTo>
                <a:lnTo>
                  <a:pt x="1395" y="1340"/>
                </a:lnTo>
                <a:lnTo>
                  <a:pt x="1396" y="1342"/>
                </a:lnTo>
                <a:lnTo>
                  <a:pt x="1396" y="1344"/>
                </a:lnTo>
                <a:lnTo>
                  <a:pt x="1395" y="1347"/>
                </a:lnTo>
                <a:lnTo>
                  <a:pt x="1394" y="1349"/>
                </a:lnTo>
                <a:lnTo>
                  <a:pt x="1393" y="1351"/>
                </a:lnTo>
                <a:lnTo>
                  <a:pt x="1391" y="1353"/>
                </a:lnTo>
                <a:lnTo>
                  <a:pt x="1388" y="1355"/>
                </a:lnTo>
                <a:lnTo>
                  <a:pt x="1385" y="1356"/>
                </a:lnTo>
                <a:lnTo>
                  <a:pt x="1382" y="1356"/>
                </a:lnTo>
                <a:lnTo>
                  <a:pt x="1379" y="1355"/>
                </a:lnTo>
                <a:lnTo>
                  <a:pt x="1376" y="1354"/>
                </a:lnTo>
                <a:lnTo>
                  <a:pt x="1373" y="1352"/>
                </a:lnTo>
                <a:lnTo>
                  <a:pt x="1372" y="1349"/>
                </a:lnTo>
                <a:lnTo>
                  <a:pt x="1371" y="1347"/>
                </a:lnTo>
                <a:lnTo>
                  <a:pt x="1370" y="1345"/>
                </a:lnTo>
                <a:lnTo>
                  <a:pt x="1370" y="1342"/>
                </a:lnTo>
                <a:lnTo>
                  <a:pt x="1371" y="1340"/>
                </a:lnTo>
                <a:lnTo>
                  <a:pt x="1372" y="1338"/>
                </a:lnTo>
                <a:lnTo>
                  <a:pt x="1373" y="1335"/>
                </a:lnTo>
                <a:lnTo>
                  <a:pt x="1375" y="1334"/>
                </a:lnTo>
                <a:lnTo>
                  <a:pt x="1378" y="1332"/>
                </a:lnTo>
                <a:lnTo>
                  <a:pt x="1381" y="1331"/>
                </a:lnTo>
                <a:close/>
                <a:moveTo>
                  <a:pt x="2812" y="1072"/>
                </a:moveTo>
                <a:lnTo>
                  <a:pt x="2816" y="1072"/>
                </a:lnTo>
                <a:lnTo>
                  <a:pt x="2819" y="1072"/>
                </a:lnTo>
                <a:lnTo>
                  <a:pt x="2821" y="1074"/>
                </a:lnTo>
                <a:lnTo>
                  <a:pt x="2823" y="1075"/>
                </a:lnTo>
                <a:lnTo>
                  <a:pt x="2824" y="1077"/>
                </a:lnTo>
                <a:lnTo>
                  <a:pt x="2826" y="1079"/>
                </a:lnTo>
                <a:lnTo>
                  <a:pt x="2826" y="1082"/>
                </a:lnTo>
                <a:lnTo>
                  <a:pt x="2827" y="1084"/>
                </a:lnTo>
                <a:lnTo>
                  <a:pt x="2826" y="1087"/>
                </a:lnTo>
                <a:lnTo>
                  <a:pt x="2825" y="1090"/>
                </a:lnTo>
                <a:lnTo>
                  <a:pt x="2824" y="1092"/>
                </a:lnTo>
                <a:lnTo>
                  <a:pt x="2823" y="1094"/>
                </a:lnTo>
                <a:lnTo>
                  <a:pt x="2820" y="1096"/>
                </a:lnTo>
                <a:lnTo>
                  <a:pt x="2816" y="1097"/>
                </a:lnTo>
                <a:lnTo>
                  <a:pt x="2811" y="1097"/>
                </a:lnTo>
                <a:lnTo>
                  <a:pt x="2809" y="1096"/>
                </a:lnTo>
                <a:lnTo>
                  <a:pt x="2807" y="1095"/>
                </a:lnTo>
                <a:lnTo>
                  <a:pt x="2805" y="1093"/>
                </a:lnTo>
                <a:lnTo>
                  <a:pt x="2803" y="1092"/>
                </a:lnTo>
                <a:lnTo>
                  <a:pt x="2802" y="1089"/>
                </a:lnTo>
                <a:lnTo>
                  <a:pt x="2801" y="1087"/>
                </a:lnTo>
                <a:lnTo>
                  <a:pt x="2801" y="1085"/>
                </a:lnTo>
                <a:lnTo>
                  <a:pt x="2801" y="1082"/>
                </a:lnTo>
                <a:lnTo>
                  <a:pt x="2803" y="1078"/>
                </a:lnTo>
                <a:lnTo>
                  <a:pt x="2804" y="1077"/>
                </a:lnTo>
                <a:lnTo>
                  <a:pt x="2805" y="1075"/>
                </a:lnTo>
                <a:lnTo>
                  <a:pt x="2808" y="1073"/>
                </a:lnTo>
                <a:lnTo>
                  <a:pt x="2812" y="1072"/>
                </a:lnTo>
                <a:close/>
                <a:moveTo>
                  <a:pt x="2746" y="1060"/>
                </a:moveTo>
                <a:lnTo>
                  <a:pt x="2751" y="1060"/>
                </a:lnTo>
                <a:lnTo>
                  <a:pt x="2753" y="1061"/>
                </a:lnTo>
                <a:lnTo>
                  <a:pt x="2756" y="1062"/>
                </a:lnTo>
                <a:lnTo>
                  <a:pt x="2758" y="1063"/>
                </a:lnTo>
                <a:lnTo>
                  <a:pt x="2759" y="1065"/>
                </a:lnTo>
                <a:lnTo>
                  <a:pt x="2760" y="1067"/>
                </a:lnTo>
                <a:lnTo>
                  <a:pt x="2761" y="1070"/>
                </a:lnTo>
                <a:lnTo>
                  <a:pt x="2762" y="1072"/>
                </a:lnTo>
                <a:lnTo>
                  <a:pt x="2761" y="1075"/>
                </a:lnTo>
                <a:lnTo>
                  <a:pt x="2760" y="1079"/>
                </a:lnTo>
                <a:lnTo>
                  <a:pt x="2759" y="1080"/>
                </a:lnTo>
                <a:lnTo>
                  <a:pt x="2758" y="1082"/>
                </a:lnTo>
                <a:lnTo>
                  <a:pt x="2755" y="1084"/>
                </a:lnTo>
                <a:lnTo>
                  <a:pt x="2751" y="1085"/>
                </a:lnTo>
                <a:lnTo>
                  <a:pt x="2746" y="1085"/>
                </a:lnTo>
                <a:lnTo>
                  <a:pt x="2744" y="1084"/>
                </a:lnTo>
                <a:lnTo>
                  <a:pt x="2742" y="1083"/>
                </a:lnTo>
                <a:lnTo>
                  <a:pt x="2740" y="1082"/>
                </a:lnTo>
                <a:lnTo>
                  <a:pt x="2738" y="1080"/>
                </a:lnTo>
                <a:lnTo>
                  <a:pt x="2737" y="1078"/>
                </a:lnTo>
                <a:lnTo>
                  <a:pt x="2736" y="1075"/>
                </a:lnTo>
                <a:lnTo>
                  <a:pt x="2736" y="1073"/>
                </a:lnTo>
                <a:lnTo>
                  <a:pt x="2736" y="1070"/>
                </a:lnTo>
                <a:lnTo>
                  <a:pt x="2737" y="1066"/>
                </a:lnTo>
                <a:lnTo>
                  <a:pt x="2738" y="1065"/>
                </a:lnTo>
                <a:lnTo>
                  <a:pt x="2740" y="1063"/>
                </a:lnTo>
                <a:lnTo>
                  <a:pt x="2743" y="1061"/>
                </a:lnTo>
                <a:lnTo>
                  <a:pt x="2746" y="1060"/>
                </a:lnTo>
                <a:close/>
                <a:moveTo>
                  <a:pt x="1432" y="1289"/>
                </a:moveTo>
                <a:lnTo>
                  <a:pt x="1436" y="1289"/>
                </a:lnTo>
                <a:lnTo>
                  <a:pt x="1439" y="1290"/>
                </a:lnTo>
                <a:lnTo>
                  <a:pt x="1442" y="1291"/>
                </a:lnTo>
                <a:lnTo>
                  <a:pt x="1445" y="1294"/>
                </a:lnTo>
                <a:lnTo>
                  <a:pt x="1447" y="1298"/>
                </a:lnTo>
                <a:lnTo>
                  <a:pt x="1447" y="1301"/>
                </a:lnTo>
                <a:lnTo>
                  <a:pt x="1447" y="1303"/>
                </a:lnTo>
                <a:lnTo>
                  <a:pt x="1447" y="1306"/>
                </a:lnTo>
                <a:lnTo>
                  <a:pt x="1446" y="1308"/>
                </a:lnTo>
                <a:lnTo>
                  <a:pt x="1444" y="1310"/>
                </a:lnTo>
                <a:lnTo>
                  <a:pt x="1442" y="1312"/>
                </a:lnTo>
                <a:lnTo>
                  <a:pt x="1441" y="1313"/>
                </a:lnTo>
                <a:lnTo>
                  <a:pt x="1440" y="1314"/>
                </a:lnTo>
                <a:lnTo>
                  <a:pt x="1437" y="1314"/>
                </a:lnTo>
                <a:lnTo>
                  <a:pt x="1433" y="1315"/>
                </a:lnTo>
                <a:lnTo>
                  <a:pt x="1430" y="1314"/>
                </a:lnTo>
                <a:lnTo>
                  <a:pt x="1427" y="1312"/>
                </a:lnTo>
                <a:lnTo>
                  <a:pt x="1424" y="1310"/>
                </a:lnTo>
                <a:lnTo>
                  <a:pt x="1422" y="1305"/>
                </a:lnTo>
                <a:lnTo>
                  <a:pt x="1422" y="1303"/>
                </a:lnTo>
                <a:lnTo>
                  <a:pt x="1422" y="1300"/>
                </a:lnTo>
                <a:lnTo>
                  <a:pt x="1422" y="1298"/>
                </a:lnTo>
                <a:lnTo>
                  <a:pt x="1423" y="1296"/>
                </a:lnTo>
                <a:lnTo>
                  <a:pt x="1425" y="1293"/>
                </a:lnTo>
                <a:lnTo>
                  <a:pt x="1427" y="1292"/>
                </a:lnTo>
                <a:lnTo>
                  <a:pt x="1428" y="1291"/>
                </a:lnTo>
                <a:lnTo>
                  <a:pt x="1429" y="1290"/>
                </a:lnTo>
                <a:lnTo>
                  <a:pt x="1432" y="1289"/>
                </a:lnTo>
                <a:close/>
                <a:moveTo>
                  <a:pt x="2681" y="1048"/>
                </a:moveTo>
                <a:lnTo>
                  <a:pt x="2686" y="1048"/>
                </a:lnTo>
                <a:lnTo>
                  <a:pt x="2688" y="1049"/>
                </a:lnTo>
                <a:lnTo>
                  <a:pt x="2690" y="1050"/>
                </a:lnTo>
                <a:lnTo>
                  <a:pt x="2692" y="1052"/>
                </a:lnTo>
                <a:lnTo>
                  <a:pt x="2694" y="1054"/>
                </a:lnTo>
                <a:lnTo>
                  <a:pt x="2695" y="1056"/>
                </a:lnTo>
                <a:lnTo>
                  <a:pt x="2696" y="1058"/>
                </a:lnTo>
                <a:lnTo>
                  <a:pt x="2696" y="1061"/>
                </a:lnTo>
                <a:lnTo>
                  <a:pt x="2696" y="1063"/>
                </a:lnTo>
                <a:lnTo>
                  <a:pt x="2695" y="1067"/>
                </a:lnTo>
                <a:lnTo>
                  <a:pt x="2694" y="1069"/>
                </a:lnTo>
                <a:lnTo>
                  <a:pt x="2693" y="1070"/>
                </a:lnTo>
                <a:lnTo>
                  <a:pt x="2689" y="1072"/>
                </a:lnTo>
                <a:lnTo>
                  <a:pt x="2686" y="1074"/>
                </a:lnTo>
                <a:lnTo>
                  <a:pt x="2681" y="1074"/>
                </a:lnTo>
                <a:lnTo>
                  <a:pt x="2679" y="1073"/>
                </a:lnTo>
                <a:lnTo>
                  <a:pt x="2677" y="1072"/>
                </a:lnTo>
                <a:lnTo>
                  <a:pt x="2675" y="1070"/>
                </a:lnTo>
                <a:lnTo>
                  <a:pt x="2673" y="1068"/>
                </a:lnTo>
                <a:lnTo>
                  <a:pt x="2672" y="1066"/>
                </a:lnTo>
                <a:lnTo>
                  <a:pt x="2671" y="1064"/>
                </a:lnTo>
                <a:lnTo>
                  <a:pt x="2671" y="1061"/>
                </a:lnTo>
                <a:lnTo>
                  <a:pt x="2671" y="1059"/>
                </a:lnTo>
                <a:lnTo>
                  <a:pt x="2672" y="1055"/>
                </a:lnTo>
                <a:lnTo>
                  <a:pt x="2673" y="1053"/>
                </a:lnTo>
                <a:lnTo>
                  <a:pt x="2675" y="1052"/>
                </a:lnTo>
                <a:lnTo>
                  <a:pt x="2678" y="1050"/>
                </a:lnTo>
                <a:lnTo>
                  <a:pt x="2681" y="1048"/>
                </a:lnTo>
                <a:close/>
                <a:moveTo>
                  <a:pt x="1485" y="1250"/>
                </a:moveTo>
                <a:lnTo>
                  <a:pt x="1489" y="1249"/>
                </a:lnTo>
                <a:lnTo>
                  <a:pt x="1492" y="1250"/>
                </a:lnTo>
                <a:lnTo>
                  <a:pt x="1495" y="1252"/>
                </a:lnTo>
                <a:lnTo>
                  <a:pt x="1498" y="1255"/>
                </a:lnTo>
                <a:lnTo>
                  <a:pt x="1499" y="1257"/>
                </a:lnTo>
                <a:lnTo>
                  <a:pt x="1500" y="1259"/>
                </a:lnTo>
                <a:lnTo>
                  <a:pt x="1500" y="1262"/>
                </a:lnTo>
                <a:lnTo>
                  <a:pt x="1500" y="1264"/>
                </a:lnTo>
                <a:lnTo>
                  <a:pt x="1499" y="1267"/>
                </a:lnTo>
                <a:lnTo>
                  <a:pt x="1498" y="1269"/>
                </a:lnTo>
                <a:lnTo>
                  <a:pt x="1497" y="1271"/>
                </a:lnTo>
                <a:lnTo>
                  <a:pt x="1495" y="1273"/>
                </a:lnTo>
                <a:lnTo>
                  <a:pt x="1492" y="1274"/>
                </a:lnTo>
                <a:lnTo>
                  <a:pt x="1490" y="1275"/>
                </a:lnTo>
                <a:lnTo>
                  <a:pt x="1486" y="1275"/>
                </a:lnTo>
                <a:lnTo>
                  <a:pt x="1483" y="1274"/>
                </a:lnTo>
                <a:lnTo>
                  <a:pt x="1480" y="1272"/>
                </a:lnTo>
                <a:lnTo>
                  <a:pt x="1477" y="1270"/>
                </a:lnTo>
                <a:lnTo>
                  <a:pt x="1476" y="1267"/>
                </a:lnTo>
                <a:lnTo>
                  <a:pt x="1475" y="1265"/>
                </a:lnTo>
                <a:lnTo>
                  <a:pt x="1475" y="1263"/>
                </a:lnTo>
                <a:lnTo>
                  <a:pt x="1475" y="1260"/>
                </a:lnTo>
                <a:lnTo>
                  <a:pt x="1475" y="1258"/>
                </a:lnTo>
                <a:lnTo>
                  <a:pt x="1476" y="1256"/>
                </a:lnTo>
                <a:lnTo>
                  <a:pt x="1478" y="1253"/>
                </a:lnTo>
                <a:lnTo>
                  <a:pt x="1480" y="1252"/>
                </a:lnTo>
                <a:lnTo>
                  <a:pt x="1482" y="1250"/>
                </a:lnTo>
                <a:lnTo>
                  <a:pt x="1485" y="1250"/>
                </a:lnTo>
                <a:close/>
                <a:moveTo>
                  <a:pt x="2616" y="1037"/>
                </a:moveTo>
                <a:lnTo>
                  <a:pt x="2620" y="1037"/>
                </a:lnTo>
                <a:lnTo>
                  <a:pt x="2623" y="1038"/>
                </a:lnTo>
                <a:lnTo>
                  <a:pt x="2625" y="1039"/>
                </a:lnTo>
                <a:lnTo>
                  <a:pt x="2627" y="1041"/>
                </a:lnTo>
                <a:lnTo>
                  <a:pt x="2629" y="1042"/>
                </a:lnTo>
                <a:lnTo>
                  <a:pt x="2630" y="1044"/>
                </a:lnTo>
                <a:lnTo>
                  <a:pt x="2631" y="1047"/>
                </a:lnTo>
                <a:lnTo>
                  <a:pt x="2631" y="1049"/>
                </a:lnTo>
                <a:lnTo>
                  <a:pt x="2631" y="1052"/>
                </a:lnTo>
                <a:lnTo>
                  <a:pt x="2630" y="1056"/>
                </a:lnTo>
                <a:lnTo>
                  <a:pt x="2629" y="1057"/>
                </a:lnTo>
                <a:lnTo>
                  <a:pt x="2627" y="1059"/>
                </a:lnTo>
                <a:lnTo>
                  <a:pt x="2624" y="1061"/>
                </a:lnTo>
                <a:lnTo>
                  <a:pt x="2621" y="1062"/>
                </a:lnTo>
                <a:lnTo>
                  <a:pt x="2616" y="1062"/>
                </a:lnTo>
                <a:lnTo>
                  <a:pt x="2614" y="1062"/>
                </a:lnTo>
                <a:lnTo>
                  <a:pt x="2611" y="1061"/>
                </a:lnTo>
                <a:lnTo>
                  <a:pt x="2610" y="1059"/>
                </a:lnTo>
                <a:lnTo>
                  <a:pt x="2608" y="1057"/>
                </a:lnTo>
                <a:lnTo>
                  <a:pt x="2607" y="1055"/>
                </a:lnTo>
                <a:lnTo>
                  <a:pt x="2606" y="1053"/>
                </a:lnTo>
                <a:lnTo>
                  <a:pt x="2606" y="1050"/>
                </a:lnTo>
                <a:lnTo>
                  <a:pt x="2606" y="1048"/>
                </a:lnTo>
                <a:lnTo>
                  <a:pt x="2607" y="1044"/>
                </a:lnTo>
                <a:lnTo>
                  <a:pt x="2608" y="1042"/>
                </a:lnTo>
                <a:lnTo>
                  <a:pt x="2609" y="1041"/>
                </a:lnTo>
                <a:lnTo>
                  <a:pt x="2612" y="1038"/>
                </a:lnTo>
                <a:lnTo>
                  <a:pt x="2616" y="1037"/>
                </a:lnTo>
                <a:close/>
                <a:moveTo>
                  <a:pt x="1540" y="1212"/>
                </a:moveTo>
                <a:lnTo>
                  <a:pt x="1543" y="1212"/>
                </a:lnTo>
                <a:lnTo>
                  <a:pt x="1547" y="1213"/>
                </a:lnTo>
                <a:lnTo>
                  <a:pt x="1548" y="1214"/>
                </a:lnTo>
                <a:lnTo>
                  <a:pt x="1550" y="1215"/>
                </a:lnTo>
                <a:lnTo>
                  <a:pt x="1553" y="1218"/>
                </a:lnTo>
                <a:lnTo>
                  <a:pt x="1554" y="1220"/>
                </a:lnTo>
                <a:lnTo>
                  <a:pt x="1554" y="1222"/>
                </a:lnTo>
                <a:lnTo>
                  <a:pt x="1554" y="1227"/>
                </a:lnTo>
                <a:lnTo>
                  <a:pt x="1554" y="1230"/>
                </a:lnTo>
                <a:lnTo>
                  <a:pt x="1553" y="1232"/>
                </a:lnTo>
                <a:lnTo>
                  <a:pt x="1551" y="1234"/>
                </a:lnTo>
                <a:lnTo>
                  <a:pt x="1549" y="1235"/>
                </a:lnTo>
                <a:lnTo>
                  <a:pt x="1547" y="1237"/>
                </a:lnTo>
                <a:lnTo>
                  <a:pt x="1544" y="1237"/>
                </a:lnTo>
                <a:lnTo>
                  <a:pt x="1540" y="1237"/>
                </a:lnTo>
                <a:lnTo>
                  <a:pt x="1537" y="1236"/>
                </a:lnTo>
                <a:lnTo>
                  <a:pt x="1535" y="1236"/>
                </a:lnTo>
                <a:lnTo>
                  <a:pt x="1534" y="1235"/>
                </a:lnTo>
                <a:lnTo>
                  <a:pt x="1531" y="1232"/>
                </a:lnTo>
                <a:lnTo>
                  <a:pt x="1530" y="1229"/>
                </a:lnTo>
                <a:lnTo>
                  <a:pt x="1529" y="1227"/>
                </a:lnTo>
                <a:lnTo>
                  <a:pt x="1529" y="1222"/>
                </a:lnTo>
                <a:lnTo>
                  <a:pt x="1530" y="1220"/>
                </a:lnTo>
                <a:lnTo>
                  <a:pt x="1531" y="1218"/>
                </a:lnTo>
                <a:lnTo>
                  <a:pt x="1533" y="1216"/>
                </a:lnTo>
                <a:lnTo>
                  <a:pt x="1535" y="1214"/>
                </a:lnTo>
                <a:lnTo>
                  <a:pt x="1537" y="1213"/>
                </a:lnTo>
                <a:lnTo>
                  <a:pt x="1540" y="1212"/>
                </a:lnTo>
                <a:close/>
                <a:moveTo>
                  <a:pt x="2551" y="1026"/>
                </a:moveTo>
                <a:lnTo>
                  <a:pt x="2555" y="1026"/>
                </a:lnTo>
                <a:lnTo>
                  <a:pt x="2558" y="1027"/>
                </a:lnTo>
                <a:lnTo>
                  <a:pt x="2560" y="1028"/>
                </a:lnTo>
                <a:lnTo>
                  <a:pt x="2562" y="1030"/>
                </a:lnTo>
                <a:lnTo>
                  <a:pt x="2563" y="1031"/>
                </a:lnTo>
                <a:lnTo>
                  <a:pt x="2565" y="1034"/>
                </a:lnTo>
                <a:lnTo>
                  <a:pt x="2566" y="1036"/>
                </a:lnTo>
                <a:lnTo>
                  <a:pt x="2566" y="1038"/>
                </a:lnTo>
                <a:lnTo>
                  <a:pt x="2566" y="1041"/>
                </a:lnTo>
                <a:lnTo>
                  <a:pt x="2564" y="1045"/>
                </a:lnTo>
                <a:lnTo>
                  <a:pt x="2563" y="1047"/>
                </a:lnTo>
                <a:lnTo>
                  <a:pt x="2562" y="1048"/>
                </a:lnTo>
                <a:lnTo>
                  <a:pt x="2559" y="1050"/>
                </a:lnTo>
                <a:lnTo>
                  <a:pt x="2555" y="1052"/>
                </a:lnTo>
                <a:lnTo>
                  <a:pt x="2551" y="1052"/>
                </a:lnTo>
                <a:lnTo>
                  <a:pt x="2549" y="1051"/>
                </a:lnTo>
                <a:lnTo>
                  <a:pt x="2546" y="1050"/>
                </a:lnTo>
                <a:lnTo>
                  <a:pt x="2544" y="1048"/>
                </a:lnTo>
                <a:lnTo>
                  <a:pt x="2543" y="1046"/>
                </a:lnTo>
                <a:lnTo>
                  <a:pt x="2541" y="1044"/>
                </a:lnTo>
                <a:lnTo>
                  <a:pt x="2541" y="1042"/>
                </a:lnTo>
                <a:lnTo>
                  <a:pt x="2540" y="1039"/>
                </a:lnTo>
                <a:lnTo>
                  <a:pt x="2540" y="1037"/>
                </a:lnTo>
                <a:lnTo>
                  <a:pt x="2542" y="1033"/>
                </a:lnTo>
                <a:lnTo>
                  <a:pt x="2543" y="1031"/>
                </a:lnTo>
                <a:lnTo>
                  <a:pt x="2544" y="1030"/>
                </a:lnTo>
                <a:lnTo>
                  <a:pt x="2547" y="1028"/>
                </a:lnTo>
                <a:lnTo>
                  <a:pt x="2551" y="1026"/>
                </a:lnTo>
                <a:close/>
                <a:moveTo>
                  <a:pt x="1596" y="1177"/>
                </a:moveTo>
                <a:lnTo>
                  <a:pt x="1599" y="1177"/>
                </a:lnTo>
                <a:lnTo>
                  <a:pt x="1603" y="1178"/>
                </a:lnTo>
                <a:lnTo>
                  <a:pt x="1606" y="1180"/>
                </a:lnTo>
                <a:lnTo>
                  <a:pt x="1608" y="1181"/>
                </a:lnTo>
                <a:lnTo>
                  <a:pt x="1609" y="1183"/>
                </a:lnTo>
                <a:lnTo>
                  <a:pt x="1610" y="1185"/>
                </a:lnTo>
                <a:lnTo>
                  <a:pt x="1610" y="1188"/>
                </a:lnTo>
                <a:lnTo>
                  <a:pt x="1611" y="1190"/>
                </a:lnTo>
                <a:lnTo>
                  <a:pt x="1610" y="1192"/>
                </a:lnTo>
                <a:lnTo>
                  <a:pt x="1609" y="1195"/>
                </a:lnTo>
                <a:lnTo>
                  <a:pt x="1608" y="1197"/>
                </a:lnTo>
                <a:lnTo>
                  <a:pt x="1606" y="1199"/>
                </a:lnTo>
                <a:lnTo>
                  <a:pt x="1604" y="1200"/>
                </a:lnTo>
                <a:lnTo>
                  <a:pt x="1602" y="1201"/>
                </a:lnTo>
                <a:lnTo>
                  <a:pt x="1600" y="1202"/>
                </a:lnTo>
                <a:lnTo>
                  <a:pt x="1596" y="1202"/>
                </a:lnTo>
                <a:lnTo>
                  <a:pt x="1593" y="1201"/>
                </a:lnTo>
                <a:lnTo>
                  <a:pt x="1589" y="1199"/>
                </a:lnTo>
                <a:lnTo>
                  <a:pt x="1588" y="1198"/>
                </a:lnTo>
                <a:lnTo>
                  <a:pt x="1587" y="1196"/>
                </a:lnTo>
                <a:lnTo>
                  <a:pt x="1586" y="1194"/>
                </a:lnTo>
                <a:lnTo>
                  <a:pt x="1585" y="1191"/>
                </a:lnTo>
                <a:lnTo>
                  <a:pt x="1585" y="1189"/>
                </a:lnTo>
                <a:lnTo>
                  <a:pt x="1585" y="1186"/>
                </a:lnTo>
                <a:lnTo>
                  <a:pt x="1586" y="1184"/>
                </a:lnTo>
                <a:lnTo>
                  <a:pt x="1587" y="1182"/>
                </a:lnTo>
                <a:lnTo>
                  <a:pt x="1589" y="1180"/>
                </a:lnTo>
                <a:lnTo>
                  <a:pt x="1591" y="1178"/>
                </a:lnTo>
                <a:lnTo>
                  <a:pt x="1593" y="1177"/>
                </a:lnTo>
                <a:lnTo>
                  <a:pt x="1596" y="1177"/>
                </a:lnTo>
                <a:close/>
                <a:moveTo>
                  <a:pt x="2486" y="1016"/>
                </a:moveTo>
                <a:lnTo>
                  <a:pt x="2490" y="1016"/>
                </a:lnTo>
                <a:lnTo>
                  <a:pt x="2492" y="1016"/>
                </a:lnTo>
                <a:lnTo>
                  <a:pt x="2495" y="1017"/>
                </a:lnTo>
                <a:lnTo>
                  <a:pt x="2497" y="1019"/>
                </a:lnTo>
                <a:lnTo>
                  <a:pt x="2498" y="1021"/>
                </a:lnTo>
                <a:lnTo>
                  <a:pt x="2499" y="1023"/>
                </a:lnTo>
                <a:lnTo>
                  <a:pt x="2500" y="1025"/>
                </a:lnTo>
                <a:lnTo>
                  <a:pt x="2501" y="1028"/>
                </a:lnTo>
                <a:lnTo>
                  <a:pt x="2500" y="1030"/>
                </a:lnTo>
                <a:lnTo>
                  <a:pt x="2499" y="1034"/>
                </a:lnTo>
                <a:lnTo>
                  <a:pt x="2498" y="1036"/>
                </a:lnTo>
                <a:lnTo>
                  <a:pt x="2497" y="1037"/>
                </a:lnTo>
                <a:lnTo>
                  <a:pt x="2495" y="1039"/>
                </a:lnTo>
                <a:lnTo>
                  <a:pt x="2494" y="1040"/>
                </a:lnTo>
                <a:lnTo>
                  <a:pt x="2490" y="1041"/>
                </a:lnTo>
                <a:lnTo>
                  <a:pt x="2486" y="1041"/>
                </a:lnTo>
                <a:lnTo>
                  <a:pt x="2483" y="1040"/>
                </a:lnTo>
                <a:lnTo>
                  <a:pt x="2481" y="1039"/>
                </a:lnTo>
                <a:lnTo>
                  <a:pt x="2479" y="1038"/>
                </a:lnTo>
                <a:lnTo>
                  <a:pt x="2477" y="1036"/>
                </a:lnTo>
                <a:lnTo>
                  <a:pt x="2476" y="1034"/>
                </a:lnTo>
                <a:lnTo>
                  <a:pt x="2475" y="1031"/>
                </a:lnTo>
                <a:lnTo>
                  <a:pt x="2475" y="1029"/>
                </a:lnTo>
                <a:lnTo>
                  <a:pt x="2475" y="1026"/>
                </a:lnTo>
                <a:lnTo>
                  <a:pt x="2476" y="1022"/>
                </a:lnTo>
                <a:lnTo>
                  <a:pt x="2477" y="1021"/>
                </a:lnTo>
                <a:lnTo>
                  <a:pt x="2479" y="1019"/>
                </a:lnTo>
                <a:lnTo>
                  <a:pt x="2480" y="1018"/>
                </a:lnTo>
                <a:lnTo>
                  <a:pt x="2482" y="1017"/>
                </a:lnTo>
                <a:lnTo>
                  <a:pt x="2486" y="1016"/>
                </a:lnTo>
                <a:close/>
                <a:moveTo>
                  <a:pt x="1653" y="1144"/>
                </a:moveTo>
                <a:lnTo>
                  <a:pt x="1657" y="1144"/>
                </a:lnTo>
                <a:lnTo>
                  <a:pt x="1661" y="1145"/>
                </a:lnTo>
                <a:lnTo>
                  <a:pt x="1662" y="1146"/>
                </a:lnTo>
                <a:lnTo>
                  <a:pt x="1664" y="1147"/>
                </a:lnTo>
                <a:lnTo>
                  <a:pt x="1666" y="1150"/>
                </a:lnTo>
                <a:lnTo>
                  <a:pt x="1668" y="1155"/>
                </a:lnTo>
                <a:lnTo>
                  <a:pt x="1668" y="1158"/>
                </a:lnTo>
                <a:lnTo>
                  <a:pt x="1667" y="1160"/>
                </a:lnTo>
                <a:lnTo>
                  <a:pt x="1667" y="1162"/>
                </a:lnTo>
                <a:lnTo>
                  <a:pt x="1665" y="1164"/>
                </a:lnTo>
                <a:lnTo>
                  <a:pt x="1663" y="1166"/>
                </a:lnTo>
                <a:lnTo>
                  <a:pt x="1661" y="1168"/>
                </a:lnTo>
                <a:lnTo>
                  <a:pt x="1659" y="1169"/>
                </a:lnTo>
                <a:lnTo>
                  <a:pt x="1657" y="1169"/>
                </a:lnTo>
                <a:lnTo>
                  <a:pt x="1653" y="1169"/>
                </a:lnTo>
                <a:lnTo>
                  <a:pt x="1650" y="1168"/>
                </a:lnTo>
                <a:lnTo>
                  <a:pt x="1648" y="1167"/>
                </a:lnTo>
                <a:lnTo>
                  <a:pt x="1646" y="1166"/>
                </a:lnTo>
                <a:lnTo>
                  <a:pt x="1644" y="1163"/>
                </a:lnTo>
                <a:lnTo>
                  <a:pt x="1642" y="1158"/>
                </a:lnTo>
                <a:lnTo>
                  <a:pt x="1642" y="1155"/>
                </a:lnTo>
                <a:lnTo>
                  <a:pt x="1643" y="1153"/>
                </a:lnTo>
                <a:lnTo>
                  <a:pt x="1644" y="1151"/>
                </a:lnTo>
                <a:lnTo>
                  <a:pt x="1645" y="1148"/>
                </a:lnTo>
                <a:lnTo>
                  <a:pt x="1647" y="1147"/>
                </a:lnTo>
                <a:lnTo>
                  <a:pt x="1649" y="1145"/>
                </a:lnTo>
                <a:lnTo>
                  <a:pt x="1651" y="1144"/>
                </a:lnTo>
                <a:lnTo>
                  <a:pt x="1653" y="1144"/>
                </a:lnTo>
                <a:close/>
                <a:moveTo>
                  <a:pt x="2420" y="1005"/>
                </a:moveTo>
                <a:lnTo>
                  <a:pt x="2424" y="1005"/>
                </a:lnTo>
                <a:lnTo>
                  <a:pt x="2427" y="1006"/>
                </a:lnTo>
                <a:lnTo>
                  <a:pt x="2429" y="1007"/>
                </a:lnTo>
                <a:lnTo>
                  <a:pt x="2431" y="1009"/>
                </a:lnTo>
                <a:lnTo>
                  <a:pt x="2433" y="1011"/>
                </a:lnTo>
                <a:lnTo>
                  <a:pt x="2434" y="1013"/>
                </a:lnTo>
                <a:lnTo>
                  <a:pt x="2435" y="1015"/>
                </a:lnTo>
                <a:lnTo>
                  <a:pt x="2435" y="1017"/>
                </a:lnTo>
                <a:lnTo>
                  <a:pt x="2435" y="1020"/>
                </a:lnTo>
                <a:lnTo>
                  <a:pt x="2434" y="1024"/>
                </a:lnTo>
                <a:lnTo>
                  <a:pt x="2433" y="1026"/>
                </a:lnTo>
                <a:lnTo>
                  <a:pt x="2431" y="1027"/>
                </a:lnTo>
                <a:lnTo>
                  <a:pt x="2430" y="1028"/>
                </a:lnTo>
                <a:lnTo>
                  <a:pt x="2428" y="1029"/>
                </a:lnTo>
                <a:lnTo>
                  <a:pt x="2425" y="1031"/>
                </a:lnTo>
                <a:lnTo>
                  <a:pt x="2420" y="1031"/>
                </a:lnTo>
                <a:lnTo>
                  <a:pt x="2418" y="1030"/>
                </a:lnTo>
                <a:lnTo>
                  <a:pt x="2416" y="1029"/>
                </a:lnTo>
                <a:lnTo>
                  <a:pt x="2414" y="1027"/>
                </a:lnTo>
                <a:lnTo>
                  <a:pt x="2412" y="1026"/>
                </a:lnTo>
                <a:lnTo>
                  <a:pt x="2411" y="1024"/>
                </a:lnTo>
                <a:lnTo>
                  <a:pt x="2410" y="1021"/>
                </a:lnTo>
                <a:lnTo>
                  <a:pt x="2410" y="1019"/>
                </a:lnTo>
                <a:lnTo>
                  <a:pt x="2410" y="1016"/>
                </a:lnTo>
                <a:lnTo>
                  <a:pt x="2411" y="1012"/>
                </a:lnTo>
                <a:lnTo>
                  <a:pt x="2412" y="1011"/>
                </a:lnTo>
                <a:lnTo>
                  <a:pt x="2413" y="1009"/>
                </a:lnTo>
                <a:lnTo>
                  <a:pt x="2415" y="1008"/>
                </a:lnTo>
                <a:lnTo>
                  <a:pt x="2416" y="1007"/>
                </a:lnTo>
                <a:lnTo>
                  <a:pt x="2420" y="1005"/>
                </a:lnTo>
                <a:close/>
                <a:moveTo>
                  <a:pt x="1712" y="1113"/>
                </a:moveTo>
                <a:lnTo>
                  <a:pt x="1716" y="1113"/>
                </a:lnTo>
                <a:lnTo>
                  <a:pt x="1718" y="1113"/>
                </a:lnTo>
                <a:lnTo>
                  <a:pt x="1720" y="1114"/>
                </a:lnTo>
                <a:lnTo>
                  <a:pt x="1722" y="1115"/>
                </a:lnTo>
                <a:lnTo>
                  <a:pt x="1723" y="1116"/>
                </a:lnTo>
                <a:lnTo>
                  <a:pt x="1726" y="1120"/>
                </a:lnTo>
                <a:lnTo>
                  <a:pt x="1726" y="1122"/>
                </a:lnTo>
                <a:lnTo>
                  <a:pt x="1727" y="1125"/>
                </a:lnTo>
                <a:lnTo>
                  <a:pt x="1727" y="1127"/>
                </a:lnTo>
                <a:lnTo>
                  <a:pt x="1726" y="1129"/>
                </a:lnTo>
                <a:lnTo>
                  <a:pt x="1725" y="1132"/>
                </a:lnTo>
                <a:lnTo>
                  <a:pt x="1724" y="1134"/>
                </a:lnTo>
                <a:lnTo>
                  <a:pt x="1722" y="1135"/>
                </a:lnTo>
                <a:lnTo>
                  <a:pt x="1720" y="1138"/>
                </a:lnTo>
                <a:lnTo>
                  <a:pt x="1718" y="1138"/>
                </a:lnTo>
                <a:lnTo>
                  <a:pt x="1716" y="1139"/>
                </a:lnTo>
                <a:lnTo>
                  <a:pt x="1712" y="1139"/>
                </a:lnTo>
                <a:lnTo>
                  <a:pt x="1710" y="1138"/>
                </a:lnTo>
                <a:lnTo>
                  <a:pt x="1708" y="1138"/>
                </a:lnTo>
                <a:lnTo>
                  <a:pt x="1707" y="1137"/>
                </a:lnTo>
                <a:lnTo>
                  <a:pt x="1705" y="1134"/>
                </a:lnTo>
                <a:lnTo>
                  <a:pt x="1702" y="1131"/>
                </a:lnTo>
                <a:lnTo>
                  <a:pt x="1702" y="1128"/>
                </a:lnTo>
                <a:lnTo>
                  <a:pt x="1701" y="1126"/>
                </a:lnTo>
                <a:lnTo>
                  <a:pt x="1701" y="1123"/>
                </a:lnTo>
                <a:lnTo>
                  <a:pt x="1702" y="1121"/>
                </a:lnTo>
                <a:lnTo>
                  <a:pt x="1703" y="1119"/>
                </a:lnTo>
                <a:lnTo>
                  <a:pt x="1704" y="1117"/>
                </a:lnTo>
                <a:lnTo>
                  <a:pt x="1706" y="1115"/>
                </a:lnTo>
                <a:lnTo>
                  <a:pt x="1708" y="1114"/>
                </a:lnTo>
                <a:lnTo>
                  <a:pt x="1710" y="1113"/>
                </a:lnTo>
                <a:lnTo>
                  <a:pt x="1712" y="1113"/>
                </a:lnTo>
                <a:close/>
                <a:moveTo>
                  <a:pt x="2355" y="996"/>
                </a:moveTo>
                <a:lnTo>
                  <a:pt x="2358" y="996"/>
                </a:lnTo>
                <a:lnTo>
                  <a:pt x="2361" y="996"/>
                </a:lnTo>
                <a:lnTo>
                  <a:pt x="2363" y="997"/>
                </a:lnTo>
                <a:lnTo>
                  <a:pt x="2365" y="999"/>
                </a:lnTo>
                <a:lnTo>
                  <a:pt x="2367" y="1001"/>
                </a:lnTo>
                <a:lnTo>
                  <a:pt x="2368" y="1003"/>
                </a:lnTo>
                <a:lnTo>
                  <a:pt x="2369" y="1005"/>
                </a:lnTo>
                <a:lnTo>
                  <a:pt x="2370" y="1008"/>
                </a:lnTo>
                <a:lnTo>
                  <a:pt x="2370" y="1010"/>
                </a:lnTo>
                <a:lnTo>
                  <a:pt x="2369" y="1012"/>
                </a:lnTo>
                <a:lnTo>
                  <a:pt x="2368" y="1014"/>
                </a:lnTo>
                <a:lnTo>
                  <a:pt x="2367" y="1016"/>
                </a:lnTo>
                <a:lnTo>
                  <a:pt x="2366" y="1017"/>
                </a:lnTo>
                <a:lnTo>
                  <a:pt x="2363" y="1020"/>
                </a:lnTo>
                <a:lnTo>
                  <a:pt x="2361" y="1021"/>
                </a:lnTo>
                <a:lnTo>
                  <a:pt x="2359" y="1021"/>
                </a:lnTo>
                <a:lnTo>
                  <a:pt x="2355" y="1021"/>
                </a:lnTo>
                <a:lnTo>
                  <a:pt x="2353" y="1021"/>
                </a:lnTo>
                <a:lnTo>
                  <a:pt x="2351" y="1020"/>
                </a:lnTo>
                <a:lnTo>
                  <a:pt x="2349" y="1018"/>
                </a:lnTo>
                <a:lnTo>
                  <a:pt x="2347" y="1016"/>
                </a:lnTo>
                <a:lnTo>
                  <a:pt x="2346" y="1014"/>
                </a:lnTo>
                <a:lnTo>
                  <a:pt x="2345" y="1012"/>
                </a:lnTo>
                <a:lnTo>
                  <a:pt x="2344" y="1010"/>
                </a:lnTo>
                <a:lnTo>
                  <a:pt x="2344" y="1007"/>
                </a:lnTo>
                <a:lnTo>
                  <a:pt x="2345" y="1005"/>
                </a:lnTo>
                <a:lnTo>
                  <a:pt x="2345" y="1003"/>
                </a:lnTo>
                <a:lnTo>
                  <a:pt x="2346" y="1001"/>
                </a:lnTo>
                <a:lnTo>
                  <a:pt x="2348" y="1000"/>
                </a:lnTo>
                <a:lnTo>
                  <a:pt x="2351" y="997"/>
                </a:lnTo>
                <a:lnTo>
                  <a:pt x="2353" y="996"/>
                </a:lnTo>
                <a:lnTo>
                  <a:pt x="2355" y="996"/>
                </a:lnTo>
                <a:close/>
                <a:moveTo>
                  <a:pt x="1772" y="1085"/>
                </a:moveTo>
                <a:lnTo>
                  <a:pt x="1776" y="1085"/>
                </a:lnTo>
                <a:lnTo>
                  <a:pt x="1780" y="1087"/>
                </a:lnTo>
                <a:lnTo>
                  <a:pt x="1782" y="1088"/>
                </a:lnTo>
                <a:lnTo>
                  <a:pt x="1784" y="1089"/>
                </a:lnTo>
                <a:lnTo>
                  <a:pt x="1786" y="1093"/>
                </a:lnTo>
                <a:lnTo>
                  <a:pt x="1787" y="1095"/>
                </a:lnTo>
                <a:lnTo>
                  <a:pt x="1787" y="1098"/>
                </a:lnTo>
                <a:lnTo>
                  <a:pt x="1787" y="1100"/>
                </a:lnTo>
                <a:lnTo>
                  <a:pt x="1786" y="1103"/>
                </a:lnTo>
                <a:lnTo>
                  <a:pt x="1785" y="1105"/>
                </a:lnTo>
                <a:lnTo>
                  <a:pt x="1783" y="1107"/>
                </a:lnTo>
                <a:lnTo>
                  <a:pt x="1781" y="1108"/>
                </a:lnTo>
                <a:lnTo>
                  <a:pt x="1779" y="1110"/>
                </a:lnTo>
                <a:lnTo>
                  <a:pt x="1776" y="1110"/>
                </a:lnTo>
                <a:lnTo>
                  <a:pt x="1772" y="1110"/>
                </a:lnTo>
                <a:lnTo>
                  <a:pt x="1768" y="1109"/>
                </a:lnTo>
                <a:lnTo>
                  <a:pt x="1766" y="1108"/>
                </a:lnTo>
                <a:lnTo>
                  <a:pt x="1765" y="1107"/>
                </a:lnTo>
                <a:lnTo>
                  <a:pt x="1762" y="1103"/>
                </a:lnTo>
                <a:lnTo>
                  <a:pt x="1762" y="1100"/>
                </a:lnTo>
                <a:lnTo>
                  <a:pt x="1761" y="1098"/>
                </a:lnTo>
                <a:lnTo>
                  <a:pt x="1762" y="1095"/>
                </a:lnTo>
                <a:lnTo>
                  <a:pt x="1762" y="1093"/>
                </a:lnTo>
                <a:lnTo>
                  <a:pt x="1763" y="1091"/>
                </a:lnTo>
                <a:lnTo>
                  <a:pt x="1765" y="1089"/>
                </a:lnTo>
                <a:lnTo>
                  <a:pt x="1767" y="1087"/>
                </a:lnTo>
                <a:lnTo>
                  <a:pt x="1769" y="1086"/>
                </a:lnTo>
                <a:lnTo>
                  <a:pt x="1772" y="1085"/>
                </a:lnTo>
                <a:close/>
                <a:moveTo>
                  <a:pt x="2289" y="990"/>
                </a:moveTo>
                <a:lnTo>
                  <a:pt x="2292" y="990"/>
                </a:lnTo>
                <a:lnTo>
                  <a:pt x="2294" y="990"/>
                </a:lnTo>
                <a:lnTo>
                  <a:pt x="2297" y="991"/>
                </a:lnTo>
                <a:lnTo>
                  <a:pt x="2299" y="993"/>
                </a:lnTo>
                <a:lnTo>
                  <a:pt x="2301" y="994"/>
                </a:lnTo>
                <a:lnTo>
                  <a:pt x="2302" y="996"/>
                </a:lnTo>
                <a:lnTo>
                  <a:pt x="2303" y="998"/>
                </a:lnTo>
                <a:lnTo>
                  <a:pt x="2304" y="1001"/>
                </a:lnTo>
                <a:lnTo>
                  <a:pt x="2304" y="1003"/>
                </a:lnTo>
                <a:lnTo>
                  <a:pt x="2304" y="1006"/>
                </a:lnTo>
                <a:lnTo>
                  <a:pt x="2303" y="1008"/>
                </a:lnTo>
                <a:lnTo>
                  <a:pt x="2302" y="1010"/>
                </a:lnTo>
                <a:lnTo>
                  <a:pt x="2301" y="1011"/>
                </a:lnTo>
                <a:lnTo>
                  <a:pt x="2299" y="1013"/>
                </a:lnTo>
                <a:lnTo>
                  <a:pt x="2297" y="1014"/>
                </a:lnTo>
                <a:lnTo>
                  <a:pt x="2295" y="1015"/>
                </a:lnTo>
                <a:lnTo>
                  <a:pt x="2293" y="1015"/>
                </a:lnTo>
                <a:lnTo>
                  <a:pt x="2290" y="1016"/>
                </a:lnTo>
                <a:lnTo>
                  <a:pt x="2288" y="1015"/>
                </a:lnTo>
                <a:lnTo>
                  <a:pt x="2285" y="1014"/>
                </a:lnTo>
                <a:lnTo>
                  <a:pt x="2283" y="1013"/>
                </a:lnTo>
                <a:lnTo>
                  <a:pt x="2281" y="1011"/>
                </a:lnTo>
                <a:lnTo>
                  <a:pt x="2280" y="1009"/>
                </a:lnTo>
                <a:lnTo>
                  <a:pt x="2279" y="1007"/>
                </a:lnTo>
                <a:lnTo>
                  <a:pt x="2278" y="1005"/>
                </a:lnTo>
                <a:lnTo>
                  <a:pt x="2278" y="1002"/>
                </a:lnTo>
                <a:lnTo>
                  <a:pt x="2279" y="1000"/>
                </a:lnTo>
                <a:lnTo>
                  <a:pt x="2279" y="998"/>
                </a:lnTo>
                <a:lnTo>
                  <a:pt x="2280" y="996"/>
                </a:lnTo>
                <a:lnTo>
                  <a:pt x="2282" y="994"/>
                </a:lnTo>
                <a:lnTo>
                  <a:pt x="2283" y="993"/>
                </a:lnTo>
                <a:lnTo>
                  <a:pt x="2285" y="992"/>
                </a:lnTo>
                <a:lnTo>
                  <a:pt x="2287" y="991"/>
                </a:lnTo>
                <a:lnTo>
                  <a:pt x="2289" y="990"/>
                </a:lnTo>
                <a:close/>
                <a:moveTo>
                  <a:pt x="1833" y="1061"/>
                </a:moveTo>
                <a:lnTo>
                  <a:pt x="1838" y="1061"/>
                </a:lnTo>
                <a:lnTo>
                  <a:pt x="1840" y="1061"/>
                </a:lnTo>
                <a:lnTo>
                  <a:pt x="1842" y="1062"/>
                </a:lnTo>
                <a:lnTo>
                  <a:pt x="1845" y="1065"/>
                </a:lnTo>
                <a:lnTo>
                  <a:pt x="1847" y="1067"/>
                </a:lnTo>
                <a:lnTo>
                  <a:pt x="1848" y="1069"/>
                </a:lnTo>
                <a:lnTo>
                  <a:pt x="1848" y="1074"/>
                </a:lnTo>
                <a:lnTo>
                  <a:pt x="1848" y="1076"/>
                </a:lnTo>
                <a:lnTo>
                  <a:pt x="1847" y="1079"/>
                </a:lnTo>
                <a:lnTo>
                  <a:pt x="1844" y="1083"/>
                </a:lnTo>
                <a:lnTo>
                  <a:pt x="1842" y="1084"/>
                </a:lnTo>
                <a:lnTo>
                  <a:pt x="1840" y="1085"/>
                </a:lnTo>
                <a:lnTo>
                  <a:pt x="1838" y="1086"/>
                </a:lnTo>
                <a:lnTo>
                  <a:pt x="1833" y="1086"/>
                </a:lnTo>
                <a:lnTo>
                  <a:pt x="1831" y="1085"/>
                </a:lnTo>
                <a:lnTo>
                  <a:pt x="1829" y="1085"/>
                </a:lnTo>
                <a:lnTo>
                  <a:pt x="1826" y="1082"/>
                </a:lnTo>
                <a:lnTo>
                  <a:pt x="1825" y="1080"/>
                </a:lnTo>
                <a:lnTo>
                  <a:pt x="1824" y="1078"/>
                </a:lnTo>
                <a:lnTo>
                  <a:pt x="1823" y="1073"/>
                </a:lnTo>
                <a:lnTo>
                  <a:pt x="1823" y="1070"/>
                </a:lnTo>
                <a:lnTo>
                  <a:pt x="1824" y="1068"/>
                </a:lnTo>
                <a:lnTo>
                  <a:pt x="1827" y="1064"/>
                </a:lnTo>
                <a:lnTo>
                  <a:pt x="1829" y="1063"/>
                </a:lnTo>
                <a:lnTo>
                  <a:pt x="1831" y="1061"/>
                </a:lnTo>
                <a:lnTo>
                  <a:pt x="1833" y="1061"/>
                </a:lnTo>
                <a:close/>
                <a:moveTo>
                  <a:pt x="2223" y="988"/>
                </a:moveTo>
                <a:lnTo>
                  <a:pt x="2225" y="988"/>
                </a:lnTo>
                <a:lnTo>
                  <a:pt x="2227" y="989"/>
                </a:lnTo>
                <a:lnTo>
                  <a:pt x="2230" y="989"/>
                </a:lnTo>
                <a:lnTo>
                  <a:pt x="2232" y="990"/>
                </a:lnTo>
                <a:lnTo>
                  <a:pt x="2234" y="992"/>
                </a:lnTo>
                <a:lnTo>
                  <a:pt x="2235" y="994"/>
                </a:lnTo>
                <a:lnTo>
                  <a:pt x="2237" y="996"/>
                </a:lnTo>
                <a:lnTo>
                  <a:pt x="2237" y="998"/>
                </a:lnTo>
                <a:lnTo>
                  <a:pt x="2238" y="1001"/>
                </a:lnTo>
                <a:lnTo>
                  <a:pt x="2237" y="1006"/>
                </a:lnTo>
                <a:lnTo>
                  <a:pt x="2236" y="1008"/>
                </a:lnTo>
                <a:lnTo>
                  <a:pt x="2235" y="1009"/>
                </a:lnTo>
                <a:lnTo>
                  <a:pt x="2231" y="1012"/>
                </a:lnTo>
                <a:lnTo>
                  <a:pt x="2229" y="1013"/>
                </a:lnTo>
                <a:lnTo>
                  <a:pt x="2227" y="1014"/>
                </a:lnTo>
                <a:lnTo>
                  <a:pt x="2225" y="1014"/>
                </a:lnTo>
                <a:lnTo>
                  <a:pt x="2222" y="1014"/>
                </a:lnTo>
                <a:lnTo>
                  <a:pt x="2220" y="1013"/>
                </a:lnTo>
                <a:lnTo>
                  <a:pt x="2218" y="1012"/>
                </a:lnTo>
                <a:lnTo>
                  <a:pt x="2216" y="1010"/>
                </a:lnTo>
                <a:lnTo>
                  <a:pt x="2214" y="1008"/>
                </a:lnTo>
                <a:lnTo>
                  <a:pt x="2213" y="1006"/>
                </a:lnTo>
                <a:lnTo>
                  <a:pt x="2212" y="1004"/>
                </a:lnTo>
                <a:lnTo>
                  <a:pt x="2212" y="1001"/>
                </a:lnTo>
                <a:lnTo>
                  <a:pt x="2213" y="997"/>
                </a:lnTo>
                <a:lnTo>
                  <a:pt x="2214" y="995"/>
                </a:lnTo>
                <a:lnTo>
                  <a:pt x="2215" y="993"/>
                </a:lnTo>
                <a:lnTo>
                  <a:pt x="2218" y="990"/>
                </a:lnTo>
                <a:lnTo>
                  <a:pt x="2220" y="989"/>
                </a:lnTo>
                <a:lnTo>
                  <a:pt x="2223" y="988"/>
                </a:lnTo>
                <a:close/>
                <a:moveTo>
                  <a:pt x="1896" y="1040"/>
                </a:moveTo>
                <a:lnTo>
                  <a:pt x="1901" y="1040"/>
                </a:lnTo>
                <a:lnTo>
                  <a:pt x="1903" y="1040"/>
                </a:lnTo>
                <a:lnTo>
                  <a:pt x="1905" y="1041"/>
                </a:lnTo>
                <a:lnTo>
                  <a:pt x="1907" y="1043"/>
                </a:lnTo>
                <a:lnTo>
                  <a:pt x="1908" y="1044"/>
                </a:lnTo>
                <a:lnTo>
                  <a:pt x="1910" y="1046"/>
                </a:lnTo>
                <a:lnTo>
                  <a:pt x="1911" y="1048"/>
                </a:lnTo>
                <a:lnTo>
                  <a:pt x="1911" y="1051"/>
                </a:lnTo>
                <a:lnTo>
                  <a:pt x="1911" y="1054"/>
                </a:lnTo>
                <a:lnTo>
                  <a:pt x="1911" y="1056"/>
                </a:lnTo>
                <a:lnTo>
                  <a:pt x="1910" y="1058"/>
                </a:lnTo>
                <a:lnTo>
                  <a:pt x="1908" y="1060"/>
                </a:lnTo>
                <a:lnTo>
                  <a:pt x="1907" y="1062"/>
                </a:lnTo>
                <a:lnTo>
                  <a:pt x="1904" y="1063"/>
                </a:lnTo>
                <a:lnTo>
                  <a:pt x="1902" y="1064"/>
                </a:lnTo>
                <a:lnTo>
                  <a:pt x="1900" y="1065"/>
                </a:lnTo>
                <a:lnTo>
                  <a:pt x="1896" y="1065"/>
                </a:lnTo>
                <a:lnTo>
                  <a:pt x="1894" y="1064"/>
                </a:lnTo>
                <a:lnTo>
                  <a:pt x="1892" y="1063"/>
                </a:lnTo>
                <a:lnTo>
                  <a:pt x="1890" y="1062"/>
                </a:lnTo>
                <a:lnTo>
                  <a:pt x="1888" y="1060"/>
                </a:lnTo>
                <a:lnTo>
                  <a:pt x="1887" y="1058"/>
                </a:lnTo>
                <a:lnTo>
                  <a:pt x="1886" y="1056"/>
                </a:lnTo>
                <a:lnTo>
                  <a:pt x="1886" y="1053"/>
                </a:lnTo>
                <a:lnTo>
                  <a:pt x="1886" y="1051"/>
                </a:lnTo>
                <a:lnTo>
                  <a:pt x="1886" y="1049"/>
                </a:lnTo>
                <a:lnTo>
                  <a:pt x="1887" y="1046"/>
                </a:lnTo>
                <a:lnTo>
                  <a:pt x="1888" y="1044"/>
                </a:lnTo>
                <a:lnTo>
                  <a:pt x="1890" y="1042"/>
                </a:lnTo>
                <a:lnTo>
                  <a:pt x="1892" y="1041"/>
                </a:lnTo>
                <a:lnTo>
                  <a:pt x="1895" y="1040"/>
                </a:lnTo>
                <a:lnTo>
                  <a:pt x="1896" y="1040"/>
                </a:lnTo>
                <a:close/>
                <a:moveTo>
                  <a:pt x="2156" y="991"/>
                </a:moveTo>
                <a:lnTo>
                  <a:pt x="2157" y="991"/>
                </a:lnTo>
                <a:lnTo>
                  <a:pt x="2162" y="991"/>
                </a:lnTo>
                <a:lnTo>
                  <a:pt x="2164" y="992"/>
                </a:lnTo>
                <a:lnTo>
                  <a:pt x="2166" y="994"/>
                </a:lnTo>
                <a:lnTo>
                  <a:pt x="2168" y="996"/>
                </a:lnTo>
                <a:lnTo>
                  <a:pt x="2169" y="998"/>
                </a:lnTo>
                <a:lnTo>
                  <a:pt x="2170" y="1000"/>
                </a:lnTo>
                <a:lnTo>
                  <a:pt x="2171" y="1003"/>
                </a:lnTo>
                <a:lnTo>
                  <a:pt x="2171" y="1005"/>
                </a:lnTo>
                <a:lnTo>
                  <a:pt x="2170" y="1007"/>
                </a:lnTo>
                <a:lnTo>
                  <a:pt x="2169" y="1009"/>
                </a:lnTo>
                <a:lnTo>
                  <a:pt x="2168" y="1011"/>
                </a:lnTo>
                <a:lnTo>
                  <a:pt x="2166" y="1013"/>
                </a:lnTo>
                <a:lnTo>
                  <a:pt x="2164" y="1014"/>
                </a:lnTo>
                <a:lnTo>
                  <a:pt x="2160" y="1016"/>
                </a:lnTo>
                <a:lnTo>
                  <a:pt x="2159" y="1016"/>
                </a:lnTo>
                <a:lnTo>
                  <a:pt x="2154" y="1016"/>
                </a:lnTo>
                <a:lnTo>
                  <a:pt x="2151" y="1015"/>
                </a:lnTo>
                <a:lnTo>
                  <a:pt x="2149" y="1013"/>
                </a:lnTo>
                <a:lnTo>
                  <a:pt x="2148" y="1011"/>
                </a:lnTo>
                <a:lnTo>
                  <a:pt x="2146" y="1009"/>
                </a:lnTo>
                <a:lnTo>
                  <a:pt x="2145" y="1007"/>
                </a:lnTo>
                <a:lnTo>
                  <a:pt x="2145" y="1004"/>
                </a:lnTo>
                <a:lnTo>
                  <a:pt x="2145" y="1002"/>
                </a:lnTo>
                <a:lnTo>
                  <a:pt x="2146" y="1000"/>
                </a:lnTo>
                <a:lnTo>
                  <a:pt x="2146" y="997"/>
                </a:lnTo>
                <a:lnTo>
                  <a:pt x="2148" y="996"/>
                </a:lnTo>
                <a:lnTo>
                  <a:pt x="2149" y="994"/>
                </a:lnTo>
                <a:lnTo>
                  <a:pt x="2151" y="993"/>
                </a:lnTo>
                <a:lnTo>
                  <a:pt x="2156" y="991"/>
                </a:lnTo>
                <a:close/>
                <a:moveTo>
                  <a:pt x="1960" y="1022"/>
                </a:moveTo>
                <a:lnTo>
                  <a:pt x="1965" y="1022"/>
                </a:lnTo>
                <a:lnTo>
                  <a:pt x="1967" y="1023"/>
                </a:lnTo>
                <a:lnTo>
                  <a:pt x="1969" y="1024"/>
                </a:lnTo>
                <a:lnTo>
                  <a:pt x="1971" y="1025"/>
                </a:lnTo>
                <a:lnTo>
                  <a:pt x="1972" y="1027"/>
                </a:lnTo>
                <a:lnTo>
                  <a:pt x="1974" y="1029"/>
                </a:lnTo>
                <a:lnTo>
                  <a:pt x="1974" y="1031"/>
                </a:lnTo>
                <a:lnTo>
                  <a:pt x="1975" y="1034"/>
                </a:lnTo>
                <a:lnTo>
                  <a:pt x="1975" y="1036"/>
                </a:lnTo>
                <a:lnTo>
                  <a:pt x="1974" y="1039"/>
                </a:lnTo>
                <a:lnTo>
                  <a:pt x="1973" y="1041"/>
                </a:lnTo>
                <a:lnTo>
                  <a:pt x="1971" y="1043"/>
                </a:lnTo>
                <a:lnTo>
                  <a:pt x="1970" y="1045"/>
                </a:lnTo>
                <a:lnTo>
                  <a:pt x="1968" y="1046"/>
                </a:lnTo>
                <a:lnTo>
                  <a:pt x="1965" y="1047"/>
                </a:lnTo>
                <a:lnTo>
                  <a:pt x="1960" y="1047"/>
                </a:lnTo>
                <a:lnTo>
                  <a:pt x="1957" y="1046"/>
                </a:lnTo>
                <a:lnTo>
                  <a:pt x="1955" y="1045"/>
                </a:lnTo>
                <a:lnTo>
                  <a:pt x="1953" y="1044"/>
                </a:lnTo>
                <a:lnTo>
                  <a:pt x="1952" y="1042"/>
                </a:lnTo>
                <a:lnTo>
                  <a:pt x="1950" y="1040"/>
                </a:lnTo>
                <a:lnTo>
                  <a:pt x="1950" y="1038"/>
                </a:lnTo>
                <a:lnTo>
                  <a:pt x="1949" y="1035"/>
                </a:lnTo>
                <a:lnTo>
                  <a:pt x="1949" y="1032"/>
                </a:lnTo>
                <a:lnTo>
                  <a:pt x="1950" y="1030"/>
                </a:lnTo>
                <a:lnTo>
                  <a:pt x="1951" y="1028"/>
                </a:lnTo>
                <a:lnTo>
                  <a:pt x="1952" y="1026"/>
                </a:lnTo>
                <a:lnTo>
                  <a:pt x="1954" y="1024"/>
                </a:lnTo>
                <a:lnTo>
                  <a:pt x="1956" y="1023"/>
                </a:lnTo>
                <a:lnTo>
                  <a:pt x="1959" y="1022"/>
                </a:lnTo>
                <a:lnTo>
                  <a:pt x="1960" y="1022"/>
                </a:lnTo>
                <a:close/>
                <a:moveTo>
                  <a:pt x="2090" y="997"/>
                </a:moveTo>
                <a:lnTo>
                  <a:pt x="2093" y="997"/>
                </a:lnTo>
                <a:lnTo>
                  <a:pt x="2095" y="998"/>
                </a:lnTo>
                <a:lnTo>
                  <a:pt x="2098" y="999"/>
                </a:lnTo>
                <a:lnTo>
                  <a:pt x="2100" y="1000"/>
                </a:lnTo>
                <a:lnTo>
                  <a:pt x="2102" y="1001"/>
                </a:lnTo>
                <a:lnTo>
                  <a:pt x="2103" y="1003"/>
                </a:lnTo>
                <a:lnTo>
                  <a:pt x="2104" y="1006"/>
                </a:lnTo>
                <a:lnTo>
                  <a:pt x="2105" y="1008"/>
                </a:lnTo>
                <a:lnTo>
                  <a:pt x="2105" y="1011"/>
                </a:lnTo>
                <a:lnTo>
                  <a:pt x="2104" y="1013"/>
                </a:lnTo>
                <a:lnTo>
                  <a:pt x="2104" y="1015"/>
                </a:lnTo>
                <a:lnTo>
                  <a:pt x="2102" y="1018"/>
                </a:lnTo>
                <a:lnTo>
                  <a:pt x="2101" y="1019"/>
                </a:lnTo>
                <a:lnTo>
                  <a:pt x="2099" y="1021"/>
                </a:lnTo>
                <a:lnTo>
                  <a:pt x="2097" y="1022"/>
                </a:lnTo>
                <a:lnTo>
                  <a:pt x="2094" y="1023"/>
                </a:lnTo>
                <a:lnTo>
                  <a:pt x="2091" y="1023"/>
                </a:lnTo>
                <a:lnTo>
                  <a:pt x="2089" y="1022"/>
                </a:lnTo>
                <a:lnTo>
                  <a:pt x="2086" y="1021"/>
                </a:lnTo>
                <a:lnTo>
                  <a:pt x="2084" y="1020"/>
                </a:lnTo>
                <a:lnTo>
                  <a:pt x="2082" y="1018"/>
                </a:lnTo>
                <a:lnTo>
                  <a:pt x="2081" y="1016"/>
                </a:lnTo>
                <a:lnTo>
                  <a:pt x="2080" y="1014"/>
                </a:lnTo>
                <a:lnTo>
                  <a:pt x="2079" y="1012"/>
                </a:lnTo>
                <a:lnTo>
                  <a:pt x="2079" y="1009"/>
                </a:lnTo>
                <a:lnTo>
                  <a:pt x="2080" y="1007"/>
                </a:lnTo>
                <a:lnTo>
                  <a:pt x="2082" y="1002"/>
                </a:lnTo>
                <a:lnTo>
                  <a:pt x="2083" y="1001"/>
                </a:lnTo>
                <a:lnTo>
                  <a:pt x="2085" y="999"/>
                </a:lnTo>
                <a:lnTo>
                  <a:pt x="2087" y="998"/>
                </a:lnTo>
                <a:lnTo>
                  <a:pt x="2090" y="997"/>
                </a:lnTo>
                <a:close/>
                <a:moveTo>
                  <a:pt x="2024" y="1008"/>
                </a:moveTo>
                <a:lnTo>
                  <a:pt x="2029" y="1008"/>
                </a:lnTo>
                <a:lnTo>
                  <a:pt x="2032" y="1009"/>
                </a:lnTo>
                <a:lnTo>
                  <a:pt x="2034" y="1010"/>
                </a:lnTo>
                <a:lnTo>
                  <a:pt x="2036" y="1011"/>
                </a:lnTo>
                <a:lnTo>
                  <a:pt x="2037" y="1013"/>
                </a:lnTo>
                <a:lnTo>
                  <a:pt x="2038" y="1015"/>
                </a:lnTo>
                <a:lnTo>
                  <a:pt x="2039" y="1018"/>
                </a:lnTo>
                <a:lnTo>
                  <a:pt x="2039" y="1023"/>
                </a:lnTo>
                <a:lnTo>
                  <a:pt x="2038" y="1025"/>
                </a:lnTo>
                <a:lnTo>
                  <a:pt x="2037" y="1028"/>
                </a:lnTo>
                <a:lnTo>
                  <a:pt x="2036" y="1029"/>
                </a:lnTo>
                <a:lnTo>
                  <a:pt x="2034" y="1031"/>
                </a:lnTo>
                <a:lnTo>
                  <a:pt x="2031" y="1032"/>
                </a:lnTo>
                <a:lnTo>
                  <a:pt x="2029" y="1033"/>
                </a:lnTo>
                <a:lnTo>
                  <a:pt x="2024" y="1033"/>
                </a:lnTo>
                <a:lnTo>
                  <a:pt x="2022" y="1032"/>
                </a:lnTo>
                <a:lnTo>
                  <a:pt x="2019" y="1031"/>
                </a:lnTo>
                <a:lnTo>
                  <a:pt x="2017" y="1029"/>
                </a:lnTo>
                <a:lnTo>
                  <a:pt x="2016" y="1027"/>
                </a:lnTo>
                <a:lnTo>
                  <a:pt x="2015" y="1025"/>
                </a:lnTo>
                <a:lnTo>
                  <a:pt x="2014" y="1023"/>
                </a:lnTo>
                <a:lnTo>
                  <a:pt x="2014" y="1018"/>
                </a:lnTo>
                <a:lnTo>
                  <a:pt x="2015" y="1015"/>
                </a:lnTo>
                <a:lnTo>
                  <a:pt x="2016" y="1013"/>
                </a:lnTo>
                <a:lnTo>
                  <a:pt x="2018" y="1011"/>
                </a:lnTo>
                <a:lnTo>
                  <a:pt x="2020" y="1010"/>
                </a:lnTo>
                <a:lnTo>
                  <a:pt x="2022" y="1008"/>
                </a:lnTo>
                <a:lnTo>
                  <a:pt x="2024" y="1008"/>
                </a:lnTo>
                <a:close/>
                <a:moveTo>
                  <a:pt x="513" y="2208"/>
                </a:moveTo>
                <a:lnTo>
                  <a:pt x="517" y="2208"/>
                </a:lnTo>
                <a:lnTo>
                  <a:pt x="520" y="2209"/>
                </a:lnTo>
                <a:lnTo>
                  <a:pt x="522" y="2210"/>
                </a:lnTo>
                <a:lnTo>
                  <a:pt x="524" y="2211"/>
                </a:lnTo>
                <a:lnTo>
                  <a:pt x="526" y="2213"/>
                </a:lnTo>
                <a:lnTo>
                  <a:pt x="527" y="2215"/>
                </a:lnTo>
                <a:lnTo>
                  <a:pt x="528" y="2218"/>
                </a:lnTo>
                <a:lnTo>
                  <a:pt x="528" y="2220"/>
                </a:lnTo>
                <a:lnTo>
                  <a:pt x="528" y="2223"/>
                </a:lnTo>
                <a:lnTo>
                  <a:pt x="527" y="2225"/>
                </a:lnTo>
                <a:lnTo>
                  <a:pt x="526" y="2228"/>
                </a:lnTo>
                <a:lnTo>
                  <a:pt x="524" y="2231"/>
                </a:lnTo>
                <a:lnTo>
                  <a:pt x="521" y="2232"/>
                </a:lnTo>
                <a:lnTo>
                  <a:pt x="518" y="2233"/>
                </a:lnTo>
                <a:lnTo>
                  <a:pt x="514" y="2234"/>
                </a:lnTo>
                <a:lnTo>
                  <a:pt x="511" y="2233"/>
                </a:lnTo>
                <a:lnTo>
                  <a:pt x="508" y="2232"/>
                </a:lnTo>
                <a:lnTo>
                  <a:pt x="506" y="2230"/>
                </a:lnTo>
                <a:lnTo>
                  <a:pt x="505" y="2228"/>
                </a:lnTo>
                <a:lnTo>
                  <a:pt x="504" y="2226"/>
                </a:lnTo>
                <a:lnTo>
                  <a:pt x="503" y="2224"/>
                </a:lnTo>
                <a:lnTo>
                  <a:pt x="502" y="2221"/>
                </a:lnTo>
                <a:lnTo>
                  <a:pt x="503" y="2219"/>
                </a:lnTo>
                <a:lnTo>
                  <a:pt x="503" y="2216"/>
                </a:lnTo>
                <a:lnTo>
                  <a:pt x="505" y="2213"/>
                </a:lnTo>
                <a:lnTo>
                  <a:pt x="507" y="2211"/>
                </a:lnTo>
                <a:lnTo>
                  <a:pt x="510" y="2209"/>
                </a:lnTo>
                <a:lnTo>
                  <a:pt x="513" y="2208"/>
                </a:lnTo>
                <a:close/>
                <a:moveTo>
                  <a:pt x="537" y="2146"/>
                </a:moveTo>
                <a:lnTo>
                  <a:pt x="541" y="2146"/>
                </a:lnTo>
                <a:lnTo>
                  <a:pt x="544" y="2147"/>
                </a:lnTo>
                <a:lnTo>
                  <a:pt x="546" y="2148"/>
                </a:lnTo>
                <a:lnTo>
                  <a:pt x="548" y="2150"/>
                </a:lnTo>
                <a:lnTo>
                  <a:pt x="550" y="2152"/>
                </a:lnTo>
                <a:lnTo>
                  <a:pt x="551" y="2154"/>
                </a:lnTo>
                <a:lnTo>
                  <a:pt x="552" y="2156"/>
                </a:lnTo>
                <a:lnTo>
                  <a:pt x="552" y="2159"/>
                </a:lnTo>
                <a:lnTo>
                  <a:pt x="552" y="2161"/>
                </a:lnTo>
                <a:lnTo>
                  <a:pt x="551" y="2164"/>
                </a:lnTo>
                <a:lnTo>
                  <a:pt x="550" y="2167"/>
                </a:lnTo>
                <a:lnTo>
                  <a:pt x="547" y="2169"/>
                </a:lnTo>
                <a:lnTo>
                  <a:pt x="545" y="2171"/>
                </a:lnTo>
                <a:lnTo>
                  <a:pt x="542" y="2172"/>
                </a:lnTo>
                <a:lnTo>
                  <a:pt x="538" y="2172"/>
                </a:lnTo>
                <a:lnTo>
                  <a:pt x="535" y="2171"/>
                </a:lnTo>
                <a:lnTo>
                  <a:pt x="532" y="2170"/>
                </a:lnTo>
                <a:lnTo>
                  <a:pt x="530" y="2168"/>
                </a:lnTo>
                <a:lnTo>
                  <a:pt x="529" y="2166"/>
                </a:lnTo>
                <a:lnTo>
                  <a:pt x="527" y="2164"/>
                </a:lnTo>
                <a:lnTo>
                  <a:pt x="527" y="2162"/>
                </a:lnTo>
                <a:lnTo>
                  <a:pt x="526" y="2159"/>
                </a:lnTo>
                <a:lnTo>
                  <a:pt x="527" y="2157"/>
                </a:lnTo>
                <a:lnTo>
                  <a:pt x="527" y="2154"/>
                </a:lnTo>
                <a:lnTo>
                  <a:pt x="529" y="2151"/>
                </a:lnTo>
                <a:lnTo>
                  <a:pt x="531" y="2149"/>
                </a:lnTo>
                <a:lnTo>
                  <a:pt x="534" y="2147"/>
                </a:lnTo>
                <a:lnTo>
                  <a:pt x="537" y="2146"/>
                </a:lnTo>
                <a:close/>
                <a:moveTo>
                  <a:pt x="562" y="2085"/>
                </a:moveTo>
                <a:lnTo>
                  <a:pt x="566" y="2085"/>
                </a:lnTo>
                <a:lnTo>
                  <a:pt x="569" y="2086"/>
                </a:lnTo>
                <a:lnTo>
                  <a:pt x="572" y="2087"/>
                </a:lnTo>
                <a:lnTo>
                  <a:pt x="574" y="2089"/>
                </a:lnTo>
                <a:lnTo>
                  <a:pt x="575" y="2091"/>
                </a:lnTo>
                <a:lnTo>
                  <a:pt x="576" y="2093"/>
                </a:lnTo>
                <a:lnTo>
                  <a:pt x="577" y="2095"/>
                </a:lnTo>
                <a:lnTo>
                  <a:pt x="577" y="2098"/>
                </a:lnTo>
                <a:lnTo>
                  <a:pt x="577" y="2100"/>
                </a:lnTo>
                <a:lnTo>
                  <a:pt x="576" y="2103"/>
                </a:lnTo>
                <a:lnTo>
                  <a:pt x="575" y="2106"/>
                </a:lnTo>
                <a:lnTo>
                  <a:pt x="572" y="2108"/>
                </a:lnTo>
                <a:lnTo>
                  <a:pt x="570" y="2110"/>
                </a:lnTo>
                <a:lnTo>
                  <a:pt x="567" y="2111"/>
                </a:lnTo>
                <a:lnTo>
                  <a:pt x="563" y="2111"/>
                </a:lnTo>
                <a:lnTo>
                  <a:pt x="559" y="2110"/>
                </a:lnTo>
                <a:lnTo>
                  <a:pt x="557" y="2108"/>
                </a:lnTo>
                <a:lnTo>
                  <a:pt x="555" y="2107"/>
                </a:lnTo>
                <a:lnTo>
                  <a:pt x="554" y="2105"/>
                </a:lnTo>
                <a:lnTo>
                  <a:pt x="552" y="2103"/>
                </a:lnTo>
                <a:lnTo>
                  <a:pt x="552" y="2100"/>
                </a:lnTo>
                <a:lnTo>
                  <a:pt x="551" y="2098"/>
                </a:lnTo>
                <a:lnTo>
                  <a:pt x="552" y="2095"/>
                </a:lnTo>
                <a:lnTo>
                  <a:pt x="552" y="2093"/>
                </a:lnTo>
                <a:lnTo>
                  <a:pt x="554" y="2090"/>
                </a:lnTo>
                <a:lnTo>
                  <a:pt x="556" y="2088"/>
                </a:lnTo>
                <a:lnTo>
                  <a:pt x="559" y="2086"/>
                </a:lnTo>
                <a:lnTo>
                  <a:pt x="562" y="2085"/>
                </a:lnTo>
                <a:close/>
                <a:moveTo>
                  <a:pt x="588" y="2024"/>
                </a:moveTo>
                <a:lnTo>
                  <a:pt x="592" y="2024"/>
                </a:lnTo>
                <a:lnTo>
                  <a:pt x="596" y="2025"/>
                </a:lnTo>
                <a:lnTo>
                  <a:pt x="598" y="2026"/>
                </a:lnTo>
                <a:lnTo>
                  <a:pt x="600" y="2028"/>
                </a:lnTo>
                <a:lnTo>
                  <a:pt x="601" y="2030"/>
                </a:lnTo>
                <a:lnTo>
                  <a:pt x="603" y="2032"/>
                </a:lnTo>
                <a:lnTo>
                  <a:pt x="603" y="2035"/>
                </a:lnTo>
                <a:lnTo>
                  <a:pt x="603" y="2037"/>
                </a:lnTo>
                <a:lnTo>
                  <a:pt x="603" y="2040"/>
                </a:lnTo>
                <a:lnTo>
                  <a:pt x="602" y="2042"/>
                </a:lnTo>
                <a:lnTo>
                  <a:pt x="601" y="2045"/>
                </a:lnTo>
                <a:lnTo>
                  <a:pt x="598" y="2047"/>
                </a:lnTo>
                <a:lnTo>
                  <a:pt x="597" y="2048"/>
                </a:lnTo>
                <a:lnTo>
                  <a:pt x="596" y="2049"/>
                </a:lnTo>
                <a:lnTo>
                  <a:pt x="593" y="2050"/>
                </a:lnTo>
                <a:lnTo>
                  <a:pt x="589" y="2050"/>
                </a:lnTo>
                <a:lnTo>
                  <a:pt x="585" y="2049"/>
                </a:lnTo>
                <a:lnTo>
                  <a:pt x="583" y="2048"/>
                </a:lnTo>
                <a:lnTo>
                  <a:pt x="581" y="2046"/>
                </a:lnTo>
                <a:lnTo>
                  <a:pt x="580" y="2044"/>
                </a:lnTo>
                <a:lnTo>
                  <a:pt x="578" y="2042"/>
                </a:lnTo>
                <a:lnTo>
                  <a:pt x="578" y="2039"/>
                </a:lnTo>
                <a:lnTo>
                  <a:pt x="578" y="2037"/>
                </a:lnTo>
                <a:lnTo>
                  <a:pt x="578" y="2034"/>
                </a:lnTo>
                <a:lnTo>
                  <a:pt x="579" y="2032"/>
                </a:lnTo>
                <a:lnTo>
                  <a:pt x="580" y="2029"/>
                </a:lnTo>
                <a:lnTo>
                  <a:pt x="583" y="2027"/>
                </a:lnTo>
                <a:lnTo>
                  <a:pt x="584" y="2026"/>
                </a:lnTo>
                <a:lnTo>
                  <a:pt x="585" y="2025"/>
                </a:lnTo>
                <a:lnTo>
                  <a:pt x="588" y="2024"/>
                </a:lnTo>
                <a:close/>
                <a:moveTo>
                  <a:pt x="616" y="1964"/>
                </a:moveTo>
                <a:lnTo>
                  <a:pt x="619" y="1964"/>
                </a:lnTo>
                <a:lnTo>
                  <a:pt x="623" y="1965"/>
                </a:lnTo>
                <a:lnTo>
                  <a:pt x="625" y="1966"/>
                </a:lnTo>
                <a:lnTo>
                  <a:pt x="627" y="1968"/>
                </a:lnTo>
                <a:lnTo>
                  <a:pt x="629" y="1970"/>
                </a:lnTo>
                <a:lnTo>
                  <a:pt x="630" y="1972"/>
                </a:lnTo>
                <a:lnTo>
                  <a:pt x="631" y="1975"/>
                </a:lnTo>
                <a:lnTo>
                  <a:pt x="631" y="1977"/>
                </a:lnTo>
                <a:lnTo>
                  <a:pt x="630" y="1980"/>
                </a:lnTo>
                <a:lnTo>
                  <a:pt x="629" y="1982"/>
                </a:lnTo>
                <a:lnTo>
                  <a:pt x="628" y="1985"/>
                </a:lnTo>
                <a:lnTo>
                  <a:pt x="626" y="1987"/>
                </a:lnTo>
                <a:lnTo>
                  <a:pt x="623" y="1989"/>
                </a:lnTo>
                <a:lnTo>
                  <a:pt x="620" y="1989"/>
                </a:lnTo>
                <a:lnTo>
                  <a:pt x="616" y="1990"/>
                </a:lnTo>
                <a:lnTo>
                  <a:pt x="612" y="1988"/>
                </a:lnTo>
                <a:lnTo>
                  <a:pt x="610" y="1987"/>
                </a:lnTo>
                <a:lnTo>
                  <a:pt x="608" y="1985"/>
                </a:lnTo>
                <a:lnTo>
                  <a:pt x="607" y="1983"/>
                </a:lnTo>
                <a:lnTo>
                  <a:pt x="606" y="1981"/>
                </a:lnTo>
                <a:lnTo>
                  <a:pt x="605" y="1979"/>
                </a:lnTo>
                <a:lnTo>
                  <a:pt x="605" y="1976"/>
                </a:lnTo>
                <a:lnTo>
                  <a:pt x="605" y="1974"/>
                </a:lnTo>
                <a:lnTo>
                  <a:pt x="606" y="1971"/>
                </a:lnTo>
                <a:lnTo>
                  <a:pt x="608" y="1969"/>
                </a:lnTo>
                <a:lnTo>
                  <a:pt x="610" y="1966"/>
                </a:lnTo>
                <a:lnTo>
                  <a:pt x="613" y="1965"/>
                </a:lnTo>
                <a:lnTo>
                  <a:pt x="616" y="1964"/>
                </a:lnTo>
                <a:close/>
                <a:moveTo>
                  <a:pt x="644" y="1904"/>
                </a:moveTo>
                <a:lnTo>
                  <a:pt x="648" y="1904"/>
                </a:lnTo>
                <a:lnTo>
                  <a:pt x="650" y="1905"/>
                </a:lnTo>
                <a:lnTo>
                  <a:pt x="652" y="1905"/>
                </a:lnTo>
                <a:lnTo>
                  <a:pt x="654" y="1907"/>
                </a:lnTo>
                <a:lnTo>
                  <a:pt x="656" y="1908"/>
                </a:lnTo>
                <a:lnTo>
                  <a:pt x="657" y="1911"/>
                </a:lnTo>
                <a:lnTo>
                  <a:pt x="658" y="1913"/>
                </a:lnTo>
                <a:lnTo>
                  <a:pt x="659" y="1915"/>
                </a:lnTo>
                <a:lnTo>
                  <a:pt x="659" y="1918"/>
                </a:lnTo>
                <a:lnTo>
                  <a:pt x="659" y="1920"/>
                </a:lnTo>
                <a:lnTo>
                  <a:pt x="658" y="1923"/>
                </a:lnTo>
                <a:lnTo>
                  <a:pt x="656" y="1925"/>
                </a:lnTo>
                <a:lnTo>
                  <a:pt x="654" y="1927"/>
                </a:lnTo>
                <a:lnTo>
                  <a:pt x="651" y="1929"/>
                </a:lnTo>
                <a:lnTo>
                  <a:pt x="648" y="1930"/>
                </a:lnTo>
                <a:lnTo>
                  <a:pt x="644" y="1930"/>
                </a:lnTo>
                <a:lnTo>
                  <a:pt x="642" y="1929"/>
                </a:lnTo>
                <a:lnTo>
                  <a:pt x="641" y="1929"/>
                </a:lnTo>
                <a:lnTo>
                  <a:pt x="638" y="1927"/>
                </a:lnTo>
                <a:lnTo>
                  <a:pt x="636" y="1925"/>
                </a:lnTo>
                <a:lnTo>
                  <a:pt x="635" y="1923"/>
                </a:lnTo>
                <a:lnTo>
                  <a:pt x="634" y="1921"/>
                </a:lnTo>
                <a:lnTo>
                  <a:pt x="633" y="1919"/>
                </a:lnTo>
                <a:lnTo>
                  <a:pt x="633" y="1916"/>
                </a:lnTo>
                <a:lnTo>
                  <a:pt x="634" y="1914"/>
                </a:lnTo>
                <a:lnTo>
                  <a:pt x="635" y="1911"/>
                </a:lnTo>
                <a:lnTo>
                  <a:pt x="636" y="1909"/>
                </a:lnTo>
                <a:lnTo>
                  <a:pt x="638" y="1907"/>
                </a:lnTo>
                <a:lnTo>
                  <a:pt x="641" y="1905"/>
                </a:lnTo>
                <a:lnTo>
                  <a:pt x="644" y="1904"/>
                </a:lnTo>
                <a:close/>
                <a:moveTo>
                  <a:pt x="673" y="1845"/>
                </a:moveTo>
                <a:lnTo>
                  <a:pt x="678" y="1845"/>
                </a:lnTo>
                <a:lnTo>
                  <a:pt x="680" y="1845"/>
                </a:lnTo>
                <a:lnTo>
                  <a:pt x="682" y="1846"/>
                </a:lnTo>
                <a:lnTo>
                  <a:pt x="684" y="1848"/>
                </a:lnTo>
                <a:lnTo>
                  <a:pt x="686" y="1849"/>
                </a:lnTo>
                <a:lnTo>
                  <a:pt x="687" y="1852"/>
                </a:lnTo>
                <a:lnTo>
                  <a:pt x="688" y="1854"/>
                </a:lnTo>
                <a:lnTo>
                  <a:pt x="689" y="1856"/>
                </a:lnTo>
                <a:lnTo>
                  <a:pt x="689" y="1859"/>
                </a:lnTo>
                <a:lnTo>
                  <a:pt x="688" y="1861"/>
                </a:lnTo>
                <a:lnTo>
                  <a:pt x="687" y="1864"/>
                </a:lnTo>
                <a:lnTo>
                  <a:pt x="686" y="1866"/>
                </a:lnTo>
                <a:lnTo>
                  <a:pt x="683" y="1868"/>
                </a:lnTo>
                <a:lnTo>
                  <a:pt x="681" y="1870"/>
                </a:lnTo>
                <a:lnTo>
                  <a:pt x="678" y="1871"/>
                </a:lnTo>
                <a:lnTo>
                  <a:pt x="674" y="1871"/>
                </a:lnTo>
                <a:lnTo>
                  <a:pt x="672" y="1870"/>
                </a:lnTo>
                <a:lnTo>
                  <a:pt x="670" y="1869"/>
                </a:lnTo>
                <a:lnTo>
                  <a:pt x="668" y="1868"/>
                </a:lnTo>
                <a:lnTo>
                  <a:pt x="666" y="1866"/>
                </a:lnTo>
                <a:lnTo>
                  <a:pt x="664" y="1864"/>
                </a:lnTo>
                <a:lnTo>
                  <a:pt x="663" y="1862"/>
                </a:lnTo>
                <a:lnTo>
                  <a:pt x="663" y="1859"/>
                </a:lnTo>
                <a:lnTo>
                  <a:pt x="663" y="1857"/>
                </a:lnTo>
                <a:lnTo>
                  <a:pt x="663" y="1854"/>
                </a:lnTo>
                <a:lnTo>
                  <a:pt x="664" y="1852"/>
                </a:lnTo>
                <a:lnTo>
                  <a:pt x="666" y="1849"/>
                </a:lnTo>
                <a:lnTo>
                  <a:pt x="668" y="1847"/>
                </a:lnTo>
                <a:lnTo>
                  <a:pt x="671" y="1846"/>
                </a:lnTo>
                <a:lnTo>
                  <a:pt x="673" y="1845"/>
                </a:lnTo>
                <a:close/>
                <a:moveTo>
                  <a:pt x="704" y="1786"/>
                </a:moveTo>
                <a:lnTo>
                  <a:pt x="708" y="1786"/>
                </a:lnTo>
                <a:lnTo>
                  <a:pt x="713" y="1788"/>
                </a:lnTo>
                <a:lnTo>
                  <a:pt x="715" y="1789"/>
                </a:lnTo>
                <a:lnTo>
                  <a:pt x="717" y="1791"/>
                </a:lnTo>
                <a:lnTo>
                  <a:pt x="718" y="1793"/>
                </a:lnTo>
                <a:lnTo>
                  <a:pt x="719" y="1795"/>
                </a:lnTo>
                <a:lnTo>
                  <a:pt x="719" y="1798"/>
                </a:lnTo>
                <a:lnTo>
                  <a:pt x="719" y="1800"/>
                </a:lnTo>
                <a:lnTo>
                  <a:pt x="718" y="1805"/>
                </a:lnTo>
                <a:lnTo>
                  <a:pt x="716" y="1808"/>
                </a:lnTo>
                <a:lnTo>
                  <a:pt x="714" y="1810"/>
                </a:lnTo>
                <a:lnTo>
                  <a:pt x="711" y="1811"/>
                </a:lnTo>
                <a:lnTo>
                  <a:pt x="709" y="1812"/>
                </a:lnTo>
                <a:lnTo>
                  <a:pt x="704" y="1812"/>
                </a:lnTo>
                <a:lnTo>
                  <a:pt x="700" y="1811"/>
                </a:lnTo>
                <a:lnTo>
                  <a:pt x="698" y="1809"/>
                </a:lnTo>
                <a:lnTo>
                  <a:pt x="696" y="1807"/>
                </a:lnTo>
                <a:lnTo>
                  <a:pt x="695" y="1805"/>
                </a:lnTo>
                <a:lnTo>
                  <a:pt x="694" y="1803"/>
                </a:lnTo>
                <a:lnTo>
                  <a:pt x="694" y="1800"/>
                </a:lnTo>
                <a:lnTo>
                  <a:pt x="694" y="1798"/>
                </a:lnTo>
                <a:lnTo>
                  <a:pt x="695" y="1793"/>
                </a:lnTo>
                <a:lnTo>
                  <a:pt x="697" y="1791"/>
                </a:lnTo>
                <a:lnTo>
                  <a:pt x="699" y="1789"/>
                </a:lnTo>
                <a:lnTo>
                  <a:pt x="701" y="1787"/>
                </a:lnTo>
                <a:lnTo>
                  <a:pt x="704" y="1786"/>
                </a:lnTo>
                <a:close/>
                <a:moveTo>
                  <a:pt x="737" y="1729"/>
                </a:moveTo>
                <a:lnTo>
                  <a:pt x="742" y="1729"/>
                </a:lnTo>
                <a:lnTo>
                  <a:pt x="744" y="1729"/>
                </a:lnTo>
                <a:lnTo>
                  <a:pt x="746" y="1730"/>
                </a:lnTo>
                <a:lnTo>
                  <a:pt x="748" y="1732"/>
                </a:lnTo>
                <a:lnTo>
                  <a:pt x="750" y="1733"/>
                </a:lnTo>
                <a:lnTo>
                  <a:pt x="751" y="1736"/>
                </a:lnTo>
                <a:lnTo>
                  <a:pt x="752" y="1738"/>
                </a:lnTo>
                <a:lnTo>
                  <a:pt x="752" y="1740"/>
                </a:lnTo>
                <a:lnTo>
                  <a:pt x="752" y="1743"/>
                </a:lnTo>
                <a:lnTo>
                  <a:pt x="751" y="1748"/>
                </a:lnTo>
                <a:lnTo>
                  <a:pt x="749" y="1750"/>
                </a:lnTo>
                <a:lnTo>
                  <a:pt x="747" y="1752"/>
                </a:lnTo>
                <a:lnTo>
                  <a:pt x="744" y="1753"/>
                </a:lnTo>
                <a:lnTo>
                  <a:pt x="742" y="1754"/>
                </a:lnTo>
                <a:lnTo>
                  <a:pt x="737" y="1754"/>
                </a:lnTo>
                <a:lnTo>
                  <a:pt x="734" y="1753"/>
                </a:lnTo>
                <a:lnTo>
                  <a:pt x="732" y="1753"/>
                </a:lnTo>
                <a:lnTo>
                  <a:pt x="730" y="1751"/>
                </a:lnTo>
                <a:lnTo>
                  <a:pt x="728" y="1749"/>
                </a:lnTo>
                <a:lnTo>
                  <a:pt x="727" y="1747"/>
                </a:lnTo>
                <a:lnTo>
                  <a:pt x="726" y="1745"/>
                </a:lnTo>
                <a:lnTo>
                  <a:pt x="726" y="1742"/>
                </a:lnTo>
                <a:lnTo>
                  <a:pt x="726" y="1740"/>
                </a:lnTo>
                <a:lnTo>
                  <a:pt x="726" y="1737"/>
                </a:lnTo>
                <a:lnTo>
                  <a:pt x="727" y="1735"/>
                </a:lnTo>
                <a:lnTo>
                  <a:pt x="729" y="1733"/>
                </a:lnTo>
                <a:lnTo>
                  <a:pt x="731" y="1731"/>
                </a:lnTo>
                <a:lnTo>
                  <a:pt x="734" y="1729"/>
                </a:lnTo>
                <a:lnTo>
                  <a:pt x="737" y="1729"/>
                </a:lnTo>
                <a:close/>
                <a:moveTo>
                  <a:pt x="770" y="1671"/>
                </a:moveTo>
                <a:lnTo>
                  <a:pt x="775" y="1671"/>
                </a:lnTo>
                <a:lnTo>
                  <a:pt x="777" y="1672"/>
                </a:lnTo>
                <a:lnTo>
                  <a:pt x="779" y="1673"/>
                </a:lnTo>
                <a:lnTo>
                  <a:pt x="781" y="1674"/>
                </a:lnTo>
                <a:lnTo>
                  <a:pt x="783" y="1676"/>
                </a:lnTo>
                <a:lnTo>
                  <a:pt x="784" y="1679"/>
                </a:lnTo>
                <a:lnTo>
                  <a:pt x="785" y="1681"/>
                </a:lnTo>
                <a:lnTo>
                  <a:pt x="786" y="1683"/>
                </a:lnTo>
                <a:lnTo>
                  <a:pt x="785" y="1686"/>
                </a:lnTo>
                <a:lnTo>
                  <a:pt x="785" y="1688"/>
                </a:lnTo>
                <a:lnTo>
                  <a:pt x="784" y="1691"/>
                </a:lnTo>
                <a:lnTo>
                  <a:pt x="782" y="1693"/>
                </a:lnTo>
                <a:lnTo>
                  <a:pt x="780" y="1695"/>
                </a:lnTo>
                <a:lnTo>
                  <a:pt x="777" y="1696"/>
                </a:lnTo>
                <a:lnTo>
                  <a:pt x="775" y="1697"/>
                </a:lnTo>
                <a:lnTo>
                  <a:pt x="770" y="1697"/>
                </a:lnTo>
                <a:lnTo>
                  <a:pt x="768" y="1696"/>
                </a:lnTo>
                <a:lnTo>
                  <a:pt x="766" y="1695"/>
                </a:lnTo>
                <a:lnTo>
                  <a:pt x="764" y="1694"/>
                </a:lnTo>
                <a:lnTo>
                  <a:pt x="762" y="1692"/>
                </a:lnTo>
                <a:lnTo>
                  <a:pt x="761" y="1690"/>
                </a:lnTo>
                <a:lnTo>
                  <a:pt x="760" y="1687"/>
                </a:lnTo>
                <a:lnTo>
                  <a:pt x="760" y="1685"/>
                </a:lnTo>
                <a:lnTo>
                  <a:pt x="760" y="1682"/>
                </a:lnTo>
                <a:lnTo>
                  <a:pt x="760" y="1680"/>
                </a:lnTo>
                <a:lnTo>
                  <a:pt x="762" y="1677"/>
                </a:lnTo>
                <a:lnTo>
                  <a:pt x="763" y="1675"/>
                </a:lnTo>
                <a:lnTo>
                  <a:pt x="765" y="1673"/>
                </a:lnTo>
                <a:lnTo>
                  <a:pt x="768" y="1672"/>
                </a:lnTo>
                <a:lnTo>
                  <a:pt x="770" y="1671"/>
                </a:lnTo>
                <a:close/>
                <a:moveTo>
                  <a:pt x="805" y="1615"/>
                </a:moveTo>
                <a:lnTo>
                  <a:pt x="809" y="1615"/>
                </a:lnTo>
                <a:lnTo>
                  <a:pt x="812" y="1616"/>
                </a:lnTo>
                <a:lnTo>
                  <a:pt x="814" y="1617"/>
                </a:lnTo>
                <a:lnTo>
                  <a:pt x="816" y="1618"/>
                </a:lnTo>
                <a:lnTo>
                  <a:pt x="818" y="1620"/>
                </a:lnTo>
                <a:lnTo>
                  <a:pt x="819" y="1622"/>
                </a:lnTo>
                <a:lnTo>
                  <a:pt x="820" y="1625"/>
                </a:lnTo>
                <a:lnTo>
                  <a:pt x="820" y="1627"/>
                </a:lnTo>
                <a:lnTo>
                  <a:pt x="820" y="1630"/>
                </a:lnTo>
                <a:lnTo>
                  <a:pt x="819" y="1632"/>
                </a:lnTo>
                <a:lnTo>
                  <a:pt x="818" y="1634"/>
                </a:lnTo>
                <a:lnTo>
                  <a:pt x="816" y="1637"/>
                </a:lnTo>
                <a:lnTo>
                  <a:pt x="814" y="1638"/>
                </a:lnTo>
                <a:lnTo>
                  <a:pt x="812" y="1640"/>
                </a:lnTo>
                <a:lnTo>
                  <a:pt x="809" y="1640"/>
                </a:lnTo>
                <a:lnTo>
                  <a:pt x="805" y="1640"/>
                </a:lnTo>
                <a:lnTo>
                  <a:pt x="802" y="1640"/>
                </a:lnTo>
                <a:lnTo>
                  <a:pt x="800" y="1639"/>
                </a:lnTo>
                <a:lnTo>
                  <a:pt x="798" y="1637"/>
                </a:lnTo>
                <a:lnTo>
                  <a:pt x="797" y="1635"/>
                </a:lnTo>
                <a:lnTo>
                  <a:pt x="795" y="1633"/>
                </a:lnTo>
                <a:lnTo>
                  <a:pt x="794" y="1630"/>
                </a:lnTo>
                <a:lnTo>
                  <a:pt x="794" y="1628"/>
                </a:lnTo>
                <a:lnTo>
                  <a:pt x="794" y="1626"/>
                </a:lnTo>
                <a:lnTo>
                  <a:pt x="795" y="1623"/>
                </a:lnTo>
                <a:lnTo>
                  <a:pt x="796" y="1621"/>
                </a:lnTo>
                <a:lnTo>
                  <a:pt x="798" y="1619"/>
                </a:lnTo>
                <a:lnTo>
                  <a:pt x="800" y="1617"/>
                </a:lnTo>
                <a:lnTo>
                  <a:pt x="802" y="1616"/>
                </a:lnTo>
                <a:lnTo>
                  <a:pt x="805" y="1615"/>
                </a:lnTo>
                <a:close/>
                <a:moveTo>
                  <a:pt x="841" y="1559"/>
                </a:moveTo>
                <a:lnTo>
                  <a:pt x="845" y="1559"/>
                </a:lnTo>
                <a:lnTo>
                  <a:pt x="848" y="1560"/>
                </a:lnTo>
                <a:lnTo>
                  <a:pt x="850" y="1561"/>
                </a:lnTo>
                <a:lnTo>
                  <a:pt x="852" y="1563"/>
                </a:lnTo>
                <a:lnTo>
                  <a:pt x="854" y="1565"/>
                </a:lnTo>
                <a:lnTo>
                  <a:pt x="855" y="1567"/>
                </a:lnTo>
                <a:lnTo>
                  <a:pt x="855" y="1569"/>
                </a:lnTo>
                <a:lnTo>
                  <a:pt x="856" y="1574"/>
                </a:lnTo>
                <a:lnTo>
                  <a:pt x="855" y="1577"/>
                </a:lnTo>
                <a:lnTo>
                  <a:pt x="854" y="1579"/>
                </a:lnTo>
                <a:lnTo>
                  <a:pt x="852" y="1581"/>
                </a:lnTo>
                <a:lnTo>
                  <a:pt x="850" y="1583"/>
                </a:lnTo>
                <a:lnTo>
                  <a:pt x="848" y="1584"/>
                </a:lnTo>
                <a:lnTo>
                  <a:pt x="845" y="1585"/>
                </a:lnTo>
                <a:lnTo>
                  <a:pt x="840" y="1585"/>
                </a:lnTo>
                <a:lnTo>
                  <a:pt x="838" y="1584"/>
                </a:lnTo>
                <a:lnTo>
                  <a:pt x="836" y="1583"/>
                </a:lnTo>
                <a:lnTo>
                  <a:pt x="834" y="1581"/>
                </a:lnTo>
                <a:lnTo>
                  <a:pt x="832" y="1579"/>
                </a:lnTo>
                <a:lnTo>
                  <a:pt x="831" y="1577"/>
                </a:lnTo>
                <a:lnTo>
                  <a:pt x="830" y="1574"/>
                </a:lnTo>
                <a:lnTo>
                  <a:pt x="830" y="1570"/>
                </a:lnTo>
                <a:lnTo>
                  <a:pt x="831" y="1567"/>
                </a:lnTo>
                <a:lnTo>
                  <a:pt x="832" y="1565"/>
                </a:lnTo>
                <a:lnTo>
                  <a:pt x="834" y="1563"/>
                </a:lnTo>
                <a:lnTo>
                  <a:pt x="836" y="1561"/>
                </a:lnTo>
                <a:lnTo>
                  <a:pt x="838" y="1560"/>
                </a:lnTo>
                <a:lnTo>
                  <a:pt x="841" y="1559"/>
                </a:lnTo>
                <a:close/>
                <a:moveTo>
                  <a:pt x="878" y="1504"/>
                </a:moveTo>
                <a:lnTo>
                  <a:pt x="883" y="1504"/>
                </a:lnTo>
                <a:lnTo>
                  <a:pt x="885" y="1505"/>
                </a:lnTo>
                <a:lnTo>
                  <a:pt x="887" y="1506"/>
                </a:lnTo>
                <a:lnTo>
                  <a:pt x="889" y="1508"/>
                </a:lnTo>
                <a:lnTo>
                  <a:pt x="891" y="1510"/>
                </a:lnTo>
                <a:lnTo>
                  <a:pt x="892" y="1512"/>
                </a:lnTo>
                <a:lnTo>
                  <a:pt x="893" y="1515"/>
                </a:lnTo>
                <a:lnTo>
                  <a:pt x="893" y="1520"/>
                </a:lnTo>
                <a:lnTo>
                  <a:pt x="892" y="1522"/>
                </a:lnTo>
                <a:lnTo>
                  <a:pt x="891" y="1524"/>
                </a:lnTo>
                <a:lnTo>
                  <a:pt x="889" y="1526"/>
                </a:lnTo>
                <a:lnTo>
                  <a:pt x="887" y="1528"/>
                </a:lnTo>
                <a:lnTo>
                  <a:pt x="885" y="1529"/>
                </a:lnTo>
                <a:lnTo>
                  <a:pt x="882" y="1530"/>
                </a:lnTo>
                <a:lnTo>
                  <a:pt x="877" y="1530"/>
                </a:lnTo>
                <a:lnTo>
                  <a:pt x="875" y="1529"/>
                </a:lnTo>
                <a:lnTo>
                  <a:pt x="873" y="1528"/>
                </a:lnTo>
                <a:lnTo>
                  <a:pt x="871" y="1526"/>
                </a:lnTo>
                <a:lnTo>
                  <a:pt x="869" y="1524"/>
                </a:lnTo>
                <a:lnTo>
                  <a:pt x="868" y="1522"/>
                </a:lnTo>
                <a:lnTo>
                  <a:pt x="867" y="1519"/>
                </a:lnTo>
                <a:lnTo>
                  <a:pt x="867" y="1514"/>
                </a:lnTo>
                <a:lnTo>
                  <a:pt x="868" y="1512"/>
                </a:lnTo>
                <a:lnTo>
                  <a:pt x="869" y="1510"/>
                </a:lnTo>
                <a:lnTo>
                  <a:pt x="871" y="1508"/>
                </a:lnTo>
                <a:lnTo>
                  <a:pt x="873" y="1506"/>
                </a:lnTo>
                <a:lnTo>
                  <a:pt x="875" y="1505"/>
                </a:lnTo>
                <a:lnTo>
                  <a:pt x="878" y="1504"/>
                </a:lnTo>
                <a:close/>
                <a:moveTo>
                  <a:pt x="916" y="1451"/>
                </a:moveTo>
                <a:lnTo>
                  <a:pt x="921" y="1451"/>
                </a:lnTo>
                <a:lnTo>
                  <a:pt x="924" y="1451"/>
                </a:lnTo>
                <a:lnTo>
                  <a:pt x="926" y="1453"/>
                </a:lnTo>
                <a:lnTo>
                  <a:pt x="928" y="1455"/>
                </a:lnTo>
                <a:lnTo>
                  <a:pt x="929" y="1457"/>
                </a:lnTo>
                <a:lnTo>
                  <a:pt x="930" y="1459"/>
                </a:lnTo>
                <a:lnTo>
                  <a:pt x="931" y="1461"/>
                </a:lnTo>
                <a:lnTo>
                  <a:pt x="931" y="1464"/>
                </a:lnTo>
                <a:lnTo>
                  <a:pt x="931" y="1466"/>
                </a:lnTo>
                <a:lnTo>
                  <a:pt x="930" y="1469"/>
                </a:lnTo>
                <a:lnTo>
                  <a:pt x="929" y="1471"/>
                </a:lnTo>
                <a:lnTo>
                  <a:pt x="927" y="1473"/>
                </a:lnTo>
                <a:lnTo>
                  <a:pt x="925" y="1474"/>
                </a:lnTo>
                <a:lnTo>
                  <a:pt x="923" y="1475"/>
                </a:lnTo>
                <a:lnTo>
                  <a:pt x="921" y="1476"/>
                </a:lnTo>
                <a:lnTo>
                  <a:pt x="915" y="1476"/>
                </a:lnTo>
                <a:lnTo>
                  <a:pt x="913" y="1475"/>
                </a:lnTo>
                <a:lnTo>
                  <a:pt x="911" y="1474"/>
                </a:lnTo>
                <a:lnTo>
                  <a:pt x="909" y="1472"/>
                </a:lnTo>
                <a:lnTo>
                  <a:pt x="907" y="1470"/>
                </a:lnTo>
                <a:lnTo>
                  <a:pt x="906" y="1468"/>
                </a:lnTo>
                <a:lnTo>
                  <a:pt x="906" y="1465"/>
                </a:lnTo>
                <a:lnTo>
                  <a:pt x="905" y="1463"/>
                </a:lnTo>
                <a:lnTo>
                  <a:pt x="906" y="1460"/>
                </a:lnTo>
                <a:lnTo>
                  <a:pt x="907" y="1458"/>
                </a:lnTo>
                <a:lnTo>
                  <a:pt x="908" y="1456"/>
                </a:lnTo>
                <a:lnTo>
                  <a:pt x="910" y="1454"/>
                </a:lnTo>
                <a:lnTo>
                  <a:pt x="912" y="1452"/>
                </a:lnTo>
                <a:lnTo>
                  <a:pt x="914" y="1451"/>
                </a:lnTo>
                <a:lnTo>
                  <a:pt x="916" y="1451"/>
                </a:lnTo>
                <a:close/>
                <a:moveTo>
                  <a:pt x="956" y="1398"/>
                </a:moveTo>
                <a:lnTo>
                  <a:pt x="958" y="1397"/>
                </a:lnTo>
                <a:lnTo>
                  <a:pt x="961" y="1398"/>
                </a:lnTo>
                <a:lnTo>
                  <a:pt x="964" y="1399"/>
                </a:lnTo>
                <a:lnTo>
                  <a:pt x="966" y="1400"/>
                </a:lnTo>
                <a:lnTo>
                  <a:pt x="968" y="1402"/>
                </a:lnTo>
                <a:lnTo>
                  <a:pt x="969" y="1404"/>
                </a:lnTo>
                <a:lnTo>
                  <a:pt x="970" y="1406"/>
                </a:lnTo>
                <a:lnTo>
                  <a:pt x="971" y="1409"/>
                </a:lnTo>
                <a:lnTo>
                  <a:pt x="971" y="1411"/>
                </a:lnTo>
                <a:lnTo>
                  <a:pt x="971" y="1414"/>
                </a:lnTo>
                <a:lnTo>
                  <a:pt x="970" y="1416"/>
                </a:lnTo>
                <a:lnTo>
                  <a:pt x="968" y="1418"/>
                </a:lnTo>
                <a:lnTo>
                  <a:pt x="967" y="1420"/>
                </a:lnTo>
                <a:lnTo>
                  <a:pt x="965" y="1421"/>
                </a:lnTo>
                <a:lnTo>
                  <a:pt x="963" y="1422"/>
                </a:lnTo>
                <a:lnTo>
                  <a:pt x="960" y="1423"/>
                </a:lnTo>
                <a:lnTo>
                  <a:pt x="958" y="1423"/>
                </a:lnTo>
                <a:lnTo>
                  <a:pt x="955" y="1423"/>
                </a:lnTo>
                <a:lnTo>
                  <a:pt x="953" y="1422"/>
                </a:lnTo>
                <a:lnTo>
                  <a:pt x="950" y="1421"/>
                </a:lnTo>
                <a:lnTo>
                  <a:pt x="948" y="1419"/>
                </a:lnTo>
                <a:lnTo>
                  <a:pt x="947" y="1417"/>
                </a:lnTo>
                <a:lnTo>
                  <a:pt x="946" y="1414"/>
                </a:lnTo>
                <a:lnTo>
                  <a:pt x="945" y="1412"/>
                </a:lnTo>
                <a:lnTo>
                  <a:pt x="945" y="1410"/>
                </a:lnTo>
                <a:lnTo>
                  <a:pt x="946" y="1407"/>
                </a:lnTo>
                <a:lnTo>
                  <a:pt x="947" y="1405"/>
                </a:lnTo>
                <a:lnTo>
                  <a:pt x="948" y="1402"/>
                </a:lnTo>
                <a:lnTo>
                  <a:pt x="950" y="1401"/>
                </a:lnTo>
                <a:lnTo>
                  <a:pt x="951" y="1399"/>
                </a:lnTo>
                <a:lnTo>
                  <a:pt x="954" y="1398"/>
                </a:lnTo>
                <a:lnTo>
                  <a:pt x="956" y="1398"/>
                </a:lnTo>
                <a:close/>
                <a:moveTo>
                  <a:pt x="997" y="1346"/>
                </a:moveTo>
                <a:lnTo>
                  <a:pt x="1000" y="1346"/>
                </a:lnTo>
                <a:lnTo>
                  <a:pt x="1002" y="1346"/>
                </a:lnTo>
                <a:lnTo>
                  <a:pt x="1005" y="1347"/>
                </a:lnTo>
                <a:lnTo>
                  <a:pt x="1007" y="1349"/>
                </a:lnTo>
                <a:lnTo>
                  <a:pt x="1009" y="1350"/>
                </a:lnTo>
                <a:lnTo>
                  <a:pt x="1011" y="1353"/>
                </a:lnTo>
                <a:lnTo>
                  <a:pt x="1012" y="1355"/>
                </a:lnTo>
                <a:lnTo>
                  <a:pt x="1012" y="1357"/>
                </a:lnTo>
                <a:lnTo>
                  <a:pt x="1012" y="1360"/>
                </a:lnTo>
                <a:lnTo>
                  <a:pt x="1012" y="1362"/>
                </a:lnTo>
                <a:lnTo>
                  <a:pt x="1011" y="1365"/>
                </a:lnTo>
                <a:lnTo>
                  <a:pt x="1009" y="1367"/>
                </a:lnTo>
                <a:lnTo>
                  <a:pt x="1008" y="1368"/>
                </a:lnTo>
                <a:lnTo>
                  <a:pt x="1006" y="1370"/>
                </a:lnTo>
                <a:lnTo>
                  <a:pt x="1004" y="1371"/>
                </a:lnTo>
                <a:lnTo>
                  <a:pt x="1002" y="1371"/>
                </a:lnTo>
                <a:lnTo>
                  <a:pt x="999" y="1372"/>
                </a:lnTo>
                <a:lnTo>
                  <a:pt x="996" y="1371"/>
                </a:lnTo>
                <a:lnTo>
                  <a:pt x="994" y="1370"/>
                </a:lnTo>
                <a:lnTo>
                  <a:pt x="991" y="1369"/>
                </a:lnTo>
                <a:lnTo>
                  <a:pt x="989" y="1367"/>
                </a:lnTo>
                <a:lnTo>
                  <a:pt x="988" y="1365"/>
                </a:lnTo>
                <a:lnTo>
                  <a:pt x="987" y="1362"/>
                </a:lnTo>
                <a:lnTo>
                  <a:pt x="986" y="1360"/>
                </a:lnTo>
                <a:lnTo>
                  <a:pt x="986" y="1357"/>
                </a:lnTo>
                <a:lnTo>
                  <a:pt x="987" y="1355"/>
                </a:lnTo>
                <a:lnTo>
                  <a:pt x="988" y="1353"/>
                </a:lnTo>
                <a:lnTo>
                  <a:pt x="989" y="1350"/>
                </a:lnTo>
                <a:lnTo>
                  <a:pt x="991" y="1349"/>
                </a:lnTo>
                <a:lnTo>
                  <a:pt x="993" y="1347"/>
                </a:lnTo>
                <a:lnTo>
                  <a:pt x="995" y="1346"/>
                </a:lnTo>
                <a:lnTo>
                  <a:pt x="997" y="1346"/>
                </a:lnTo>
                <a:close/>
                <a:moveTo>
                  <a:pt x="1040" y="1295"/>
                </a:moveTo>
                <a:lnTo>
                  <a:pt x="1042" y="1295"/>
                </a:lnTo>
                <a:lnTo>
                  <a:pt x="1045" y="1296"/>
                </a:lnTo>
                <a:lnTo>
                  <a:pt x="1048" y="1297"/>
                </a:lnTo>
                <a:lnTo>
                  <a:pt x="1050" y="1298"/>
                </a:lnTo>
                <a:lnTo>
                  <a:pt x="1052" y="1300"/>
                </a:lnTo>
                <a:lnTo>
                  <a:pt x="1054" y="1302"/>
                </a:lnTo>
                <a:lnTo>
                  <a:pt x="1054" y="1305"/>
                </a:lnTo>
                <a:lnTo>
                  <a:pt x="1055" y="1307"/>
                </a:lnTo>
                <a:lnTo>
                  <a:pt x="1055" y="1310"/>
                </a:lnTo>
                <a:lnTo>
                  <a:pt x="1054" y="1312"/>
                </a:lnTo>
                <a:lnTo>
                  <a:pt x="1053" y="1314"/>
                </a:lnTo>
                <a:lnTo>
                  <a:pt x="1052" y="1316"/>
                </a:lnTo>
                <a:lnTo>
                  <a:pt x="1050" y="1318"/>
                </a:lnTo>
                <a:lnTo>
                  <a:pt x="1048" y="1319"/>
                </a:lnTo>
                <a:lnTo>
                  <a:pt x="1044" y="1321"/>
                </a:lnTo>
                <a:lnTo>
                  <a:pt x="1041" y="1321"/>
                </a:lnTo>
                <a:lnTo>
                  <a:pt x="1039" y="1320"/>
                </a:lnTo>
                <a:lnTo>
                  <a:pt x="1036" y="1319"/>
                </a:lnTo>
                <a:lnTo>
                  <a:pt x="1033" y="1318"/>
                </a:lnTo>
                <a:lnTo>
                  <a:pt x="1032" y="1316"/>
                </a:lnTo>
                <a:lnTo>
                  <a:pt x="1030" y="1314"/>
                </a:lnTo>
                <a:lnTo>
                  <a:pt x="1029" y="1311"/>
                </a:lnTo>
                <a:lnTo>
                  <a:pt x="1029" y="1309"/>
                </a:lnTo>
                <a:lnTo>
                  <a:pt x="1029" y="1306"/>
                </a:lnTo>
                <a:lnTo>
                  <a:pt x="1030" y="1304"/>
                </a:lnTo>
                <a:lnTo>
                  <a:pt x="1031" y="1302"/>
                </a:lnTo>
                <a:lnTo>
                  <a:pt x="1032" y="1300"/>
                </a:lnTo>
                <a:lnTo>
                  <a:pt x="1034" y="1298"/>
                </a:lnTo>
                <a:lnTo>
                  <a:pt x="1036" y="1297"/>
                </a:lnTo>
                <a:lnTo>
                  <a:pt x="1040" y="1295"/>
                </a:lnTo>
                <a:close/>
                <a:moveTo>
                  <a:pt x="1084" y="1246"/>
                </a:moveTo>
                <a:lnTo>
                  <a:pt x="1087" y="1246"/>
                </a:lnTo>
                <a:lnTo>
                  <a:pt x="1090" y="1246"/>
                </a:lnTo>
                <a:lnTo>
                  <a:pt x="1092" y="1247"/>
                </a:lnTo>
                <a:lnTo>
                  <a:pt x="1095" y="1249"/>
                </a:lnTo>
                <a:lnTo>
                  <a:pt x="1096" y="1251"/>
                </a:lnTo>
                <a:lnTo>
                  <a:pt x="1098" y="1253"/>
                </a:lnTo>
                <a:lnTo>
                  <a:pt x="1099" y="1256"/>
                </a:lnTo>
                <a:lnTo>
                  <a:pt x="1099" y="1258"/>
                </a:lnTo>
                <a:lnTo>
                  <a:pt x="1098" y="1263"/>
                </a:lnTo>
                <a:lnTo>
                  <a:pt x="1097" y="1265"/>
                </a:lnTo>
                <a:lnTo>
                  <a:pt x="1096" y="1267"/>
                </a:lnTo>
                <a:lnTo>
                  <a:pt x="1092" y="1270"/>
                </a:lnTo>
                <a:lnTo>
                  <a:pt x="1090" y="1271"/>
                </a:lnTo>
                <a:lnTo>
                  <a:pt x="1088" y="1271"/>
                </a:lnTo>
                <a:lnTo>
                  <a:pt x="1085" y="1272"/>
                </a:lnTo>
                <a:lnTo>
                  <a:pt x="1082" y="1271"/>
                </a:lnTo>
                <a:lnTo>
                  <a:pt x="1080" y="1270"/>
                </a:lnTo>
                <a:lnTo>
                  <a:pt x="1077" y="1268"/>
                </a:lnTo>
                <a:lnTo>
                  <a:pt x="1076" y="1266"/>
                </a:lnTo>
                <a:lnTo>
                  <a:pt x="1074" y="1264"/>
                </a:lnTo>
                <a:lnTo>
                  <a:pt x="1073" y="1262"/>
                </a:lnTo>
                <a:lnTo>
                  <a:pt x="1073" y="1259"/>
                </a:lnTo>
                <a:lnTo>
                  <a:pt x="1074" y="1254"/>
                </a:lnTo>
                <a:lnTo>
                  <a:pt x="1075" y="1252"/>
                </a:lnTo>
                <a:lnTo>
                  <a:pt x="1077" y="1250"/>
                </a:lnTo>
                <a:lnTo>
                  <a:pt x="1080" y="1247"/>
                </a:lnTo>
                <a:lnTo>
                  <a:pt x="1082" y="1246"/>
                </a:lnTo>
                <a:lnTo>
                  <a:pt x="1084" y="1246"/>
                </a:lnTo>
                <a:close/>
                <a:moveTo>
                  <a:pt x="2904" y="887"/>
                </a:moveTo>
                <a:lnTo>
                  <a:pt x="2909" y="887"/>
                </a:lnTo>
                <a:lnTo>
                  <a:pt x="2911" y="888"/>
                </a:lnTo>
                <a:lnTo>
                  <a:pt x="2913" y="889"/>
                </a:lnTo>
                <a:lnTo>
                  <a:pt x="2917" y="893"/>
                </a:lnTo>
                <a:lnTo>
                  <a:pt x="2918" y="895"/>
                </a:lnTo>
                <a:lnTo>
                  <a:pt x="2918" y="897"/>
                </a:lnTo>
                <a:lnTo>
                  <a:pt x="2918" y="903"/>
                </a:lnTo>
                <a:lnTo>
                  <a:pt x="2917" y="906"/>
                </a:lnTo>
                <a:lnTo>
                  <a:pt x="2915" y="909"/>
                </a:lnTo>
                <a:lnTo>
                  <a:pt x="2912" y="911"/>
                </a:lnTo>
                <a:lnTo>
                  <a:pt x="2908" y="912"/>
                </a:lnTo>
                <a:lnTo>
                  <a:pt x="2903" y="912"/>
                </a:lnTo>
                <a:lnTo>
                  <a:pt x="2900" y="912"/>
                </a:lnTo>
                <a:lnTo>
                  <a:pt x="2898" y="910"/>
                </a:lnTo>
                <a:lnTo>
                  <a:pt x="2895" y="907"/>
                </a:lnTo>
                <a:lnTo>
                  <a:pt x="2894" y="905"/>
                </a:lnTo>
                <a:lnTo>
                  <a:pt x="2893" y="902"/>
                </a:lnTo>
                <a:lnTo>
                  <a:pt x="2893" y="897"/>
                </a:lnTo>
                <a:lnTo>
                  <a:pt x="2895" y="893"/>
                </a:lnTo>
                <a:lnTo>
                  <a:pt x="2897" y="890"/>
                </a:lnTo>
                <a:lnTo>
                  <a:pt x="2900" y="888"/>
                </a:lnTo>
                <a:lnTo>
                  <a:pt x="2904" y="887"/>
                </a:lnTo>
                <a:close/>
                <a:moveTo>
                  <a:pt x="1129" y="1198"/>
                </a:moveTo>
                <a:lnTo>
                  <a:pt x="1132" y="1198"/>
                </a:lnTo>
                <a:lnTo>
                  <a:pt x="1135" y="1198"/>
                </a:lnTo>
                <a:lnTo>
                  <a:pt x="1138" y="1200"/>
                </a:lnTo>
                <a:lnTo>
                  <a:pt x="1141" y="1202"/>
                </a:lnTo>
                <a:lnTo>
                  <a:pt x="1142" y="1204"/>
                </a:lnTo>
                <a:lnTo>
                  <a:pt x="1144" y="1206"/>
                </a:lnTo>
                <a:lnTo>
                  <a:pt x="1144" y="1208"/>
                </a:lnTo>
                <a:lnTo>
                  <a:pt x="1145" y="1211"/>
                </a:lnTo>
                <a:lnTo>
                  <a:pt x="1144" y="1213"/>
                </a:lnTo>
                <a:lnTo>
                  <a:pt x="1144" y="1215"/>
                </a:lnTo>
                <a:lnTo>
                  <a:pt x="1142" y="1218"/>
                </a:lnTo>
                <a:lnTo>
                  <a:pt x="1141" y="1220"/>
                </a:lnTo>
                <a:lnTo>
                  <a:pt x="1138" y="1222"/>
                </a:lnTo>
                <a:lnTo>
                  <a:pt x="1134" y="1223"/>
                </a:lnTo>
                <a:lnTo>
                  <a:pt x="1131" y="1224"/>
                </a:lnTo>
                <a:lnTo>
                  <a:pt x="1128" y="1223"/>
                </a:lnTo>
                <a:lnTo>
                  <a:pt x="1125" y="1222"/>
                </a:lnTo>
                <a:lnTo>
                  <a:pt x="1123" y="1220"/>
                </a:lnTo>
                <a:lnTo>
                  <a:pt x="1121" y="1218"/>
                </a:lnTo>
                <a:lnTo>
                  <a:pt x="1120" y="1216"/>
                </a:lnTo>
                <a:lnTo>
                  <a:pt x="1119" y="1213"/>
                </a:lnTo>
                <a:lnTo>
                  <a:pt x="1119" y="1211"/>
                </a:lnTo>
                <a:lnTo>
                  <a:pt x="1119" y="1208"/>
                </a:lnTo>
                <a:lnTo>
                  <a:pt x="1120" y="1206"/>
                </a:lnTo>
                <a:lnTo>
                  <a:pt x="1121" y="1204"/>
                </a:lnTo>
                <a:lnTo>
                  <a:pt x="1122" y="1202"/>
                </a:lnTo>
                <a:lnTo>
                  <a:pt x="1126" y="1199"/>
                </a:lnTo>
                <a:lnTo>
                  <a:pt x="1129" y="1198"/>
                </a:lnTo>
                <a:close/>
                <a:moveTo>
                  <a:pt x="2839" y="873"/>
                </a:moveTo>
                <a:lnTo>
                  <a:pt x="2844" y="873"/>
                </a:lnTo>
                <a:lnTo>
                  <a:pt x="2846" y="874"/>
                </a:lnTo>
                <a:lnTo>
                  <a:pt x="2849" y="875"/>
                </a:lnTo>
                <a:lnTo>
                  <a:pt x="2852" y="879"/>
                </a:lnTo>
                <a:lnTo>
                  <a:pt x="2853" y="881"/>
                </a:lnTo>
                <a:lnTo>
                  <a:pt x="2854" y="883"/>
                </a:lnTo>
                <a:lnTo>
                  <a:pt x="2854" y="888"/>
                </a:lnTo>
                <a:lnTo>
                  <a:pt x="2852" y="892"/>
                </a:lnTo>
                <a:lnTo>
                  <a:pt x="2850" y="895"/>
                </a:lnTo>
                <a:lnTo>
                  <a:pt x="2847" y="897"/>
                </a:lnTo>
                <a:lnTo>
                  <a:pt x="2843" y="898"/>
                </a:lnTo>
                <a:lnTo>
                  <a:pt x="2838" y="898"/>
                </a:lnTo>
                <a:lnTo>
                  <a:pt x="2836" y="897"/>
                </a:lnTo>
                <a:lnTo>
                  <a:pt x="2834" y="896"/>
                </a:lnTo>
                <a:lnTo>
                  <a:pt x="2830" y="893"/>
                </a:lnTo>
                <a:lnTo>
                  <a:pt x="2829" y="890"/>
                </a:lnTo>
                <a:lnTo>
                  <a:pt x="2828" y="888"/>
                </a:lnTo>
                <a:lnTo>
                  <a:pt x="2828" y="883"/>
                </a:lnTo>
                <a:lnTo>
                  <a:pt x="2830" y="879"/>
                </a:lnTo>
                <a:lnTo>
                  <a:pt x="2832" y="876"/>
                </a:lnTo>
                <a:lnTo>
                  <a:pt x="2835" y="874"/>
                </a:lnTo>
                <a:lnTo>
                  <a:pt x="2839" y="873"/>
                </a:lnTo>
                <a:close/>
                <a:moveTo>
                  <a:pt x="1176" y="1152"/>
                </a:moveTo>
                <a:lnTo>
                  <a:pt x="1180" y="1151"/>
                </a:lnTo>
                <a:lnTo>
                  <a:pt x="1183" y="1152"/>
                </a:lnTo>
                <a:lnTo>
                  <a:pt x="1185" y="1153"/>
                </a:lnTo>
                <a:lnTo>
                  <a:pt x="1188" y="1155"/>
                </a:lnTo>
                <a:lnTo>
                  <a:pt x="1190" y="1157"/>
                </a:lnTo>
                <a:lnTo>
                  <a:pt x="1191" y="1160"/>
                </a:lnTo>
                <a:lnTo>
                  <a:pt x="1191" y="1162"/>
                </a:lnTo>
                <a:lnTo>
                  <a:pt x="1192" y="1165"/>
                </a:lnTo>
                <a:lnTo>
                  <a:pt x="1191" y="1167"/>
                </a:lnTo>
                <a:lnTo>
                  <a:pt x="1191" y="1169"/>
                </a:lnTo>
                <a:lnTo>
                  <a:pt x="1189" y="1172"/>
                </a:lnTo>
                <a:lnTo>
                  <a:pt x="1188" y="1174"/>
                </a:lnTo>
                <a:lnTo>
                  <a:pt x="1186" y="1175"/>
                </a:lnTo>
                <a:lnTo>
                  <a:pt x="1184" y="1176"/>
                </a:lnTo>
                <a:lnTo>
                  <a:pt x="1181" y="1177"/>
                </a:lnTo>
                <a:lnTo>
                  <a:pt x="1178" y="1177"/>
                </a:lnTo>
                <a:lnTo>
                  <a:pt x="1175" y="1177"/>
                </a:lnTo>
                <a:lnTo>
                  <a:pt x="1172" y="1175"/>
                </a:lnTo>
                <a:lnTo>
                  <a:pt x="1169" y="1173"/>
                </a:lnTo>
                <a:lnTo>
                  <a:pt x="1168" y="1171"/>
                </a:lnTo>
                <a:lnTo>
                  <a:pt x="1167" y="1169"/>
                </a:lnTo>
                <a:lnTo>
                  <a:pt x="1166" y="1166"/>
                </a:lnTo>
                <a:lnTo>
                  <a:pt x="1166" y="1164"/>
                </a:lnTo>
                <a:lnTo>
                  <a:pt x="1166" y="1162"/>
                </a:lnTo>
                <a:lnTo>
                  <a:pt x="1167" y="1159"/>
                </a:lnTo>
                <a:lnTo>
                  <a:pt x="1168" y="1157"/>
                </a:lnTo>
                <a:lnTo>
                  <a:pt x="1170" y="1155"/>
                </a:lnTo>
                <a:lnTo>
                  <a:pt x="1171" y="1154"/>
                </a:lnTo>
                <a:lnTo>
                  <a:pt x="1173" y="1153"/>
                </a:lnTo>
                <a:lnTo>
                  <a:pt x="1176" y="1152"/>
                </a:lnTo>
                <a:close/>
                <a:moveTo>
                  <a:pt x="2774" y="859"/>
                </a:moveTo>
                <a:lnTo>
                  <a:pt x="2779" y="859"/>
                </a:lnTo>
                <a:lnTo>
                  <a:pt x="2782" y="860"/>
                </a:lnTo>
                <a:lnTo>
                  <a:pt x="2784" y="861"/>
                </a:lnTo>
                <a:lnTo>
                  <a:pt x="2786" y="863"/>
                </a:lnTo>
                <a:lnTo>
                  <a:pt x="2787" y="865"/>
                </a:lnTo>
                <a:lnTo>
                  <a:pt x="2788" y="867"/>
                </a:lnTo>
                <a:lnTo>
                  <a:pt x="2789" y="869"/>
                </a:lnTo>
                <a:lnTo>
                  <a:pt x="2789" y="874"/>
                </a:lnTo>
                <a:lnTo>
                  <a:pt x="2788" y="878"/>
                </a:lnTo>
                <a:lnTo>
                  <a:pt x="2785" y="881"/>
                </a:lnTo>
                <a:lnTo>
                  <a:pt x="2782" y="883"/>
                </a:lnTo>
                <a:lnTo>
                  <a:pt x="2779" y="884"/>
                </a:lnTo>
                <a:lnTo>
                  <a:pt x="2774" y="884"/>
                </a:lnTo>
                <a:lnTo>
                  <a:pt x="2771" y="884"/>
                </a:lnTo>
                <a:lnTo>
                  <a:pt x="2769" y="882"/>
                </a:lnTo>
                <a:lnTo>
                  <a:pt x="2767" y="881"/>
                </a:lnTo>
                <a:lnTo>
                  <a:pt x="2766" y="879"/>
                </a:lnTo>
                <a:lnTo>
                  <a:pt x="2764" y="877"/>
                </a:lnTo>
                <a:lnTo>
                  <a:pt x="2764" y="874"/>
                </a:lnTo>
                <a:lnTo>
                  <a:pt x="2764" y="869"/>
                </a:lnTo>
                <a:lnTo>
                  <a:pt x="2765" y="865"/>
                </a:lnTo>
                <a:lnTo>
                  <a:pt x="2768" y="862"/>
                </a:lnTo>
                <a:lnTo>
                  <a:pt x="2771" y="860"/>
                </a:lnTo>
                <a:lnTo>
                  <a:pt x="2774" y="859"/>
                </a:lnTo>
                <a:close/>
                <a:moveTo>
                  <a:pt x="2709" y="845"/>
                </a:moveTo>
                <a:lnTo>
                  <a:pt x="2714" y="845"/>
                </a:lnTo>
                <a:lnTo>
                  <a:pt x="2717" y="846"/>
                </a:lnTo>
                <a:lnTo>
                  <a:pt x="2719" y="847"/>
                </a:lnTo>
                <a:lnTo>
                  <a:pt x="2721" y="849"/>
                </a:lnTo>
                <a:lnTo>
                  <a:pt x="2722" y="851"/>
                </a:lnTo>
                <a:lnTo>
                  <a:pt x="2724" y="853"/>
                </a:lnTo>
                <a:lnTo>
                  <a:pt x="2724" y="856"/>
                </a:lnTo>
                <a:lnTo>
                  <a:pt x="2724" y="861"/>
                </a:lnTo>
                <a:lnTo>
                  <a:pt x="2723" y="864"/>
                </a:lnTo>
                <a:lnTo>
                  <a:pt x="2721" y="867"/>
                </a:lnTo>
                <a:lnTo>
                  <a:pt x="2718" y="870"/>
                </a:lnTo>
                <a:lnTo>
                  <a:pt x="2714" y="871"/>
                </a:lnTo>
                <a:lnTo>
                  <a:pt x="2709" y="871"/>
                </a:lnTo>
                <a:lnTo>
                  <a:pt x="2707" y="870"/>
                </a:lnTo>
                <a:lnTo>
                  <a:pt x="2704" y="869"/>
                </a:lnTo>
                <a:lnTo>
                  <a:pt x="2702" y="867"/>
                </a:lnTo>
                <a:lnTo>
                  <a:pt x="2701" y="865"/>
                </a:lnTo>
                <a:lnTo>
                  <a:pt x="2700" y="863"/>
                </a:lnTo>
                <a:lnTo>
                  <a:pt x="2699" y="861"/>
                </a:lnTo>
                <a:lnTo>
                  <a:pt x="2699" y="855"/>
                </a:lnTo>
                <a:lnTo>
                  <a:pt x="2700" y="852"/>
                </a:lnTo>
                <a:lnTo>
                  <a:pt x="2703" y="849"/>
                </a:lnTo>
                <a:lnTo>
                  <a:pt x="2706" y="847"/>
                </a:lnTo>
                <a:lnTo>
                  <a:pt x="2709" y="845"/>
                </a:lnTo>
                <a:close/>
                <a:moveTo>
                  <a:pt x="1225" y="1106"/>
                </a:moveTo>
                <a:lnTo>
                  <a:pt x="1228" y="1106"/>
                </a:lnTo>
                <a:lnTo>
                  <a:pt x="1231" y="1106"/>
                </a:lnTo>
                <a:lnTo>
                  <a:pt x="1234" y="1108"/>
                </a:lnTo>
                <a:lnTo>
                  <a:pt x="1236" y="1109"/>
                </a:lnTo>
                <a:lnTo>
                  <a:pt x="1237" y="1110"/>
                </a:lnTo>
                <a:lnTo>
                  <a:pt x="1238" y="1112"/>
                </a:lnTo>
                <a:lnTo>
                  <a:pt x="1240" y="1114"/>
                </a:lnTo>
                <a:lnTo>
                  <a:pt x="1240" y="1117"/>
                </a:lnTo>
                <a:lnTo>
                  <a:pt x="1240" y="1119"/>
                </a:lnTo>
                <a:lnTo>
                  <a:pt x="1240" y="1122"/>
                </a:lnTo>
                <a:lnTo>
                  <a:pt x="1239" y="1124"/>
                </a:lnTo>
                <a:lnTo>
                  <a:pt x="1238" y="1126"/>
                </a:lnTo>
                <a:lnTo>
                  <a:pt x="1236" y="1128"/>
                </a:lnTo>
                <a:lnTo>
                  <a:pt x="1233" y="1130"/>
                </a:lnTo>
                <a:lnTo>
                  <a:pt x="1230" y="1131"/>
                </a:lnTo>
                <a:lnTo>
                  <a:pt x="1226" y="1131"/>
                </a:lnTo>
                <a:lnTo>
                  <a:pt x="1223" y="1131"/>
                </a:lnTo>
                <a:lnTo>
                  <a:pt x="1220" y="1129"/>
                </a:lnTo>
                <a:lnTo>
                  <a:pt x="1219" y="1128"/>
                </a:lnTo>
                <a:lnTo>
                  <a:pt x="1218" y="1127"/>
                </a:lnTo>
                <a:lnTo>
                  <a:pt x="1216" y="1125"/>
                </a:lnTo>
                <a:lnTo>
                  <a:pt x="1215" y="1123"/>
                </a:lnTo>
                <a:lnTo>
                  <a:pt x="1215" y="1120"/>
                </a:lnTo>
                <a:lnTo>
                  <a:pt x="1214" y="1118"/>
                </a:lnTo>
                <a:lnTo>
                  <a:pt x="1215" y="1115"/>
                </a:lnTo>
                <a:lnTo>
                  <a:pt x="1216" y="1113"/>
                </a:lnTo>
                <a:lnTo>
                  <a:pt x="1217" y="1111"/>
                </a:lnTo>
                <a:lnTo>
                  <a:pt x="1219" y="1109"/>
                </a:lnTo>
                <a:lnTo>
                  <a:pt x="1222" y="1107"/>
                </a:lnTo>
                <a:lnTo>
                  <a:pt x="1225" y="1106"/>
                </a:lnTo>
                <a:close/>
                <a:moveTo>
                  <a:pt x="2645" y="832"/>
                </a:moveTo>
                <a:lnTo>
                  <a:pt x="2649" y="832"/>
                </a:lnTo>
                <a:lnTo>
                  <a:pt x="2652" y="833"/>
                </a:lnTo>
                <a:lnTo>
                  <a:pt x="2654" y="834"/>
                </a:lnTo>
                <a:lnTo>
                  <a:pt x="2656" y="836"/>
                </a:lnTo>
                <a:lnTo>
                  <a:pt x="2658" y="838"/>
                </a:lnTo>
                <a:lnTo>
                  <a:pt x="2659" y="840"/>
                </a:lnTo>
                <a:lnTo>
                  <a:pt x="2660" y="842"/>
                </a:lnTo>
                <a:lnTo>
                  <a:pt x="2660" y="847"/>
                </a:lnTo>
                <a:lnTo>
                  <a:pt x="2658" y="851"/>
                </a:lnTo>
                <a:lnTo>
                  <a:pt x="2656" y="854"/>
                </a:lnTo>
                <a:lnTo>
                  <a:pt x="2653" y="856"/>
                </a:lnTo>
                <a:lnTo>
                  <a:pt x="2649" y="857"/>
                </a:lnTo>
                <a:lnTo>
                  <a:pt x="2644" y="857"/>
                </a:lnTo>
                <a:lnTo>
                  <a:pt x="2642" y="857"/>
                </a:lnTo>
                <a:lnTo>
                  <a:pt x="2640" y="855"/>
                </a:lnTo>
                <a:lnTo>
                  <a:pt x="2638" y="854"/>
                </a:lnTo>
                <a:lnTo>
                  <a:pt x="2636" y="852"/>
                </a:lnTo>
                <a:lnTo>
                  <a:pt x="2635" y="850"/>
                </a:lnTo>
                <a:lnTo>
                  <a:pt x="2634" y="847"/>
                </a:lnTo>
                <a:lnTo>
                  <a:pt x="2634" y="842"/>
                </a:lnTo>
                <a:lnTo>
                  <a:pt x="2636" y="838"/>
                </a:lnTo>
                <a:lnTo>
                  <a:pt x="2638" y="835"/>
                </a:lnTo>
                <a:lnTo>
                  <a:pt x="2641" y="833"/>
                </a:lnTo>
                <a:lnTo>
                  <a:pt x="2645" y="832"/>
                </a:lnTo>
                <a:close/>
                <a:moveTo>
                  <a:pt x="1275" y="1063"/>
                </a:moveTo>
                <a:lnTo>
                  <a:pt x="1279" y="1062"/>
                </a:lnTo>
                <a:lnTo>
                  <a:pt x="1282" y="1063"/>
                </a:lnTo>
                <a:lnTo>
                  <a:pt x="1285" y="1065"/>
                </a:lnTo>
                <a:lnTo>
                  <a:pt x="1287" y="1067"/>
                </a:lnTo>
                <a:lnTo>
                  <a:pt x="1289" y="1069"/>
                </a:lnTo>
                <a:lnTo>
                  <a:pt x="1290" y="1072"/>
                </a:lnTo>
                <a:lnTo>
                  <a:pt x="1290" y="1074"/>
                </a:lnTo>
                <a:lnTo>
                  <a:pt x="1290" y="1077"/>
                </a:lnTo>
                <a:lnTo>
                  <a:pt x="1290" y="1079"/>
                </a:lnTo>
                <a:lnTo>
                  <a:pt x="1289" y="1081"/>
                </a:lnTo>
                <a:lnTo>
                  <a:pt x="1288" y="1083"/>
                </a:lnTo>
                <a:lnTo>
                  <a:pt x="1286" y="1085"/>
                </a:lnTo>
                <a:lnTo>
                  <a:pt x="1283" y="1087"/>
                </a:lnTo>
                <a:lnTo>
                  <a:pt x="1280" y="1088"/>
                </a:lnTo>
                <a:lnTo>
                  <a:pt x="1276" y="1088"/>
                </a:lnTo>
                <a:lnTo>
                  <a:pt x="1273" y="1088"/>
                </a:lnTo>
                <a:lnTo>
                  <a:pt x="1270" y="1086"/>
                </a:lnTo>
                <a:lnTo>
                  <a:pt x="1268" y="1084"/>
                </a:lnTo>
                <a:lnTo>
                  <a:pt x="1266" y="1081"/>
                </a:lnTo>
                <a:lnTo>
                  <a:pt x="1265" y="1079"/>
                </a:lnTo>
                <a:lnTo>
                  <a:pt x="1265" y="1077"/>
                </a:lnTo>
                <a:lnTo>
                  <a:pt x="1265" y="1074"/>
                </a:lnTo>
                <a:lnTo>
                  <a:pt x="1265" y="1072"/>
                </a:lnTo>
                <a:lnTo>
                  <a:pt x="1266" y="1069"/>
                </a:lnTo>
                <a:lnTo>
                  <a:pt x="1267" y="1067"/>
                </a:lnTo>
                <a:lnTo>
                  <a:pt x="1269" y="1065"/>
                </a:lnTo>
                <a:lnTo>
                  <a:pt x="1272" y="1064"/>
                </a:lnTo>
                <a:lnTo>
                  <a:pt x="1275" y="1063"/>
                </a:lnTo>
                <a:close/>
                <a:moveTo>
                  <a:pt x="2580" y="819"/>
                </a:moveTo>
                <a:lnTo>
                  <a:pt x="2585" y="819"/>
                </a:lnTo>
                <a:lnTo>
                  <a:pt x="2587" y="820"/>
                </a:lnTo>
                <a:lnTo>
                  <a:pt x="2589" y="821"/>
                </a:lnTo>
                <a:lnTo>
                  <a:pt x="2591" y="823"/>
                </a:lnTo>
                <a:lnTo>
                  <a:pt x="2593" y="824"/>
                </a:lnTo>
                <a:lnTo>
                  <a:pt x="2594" y="827"/>
                </a:lnTo>
                <a:lnTo>
                  <a:pt x="2595" y="829"/>
                </a:lnTo>
                <a:lnTo>
                  <a:pt x="2595" y="834"/>
                </a:lnTo>
                <a:lnTo>
                  <a:pt x="2593" y="838"/>
                </a:lnTo>
                <a:lnTo>
                  <a:pt x="2591" y="841"/>
                </a:lnTo>
                <a:lnTo>
                  <a:pt x="2588" y="843"/>
                </a:lnTo>
                <a:lnTo>
                  <a:pt x="2584" y="844"/>
                </a:lnTo>
                <a:lnTo>
                  <a:pt x="2579" y="844"/>
                </a:lnTo>
                <a:lnTo>
                  <a:pt x="2577" y="844"/>
                </a:lnTo>
                <a:lnTo>
                  <a:pt x="2575" y="842"/>
                </a:lnTo>
                <a:lnTo>
                  <a:pt x="2573" y="841"/>
                </a:lnTo>
                <a:lnTo>
                  <a:pt x="2571" y="839"/>
                </a:lnTo>
                <a:lnTo>
                  <a:pt x="2570" y="837"/>
                </a:lnTo>
                <a:lnTo>
                  <a:pt x="2569" y="834"/>
                </a:lnTo>
                <a:lnTo>
                  <a:pt x="2569" y="829"/>
                </a:lnTo>
                <a:lnTo>
                  <a:pt x="2571" y="825"/>
                </a:lnTo>
                <a:lnTo>
                  <a:pt x="2573" y="822"/>
                </a:lnTo>
                <a:lnTo>
                  <a:pt x="2576" y="820"/>
                </a:lnTo>
                <a:lnTo>
                  <a:pt x="2580" y="819"/>
                </a:lnTo>
                <a:close/>
                <a:moveTo>
                  <a:pt x="1327" y="1021"/>
                </a:moveTo>
                <a:lnTo>
                  <a:pt x="1330" y="1021"/>
                </a:lnTo>
                <a:lnTo>
                  <a:pt x="1334" y="1022"/>
                </a:lnTo>
                <a:lnTo>
                  <a:pt x="1337" y="1024"/>
                </a:lnTo>
                <a:lnTo>
                  <a:pt x="1340" y="1026"/>
                </a:lnTo>
                <a:lnTo>
                  <a:pt x="1342" y="1031"/>
                </a:lnTo>
                <a:lnTo>
                  <a:pt x="1342" y="1033"/>
                </a:lnTo>
                <a:lnTo>
                  <a:pt x="1342" y="1036"/>
                </a:lnTo>
                <a:lnTo>
                  <a:pt x="1341" y="1038"/>
                </a:lnTo>
                <a:lnTo>
                  <a:pt x="1340" y="1041"/>
                </a:lnTo>
                <a:lnTo>
                  <a:pt x="1339" y="1043"/>
                </a:lnTo>
                <a:lnTo>
                  <a:pt x="1337" y="1044"/>
                </a:lnTo>
                <a:lnTo>
                  <a:pt x="1336" y="1045"/>
                </a:lnTo>
                <a:lnTo>
                  <a:pt x="1334" y="1046"/>
                </a:lnTo>
                <a:lnTo>
                  <a:pt x="1332" y="1047"/>
                </a:lnTo>
                <a:lnTo>
                  <a:pt x="1328" y="1047"/>
                </a:lnTo>
                <a:lnTo>
                  <a:pt x="1325" y="1046"/>
                </a:lnTo>
                <a:lnTo>
                  <a:pt x="1322" y="1045"/>
                </a:lnTo>
                <a:lnTo>
                  <a:pt x="1319" y="1042"/>
                </a:lnTo>
                <a:lnTo>
                  <a:pt x="1317" y="1037"/>
                </a:lnTo>
                <a:lnTo>
                  <a:pt x="1316" y="1035"/>
                </a:lnTo>
                <a:lnTo>
                  <a:pt x="1316" y="1032"/>
                </a:lnTo>
                <a:lnTo>
                  <a:pt x="1317" y="1030"/>
                </a:lnTo>
                <a:lnTo>
                  <a:pt x="1318" y="1028"/>
                </a:lnTo>
                <a:lnTo>
                  <a:pt x="1319" y="1026"/>
                </a:lnTo>
                <a:lnTo>
                  <a:pt x="1321" y="1024"/>
                </a:lnTo>
                <a:lnTo>
                  <a:pt x="1323" y="1023"/>
                </a:lnTo>
                <a:lnTo>
                  <a:pt x="1324" y="1022"/>
                </a:lnTo>
                <a:lnTo>
                  <a:pt x="1327" y="1021"/>
                </a:lnTo>
                <a:close/>
                <a:moveTo>
                  <a:pt x="2515" y="806"/>
                </a:moveTo>
                <a:lnTo>
                  <a:pt x="2520" y="806"/>
                </a:lnTo>
                <a:lnTo>
                  <a:pt x="2522" y="807"/>
                </a:lnTo>
                <a:lnTo>
                  <a:pt x="2524" y="808"/>
                </a:lnTo>
                <a:lnTo>
                  <a:pt x="2526" y="810"/>
                </a:lnTo>
                <a:lnTo>
                  <a:pt x="2528" y="812"/>
                </a:lnTo>
                <a:lnTo>
                  <a:pt x="2529" y="814"/>
                </a:lnTo>
                <a:lnTo>
                  <a:pt x="2530" y="816"/>
                </a:lnTo>
                <a:lnTo>
                  <a:pt x="2530" y="821"/>
                </a:lnTo>
                <a:lnTo>
                  <a:pt x="2528" y="825"/>
                </a:lnTo>
                <a:lnTo>
                  <a:pt x="2526" y="828"/>
                </a:lnTo>
                <a:lnTo>
                  <a:pt x="2523" y="830"/>
                </a:lnTo>
                <a:lnTo>
                  <a:pt x="2519" y="831"/>
                </a:lnTo>
                <a:lnTo>
                  <a:pt x="2515" y="831"/>
                </a:lnTo>
                <a:lnTo>
                  <a:pt x="2512" y="831"/>
                </a:lnTo>
                <a:lnTo>
                  <a:pt x="2510" y="829"/>
                </a:lnTo>
                <a:lnTo>
                  <a:pt x="2508" y="828"/>
                </a:lnTo>
                <a:lnTo>
                  <a:pt x="2506" y="826"/>
                </a:lnTo>
                <a:lnTo>
                  <a:pt x="2505" y="824"/>
                </a:lnTo>
                <a:lnTo>
                  <a:pt x="2504" y="821"/>
                </a:lnTo>
                <a:lnTo>
                  <a:pt x="2504" y="816"/>
                </a:lnTo>
                <a:lnTo>
                  <a:pt x="2506" y="813"/>
                </a:lnTo>
                <a:lnTo>
                  <a:pt x="2508" y="809"/>
                </a:lnTo>
                <a:lnTo>
                  <a:pt x="2511" y="807"/>
                </a:lnTo>
                <a:lnTo>
                  <a:pt x="2515" y="806"/>
                </a:lnTo>
                <a:close/>
                <a:moveTo>
                  <a:pt x="1380" y="982"/>
                </a:moveTo>
                <a:lnTo>
                  <a:pt x="1384" y="982"/>
                </a:lnTo>
                <a:lnTo>
                  <a:pt x="1387" y="983"/>
                </a:lnTo>
                <a:lnTo>
                  <a:pt x="1391" y="985"/>
                </a:lnTo>
                <a:lnTo>
                  <a:pt x="1393" y="988"/>
                </a:lnTo>
                <a:lnTo>
                  <a:pt x="1394" y="990"/>
                </a:lnTo>
                <a:lnTo>
                  <a:pt x="1395" y="992"/>
                </a:lnTo>
                <a:lnTo>
                  <a:pt x="1395" y="995"/>
                </a:lnTo>
                <a:lnTo>
                  <a:pt x="1395" y="997"/>
                </a:lnTo>
                <a:lnTo>
                  <a:pt x="1395" y="1000"/>
                </a:lnTo>
                <a:lnTo>
                  <a:pt x="1394" y="1002"/>
                </a:lnTo>
                <a:lnTo>
                  <a:pt x="1392" y="1004"/>
                </a:lnTo>
                <a:lnTo>
                  <a:pt x="1390" y="1006"/>
                </a:lnTo>
                <a:lnTo>
                  <a:pt x="1387" y="1007"/>
                </a:lnTo>
                <a:lnTo>
                  <a:pt x="1385" y="1008"/>
                </a:lnTo>
                <a:lnTo>
                  <a:pt x="1381" y="1008"/>
                </a:lnTo>
                <a:lnTo>
                  <a:pt x="1378" y="1007"/>
                </a:lnTo>
                <a:lnTo>
                  <a:pt x="1375" y="1005"/>
                </a:lnTo>
                <a:lnTo>
                  <a:pt x="1372" y="1002"/>
                </a:lnTo>
                <a:lnTo>
                  <a:pt x="1371" y="1000"/>
                </a:lnTo>
                <a:lnTo>
                  <a:pt x="1370" y="998"/>
                </a:lnTo>
                <a:lnTo>
                  <a:pt x="1370" y="995"/>
                </a:lnTo>
                <a:lnTo>
                  <a:pt x="1370" y="993"/>
                </a:lnTo>
                <a:lnTo>
                  <a:pt x="1371" y="990"/>
                </a:lnTo>
                <a:lnTo>
                  <a:pt x="1372" y="988"/>
                </a:lnTo>
                <a:lnTo>
                  <a:pt x="1373" y="986"/>
                </a:lnTo>
                <a:lnTo>
                  <a:pt x="1375" y="984"/>
                </a:lnTo>
                <a:lnTo>
                  <a:pt x="1378" y="983"/>
                </a:lnTo>
                <a:lnTo>
                  <a:pt x="1380" y="982"/>
                </a:lnTo>
                <a:close/>
                <a:moveTo>
                  <a:pt x="2450" y="793"/>
                </a:moveTo>
                <a:lnTo>
                  <a:pt x="2455" y="793"/>
                </a:lnTo>
                <a:lnTo>
                  <a:pt x="2457" y="794"/>
                </a:lnTo>
                <a:lnTo>
                  <a:pt x="2459" y="795"/>
                </a:lnTo>
                <a:lnTo>
                  <a:pt x="2461" y="797"/>
                </a:lnTo>
                <a:lnTo>
                  <a:pt x="2463" y="799"/>
                </a:lnTo>
                <a:lnTo>
                  <a:pt x="2464" y="801"/>
                </a:lnTo>
                <a:lnTo>
                  <a:pt x="2465" y="803"/>
                </a:lnTo>
                <a:lnTo>
                  <a:pt x="2465" y="806"/>
                </a:lnTo>
                <a:lnTo>
                  <a:pt x="2465" y="809"/>
                </a:lnTo>
                <a:lnTo>
                  <a:pt x="2464" y="812"/>
                </a:lnTo>
                <a:lnTo>
                  <a:pt x="2461" y="815"/>
                </a:lnTo>
                <a:lnTo>
                  <a:pt x="2458" y="818"/>
                </a:lnTo>
                <a:lnTo>
                  <a:pt x="2454" y="819"/>
                </a:lnTo>
                <a:lnTo>
                  <a:pt x="2450" y="819"/>
                </a:lnTo>
                <a:lnTo>
                  <a:pt x="2447" y="818"/>
                </a:lnTo>
                <a:lnTo>
                  <a:pt x="2445" y="817"/>
                </a:lnTo>
                <a:lnTo>
                  <a:pt x="2443" y="815"/>
                </a:lnTo>
                <a:lnTo>
                  <a:pt x="2441" y="813"/>
                </a:lnTo>
                <a:lnTo>
                  <a:pt x="2440" y="811"/>
                </a:lnTo>
                <a:lnTo>
                  <a:pt x="2440" y="809"/>
                </a:lnTo>
                <a:lnTo>
                  <a:pt x="2439" y="806"/>
                </a:lnTo>
                <a:lnTo>
                  <a:pt x="2439" y="804"/>
                </a:lnTo>
                <a:lnTo>
                  <a:pt x="2441" y="800"/>
                </a:lnTo>
                <a:lnTo>
                  <a:pt x="2443" y="797"/>
                </a:lnTo>
                <a:lnTo>
                  <a:pt x="2446" y="795"/>
                </a:lnTo>
                <a:lnTo>
                  <a:pt x="2450" y="793"/>
                </a:lnTo>
                <a:close/>
                <a:moveTo>
                  <a:pt x="2385" y="781"/>
                </a:moveTo>
                <a:lnTo>
                  <a:pt x="2390" y="781"/>
                </a:lnTo>
                <a:lnTo>
                  <a:pt x="2392" y="782"/>
                </a:lnTo>
                <a:lnTo>
                  <a:pt x="2394" y="783"/>
                </a:lnTo>
                <a:lnTo>
                  <a:pt x="2396" y="785"/>
                </a:lnTo>
                <a:lnTo>
                  <a:pt x="2398" y="786"/>
                </a:lnTo>
                <a:lnTo>
                  <a:pt x="2399" y="789"/>
                </a:lnTo>
                <a:lnTo>
                  <a:pt x="2400" y="791"/>
                </a:lnTo>
                <a:lnTo>
                  <a:pt x="2400" y="794"/>
                </a:lnTo>
                <a:lnTo>
                  <a:pt x="2400" y="796"/>
                </a:lnTo>
                <a:lnTo>
                  <a:pt x="2399" y="800"/>
                </a:lnTo>
                <a:lnTo>
                  <a:pt x="2396" y="803"/>
                </a:lnTo>
                <a:lnTo>
                  <a:pt x="2393" y="805"/>
                </a:lnTo>
                <a:lnTo>
                  <a:pt x="2389" y="806"/>
                </a:lnTo>
                <a:lnTo>
                  <a:pt x="2385" y="806"/>
                </a:lnTo>
                <a:lnTo>
                  <a:pt x="2382" y="806"/>
                </a:lnTo>
                <a:lnTo>
                  <a:pt x="2380" y="805"/>
                </a:lnTo>
                <a:lnTo>
                  <a:pt x="2378" y="803"/>
                </a:lnTo>
                <a:lnTo>
                  <a:pt x="2377" y="801"/>
                </a:lnTo>
                <a:lnTo>
                  <a:pt x="2375" y="799"/>
                </a:lnTo>
                <a:lnTo>
                  <a:pt x="2375" y="796"/>
                </a:lnTo>
                <a:lnTo>
                  <a:pt x="2374" y="794"/>
                </a:lnTo>
                <a:lnTo>
                  <a:pt x="2374" y="791"/>
                </a:lnTo>
                <a:lnTo>
                  <a:pt x="2376" y="788"/>
                </a:lnTo>
                <a:lnTo>
                  <a:pt x="2378" y="784"/>
                </a:lnTo>
                <a:lnTo>
                  <a:pt x="2381" y="782"/>
                </a:lnTo>
                <a:lnTo>
                  <a:pt x="2385" y="781"/>
                </a:lnTo>
                <a:close/>
                <a:moveTo>
                  <a:pt x="1435" y="945"/>
                </a:moveTo>
                <a:lnTo>
                  <a:pt x="1439" y="945"/>
                </a:lnTo>
                <a:lnTo>
                  <a:pt x="1443" y="946"/>
                </a:lnTo>
                <a:lnTo>
                  <a:pt x="1446" y="948"/>
                </a:lnTo>
                <a:lnTo>
                  <a:pt x="1447" y="950"/>
                </a:lnTo>
                <a:lnTo>
                  <a:pt x="1448" y="951"/>
                </a:lnTo>
                <a:lnTo>
                  <a:pt x="1450" y="953"/>
                </a:lnTo>
                <a:lnTo>
                  <a:pt x="1450" y="956"/>
                </a:lnTo>
                <a:lnTo>
                  <a:pt x="1450" y="961"/>
                </a:lnTo>
                <a:lnTo>
                  <a:pt x="1449" y="963"/>
                </a:lnTo>
                <a:lnTo>
                  <a:pt x="1448" y="965"/>
                </a:lnTo>
                <a:lnTo>
                  <a:pt x="1446" y="967"/>
                </a:lnTo>
                <a:lnTo>
                  <a:pt x="1444" y="969"/>
                </a:lnTo>
                <a:lnTo>
                  <a:pt x="1442" y="970"/>
                </a:lnTo>
                <a:lnTo>
                  <a:pt x="1440" y="971"/>
                </a:lnTo>
                <a:lnTo>
                  <a:pt x="1436" y="971"/>
                </a:lnTo>
                <a:lnTo>
                  <a:pt x="1432" y="970"/>
                </a:lnTo>
                <a:lnTo>
                  <a:pt x="1429" y="968"/>
                </a:lnTo>
                <a:lnTo>
                  <a:pt x="1428" y="967"/>
                </a:lnTo>
                <a:lnTo>
                  <a:pt x="1427" y="965"/>
                </a:lnTo>
                <a:lnTo>
                  <a:pt x="1425" y="963"/>
                </a:lnTo>
                <a:lnTo>
                  <a:pt x="1425" y="960"/>
                </a:lnTo>
                <a:lnTo>
                  <a:pt x="1425" y="955"/>
                </a:lnTo>
                <a:lnTo>
                  <a:pt x="1426" y="953"/>
                </a:lnTo>
                <a:lnTo>
                  <a:pt x="1427" y="951"/>
                </a:lnTo>
                <a:lnTo>
                  <a:pt x="1428" y="949"/>
                </a:lnTo>
                <a:lnTo>
                  <a:pt x="1430" y="947"/>
                </a:lnTo>
                <a:lnTo>
                  <a:pt x="1433" y="946"/>
                </a:lnTo>
                <a:lnTo>
                  <a:pt x="1435" y="945"/>
                </a:lnTo>
                <a:close/>
                <a:moveTo>
                  <a:pt x="2320" y="769"/>
                </a:moveTo>
                <a:lnTo>
                  <a:pt x="2325" y="769"/>
                </a:lnTo>
                <a:lnTo>
                  <a:pt x="2327" y="770"/>
                </a:lnTo>
                <a:lnTo>
                  <a:pt x="2329" y="771"/>
                </a:lnTo>
                <a:lnTo>
                  <a:pt x="2331" y="772"/>
                </a:lnTo>
                <a:lnTo>
                  <a:pt x="2333" y="774"/>
                </a:lnTo>
                <a:lnTo>
                  <a:pt x="2334" y="776"/>
                </a:lnTo>
                <a:lnTo>
                  <a:pt x="2335" y="779"/>
                </a:lnTo>
                <a:lnTo>
                  <a:pt x="2335" y="781"/>
                </a:lnTo>
                <a:lnTo>
                  <a:pt x="2335" y="784"/>
                </a:lnTo>
                <a:lnTo>
                  <a:pt x="2334" y="788"/>
                </a:lnTo>
                <a:lnTo>
                  <a:pt x="2332" y="789"/>
                </a:lnTo>
                <a:lnTo>
                  <a:pt x="2331" y="791"/>
                </a:lnTo>
                <a:lnTo>
                  <a:pt x="2328" y="793"/>
                </a:lnTo>
                <a:lnTo>
                  <a:pt x="2324" y="794"/>
                </a:lnTo>
                <a:lnTo>
                  <a:pt x="2320" y="794"/>
                </a:lnTo>
                <a:lnTo>
                  <a:pt x="2317" y="794"/>
                </a:lnTo>
                <a:lnTo>
                  <a:pt x="2315" y="792"/>
                </a:lnTo>
                <a:lnTo>
                  <a:pt x="2313" y="791"/>
                </a:lnTo>
                <a:lnTo>
                  <a:pt x="2312" y="789"/>
                </a:lnTo>
                <a:lnTo>
                  <a:pt x="2310" y="787"/>
                </a:lnTo>
                <a:lnTo>
                  <a:pt x="2310" y="784"/>
                </a:lnTo>
                <a:lnTo>
                  <a:pt x="2309" y="782"/>
                </a:lnTo>
                <a:lnTo>
                  <a:pt x="2309" y="779"/>
                </a:lnTo>
                <a:lnTo>
                  <a:pt x="2311" y="775"/>
                </a:lnTo>
                <a:lnTo>
                  <a:pt x="2313" y="772"/>
                </a:lnTo>
                <a:lnTo>
                  <a:pt x="2316" y="770"/>
                </a:lnTo>
                <a:lnTo>
                  <a:pt x="2320" y="769"/>
                </a:lnTo>
                <a:close/>
                <a:moveTo>
                  <a:pt x="1492" y="911"/>
                </a:moveTo>
                <a:lnTo>
                  <a:pt x="1496" y="911"/>
                </a:lnTo>
                <a:lnTo>
                  <a:pt x="1499" y="912"/>
                </a:lnTo>
                <a:lnTo>
                  <a:pt x="1501" y="913"/>
                </a:lnTo>
                <a:lnTo>
                  <a:pt x="1503" y="914"/>
                </a:lnTo>
                <a:lnTo>
                  <a:pt x="1505" y="917"/>
                </a:lnTo>
                <a:lnTo>
                  <a:pt x="1506" y="920"/>
                </a:lnTo>
                <a:lnTo>
                  <a:pt x="1507" y="922"/>
                </a:lnTo>
                <a:lnTo>
                  <a:pt x="1507" y="924"/>
                </a:lnTo>
                <a:lnTo>
                  <a:pt x="1506" y="927"/>
                </a:lnTo>
                <a:lnTo>
                  <a:pt x="1504" y="931"/>
                </a:lnTo>
                <a:lnTo>
                  <a:pt x="1502" y="933"/>
                </a:lnTo>
                <a:lnTo>
                  <a:pt x="1500" y="935"/>
                </a:lnTo>
                <a:lnTo>
                  <a:pt x="1498" y="936"/>
                </a:lnTo>
                <a:lnTo>
                  <a:pt x="1496" y="936"/>
                </a:lnTo>
                <a:lnTo>
                  <a:pt x="1492" y="936"/>
                </a:lnTo>
                <a:lnTo>
                  <a:pt x="1489" y="935"/>
                </a:lnTo>
                <a:lnTo>
                  <a:pt x="1487" y="934"/>
                </a:lnTo>
                <a:lnTo>
                  <a:pt x="1485" y="933"/>
                </a:lnTo>
                <a:lnTo>
                  <a:pt x="1483" y="930"/>
                </a:lnTo>
                <a:lnTo>
                  <a:pt x="1482" y="928"/>
                </a:lnTo>
                <a:lnTo>
                  <a:pt x="1481" y="925"/>
                </a:lnTo>
                <a:lnTo>
                  <a:pt x="1481" y="923"/>
                </a:lnTo>
                <a:lnTo>
                  <a:pt x="1481" y="920"/>
                </a:lnTo>
                <a:lnTo>
                  <a:pt x="1484" y="916"/>
                </a:lnTo>
                <a:lnTo>
                  <a:pt x="1485" y="914"/>
                </a:lnTo>
                <a:lnTo>
                  <a:pt x="1487" y="912"/>
                </a:lnTo>
                <a:lnTo>
                  <a:pt x="1489" y="911"/>
                </a:lnTo>
                <a:lnTo>
                  <a:pt x="1492" y="911"/>
                </a:lnTo>
                <a:close/>
                <a:moveTo>
                  <a:pt x="2255" y="757"/>
                </a:moveTo>
                <a:lnTo>
                  <a:pt x="2259" y="757"/>
                </a:lnTo>
                <a:lnTo>
                  <a:pt x="2262" y="758"/>
                </a:lnTo>
                <a:lnTo>
                  <a:pt x="2264" y="759"/>
                </a:lnTo>
                <a:lnTo>
                  <a:pt x="2266" y="760"/>
                </a:lnTo>
                <a:lnTo>
                  <a:pt x="2268" y="762"/>
                </a:lnTo>
                <a:lnTo>
                  <a:pt x="2269" y="764"/>
                </a:lnTo>
                <a:lnTo>
                  <a:pt x="2270" y="767"/>
                </a:lnTo>
                <a:lnTo>
                  <a:pt x="2270" y="769"/>
                </a:lnTo>
                <a:lnTo>
                  <a:pt x="2270" y="772"/>
                </a:lnTo>
                <a:lnTo>
                  <a:pt x="2269" y="776"/>
                </a:lnTo>
                <a:lnTo>
                  <a:pt x="2267" y="777"/>
                </a:lnTo>
                <a:lnTo>
                  <a:pt x="2266" y="779"/>
                </a:lnTo>
                <a:lnTo>
                  <a:pt x="2265" y="780"/>
                </a:lnTo>
                <a:lnTo>
                  <a:pt x="2263" y="781"/>
                </a:lnTo>
                <a:lnTo>
                  <a:pt x="2259" y="782"/>
                </a:lnTo>
                <a:lnTo>
                  <a:pt x="2255" y="782"/>
                </a:lnTo>
                <a:lnTo>
                  <a:pt x="2252" y="782"/>
                </a:lnTo>
                <a:lnTo>
                  <a:pt x="2250" y="781"/>
                </a:lnTo>
                <a:lnTo>
                  <a:pt x="2248" y="779"/>
                </a:lnTo>
                <a:lnTo>
                  <a:pt x="2247" y="777"/>
                </a:lnTo>
                <a:lnTo>
                  <a:pt x="2245" y="775"/>
                </a:lnTo>
                <a:lnTo>
                  <a:pt x="2244" y="773"/>
                </a:lnTo>
                <a:lnTo>
                  <a:pt x="2244" y="770"/>
                </a:lnTo>
                <a:lnTo>
                  <a:pt x="2244" y="768"/>
                </a:lnTo>
                <a:lnTo>
                  <a:pt x="2246" y="764"/>
                </a:lnTo>
                <a:lnTo>
                  <a:pt x="2247" y="762"/>
                </a:lnTo>
                <a:lnTo>
                  <a:pt x="2248" y="761"/>
                </a:lnTo>
                <a:lnTo>
                  <a:pt x="2249" y="759"/>
                </a:lnTo>
                <a:lnTo>
                  <a:pt x="2251" y="758"/>
                </a:lnTo>
                <a:lnTo>
                  <a:pt x="2255" y="757"/>
                </a:lnTo>
                <a:close/>
                <a:moveTo>
                  <a:pt x="1550" y="879"/>
                </a:moveTo>
                <a:lnTo>
                  <a:pt x="1554" y="879"/>
                </a:lnTo>
                <a:lnTo>
                  <a:pt x="1556" y="879"/>
                </a:lnTo>
                <a:lnTo>
                  <a:pt x="1557" y="880"/>
                </a:lnTo>
                <a:lnTo>
                  <a:pt x="1559" y="881"/>
                </a:lnTo>
                <a:lnTo>
                  <a:pt x="1561" y="882"/>
                </a:lnTo>
                <a:lnTo>
                  <a:pt x="1563" y="886"/>
                </a:lnTo>
                <a:lnTo>
                  <a:pt x="1564" y="888"/>
                </a:lnTo>
                <a:lnTo>
                  <a:pt x="1565" y="891"/>
                </a:lnTo>
                <a:lnTo>
                  <a:pt x="1565" y="893"/>
                </a:lnTo>
                <a:lnTo>
                  <a:pt x="1564" y="896"/>
                </a:lnTo>
                <a:lnTo>
                  <a:pt x="1563" y="898"/>
                </a:lnTo>
                <a:lnTo>
                  <a:pt x="1563" y="899"/>
                </a:lnTo>
                <a:lnTo>
                  <a:pt x="1562" y="900"/>
                </a:lnTo>
                <a:lnTo>
                  <a:pt x="1560" y="902"/>
                </a:lnTo>
                <a:lnTo>
                  <a:pt x="1558" y="903"/>
                </a:lnTo>
                <a:lnTo>
                  <a:pt x="1554" y="904"/>
                </a:lnTo>
                <a:lnTo>
                  <a:pt x="1550" y="905"/>
                </a:lnTo>
                <a:lnTo>
                  <a:pt x="1548" y="904"/>
                </a:lnTo>
                <a:lnTo>
                  <a:pt x="1546" y="903"/>
                </a:lnTo>
                <a:lnTo>
                  <a:pt x="1544" y="902"/>
                </a:lnTo>
                <a:lnTo>
                  <a:pt x="1543" y="901"/>
                </a:lnTo>
                <a:lnTo>
                  <a:pt x="1540" y="898"/>
                </a:lnTo>
                <a:lnTo>
                  <a:pt x="1539" y="895"/>
                </a:lnTo>
                <a:lnTo>
                  <a:pt x="1539" y="893"/>
                </a:lnTo>
                <a:lnTo>
                  <a:pt x="1539" y="890"/>
                </a:lnTo>
                <a:lnTo>
                  <a:pt x="1540" y="888"/>
                </a:lnTo>
                <a:lnTo>
                  <a:pt x="1540" y="886"/>
                </a:lnTo>
                <a:lnTo>
                  <a:pt x="1541" y="884"/>
                </a:lnTo>
                <a:lnTo>
                  <a:pt x="1542" y="883"/>
                </a:lnTo>
                <a:lnTo>
                  <a:pt x="1544" y="882"/>
                </a:lnTo>
                <a:lnTo>
                  <a:pt x="1546" y="880"/>
                </a:lnTo>
                <a:lnTo>
                  <a:pt x="1550" y="879"/>
                </a:lnTo>
                <a:close/>
                <a:moveTo>
                  <a:pt x="2188" y="748"/>
                </a:moveTo>
                <a:lnTo>
                  <a:pt x="2192" y="748"/>
                </a:lnTo>
                <a:lnTo>
                  <a:pt x="2194" y="748"/>
                </a:lnTo>
                <a:lnTo>
                  <a:pt x="2197" y="749"/>
                </a:lnTo>
                <a:lnTo>
                  <a:pt x="2199" y="751"/>
                </a:lnTo>
                <a:lnTo>
                  <a:pt x="2201" y="753"/>
                </a:lnTo>
                <a:lnTo>
                  <a:pt x="2202" y="755"/>
                </a:lnTo>
                <a:lnTo>
                  <a:pt x="2203" y="757"/>
                </a:lnTo>
                <a:lnTo>
                  <a:pt x="2203" y="759"/>
                </a:lnTo>
                <a:lnTo>
                  <a:pt x="2203" y="762"/>
                </a:lnTo>
                <a:lnTo>
                  <a:pt x="2203" y="764"/>
                </a:lnTo>
                <a:lnTo>
                  <a:pt x="2202" y="766"/>
                </a:lnTo>
                <a:lnTo>
                  <a:pt x="2200" y="770"/>
                </a:lnTo>
                <a:lnTo>
                  <a:pt x="2197" y="772"/>
                </a:lnTo>
                <a:lnTo>
                  <a:pt x="2195" y="773"/>
                </a:lnTo>
                <a:lnTo>
                  <a:pt x="2193" y="773"/>
                </a:lnTo>
                <a:lnTo>
                  <a:pt x="2189" y="774"/>
                </a:lnTo>
                <a:lnTo>
                  <a:pt x="2187" y="773"/>
                </a:lnTo>
                <a:lnTo>
                  <a:pt x="2184" y="772"/>
                </a:lnTo>
                <a:lnTo>
                  <a:pt x="2182" y="771"/>
                </a:lnTo>
                <a:lnTo>
                  <a:pt x="2180" y="769"/>
                </a:lnTo>
                <a:lnTo>
                  <a:pt x="2179" y="767"/>
                </a:lnTo>
                <a:lnTo>
                  <a:pt x="2178" y="765"/>
                </a:lnTo>
                <a:lnTo>
                  <a:pt x="2178" y="762"/>
                </a:lnTo>
                <a:lnTo>
                  <a:pt x="2178" y="759"/>
                </a:lnTo>
                <a:lnTo>
                  <a:pt x="2178" y="757"/>
                </a:lnTo>
                <a:lnTo>
                  <a:pt x="2179" y="755"/>
                </a:lnTo>
                <a:lnTo>
                  <a:pt x="2181" y="752"/>
                </a:lnTo>
                <a:lnTo>
                  <a:pt x="2184" y="749"/>
                </a:lnTo>
                <a:lnTo>
                  <a:pt x="2186" y="749"/>
                </a:lnTo>
                <a:lnTo>
                  <a:pt x="2188" y="748"/>
                </a:lnTo>
                <a:close/>
                <a:moveTo>
                  <a:pt x="1609" y="850"/>
                </a:moveTo>
                <a:lnTo>
                  <a:pt x="1613" y="850"/>
                </a:lnTo>
                <a:lnTo>
                  <a:pt x="1617" y="851"/>
                </a:lnTo>
                <a:lnTo>
                  <a:pt x="1619" y="852"/>
                </a:lnTo>
                <a:lnTo>
                  <a:pt x="1621" y="854"/>
                </a:lnTo>
                <a:lnTo>
                  <a:pt x="1623" y="857"/>
                </a:lnTo>
                <a:lnTo>
                  <a:pt x="1624" y="860"/>
                </a:lnTo>
                <a:lnTo>
                  <a:pt x="1624" y="862"/>
                </a:lnTo>
                <a:lnTo>
                  <a:pt x="1623" y="867"/>
                </a:lnTo>
                <a:lnTo>
                  <a:pt x="1622" y="869"/>
                </a:lnTo>
                <a:lnTo>
                  <a:pt x="1621" y="871"/>
                </a:lnTo>
                <a:lnTo>
                  <a:pt x="1619" y="873"/>
                </a:lnTo>
                <a:lnTo>
                  <a:pt x="1617" y="874"/>
                </a:lnTo>
                <a:lnTo>
                  <a:pt x="1613" y="875"/>
                </a:lnTo>
                <a:lnTo>
                  <a:pt x="1609" y="875"/>
                </a:lnTo>
                <a:lnTo>
                  <a:pt x="1605" y="874"/>
                </a:lnTo>
                <a:lnTo>
                  <a:pt x="1604" y="873"/>
                </a:lnTo>
                <a:lnTo>
                  <a:pt x="1602" y="872"/>
                </a:lnTo>
                <a:lnTo>
                  <a:pt x="1599" y="868"/>
                </a:lnTo>
                <a:lnTo>
                  <a:pt x="1599" y="866"/>
                </a:lnTo>
                <a:lnTo>
                  <a:pt x="1598" y="863"/>
                </a:lnTo>
                <a:lnTo>
                  <a:pt x="1599" y="858"/>
                </a:lnTo>
                <a:lnTo>
                  <a:pt x="1600" y="856"/>
                </a:lnTo>
                <a:lnTo>
                  <a:pt x="1602" y="854"/>
                </a:lnTo>
                <a:lnTo>
                  <a:pt x="1604" y="852"/>
                </a:lnTo>
                <a:lnTo>
                  <a:pt x="1606" y="851"/>
                </a:lnTo>
                <a:lnTo>
                  <a:pt x="1609" y="850"/>
                </a:lnTo>
                <a:close/>
                <a:moveTo>
                  <a:pt x="1670" y="824"/>
                </a:moveTo>
                <a:lnTo>
                  <a:pt x="1674" y="824"/>
                </a:lnTo>
                <a:lnTo>
                  <a:pt x="1676" y="824"/>
                </a:lnTo>
                <a:lnTo>
                  <a:pt x="1678" y="825"/>
                </a:lnTo>
                <a:lnTo>
                  <a:pt x="1680" y="827"/>
                </a:lnTo>
                <a:lnTo>
                  <a:pt x="1682" y="828"/>
                </a:lnTo>
                <a:lnTo>
                  <a:pt x="1683" y="830"/>
                </a:lnTo>
                <a:lnTo>
                  <a:pt x="1684" y="832"/>
                </a:lnTo>
                <a:lnTo>
                  <a:pt x="1685" y="834"/>
                </a:lnTo>
                <a:lnTo>
                  <a:pt x="1685" y="837"/>
                </a:lnTo>
                <a:lnTo>
                  <a:pt x="1685" y="839"/>
                </a:lnTo>
                <a:lnTo>
                  <a:pt x="1684" y="842"/>
                </a:lnTo>
                <a:lnTo>
                  <a:pt x="1683" y="844"/>
                </a:lnTo>
                <a:lnTo>
                  <a:pt x="1681" y="846"/>
                </a:lnTo>
                <a:lnTo>
                  <a:pt x="1679" y="847"/>
                </a:lnTo>
                <a:lnTo>
                  <a:pt x="1677" y="849"/>
                </a:lnTo>
                <a:lnTo>
                  <a:pt x="1674" y="849"/>
                </a:lnTo>
                <a:lnTo>
                  <a:pt x="1670" y="849"/>
                </a:lnTo>
                <a:lnTo>
                  <a:pt x="1668" y="849"/>
                </a:lnTo>
                <a:lnTo>
                  <a:pt x="1666" y="848"/>
                </a:lnTo>
                <a:lnTo>
                  <a:pt x="1664" y="847"/>
                </a:lnTo>
                <a:lnTo>
                  <a:pt x="1662" y="845"/>
                </a:lnTo>
                <a:lnTo>
                  <a:pt x="1661" y="843"/>
                </a:lnTo>
                <a:lnTo>
                  <a:pt x="1660" y="841"/>
                </a:lnTo>
                <a:lnTo>
                  <a:pt x="1659" y="839"/>
                </a:lnTo>
                <a:lnTo>
                  <a:pt x="1659" y="836"/>
                </a:lnTo>
                <a:lnTo>
                  <a:pt x="1659" y="834"/>
                </a:lnTo>
                <a:lnTo>
                  <a:pt x="1660" y="832"/>
                </a:lnTo>
                <a:lnTo>
                  <a:pt x="1661" y="829"/>
                </a:lnTo>
                <a:lnTo>
                  <a:pt x="1663" y="827"/>
                </a:lnTo>
                <a:lnTo>
                  <a:pt x="1665" y="826"/>
                </a:lnTo>
                <a:lnTo>
                  <a:pt x="1667" y="825"/>
                </a:lnTo>
                <a:lnTo>
                  <a:pt x="1670" y="824"/>
                </a:lnTo>
                <a:close/>
                <a:moveTo>
                  <a:pt x="2122" y="743"/>
                </a:moveTo>
                <a:lnTo>
                  <a:pt x="2125" y="743"/>
                </a:lnTo>
                <a:lnTo>
                  <a:pt x="2128" y="744"/>
                </a:lnTo>
                <a:lnTo>
                  <a:pt x="2130" y="744"/>
                </a:lnTo>
                <a:lnTo>
                  <a:pt x="2132" y="746"/>
                </a:lnTo>
                <a:lnTo>
                  <a:pt x="2134" y="747"/>
                </a:lnTo>
                <a:lnTo>
                  <a:pt x="2136" y="749"/>
                </a:lnTo>
                <a:lnTo>
                  <a:pt x="2137" y="752"/>
                </a:lnTo>
                <a:lnTo>
                  <a:pt x="2137" y="754"/>
                </a:lnTo>
                <a:lnTo>
                  <a:pt x="2137" y="757"/>
                </a:lnTo>
                <a:lnTo>
                  <a:pt x="2137" y="759"/>
                </a:lnTo>
                <a:lnTo>
                  <a:pt x="2137" y="761"/>
                </a:lnTo>
                <a:lnTo>
                  <a:pt x="2134" y="765"/>
                </a:lnTo>
                <a:lnTo>
                  <a:pt x="2131" y="767"/>
                </a:lnTo>
                <a:lnTo>
                  <a:pt x="2127" y="769"/>
                </a:lnTo>
                <a:lnTo>
                  <a:pt x="2124" y="769"/>
                </a:lnTo>
                <a:lnTo>
                  <a:pt x="2121" y="769"/>
                </a:lnTo>
                <a:lnTo>
                  <a:pt x="2119" y="768"/>
                </a:lnTo>
                <a:lnTo>
                  <a:pt x="2117" y="766"/>
                </a:lnTo>
                <a:lnTo>
                  <a:pt x="2115" y="765"/>
                </a:lnTo>
                <a:lnTo>
                  <a:pt x="2114" y="763"/>
                </a:lnTo>
                <a:lnTo>
                  <a:pt x="2112" y="761"/>
                </a:lnTo>
                <a:lnTo>
                  <a:pt x="2112" y="758"/>
                </a:lnTo>
                <a:lnTo>
                  <a:pt x="2112" y="756"/>
                </a:lnTo>
                <a:lnTo>
                  <a:pt x="2112" y="753"/>
                </a:lnTo>
                <a:lnTo>
                  <a:pt x="2113" y="751"/>
                </a:lnTo>
                <a:lnTo>
                  <a:pt x="2115" y="748"/>
                </a:lnTo>
                <a:lnTo>
                  <a:pt x="2118" y="745"/>
                </a:lnTo>
                <a:lnTo>
                  <a:pt x="2122" y="743"/>
                </a:lnTo>
                <a:close/>
                <a:moveTo>
                  <a:pt x="1732" y="801"/>
                </a:moveTo>
                <a:lnTo>
                  <a:pt x="1736" y="801"/>
                </a:lnTo>
                <a:lnTo>
                  <a:pt x="1739" y="802"/>
                </a:lnTo>
                <a:lnTo>
                  <a:pt x="1741" y="803"/>
                </a:lnTo>
                <a:lnTo>
                  <a:pt x="1742" y="804"/>
                </a:lnTo>
                <a:lnTo>
                  <a:pt x="1744" y="806"/>
                </a:lnTo>
                <a:lnTo>
                  <a:pt x="1745" y="808"/>
                </a:lnTo>
                <a:lnTo>
                  <a:pt x="1746" y="810"/>
                </a:lnTo>
                <a:lnTo>
                  <a:pt x="1747" y="815"/>
                </a:lnTo>
                <a:lnTo>
                  <a:pt x="1747" y="817"/>
                </a:lnTo>
                <a:lnTo>
                  <a:pt x="1746" y="820"/>
                </a:lnTo>
                <a:lnTo>
                  <a:pt x="1744" y="822"/>
                </a:lnTo>
                <a:lnTo>
                  <a:pt x="1743" y="824"/>
                </a:lnTo>
                <a:lnTo>
                  <a:pt x="1741" y="825"/>
                </a:lnTo>
                <a:lnTo>
                  <a:pt x="1738" y="826"/>
                </a:lnTo>
                <a:lnTo>
                  <a:pt x="1736" y="827"/>
                </a:lnTo>
                <a:lnTo>
                  <a:pt x="1732" y="827"/>
                </a:lnTo>
                <a:lnTo>
                  <a:pt x="1730" y="826"/>
                </a:lnTo>
                <a:lnTo>
                  <a:pt x="1728" y="825"/>
                </a:lnTo>
                <a:lnTo>
                  <a:pt x="1726" y="824"/>
                </a:lnTo>
                <a:lnTo>
                  <a:pt x="1724" y="822"/>
                </a:lnTo>
                <a:lnTo>
                  <a:pt x="1723" y="820"/>
                </a:lnTo>
                <a:lnTo>
                  <a:pt x="1722" y="818"/>
                </a:lnTo>
                <a:lnTo>
                  <a:pt x="1721" y="813"/>
                </a:lnTo>
                <a:lnTo>
                  <a:pt x="1722" y="810"/>
                </a:lnTo>
                <a:lnTo>
                  <a:pt x="1723" y="808"/>
                </a:lnTo>
                <a:lnTo>
                  <a:pt x="1724" y="806"/>
                </a:lnTo>
                <a:lnTo>
                  <a:pt x="1726" y="804"/>
                </a:lnTo>
                <a:lnTo>
                  <a:pt x="1728" y="803"/>
                </a:lnTo>
                <a:lnTo>
                  <a:pt x="1730" y="802"/>
                </a:lnTo>
                <a:lnTo>
                  <a:pt x="1732" y="801"/>
                </a:lnTo>
                <a:close/>
                <a:moveTo>
                  <a:pt x="2056" y="743"/>
                </a:moveTo>
                <a:lnTo>
                  <a:pt x="2058" y="743"/>
                </a:lnTo>
                <a:lnTo>
                  <a:pt x="2061" y="743"/>
                </a:lnTo>
                <a:lnTo>
                  <a:pt x="2063" y="744"/>
                </a:lnTo>
                <a:lnTo>
                  <a:pt x="2065" y="745"/>
                </a:lnTo>
                <a:lnTo>
                  <a:pt x="2067" y="746"/>
                </a:lnTo>
                <a:lnTo>
                  <a:pt x="2069" y="748"/>
                </a:lnTo>
                <a:lnTo>
                  <a:pt x="2070" y="750"/>
                </a:lnTo>
                <a:lnTo>
                  <a:pt x="2071" y="753"/>
                </a:lnTo>
                <a:lnTo>
                  <a:pt x="2071" y="755"/>
                </a:lnTo>
                <a:lnTo>
                  <a:pt x="2071" y="758"/>
                </a:lnTo>
                <a:lnTo>
                  <a:pt x="2071" y="760"/>
                </a:lnTo>
                <a:lnTo>
                  <a:pt x="2070" y="762"/>
                </a:lnTo>
                <a:lnTo>
                  <a:pt x="2068" y="764"/>
                </a:lnTo>
                <a:lnTo>
                  <a:pt x="2067" y="765"/>
                </a:lnTo>
                <a:lnTo>
                  <a:pt x="2065" y="767"/>
                </a:lnTo>
                <a:lnTo>
                  <a:pt x="2063" y="768"/>
                </a:lnTo>
                <a:lnTo>
                  <a:pt x="2061" y="768"/>
                </a:lnTo>
                <a:lnTo>
                  <a:pt x="2059" y="768"/>
                </a:lnTo>
                <a:lnTo>
                  <a:pt x="2056" y="768"/>
                </a:lnTo>
                <a:lnTo>
                  <a:pt x="2054" y="768"/>
                </a:lnTo>
                <a:lnTo>
                  <a:pt x="2051" y="766"/>
                </a:lnTo>
                <a:lnTo>
                  <a:pt x="2049" y="765"/>
                </a:lnTo>
                <a:lnTo>
                  <a:pt x="2048" y="763"/>
                </a:lnTo>
                <a:lnTo>
                  <a:pt x="2047" y="761"/>
                </a:lnTo>
                <a:lnTo>
                  <a:pt x="2046" y="758"/>
                </a:lnTo>
                <a:lnTo>
                  <a:pt x="2045" y="756"/>
                </a:lnTo>
                <a:lnTo>
                  <a:pt x="2046" y="753"/>
                </a:lnTo>
                <a:lnTo>
                  <a:pt x="2046" y="751"/>
                </a:lnTo>
                <a:lnTo>
                  <a:pt x="2047" y="749"/>
                </a:lnTo>
                <a:lnTo>
                  <a:pt x="2048" y="747"/>
                </a:lnTo>
                <a:lnTo>
                  <a:pt x="2050" y="746"/>
                </a:lnTo>
                <a:lnTo>
                  <a:pt x="2052" y="744"/>
                </a:lnTo>
                <a:lnTo>
                  <a:pt x="2054" y="743"/>
                </a:lnTo>
                <a:lnTo>
                  <a:pt x="2056" y="743"/>
                </a:lnTo>
                <a:close/>
                <a:moveTo>
                  <a:pt x="1795" y="782"/>
                </a:moveTo>
                <a:lnTo>
                  <a:pt x="1800" y="782"/>
                </a:lnTo>
                <a:lnTo>
                  <a:pt x="1802" y="783"/>
                </a:lnTo>
                <a:lnTo>
                  <a:pt x="1804" y="784"/>
                </a:lnTo>
                <a:lnTo>
                  <a:pt x="1806" y="785"/>
                </a:lnTo>
                <a:lnTo>
                  <a:pt x="1808" y="787"/>
                </a:lnTo>
                <a:lnTo>
                  <a:pt x="1809" y="789"/>
                </a:lnTo>
                <a:lnTo>
                  <a:pt x="1810" y="791"/>
                </a:lnTo>
                <a:lnTo>
                  <a:pt x="1810" y="794"/>
                </a:lnTo>
                <a:lnTo>
                  <a:pt x="1810" y="796"/>
                </a:lnTo>
                <a:lnTo>
                  <a:pt x="1810" y="799"/>
                </a:lnTo>
                <a:lnTo>
                  <a:pt x="1809" y="801"/>
                </a:lnTo>
                <a:lnTo>
                  <a:pt x="1807" y="803"/>
                </a:lnTo>
                <a:lnTo>
                  <a:pt x="1805" y="805"/>
                </a:lnTo>
                <a:lnTo>
                  <a:pt x="1803" y="806"/>
                </a:lnTo>
                <a:lnTo>
                  <a:pt x="1801" y="807"/>
                </a:lnTo>
                <a:lnTo>
                  <a:pt x="1795" y="807"/>
                </a:lnTo>
                <a:lnTo>
                  <a:pt x="1793" y="806"/>
                </a:lnTo>
                <a:lnTo>
                  <a:pt x="1791" y="805"/>
                </a:lnTo>
                <a:lnTo>
                  <a:pt x="1789" y="804"/>
                </a:lnTo>
                <a:lnTo>
                  <a:pt x="1787" y="802"/>
                </a:lnTo>
                <a:lnTo>
                  <a:pt x="1786" y="800"/>
                </a:lnTo>
                <a:lnTo>
                  <a:pt x="1785" y="798"/>
                </a:lnTo>
                <a:lnTo>
                  <a:pt x="1784" y="795"/>
                </a:lnTo>
                <a:lnTo>
                  <a:pt x="1785" y="793"/>
                </a:lnTo>
                <a:lnTo>
                  <a:pt x="1785" y="790"/>
                </a:lnTo>
                <a:lnTo>
                  <a:pt x="1786" y="788"/>
                </a:lnTo>
                <a:lnTo>
                  <a:pt x="1788" y="786"/>
                </a:lnTo>
                <a:lnTo>
                  <a:pt x="1789" y="784"/>
                </a:lnTo>
                <a:lnTo>
                  <a:pt x="1791" y="783"/>
                </a:lnTo>
                <a:lnTo>
                  <a:pt x="1794" y="782"/>
                </a:lnTo>
                <a:lnTo>
                  <a:pt x="1795" y="782"/>
                </a:lnTo>
                <a:close/>
                <a:moveTo>
                  <a:pt x="1990" y="747"/>
                </a:moveTo>
                <a:lnTo>
                  <a:pt x="1993" y="747"/>
                </a:lnTo>
                <a:lnTo>
                  <a:pt x="1996" y="747"/>
                </a:lnTo>
                <a:lnTo>
                  <a:pt x="1998" y="748"/>
                </a:lnTo>
                <a:lnTo>
                  <a:pt x="2001" y="749"/>
                </a:lnTo>
                <a:lnTo>
                  <a:pt x="2002" y="751"/>
                </a:lnTo>
                <a:lnTo>
                  <a:pt x="2004" y="753"/>
                </a:lnTo>
                <a:lnTo>
                  <a:pt x="2005" y="756"/>
                </a:lnTo>
                <a:lnTo>
                  <a:pt x="2005" y="758"/>
                </a:lnTo>
                <a:lnTo>
                  <a:pt x="2005" y="761"/>
                </a:lnTo>
                <a:lnTo>
                  <a:pt x="2005" y="763"/>
                </a:lnTo>
                <a:lnTo>
                  <a:pt x="2004" y="765"/>
                </a:lnTo>
                <a:lnTo>
                  <a:pt x="2003" y="767"/>
                </a:lnTo>
                <a:lnTo>
                  <a:pt x="1999" y="770"/>
                </a:lnTo>
                <a:lnTo>
                  <a:pt x="1997" y="771"/>
                </a:lnTo>
                <a:lnTo>
                  <a:pt x="1995" y="772"/>
                </a:lnTo>
                <a:lnTo>
                  <a:pt x="1992" y="772"/>
                </a:lnTo>
                <a:lnTo>
                  <a:pt x="1989" y="771"/>
                </a:lnTo>
                <a:lnTo>
                  <a:pt x="1986" y="771"/>
                </a:lnTo>
                <a:lnTo>
                  <a:pt x="1984" y="769"/>
                </a:lnTo>
                <a:lnTo>
                  <a:pt x="1982" y="767"/>
                </a:lnTo>
                <a:lnTo>
                  <a:pt x="1981" y="765"/>
                </a:lnTo>
                <a:lnTo>
                  <a:pt x="1980" y="763"/>
                </a:lnTo>
                <a:lnTo>
                  <a:pt x="1979" y="760"/>
                </a:lnTo>
                <a:lnTo>
                  <a:pt x="1979" y="758"/>
                </a:lnTo>
                <a:lnTo>
                  <a:pt x="1980" y="756"/>
                </a:lnTo>
                <a:lnTo>
                  <a:pt x="1981" y="753"/>
                </a:lnTo>
                <a:lnTo>
                  <a:pt x="1982" y="751"/>
                </a:lnTo>
                <a:lnTo>
                  <a:pt x="1986" y="748"/>
                </a:lnTo>
                <a:lnTo>
                  <a:pt x="1988" y="747"/>
                </a:lnTo>
                <a:lnTo>
                  <a:pt x="1990" y="747"/>
                </a:lnTo>
                <a:close/>
                <a:moveTo>
                  <a:pt x="1859" y="766"/>
                </a:moveTo>
                <a:lnTo>
                  <a:pt x="1864" y="766"/>
                </a:lnTo>
                <a:lnTo>
                  <a:pt x="1867" y="767"/>
                </a:lnTo>
                <a:lnTo>
                  <a:pt x="1869" y="768"/>
                </a:lnTo>
                <a:lnTo>
                  <a:pt x="1871" y="770"/>
                </a:lnTo>
                <a:lnTo>
                  <a:pt x="1872" y="772"/>
                </a:lnTo>
                <a:lnTo>
                  <a:pt x="1873" y="774"/>
                </a:lnTo>
                <a:lnTo>
                  <a:pt x="1874" y="776"/>
                </a:lnTo>
                <a:lnTo>
                  <a:pt x="1874" y="781"/>
                </a:lnTo>
                <a:lnTo>
                  <a:pt x="1874" y="784"/>
                </a:lnTo>
                <a:lnTo>
                  <a:pt x="1872" y="786"/>
                </a:lnTo>
                <a:lnTo>
                  <a:pt x="1871" y="788"/>
                </a:lnTo>
                <a:lnTo>
                  <a:pt x="1869" y="789"/>
                </a:lnTo>
                <a:lnTo>
                  <a:pt x="1867" y="791"/>
                </a:lnTo>
                <a:lnTo>
                  <a:pt x="1864" y="792"/>
                </a:lnTo>
                <a:lnTo>
                  <a:pt x="1859" y="791"/>
                </a:lnTo>
                <a:lnTo>
                  <a:pt x="1857" y="791"/>
                </a:lnTo>
                <a:lnTo>
                  <a:pt x="1854" y="790"/>
                </a:lnTo>
                <a:lnTo>
                  <a:pt x="1853" y="788"/>
                </a:lnTo>
                <a:lnTo>
                  <a:pt x="1851" y="786"/>
                </a:lnTo>
                <a:lnTo>
                  <a:pt x="1850" y="784"/>
                </a:lnTo>
                <a:lnTo>
                  <a:pt x="1849" y="782"/>
                </a:lnTo>
                <a:lnTo>
                  <a:pt x="1849" y="776"/>
                </a:lnTo>
                <a:lnTo>
                  <a:pt x="1850" y="774"/>
                </a:lnTo>
                <a:lnTo>
                  <a:pt x="1851" y="772"/>
                </a:lnTo>
                <a:lnTo>
                  <a:pt x="1852" y="770"/>
                </a:lnTo>
                <a:lnTo>
                  <a:pt x="1854" y="768"/>
                </a:lnTo>
                <a:lnTo>
                  <a:pt x="1856" y="767"/>
                </a:lnTo>
                <a:lnTo>
                  <a:pt x="1859" y="766"/>
                </a:lnTo>
                <a:close/>
                <a:moveTo>
                  <a:pt x="1924" y="754"/>
                </a:moveTo>
                <a:lnTo>
                  <a:pt x="1927" y="754"/>
                </a:lnTo>
                <a:lnTo>
                  <a:pt x="1930" y="755"/>
                </a:lnTo>
                <a:lnTo>
                  <a:pt x="1934" y="757"/>
                </a:lnTo>
                <a:lnTo>
                  <a:pt x="1936" y="758"/>
                </a:lnTo>
                <a:lnTo>
                  <a:pt x="1938" y="760"/>
                </a:lnTo>
                <a:lnTo>
                  <a:pt x="1939" y="763"/>
                </a:lnTo>
                <a:lnTo>
                  <a:pt x="1939" y="765"/>
                </a:lnTo>
                <a:lnTo>
                  <a:pt x="1940" y="768"/>
                </a:lnTo>
                <a:lnTo>
                  <a:pt x="1939" y="770"/>
                </a:lnTo>
                <a:lnTo>
                  <a:pt x="1938" y="773"/>
                </a:lnTo>
                <a:lnTo>
                  <a:pt x="1937" y="775"/>
                </a:lnTo>
                <a:lnTo>
                  <a:pt x="1936" y="776"/>
                </a:lnTo>
                <a:lnTo>
                  <a:pt x="1934" y="778"/>
                </a:lnTo>
                <a:lnTo>
                  <a:pt x="1931" y="779"/>
                </a:lnTo>
                <a:lnTo>
                  <a:pt x="1929" y="780"/>
                </a:lnTo>
                <a:lnTo>
                  <a:pt x="1926" y="780"/>
                </a:lnTo>
                <a:lnTo>
                  <a:pt x="1924" y="780"/>
                </a:lnTo>
                <a:lnTo>
                  <a:pt x="1919" y="777"/>
                </a:lnTo>
                <a:lnTo>
                  <a:pt x="1917" y="776"/>
                </a:lnTo>
                <a:lnTo>
                  <a:pt x="1916" y="774"/>
                </a:lnTo>
                <a:lnTo>
                  <a:pt x="1915" y="772"/>
                </a:lnTo>
                <a:lnTo>
                  <a:pt x="1914" y="769"/>
                </a:lnTo>
                <a:lnTo>
                  <a:pt x="1914" y="766"/>
                </a:lnTo>
                <a:lnTo>
                  <a:pt x="1914" y="764"/>
                </a:lnTo>
                <a:lnTo>
                  <a:pt x="1915" y="762"/>
                </a:lnTo>
                <a:lnTo>
                  <a:pt x="1916" y="760"/>
                </a:lnTo>
                <a:lnTo>
                  <a:pt x="1918" y="758"/>
                </a:lnTo>
                <a:lnTo>
                  <a:pt x="1920" y="756"/>
                </a:lnTo>
                <a:lnTo>
                  <a:pt x="1922" y="755"/>
                </a:lnTo>
                <a:lnTo>
                  <a:pt x="1924" y="754"/>
                </a:lnTo>
                <a:close/>
                <a:moveTo>
                  <a:pt x="309" y="2268"/>
                </a:moveTo>
                <a:lnTo>
                  <a:pt x="312" y="2268"/>
                </a:lnTo>
                <a:lnTo>
                  <a:pt x="315" y="2268"/>
                </a:lnTo>
                <a:lnTo>
                  <a:pt x="318" y="2269"/>
                </a:lnTo>
                <a:lnTo>
                  <a:pt x="305" y="2269"/>
                </a:lnTo>
                <a:lnTo>
                  <a:pt x="307" y="2268"/>
                </a:lnTo>
                <a:lnTo>
                  <a:pt x="309" y="2268"/>
                </a:lnTo>
                <a:close/>
                <a:moveTo>
                  <a:pt x="327" y="2204"/>
                </a:moveTo>
                <a:lnTo>
                  <a:pt x="330" y="2204"/>
                </a:lnTo>
                <a:lnTo>
                  <a:pt x="333" y="2204"/>
                </a:lnTo>
                <a:lnTo>
                  <a:pt x="336" y="2205"/>
                </a:lnTo>
                <a:lnTo>
                  <a:pt x="338" y="2207"/>
                </a:lnTo>
                <a:lnTo>
                  <a:pt x="340" y="2209"/>
                </a:lnTo>
                <a:lnTo>
                  <a:pt x="341" y="2211"/>
                </a:lnTo>
                <a:lnTo>
                  <a:pt x="342" y="2213"/>
                </a:lnTo>
                <a:lnTo>
                  <a:pt x="343" y="2215"/>
                </a:lnTo>
                <a:lnTo>
                  <a:pt x="343" y="2218"/>
                </a:lnTo>
                <a:lnTo>
                  <a:pt x="342" y="2221"/>
                </a:lnTo>
                <a:lnTo>
                  <a:pt x="341" y="2224"/>
                </a:lnTo>
                <a:lnTo>
                  <a:pt x="338" y="2227"/>
                </a:lnTo>
                <a:lnTo>
                  <a:pt x="335" y="2229"/>
                </a:lnTo>
                <a:lnTo>
                  <a:pt x="334" y="2229"/>
                </a:lnTo>
                <a:lnTo>
                  <a:pt x="332" y="2230"/>
                </a:lnTo>
                <a:lnTo>
                  <a:pt x="329" y="2230"/>
                </a:lnTo>
                <a:lnTo>
                  <a:pt x="326" y="2229"/>
                </a:lnTo>
                <a:lnTo>
                  <a:pt x="323" y="2228"/>
                </a:lnTo>
                <a:lnTo>
                  <a:pt x="321" y="2227"/>
                </a:lnTo>
                <a:lnTo>
                  <a:pt x="320" y="2225"/>
                </a:lnTo>
                <a:lnTo>
                  <a:pt x="318" y="2223"/>
                </a:lnTo>
                <a:lnTo>
                  <a:pt x="317" y="2221"/>
                </a:lnTo>
                <a:lnTo>
                  <a:pt x="317" y="2218"/>
                </a:lnTo>
                <a:lnTo>
                  <a:pt x="317" y="2216"/>
                </a:lnTo>
                <a:lnTo>
                  <a:pt x="317" y="2213"/>
                </a:lnTo>
                <a:lnTo>
                  <a:pt x="319" y="2210"/>
                </a:lnTo>
                <a:lnTo>
                  <a:pt x="321" y="2207"/>
                </a:lnTo>
                <a:lnTo>
                  <a:pt x="324" y="2205"/>
                </a:lnTo>
                <a:lnTo>
                  <a:pt x="326" y="2205"/>
                </a:lnTo>
                <a:lnTo>
                  <a:pt x="327" y="2204"/>
                </a:lnTo>
                <a:close/>
                <a:moveTo>
                  <a:pt x="347" y="2141"/>
                </a:moveTo>
                <a:lnTo>
                  <a:pt x="350" y="2141"/>
                </a:lnTo>
                <a:lnTo>
                  <a:pt x="353" y="2141"/>
                </a:lnTo>
                <a:lnTo>
                  <a:pt x="355" y="2142"/>
                </a:lnTo>
                <a:lnTo>
                  <a:pt x="357" y="2144"/>
                </a:lnTo>
                <a:lnTo>
                  <a:pt x="359" y="2145"/>
                </a:lnTo>
                <a:lnTo>
                  <a:pt x="360" y="2148"/>
                </a:lnTo>
                <a:lnTo>
                  <a:pt x="361" y="2150"/>
                </a:lnTo>
                <a:lnTo>
                  <a:pt x="362" y="2152"/>
                </a:lnTo>
                <a:lnTo>
                  <a:pt x="362" y="2155"/>
                </a:lnTo>
                <a:lnTo>
                  <a:pt x="361" y="2157"/>
                </a:lnTo>
                <a:lnTo>
                  <a:pt x="361" y="2159"/>
                </a:lnTo>
                <a:lnTo>
                  <a:pt x="360" y="2161"/>
                </a:lnTo>
                <a:lnTo>
                  <a:pt x="357" y="2163"/>
                </a:lnTo>
                <a:lnTo>
                  <a:pt x="354" y="2165"/>
                </a:lnTo>
                <a:lnTo>
                  <a:pt x="351" y="2166"/>
                </a:lnTo>
                <a:lnTo>
                  <a:pt x="348" y="2167"/>
                </a:lnTo>
                <a:lnTo>
                  <a:pt x="345" y="2166"/>
                </a:lnTo>
                <a:lnTo>
                  <a:pt x="343" y="2165"/>
                </a:lnTo>
                <a:lnTo>
                  <a:pt x="340" y="2164"/>
                </a:lnTo>
                <a:lnTo>
                  <a:pt x="339" y="2162"/>
                </a:lnTo>
                <a:lnTo>
                  <a:pt x="337" y="2160"/>
                </a:lnTo>
                <a:lnTo>
                  <a:pt x="336" y="2157"/>
                </a:lnTo>
                <a:lnTo>
                  <a:pt x="336" y="2155"/>
                </a:lnTo>
                <a:lnTo>
                  <a:pt x="336" y="2152"/>
                </a:lnTo>
                <a:lnTo>
                  <a:pt x="336" y="2150"/>
                </a:lnTo>
                <a:lnTo>
                  <a:pt x="337" y="2148"/>
                </a:lnTo>
                <a:lnTo>
                  <a:pt x="338" y="2146"/>
                </a:lnTo>
                <a:lnTo>
                  <a:pt x="340" y="2144"/>
                </a:lnTo>
                <a:lnTo>
                  <a:pt x="343" y="2142"/>
                </a:lnTo>
                <a:lnTo>
                  <a:pt x="347" y="2141"/>
                </a:lnTo>
                <a:close/>
                <a:moveTo>
                  <a:pt x="367" y="2078"/>
                </a:moveTo>
                <a:lnTo>
                  <a:pt x="370" y="2078"/>
                </a:lnTo>
                <a:lnTo>
                  <a:pt x="373" y="2078"/>
                </a:lnTo>
                <a:lnTo>
                  <a:pt x="375" y="2079"/>
                </a:lnTo>
                <a:lnTo>
                  <a:pt x="378" y="2081"/>
                </a:lnTo>
                <a:lnTo>
                  <a:pt x="379" y="2083"/>
                </a:lnTo>
                <a:lnTo>
                  <a:pt x="381" y="2085"/>
                </a:lnTo>
                <a:lnTo>
                  <a:pt x="382" y="2087"/>
                </a:lnTo>
                <a:lnTo>
                  <a:pt x="382" y="2090"/>
                </a:lnTo>
                <a:lnTo>
                  <a:pt x="382" y="2092"/>
                </a:lnTo>
                <a:lnTo>
                  <a:pt x="381" y="2095"/>
                </a:lnTo>
                <a:lnTo>
                  <a:pt x="380" y="2098"/>
                </a:lnTo>
                <a:lnTo>
                  <a:pt x="377" y="2101"/>
                </a:lnTo>
                <a:lnTo>
                  <a:pt x="376" y="2102"/>
                </a:lnTo>
                <a:lnTo>
                  <a:pt x="375" y="2102"/>
                </a:lnTo>
                <a:lnTo>
                  <a:pt x="371" y="2103"/>
                </a:lnTo>
                <a:lnTo>
                  <a:pt x="368" y="2104"/>
                </a:lnTo>
                <a:lnTo>
                  <a:pt x="365" y="2103"/>
                </a:lnTo>
                <a:lnTo>
                  <a:pt x="363" y="2102"/>
                </a:lnTo>
                <a:lnTo>
                  <a:pt x="360" y="2100"/>
                </a:lnTo>
                <a:lnTo>
                  <a:pt x="359" y="2099"/>
                </a:lnTo>
                <a:lnTo>
                  <a:pt x="357" y="2096"/>
                </a:lnTo>
                <a:lnTo>
                  <a:pt x="356" y="2094"/>
                </a:lnTo>
                <a:lnTo>
                  <a:pt x="356" y="2092"/>
                </a:lnTo>
                <a:lnTo>
                  <a:pt x="356" y="2089"/>
                </a:lnTo>
                <a:lnTo>
                  <a:pt x="357" y="2087"/>
                </a:lnTo>
                <a:lnTo>
                  <a:pt x="358" y="2083"/>
                </a:lnTo>
                <a:lnTo>
                  <a:pt x="361" y="2081"/>
                </a:lnTo>
                <a:lnTo>
                  <a:pt x="362" y="2080"/>
                </a:lnTo>
                <a:lnTo>
                  <a:pt x="363" y="2079"/>
                </a:lnTo>
                <a:lnTo>
                  <a:pt x="367" y="2078"/>
                </a:lnTo>
                <a:close/>
                <a:moveTo>
                  <a:pt x="388" y="2015"/>
                </a:moveTo>
                <a:lnTo>
                  <a:pt x="391" y="2015"/>
                </a:lnTo>
                <a:lnTo>
                  <a:pt x="394" y="2016"/>
                </a:lnTo>
                <a:lnTo>
                  <a:pt x="397" y="2017"/>
                </a:lnTo>
                <a:lnTo>
                  <a:pt x="399" y="2018"/>
                </a:lnTo>
                <a:lnTo>
                  <a:pt x="401" y="2020"/>
                </a:lnTo>
                <a:lnTo>
                  <a:pt x="402" y="2022"/>
                </a:lnTo>
                <a:lnTo>
                  <a:pt x="403" y="2025"/>
                </a:lnTo>
                <a:lnTo>
                  <a:pt x="403" y="2027"/>
                </a:lnTo>
                <a:lnTo>
                  <a:pt x="403" y="2030"/>
                </a:lnTo>
                <a:lnTo>
                  <a:pt x="403" y="2032"/>
                </a:lnTo>
                <a:lnTo>
                  <a:pt x="401" y="2035"/>
                </a:lnTo>
                <a:lnTo>
                  <a:pt x="399" y="2038"/>
                </a:lnTo>
                <a:lnTo>
                  <a:pt x="396" y="2040"/>
                </a:lnTo>
                <a:lnTo>
                  <a:pt x="392" y="2041"/>
                </a:lnTo>
                <a:lnTo>
                  <a:pt x="389" y="2041"/>
                </a:lnTo>
                <a:lnTo>
                  <a:pt x="386" y="2040"/>
                </a:lnTo>
                <a:lnTo>
                  <a:pt x="384" y="2039"/>
                </a:lnTo>
                <a:lnTo>
                  <a:pt x="381" y="2038"/>
                </a:lnTo>
                <a:lnTo>
                  <a:pt x="380" y="2036"/>
                </a:lnTo>
                <a:lnTo>
                  <a:pt x="378" y="2034"/>
                </a:lnTo>
                <a:lnTo>
                  <a:pt x="378" y="2031"/>
                </a:lnTo>
                <a:lnTo>
                  <a:pt x="377" y="2029"/>
                </a:lnTo>
                <a:lnTo>
                  <a:pt x="377" y="2026"/>
                </a:lnTo>
                <a:lnTo>
                  <a:pt x="378" y="2024"/>
                </a:lnTo>
                <a:lnTo>
                  <a:pt x="380" y="2020"/>
                </a:lnTo>
                <a:lnTo>
                  <a:pt x="382" y="2018"/>
                </a:lnTo>
                <a:lnTo>
                  <a:pt x="385" y="2016"/>
                </a:lnTo>
                <a:lnTo>
                  <a:pt x="388" y="2015"/>
                </a:lnTo>
                <a:close/>
                <a:moveTo>
                  <a:pt x="410" y="1953"/>
                </a:moveTo>
                <a:lnTo>
                  <a:pt x="414" y="1953"/>
                </a:lnTo>
                <a:lnTo>
                  <a:pt x="417" y="1953"/>
                </a:lnTo>
                <a:lnTo>
                  <a:pt x="419" y="1955"/>
                </a:lnTo>
                <a:lnTo>
                  <a:pt x="421" y="1956"/>
                </a:lnTo>
                <a:lnTo>
                  <a:pt x="423" y="1958"/>
                </a:lnTo>
                <a:lnTo>
                  <a:pt x="424" y="1960"/>
                </a:lnTo>
                <a:lnTo>
                  <a:pt x="425" y="1963"/>
                </a:lnTo>
                <a:lnTo>
                  <a:pt x="425" y="1965"/>
                </a:lnTo>
                <a:lnTo>
                  <a:pt x="425" y="1968"/>
                </a:lnTo>
                <a:lnTo>
                  <a:pt x="425" y="1970"/>
                </a:lnTo>
                <a:lnTo>
                  <a:pt x="423" y="1973"/>
                </a:lnTo>
                <a:lnTo>
                  <a:pt x="421" y="1976"/>
                </a:lnTo>
                <a:lnTo>
                  <a:pt x="418" y="1977"/>
                </a:lnTo>
                <a:lnTo>
                  <a:pt x="415" y="1978"/>
                </a:lnTo>
                <a:lnTo>
                  <a:pt x="411" y="1979"/>
                </a:lnTo>
                <a:lnTo>
                  <a:pt x="408" y="1978"/>
                </a:lnTo>
                <a:lnTo>
                  <a:pt x="406" y="1977"/>
                </a:lnTo>
                <a:lnTo>
                  <a:pt x="404" y="1975"/>
                </a:lnTo>
                <a:lnTo>
                  <a:pt x="402" y="1973"/>
                </a:lnTo>
                <a:lnTo>
                  <a:pt x="401" y="1971"/>
                </a:lnTo>
                <a:lnTo>
                  <a:pt x="400" y="1969"/>
                </a:lnTo>
                <a:lnTo>
                  <a:pt x="399" y="1966"/>
                </a:lnTo>
                <a:lnTo>
                  <a:pt x="400" y="1964"/>
                </a:lnTo>
                <a:lnTo>
                  <a:pt x="400" y="1961"/>
                </a:lnTo>
                <a:lnTo>
                  <a:pt x="402" y="1958"/>
                </a:lnTo>
                <a:lnTo>
                  <a:pt x="404" y="1956"/>
                </a:lnTo>
                <a:lnTo>
                  <a:pt x="407" y="1954"/>
                </a:lnTo>
                <a:lnTo>
                  <a:pt x="410" y="1953"/>
                </a:lnTo>
                <a:close/>
                <a:moveTo>
                  <a:pt x="433" y="1891"/>
                </a:moveTo>
                <a:lnTo>
                  <a:pt x="437" y="1891"/>
                </a:lnTo>
                <a:lnTo>
                  <a:pt x="440" y="1892"/>
                </a:lnTo>
                <a:lnTo>
                  <a:pt x="443" y="1893"/>
                </a:lnTo>
                <a:lnTo>
                  <a:pt x="445" y="1894"/>
                </a:lnTo>
                <a:lnTo>
                  <a:pt x="446" y="1896"/>
                </a:lnTo>
                <a:lnTo>
                  <a:pt x="448" y="1898"/>
                </a:lnTo>
                <a:lnTo>
                  <a:pt x="448" y="1901"/>
                </a:lnTo>
                <a:lnTo>
                  <a:pt x="449" y="1903"/>
                </a:lnTo>
                <a:lnTo>
                  <a:pt x="449" y="1906"/>
                </a:lnTo>
                <a:lnTo>
                  <a:pt x="448" y="1908"/>
                </a:lnTo>
                <a:lnTo>
                  <a:pt x="446" y="1911"/>
                </a:lnTo>
                <a:lnTo>
                  <a:pt x="444" y="1914"/>
                </a:lnTo>
                <a:lnTo>
                  <a:pt x="441" y="1916"/>
                </a:lnTo>
                <a:lnTo>
                  <a:pt x="438" y="1917"/>
                </a:lnTo>
                <a:lnTo>
                  <a:pt x="435" y="1917"/>
                </a:lnTo>
                <a:lnTo>
                  <a:pt x="431" y="1916"/>
                </a:lnTo>
                <a:lnTo>
                  <a:pt x="429" y="1915"/>
                </a:lnTo>
                <a:lnTo>
                  <a:pt x="427" y="1913"/>
                </a:lnTo>
                <a:lnTo>
                  <a:pt x="425" y="1911"/>
                </a:lnTo>
                <a:lnTo>
                  <a:pt x="424" y="1909"/>
                </a:lnTo>
                <a:lnTo>
                  <a:pt x="423" y="1907"/>
                </a:lnTo>
                <a:lnTo>
                  <a:pt x="423" y="1904"/>
                </a:lnTo>
                <a:lnTo>
                  <a:pt x="423" y="1902"/>
                </a:lnTo>
                <a:lnTo>
                  <a:pt x="424" y="1899"/>
                </a:lnTo>
                <a:lnTo>
                  <a:pt x="425" y="1896"/>
                </a:lnTo>
                <a:lnTo>
                  <a:pt x="428" y="1894"/>
                </a:lnTo>
                <a:lnTo>
                  <a:pt x="430" y="1892"/>
                </a:lnTo>
                <a:lnTo>
                  <a:pt x="433" y="1891"/>
                </a:lnTo>
                <a:close/>
                <a:moveTo>
                  <a:pt x="458" y="1829"/>
                </a:moveTo>
                <a:lnTo>
                  <a:pt x="461" y="1829"/>
                </a:lnTo>
                <a:lnTo>
                  <a:pt x="463" y="1830"/>
                </a:lnTo>
                <a:lnTo>
                  <a:pt x="465" y="1830"/>
                </a:lnTo>
                <a:lnTo>
                  <a:pt x="467" y="1831"/>
                </a:lnTo>
                <a:lnTo>
                  <a:pt x="469" y="1833"/>
                </a:lnTo>
                <a:lnTo>
                  <a:pt x="471" y="1835"/>
                </a:lnTo>
                <a:lnTo>
                  <a:pt x="472" y="1837"/>
                </a:lnTo>
                <a:lnTo>
                  <a:pt x="473" y="1840"/>
                </a:lnTo>
                <a:lnTo>
                  <a:pt x="473" y="1842"/>
                </a:lnTo>
                <a:lnTo>
                  <a:pt x="473" y="1845"/>
                </a:lnTo>
                <a:lnTo>
                  <a:pt x="472" y="1847"/>
                </a:lnTo>
                <a:lnTo>
                  <a:pt x="470" y="1850"/>
                </a:lnTo>
                <a:lnTo>
                  <a:pt x="468" y="1852"/>
                </a:lnTo>
                <a:lnTo>
                  <a:pt x="465" y="1854"/>
                </a:lnTo>
                <a:lnTo>
                  <a:pt x="462" y="1855"/>
                </a:lnTo>
                <a:lnTo>
                  <a:pt x="459" y="1855"/>
                </a:lnTo>
                <a:lnTo>
                  <a:pt x="457" y="1855"/>
                </a:lnTo>
                <a:lnTo>
                  <a:pt x="455" y="1854"/>
                </a:lnTo>
                <a:lnTo>
                  <a:pt x="453" y="1853"/>
                </a:lnTo>
                <a:lnTo>
                  <a:pt x="451" y="1851"/>
                </a:lnTo>
                <a:lnTo>
                  <a:pt x="449" y="1849"/>
                </a:lnTo>
                <a:lnTo>
                  <a:pt x="448" y="1847"/>
                </a:lnTo>
                <a:lnTo>
                  <a:pt x="447" y="1845"/>
                </a:lnTo>
                <a:lnTo>
                  <a:pt x="447" y="1842"/>
                </a:lnTo>
                <a:lnTo>
                  <a:pt x="447" y="1840"/>
                </a:lnTo>
                <a:lnTo>
                  <a:pt x="448" y="1837"/>
                </a:lnTo>
                <a:lnTo>
                  <a:pt x="450" y="1834"/>
                </a:lnTo>
                <a:lnTo>
                  <a:pt x="452" y="1832"/>
                </a:lnTo>
                <a:lnTo>
                  <a:pt x="455" y="1830"/>
                </a:lnTo>
                <a:lnTo>
                  <a:pt x="458" y="1829"/>
                </a:lnTo>
                <a:close/>
                <a:moveTo>
                  <a:pt x="483" y="1768"/>
                </a:moveTo>
                <a:lnTo>
                  <a:pt x="487" y="1768"/>
                </a:lnTo>
                <a:lnTo>
                  <a:pt x="491" y="1769"/>
                </a:lnTo>
                <a:lnTo>
                  <a:pt x="493" y="1770"/>
                </a:lnTo>
                <a:lnTo>
                  <a:pt x="495" y="1772"/>
                </a:lnTo>
                <a:lnTo>
                  <a:pt x="496" y="1774"/>
                </a:lnTo>
                <a:lnTo>
                  <a:pt x="498" y="1776"/>
                </a:lnTo>
                <a:lnTo>
                  <a:pt x="498" y="1779"/>
                </a:lnTo>
                <a:lnTo>
                  <a:pt x="499" y="1781"/>
                </a:lnTo>
                <a:lnTo>
                  <a:pt x="498" y="1784"/>
                </a:lnTo>
                <a:lnTo>
                  <a:pt x="498" y="1786"/>
                </a:lnTo>
                <a:lnTo>
                  <a:pt x="496" y="1789"/>
                </a:lnTo>
                <a:lnTo>
                  <a:pt x="494" y="1791"/>
                </a:lnTo>
                <a:lnTo>
                  <a:pt x="491" y="1793"/>
                </a:lnTo>
                <a:lnTo>
                  <a:pt x="488" y="1794"/>
                </a:lnTo>
                <a:lnTo>
                  <a:pt x="484" y="1794"/>
                </a:lnTo>
                <a:lnTo>
                  <a:pt x="480" y="1793"/>
                </a:lnTo>
                <a:lnTo>
                  <a:pt x="478" y="1792"/>
                </a:lnTo>
                <a:lnTo>
                  <a:pt x="476" y="1790"/>
                </a:lnTo>
                <a:lnTo>
                  <a:pt x="475" y="1788"/>
                </a:lnTo>
                <a:lnTo>
                  <a:pt x="473" y="1786"/>
                </a:lnTo>
                <a:lnTo>
                  <a:pt x="473" y="1784"/>
                </a:lnTo>
                <a:lnTo>
                  <a:pt x="473" y="1781"/>
                </a:lnTo>
                <a:lnTo>
                  <a:pt x="473" y="1779"/>
                </a:lnTo>
                <a:lnTo>
                  <a:pt x="474" y="1776"/>
                </a:lnTo>
                <a:lnTo>
                  <a:pt x="475" y="1773"/>
                </a:lnTo>
                <a:lnTo>
                  <a:pt x="478" y="1771"/>
                </a:lnTo>
                <a:lnTo>
                  <a:pt x="480" y="1769"/>
                </a:lnTo>
                <a:lnTo>
                  <a:pt x="483" y="1768"/>
                </a:lnTo>
                <a:close/>
                <a:moveTo>
                  <a:pt x="510" y="1708"/>
                </a:moveTo>
                <a:lnTo>
                  <a:pt x="514" y="1708"/>
                </a:lnTo>
                <a:lnTo>
                  <a:pt x="517" y="1709"/>
                </a:lnTo>
                <a:lnTo>
                  <a:pt x="520" y="1710"/>
                </a:lnTo>
                <a:lnTo>
                  <a:pt x="522" y="1712"/>
                </a:lnTo>
                <a:lnTo>
                  <a:pt x="523" y="1714"/>
                </a:lnTo>
                <a:lnTo>
                  <a:pt x="524" y="1716"/>
                </a:lnTo>
                <a:lnTo>
                  <a:pt x="525" y="1718"/>
                </a:lnTo>
                <a:lnTo>
                  <a:pt x="525" y="1721"/>
                </a:lnTo>
                <a:lnTo>
                  <a:pt x="525" y="1723"/>
                </a:lnTo>
                <a:lnTo>
                  <a:pt x="524" y="1726"/>
                </a:lnTo>
                <a:lnTo>
                  <a:pt x="522" y="1729"/>
                </a:lnTo>
                <a:lnTo>
                  <a:pt x="520" y="1731"/>
                </a:lnTo>
                <a:lnTo>
                  <a:pt x="519" y="1732"/>
                </a:lnTo>
                <a:lnTo>
                  <a:pt x="517" y="1732"/>
                </a:lnTo>
                <a:lnTo>
                  <a:pt x="514" y="1733"/>
                </a:lnTo>
                <a:lnTo>
                  <a:pt x="511" y="1733"/>
                </a:lnTo>
                <a:lnTo>
                  <a:pt x="507" y="1732"/>
                </a:lnTo>
                <a:lnTo>
                  <a:pt x="504" y="1731"/>
                </a:lnTo>
                <a:lnTo>
                  <a:pt x="503" y="1729"/>
                </a:lnTo>
                <a:lnTo>
                  <a:pt x="501" y="1727"/>
                </a:lnTo>
                <a:lnTo>
                  <a:pt x="500" y="1725"/>
                </a:lnTo>
                <a:lnTo>
                  <a:pt x="499" y="1723"/>
                </a:lnTo>
                <a:lnTo>
                  <a:pt x="499" y="1720"/>
                </a:lnTo>
                <a:lnTo>
                  <a:pt x="499" y="1718"/>
                </a:lnTo>
                <a:lnTo>
                  <a:pt x="500" y="1715"/>
                </a:lnTo>
                <a:lnTo>
                  <a:pt x="502" y="1712"/>
                </a:lnTo>
                <a:lnTo>
                  <a:pt x="504" y="1710"/>
                </a:lnTo>
                <a:lnTo>
                  <a:pt x="506" y="1709"/>
                </a:lnTo>
                <a:lnTo>
                  <a:pt x="507" y="1709"/>
                </a:lnTo>
                <a:lnTo>
                  <a:pt x="510" y="1708"/>
                </a:lnTo>
                <a:close/>
                <a:moveTo>
                  <a:pt x="538" y="1648"/>
                </a:moveTo>
                <a:lnTo>
                  <a:pt x="542" y="1648"/>
                </a:lnTo>
                <a:lnTo>
                  <a:pt x="543" y="1648"/>
                </a:lnTo>
                <a:lnTo>
                  <a:pt x="545" y="1649"/>
                </a:lnTo>
                <a:lnTo>
                  <a:pt x="548" y="1650"/>
                </a:lnTo>
                <a:lnTo>
                  <a:pt x="550" y="1652"/>
                </a:lnTo>
                <a:lnTo>
                  <a:pt x="551" y="1654"/>
                </a:lnTo>
                <a:lnTo>
                  <a:pt x="552" y="1656"/>
                </a:lnTo>
                <a:lnTo>
                  <a:pt x="553" y="1658"/>
                </a:lnTo>
                <a:lnTo>
                  <a:pt x="553" y="1661"/>
                </a:lnTo>
                <a:lnTo>
                  <a:pt x="552" y="1664"/>
                </a:lnTo>
                <a:lnTo>
                  <a:pt x="552" y="1666"/>
                </a:lnTo>
                <a:lnTo>
                  <a:pt x="550" y="1669"/>
                </a:lnTo>
                <a:lnTo>
                  <a:pt x="548" y="1671"/>
                </a:lnTo>
                <a:lnTo>
                  <a:pt x="545" y="1672"/>
                </a:lnTo>
                <a:lnTo>
                  <a:pt x="542" y="1673"/>
                </a:lnTo>
                <a:lnTo>
                  <a:pt x="538" y="1673"/>
                </a:lnTo>
                <a:lnTo>
                  <a:pt x="536" y="1673"/>
                </a:lnTo>
                <a:lnTo>
                  <a:pt x="534" y="1672"/>
                </a:lnTo>
                <a:lnTo>
                  <a:pt x="532" y="1671"/>
                </a:lnTo>
                <a:lnTo>
                  <a:pt x="530" y="1669"/>
                </a:lnTo>
                <a:lnTo>
                  <a:pt x="529" y="1667"/>
                </a:lnTo>
                <a:lnTo>
                  <a:pt x="528" y="1665"/>
                </a:lnTo>
                <a:lnTo>
                  <a:pt x="527" y="1662"/>
                </a:lnTo>
                <a:lnTo>
                  <a:pt x="527" y="1660"/>
                </a:lnTo>
                <a:lnTo>
                  <a:pt x="527" y="1657"/>
                </a:lnTo>
                <a:lnTo>
                  <a:pt x="528" y="1655"/>
                </a:lnTo>
                <a:lnTo>
                  <a:pt x="530" y="1652"/>
                </a:lnTo>
                <a:lnTo>
                  <a:pt x="532" y="1650"/>
                </a:lnTo>
                <a:lnTo>
                  <a:pt x="535" y="1649"/>
                </a:lnTo>
                <a:lnTo>
                  <a:pt x="538" y="1648"/>
                </a:lnTo>
                <a:close/>
                <a:moveTo>
                  <a:pt x="566" y="1588"/>
                </a:moveTo>
                <a:lnTo>
                  <a:pt x="571" y="1588"/>
                </a:lnTo>
                <a:lnTo>
                  <a:pt x="573" y="1588"/>
                </a:lnTo>
                <a:lnTo>
                  <a:pt x="575" y="1589"/>
                </a:lnTo>
                <a:lnTo>
                  <a:pt x="577" y="1591"/>
                </a:lnTo>
                <a:lnTo>
                  <a:pt x="579" y="1592"/>
                </a:lnTo>
                <a:lnTo>
                  <a:pt x="580" y="1595"/>
                </a:lnTo>
                <a:lnTo>
                  <a:pt x="581" y="1597"/>
                </a:lnTo>
                <a:lnTo>
                  <a:pt x="582" y="1599"/>
                </a:lnTo>
                <a:lnTo>
                  <a:pt x="582" y="1602"/>
                </a:lnTo>
                <a:lnTo>
                  <a:pt x="581" y="1604"/>
                </a:lnTo>
                <a:lnTo>
                  <a:pt x="580" y="1607"/>
                </a:lnTo>
                <a:lnTo>
                  <a:pt x="579" y="1609"/>
                </a:lnTo>
                <a:lnTo>
                  <a:pt x="576" y="1611"/>
                </a:lnTo>
                <a:lnTo>
                  <a:pt x="574" y="1613"/>
                </a:lnTo>
                <a:lnTo>
                  <a:pt x="571" y="1614"/>
                </a:lnTo>
                <a:lnTo>
                  <a:pt x="567" y="1614"/>
                </a:lnTo>
                <a:lnTo>
                  <a:pt x="565" y="1613"/>
                </a:lnTo>
                <a:lnTo>
                  <a:pt x="563" y="1613"/>
                </a:lnTo>
                <a:lnTo>
                  <a:pt x="561" y="1611"/>
                </a:lnTo>
                <a:lnTo>
                  <a:pt x="559" y="1609"/>
                </a:lnTo>
                <a:lnTo>
                  <a:pt x="557" y="1607"/>
                </a:lnTo>
                <a:lnTo>
                  <a:pt x="556" y="1605"/>
                </a:lnTo>
                <a:lnTo>
                  <a:pt x="556" y="1603"/>
                </a:lnTo>
                <a:lnTo>
                  <a:pt x="556" y="1600"/>
                </a:lnTo>
                <a:lnTo>
                  <a:pt x="556" y="1598"/>
                </a:lnTo>
                <a:lnTo>
                  <a:pt x="557" y="1595"/>
                </a:lnTo>
                <a:lnTo>
                  <a:pt x="559" y="1593"/>
                </a:lnTo>
                <a:lnTo>
                  <a:pt x="561" y="1590"/>
                </a:lnTo>
                <a:lnTo>
                  <a:pt x="564" y="1589"/>
                </a:lnTo>
                <a:lnTo>
                  <a:pt x="566" y="1588"/>
                </a:lnTo>
                <a:close/>
                <a:moveTo>
                  <a:pt x="597" y="1529"/>
                </a:moveTo>
                <a:lnTo>
                  <a:pt x="601" y="1529"/>
                </a:lnTo>
                <a:lnTo>
                  <a:pt x="605" y="1530"/>
                </a:lnTo>
                <a:lnTo>
                  <a:pt x="607" y="1532"/>
                </a:lnTo>
                <a:lnTo>
                  <a:pt x="609" y="1534"/>
                </a:lnTo>
                <a:lnTo>
                  <a:pt x="610" y="1536"/>
                </a:lnTo>
                <a:lnTo>
                  <a:pt x="611" y="1538"/>
                </a:lnTo>
                <a:lnTo>
                  <a:pt x="612" y="1541"/>
                </a:lnTo>
                <a:lnTo>
                  <a:pt x="612" y="1543"/>
                </a:lnTo>
                <a:lnTo>
                  <a:pt x="611" y="1546"/>
                </a:lnTo>
                <a:lnTo>
                  <a:pt x="610" y="1548"/>
                </a:lnTo>
                <a:lnTo>
                  <a:pt x="609" y="1551"/>
                </a:lnTo>
                <a:lnTo>
                  <a:pt x="606" y="1553"/>
                </a:lnTo>
                <a:lnTo>
                  <a:pt x="604" y="1554"/>
                </a:lnTo>
                <a:lnTo>
                  <a:pt x="601" y="1555"/>
                </a:lnTo>
                <a:lnTo>
                  <a:pt x="597" y="1555"/>
                </a:lnTo>
                <a:lnTo>
                  <a:pt x="593" y="1554"/>
                </a:lnTo>
                <a:lnTo>
                  <a:pt x="591" y="1552"/>
                </a:lnTo>
                <a:lnTo>
                  <a:pt x="589" y="1550"/>
                </a:lnTo>
                <a:lnTo>
                  <a:pt x="587" y="1548"/>
                </a:lnTo>
                <a:lnTo>
                  <a:pt x="586" y="1546"/>
                </a:lnTo>
                <a:lnTo>
                  <a:pt x="586" y="1543"/>
                </a:lnTo>
                <a:lnTo>
                  <a:pt x="586" y="1541"/>
                </a:lnTo>
                <a:lnTo>
                  <a:pt x="586" y="1538"/>
                </a:lnTo>
                <a:lnTo>
                  <a:pt x="587" y="1536"/>
                </a:lnTo>
                <a:lnTo>
                  <a:pt x="589" y="1533"/>
                </a:lnTo>
                <a:lnTo>
                  <a:pt x="591" y="1531"/>
                </a:lnTo>
                <a:lnTo>
                  <a:pt x="594" y="1530"/>
                </a:lnTo>
                <a:lnTo>
                  <a:pt x="597" y="1529"/>
                </a:lnTo>
                <a:close/>
                <a:moveTo>
                  <a:pt x="628" y="1471"/>
                </a:moveTo>
                <a:lnTo>
                  <a:pt x="632" y="1471"/>
                </a:lnTo>
                <a:lnTo>
                  <a:pt x="636" y="1472"/>
                </a:lnTo>
                <a:lnTo>
                  <a:pt x="639" y="1474"/>
                </a:lnTo>
                <a:lnTo>
                  <a:pt x="640" y="1476"/>
                </a:lnTo>
                <a:lnTo>
                  <a:pt x="642" y="1478"/>
                </a:lnTo>
                <a:lnTo>
                  <a:pt x="643" y="1480"/>
                </a:lnTo>
                <a:lnTo>
                  <a:pt x="643" y="1483"/>
                </a:lnTo>
                <a:lnTo>
                  <a:pt x="643" y="1485"/>
                </a:lnTo>
                <a:lnTo>
                  <a:pt x="642" y="1490"/>
                </a:lnTo>
                <a:lnTo>
                  <a:pt x="640" y="1492"/>
                </a:lnTo>
                <a:lnTo>
                  <a:pt x="638" y="1494"/>
                </a:lnTo>
                <a:lnTo>
                  <a:pt x="635" y="1496"/>
                </a:lnTo>
                <a:lnTo>
                  <a:pt x="632" y="1497"/>
                </a:lnTo>
                <a:lnTo>
                  <a:pt x="628" y="1497"/>
                </a:lnTo>
                <a:lnTo>
                  <a:pt x="624" y="1495"/>
                </a:lnTo>
                <a:lnTo>
                  <a:pt x="622" y="1494"/>
                </a:lnTo>
                <a:lnTo>
                  <a:pt x="620" y="1492"/>
                </a:lnTo>
                <a:lnTo>
                  <a:pt x="619" y="1490"/>
                </a:lnTo>
                <a:lnTo>
                  <a:pt x="618" y="1487"/>
                </a:lnTo>
                <a:lnTo>
                  <a:pt x="617" y="1485"/>
                </a:lnTo>
                <a:lnTo>
                  <a:pt x="617" y="1482"/>
                </a:lnTo>
                <a:lnTo>
                  <a:pt x="619" y="1477"/>
                </a:lnTo>
                <a:lnTo>
                  <a:pt x="620" y="1475"/>
                </a:lnTo>
                <a:lnTo>
                  <a:pt x="623" y="1473"/>
                </a:lnTo>
                <a:lnTo>
                  <a:pt x="625" y="1472"/>
                </a:lnTo>
                <a:lnTo>
                  <a:pt x="628" y="1471"/>
                </a:lnTo>
                <a:close/>
                <a:moveTo>
                  <a:pt x="660" y="1413"/>
                </a:moveTo>
                <a:lnTo>
                  <a:pt x="665" y="1413"/>
                </a:lnTo>
                <a:lnTo>
                  <a:pt x="667" y="1414"/>
                </a:lnTo>
                <a:lnTo>
                  <a:pt x="669" y="1415"/>
                </a:lnTo>
                <a:lnTo>
                  <a:pt x="671" y="1416"/>
                </a:lnTo>
                <a:lnTo>
                  <a:pt x="673" y="1418"/>
                </a:lnTo>
                <a:lnTo>
                  <a:pt x="674" y="1420"/>
                </a:lnTo>
                <a:lnTo>
                  <a:pt x="675" y="1423"/>
                </a:lnTo>
                <a:lnTo>
                  <a:pt x="676" y="1425"/>
                </a:lnTo>
                <a:lnTo>
                  <a:pt x="676" y="1428"/>
                </a:lnTo>
                <a:lnTo>
                  <a:pt x="675" y="1430"/>
                </a:lnTo>
                <a:lnTo>
                  <a:pt x="674" y="1433"/>
                </a:lnTo>
                <a:lnTo>
                  <a:pt x="673" y="1434"/>
                </a:lnTo>
                <a:lnTo>
                  <a:pt x="672" y="1435"/>
                </a:lnTo>
                <a:lnTo>
                  <a:pt x="670" y="1437"/>
                </a:lnTo>
                <a:lnTo>
                  <a:pt x="668" y="1438"/>
                </a:lnTo>
                <a:lnTo>
                  <a:pt x="665" y="1439"/>
                </a:lnTo>
                <a:lnTo>
                  <a:pt x="661" y="1439"/>
                </a:lnTo>
                <a:lnTo>
                  <a:pt x="658" y="1438"/>
                </a:lnTo>
                <a:lnTo>
                  <a:pt x="656" y="1437"/>
                </a:lnTo>
                <a:lnTo>
                  <a:pt x="654" y="1436"/>
                </a:lnTo>
                <a:lnTo>
                  <a:pt x="652" y="1434"/>
                </a:lnTo>
                <a:lnTo>
                  <a:pt x="651" y="1432"/>
                </a:lnTo>
                <a:lnTo>
                  <a:pt x="650" y="1430"/>
                </a:lnTo>
                <a:lnTo>
                  <a:pt x="650" y="1427"/>
                </a:lnTo>
                <a:lnTo>
                  <a:pt x="650" y="1425"/>
                </a:lnTo>
                <a:lnTo>
                  <a:pt x="650" y="1422"/>
                </a:lnTo>
                <a:lnTo>
                  <a:pt x="651" y="1420"/>
                </a:lnTo>
                <a:lnTo>
                  <a:pt x="652" y="1418"/>
                </a:lnTo>
                <a:lnTo>
                  <a:pt x="653" y="1417"/>
                </a:lnTo>
                <a:lnTo>
                  <a:pt x="655" y="1415"/>
                </a:lnTo>
                <a:lnTo>
                  <a:pt x="658" y="1414"/>
                </a:lnTo>
                <a:lnTo>
                  <a:pt x="660" y="1413"/>
                </a:lnTo>
                <a:close/>
                <a:moveTo>
                  <a:pt x="694" y="1357"/>
                </a:moveTo>
                <a:lnTo>
                  <a:pt x="699" y="1357"/>
                </a:lnTo>
                <a:lnTo>
                  <a:pt x="701" y="1357"/>
                </a:lnTo>
                <a:lnTo>
                  <a:pt x="703" y="1358"/>
                </a:lnTo>
                <a:lnTo>
                  <a:pt x="705" y="1360"/>
                </a:lnTo>
                <a:lnTo>
                  <a:pt x="707" y="1362"/>
                </a:lnTo>
                <a:lnTo>
                  <a:pt x="708" y="1364"/>
                </a:lnTo>
                <a:lnTo>
                  <a:pt x="709" y="1366"/>
                </a:lnTo>
                <a:lnTo>
                  <a:pt x="710" y="1369"/>
                </a:lnTo>
                <a:lnTo>
                  <a:pt x="709" y="1371"/>
                </a:lnTo>
                <a:lnTo>
                  <a:pt x="709" y="1374"/>
                </a:lnTo>
                <a:lnTo>
                  <a:pt x="708" y="1376"/>
                </a:lnTo>
                <a:lnTo>
                  <a:pt x="706" y="1378"/>
                </a:lnTo>
                <a:lnTo>
                  <a:pt x="704" y="1380"/>
                </a:lnTo>
                <a:lnTo>
                  <a:pt x="701" y="1381"/>
                </a:lnTo>
                <a:lnTo>
                  <a:pt x="699" y="1382"/>
                </a:lnTo>
                <a:lnTo>
                  <a:pt x="694" y="1382"/>
                </a:lnTo>
                <a:lnTo>
                  <a:pt x="692" y="1382"/>
                </a:lnTo>
                <a:lnTo>
                  <a:pt x="690" y="1380"/>
                </a:lnTo>
                <a:lnTo>
                  <a:pt x="688" y="1379"/>
                </a:lnTo>
                <a:lnTo>
                  <a:pt x="686" y="1377"/>
                </a:lnTo>
                <a:lnTo>
                  <a:pt x="685" y="1375"/>
                </a:lnTo>
                <a:lnTo>
                  <a:pt x="684" y="1372"/>
                </a:lnTo>
                <a:lnTo>
                  <a:pt x="684" y="1370"/>
                </a:lnTo>
                <a:lnTo>
                  <a:pt x="684" y="1367"/>
                </a:lnTo>
                <a:lnTo>
                  <a:pt x="684" y="1365"/>
                </a:lnTo>
                <a:lnTo>
                  <a:pt x="685" y="1363"/>
                </a:lnTo>
                <a:lnTo>
                  <a:pt x="687" y="1360"/>
                </a:lnTo>
                <a:lnTo>
                  <a:pt x="689" y="1359"/>
                </a:lnTo>
                <a:lnTo>
                  <a:pt x="692" y="1357"/>
                </a:lnTo>
                <a:lnTo>
                  <a:pt x="694" y="1357"/>
                </a:lnTo>
                <a:close/>
                <a:moveTo>
                  <a:pt x="730" y="1300"/>
                </a:moveTo>
                <a:lnTo>
                  <a:pt x="734" y="1301"/>
                </a:lnTo>
                <a:lnTo>
                  <a:pt x="738" y="1301"/>
                </a:lnTo>
                <a:lnTo>
                  <a:pt x="740" y="1302"/>
                </a:lnTo>
                <a:lnTo>
                  <a:pt x="742" y="1304"/>
                </a:lnTo>
                <a:lnTo>
                  <a:pt x="744" y="1306"/>
                </a:lnTo>
                <a:lnTo>
                  <a:pt x="745" y="1308"/>
                </a:lnTo>
                <a:lnTo>
                  <a:pt x="746" y="1311"/>
                </a:lnTo>
                <a:lnTo>
                  <a:pt x="746" y="1313"/>
                </a:lnTo>
                <a:lnTo>
                  <a:pt x="746" y="1316"/>
                </a:lnTo>
                <a:lnTo>
                  <a:pt x="745" y="1318"/>
                </a:lnTo>
                <a:lnTo>
                  <a:pt x="744" y="1320"/>
                </a:lnTo>
                <a:lnTo>
                  <a:pt x="742" y="1323"/>
                </a:lnTo>
                <a:lnTo>
                  <a:pt x="740" y="1324"/>
                </a:lnTo>
                <a:lnTo>
                  <a:pt x="738" y="1325"/>
                </a:lnTo>
                <a:lnTo>
                  <a:pt x="734" y="1326"/>
                </a:lnTo>
                <a:lnTo>
                  <a:pt x="729" y="1326"/>
                </a:lnTo>
                <a:lnTo>
                  <a:pt x="727" y="1325"/>
                </a:lnTo>
                <a:lnTo>
                  <a:pt x="725" y="1324"/>
                </a:lnTo>
                <a:lnTo>
                  <a:pt x="723" y="1323"/>
                </a:lnTo>
                <a:lnTo>
                  <a:pt x="721" y="1321"/>
                </a:lnTo>
                <a:lnTo>
                  <a:pt x="720" y="1318"/>
                </a:lnTo>
                <a:lnTo>
                  <a:pt x="719" y="1316"/>
                </a:lnTo>
                <a:lnTo>
                  <a:pt x="719" y="1314"/>
                </a:lnTo>
                <a:lnTo>
                  <a:pt x="719" y="1311"/>
                </a:lnTo>
                <a:lnTo>
                  <a:pt x="720" y="1309"/>
                </a:lnTo>
                <a:lnTo>
                  <a:pt x="721" y="1306"/>
                </a:lnTo>
                <a:lnTo>
                  <a:pt x="723" y="1304"/>
                </a:lnTo>
                <a:lnTo>
                  <a:pt x="725" y="1302"/>
                </a:lnTo>
                <a:lnTo>
                  <a:pt x="727" y="1301"/>
                </a:lnTo>
                <a:lnTo>
                  <a:pt x="730" y="1300"/>
                </a:lnTo>
                <a:close/>
                <a:moveTo>
                  <a:pt x="767" y="1245"/>
                </a:moveTo>
                <a:lnTo>
                  <a:pt x="772" y="1245"/>
                </a:lnTo>
                <a:lnTo>
                  <a:pt x="774" y="1246"/>
                </a:lnTo>
                <a:lnTo>
                  <a:pt x="777" y="1247"/>
                </a:lnTo>
                <a:lnTo>
                  <a:pt x="779" y="1249"/>
                </a:lnTo>
                <a:lnTo>
                  <a:pt x="780" y="1251"/>
                </a:lnTo>
                <a:lnTo>
                  <a:pt x="781" y="1253"/>
                </a:lnTo>
                <a:lnTo>
                  <a:pt x="782" y="1256"/>
                </a:lnTo>
                <a:lnTo>
                  <a:pt x="782" y="1261"/>
                </a:lnTo>
                <a:lnTo>
                  <a:pt x="781" y="1263"/>
                </a:lnTo>
                <a:lnTo>
                  <a:pt x="780" y="1265"/>
                </a:lnTo>
                <a:lnTo>
                  <a:pt x="778" y="1268"/>
                </a:lnTo>
                <a:lnTo>
                  <a:pt x="776" y="1269"/>
                </a:lnTo>
                <a:lnTo>
                  <a:pt x="774" y="1270"/>
                </a:lnTo>
                <a:lnTo>
                  <a:pt x="772" y="1271"/>
                </a:lnTo>
                <a:lnTo>
                  <a:pt x="767" y="1271"/>
                </a:lnTo>
                <a:lnTo>
                  <a:pt x="764" y="1270"/>
                </a:lnTo>
                <a:lnTo>
                  <a:pt x="762" y="1269"/>
                </a:lnTo>
                <a:lnTo>
                  <a:pt x="760" y="1267"/>
                </a:lnTo>
                <a:lnTo>
                  <a:pt x="758" y="1265"/>
                </a:lnTo>
                <a:lnTo>
                  <a:pt x="757" y="1263"/>
                </a:lnTo>
                <a:lnTo>
                  <a:pt x="757" y="1261"/>
                </a:lnTo>
                <a:lnTo>
                  <a:pt x="757" y="1256"/>
                </a:lnTo>
                <a:lnTo>
                  <a:pt x="757" y="1253"/>
                </a:lnTo>
                <a:lnTo>
                  <a:pt x="759" y="1251"/>
                </a:lnTo>
                <a:lnTo>
                  <a:pt x="760" y="1249"/>
                </a:lnTo>
                <a:lnTo>
                  <a:pt x="762" y="1247"/>
                </a:lnTo>
                <a:lnTo>
                  <a:pt x="765" y="1246"/>
                </a:lnTo>
                <a:lnTo>
                  <a:pt x="767" y="1245"/>
                </a:lnTo>
                <a:close/>
                <a:moveTo>
                  <a:pt x="805" y="1191"/>
                </a:moveTo>
                <a:lnTo>
                  <a:pt x="810" y="1191"/>
                </a:lnTo>
                <a:lnTo>
                  <a:pt x="813" y="1192"/>
                </a:lnTo>
                <a:lnTo>
                  <a:pt x="815" y="1193"/>
                </a:lnTo>
                <a:lnTo>
                  <a:pt x="817" y="1195"/>
                </a:lnTo>
                <a:lnTo>
                  <a:pt x="818" y="1197"/>
                </a:lnTo>
                <a:lnTo>
                  <a:pt x="819" y="1199"/>
                </a:lnTo>
                <a:lnTo>
                  <a:pt x="820" y="1202"/>
                </a:lnTo>
                <a:lnTo>
                  <a:pt x="820" y="1204"/>
                </a:lnTo>
                <a:lnTo>
                  <a:pt x="820" y="1207"/>
                </a:lnTo>
                <a:lnTo>
                  <a:pt x="819" y="1209"/>
                </a:lnTo>
                <a:lnTo>
                  <a:pt x="818" y="1212"/>
                </a:lnTo>
                <a:lnTo>
                  <a:pt x="816" y="1213"/>
                </a:lnTo>
                <a:lnTo>
                  <a:pt x="814" y="1215"/>
                </a:lnTo>
                <a:lnTo>
                  <a:pt x="812" y="1216"/>
                </a:lnTo>
                <a:lnTo>
                  <a:pt x="810" y="1217"/>
                </a:lnTo>
                <a:lnTo>
                  <a:pt x="804" y="1217"/>
                </a:lnTo>
                <a:lnTo>
                  <a:pt x="802" y="1216"/>
                </a:lnTo>
                <a:lnTo>
                  <a:pt x="800" y="1215"/>
                </a:lnTo>
                <a:lnTo>
                  <a:pt x="798" y="1213"/>
                </a:lnTo>
                <a:lnTo>
                  <a:pt x="796" y="1211"/>
                </a:lnTo>
                <a:lnTo>
                  <a:pt x="795" y="1208"/>
                </a:lnTo>
                <a:lnTo>
                  <a:pt x="794" y="1206"/>
                </a:lnTo>
                <a:lnTo>
                  <a:pt x="794" y="1204"/>
                </a:lnTo>
                <a:lnTo>
                  <a:pt x="795" y="1201"/>
                </a:lnTo>
                <a:lnTo>
                  <a:pt x="795" y="1199"/>
                </a:lnTo>
                <a:lnTo>
                  <a:pt x="797" y="1196"/>
                </a:lnTo>
                <a:lnTo>
                  <a:pt x="798" y="1194"/>
                </a:lnTo>
                <a:lnTo>
                  <a:pt x="800" y="1193"/>
                </a:lnTo>
                <a:lnTo>
                  <a:pt x="803" y="1192"/>
                </a:lnTo>
                <a:lnTo>
                  <a:pt x="805" y="1191"/>
                </a:lnTo>
                <a:close/>
                <a:moveTo>
                  <a:pt x="844" y="1138"/>
                </a:moveTo>
                <a:lnTo>
                  <a:pt x="847" y="1138"/>
                </a:lnTo>
                <a:lnTo>
                  <a:pt x="850" y="1138"/>
                </a:lnTo>
                <a:lnTo>
                  <a:pt x="852" y="1139"/>
                </a:lnTo>
                <a:lnTo>
                  <a:pt x="854" y="1140"/>
                </a:lnTo>
                <a:lnTo>
                  <a:pt x="856" y="1142"/>
                </a:lnTo>
                <a:lnTo>
                  <a:pt x="858" y="1144"/>
                </a:lnTo>
                <a:lnTo>
                  <a:pt x="859" y="1147"/>
                </a:lnTo>
                <a:lnTo>
                  <a:pt x="860" y="1149"/>
                </a:lnTo>
                <a:lnTo>
                  <a:pt x="860" y="1152"/>
                </a:lnTo>
                <a:lnTo>
                  <a:pt x="859" y="1154"/>
                </a:lnTo>
                <a:lnTo>
                  <a:pt x="858" y="1156"/>
                </a:lnTo>
                <a:lnTo>
                  <a:pt x="857" y="1159"/>
                </a:lnTo>
                <a:lnTo>
                  <a:pt x="855" y="1160"/>
                </a:lnTo>
                <a:lnTo>
                  <a:pt x="853" y="1162"/>
                </a:lnTo>
                <a:lnTo>
                  <a:pt x="851" y="1163"/>
                </a:lnTo>
                <a:lnTo>
                  <a:pt x="849" y="1164"/>
                </a:lnTo>
                <a:lnTo>
                  <a:pt x="846" y="1164"/>
                </a:lnTo>
                <a:lnTo>
                  <a:pt x="844" y="1163"/>
                </a:lnTo>
                <a:lnTo>
                  <a:pt x="841" y="1163"/>
                </a:lnTo>
                <a:lnTo>
                  <a:pt x="839" y="1161"/>
                </a:lnTo>
                <a:lnTo>
                  <a:pt x="837" y="1159"/>
                </a:lnTo>
                <a:lnTo>
                  <a:pt x="835" y="1157"/>
                </a:lnTo>
                <a:lnTo>
                  <a:pt x="834" y="1155"/>
                </a:lnTo>
                <a:lnTo>
                  <a:pt x="834" y="1153"/>
                </a:lnTo>
                <a:lnTo>
                  <a:pt x="834" y="1150"/>
                </a:lnTo>
                <a:lnTo>
                  <a:pt x="834" y="1148"/>
                </a:lnTo>
                <a:lnTo>
                  <a:pt x="835" y="1145"/>
                </a:lnTo>
                <a:lnTo>
                  <a:pt x="836" y="1143"/>
                </a:lnTo>
                <a:lnTo>
                  <a:pt x="838" y="1141"/>
                </a:lnTo>
                <a:lnTo>
                  <a:pt x="840" y="1140"/>
                </a:lnTo>
                <a:lnTo>
                  <a:pt x="842" y="1139"/>
                </a:lnTo>
                <a:lnTo>
                  <a:pt x="844" y="1138"/>
                </a:lnTo>
                <a:close/>
                <a:moveTo>
                  <a:pt x="885" y="1085"/>
                </a:moveTo>
                <a:lnTo>
                  <a:pt x="888" y="1085"/>
                </a:lnTo>
                <a:lnTo>
                  <a:pt x="891" y="1085"/>
                </a:lnTo>
                <a:lnTo>
                  <a:pt x="893" y="1086"/>
                </a:lnTo>
                <a:lnTo>
                  <a:pt x="896" y="1088"/>
                </a:lnTo>
                <a:lnTo>
                  <a:pt x="897" y="1089"/>
                </a:lnTo>
                <a:lnTo>
                  <a:pt x="899" y="1092"/>
                </a:lnTo>
                <a:lnTo>
                  <a:pt x="900" y="1094"/>
                </a:lnTo>
                <a:lnTo>
                  <a:pt x="900" y="1096"/>
                </a:lnTo>
                <a:lnTo>
                  <a:pt x="900" y="1099"/>
                </a:lnTo>
                <a:lnTo>
                  <a:pt x="900" y="1101"/>
                </a:lnTo>
                <a:lnTo>
                  <a:pt x="899" y="1104"/>
                </a:lnTo>
                <a:lnTo>
                  <a:pt x="898" y="1106"/>
                </a:lnTo>
                <a:lnTo>
                  <a:pt x="896" y="1108"/>
                </a:lnTo>
                <a:lnTo>
                  <a:pt x="894" y="1109"/>
                </a:lnTo>
                <a:lnTo>
                  <a:pt x="892" y="1110"/>
                </a:lnTo>
                <a:lnTo>
                  <a:pt x="890" y="1111"/>
                </a:lnTo>
                <a:lnTo>
                  <a:pt x="887" y="1111"/>
                </a:lnTo>
                <a:lnTo>
                  <a:pt x="884" y="1110"/>
                </a:lnTo>
                <a:lnTo>
                  <a:pt x="882" y="1109"/>
                </a:lnTo>
                <a:lnTo>
                  <a:pt x="879" y="1108"/>
                </a:lnTo>
                <a:lnTo>
                  <a:pt x="877" y="1106"/>
                </a:lnTo>
                <a:lnTo>
                  <a:pt x="876" y="1104"/>
                </a:lnTo>
                <a:lnTo>
                  <a:pt x="875" y="1102"/>
                </a:lnTo>
                <a:lnTo>
                  <a:pt x="874" y="1099"/>
                </a:lnTo>
                <a:lnTo>
                  <a:pt x="874" y="1097"/>
                </a:lnTo>
                <a:lnTo>
                  <a:pt x="875" y="1094"/>
                </a:lnTo>
                <a:lnTo>
                  <a:pt x="876" y="1092"/>
                </a:lnTo>
                <a:lnTo>
                  <a:pt x="877" y="1090"/>
                </a:lnTo>
                <a:lnTo>
                  <a:pt x="879" y="1088"/>
                </a:lnTo>
                <a:lnTo>
                  <a:pt x="881" y="1086"/>
                </a:lnTo>
                <a:lnTo>
                  <a:pt x="883" y="1085"/>
                </a:lnTo>
                <a:lnTo>
                  <a:pt x="885" y="1085"/>
                </a:lnTo>
                <a:close/>
                <a:moveTo>
                  <a:pt x="2919" y="693"/>
                </a:moveTo>
                <a:lnTo>
                  <a:pt x="2922" y="693"/>
                </a:lnTo>
                <a:lnTo>
                  <a:pt x="2924" y="693"/>
                </a:lnTo>
                <a:lnTo>
                  <a:pt x="2927" y="694"/>
                </a:lnTo>
                <a:lnTo>
                  <a:pt x="2929" y="695"/>
                </a:lnTo>
                <a:lnTo>
                  <a:pt x="2931" y="697"/>
                </a:lnTo>
                <a:lnTo>
                  <a:pt x="2932" y="699"/>
                </a:lnTo>
                <a:lnTo>
                  <a:pt x="2934" y="701"/>
                </a:lnTo>
                <a:lnTo>
                  <a:pt x="2934" y="704"/>
                </a:lnTo>
                <a:lnTo>
                  <a:pt x="2934" y="706"/>
                </a:lnTo>
                <a:lnTo>
                  <a:pt x="2934" y="709"/>
                </a:lnTo>
                <a:lnTo>
                  <a:pt x="2933" y="712"/>
                </a:lnTo>
                <a:lnTo>
                  <a:pt x="2930" y="715"/>
                </a:lnTo>
                <a:lnTo>
                  <a:pt x="2927" y="717"/>
                </a:lnTo>
                <a:lnTo>
                  <a:pt x="2924" y="719"/>
                </a:lnTo>
                <a:lnTo>
                  <a:pt x="2921" y="719"/>
                </a:lnTo>
                <a:lnTo>
                  <a:pt x="2918" y="718"/>
                </a:lnTo>
                <a:lnTo>
                  <a:pt x="2916" y="718"/>
                </a:lnTo>
                <a:lnTo>
                  <a:pt x="2914" y="716"/>
                </a:lnTo>
                <a:lnTo>
                  <a:pt x="2912" y="715"/>
                </a:lnTo>
                <a:lnTo>
                  <a:pt x="2910" y="713"/>
                </a:lnTo>
                <a:lnTo>
                  <a:pt x="2909" y="710"/>
                </a:lnTo>
                <a:lnTo>
                  <a:pt x="2909" y="708"/>
                </a:lnTo>
                <a:lnTo>
                  <a:pt x="2908" y="705"/>
                </a:lnTo>
                <a:lnTo>
                  <a:pt x="2909" y="703"/>
                </a:lnTo>
                <a:lnTo>
                  <a:pt x="2910" y="699"/>
                </a:lnTo>
                <a:lnTo>
                  <a:pt x="2913" y="696"/>
                </a:lnTo>
                <a:lnTo>
                  <a:pt x="2916" y="694"/>
                </a:lnTo>
                <a:lnTo>
                  <a:pt x="2919" y="693"/>
                </a:lnTo>
                <a:close/>
                <a:moveTo>
                  <a:pt x="927" y="1034"/>
                </a:moveTo>
                <a:lnTo>
                  <a:pt x="930" y="1034"/>
                </a:lnTo>
                <a:lnTo>
                  <a:pt x="933" y="1034"/>
                </a:lnTo>
                <a:lnTo>
                  <a:pt x="936" y="1035"/>
                </a:lnTo>
                <a:lnTo>
                  <a:pt x="938" y="1037"/>
                </a:lnTo>
                <a:lnTo>
                  <a:pt x="940" y="1039"/>
                </a:lnTo>
                <a:lnTo>
                  <a:pt x="941" y="1041"/>
                </a:lnTo>
                <a:lnTo>
                  <a:pt x="942" y="1043"/>
                </a:lnTo>
                <a:lnTo>
                  <a:pt x="943" y="1046"/>
                </a:lnTo>
                <a:lnTo>
                  <a:pt x="943" y="1048"/>
                </a:lnTo>
                <a:lnTo>
                  <a:pt x="942" y="1051"/>
                </a:lnTo>
                <a:lnTo>
                  <a:pt x="941" y="1053"/>
                </a:lnTo>
                <a:lnTo>
                  <a:pt x="940" y="1055"/>
                </a:lnTo>
                <a:lnTo>
                  <a:pt x="939" y="1056"/>
                </a:lnTo>
                <a:lnTo>
                  <a:pt x="938" y="1057"/>
                </a:lnTo>
                <a:lnTo>
                  <a:pt x="936" y="1058"/>
                </a:lnTo>
                <a:lnTo>
                  <a:pt x="932" y="1060"/>
                </a:lnTo>
                <a:lnTo>
                  <a:pt x="929" y="1060"/>
                </a:lnTo>
                <a:lnTo>
                  <a:pt x="926" y="1059"/>
                </a:lnTo>
                <a:lnTo>
                  <a:pt x="924" y="1058"/>
                </a:lnTo>
                <a:lnTo>
                  <a:pt x="921" y="1057"/>
                </a:lnTo>
                <a:lnTo>
                  <a:pt x="919" y="1055"/>
                </a:lnTo>
                <a:lnTo>
                  <a:pt x="918" y="1053"/>
                </a:lnTo>
                <a:lnTo>
                  <a:pt x="917" y="1050"/>
                </a:lnTo>
                <a:lnTo>
                  <a:pt x="917" y="1048"/>
                </a:lnTo>
                <a:lnTo>
                  <a:pt x="917" y="1045"/>
                </a:lnTo>
                <a:lnTo>
                  <a:pt x="917" y="1043"/>
                </a:lnTo>
                <a:lnTo>
                  <a:pt x="918" y="1041"/>
                </a:lnTo>
                <a:lnTo>
                  <a:pt x="920" y="1038"/>
                </a:lnTo>
                <a:lnTo>
                  <a:pt x="921" y="1037"/>
                </a:lnTo>
                <a:lnTo>
                  <a:pt x="923" y="1035"/>
                </a:lnTo>
                <a:lnTo>
                  <a:pt x="927" y="1034"/>
                </a:lnTo>
                <a:close/>
                <a:moveTo>
                  <a:pt x="2855" y="678"/>
                </a:moveTo>
                <a:lnTo>
                  <a:pt x="2857" y="678"/>
                </a:lnTo>
                <a:lnTo>
                  <a:pt x="2860" y="678"/>
                </a:lnTo>
                <a:lnTo>
                  <a:pt x="2862" y="679"/>
                </a:lnTo>
                <a:lnTo>
                  <a:pt x="2865" y="680"/>
                </a:lnTo>
                <a:lnTo>
                  <a:pt x="2867" y="682"/>
                </a:lnTo>
                <a:lnTo>
                  <a:pt x="2868" y="684"/>
                </a:lnTo>
                <a:lnTo>
                  <a:pt x="2869" y="686"/>
                </a:lnTo>
                <a:lnTo>
                  <a:pt x="2870" y="688"/>
                </a:lnTo>
                <a:lnTo>
                  <a:pt x="2870" y="691"/>
                </a:lnTo>
                <a:lnTo>
                  <a:pt x="2870" y="694"/>
                </a:lnTo>
                <a:lnTo>
                  <a:pt x="2869" y="696"/>
                </a:lnTo>
                <a:lnTo>
                  <a:pt x="2868" y="697"/>
                </a:lnTo>
                <a:lnTo>
                  <a:pt x="2866" y="700"/>
                </a:lnTo>
                <a:lnTo>
                  <a:pt x="2863" y="702"/>
                </a:lnTo>
                <a:lnTo>
                  <a:pt x="2859" y="703"/>
                </a:lnTo>
                <a:lnTo>
                  <a:pt x="2857" y="704"/>
                </a:lnTo>
                <a:lnTo>
                  <a:pt x="2854" y="703"/>
                </a:lnTo>
                <a:lnTo>
                  <a:pt x="2852" y="702"/>
                </a:lnTo>
                <a:lnTo>
                  <a:pt x="2849" y="701"/>
                </a:lnTo>
                <a:lnTo>
                  <a:pt x="2847" y="700"/>
                </a:lnTo>
                <a:lnTo>
                  <a:pt x="2846" y="698"/>
                </a:lnTo>
                <a:lnTo>
                  <a:pt x="2845" y="695"/>
                </a:lnTo>
                <a:lnTo>
                  <a:pt x="2844" y="693"/>
                </a:lnTo>
                <a:lnTo>
                  <a:pt x="2844" y="690"/>
                </a:lnTo>
                <a:lnTo>
                  <a:pt x="2844" y="688"/>
                </a:lnTo>
                <a:lnTo>
                  <a:pt x="2845" y="686"/>
                </a:lnTo>
                <a:lnTo>
                  <a:pt x="2846" y="684"/>
                </a:lnTo>
                <a:lnTo>
                  <a:pt x="2848" y="681"/>
                </a:lnTo>
                <a:lnTo>
                  <a:pt x="2851" y="679"/>
                </a:lnTo>
                <a:lnTo>
                  <a:pt x="2855" y="678"/>
                </a:lnTo>
                <a:close/>
                <a:moveTo>
                  <a:pt x="971" y="984"/>
                </a:moveTo>
                <a:lnTo>
                  <a:pt x="974" y="984"/>
                </a:lnTo>
                <a:lnTo>
                  <a:pt x="977" y="985"/>
                </a:lnTo>
                <a:lnTo>
                  <a:pt x="980" y="986"/>
                </a:lnTo>
                <a:lnTo>
                  <a:pt x="982" y="988"/>
                </a:lnTo>
                <a:lnTo>
                  <a:pt x="984" y="990"/>
                </a:lnTo>
                <a:lnTo>
                  <a:pt x="985" y="992"/>
                </a:lnTo>
                <a:lnTo>
                  <a:pt x="986" y="993"/>
                </a:lnTo>
                <a:lnTo>
                  <a:pt x="986" y="994"/>
                </a:lnTo>
                <a:lnTo>
                  <a:pt x="987" y="997"/>
                </a:lnTo>
                <a:lnTo>
                  <a:pt x="986" y="1002"/>
                </a:lnTo>
                <a:lnTo>
                  <a:pt x="985" y="1004"/>
                </a:lnTo>
                <a:lnTo>
                  <a:pt x="983" y="1006"/>
                </a:lnTo>
                <a:lnTo>
                  <a:pt x="980" y="1009"/>
                </a:lnTo>
                <a:lnTo>
                  <a:pt x="978" y="1010"/>
                </a:lnTo>
                <a:lnTo>
                  <a:pt x="976" y="1010"/>
                </a:lnTo>
                <a:lnTo>
                  <a:pt x="973" y="1010"/>
                </a:lnTo>
                <a:lnTo>
                  <a:pt x="970" y="1010"/>
                </a:lnTo>
                <a:lnTo>
                  <a:pt x="967" y="1009"/>
                </a:lnTo>
                <a:lnTo>
                  <a:pt x="965" y="1007"/>
                </a:lnTo>
                <a:lnTo>
                  <a:pt x="963" y="1005"/>
                </a:lnTo>
                <a:lnTo>
                  <a:pt x="962" y="1003"/>
                </a:lnTo>
                <a:lnTo>
                  <a:pt x="961" y="1002"/>
                </a:lnTo>
                <a:lnTo>
                  <a:pt x="961" y="1000"/>
                </a:lnTo>
                <a:lnTo>
                  <a:pt x="960" y="998"/>
                </a:lnTo>
                <a:lnTo>
                  <a:pt x="961" y="993"/>
                </a:lnTo>
                <a:lnTo>
                  <a:pt x="962" y="991"/>
                </a:lnTo>
                <a:lnTo>
                  <a:pt x="964" y="988"/>
                </a:lnTo>
                <a:lnTo>
                  <a:pt x="967" y="986"/>
                </a:lnTo>
                <a:lnTo>
                  <a:pt x="969" y="985"/>
                </a:lnTo>
                <a:lnTo>
                  <a:pt x="971" y="984"/>
                </a:lnTo>
                <a:close/>
                <a:moveTo>
                  <a:pt x="2790" y="663"/>
                </a:moveTo>
                <a:lnTo>
                  <a:pt x="2793" y="663"/>
                </a:lnTo>
                <a:lnTo>
                  <a:pt x="2796" y="663"/>
                </a:lnTo>
                <a:lnTo>
                  <a:pt x="2798" y="664"/>
                </a:lnTo>
                <a:lnTo>
                  <a:pt x="2800" y="665"/>
                </a:lnTo>
                <a:lnTo>
                  <a:pt x="2802" y="667"/>
                </a:lnTo>
                <a:lnTo>
                  <a:pt x="2804" y="669"/>
                </a:lnTo>
                <a:lnTo>
                  <a:pt x="2805" y="671"/>
                </a:lnTo>
                <a:lnTo>
                  <a:pt x="2805" y="673"/>
                </a:lnTo>
                <a:lnTo>
                  <a:pt x="2806" y="676"/>
                </a:lnTo>
                <a:lnTo>
                  <a:pt x="2805" y="679"/>
                </a:lnTo>
                <a:lnTo>
                  <a:pt x="2805" y="680"/>
                </a:lnTo>
                <a:lnTo>
                  <a:pt x="2804" y="682"/>
                </a:lnTo>
                <a:lnTo>
                  <a:pt x="2801" y="685"/>
                </a:lnTo>
                <a:lnTo>
                  <a:pt x="2798" y="687"/>
                </a:lnTo>
                <a:lnTo>
                  <a:pt x="2795" y="688"/>
                </a:lnTo>
                <a:lnTo>
                  <a:pt x="2792" y="689"/>
                </a:lnTo>
                <a:lnTo>
                  <a:pt x="2790" y="688"/>
                </a:lnTo>
                <a:lnTo>
                  <a:pt x="2787" y="687"/>
                </a:lnTo>
                <a:lnTo>
                  <a:pt x="2785" y="686"/>
                </a:lnTo>
                <a:lnTo>
                  <a:pt x="2783" y="684"/>
                </a:lnTo>
                <a:lnTo>
                  <a:pt x="2782" y="682"/>
                </a:lnTo>
                <a:lnTo>
                  <a:pt x="2780" y="680"/>
                </a:lnTo>
                <a:lnTo>
                  <a:pt x="2780" y="678"/>
                </a:lnTo>
                <a:lnTo>
                  <a:pt x="2780" y="675"/>
                </a:lnTo>
                <a:lnTo>
                  <a:pt x="2780" y="673"/>
                </a:lnTo>
                <a:lnTo>
                  <a:pt x="2781" y="671"/>
                </a:lnTo>
                <a:lnTo>
                  <a:pt x="2781" y="669"/>
                </a:lnTo>
                <a:lnTo>
                  <a:pt x="2784" y="666"/>
                </a:lnTo>
                <a:lnTo>
                  <a:pt x="2787" y="664"/>
                </a:lnTo>
                <a:lnTo>
                  <a:pt x="2790" y="663"/>
                </a:lnTo>
                <a:close/>
                <a:moveTo>
                  <a:pt x="2726" y="648"/>
                </a:moveTo>
                <a:lnTo>
                  <a:pt x="2729" y="647"/>
                </a:lnTo>
                <a:lnTo>
                  <a:pt x="2731" y="648"/>
                </a:lnTo>
                <a:lnTo>
                  <a:pt x="2734" y="649"/>
                </a:lnTo>
                <a:lnTo>
                  <a:pt x="2736" y="650"/>
                </a:lnTo>
                <a:lnTo>
                  <a:pt x="2738" y="652"/>
                </a:lnTo>
                <a:lnTo>
                  <a:pt x="2739" y="654"/>
                </a:lnTo>
                <a:lnTo>
                  <a:pt x="2740" y="656"/>
                </a:lnTo>
                <a:lnTo>
                  <a:pt x="2741" y="658"/>
                </a:lnTo>
                <a:lnTo>
                  <a:pt x="2741" y="661"/>
                </a:lnTo>
                <a:lnTo>
                  <a:pt x="2741" y="663"/>
                </a:lnTo>
                <a:lnTo>
                  <a:pt x="2740" y="665"/>
                </a:lnTo>
                <a:lnTo>
                  <a:pt x="2739" y="667"/>
                </a:lnTo>
                <a:lnTo>
                  <a:pt x="2737" y="670"/>
                </a:lnTo>
                <a:lnTo>
                  <a:pt x="2734" y="672"/>
                </a:lnTo>
                <a:lnTo>
                  <a:pt x="2730" y="673"/>
                </a:lnTo>
                <a:lnTo>
                  <a:pt x="2728" y="673"/>
                </a:lnTo>
                <a:lnTo>
                  <a:pt x="2725" y="673"/>
                </a:lnTo>
                <a:lnTo>
                  <a:pt x="2723" y="672"/>
                </a:lnTo>
                <a:lnTo>
                  <a:pt x="2721" y="671"/>
                </a:lnTo>
                <a:lnTo>
                  <a:pt x="2719" y="669"/>
                </a:lnTo>
                <a:lnTo>
                  <a:pt x="2717" y="667"/>
                </a:lnTo>
                <a:lnTo>
                  <a:pt x="2716" y="665"/>
                </a:lnTo>
                <a:lnTo>
                  <a:pt x="2715" y="663"/>
                </a:lnTo>
                <a:lnTo>
                  <a:pt x="2715" y="660"/>
                </a:lnTo>
                <a:lnTo>
                  <a:pt x="2716" y="657"/>
                </a:lnTo>
                <a:lnTo>
                  <a:pt x="2716" y="655"/>
                </a:lnTo>
                <a:lnTo>
                  <a:pt x="2717" y="654"/>
                </a:lnTo>
                <a:lnTo>
                  <a:pt x="2719" y="651"/>
                </a:lnTo>
                <a:lnTo>
                  <a:pt x="2722" y="649"/>
                </a:lnTo>
                <a:lnTo>
                  <a:pt x="2726" y="648"/>
                </a:lnTo>
                <a:close/>
                <a:moveTo>
                  <a:pt x="1017" y="936"/>
                </a:moveTo>
                <a:lnTo>
                  <a:pt x="1020" y="936"/>
                </a:lnTo>
                <a:lnTo>
                  <a:pt x="1023" y="937"/>
                </a:lnTo>
                <a:lnTo>
                  <a:pt x="1025" y="938"/>
                </a:lnTo>
                <a:lnTo>
                  <a:pt x="1028" y="940"/>
                </a:lnTo>
                <a:lnTo>
                  <a:pt x="1030" y="942"/>
                </a:lnTo>
                <a:lnTo>
                  <a:pt x="1031" y="944"/>
                </a:lnTo>
                <a:lnTo>
                  <a:pt x="1032" y="946"/>
                </a:lnTo>
                <a:lnTo>
                  <a:pt x="1032" y="949"/>
                </a:lnTo>
                <a:lnTo>
                  <a:pt x="1032" y="951"/>
                </a:lnTo>
                <a:lnTo>
                  <a:pt x="1031" y="954"/>
                </a:lnTo>
                <a:lnTo>
                  <a:pt x="1030" y="956"/>
                </a:lnTo>
                <a:lnTo>
                  <a:pt x="1028" y="958"/>
                </a:lnTo>
                <a:lnTo>
                  <a:pt x="1025" y="961"/>
                </a:lnTo>
                <a:lnTo>
                  <a:pt x="1021" y="962"/>
                </a:lnTo>
                <a:lnTo>
                  <a:pt x="1018" y="962"/>
                </a:lnTo>
                <a:lnTo>
                  <a:pt x="1015" y="962"/>
                </a:lnTo>
                <a:lnTo>
                  <a:pt x="1012" y="960"/>
                </a:lnTo>
                <a:lnTo>
                  <a:pt x="1010" y="958"/>
                </a:lnTo>
                <a:lnTo>
                  <a:pt x="1008" y="956"/>
                </a:lnTo>
                <a:lnTo>
                  <a:pt x="1007" y="954"/>
                </a:lnTo>
                <a:lnTo>
                  <a:pt x="1006" y="952"/>
                </a:lnTo>
                <a:lnTo>
                  <a:pt x="1006" y="949"/>
                </a:lnTo>
                <a:lnTo>
                  <a:pt x="1006" y="947"/>
                </a:lnTo>
                <a:lnTo>
                  <a:pt x="1007" y="944"/>
                </a:lnTo>
                <a:lnTo>
                  <a:pt x="1008" y="942"/>
                </a:lnTo>
                <a:lnTo>
                  <a:pt x="1010" y="940"/>
                </a:lnTo>
                <a:lnTo>
                  <a:pt x="1013" y="938"/>
                </a:lnTo>
                <a:lnTo>
                  <a:pt x="1017" y="936"/>
                </a:lnTo>
                <a:close/>
                <a:moveTo>
                  <a:pt x="2662" y="632"/>
                </a:moveTo>
                <a:lnTo>
                  <a:pt x="2664" y="632"/>
                </a:lnTo>
                <a:lnTo>
                  <a:pt x="2667" y="633"/>
                </a:lnTo>
                <a:lnTo>
                  <a:pt x="2669" y="633"/>
                </a:lnTo>
                <a:lnTo>
                  <a:pt x="2671" y="635"/>
                </a:lnTo>
                <a:lnTo>
                  <a:pt x="2673" y="636"/>
                </a:lnTo>
                <a:lnTo>
                  <a:pt x="2675" y="638"/>
                </a:lnTo>
                <a:lnTo>
                  <a:pt x="2676" y="641"/>
                </a:lnTo>
                <a:lnTo>
                  <a:pt x="2677" y="643"/>
                </a:lnTo>
                <a:lnTo>
                  <a:pt x="2677" y="646"/>
                </a:lnTo>
                <a:lnTo>
                  <a:pt x="2676" y="648"/>
                </a:lnTo>
                <a:lnTo>
                  <a:pt x="2675" y="652"/>
                </a:lnTo>
                <a:lnTo>
                  <a:pt x="2673" y="655"/>
                </a:lnTo>
                <a:lnTo>
                  <a:pt x="2670" y="657"/>
                </a:lnTo>
                <a:lnTo>
                  <a:pt x="2666" y="658"/>
                </a:lnTo>
                <a:lnTo>
                  <a:pt x="2663" y="658"/>
                </a:lnTo>
                <a:lnTo>
                  <a:pt x="2661" y="658"/>
                </a:lnTo>
                <a:lnTo>
                  <a:pt x="2658" y="657"/>
                </a:lnTo>
                <a:lnTo>
                  <a:pt x="2656" y="656"/>
                </a:lnTo>
                <a:lnTo>
                  <a:pt x="2654" y="654"/>
                </a:lnTo>
                <a:lnTo>
                  <a:pt x="2653" y="652"/>
                </a:lnTo>
                <a:lnTo>
                  <a:pt x="2652" y="650"/>
                </a:lnTo>
                <a:lnTo>
                  <a:pt x="2651" y="648"/>
                </a:lnTo>
                <a:lnTo>
                  <a:pt x="2651" y="645"/>
                </a:lnTo>
                <a:lnTo>
                  <a:pt x="2651" y="642"/>
                </a:lnTo>
                <a:lnTo>
                  <a:pt x="2653" y="639"/>
                </a:lnTo>
                <a:lnTo>
                  <a:pt x="2655" y="636"/>
                </a:lnTo>
                <a:lnTo>
                  <a:pt x="2658" y="634"/>
                </a:lnTo>
                <a:lnTo>
                  <a:pt x="2662" y="632"/>
                </a:lnTo>
                <a:close/>
                <a:moveTo>
                  <a:pt x="1064" y="890"/>
                </a:moveTo>
                <a:lnTo>
                  <a:pt x="1067" y="889"/>
                </a:lnTo>
                <a:lnTo>
                  <a:pt x="1070" y="890"/>
                </a:lnTo>
                <a:lnTo>
                  <a:pt x="1073" y="891"/>
                </a:lnTo>
                <a:lnTo>
                  <a:pt x="1075" y="893"/>
                </a:lnTo>
                <a:lnTo>
                  <a:pt x="1077" y="896"/>
                </a:lnTo>
                <a:lnTo>
                  <a:pt x="1078" y="898"/>
                </a:lnTo>
                <a:lnTo>
                  <a:pt x="1079" y="900"/>
                </a:lnTo>
                <a:lnTo>
                  <a:pt x="1079" y="903"/>
                </a:lnTo>
                <a:lnTo>
                  <a:pt x="1079" y="905"/>
                </a:lnTo>
                <a:lnTo>
                  <a:pt x="1078" y="908"/>
                </a:lnTo>
                <a:lnTo>
                  <a:pt x="1077" y="910"/>
                </a:lnTo>
                <a:lnTo>
                  <a:pt x="1075" y="912"/>
                </a:lnTo>
                <a:lnTo>
                  <a:pt x="1073" y="913"/>
                </a:lnTo>
                <a:lnTo>
                  <a:pt x="1072" y="914"/>
                </a:lnTo>
                <a:lnTo>
                  <a:pt x="1068" y="915"/>
                </a:lnTo>
                <a:lnTo>
                  <a:pt x="1065" y="915"/>
                </a:lnTo>
                <a:lnTo>
                  <a:pt x="1062" y="915"/>
                </a:lnTo>
                <a:lnTo>
                  <a:pt x="1059" y="914"/>
                </a:lnTo>
                <a:lnTo>
                  <a:pt x="1056" y="911"/>
                </a:lnTo>
                <a:lnTo>
                  <a:pt x="1055" y="909"/>
                </a:lnTo>
                <a:lnTo>
                  <a:pt x="1054" y="907"/>
                </a:lnTo>
                <a:lnTo>
                  <a:pt x="1053" y="905"/>
                </a:lnTo>
                <a:lnTo>
                  <a:pt x="1053" y="902"/>
                </a:lnTo>
                <a:lnTo>
                  <a:pt x="1053" y="900"/>
                </a:lnTo>
                <a:lnTo>
                  <a:pt x="1054" y="897"/>
                </a:lnTo>
                <a:lnTo>
                  <a:pt x="1055" y="895"/>
                </a:lnTo>
                <a:lnTo>
                  <a:pt x="1057" y="893"/>
                </a:lnTo>
                <a:lnTo>
                  <a:pt x="1058" y="892"/>
                </a:lnTo>
                <a:lnTo>
                  <a:pt x="1060" y="891"/>
                </a:lnTo>
                <a:lnTo>
                  <a:pt x="1064" y="890"/>
                </a:lnTo>
                <a:close/>
                <a:moveTo>
                  <a:pt x="2597" y="618"/>
                </a:moveTo>
                <a:lnTo>
                  <a:pt x="2600" y="617"/>
                </a:lnTo>
                <a:lnTo>
                  <a:pt x="2602" y="618"/>
                </a:lnTo>
                <a:lnTo>
                  <a:pt x="2605" y="619"/>
                </a:lnTo>
                <a:lnTo>
                  <a:pt x="2607" y="620"/>
                </a:lnTo>
                <a:lnTo>
                  <a:pt x="2609" y="621"/>
                </a:lnTo>
                <a:lnTo>
                  <a:pt x="2610" y="623"/>
                </a:lnTo>
                <a:lnTo>
                  <a:pt x="2611" y="626"/>
                </a:lnTo>
                <a:lnTo>
                  <a:pt x="2612" y="628"/>
                </a:lnTo>
                <a:lnTo>
                  <a:pt x="2612" y="631"/>
                </a:lnTo>
                <a:lnTo>
                  <a:pt x="2612" y="633"/>
                </a:lnTo>
                <a:lnTo>
                  <a:pt x="2611" y="637"/>
                </a:lnTo>
                <a:lnTo>
                  <a:pt x="2608" y="640"/>
                </a:lnTo>
                <a:lnTo>
                  <a:pt x="2605" y="642"/>
                </a:lnTo>
                <a:lnTo>
                  <a:pt x="2602" y="643"/>
                </a:lnTo>
                <a:lnTo>
                  <a:pt x="2599" y="643"/>
                </a:lnTo>
                <a:lnTo>
                  <a:pt x="2596" y="643"/>
                </a:lnTo>
                <a:lnTo>
                  <a:pt x="2594" y="642"/>
                </a:lnTo>
                <a:lnTo>
                  <a:pt x="2592" y="641"/>
                </a:lnTo>
                <a:lnTo>
                  <a:pt x="2590" y="639"/>
                </a:lnTo>
                <a:lnTo>
                  <a:pt x="2588" y="637"/>
                </a:lnTo>
                <a:lnTo>
                  <a:pt x="2587" y="635"/>
                </a:lnTo>
                <a:lnTo>
                  <a:pt x="2587" y="633"/>
                </a:lnTo>
                <a:lnTo>
                  <a:pt x="2586" y="630"/>
                </a:lnTo>
                <a:lnTo>
                  <a:pt x="2587" y="627"/>
                </a:lnTo>
                <a:lnTo>
                  <a:pt x="2588" y="624"/>
                </a:lnTo>
                <a:lnTo>
                  <a:pt x="2590" y="621"/>
                </a:lnTo>
                <a:lnTo>
                  <a:pt x="2594" y="619"/>
                </a:lnTo>
                <a:lnTo>
                  <a:pt x="2597" y="618"/>
                </a:lnTo>
                <a:close/>
                <a:moveTo>
                  <a:pt x="2533" y="603"/>
                </a:moveTo>
                <a:lnTo>
                  <a:pt x="2535" y="603"/>
                </a:lnTo>
                <a:lnTo>
                  <a:pt x="2538" y="603"/>
                </a:lnTo>
                <a:lnTo>
                  <a:pt x="2542" y="605"/>
                </a:lnTo>
                <a:lnTo>
                  <a:pt x="2544" y="607"/>
                </a:lnTo>
                <a:lnTo>
                  <a:pt x="2546" y="609"/>
                </a:lnTo>
                <a:lnTo>
                  <a:pt x="2547" y="611"/>
                </a:lnTo>
                <a:lnTo>
                  <a:pt x="2548" y="613"/>
                </a:lnTo>
                <a:lnTo>
                  <a:pt x="2548" y="619"/>
                </a:lnTo>
                <a:lnTo>
                  <a:pt x="2546" y="622"/>
                </a:lnTo>
                <a:lnTo>
                  <a:pt x="2544" y="625"/>
                </a:lnTo>
                <a:lnTo>
                  <a:pt x="2541" y="627"/>
                </a:lnTo>
                <a:lnTo>
                  <a:pt x="2537" y="628"/>
                </a:lnTo>
                <a:lnTo>
                  <a:pt x="2535" y="629"/>
                </a:lnTo>
                <a:lnTo>
                  <a:pt x="2532" y="628"/>
                </a:lnTo>
                <a:lnTo>
                  <a:pt x="2527" y="626"/>
                </a:lnTo>
                <a:lnTo>
                  <a:pt x="2525" y="625"/>
                </a:lnTo>
                <a:lnTo>
                  <a:pt x="2524" y="623"/>
                </a:lnTo>
                <a:lnTo>
                  <a:pt x="2523" y="620"/>
                </a:lnTo>
                <a:lnTo>
                  <a:pt x="2522" y="618"/>
                </a:lnTo>
                <a:lnTo>
                  <a:pt x="2522" y="615"/>
                </a:lnTo>
                <a:lnTo>
                  <a:pt x="2522" y="613"/>
                </a:lnTo>
                <a:lnTo>
                  <a:pt x="2524" y="609"/>
                </a:lnTo>
                <a:lnTo>
                  <a:pt x="2526" y="606"/>
                </a:lnTo>
                <a:lnTo>
                  <a:pt x="2529" y="604"/>
                </a:lnTo>
                <a:lnTo>
                  <a:pt x="2533" y="603"/>
                </a:lnTo>
                <a:close/>
                <a:moveTo>
                  <a:pt x="1112" y="845"/>
                </a:moveTo>
                <a:lnTo>
                  <a:pt x="1115" y="845"/>
                </a:lnTo>
                <a:lnTo>
                  <a:pt x="1119" y="845"/>
                </a:lnTo>
                <a:lnTo>
                  <a:pt x="1121" y="847"/>
                </a:lnTo>
                <a:lnTo>
                  <a:pt x="1123" y="848"/>
                </a:lnTo>
                <a:lnTo>
                  <a:pt x="1124" y="849"/>
                </a:lnTo>
                <a:lnTo>
                  <a:pt x="1126" y="851"/>
                </a:lnTo>
                <a:lnTo>
                  <a:pt x="1127" y="853"/>
                </a:lnTo>
                <a:lnTo>
                  <a:pt x="1127" y="856"/>
                </a:lnTo>
                <a:lnTo>
                  <a:pt x="1127" y="858"/>
                </a:lnTo>
                <a:lnTo>
                  <a:pt x="1127" y="861"/>
                </a:lnTo>
                <a:lnTo>
                  <a:pt x="1126" y="863"/>
                </a:lnTo>
                <a:lnTo>
                  <a:pt x="1125" y="865"/>
                </a:lnTo>
                <a:lnTo>
                  <a:pt x="1123" y="867"/>
                </a:lnTo>
                <a:lnTo>
                  <a:pt x="1120" y="869"/>
                </a:lnTo>
                <a:lnTo>
                  <a:pt x="1118" y="870"/>
                </a:lnTo>
                <a:lnTo>
                  <a:pt x="1117" y="870"/>
                </a:lnTo>
                <a:lnTo>
                  <a:pt x="1113" y="871"/>
                </a:lnTo>
                <a:lnTo>
                  <a:pt x="1110" y="870"/>
                </a:lnTo>
                <a:lnTo>
                  <a:pt x="1107" y="868"/>
                </a:lnTo>
                <a:lnTo>
                  <a:pt x="1106" y="867"/>
                </a:lnTo>
                <a:lnTo>
                  <a:pt x="1105" y="866"/>
                </a:lnTo>
                <a:lnTo>
                  <a:pt x="1103" y="864"/>
                </a:lnTo>
                <a:lnTo>
                  <a:pt x="1102" y="862"/>
                </a:lnTo>
                <a:lnTo>
                  <a:pt x="1101" y="859"/>
                </a:lnTo>
                <a:lnTo>
                  <a:pt x="1101" y="857"/>
                </a:lnTo>
                <a:lnTo>
                  <a:pt x="1102" y="854"/>
                </a:lnTo>
                <a:lnTo>
                  <a:pt x="1103" y="852"/>
                </a:lnTo>
                <a:lnTo>
                  <a:pt x="1104" y="850"/>
                </a:lnTo>
                <a:lnTo>
                  <a:pt x="1106" y="848"/>
                </a:lnTo>
                <a:lnTo>
                  <a:pt x="1109" y="846"/>
                </a:lnTo>
                <a:lnTo>
                  <a:pt x="1110" y="845"/>
                </a:lnTo>
                <a:lnTo>
                  <a:pt x="1112" y="845"/>
                </a:lnTo>
                <a:close/>
                <a:moveTo>
                  <a:pt x="2468" y="588"/>
                </a:moveTo>
                <a:lnTo>
                  <a:pt x="2473" y="588"/>
                </a:lnTo>
                <a:lnTo>
                  <a:pt x="2478" y="590"/>
                </a:lnTo>
                <a:lnTo>
                  <a:pt x="2480" y="592"/>
                </a:lnTo>
                <a:lnTo>
                  <a:pt x="2481" y="594"/>
                </a:lnTo>
                <a:lnTo>
                  <a:pt x="2482" y="596"/>
                </a:lnTo>
                <a:lnTo>
                  <a:pt x="2483" y="599"/>
                </a:lnTo>
                <a:lnTo>
                  <a:pt x="2483" y="604"/>
                </a:lnTo>
                <a:lnTo>
                  <a:pt x="2482" y="608"/>
                </a:lnTo>
                <a:lnTo>
                  <a:pt x="2479" y="610"/>
                </a:lnTo>
                <a:lnTo>
                  <a:pt x="2476" y="613"/>
                </a:lnTo>
                <a:lnTo>
                  <a:pt x="2473" y="614"/>
                </a:lnTo>
                <a:lnTo>
                  <a:pt x="2467" y="614"/>
                </a:lnTo>
                <a:lnTo>
                  <a:pt x="2463" y="612"/>
                </a:lnTo>
                <a:lnTo>
                  <a:pt x="2461" y="610"/>
                </a:lnTo>
                <a:lnTo>
                  <a:pt x="2459" y="608"/>
                </a:lnTo>
                <a:lnTo>
                  <a:pt x="2458" y="606"/>
                </a:lnTo>
                <a:lnTo>
                  <a:pt x="2457" y="603"/>
                </a:lnTo>
                <a:lnTo>
                  <a:pt x="2458" y="598"/>
                </a:lnTo>
                <a:lnTo>
                  <a:pt x="2459" y="594"/>
                </a:lnTo>
                <a:lnTo>
                  <a:pt x="2461" y="592"/>
                </a:lnTo>
                <a:lnTo>
                  <a:pt x="2464" y="589"/>
                </a:lnTo>
                <a:lnTo>
                  <a:pt x="2468" y="588"/>
                </a:lnTo>
                <a:close/>
                <a:moveTo>
                  <a:pt x="1162" y="802"/>
                </a:moveTo>
                <a:lnTo>
                  <a:pt x="1166" y="801"/>
                </a:lnTo>
                <a:lnTo>
                  <a:pt x="1169" y="802"/>
                </a:lnTo>
                <a:lnTo>
                  <a:pt x="1172" y="804"/>
                </a:lnTo>
                <a:lnTo>
                  <a:pt x="1175" y="806"/>
                </a:lnTo>
                <a:lnTo>
                  <a:pt x="1176" y="808"/>
                </a:lnTo>
                <a:lnTo>
                  <a:pt x="1177" y="811"/>
                </a:lnTo>
                <a:lnTo>
                  <a:pt x="1177" y="813"/>
                </a:lnTo>
                <a:lnTo>
                  <a:pt x="1177" y="816"/>
                </a:lnTo>
                <a:lnTo>
                  <a:pt x="1177" y="818"/>
                </a:lnTo>
                <a:lnTo>
                  <a:pt x="1176" y="820"/>
                </a:lnTo>
                <a:lnTo>
                  <a:pt x="1175" y="823"/>
                </a:lnTo>
                <a:lnTo>
                  <a:pt x="1173" y="824"/>
                </a:lnTo>
                <a:lnTo>
                  <a:pt x="1170" y="826"/>
                </a:lnTo>
                <a:lnTo>
                  <a:pt x="1167" y="827"/>
                </a:lnTo>
                <a:lnTo>
                  <a:pt x="1163" y="827"/>
                </a:lnTo>
                <a:lnTo>
                  <a:pt x="1160" y="827"/>
                </a:lnTo>
                <a:lnTo>
                  <a:pt x="1157" y="825"/>
                </a:lnTo>
                <a:lnTo>
                  <a:pt x="1154" y="823"/>
                </a:lnTo>
                <a:lnTo>
                  <a:pt x="1153" y="821"/>
                </a:lnTo>
                <a:lnTo>
                  <a:pt x="1152" y="818"/>
                </a:lnTo>
                <a:lnTo>
                  <a:pt x="1152" y="816"/>
                </a:lnTo>
                <a:lnTo>
                  <a:pt x="1152" y="813"/>
                </a:lnTo>
                <a:lnTo>
                  <a:pt x="1152" y="811"/>
                </a:lnTo>
                <a:lnTo>
                  <a:pt x="1153" y="808"/>
                </a:lnTo>
                <a:lnTo>
                  <a:pt x="1154" y="806"/>
                </a:lnTo>
                <a:lnTo>
                  <a:pt x="1156" y="804"/>
                </a:lnTo>
                <a:lnTo>
                  <a:pt x="1159" y="803"/>
                </a:lnTo>
                <a:lnTo>
                  <a:pt x="1162" y="802"/>
                </a:lnTo>
                <a:close/>
                <a:moveTo>
                  <a:pt x="2403" y="574"/>
                </a:moveTo>
                <a:lnTo>
                  <a:pt x="2409" y="574"/>
                </a:lnTo>
                <a:lnTo>
                  <a:pt x="2411" y="575"/>
                </a:lnTo>
                <a:lnTo>
                  <a:pt x="2413" y="576"/>
                </a:lnTo>
                <a:lnTo>
                  <a:pt x="2415" y="578"/>
                </a:lnTo>
                <a:lnTo>
                  <a:pt x="2417" y="580"/>
                </a:lnTo>
                <a:lnTo>
                  <a:pt x="2418" y="582"/>
                </a:lnTo>
                <a:lnTo>
                  <a:pt x="2419" y="584"/>
                </a:lnTo>
                <a:lnTo>
                  <a:pt x="2418" y="589"/>
                </a:lnTo>
                <a:lnTo>
                  <a:pt x="2417" y="593"/>
                </a:lnTo>
                <a:lnTo>
                  <a:pt x="2415" y="596"/>
                </a:lnTo>
                <a:lnTo>
                  <a:pt x="2412" y="598"/>
                </a:lnTo>
                <a:lnTo>
                  <a:pt x="2408" y="599"/>
                </a:lnTo>
                <a:lnTo>
                  <a:pt x="2403" y="599"/>
                </a:lnTo>
                <a:lnTo>
                  <a:pt x="2400" y="598"/>
                </a:lnTo>
                <a:lnTo>
                  <a:pt x="2398" y="597"/>
                </a:lnTo>
                <a:lnTo>
                  <a:pt x="2396" y="596"/>
                </a:lnTo>
                <a:lnTo>
                  <a:pt x="2395" y="594"/>
                </a:lnTo>
                <a:lnTo>
                  <a:pt x="2394" y="591"/>
                </a:lnTo>
                <a:lnTo>
                  <a:pt x="2393" y="589"/>
                </a:lnTo>
                <a:lnTo>
                  <a:pt x="2393" y="584"/>
                </a:lnTo>
                <a:lnTo>
                  <a:pt x="2394" y="580"/>
                </a:lnTo>
                <a:lnTo>
                  <a:pt x="2397" y="577"/>
                </a:lnTo>
                <a:lnTo>
                  <a:pt x="2400" y="575"/>
                </a:lnTo>
                <a:lnTo>
                  <a:pt x="2403" y="574"/>
                </a:lnTo>
                <a:close/>
                <a:moveTo>
                  <a:pt x="1214" y="761"/>
                </a:moveTo>
                <a:lnTo>
                  <a:pt x="1218" y="760"/>
                </a:lnTo>
                <a:lnTo>
                  <a:pt x="1221" y="761"/>
                </a:lnTo>
                <a:lnTo>
                  <a:pt x="1224" y="763"/>
                </a:lnTo>
                <a:lnTo>
                  <a:pt x="1227" y="765"/>
                </a:lnTo>
                <a:lnTo>
                  <a:pt x="1228" y="768"/>
                </a:lnTo>
                <a:lnTo>
                  <a:pt x="1229" y="770"/>
                </a:lnTo>
                <a:lnTo>
                  <a:pt x="1229" y="773"/>
                </a:lnTo>
                <a:lnTo>
                  <a:pt x="1229" y="775"/>
                </a:lnTo>
                <a:lnTo>
                  <a:pt x="1229" y="778"/>
                </a:lnTo>
                <a:lnTo>
                  <a:pt x="1228" y="780"/>
                </a:lnTo>
                <a:lnTo>
                  <a:pt x="1226" y="782"/>
                </a:lnTo>
                <a:lnTo>
                  <a:pt x="1224" y="784"/>
                </a:lnTo>
                <a:lnTo>
                  <a:pt x="1223" y="785"/>
                </a:lnTo>
                <a:lnTo>
                  <a:pt x="1222" y="785"/>
                </a:lnTo>
                <a:lnTo>
                  <a:pt x="1219" y="786"/>
                </a:lnTo>
                <a:lnTo>
                  <a:pt x="1215" y="786"/>
                </a:lnTo>
                <a:lnTo>
                  <a:pt x="1212" y="786"/>
                </a:lnTo>
                <a:lnTo>
                  <a:pt x="1209" y="784"/>
                </a:lnTo>
                <a:lnTo>
                  <a:pt x="1206" y="781"/>
                </a:lnTo>
                <a:lnTo>
                  <a:pt x="1205" y="779"/>
                </a:lnTo>
                <a:lnTo>
                  <a:pt x="1204" y="777"/>
                </a:lnTo>
                <a:lnTo>
                  <a:pt x="1203" y="774"/>
                </a:lnTo>
                <a:lnTo>
                  <a:pt x="1203" y="772"/>
                </a:lnTo>
                <a:lnTo>
                  <a:pt x="1204" y="769"/>
                </a:lnTo>
                <a:lnTo>
                  <a:pt x="1205" y="767"/>
                </a:lnTo>
                <a:lnTo>
                  <a:pt x="1207" y="765"/>
                </a:lnTo>
                <a:lnTo>
                  <a:pt x="1208" y="763"/>
                </a:lnTo>
                <a:lnTo>
                  <a:pt x="1210" y="762"/>
                </a:lnTo>
                <a:lnTo>
                  <a:pt x="1211" y="761"/>
                </a:lnTo>
                <a:lnTo>
                  <a:pt x="1214" y="761"/>
                </a:lnTo>
                <a:close/>
                <a:moveTo>
                  <a:pt x="2339" y="559"/>
                </a:moveTo>
                <a:lnTo>
                  <a:pt x="2344" y="560"/>
                </a:lnTo>
                <a:lnTo>
                  <a:pt x="2346" y="560"/>
                </a:lnTo>
                <a:lnTo>
                  <a:pt x="2349" y="562"/>
                </a:lnTo>
                <a:lnTo>
                  <a:pt x="2351" y="563"/>
                </a:lnTo>
                <a:lnTo>
                  <a:pt x="2352" y="565"/>
                </a:lnTo>
                <a:lnTo>
                  <a:pt x="2353" y="567"/>
                </a:lnTo>
                <a:lnTo>
                  <a:pt x="2354" y="570"/>
                </a:lnTo>
                <a:lnTo>
                  <a:pt x="2354" y="575"/>
                </a:lnTo>
                <a:lnTo>
                  <a:pt x="2352" y="579"/>
                </a:lnTo>
                <a:lnTo>
                  <a:pt x="2350" y="582"/>
                </a:lnTo>
                <a:lnTo>
                  <a:pt x="2347" y="584"/>
                </a:lnTo>
                <a:lnTo>
                  <a:pt x="2343" y="585"/>
                </a:lnTo>
                <a:lnTo>
                  <a:pt x="2338" y="585"/>
                </a:lnTo>
                <a:lnTo>
                  <a:pt x="2336" y="584"/>
                </a:lnTo>
                <a:lnTo>
                  <a:pt x="2334" y="583"/>
                </a:lnTo>
                <a:lnTo>
                  <a:pt x="2332" y="581"/>
                </a:lnTo>
                <a:lnTo>
                  <a:pt x="2330" y="579"/>
                </a:lnTo>
                <a:lnTo>
                  <a:pt x="2329" y="577"/>
                </a:lnTo>
                <a:lnTo>
                  <a:pt x="2328" y="575"/>
                </a:lnTo>
                <a:lnTo>
                  <a:pt x="2328" y="569"/>
                </a:lnTo>
                <a:lnTo>
                  <a:pt x="2330" y="566"/>
                </a:lnTo>
                <a:lnTo>
                  <a:pt x="2332" y="563"/>
                </a:lnTo>
                <a:lnTo>
                  <a:pt x="2335" y="561"/>
                </a:lnTo>
                <a:lnTo>
                  <a:pt x="2339" y="559"/>
                </a:lnTo>
                <a:close/>
                <a:moveTo>
                  <a:pt x="2274" y="545"/>
                </a:moveTo>
                <a:lnTo>
                  <a:pt x="2279" y="545"/>
                </a:lnTo>
                <a:lnTo>
                  <a:pt x="2282" y="546"/>
                </a:lnTo>
                <a:lnTo>
                  <a:pt x="2284" y="547"/>
                </a:lnTo>
                <a:lnTo>
                  <a:pt x="2286" y="549"/>
                </a:lnTo>
                <a:lnTo>
                  <a:pt x="2287" y="551"/>
                </a:lnTo>
                <a:lnTo>
                  <a:pt x="2289" y="553"/>
                </a:lnTo>
                <a:lnTo>
                  <a:pt x="2289" y="556"/>
                </a:lnTo>
                <a:lnTo>
                  <a:pt x="2289" y="561"/>
                </a:lnTo>
                <a:lnTo>
                  <a:pt x="2288" y="565"/>
                </a:lnTo>
                <a:lnTo>
                  <a:pt x="2285" y="568"/>
                </a:lnTo>
                <a:lnTo>
                  <a:pt x="2282" y="570"/>
                </a:lnTo>
                <a:lnTo>
                  <a:pt x="2279" y="571"/>
                </a:lnTo>
                <a:lnTo>
                  <a:pt x="2274" y="571"/>
                </a:lnTo>
                <a:lnTo>
                  <a:pt x="2271" y="570"/>
                </a:lnTo>
                <a:lnTo>
                  <a:pt x="2269" y="569"/>
                </a:lnTo>
                <a:lnTo>
                  <a:pt x="2267" y="567"/>
                </a:lnTo>
                <a:lnTo>
                  <a:pt x="2266" y="565"/>
                </a:lnTo>
                <a:lnTo>
                  <a:pt x="2264" y="563"/>
                </a:lnTo>
                <a:lnTo>
                  <a:pt x="2264" y="560"/>
                </a:lnTo>
                <a:lnTo>
                  <a:pt x="2264" y="555"/>
                </a:lnTo>
                <a:lnTo>
                  <a:pt x="2265" y="552"/>
                </a:lnTo>
                <a:lnTo>
                  <a:pt x="2268" y="549"/>
                </a:lnTo>
                <a:lnTo>
                  <a:pt x="2271" y="546"/>
                </a:lnTo>
                <a:lnTo>
                  <a:pt x="2274" y="545"/>
                </a:lnTo>
                <a:close/>
                <a:moveTo>
                  <a:pt x="1268" y="722"/>
                </a:moveTo>
                <a:lnTo>
                  <a:pt x="1271" y="721"/>
                </a:lnTo>
                <a:lnTo>
                  <a:pt x="1275" y="722"/>
                </a:lnTo>
                <a:lnTo>
                  <a:pt x="1278" y="724"/>
                </a:lnTo>
                <a:lnTo>
                  <a:pt x="1280" y="727"/>
                </a:lnTo>
                <a:lnTo>
                  <a:pt x="1282" y="729"/>
                </a:lnTo>
                <a:lnTo>
                  <a:pt x="1283" y="732"/>
                </a:lnTo>
                <a:lnTo>
                  <a:pt x="1283" y="737"/>
                </a:lnTo>
                <a:lnTo>
                  <a:pt x="1282" y="739"/>
                </a:lnTo>
                <a:lnTo>
                  <a:pt x="1281" y="741"/>
                </a:lnTo>
                <a:lnTo>
                  <a:pt x="1279" y="743"/>
                </a:lnTo>
                <a:lnTo>
                  <a:pt x="1277" y="745"/>
                </a:lnTo>
                <a:lnTo>
                  <a:pt x="1275" y="746"/>
                </a:lnTo>
                <a:lnTo>
                  <a:pt x="1272" y="747"/>
                </a:lnTo>
                <a:lnTo>
                  <a:pt x="1268" y="747"/>
                </a:lnTo>
                <a:lnTo>
                  <a:pt x="1265" y="746"/>
                </a:lnTo>
                <a:lnTo>
                  <a:pt x="1262" y="745"/>
                </a:lnTo>
                <a:lnTo>
                  <a:pt x="1259" y="742"/>
                </a:lnTo>
                <a:lnTo>
                  <a:pt x="1258" y="740"/>
                </a:lnTo>
                <a:lnTo>
                  <a:pt x="1257" y="737"/>
                </a:lnTo>
                <a:lnTo>
                  <a:pt x="1257" y="732"/>
                </a:lnTo>
                <a:lnTo>
                  <a:pt x="1258" y="730"/>
                </a:lnTo>
                <a:lnTo>
                  <a:pt x="1259" y="727"/>
                </a:lnTo>
                <a:lnTo>
                  <a:pt x="1260" y="725"/>
                </a:lnTo>
                <a:lnTo>
                  <a:pt x="1262" y="724"/>
                </a:lnTo>
                <a:lnTo>
                  <a:pt x="1265" y="722"/>
                </a:lnTo>
                <a:lnTo>
                  <a:pt x="1268" y="722"/>
                </a:lnTo>
                <a:close/>
                <a:moveTo>
                  <a:pt x="2210" y="531"/>
                </a:moveTo>
                <a:lnTo>
                  <a:pt x="2215" y="531"/>
                </a:lnTo>
                <a:lnTo>
                  <a:pt x="2217" y="532"/>
                </a:lnTo>
                <a:lnTo>
                  <a:pt x="2219" y="533"/>
                </a:lnTo>
                <a:lnTo>
                  <a:pt x="2221" y="535"/>
                </a:lnTo>
                <a:lnTo>
                  <a:pt x="2223" y="537"/>
                </a:lnTo>
                <a:lnTo>
                  <a:pt x="2224" y="539"/>
                </a:lnTo>
                <a:lnTo>
                  <a:pt x="2225" y="542"/>
                </a:lnTo>
                <a:lnTo>
                  <a:pt x="2225" y="547"/>
                </a:lnTo>
                <a:lnTo>
                  <a:pt x="2223" y="551"/>
                </a:lnTo>
                <a:lnTo>
                  <a:pt x="2221" y="554"/>
                </a:lnTo>
                <a:lnTo>
                  <a:pt x="2218" y="556"/>
                </a:lnTo>
                <a:lnTo>
                  <a:pt x="2214" y="557"/>
                </a:lnTo>
                <a:lnTo>
                  <a:pt x="2208" y="557"/>
                </a:lnTo>
                <a:lnTo>
                  <a:pt x="2206" y="556"/>
                </a:lnTo>
                <a:lnTo>
                  <a:pt x="2203" y="555"/>
                </a:lnTo>
                <a:lnTo>
                  <a:pt x="2201" y="553"/>
                </a:lnTo>
                <a:lnTo>
                  <a:pt x="2200" y="551"/>
                </a:lnTo>
                <a:lnTo>
                  <a:pt x="2199" y="549"/>
                </a:lnTo>
                <a:lnTo>
                  <a:pt x="2198" y="546"/>
                </a:lnTo>
                <a:lnTo>
                  <a:pt x="2198" y="541"/>
                </a:lnTo>
                <a:lnTo>
                  <a:pt x="2200" y="538"/>
                </a:lnTo>
                <a:lnTo>
                  <a:pt x="2202" y="535"/>
                </a:lnTo>
                <a:lnTo>
                  <a:pt x="2205" y="532"/>
                </a:lnTo>
                <a:lnTo>
                  <a:pt x="2210" y="531"/>
                </a:lnTo>
                <a:close/>
                <a:moveTo>
                  <a:pt x="1323" y="685"/>
                </a:moveTo>
                <a:lnTo>
                  <a:pt x="1326" y="685"/>
                </a:lnTo>
                <a:lnTo>
                  <a:pt x="1330" y="686"/>
                </a:lnTo>
                <a:lnTo>
                  <a:pt x="1333" y="688"/>
                </a:lnTo>
                <a:lnTo>
                  <a:pt x="1335" y="689"/>
                </a:lnTo>
                <a:lnTo>
                  <a:pt x="1336" y="691"/>
                </a:lnTo>
                <a:lnTo>
                  <a:pt x="1337" y="693"/>
                </a:lnTo>
                <a:lnTo>
                  <a:pt x="1338" y="696"/>
                </a:lnTo>
                <a:lnTo>
                  <a:pt x="1338" y="698"/>
                </a:lnTo>
                <a:lnTo>
                  <a:pt x="1338" y="701"/>
                </a:lnTo>
                <a:lnTo>
                  <a:pt x="1337" y="703"/>
                </a:lnTo>
                <a:lnTo>
                  <a:pt x="1336" y="705"/>
                </a:lnTo>
                <a:lnTo>
                  <a:pt x="1334" y="707"/>
                </a:lnTo>
                <a:lnTo>
                  <a:pt x="1332" y="709"/>
                </a:lnTo>
                <a:lnTo>
                  <a:pt x="1330" y="710"/>
                </a:lnTo>
                <a:lnTo>
                  <a:pt x="1327" y="711"/>
                </a:lnTo>
                <a:lnTo>
                  <a:pt x="1323" y="711"/>
                </a:lnTo>
                <a:lnTo>
                  <a:pt x="1320" y="710"/>
                </a:lnTo>
                <a:lnTo>
                  <a:pt x="1316" y="708"/>
                </a:lnTo>
                <a:lnTo>
                  <a:pt x="1315" y="706"/>
                </a:lnTo>
                <a:lnTo>
                  <a:pt x="1314" y="705"/>
                </a:lnTo>
                <a:lnTo>
                  <a:pt x="1313" y="702"/>
                </a:lnTo>
                <a:lnTo>
                  <a:pt x="1312" y="700"/>
                </a:lnTo>
                <a:lnTo>
                  <a:pt x="1312" y="697"/>
                </a:lnTo>
                <a:lnTo>
                  <a:pt x="1312" y="695"/>
                </a:lnTo>
                <a:lnTo>
                  <a:pt x="1313" y="693"/>
                </a:lnTo>
                <a:lnTo>
                  <a:pt x="1314" y="690"/>
                </a:lnTo>
                <a:lnTo>
                  <a:pt x="1316" y="688"/>
                </a:lnTo>
                <a:lnTo>
                  <a:pt x="1318" y="687"/>
                </a:lnTo>
                <a:lnTo>
                  <a:pt x="1320" y="686"/>
                </a:lnTo>
                <a:lnTo>
                  <a:pt x="1323" y="685"/>
                </a:lnTo>
                <a:close/>
                <a:moveTo>
                  <a:pt x="2144" y="517"/>
                </a:moveTo>
                <a:lnTo>
                  <a:pt x="2149" y="517"/>
                </a:lnTo>
                <a:lnTo>
                  <a:pt x="2151" y="518"/>
                </a:lnTo>
                <a:lnTo>
                  <a:pt x="2154" y="519"/>
                </a:lnTo>
                <a:lnTo>
                  <a:pt x="2155" y="521"/>
                </a:lnTo>
                <a:lnTo>
                  <a:pt x="2157" y="523"/>
                </a:lnTo>
                <a:lnTo>
                  <a:pt x="2158" y="525"/>
                </a:lnTo>
                <a:lnTo>
                  <a:pt x="2159" y="528"/>
                </a:lnTo>
                <a:lnTo>
                  <a:pt x="2159" y="533"/>
                </a:lnTo>
                <a:lnTo>
                  <a:pt x="2158" y="537"/>
                </a:lnTo>
                <a:lnTo>
                  <a:pt x="2155" y="540"/>
                </a:lnTo>
                <a:lnTo>
                  <a:pt x="2152" y="542"/>
                </a:lnTo>
                <a:lnTo>
                  <a:pt x="2148" y="543"/>
                </a:lnTo>
                <a:lnTo>
                  <a:pt x="2144" y="543"/>
                </a:lnTo>
                <a:lnTo>
                  <a:pt x="2141" y="542"/>
                </a:lnTo>
                <a:lnTo>
                  <a:pt x="2139" y="541"/>
                </a:lnTo>
                <a:lnTo>
                  <a:pt x="2137" y="539"/>
                </a:lnTo>
                <a:lnTo>
                  <a:pt x="2135" y="537"/>
                </a:lnTo>
                <a:lnTo>
                  <a:pt x="2134" y="535"/>
                </a:lnTo>
                <a:lnTo>
                  <a:pt x="2133" y="533"/>
                </a:lnTo>
                <a:lnTo>
                  <a:pt x="2133" y="528"/>
                </a:lnTo>
                <a:lnTo>
                  <a:pt x="2135" y="524"/>
                </a:lnTo>
                <a:lnTo>
                  <a:pt x="2137" y="521"/>
                </a:lnTo>
                <a:lnTo>
                  <a:pt x="2140" y="519"/>
                </a:lnTo>
                <a:lnTo>
                  <a:pt x="2144" y="517"/>
                </a:lnTo>
                <a:close/>
                <a:moveTo>
                  <a:pt x="1379" y="651"/>
                </a:moveTo>
                <a:lnTo>
                  <a:pt x="1383" y="651"/>
                </a:lnTo>
                <a:lnTo>
                  <a:pt x="1387" y="652"/>
                </a:lnTo>
                <a:lnTo>
                  <a:pt x="1389" y="653"/>
                </a:lnTo>
                <a:lnTo>
                  <a:pt x="1390" y="654"/>
                </a:lnTo>
                <a:lnTo>
                  <a:pt x="1393" y="657"/>
                </a:lnTo>
                <a:lnTo>
                  <a:pt x="1394" y="660"/>
                </a:lnTo>
                <a:lnTo>
                  <a:pt x="1395" y="662"/>
                </a:lnTo>
                <a:lnTo>
                  <a:pt x="1395" y="665"/>
                </a:lnTo>
                <a:lnTo>
                  <a:pt x="1394" y="667"/>
                </a:lnTo>
                <a:lnTo>
                  <a:pt x="1393" y="670"/>
                </a:lnTo>
                <a:lnTo>
                  <a:pt x="1392" y="672"/>
                </a:lnTo>
                <a:lnTo>
                  <a:pt x="1390" y="674"/>
                </a:lnTo>
                <a:lnTo>
                  <a:pt x="1388" y="675"/>
                </a:lnTo>
                <a:lnTo>
                  <a:pt x="1386" y="676"/>
                </a:lnTo>
                <a:lnTo>
                  <a:pt x="1384" y="677"/>
                </a:lnTo>
                <a:lnTo>
                  <a:pt x="1380" y="677"/>
                </a:lnTo>
                <a:lnTo>
                  <a:pt x="1376" y="676"/>
                </a:lnTo>
                <a:lnTo>
                  <a:pt x="1374" y="675"/>
                </a:lnTo>
                <a:lnTo>
                  <a:pt x="1373" y="673"/>
                </a:lnTo>
                <a:lnTo>
                  <a:pt x="1370" y="670"/>
                </a:lnTo>
                <a:lnTo>
                  <a:pt x="1369" y="668"/>
                </a:lnTo>
                <a:lnTo>
                  <a:pt x="1369" y="665"/>
                </a:lnTo>
                <a:lnTo>
                  <a:pt x="1369" y="663"/>
                </a:lnTo>
                <a:lnTo>
                  <a:pt x="1369" y="660"/>
                </a:lnTo>
                <a:lnTo>
                  <a:pt x="1370" y="658"/>
                </a:lnTo>
                <a:lnTo>
                  <a:pt x="1371" y="656"/>
                </a:lnTo>
                <a:lnTo>
                  <a:pt x="1373" y="654"/>
                </a:lnTo>
                <a:lnTo>
                  <a:pt x="1375" y="652"/>
                </a:lnTo>
                <a:lnTo>
                  <a:pt x="1377" y="652"/>
                </a:lnTo>
                <a:lnTo>
                  <a:pt x="1379" y="651"/>
                </a:lnTo>
                <a:close/>
                <a:moveTo>
                  <a:pt x="1438" y="620"/>
                </a:moveTo>
                <a:lnTo>
                  <a:pt x="1442" y="620"/>
                </a:lnTo>
                <a:lnTo>
                  <a:pt x="1444" y="620"/>
                </a:lnTo>
                <a:lnTo>
                  <a:pt x="1446" y="621"/>
                </a:lnTo>
                <a:lnTo>
                  <a:pt x="1447" y="622"/>
                </a:lnTo>
                <a:lnTo>
                  <a:pt x="1449" y="623"/>
                </a:lnTo>
                <a:lnTo>
                  <a:pt x="1452" y="627"/>
                </a:lnTo>
                <a:lnTo>
                  <a:pt x="1452" y="629"/>
                </a:lnTo>
                <a:lnTo>
                  <a:pt x="1453" y="632"/>
                </a:lnTo>
                <a:lnTo>
                  <a:pt x="1453" y="634"/>
                </a:lnTo>
                <a:lnTo>
                  <a:pt x="1452" y="637"/>
                </a:lnTo>
                <a:lnTo>
                  <a:pt x="1451" y="639"/>
                </a:lnTo>
                <a:lnTo>
                  <a:pt x="1450" y="641"/>
                </a:lnTo>
                <a:lnTo>
                  <a:pt x="1448" y="643"/>
                </a:lnTo>
                <a:lnTo>
                  <a:pt x="1446" y="644"/>
                </a:lnTo>
                <a:lnTo>
                  <a:pt x="1442" y="645"/>
                </a:lnTo>
                <a:lnTo>
                  <a:pt x="1438" y="645"/>
                </a:lnTo>
                <a:lnTo>
                  <a:pt x="1436" y="645"/>
                </a:lnTo>
                <a:lnTo>
                  <a:pt x="1434" y="644"/>
                </a:lnTo>
                <a:lnTo>
                  <a:pt x="1432" y="643"/>
                </a:lnTo>
                <a:lnTo>
                  <a:pt x="1431" y="642"/>
                </a:lnTo>
                <a:lnTo>
                  <a:pt x="1428" y="638"/>
                </a:lnTo>
                <a:lnTo>
                  <a:pt x="1427" y="636"/>
                </a:lnTo>
                <a:lnTo>
                  <a:pt x="1427" y="633"/>
                </a:lnTo>
                <a:lnTo>
                  <a:pt x="1427" y="631"/>
                </a:lnTo>
                <a:lnTo>
                  <a:pt x="1428" y="629"/>
                </a:lnTo>
                <a:lnTo>
                  <a:pt x="1429" y="626"/>
                </a:lnTo>
                <a:lnTo>
                  <a:pt x="1430" y="624"/>
                </a:lnTo>
                <a:lnTo>
                  <a:pt x="1432" y="622"/>
                </a:lnTo>
                <a:lnTo>
                  <a:pt x="1434" y="621"/>
                </a:lnTo>
                <a:lnTo>
                  <a:pt x="1438" y="620"/>
                </a:lnTo>
                <a:close/>
                <a:moveTo>
                  <a:pt x="2079" y="506"/>
                </a:moveTo>
                <a:lnTo>
                  <a:pt x="2083" y="506"/>
                </a:lnTo>
                <a:lnTo>
                  <a:pt x="2085" y="507"/>
                </a:lnTo>
                <a:lnTo>
                  <a:pt x="2088" y="508"/>
                </a:lnTo>
                <a:lnTo>
                  <a:pt x="2090" y="509"/>
                </a:lnTo>
                <a:lnTo>
                  <a:pt x="2091" y="511"/>
                </a:lnTo>
                <a:lnTo>
                  <a:pt x="2093" y="513"/>
                </a:lnTo>
                <a:lnTo>
                  <a:pt x="2094" y="515"/>
                </a:lnTo>
                <a:lnTo>
                  <a:pt x="2094" y="518"/>
                </a:lnTo>
                <a:lnTo>
                  <a:pt x="2094" y="521"/>
                </a:lnTo>
                <a:lnTo>
                  <a:pt x="2093" y="525"/>
                </a:lnTo>
                <a:lnTo>
                  <a:pt x="2092" y="526"/>
                </a:lnTo>
                <a:lnTo>
                  <a:pt x="2090" y="528"/>
                </a:lnTo>
                <a:lnTo>
                  <a:pt x="2087" y="530"/>
                </a:lnTo>
                <a:lnTo>
                  <a:pt x="2085" y="531"/>
                </a:lnTo>
                <a:lnTo>
                  <a:pt x="2083" y="532"/>
                </a:lnTo>
                <a:lnTo>
                  <a:pt x="2079" y="532"/>
                </a:lnTo>
                <a:lnTo>
                  <a:pt x="2077" y="531"/>
                </a:lnTo>
                <a:lnTo>
                  <a:pt x="2074" y="530"/>
                </a:lnTo>
                <a:lnTo>
                  <a:pt x="2072" y="528"/>
                </a:lnTo>
                <a:lnTo>
                  <a:pt x="2071" y="527"/>
                </a:lnTo>
                <a:lnTo>
                  <a:pt x="2069" y="524"/>
                </a:lnTo>
                <a:lnTo>
                  <a:pt x="2068" y="522"/>
                </a:lnTo>
                <a:lnTo>
                  <a:pt x="2068" y="520"/>
                </a:lnTo>
                <a:lnTo>
                  <a:pt x="2068" y="517"/>
                </a:lnTo>
                <a:lnTo>
                  <a:pt x="2069" y="513"/>
                </a:lnTo>
                <a:lnTo>
                  <a:pt x="2070" y="511"/>
                </a:lnTo>
                <a:lnTo>
                  <a:pt x="2072" y="510"/>
                </a:lnTo>
                <a:lnTo>
                  <a:pt x="2075" y="507"/>
                </a:lnTo>
                <a:lnTo>
                  <a:pt x="2077" y="506"/>
                </a:lnTo>
                <a:lnTo>
                  <a:pt x="2079" y="506"/>
                </a:lnTo>
                <a:close/>
                <a:moveTo>
                  <a:pt x="1497" y="592"/>
                </a:moveTo>
                <a:lnTo>
                  <a:pt x="1502" y="591"/>
                </a:lnTo>
                <a:lnTo>
                  <a:pt x="1506" y="593"/>
                </a:lnTo>
                <a:lnTo>
                  <a:pt x="1509" y="595"/>
                </a:lnTo>
                <a:lnTo>
                  <a:pt x="1512" y="599"/>
                </a:lnTo>
                <a:lnTo>
                  <a:pt x="1512" y="602"/>
                </a:lnTo>
                <a:lnTo>
                  <a:pt x="1513" y="604"/>
                </a:lnTo>
                <a:lnTo>
                  <a:pt x="1513" y="607"/>
                </a:lnTo>
                <a:lnTo>
                  <a:pt x="1512" y="609"/>
                </a:lnTo>
                <a:lnTo>
                  <a:pt x="1511" y="611"/>
                </a:lnTo>
                <a:lnTo>
                  <a:pt x="1509" y="613"/>
                </a:lnTo>
                <a:lnTo>
                  <a:pt x="1507" y="615"/>
                </a:lnTo>
                <a:lnTo>
                  <a:pt x="1505" y="616"/>
                </a:lnTo>
                <a:lnTo>
                  <a:pt x="1502" y="617"/>
                </a:lnTo>
                <a:lnTo>
                  <a:pt x="1498" y="617"/>
                </a:lnTo>
                <a:lnTo>
                  <a:pt x="1494" y="616"/>
                </a:lnTo>
                <a:lnTo>
                  <a:pt x="1490" y="613"/>
                </a:lnTo>
                <a:lnTo>
                  <a:pt x="1488" y="610"/>
                </a:lnTo>
                <a:lnTo>
                  <a:pt x="1487" y="607"/>
                </a:lnTo>
                <a:lnTo>
                  <a:pt x="1487" y="605"/>
                </a:lnTo>
                <a:lnTo>
                  <a:pt x="1487" y="602"/>
                </a:lnTo>
                <a:lnTo>
                  <a:pt x="1488" y="600"/>
                </a:lnTo>
                <a:lnTo>
                  <a:pt x="1489" y="597"/>
                </a:lnTo>
                <a:lnTo>
                  <a:pt x="1490" y="595"/>
                </a:lnTo>
                <a:lnTo>
                  <a:pt x="1492" y="594"/>
                </a:lnTo>
                <a:lnTo>
                  <a:pt x="1494" y="592"/>
                </a:lnTo>
                <a:lnTo>
                  <a:pt x="1497" y="592"/>
                </a:lnTo>
                <a:close/>
                <a:moveTo>
                  <a:pt x="2013" y="499"/>
                </a:moveTo>
                <a:lnTo>
                  <a:pt x="2016" y="499"/>
                </a:lnTo>
                <a:lnTo>
                  <a:pt x="2019" y="499"/>
                </a:lnTo>
                <a:lnTo>
                  <a:pt x="2021" y="500"/>
                </a:lnTo>
                <a:lnTo>
                  <a:pt x="2023" y="501"/>
                </a:lnTo>
                <a:lnTo>
                  <a:pt x="2025" y="503"/>
                </a:lnTo>
                <a:lnTo>
                  <a:pt x="2027" y="505"/>
                </a:lnTo>
                <a:lnTo>
                  <a:pt x="2028" y="507"/>
                </a:lnTo>
                <a:lnTo>
                  <a:pt x="2028" y="510"/>
                </a:lnTo>
                <a:lnTo>
                  <a:pt x="2028" y="513"/>
                </a:lnTo>
                <a:lnTo>
                  <a:pt x="2028" y="515"/>
                </a:lnTo>
                <a:lnTo>
                  <a:pt x="2027" y="517"/>
                </a:lnTo>
                <a:lnTo>
                  <a:pt x="2026" y="519"/>
                </a:lnTo>
                <a:lnTo>
                  <a:pt x="2025" y="520"/>
                </a:lnTo>
                <a:lnTo>
                  <a:pt x="2023" y="522"/>
                </a:lnTo>
                <a:lnTo>
                  <a:pt x="2022" y="523"/>
                </a:lnTo>
                <a:lnTo>
                  <a:pt x="2020" y="524"/>
                </a:lnTo>
                <a:lnTo>
                  <a:pt x="2018" y="524"/>
                </a:lnTo>
                <a:lnTo>
                  <a:pt x="2014" y="525"/>
                </a:lnTo>
                <a:lnTo>
                  <a:pt x="2012" y="524"/>
                </a:lnTo>
                <a:lnTo>
                  <a:pt x="2009" y="523"/>
                </a:lnTo>
                <a:lnTo>
                  <a:pt x="2007" y="522"/>
                </a:lnTo>
                <a:lnTo>
                  <a:pt x="2005" y="520"/>
                </a:lnTo>
                <a:lnTo>
                  <a:pt x="2004" y="518"/>
                </a:lnTo>
                <a:lnTo>
                  <a:pt x="2003" y="516"/>
                </a:lnTo>
                <a:lnTo>
                  <a:pt x="2002" y="513"/>
                </a:lnTo>
                <a:lnTo>
                  <a:pt x="2002" y="511"/>
                </a:lnTo>
                <a:lnTo>
                  <a:pt x="2003" y="508"/>
                </a:lnTo>
                <a:lnTo>
                  <a:pt x="2003" y="506"/>
                </a:lnTo>
                <a:lnTo>
                  <a:pt x="2004" y="505"/>
                </a:lnTo>
                <a:lnTo>
                  <a:pt x="2006" y="503"/>
                </a:lnTo>
                <a:lnTo>
                  <a:pt x="2007" y="501"/>
                </a:lnTo>
                <a:lnTo>
                  <a:pt x="2009" y="500"/>
                </a:lnTo>
                <a:lnTo>
                  <a:pt x="2011" y="499"/>
                </a:lnTo>
                <a:lnTo>
                  <a:pt x="2013" y="499"/>
                </a:lnTo>
                <a:close/>
                <a:moveTo>
                  <a:pt x="1559" y="567"/>
                </a:moveTo>
                <a:lnTo>
                  <a:pt x="1563" y="567"/>
                </a:lnTo>
                <a:lnTo>
                  <a:pt x="1567" y="568"/>
                </a:lnTo>
                <a:lnTo>
                  <a:pt x="1571" y="571"/>
                </a:lnTo>
                <a:lnTo>
                  <a:pt x="1572" y="573"/>
                </a:lnTo>
                <a:lnTo>
                  <a:pt x="1573" y="575"/>
                </a:lnTo>
                <a:lnTo>
                  <a:pt x="1574" y="577"/>
                </a:lnTo>
                <a:lnTo>
                  <a:pt x="1574" y="580"/>
                </a:lnTo>
                <a:lnTo>
                  <a:pt x="1574" y="582"/>
                </a:lnTo>
                <a:lnTo>
                  <a:pt x="1573" y="585"/>
                </a:lnTo>
                <a:lnTo>
                  <a:pt x="1572" y="587"/>
                </a:lnTo>
                <a:lnTo>
                  <a:pt x="1570" y="589"/>
                </a:lnTo>
                <a:lnTo>
                  <a:pt x="1568" y="590"/>
                </a:lnTo>
                <a:lnTo>
                  <a:pt x="1565" y="592"/>
                </a:lnTo>
                <a:lnTo>
                  <a:pt x="1563" y="592"/>
                </a:lnTo>
                <a:lnTo>
                  <a:pt x="1559" y="592"/>
                </a:lnTo>
                <a:lnTo>
                  <a:pt x="1555" y="591"/>
                </a:lnTo>
                <a:lnTo>
                  <a:pt x="1551" y="588"/>
                </a:lnTo>
                <a:lnTo>
                  <a:pt x="1550" y="586"/>
                </a:lnTo>
                <a:lnTo>
                  <a:pt x="1549" y="584"/>
                </a:lnTo>
                <a:lnTo>
                  <a:pt x="1548" y="581"/>
                </a:lnTo>
                <a:lnTo>
                  <a:pt x="1548" y="579"/>
                </a:lnTo>
                <a:lnTo>
                  <a:pt x="1548" y="576"/>
                </a:lnTo>
                <a:lnTo>
                  <a:pt x="1549" y="574"/>
                </a:lnTo>
                <a:lnTo>
                  <a:pt x="1550" y="572"/>
                </a:lnTo>
                <a:lnTo>
                  <a:pt x="1552" y="570"/>
                </a:lnTo>
                <a:lnTo>
                  <a:pt x="1554" y="568"/>
                </a:lnTo>
                <a:lnTo>
                  <a:pt x="1556" y="567"/>
                </a:lnTo>
                <a:lnTo>
                  <a:pt x="1559" y="567"/>
                </a:lnTo>
                <a:close/>
                <a:moveTo>
                  <a:pt x="1947" y="496"/>
                </a:moveTo>
                <a:lnTo>
                  <a:pt x="1949" y="496"/>
                </a:lnTo>
                <a:lnTo>
                  <a:pt x="1952" y="496"/>
                </a:lnTo>
                <a:lnTo>
                  <a:pt x="1954" y="497"/>
                </a:lnTo>
                <a:lnTo>
                  <a:pt x="1958" y="500"/>
                </a:lnTo>
                <a:lnTo>
                  <a:pt x="1960" y="502"/>
                </a:lnTo>
                <a:lnTo>
                  <a:pt x="1961" y="504"/>
                </a:lnTo>
                <a:lnTo>
                  <a:pt x="1962" y="506"/>
                </a:lnTo>
                <a:lnTo>
                  <a:pt x="1962" y="509"/>
                </a:lnTo>
                <a:lnTo>
                  <a:pt x="1961" y="513"/>
                </a:lnTo>
                <a:lnTo>
                  <a:pt x="1960" y="515"/>
                </a:lnTo>
                <a:lnTo>
                  <a:pt x="1959" y="517"/>
                </a:lnTo>
                <a:lnTo>
                  <a:pt x="1957" y="519"/>
                </a:lnTo>
                <a:lnTo>
                  <a:pt x="1956" y="520"/>
                </a:lnTo>
                <a:lnTo>
                  <a:pt x="1954" y="521"/>
                </a:lnTo>
                <a:lnTo>
                  <a:pt x="1951" y="522"/>
                </a:lnTo>
                <a:lnTo>
                  <a:pt x="1949" y="522"/>
                </a:lnTo>
                <a:lnTo>
                  <a:pt x="1946" y="521"/>
                </a:lnTo>
                <a:lnTo>
                  <a:pt x="1944" y="521"/>
                </a:lnTo>
                <a:lnTo>
                  <a:pt x="1940" y="518"/>
                </a:lnTo>
                <a:lnTo>
                  <a:pt x="1938" y="516"/>
                </a:lnTo>
                <a:lnTo>
                  <a:pt x="1937" y="514"/>
                </a:lnTo>
                <a:lnTo>
                  <a:pt x="1936" y="511"/>
                </a:lnTo>
                <a:lnTo>
                  <a:pt x="1936" y="509"/>
                </a:lnTo>
                <a:lnTo>
                  <a:pt x="1937" y="504"/>
                </a:lnTo>
                <a:lnTo>
                  <a:pt x="1938" y="502"/>
                </a:lnTo>
                <a:lnTo>
                  <a:pt x="1939" y="500"/>
                </a:lnTo>
                <a:lnTo>
                  <a:pt x="1941" y="499"/>
                </a:lnTo>
                <a:lnTo>
                  <a:pt x="1943" y="497"/>
                </a:lnTo>
                <a:lnTo>
                  <a:pt x="1945" y="497"/>
                </a:lnTo>
                <a:lnTo>
                  <a:pt x="1947" y="496"/>
                </a:lnTo>
                <a:close/>
                <a:moveTo>
                  <a:pt x="1621" y="545"/>
                </a:moveTo>
                <a:lnTo>
                  <a:pt x="1626" y="545"/>
                </a:lnTo>
                <a:lnTo>
                  <a:pt x="1628" y="546"/>
                </a:lnTo>
                <a:lnTo>
                  <a:pt x="1630" y="547"/>
                </a:lnTo>
                <a:lnTo>
                  <a:pt x="1632" y="548"/>
                </a:lnTo>
                <a:lnTo>
                  <a:pt x="1634" y="550"/>
                </a:lnTo>
                <a:lnTo>
                  <a:pt x="1635" y="552"/>
                </a:lnTo>
                <a:lnTo>
                  <a:pt x="1636" y="554"/>
                </a:lnTo>
                <a:lnTo>
                  <a:pt x="1636" y="556"/>
                </a:lnTo>
                <a:lnTo>
                  <a:pt x="1636" y="559"/>
                </a:lnTo>
                <a:lnTo>
                  <a:pt x="1636" y="562"/>
                </a:lnTo>
                <a:lnTo>
                  <a:pt x="1635" y="564"/>
                </a:lnTo>
                <a:lnTo>
                  <a:pt x="1634" y="566"/>
                </a:lnTo>
                <a:lnTo>
                  <a:pt x="1632" y="568"/>
                </a:lnTo>
                <a:lnTo>
                  <a:pt x="1630" y="569"/>
                </a:lnTo>
                <a:lnTo>
                  <a:pt x="1627" y="570"/>
                </a:lnTo>
                <a:lnTo>
                  <a:pt x="1626" y="571"/>
                </a:lnTo>
                <a:lnTo>
                  <a:pt x="1621" y="571"/>
                </a:lnTo>
                <a:lnTo>
                  <a:pt x="1619" y="570"/>
                </a:lnTo>
                <a:lnTo>
                  <a:pt x="1617" y="569"/>
                </a:lnTo>
                <a:lnTo>
                  <a:pt x="1615" y="568"/>
                </a:lnTo>
                <a:lnTo>
                  <a:pt x="1613" y="566"/>
                </a:lnTo>
                <a:lnTo>
                  <a:pt x="1612" y="564"/>
                </a:lnTo>
                <a:lnTo>
                  <a:pt x="1611" y="562"/>
                </a:lnTo>
                <a:lnTo>
                  <a:pt x="1610" y="559"/>
                </a:lnTo>
                <a:lnTo>
                  <a:pt x="1610" y="557"/>
                </a:lnTo>
                <a:lnTo>
                  <a:pt x="1611" y="554"/>
                </a:lnTo>
                <a:lnTo>
                  <a:pt x="1612" y="552"/>
                </a:lnTo>
                <a:lnTo>
                  <a:pt x="1613" y="550"/>
                </a:lnTo>
                <a:lnTo>
                  <a:pt x="1615" y="548"/>
                </a:lnTo>
                <a:lnTo>
                  <a:pt x="1617" y="546"/>
                </a:lnTo>
                <a:lnTo>
                  <a:pt x="1620" y="545"/>
                </a:lnTo>
                <a:lnTo>
                  <a:pt x="1621" y="545"/>
                </a:lnTo>
                <a:close/>
                <a:moveTo>
                  <a:pt x="1881" y="497"/>
                </a:moveTo>
                <a:lnTo>
                  <a:pt x="1882" y="497"/>
                </a:lnTo>
                <a:lnTo>
                  <a:pt x="1887" y="498"/>
                </a:lnTo>
                <a:lnTo>
                  <a:pt x="1890" y="499"/>
                </a:lnTo>
                <a:lnTo>
                  <a:pt x="1892" y="501"/>
                </a:lnTo>
                <a:lnTo>
                  <a:pt x="1893" y="502"/>
                </a:lnTo>
                <a:lnTo>
                  <a:pt x="1895" y="505"/>
                </a:lnTo>
                <a:lnTo>
                  <a:pt x="1896" y="507"/>
                </a:lnTo>
                <a:lnTo>
                  <a:pt x="1896" y="510"/>
                </a:lnTo>
                <a:lnTo>
                  <a:pt x="1895" y="514"/>
                </a:lnTo>
                <a:lnTo>
                  <a:pt x="1894" y="516"/>
                </a:lnTo>
                <a:lnTo>
                  <a:pt x="1893" y="518"/>
                </a:lnTo>
                <a:lnTo>
                  <a:pt x="1892" y="520"/>
                </a:lnTo>
                <a:lnTo>
                  <a:pt x="1890" y="521"/>
                </a:lnTo>
                <a:lnTo>
                  <a:pt x="1885" y="523"/>
                </a:lnTo>
                <a:lnTo>
                  <a:pt x="1884" y="523"/>
                </a:lnTo>
                <a:lnTo>
                  <a:pt x="1879" y="522"/>
                </a:lnTo>
                <a:lnTo>
                  <a:pt x="1876" y="521"/>
                </a:lnTo>
                <a:lnTo>
                  <a:pt x="1874" y="520"/>
                </a:lnTo>
                <a:lnTo>
                  <a:pt x="1873" y="518"/>
                </a:lnTo>
                <a:lnTo>
                  <a:pt x="1871" y="516"/>
                </a:lnTo>
                <a:lnTo>
                  <a:pt x="1870" y="514"/>
                </a:lnTo>
                <a:lnTo>
                  <a:pt x="1870" y="511"/>
                </a:lnTo>
                <a:lnTo>
                  <a:pt x="1871" y="506"/>
                </a:lnTo>
                <a:lnTo>
                  <a:pt x="1872" y="504"/>
                </a:lnTo>
                <a:lnTo>
                  <a:pt x="1873" y="502"/>
                </a:lnTo>
                <a:lnTo>
                  <a:pt x="1874" y="500"/>
                </a:lnTo>
                <a:lnTo>
                  <a:pt x="1876" y="499"/>
                </a:lnTo>
                <a:lnTo>
                  <a:pt x="1881" y="497"/>
                </a:lnTo>
                <a:close/>
                <a:moveTo>
                  <a:pt x="1685" y="527"/>
                </a:moveTo>
                <a:lnTo>
                  <a:pt x="1690" y="527"/>
                </a:lnTo>
                <a:lnTo>
                  <a:pt x="1692" y="528"/>
                </a:lnTo>
                <a:lnTo>
                  <a:pt x="1694" y="529"/>
                </a:lnTo>
                <a:lnTo>
                  <a:pt x="1696" y="530"/>
                </a:lnTo>
                <a:lnTo>
                  <a:pt x="1698" y="532"/>
                </a:lnTo>
                <a:lnTo>
                  <a:pt x="1699" y="534"/>
                </a:lnTo>
                <a:lnTo>
                  <a:pt x="1699" y="536"/>
                </a:lnTo>
                <a:lnTo>
                  <a:pt x="1700" y="537"/>
                </a:lnTo>
                <a:lnTo>
                  <a:pt x="1700" y="539"/>
                </a:lnTo>
                <a:lnTo>
                  <a:pt x="1700" y="542"/>
                </a:lnTo>
                <a:lnTo>
                  <a:pt x="1699" y="544"/>
                </a:lnTo>
                <a:lnTo>
                  <a:pt x="1698" y="547"/>
                </a:lnTo>
                <a:lnTo>
                  <a:pt x="1697" y="549"/>
                </a:lnTo>
                <a:lnTo>
                  <a:pt x="1695" y="550"/>
                </a:lnTo>
                <a:lnTo>
                  <a:pt x="1693" y="552"/>
                </a:lnTo>
                <a:lnTo>
                  <a:pt x="1690" y="553"/>
                </a:lnTo>
                <a:lnTo>
                  <a:pt x="1685" y="553"/>
                </a:lnTo>
                <a:lnTo>
                  <a:pt x="1682" y="552"/>
                </a:lnTo>
                <a:lnTo>
                  <a:pt x="1680" y="551"/>
                </a:lnTo>
                <a:lnTo>
                  <a:pt x="1678" y="549"/>
                </a:lnTo>
                <a:lnTo>
                  <a:pt x="1677" y="548"/>
                </a:lnTo>
                <a:lnTo>
                  <a:pt x="1675" y="545"/>
                </a:lnTo>
                <a:lnTo>
                  <a:pt x="1675" y="544"/>
                </a:lnTo>
                <a:lnTo>
                  <a:pt x="1674" y="543"/>
                </a:lnTo>
                <a:lnTo>
                  <a:pt x="1674" y="540"/>
                </a:lnTo>
                <a:lnTo>
                  <a:pt x="1674" y="538"/>
                </a:lnTo>
                <a:lnTo>
                  <a:pt x="1675" y="535"/>
                </a:lnTo>
                <a:lnTo>
                  <a:pt x="1676" y="533"/>
                </a:lnTo>
                <a:lnTo>
                  <a:pt x="1677" y="531"/>
                </a:lnTo>
                <a:lnTo>
                  <a:pt x="1679" y="530"/>
                </a:lnTo>
                <a:lnTo>
                  <a:pt x="1681" y="528"/>
                </a:lnTo>
                <a:lnTo>
                  <a:pt x="1684" y="527"/>
                </a:lnTo>
                <a:lnTo>
                  <a:pt x="1685" y="527"/>
                </a:lnTo>
                <a:close/>
                <a:moveTo>
                  <a:pt x="1815" y="503"/>
                </a:moveTo>
                <a:lnTo>
                  <a:pt x="1818" y="503"/>
                </a:lnTo>
                <a:lnTo>
                  <a:pt x="1820" y="504"/>
                </a:lnTo>
                <a:lnTo>
                  <a:pt x="1823" y="504"/>
                </a:lnTo>
                <a:lnTo>
                  <a:pt x="1825" y="506"/>
                </a:lnTo>
                <a:lnTo>
                  <a:pt x="1827" y="507"/>
                </a:lnTo>
                <a:lnTo>
                  <a:pt x="1828" y="510"/>
                </a:lnTo>
                <a:lnTo>
                  <a:pt x="1829" y="512"/>
                </a:lnTo>
                <a:lnTo>
                  <a:pt x="1830" y="514"/>
                </a:lnTo>
                <a:lnTo>
                  <a:pt x="1830" y="517"/>
                </a:lnTo>
                <a:lnTo>
                  <a:pt x="1830" y="519"/>
                </a:lnTo>
                <a:lnTo>
                  <a:pt x="1828" y="524"/>
                </a:lnTo>
                <a:lnTo>
                  <a:pt x="1826" y="526"/>
                </a:lnTo>
                <a:lnTo>
                  <a:pt x="1824" y="527"/>
                </a:lnTo>
                <a:lnTo>
                  <a:pt x="1822" y="528"/>
                </a:lnTo>
                <a:lnTo>
                  <a:pt x="1819" y="529"/>
                </a:lnTo>
                <a:lnTo>
                  <a:pt x="1817" y="529"/>
                </a:lnTo>
                <a:lnTo>
                  <a:pt x="1814" y="528"/>
                </a:lnTo>
                <a:lnTo>
                  <a:pt x="1811" y="528"/>
                </a:lnTo>
                <a:lnTo>
                  <a:pt x="1809" y="526"/>
                </a:lnTo>
                <a:lnTo>
                  <a:pt x="1807" y="524"/>
                </a:lnTo>
                <a:lnTo>
                  <a:pt x="1806" y="522"/>
                </a:lnTo>
                <a:lnTo>
                  <a:pt x="1805" y="520"/>
                </a:lnTo>
                <a:lnTo>
                  <a:pt x="1804" y="518"/>
                </a:lnTo>
                <a:lnTo>
                  <a:pt x="1804" y="515"/>
                </a:lnTo>
                <a:lnTo>
                  <a:pt x="1805" y="513"/>
                </a:lnTo>
                <a:lnTo>
                  <a:pt x="1807" y="508"/>
                </a:lnTo>
                <a:lnTo>
                  <a:pt x="1808" y="506"/>
                </a:lnTo>
                <a:lnTo>
                  <a:pt x="1810" y="505"/>
                </a:lnTo>
                <a:lnTo>
                  <a:pt x="1812" y="504"/>
                </a:lnTo>
                <a:lnTo>
                  <a:pt x="1815" y="503"/>
                </a:lnTo>
                <a:close/>
                <a:moveTo>
                  <a:pt x="1749" y="513"/>
                </a:moveTo>
                <a:lnTo>
                  <a:pt x="1755" y="513"/>
                </a:lnTo>
                <a:lnTo>
                  <a:pt x="1757" y="514"/>
                </a:lnTo>
                <a:lnTo>
                  <a:pt x="1759" y="515"/>
                </a:lnTo>
                <a:lnTo>
                  <a:pt x="1763" y="519"/>
                </a:lnTo>
                <a:lnTo>
                  <a:pt x="1764" y="521"/>
                </a:lnTo>
                <a:lnTo>
                  <a:pt x="1765" y="524"/>
                </a:lnTo>
                <a:lnTo>
                  <a:pt x="1764" y="529"/>
                </a:lnTo>
                <a:lnTo>
                  <a:pt x="1764" y="531"/>
                </a:lnTo>
                <a:lnTo>
                  <a:pt x="1762" y="533"/>
                </a:lnTo>
                <a:lnTo>
                  <a:pt x="1759" y="537"/>
                </a:lnTo>
                <a:lnTo>
                  <a:pt x="1757" y="538"/>
                </a:lnTo>
                <a:lnTo>
                  <a:pt x="1754" y="539"/>
                </a:lnTo>
                <a:lnTo>
                  <a:pt x="1749" y="539"/>
                </a:lnTo>
                <a:lnTo>
                  <a:pt x="1746" y="538"/>
                </a:lnTo>
                <a:lnTo>
                  <a:pt x="1744" y="537"/>
                </a:lnTo>
                <a:lnTo>
                  <a:pt x="1741" y="533"/>
                </a:lnTo>
                <a:lnTo>
                  <a:pt x="1740" y="531"/>
                </a:lnTo>
                <a:lnTo>
                  <a:pt x="1739" y="528"/>
                </a:lnTo>
                <a:lnTo>
                  <a:pt x="1739" y="523"/>
                </a:lnTo>
                <a:lnTo>
                  <a:pt x="1740" y="521"/>
                </a:lnTo>
                <a:lnTo>
                  <a:pt x="1741" y="519"/>
                </a:lnTo>
                <a:lnTo>
                  <a:pt x="1745" y="515"/>
                </a:lnTo>
                <a:lnTo>
                  <a:pt x="1747" y="514"/>
                </a:lnTo>
                <a:lnTo>
                  <a:pt x="1749" y="513"/>
                </a:lnTo>
                <a:close/>
                <a:moveTo>
                  <a:pt x="160" y="2215"/>
                </a:moveTo>
                <a:lnTo>
                  <a:pt x="162" y="2215"/>
                </a:lnTo>
                <a:lnTo>
                  <a:pt x="165" y="2215"/>
                </a:lnTo>
                <a:lnTo>
                  <a:pt x="168" y="2216"/>
                </a:lnTo>
                <a:lnTo>
                  <a:pt x="170" y="2217"/>
                </a:lnTo>
                <a:lnTo>
                  <a:pt x="172" y="2219"/>
                </a:lnTo>
                <a:lnTo>
                  <a:pt x="173" y="2221"/>
                </a:lnTo>
                <a:lnTo>
                  <a:pt x="174" y="2223"/>
                </a:lnTo>
                <a:lnTo>
                  <a:pt x="175" y="2225"/>
                </a:lnTo>
                <a:lnTo>
                  <a:pt x="175" y="2231"/>
                </a:lnTo>
                <a:lnTo>
                  <a:pt x="173" y="2234"/>
                </a:lnTo>
                <a:lnTo>
                  <a:pt x="171" y="2237"/>
                </a:lnTo>
                <a:lnTo>
                  <a:pt x="168" y="2239"/>
                </a:lnTo>
                <a:lnTo>
                  <a:pt x="164" y="2241"/>
                </a:lnTo>
                <a:lnTo>
                  <a:pt x="162" y="2241"/>
                </a:lnTo>
                <a:lnTo>
                  <a:pt x="159" y="2240"/>
                </a:lnTo>
                <a:lnTo>
                  <a:pt x="157" y="2240"/>
                </a:lnTo>
                <a:lnTo>
                  <a:pt x="154" y="2238"/>
                </a:lnTo>
                <a:lnTo>
                  <a:pt x="153" y="2237"/>
                </a:lnTo>
                <a:lnTo>
                  <a:pt x="151" y="2235"/>
                </a:lnTo>
                <a:lnTo>
                  <a:pt x="150" y="2232"/>
                </a:lnTo>
                <a:lnTo>
                  <a:pt x="149" y="2230"/>
                </a:lnTo>
                <a:lnTo>
                  <a:pt x="149" y="2225"/>
                </a:lnTo>
                <a:lnTo>
                  <a:pt x="151" y="2221"/>
                </a:lnTo>
                <a:lnTo>
                  <a:pt x="153" y="2218"/>
                </a:lnTo>
                <a:lnTo>
                  <a:pt x="156" y="2216"/>
                </a:lnTo>
                <a:lnTo>
                  <a:pt x="160" y="2215"/>
                </a:lnTo>
                <a:close/>
                <a:moveTo>
                  <a:pt x="175" y="2150"/>
                </a:moveTo>
                <a:lnTo>
                  <a:pt x="177" y="2150"/>
                </a:lnTo>
                <a:lnTo>
                  <a:pt x="180" y="2150"/>
                </a:lnTo>
                <a:lnTo>
                  <a:pt x="183" y="2151"/>
                </a:lnTo>
                <a:lnTo>
                  <a:pt x="185" y="2153"/>
                </a:lnTo>
                <a:lnTo>
                  <a:pt x="187" y="2154"/>
                </a:lnTo>
                <a:lnTo>
                  <a:pt x="188" y="2156"/>
                </a:lnTo>
                <a:lnTo>
                  <a:pt x="189" y="2159"/>
                </a:lnTo>
                <a:lnTo>
                  <a:pt x="190" y="2161"/>
                </a:lnTo>
                <a:lnTo>
                  <a:pt x="190" y="2164"/>
                </a:lnTo>
                <a:lnTo>
                  <a:pt x="190" y="2166"/>
                </a:lnTo>
                <a:lnTo>
                  <a:pt x="188" y="2170"/>
                </a:lnTo>
                <a:lnTo>
                  <a:pt x="186" y="2173"/>
                </a:lnTo>
                <a:lnTo>
                  <a:pt x="183" y="2175"/>
                </a:lnTo>
                <a:lnTo>
                  <a:pt x="179" y="2176"/>
                </a:lnTo>
                <a:lnTo>
                  <a:pt x="177" y="2176"/>
                </a:lnTo>
                <a:lnTo>
                  <a:pt x="174" y="2176"/>
                </a:lnTo>
                <a:lnTo>
                  <a:pt x="172" y="2175"/>
                </a:lnTo>
                <a:lnTo>
                  <a:pt x="169" y="2174"/>
                </a:lnTo>
                <a:lnTo>
                  <a:pt x="167" y="2172"/>
                </a:lnTo>
                <a:lnTo>
                  <a:pt x="166" y="2170"/>
                </a:lnTo>
                <a:lnTo>
                  <a:pt x="165" y="2168"/>
                </a:lnTo>
                <a:lnTo>
                  <a:pt x="164" y="2165"/>
                </a:lnTo>
                <a:lnTo>
                  <a:pt x="164" y="2163"/>
                </a:lnTo>
                <a:lnTo>
                  <a:pt x="164" y="2160"/>
                </a:lnTo>
                <a:lnTo>
                  <a:pt x="166" y="2157"/>
                </a:lnTo>
                <a:lnTo>
                  <a:pt x="168" y="2154"/>
                </a:lnTo>
                <a:lnTo>
                  <a:pt x="171" y="2151"/>
                </a:lnTo>
                <a:lnTo>
                  <a:pt x="175" y="2150"/>
                </a:lnTo>
                <a:close/>
                <a:moveTo>
                  <a:pt x="191" y="2086"/>
                </a:moveTo>
                <a:lnTo>
                  <a:pt x="193" y="2086"/>
                </a:lnTo>
                <a:lnTo>
                  <a:pt x="196" y="2086"/>
                </a:lnTo>
                <a:lnTo>
                  <a:pt x="199" y="2087"/>
                </a:lnTo>
                <a:lnTo>
                  <a:pt x="201" y="2088"/>
                </a:lnTo>
                <a:lnTo>
                  <a:pt x="203" y="2090"/>
                </a:lnTo>
                <a:lnTo>
                  <a:pt x="204" y="2092"/>
                </a:lnTo>
                <a:lnTo>
                  <a:pt x="205" y="2094"/>
                </a:lnTo>
                <a:lnTo>
                  <a:pt x="206" y="2097"/>
                </a:lnTo>
                <a:lnTo>
                  <a:pt x="206" y="2100"/>
                </a:lnTo>
                <a:lnTo>
                  <a:pt x="206" y="2102"/>
                </a:lnTo>
                <a:lnTo>
                  <a:pt x="205" y="2104"/>
                </a:lnTo>
                <a:lnTo>
                  <a:pt x="204" y="2106"/>
                </a:lnTo>
                <a:lnTo>
                  <a:pt x="202" y="2109"/>
                </a:lnTo>
                <a:lnTo>
                  <a:pt x="199" y="2111"/>
                </a:lnTo>
                <a:lnTo>
                  <a:pt x="195" y="2112"/>
                </a:lnTo>
                <a:lnTo>
                  <a:pt x="192" y="2112"/>
                </a:lnTo>
                <a:lnTo>
                  <a:pt x="190" y="2112"/>
                </a:lnTo>
                <a:lnTo>
                  <a:pt x="187" y="2111"/>
                </a:lnTo>
                <a:lnTo>
                  <a:pt x="185" y="2109"/>
                </a:lnTo>
                <a:lnTo>
                  <a:pt x="183" y="2108"/>
                </a:lnTo>
                <a:lnTo>
                  <a:pt x="182" y="2106"/>
                </a:lnTo>
                <a:lnTo>
                  <a:pt x="181" y="2103"/>
                </a:lnTo>
                <a:lnTo>
                  <a:pt x="180" y="2101"/>
                </a:lnTo>
                <a:lnTo>
                  <a:pt x="180" y="2098"/>
                </a:lnTo>
                <a:lnTo>
                  <a:pt x="180" y="2096"/>
                </a:lnTo>
                <a:lnTo>
                  <a:pt x="181" y="2094"/>
                </a:lnTo>
                <a:lnTo>
                  <a:pt x="182" y="2092"/>
                </a:lnTo>
                <a:lnTo>
                  <a:pt x="184" y="2089"/>
                </a:lnTo>
                <a:lnTo>
                  <a:pt x="187" y="2087"/>
                </a:lnTo>
                <a:lnTo>
                  <a:pt x="191" y="2086"/>
                </a:lnTo>
                <a:close/>
                <a:moveTo>
                  <a:pt x="207" y="2022"/>
                </a:moveTo>
                <a:lnTo>
                  <a:pt x="210" y="2022"/>
                </a:lnTo>
                <a:lnTo>
                  <a:pt x="213" y="2022"/>
                </a:lnTo>
                <a:lnTo>
                  <a:pt x="215" y="2023"/>
                </a:lnTo>
                <a:lnTo>
                  <a:pt x="218" y="2025"/>
                </a:lnTo>
                <a:lnTo>
                  <a:pt x="219" y="2026"/>
                </a:lnTo>
                <a:lnTo>
                  <a:pt x="221" y="2028"/>
                </a:lnTo>
                <a:lnTo>
                  <a:pt x="222" y="2031"/>
                </a:lnTo>
                <a:lnTo>
                  <a:pt x="223" y="2033"/>
                </a:lnTo>
                <a:lnTo>
                  <a:pt x="223" y="2036"/>
                </a:lnTo>
                <a:lnTo>
                  <a:pt x="222" y="2038"/>
                </a:lnTo>
                <a:lnTo>
                  <a:pt x="222" y="2040"/>
                </a:lnTo>
                <a:lnTo>
                  <a:pt x="221" y="2042"/>
                </a:lnTo>
                <a:lnTo>
                  <a:pt x="218" y="2045"/>
                </a:lnTo>
                <a:lnTo>
                  <a:pt x="215" y="2047"/>
                </a:lnTo>
                <a:lnTo>
                  <a:pt x="212" y="2048"/>
                </a:lnTo>
                <a:lnTo>
                  <a:pt x="209" y="2048"/>
                </a:lnTo>
                <a:lnTo>
                  <a:pt x="206" y="2048"/>
                </a:lnTo>
                <a:lnTo>
                  <a:pt x="204" y="2047"/>
                </a:lnTo>
                <a:lnTo>
                  <a:pt x="201" y="2045"/>
                </a:lnTo>
                <a:lnTo>
                  <a:pt x="200" y="2044"/>
                </a:lnTo>
                <a:lnTo>
                  <a:pt x="198" y="2041"/>
                </a:lnTo>
                <a:lnTo>
                  <a:pt x="197" y="2039"/>
                </a:lnTo>
                <a:lnTo>
                  <a:pt x="197" y="2037"/>
                </a:lnTo>
                <a:lnTo>
                  <a:pt x="196" y="2034"/>
                </a:lnTo>
                <a:lnTo>
                  <a:pt x="197" y="2031"/>
                </a:lnTo>
                <a:lnTo>
                  <a:pt x="197" y="2030"/>
                </a:lnTo>
                <a:lnTo>
                  <a:pt x="198" y="2028"/>
                </a:lnTo>
                <a:lnTo>
                  <a:pt x="201" y="2025"/>
                </a:lnTo>
                <a:lnTo>
                  <a:pt x="204" y="2023"/>
                </a:lnTo>
                <a:lnTo>
                  <a:pt x="207" y="2022"/>
                </a:lnTo>
                <a:close/>
                <a:moveTo>
                  <a:pt x="225" y="1958"/>
                </a:moveTo>
                <a:lnTo>
                  <a:pt x="228" y="1958"/>
                </a:lnTo>
                <a:lnTo>
                  <a:pt x="231" y="1958"/>
                </a:lnTo>
                <a:lnTo>
                  <a:pt x="233" y="1959"/>
                </a:lnTo>
                <a:lnTo>
                  <a:pt x="235" y="1961"/>
                </a:lnTo>
                <a:lnTo>
                  <a:pt x="237" y="1963"/>
                </a:lnTo>
                <a:lnTo>
                  <a:pt x="238" y="1965"/>
                </a:lnTo>
                <a:lnTo>
                  <a:pt x="240" y="1967"/>
                </a:lnTo>
                <a:lnTo>
                  <a:pt x="240" y="1969"/>
                </a:lnTo>
                <a:lnTo>
                  <a:pt x="240" y="1972"/>
                </a:lnTo>
                <a:lnTo>
                  <a:pt x="240" y="1975"/>
                </a:lnTo>
                <a:lnTo>
                  <a:pt x="238" y="1978"/>
                </a:lnTo>
                <a:lnTo>
                  <a:pt x="236" y="1981"/>
                </a:lnTo>
                <a:lnTo>
                  <a:pt x="233" y="1983"/>
                </a:lnTo>
                <a:lnTo>
                  <a:pt x="231" y="1984"/>
                </a:lnTo>
                <a:lnTo>
                  <a:pt x="229" y="1984"/>
                </a:lnTo>
                <a:lnTo>
                  <a:pt x="226" y="1984"/>
                </a:lnTo>
                <a:lnTo>
                  <a:pt x="223" y="1984"/>
                </a:lnTo>
                <a:lnTo>
                  <a:pt x="221" y="1983"/>
                </a:lnTo>
                <a:lnTo>
                  <a:pt x="219" y="1981"/>
                </a:lnTo>
                <a:lnTo>
                  <a:pt x="217" y="1980"/>
                </a:lnTo>
                <a:lnTo>
                  <a:pt x="216" y="1977"/>
                </a:lnTo>
                <a:lnTo>
                  <a:pt x="215" y="1975"/>
                </a:lnTo>
                <a:lnTo>
                  <a:pt x="214" y="1973"/>
                </a:lnTo>
                <a:lnTo>
                  <a:pt x="214" y="1970"/>
                </a:lnTo>
                <a:lnTo>
                  <a:pt x="214" y="1968"/>
                </a:lnTo>
                <a:lnTo>
                  <a:pt x="216" y="1964"/>
                </a:lnTo>
                <a:lnTo>
                  <a:pt x="218" y="1961"/>
                </a:lnTo>
                <a:lnTo>
                  <a:pt x="221" y="1959"/>
                </a:lnTo>
                <a:lnTo>
                  <a:pt x="223" y="1959"/>
                </a:lnTo>
                <a:lnTo>
                  <a:pt x="225" y="1958"/>
                </a:lnTo>
                <a:close/>
                <a:moveTo>
                  <a:pt x="243" y="1895"/>
                </a:moveTo>
                <a:lnTo>
                  <a:pt x="246" y="1894"/>
                </a:lnTo>
                <a:lnTo>
                  <a:pt x="249" y="1895"/>
                </a:lnTo>
                <a:lnTo>
                  <a:pt x="252" y="1896"/>
                </a:lnTo>
                <a:lnTo>
                  <a:pt x="254" y="1897"/>
                </a:lnTo>
                <a:lnTo>
                  <a:pt x="256" y="1899"/>
                </a:lnTo>
                <a:lnTo>
                  <a:pt x="257" y="1901"/>
                </a:lnTo>
                <a:lnTo>
                  <a:pt x="258" y="1904"/>
                </a:lnTo>
                <a:lnTo>
                  <a:pt x="259" y="1906"/>
                </a:lnTo>
                <a:lnTo>
                  <a:pt x="259" y="1909"/>
                </a:lnTo>
                <a:lnTo>
                  <a:pt x="258" y="1911"/>
                </a:lnTo>
                <a:lnTo>
                  <a:pt x="256" y="1915"/>
                </a:lnTo>
                <a:lnTo>
                  <a:pt x="254" y="1917"/>
                </a:lnTo>
                <a:lnTo>
                  <a:pt x="251" y="1919"/>
                </a:lnTo>
                <a:lnTo>
                  <a:pt x="249" y="1920"/>
                </a:lnTo>
                <a:lnTo>
                  <a:pt x="248" y="1920"/>
                </a:lnTo>
                <a:lnTo>
                  <a:pt x="245" y="1921"/>
                </a:lnTo>
                <a:lnTo>
                  <a:pt x="242" y="1920"/>
                </a:lnTo>
                <a:lnTo>
                  <a:pt x="239" y="1919"/>
                </a:lnTo>
                <a:lnTo>
                  <a:pt x="237" y="1918"/>
                </a:lnTo>
                <a:lnTo>
                  <a:pt x="235" y="1916"/>
                </a:lnTo>
                <a:lnTo>
                  <a:pt x="234" y="1914"/>
                </a:lnTo>
                <a:lnTo>
                  <a:pt x="233" y="1911"/>
                </a:lnTo>
                <a:lnTo>
                  <a:pt x="232" y="1909"/>
                </a:lnTo>
                <a:lnTo>
                  <a:pt x="232" y="1906"/>
                </a:lnTo>
                <a:lnTo>
                  <a:pt x="233" y="1904"/>
                </a:lnTo>
                <a:lnTo>
                  <a:pt x="234" y="1900"/>
                </a:lnTo>
                <a:lnTo>
                  <a:pt x="237" y="1898"/>
                </a:lnTo>
                <a:lnTo>
                  <a:pt x="240" y="1896"/>
                </a:lnTo>
                <a:lnTo>
                  <a:pt x="241" y="1895"/>
                </a:lnTo>
                <a:lnTo>
                  <a:pt x="243" y="1895"/>
                </a:lnTo>
                <a:close/>
                <a:moveTo>
                  <a:pt x="263" y="1831"/>
                </a:moveTo>
                <a:lnTo>
                  <a:pt x="266" y="1831"/>
                </a:lnTo>
                <a:lnTo>
                  <a:pt x="269" y="1832"/>
                </a:lnTo>
                <a:lnTo>
                  <a:pt x="271" y="1833"/>
                </a:lnTo>
                <a:lnTo>
                  <a:pt x="273" y="1834"/>
                </a:lnTo>
                <a:lnTo>
                  <a:pt x="275" y="1836"/>
                </a:lnTo>
                <a:lnTo>
                  <a:pt x="277" y="1838"/>
                </a:lnTo>
                <a:lnTo>
                  <a:pt x="278" y="1843"/>
                </a:lnTo>
                <a:lnTo>
                  <a:pt x="278" y="1846"/>
                </a:lnTo>
                <a:lnTo>
                  <a:pt x="277" y="1848"/>
                </a:lnTo>
                <a:lnTo>
                  <a:pt x="276" y="1852"/>
                </a:lnTo>
                <a:lnTo>
                  <a:pt x="273" y="1854"/>
                </a:lnTo>
                <a:lnTo>
                  <a:pt x="271" y="1856"/>
                </a:lnTo>
                <a:lnTo>
                  <a:pt x="267" y="1857"/>
                </a:lnTo>
                <a:lnTo>
                  <a:pt x="264" y="1857"/>
                </a:lnTo>
                <a:lnTo>
                  <a:pt x="261" y="1857"/>
                </a:lnTo>
                <a:lnTo>
                  <a:pt x="259" y="1856"/>
                </a:lnTo>
                <a:lnTo>
                  <a:pt x="256" y="1854"/>
                </a:lnTo>
                <a:lnTo>
                  <a:pt x="255" y="1852"/>
                </a:lnTo>
                <a:lnTo>
                  <a:pt x="253" y="1850"/>
                </a:lnTo>
                <a:lnTo>
                  <a:pt x="252" y="1846"/>
                </a:lnTo>
                <a:lnTo>
                  <a:pt x="252" y="1843"/>
                </a:lnTo>
                <a:lnTo>
                  <a:pt x="252" y="1840"/>
                </a:lnTo>
                <a:lnTo>
                  <a:pt x="254" y="1837"/>
                </a:lnTo>
                <a:lnTo>
                  <a:pt x="256" y="1834"/>
                </a:lnTo>
                <a:lnTo>
                  <a:pt x="259" y="1832"/>
                </a:lnTo>
                <a:lnTo>
                  <a:pt x="263" y="1831"/>
                </a:lnTo>
                <a:close/>
                <a:moveTo>
                  <a:pt x="283" y="1768"/>
                </a:moveTo>
                <a:lnTo>
                  <a:pt x="286" y="1768"/>
                </a:lnTo>
                <a:lnTo>
                  <a:pt x="289" y="1769"/>
                </a:lnTo>
                <a:lnTo>
                  <a:pt x="292" y="1770"/>
                </a:lnTo>
                <a:lnTo>
                  <a:pt x="294" y="1771"/>
                </a:lnTo>
                <a:lnTo>
                  <a:pt x="296" y="1773"/>
                </a:lnTo>
                <a:lnTo>
                  <a:pt x="297" y="1775"/>
                </a:lnTo>
                <a:lnTo>
                  <a:pt x="298" y="1778"/>
                </a:lnTo>
                <a:lnTo>
                  <a:pt x="298" y="1780"/>
                </a:lnTo>
                <a:lnTo>
                  <a:pt x="298" y="1783"/>
                </a:lnTo>
                <a:lnTo>
                  <a:pt x="298" y="1786"/>
                </a:lnTo>
                <a:lnTo>
                  <a:pt x="296" y="1789"/>
                </a:lnTo>
                <a:lnTo>
                  <a:pt x="294" y="1791"/>
                </a:lnTo>
                <a:lnTo>
                  <a:pt x="292" y="1792"/>
                </a:lnTo>
                <a:lnTo>
                  <a:pt x="291" y="1793"/>
                </a:lnTo>
                <a:lnTo>
                  <a:pt x="288" y="1794"/>
                </a:lnTo>
                <a:lnTo>
                  <a:pt x="284" y="1794"/>
                </a:lnTo>
                <a:lnTo>
                  <a:pt x="281" y="1794"/>
                </a:lnTo>
                <a:lnTo>
                  <a:pt x="279" y="1793"/>
                </a:lnTo>
                <a:lnTo>
                  <a:pt x="277" y="1791"/>
                </a:lnTo>
                <a:lnTo>
                  <a:pt x="275" y="1789"/>
                </a:lnTo>
                <a:lnTo>
                  <a:pt x="274" y="1787"/>
                </a:lnTo>
                <a:lnTo>
                  <a:pt x="273" y="1785"/>
                </a:lnTo>
                <a:lnTo>
                  <a:pt x="272" y="1782"/>
                </a:lnTo>
                <a:lnTo>
                  <a:pt x="272" y="1780"/>
                </a:lnTo>
                <a:lnTo>
                  <a:pt x="273" y="1777"/>
                </a:lnTo>
                <a:lnTo>
                  <a:pt x="274" y="1774"/>
                </a:lnTo>
                <a:lnTo>
                  <a:pt x="277" y="1771"/>
                </a:lnTo>
                <a:lnTo>
                  <a:pt x="278" y="1770"/>
                </a:lnTo>
                <a:lnTo>
                  <a:pt x="280" y="1769"/>
                </a:lnTo>
                <a:lnTo>
                  <a:pt x="283" y="1768"/>
                </a:lnTo>
                <a:close/>
                <a:moveTo>
                  <a:pt x="304" y="1706"/>
                </a:moveTo>
                <a:lnTo>
                  <a:pt x="308" y="1706"/>
                </a:lnTo>
                <a:lnTo>
                  <a:pt x="311" y="1706"/>
                </a:lnTo>
                <a:lnTo>
                  <a:pt x="314" y="1708"/>
                </a:lnTo>
                <a:lnTo>
                  <a:pt x="316" y="1709"/>
                </a:lnTo>
                <a:lnTo>
                  <a:pt x="317" y="1711"/>
                </a:lnTo>
                <a:lnTo>
                  <a:pt x="319" y="1713"/>
                </a:lnTo>
                <a:lnTo>
                  <a:pt x="319" y="1715"/>
                </a:lnTo>
                <a:lnTo>
                  <a:pt x="320" y="1718"/>
                </a:lnTo>
                <a:lnTo>
                  <a:pt x="320" y="1721"/>
                </a:lnTo>
                <a:lnTo>
                  <a:pt x="319" y="1723"/>
                </a:lnTo>
                <a:lnTo>
                  <a:pt x="317" y="1726"/>
                </a:lnTo>
                <a:lnTo>
                  <a:pt x="315" y="1729"/>
                </a:lnTo>
                <a:lnTo>
                  <a:pt x="312" y="1731"/>
                </a:lnTo>
                <a:lnTo>
                  <a:pt x="309" y="1732"/>
                </a:lnTo>
                <a:lnTo>
                  <a:pt x="306" y="1732"/>
                </a:lnTo>
                <a:lnTo>
                  <a:pt x="302" y="1731"/>
                </a:lnTo>
                <a:lnTo>
                  <a:pt x="300" y="1730"/>
                </a:lnTo>
                <a:lnTo>
                  <a:pt x="298" y="1728"/>
                </a:lnTo>
                <a:lnTo>
                  <a:pt x="296" y="1727"/>
                </a:lnTo>
                <a:lnTo>
                  <a:pt x="295" y="1724"/>
                </a:lnTo>
                <a:lnTo>
                  <a:pt x="294" y="1722"/>
                </a:lnTo>
                <a:lnTo>
                  <a:pt x="294" y="1720"/>
                </a:lnTo>
                <a:lnTo>
                  <a:pt x="294" y="1717"/>
                </a:lnTo>
                <a:lnTo>
                  <a:pt x="294" y="1714"/>
                </a:lnTo>
                <a:lnTo>
                  <a:pt x="296" y="1711"/>
                </a:lnTo>
                <a:lnTo>
                  <a:pt x="298" y="1709"/>
                </a:lnTo>
                <a:lnTo>
                  <a:pt x="301" y="1707"/>
                </a:lnTo>
                <a:lnTo>
                  <a:pt x="304" y="1706"/>
                </a:lnTo>
                <a:close/>
                <a:moveTo>
                  <a:pt x="327" y="1644"/>
                </a:moveTo>
                <a:lnTo>
                  <a:pt x="330" y="1643"/>
                </a:lnTo>
                <a:lnTo>
                  <a:pt x="334" y="1644"/>
                </a:lnTo>
                <a:lnTo>
                  <a:pt x="336" y="1645"/>
                </a:lnTo>
                <a:lnTo>
                  <a:pt x="338" y="1647"/>
                </a:lnTo>
                <a:lnTo>
                  <a:pt x="340" y="1649"/>
                </a:lnTo>
                <a:lnTo>
                  <a:pt x="341" y="1651"/>
                </a:lnTo>
                <a:lnTo>
                  <a:pt x="342" y="1652"/>
                </a:lnTo>
                <a:lnTo>
                  <a:pt x="342" y="1653"/>
                </a:lnTo>
                <a:lnTo>
                  <a:pt x="342" y="1656"/>
                </a:lnTo>
                <a:lnTo>
                  <a:pt x="342" y="1661"/>
                </a:lnTo>
                <a:lnTo>
                  <a:pt x="340" y="1664"/>
                </a:lnTo>
                <a:lnTo>
                  <a:pt x="338" y="1667"/>
                </a:lnTo>
                <a:lnTo>
                  <a:pt x="335" y="1668"/>
                </a:lnTo>
                <a:lnTo>
                  <a:pt x="331" y="1669"/>
                </a:lnTo>
                <a:lnTo>
                  <a:pt x="328" y="1670"/>
                </a:lnTo>
                <a:lnTo>
                  <a:pt x="325" y="1669"/>
                </a:lnTo>
                <a:lnTo>
                  <a:pt x="322" y="1668"/>
                </a:lnTo>
                <a:lnTo>
                  <a:pt x="320" y="1666"/>
                </a:lnTo>
                <a:lnTo>
                  <a:pt x="319" y="1664"/>
                </a:lnTo>
                <a:lnTo>
                  <a:pt x="317" y="1662"/>
                </a:lnTo>
                <a:lnTo>
                  <a:pt x="317" y="1661"/>
                </a:lnTo>
                <a:lnTo>
                  <a:pt x="316" y="1660"/>
                </a:lnTo>
                <a:lnTo>
                  <a:pt x="316" y="1657"/>
                </a:lnTo>
                <a:lnTo>
                  <a:pt x="317" y="1652"/>
                </a:lnTo>
                <a:lnTo>
                  <a:pt x="319" y="1649"/>
                </a:lnTo>
                <a:lnTo>
                  <a:pt x="321" y="1646"/>
                </a:lnTo>
                <a:lnTo>
                  <a:pt x="324" y="1645"/>
                </a:lnTo>
                <a:lnTo>
                  <a:pt x="327" y="1644"/>
                </a:lnTo>
                <a:close/>
                <a:moveTo>
                  <a:pt x="350" y="1582"/>
                </a:moveTo>
                <a:lnTo>
                  <a:pt x="354" y="1582"/>
                </a:lnTo>
                <a:lnTo>
                  <a:pt x="358" y="1582"/>
                </a:lnTo>
                <a:lnTo>
                  <a:pt x="362" y="1585"/>
                </a:lnTo>
                <a:lnTo>
                  <a:pt x="364" y="1587"/>
                </a:lnTo>
                <a:lnTo>
                  <a:pt x="365" y="1589"/>
                </a:lnTo>
                <a:lnTo>
                  <a:pt x="366" y="1592"/>
                </a:lnTo>
                <a:lnTo>
                  <a:pt x="366" y="1594"/>
                </a:lnTo>
                <a:lnTo>
                  <a:pt x="366" y="1597"/>
                </a:lnTo>
                <a:lnTo>
                  <a:pt x="365" y="1599"/>
                </a:lnTo>
                <a:lnTo>
                  <a:pt x="363" y="1603"/>
                </a:lnTo>
                <a:lnTo>
                  <a:pt x="361" y="1605"/>
                </a:lnTo>
                <a:lnTo>
                  <a:pt x="358" y="1607"/>
                </a:lnTo>
                <a:lnTo>
                  <a:pt x="355" y="1608"/>
                </a:lnTo>
                <a:lnTo>
                  <a:pt x="352" y="1608"/>
                </a:lnTo>
                <a:lnTo>
                  <a:pt x="348" y="1607"/>
                </a:lnTo>
                <a:lnTo>
                  <a:pt x="344" y="1604"/>
                </a:lnTo>
                <a:lnTo>
                  <a:pt x="342" y="1602"/>
                </a:lnTo>
                <a:lnTo>
                  <a:pt x="341" y="1600"/>
                </a:lnTo>
                <a:lnTo>
                  <a:pt x="340" y="1598"/>
                </a:lnTo>
                <a:lnTo>
                  <a:pt x="340" y="1595"/>
                </a:lnTo>
                <a:lnTo>
                  <a:pt x="340" y="1592"/>
                </a:lnTo>
                <a:lnTo>
                  <a:pt x="341" y="1590"/>
                </a:lnTo>
                <a:lnTo>
                  <a:pt x="342" y="1587"/>
                </a:lnTo>
                <a:lnTo>
                  <a:pt x="345" y="1584"/>
                </a:lnTo>
                <a:lnTo>
                  <a:pt x="347" y="1583"/>
                </a:lnTo>
                <a:lnTo>
                  <a:pt x="350" y="1582"/>
                </a:lnTo>
                <a:close/>
                <a:moveTo>
                  <a:pt x="375" y="1520"/>
                </a:moveTo>
                <a:lnTo>
                  <a:pt x="379" y="1520"/>
                </a:lnTo>
                <a:lnTo>
                  <a:pt x="382" y="1521"/>
                </a:lnTo>
                <a:lnTo>
                  <a:pt x="385" y="1522"/>
                </a:lnTo>
                <a:lnTo>
                  <a:pt x="387" y="1524"/>
                </a:lnTo>
                <a:lnTo>
                  <a:pt x="388" y="1526"/>
                </a:lnTo>
                <a:lnTo>
                  <a:pt x="389" y="1528"/>
                </a:lnTo>
                <a:lnTo>
                  <a:pt x="390" y="1531"/>
                </a:lnTo>
                <a:lnTo>
                  <a:pt x="391" y="1533"/>
                </a:lnTo>
                <a:lnTo>
                  <a:pt x="390" y="1536"/>
                </a:lnTo>
                <a:lnTo>
                  <a:pt x="390" y="1538"/>
                </a:lnTo>
                <a:lnTo>
                  <a:pt x="388" y="1541"/>
                </a:lnTo>
                <a:lnTo>
                  <a:pt x="386" y="1544"/>
                </a:lnTo>
                <a:lnTo>
                  <a:pt x="383" y="1545"/>
                </a:lnTo>
                <a:lnTo>
                  <a:pt x="380" y="1546"/>
                </a:lnTo>
                <a:lnTo>
                  <a:pt x="376" y="1546"/>
                </a:lnTo>
                <a:lnTo>
                  <a:pt x="372" y="1545"/>
                </a:lnTo>
                <a:lnTo>
                  <a:pt x="370" y="1544"/>
                </a:lnTo>
                <a:lnTo>
                  <a:pt x="368" y="1543"/>
                </a:lnTo>
                <a:lnTo>
                  <a:pt x="366" y="1541"/>
                </a:lnTo>
                <a:lnTo>
                  <a:pt x="365" y="1538"/>
                </a:lnTo>
                <a:lnTo>
                  <a:pt x="365" y="1536"/>
                </a:lnTo>
                <a:lnTo>
                  <a:pt x="364" y="1533"/>
                </a:lnTo>
                <a:lnTo>
                  <a:pt x="364" y="1531"/>
                </a:lnTo>
                <a:lnTo>
                  <a:pt x="365" y="1528"/>
                </a:lnTo>
                <a:lnTo>
                  <a:pt x="367" y="1525"/>
                </a:lnTo>
                <a:lnTo>
                  <a:pt x="369" y="1523"/>
                </a:lnTo>
                <a:lnTo>
                  <a:pt x="372" y="1521"/>
                </a:lnTo>
                <a:lnTo>
                  <a:pt x="375" y="1520"/>
                </a:lnTo>
                <a:close/>
                <a:moveTo>
                  <a:pt x="401" y="1459"/>
                </a:moveTo>
                <a:lnTo>
                  <a:pt x="405" y="1459"/>
                </a:lnTo>
                <a:lnTo>
                  <a:pt x="408" y="1460"/>
                </a:lnTo>
                <a:lnTo>
                  <a:pt x="411" y="1462"/>
                </a:lnTo>
                <a:lnTo>
                  <a:pt x="413" y="1463"/>
                </a:lnTo>
                <a:lnTo>
                  <a:pt x="414" y="1465"/>
                </a:lnTo>
                <a:lnTo>
                  <a:pt x="415" y="1468"/>
                </a:lnTo>
                <a:lnTo>
                  <a:pt x="416" y="1470"/>
                </a:lnTo>
                <a:lnTo>
                  <a:pt x="416" y="1472"/>
                </a:lnTo>
                <a:lnTo>
                  <a:pt x="416" y="1475"/>
                </a:lnTo>
                <a:lnTo>
                  <a:pt x="415" y="1478"/>
                </a:lnTo>
                <a:lnTo>
                  <a:pt x="413" y="1480"/>
                </a:lnTo>
                <a:lnTo>
                  <a:pt x="411" y="1483"/>
                </a:lnTo>
                <a:lnTo>
                  <a:pt x="408" y="1484"/>
                </a:lnTo>
                <a:lnTo>
                  <a:pt x="405" y="1485"/>
                </a:lnTo>
                <a:lnTo>
                  <a:pt x="402" y="1485"/>
                </a:lnTo>
                <a:lnTo>
                  <a:pt x="398" y="1484"/>
                </a:lnTo>
                <a:lnTo>
                  <a:pt x="396" y="1483"/>
                </a:lnTo>
                <a:lnTo>
                  <a:pt x="394" y="1481"/>
                </a:lnTo>
                <a:lnTo>
                  <a:pt x="392" y="1479"/>
                </a:lnTo>
                <a:lnTo>
                  <a:pt x="391" y="1477"/>
                </a:lnTo>
                <a:lnTo>
                  <a:pt x="390" y="1475"/>
                </a:lnTo>
                <a:lnTo>
                  <a:pt x="390" y="1472"/>
                </a:lnTo>
                <a:lnTo>
                  <a:pt x="390" y="1470"/>
                </a:lnTo>
                <a:lnTo>
                  <a:pt x="391" y="1467"/>
                </a:lnTo>
                <a:lnTo>
                  <a:pt x="393" y="1464"/>
                </a:lnTo>
                <a:lnTo>
                  <a:pt x="395" y="1462"/>
                </a:lnTo>
                <a:lnTo>
                  <a:pt x="398" y="1460"/>
                </a:lnTo>
                <a:lnTo>
                  <a:pt x="401" y="1459"/>
                </a:lnTo>
                <a:close/>
                <a:moveTo>
                  <a:pt x="428" y="1399"/>
                </a:moveTo>
                <a:lnTo>
                  <a:pt x="432" y="1399"/>
                </a:lnTo>
                <a:lnTo>
                  <a:pt x="435" y="1400"/>
                </a:lnTo>
                <a:lnTo>
                  <a:pt x="438" y="1401"/>
                </a:lnTo>
                <a:lnTo>
                  <a:pt x="440" y="1403"/>
                </a:lnTo>
                <a:lnTo>
                  <a:pt x="441" y="1405"/>
                </a:lnTo>
                <a:lnTo>
                  <a:pt x="442" y="1407"/>
                </a:lnTo>
                <a:lnTo>
                  <a:pt x="443" y="1410"/>
                </a:lnTo>
                <a:lnTo>
                  <a:pt x="443" y="1412"/>
                </a:lnTo>
                <a:lnTo>
                  <a:pt x="443" y="1415"/>
                </a:lnTo>
                <a:lnTo>
                  <a:pt x="442" y="1417"/>
                </a:lnTo>
                <a:lnTo>
                  <a:pt x="440" y="1420"/>
                </a:lnTo>
                <a:lnTo>
                  <a:pt x="438" y="1422"/>
                </a:lnTo>
                <a:lnTo>
                  <a:pt x="437" y="1423"/>
                </a:lnTo>
                <a:lnTo>
                  <a:pt x="435" y="1424"/>
                </a:lnTo>
                <a:lnTo>
                  <a:pt x="432" y="1425"/>
                </a:lnTo>
                <a:lnTo>
                  <a:pt x="428" y="1425"/>
                </a:lnTo>
                <a:lnTo>
                  <a:pt x="425" y="1424"/>
                </a:lnTo>
                <a:lnTo>
                  <a:pt x="422" y="1422"/>
                </a:lnTo>
                <a:lnTo>
                  <a:pt x="420" y="1421"/>
                </a:lnTo>
                <a:lnTo>
                  <a:pt x="419" y="1419"/>
                </a:lnTo>
                <a:lnTo>
                  <a:pt x="418" y="1416"/>
                </a:lnTo>
                <a:lnTo>
                  <a:pt x="417" y="1414"/>
                </a:lnTo>
                <a:lnTo>
                  <a:pt x="417" y="1412"/>
                </a:lnTo>
                <a:lnTo>
                  <a:pt x="417" y="1409"/>
                </a:lnTo>
                <a:lnTo>
                  <a:pt x="418" y="1406"/>
                </a:lnTo>
                <a:lnTo>
                  <a:pt x="420" y="1404"/>
                </a:lnTo>
                <a:lnTo>
                  <a:pt x="422" y="1401"/>
                </a:lnTo>
                <a:lnTo>
                  <a:pt x="423" y="1401"/>
                </a:lnTo>
                <a:lnTo>
                  <a:pt x="425" y="1400"/>
                </a:lnTo>
                <a:lnTo>
                  <a:pt x="428" y="1399"/>
                </a:lnTo>
                <a:close/>
                <a:moveTo>
                  <a:pt x="456" y="1339"/>
                </a:moveTo>
                <a:lnTo>
                  <a:pt x="460" y="1339"/>
                </a:lnTo>
                <a:lnTo>
                  <a:pt x="462" y="1339"/>
                </a:lnTo>
                <a:lnTo>
                  <a:pt x="464" y="1340"/>
                </a:lnTo>
                <a:lnTo>
                  <a:pt x="466" y="1342"/>
                </a:lnTo>
                <a:lnTo>
                  <a:pt x="468" y="1343"/>
                </a:lnTo>
                <a:lnTo>
                  <a:pt x="469" y="1345"/>
                </a:lnTo>
                <a:lnTo>
                  <a:pt x="470" y="1348"/>
                </a:lnTo>
                <a:lnTo>
                  <a:pt x="471" y="1350"/>
                </a:lnTo>
                <a:lnTo>
                  <a:pt x="471" y="1353"/>
                </a:lnTo>
                <a:lnTo>
                  <a:pt x="471" y="1355"/>
                </a:lnTo>
                <a:lnTo>
                  <a:pt x="470" y="1358"/>
                </a:lnTo>
                <a:lnTo>
                  <a:pt x="468" y="1360"/>
                </a:lnTo>
                <a:lnTo>
                  <a:pt x="466" y="1362"/>
                </a:lnTo>
                <a:lnTo>
                  <a:pt x="463" y="1364"/>
                </a:lnTo>
                <a:lnTo>
                  <a:pt x="460" y="1365"/>
                </a:lnTo>
                <a:lnTo>
                  <a:pt x="456" y="1365"/>
                </a:lnTo>
                <a:lnTo>
                  <a:pt x="454" y="1365"/>
                </a:lnTo>
                <a:lnTo>
                  <a:pt x="452" y="1364"/>
                </a:lnTo>
                <a:lnTo>
                  <a:pt x="450" y="1362"/>
                </a:lnTo>
                <a:lnTo>
                  <a:pt x="448" y="1361"/>
                </a:lnTo>
                <a:lnTo>
                  <a:pt x="447" y="1359"/>
                </a:lnTo>
                <a:lnTo>
                  <a:pt x="446" y="1356"/>
                </a:lnTo>
                <a:lnTo>
                  <a:pt x="445" y="1354"/>
                </a:lnTo>
                <a:lnTo>
                  <a:pt x="445" y="1351"/>
                </a:lnTo>
                <a:lnTo>
                  <a:pt x="445" y="1349"/>
                </a:lnTo>
                <a:lnTo>
                  <a:pt x="446" y="1346"/>
                </a:lnTo>
                <a:lnTo>
                  <a:pt x="448" y="1344"/>
                </a:lnTo>
                <a:lnTo>
                  <a:pt x="450" y="1341"/>
                </a:lnTo>
                <a:lnTo>
                  <a:pt x="453" y="1340"/>
                </a:lnTo>
                <a:lnTo>
                  <a:pt x="456" y="1339"/>
                </a:lnTo>
                <a:close/>
                <a:moveTo>
                  <a:pt x="485" y="1280"/>
                </a:moveTo>
                <a:lnTo>
                  <a:pt x="489" y="1280"/>
                </a:lnTo>
                <a:lnTo>
                  <a:pt x="491" y="1280"/>
                </a:lnTo>
                <a:lnTo>
                  <a:pt x="493" y="1281"/>
                </a:lnTo>
                <a:lnTo>
                  <a:pt x="496" y="1282"/>
                </a:lnTo>
                <a:lnTo>
                  <a:pt x="497" y="1284"/>
                </a:lnTo>
                <a:lnTo>
                  <a:pt x="499" y="1286"/>
                </a:lnTo>
                <a:lnTo>
                  <a:pt x="500" y="1289"/>
                </a:lnTo>
                <a:lnTo>
                  <a:pt x="500" y="1291"/>
                </a:lnTo>
                <a:lnTo>
                  <a:pt x="500" y="1294"/>
                </a:lnTo>
                <a:lnTo>
                  <a:pt x="500" y="1296"/>
                </a:lnTo>
                <a:lnTo>
                  <a:pt x="499" y="1299"/>
                </a:lnTo>
                <a:lnTo>
                  <a:pt x="497" y="1301"/>
                </a:lnTo>
                <a:lnTo>
                  <a:pt x="495" y="1303"/>
                </a:lnTo>
                <a:lnTo>
                  <a:pt x="492" y="1305"/>
                </a:lnTo>
                <a:lnTo>
                  <a:pt x="490" y="1306"/>
                </a:lnTo>
                <a:lnTo>
                  <a:pt x="485" y="1306"/>
                </a:lnTo>
                <a:lnTo>
                  <a:pt x="483" y="1305"/>
                </a:lnTo>
                <a:lnTo>
                  <a:pt x="481" y="1304"/>
                </a:lnTo>
                <a:lnTo>
                  <a:pt x="479" y="1303"/>
                </a:lnTo>
                <a:lnTo>
                  <a:pt x="477" y="1301"/>
                </a:lnTo>
                <a:lnTo>
                  <a:pt x="476" y="1299"/>
                </a:lnTo>
                <a:lnTo>
                  <a:pt x="475" y="1297"/>
                </a:lnTo>
                <a:lnTo>
                  <a:pt x="474" y="1294"/>
                </a:lnTo>
                <a:lnTo>
                  <a:pt x="474" y="1292"/>
                </a:lnTo>
                <a:lnTo>
                  <a:pt x="475" y="1289"/>
                </a:lnTo>
                <a:lnTo>
                  <a:pt x="476" y="1287"/>
                </a:lnTo>
                <a:lnTo>
                  <a:pt x="477" y="1284"/>
                </a:lnTo>
                <a:lnTo>
                  <a:pt x="480" y="1282"/>
                </a:lnTo>
                <a:lnTo>
                  <a:pt x="482" y="1281"/>
                </a:lnTo>
                <a:lnTo>
                  <a:pt x="485" y="1280"/>
                </a:lnTo>
                <a:close/>
                <a:moveTo>
                  <a:pt x="516" y="1221"/>
                </a:moveTo>
                <a:lnTo>
                  <a:pt x="520" y="1221"/>
                </a:lnTo>
                <a:lnTo>
                  <a:pt x="524" y="1222"/>
                </a:lnTo>
                <a:lnTo>
                  <a:pt x="526" y="1224"/>
                </a:lnTo>
                <a:lnTo>
                  <a:pt x="528" y="1226"/>
                </a:lnTo>
                <a:lnTo>
                  <a:pt x="529" y="1228"/>
                </a:lnTo>
                <a:lnTo>
                  <a:pt x="530" y="1230"/>
                </a:lnTo>
                <a:lnTo>
                  <a:pt x="531" y="1233"/>
                </a:lnTo>
                <a:lnTo>
                  <a:pt x="531" y="1235"/>
                </a:lnTo>
                <a:lnTo>
                  <a:pt x="530" y="1238"/>
                </a:lnTo>
                <a:lnTo>
                  <a:pt x="529" y="1240"/>
                </a:lnTo>
                <a:lnTo>
                  <a:pt x="528" y="1243"/>
                </a:lnTo>
                <a:lnTo>
                  <a:pt x="525" y="1245"/>
                </a:lnTo>
                <a:lnTo>
                  <a:pt x="523" y="1246"/>
                </a:lnTo>
                <a:lnTo>
                  <a:pt x="520" y="1247"/>
                </a:lnTo>
                <a:lnTo>
                  <a:pt x="516" y="1247"/>
                </a:lnTo>
                <a:lnTo>
                  <a:pt x="512" y="1246"/>
                </a:lnTo>
                <a:lnTo>
                  <a:pt x="509" y="1244"/>
                </a:lnTo>
                <a:lnTo>
                  <a:pt x="508" y="1242"/>
                </a:lnTo>
                <a:lnTo>
                  <a:pt x="506" y="1240"/>
                </a:lnTo>
                <a:lnTo>
                  <a:pt x="505" y="1238"/>
                </a:lnTo>
                <a:lnTo>
                  <a:pt x="505" y="1235"/>
                </a:lnTo>
                <a:lnTo>
                  <a:pt x="505" y="1233"/>
                </a:lnTo>
                <a:lnTo>
                  <a:pt x="505" y="1230"/>
                </a:lnTo>
                <a:lnTo>
                  <a:pt x="506" y="1228"/>
                </a:lnTo>
                <a:lnTo>
                  <a:pt x="508" y="1225"/>
                </a:lnTo>
                <a:lnTo>
                  <a:pt x="510" y="1223"/>
                </a:lnTo>
                <a:lnTo>
                  <a:pt x="513" y="1222"/>
                </a:lnTo>
                <a:lnTo>
                  <a:pt x="516" y="1221"/>
                </a:lnTo>
                <a:close/>
                <a:moveTo>
                  <a:pt x="547" y="1163"/>
                </a:moveTo>
                <a:lnTo>
                  <a:pt x="552" y="1163"/>
                </a:lnTo>
                <a:lnTo>
                  <a:pt x="554" y="1164"/>
                </a:lnTo>
                <a:lnTo>
                  <a:pt x="556" y="1164"/>
                </a:lnTo>
                <a:lnTo>
                  <a:pt x="558" y="1166"/>
                </a:lnTo>
                <a:lnTo>
                  <a:pt x="560" y="1168"/>
                </a:lnTo>
                <a:lnTo>
                  <a:pt x="561" y="1170"/>
                </a:lnTo>
                <a:lnTo>
                  <a:pt x="562" y="1172"/>
                </a:lnTo>
                <a:lnTo>
                  <a:pt x="563" y="1175"/>
                </a:lnTo>
                <a:lnTo>
                  <a:pt x="563" y="1177"/>
                </a:lnTo>
                <a:lnTo>
                  <a:pt x="562" y="1180"/>
                </a:lnTo>
                <a:lnTo>
                  <a:pt x="561" y="1182"/>
                </a:lnTo>
                <a:lnTo>
                  <a:pt x="559" y="1185"/>
                </a:lnTo>
                <a:lnTo>
                  <a:pt x="557" y="1187"/>
                </a:lnTo>
                <a:lnTo>
                  <a:pt x="555" y="1188"/>
                </a:lnTo>
                <a:lnTo>
                  <a:pt x="552" y="1189"/>
                </a:lnTo>
                <a:lnTo>
                  <a:pt x="547" y="1189"/>
                </a:lnTo>
                <a:lnTo>
                  <a:pt x="545" y="1188"/>
                </a:lnTo>
                <a:lnTo>
                  <a:pt x="543" y="1187"/>
                </a:lnTo>
                <a:lnTo>
                  <a:pt x="541" y="1186"/>
                </a:lnTo>
                <a:lnTo>
                  <a:pt x="539" y="1184"/>
                </a:lnTo>
                <a:lnTo>
                  <a:pt x="538" y="1182"/>
                </a:lnTo>
                <a:lnTo>
                  <a:pt x="537" y="1179"/>
                </a:lnTo>
                <a:lnTo>
                  <a:pt x="537" y="1177"/>
                </a:lnTo>
                <a:lnTo>
                  <a:pt x="537" y="1174"/>
                </a:lnTo>
                <a:lnTo>
                  <a:pt x="537" y="1172"/>
                </a:lnTo>
                <a:lnTo>
                  <a:pt x="538" y="1169"/>
                </a:lnTo>
                <a:lnTo>
                  <a:pt x="540" y="1167"/>
                </a:lnTo>
                <a:lnTo>
                  <a:pt x="542" y="1165"/>
                </a:lnTo>
                <a:lnTo>
                  <a:pt x="545" y="1164"/>
                </a:lnTo>
                <a:lnTo>
                  <a:pt x="547" y="1163"/>
                </a:lnTo>
                <a:close/>
                <a:moveTo>
                  <a:pt x="580" y="1105"/>
                </a:moveTo>
                <a:lnTo>
                  <a:pt x="585" y="1105"/>
                </a:lnTo>
                <a:lnTo>
                  <a:pt x="587" y="1105"/>
                </a:lnTo>
                <a:lnTo>
                  <a:pt x="589" y="1106"/>
                </a:lnTo>
                <a:lnTo>
                  <a:pt x="592" y="1108"/>
                </a:lnTo>
                <a:lnTo>
                  <a:pt x="593" y="1110"/>
                </a:lnTo>
                <a:lnTo>
                  <a:pt x="595" y="1112"/>
                </a:lnTo>
                <a:lnTo>
                  <a:pt x="595" y="1114"/>
                </a:lnTo>
                <a:lnTo>
                  <a:pt x="596" y="1117"/>
                </a:lnTo>
                <a:lnTo>
                  <a:pt x="596" y="1119"/>
                </a:lnTo>
                <a:lnTo>
                  <a:pt x="595" y="1122"/>
                </a:lnTo>
                <a:lnTo>
                  <a:pt x="594" y="1124"/>
                </a:lnTo>
                <a:lnTo>
                  <a:pt x="593" y="1126"/>
                </a:lnTo>
                <a:lnTo>
                  <a:pt x="592" y="1127"/>
                </a:lnTo>
                <a:lnTo>
                  <a:pt x="590" y="1128"/>
                </a:lnTo>
                <a:lnTo>
                  <a:pt x="588" y="1130"/>
                </a:lnTo>
                <a:lnTo>
                  <a:pt x="585" y="1131"/>
                </a:lnTo>
                <a:lnTo>
                  <a:pt x="580" y="1131"/>
                </a:lnTo>
                <a:lnTo>
                  <a:pt x="578" y="1130"/>
                </a:lnTo>
                <a:lnTo>
                  <a:pt x="576" y="1129"/>
                </a:lnTo>
                <a:lnTo>
                  <a:pt x="574" y="1127"/>
                </a:lnTo>
                <a:lnTo>
                  <a:pt x="572" y="1125"/>
                </a:lnTo>
                <a:lnTo>
                  <a:pt x="571" y="1123"/>
                </a:lnTo>
                <a:lnTo>
                  <a:pt x="570" y="1121"/>
                </a:lnTo>
                <a:lnTo>
                  <a:pt x="570" y="1118"/>
                </a:lnTo>
                <a:lnTo>
                  <a:pt x="570" y="1116"/>
                </a:lnTo>
                <a:lnTo>
                  <a:pt x="570" y="1113"/>
                </a:lnTo>
                <a:lnTo>
                  <a:pt x="571" y="1111"/>
                </a:lnTo>
                <a:lnTo>
                  <a:pt x="572" y="1110"/>
                </a:lnTo>
                <a:lnTo>
                  <a:pt x="573" y="1109"/>
                </a:lnTo>
                <a:lnTo>
                  <a:pt x="575" y="1107"/>
                </a:lnTo>
                <a:lnTo>
                  <a:pt x="578" y="1105"/>
                </a:lnTo>
                <a:lnTo>
                  <a:pt x="580" y="1105"/>
                </a:lnTo>
                <a:close/>
                <a:moveTo>
                  <a:pt x="615" y="1048"/>
                </a:moveTo>
                <a:lnTo>
                  <a:pt x="620" y="1048"/>
                </a:lnTo>
                <a:lnTo>
                  <a:pt x="622" y="1049"/>
                </a:lnTo>
                <a:lnTo>
                  <a:pt x="624" y="1050"/>
                </a:lnTo>
                <a:lnTo>
                  <a:pt x="626" y="1052"/>
                </a:lnTo>
                <a:lnTo>
                  <a:pt x="628" y="1054"/>
                </a:lnTo>
                <a:lnTo>
                  <a:pt x="629" y="1056"/>
                </a:lnTo>
                <a:lnTo>
                  <a:pt x="630" y="1058"/>
                </a:lnTo>
                <a:lnTo>
                  <a:pt x="630" y="1061"/>
                </a:lnTo>
                <a:lnTo>
                  <a:pt x="630" y="1063"/>
                </a:lnTo>
                <a:lnTo>
                  <a:pt x="629" y="1066"/>
                </a:lnTo>
                <a:lnTo>
                  <a:pt x="628" y="1068"/>
                </a:lnTo>
                <a:lnTo>
                  <a:pt x="627" y="1070"/>
                </a:lnTo>
                <a:lnTo>
                  <a:pt x="624" y="1072"/>
                </a:lnTo>
                <a:lnTo>
                  <a:pt x="622" y="1073"/>
                </a:lnTo>
                <a:lnTo>
                  <a:pt x="619" y="1074"/>
                </a:lnTo>
                <a:lnTo>
                  <a:pt x="615" y="1074"/>
                </a:lnTo>
                <a:lnTo>
                  <a:pt x="612" y="1073"/>
                </a:lnTo>
                <a:lnTo>
                  <a:pt x="610" y="1072"/>
                </a:lnTo>
                <a:lnTo>
                  <a:pt x="608" y="1071"/>
                </a:lnTo>
                <a:lnTo>
                  <a:pt x="606" y="1069"/>
                </a:lnTo>
                <a:lnTo>
                  <a:pt x="605" y="1066"/>
                </a:lnTo>
                <a:lnTo>
                  <a:pt x="604" y="1064"/>
                </a:lnTo>
                <a:lnTo>
                  <a:pt x="604" y="1062"/>
                </a:lnTo>
                <a:lnTo>
                  <a:pt x="604" y="1059"/>
                </a:lnTo>
                <a:lnTo>
                  <a:pt x="605" y="1057"/>
                </a:lnTo>
                <a:lnTo>
                  <a:pt x="606" y="1054"/>
                </a:lnTo>
                <a:lnTo>
                  <a:pt x="608" y="1052"/>
                </a:lnTo>
                <a:lnTo>
                  <a:pt x="610" y="1050"/>
                </a:lnTo>
                <a:lnTo>
                  <a:pt x="612" y="1049"/>
                </a:lnTo>
                <a:lnTo>
                  <a:pt x="615" y="1048"/>
                </a:lnTo>
                <a:close/>
                <a:moveTo>
                  <a:pt x="651" y="993"/>
                </a:moveTo>
                <a:lnTo>
                  <a:pt x="656" y="993"/>
                </a:lnTo>
                <a:lnTo>
                  <a:pt x="658" y="993"/>
                </a:lnTo>
                <a:lnTo>
                  <a:pt x="660" y="995"/>
                </a:lnTo>
                <a:lnTo>
                  <a:pt x="662" y="996"/>
                </a:lnTo>
                <a:lnTo>
                  <a:pt x="664" y="998"/>
                </a:lnTo>
                <a:lnTo>
                  <a:pt x="665" y="1000"/>
                </a:lnTo>
                <a:lnTo>
                  <a:pt x="666" y="1003"/>
                </a:lnTo>
                <a:lnTo>
                  <a:pt x="666" y="1008"/>
                </a:lnTo>
                <a:lnTo>
                  <a:pt x="665" y="1010"/>
                </a:lnTo>
                <a:lnTo>
                  <a:pt x="664" y="1013"/>
                </a:lnTo>
                <a:lnTo>
                  <a:pt x="662" y="1015"/>
                </a:lnTo>
                <a:lnTo>
                  <a:pt x="660" y="1017"/>
                </a:lnTo>
                <a:lnTo>
                  <a:pt x="658" y="1018"/>
                </a:lnTo>
                <a:lnTo>
                  <a:pt x="655" y="1018"/>
                </a:lnTo>
                <a:lnTo>
                  <a:pt x="650" y="1018"/>
                </a:lnTo>
                <a:lnTo>
                  <a:pt x="648" y="1018"/>
                </a:lnTo>
                <a:lnTo>
                  <a:pt x="646" y="1016"/>
                </a:lnTo>
                <a:lnTo>
                  <a:pt x="644" y="1015"/>
                </a:lnTo>
                <a:lnTo>
                  <a:pt x="642" y="1013"/>
                </a:lnTo>
                <a:lnTo>
                  <a:pt x="641" y="1011"/>
                </a:lnTo>
                <a:lnTo>
                  <a:pt x="640" y="1008"/>
                </a:lnTo>
                <a:lnTo>
                  <a:pt x="640" y="1003"/>
                </a:lnTo>
                <a:lnTo>
                  <a:pt x="641" y="1001"/>
                </a:lnTo>
                <a:lnTo>
                  <a:pt x="642" y="998"/>
                </a:lnTo>
                <a:lnTo>
                  <a:pt x="644" y="996"/>
                </a:lnTo>
                <a:lnTo>
                  <a:pt x="646" y="994"/>
                </a:lnTo>
                <a:lnTo>
                  <a:pt x="648" y="993"/>
                </a:lnTo>
                <a:lnTo>
                  <a:pt x="651" y="993"/>
                </a:lnTo>
                <a:close/>
                <a:moveTo>
                  <a:pt x="688" y="938"/>
                </a:moveTo>
                <a:lnTo>
                  <a:pt x="693" y="938"/>
                </a:lnTo>
                <a:lnTo>
                  <a:pt x="695" y="939"/>
                </a:lnTo>
                <a:lnTo>
                  <a:pt x="698" y="940"/>
                </a:lnTo>
                <a:lnTo>
                  <a:pt x="700" y="942"/>
                </a:lnTo>
                <a:lnTo>
                  <a:pt x="701" y="944"/>
                </a:lnTo>
                <a:lnTo>
                  <a:pt x="702" y="946"/>
                </a:lnTo>
                <a:lnTo>
                  <a:pt x="703" y="949"/>
                </a:lnTo>
                <a:lnTo>
                  <a:pt x="703" y="954"/>
                </a:lnTo>
                <a:lnTo>
                  <a:pt x="702" y="956"/>
                </a:lnTo>
                <a:lnTo>
                  <a:pt x="701" y="958"/>
                </a:lnTo>
                <a:lnTo>
                  <a:pt x="699" y="960"/>
                </a:lnTo>
                <a:lnTo>
                  <a:pt x="697" y="962"/>
                </a:lnTo>
                <a:lnTo>
                  <a:pt x="695" y="963"/>
                </a:lnTo>
                <a:lnTo>
                  <a:pt x="692" y="964"/>
                </a:lnTo>
                <a:lnTo>
                  <a:pt x="687" y="964"/>
                </a:lnTo>
                <a:lnTo>
                  <a:pt x="685" y="963"/>
                </a:lnTo>
                <a:lnTo>
                  <a:pt x="683" y="962"/>
                </a:lnTo>
                <a:lnTo>
                  <a:pt x="681" y="960"/>
                </a:lnTo>
                <a:lnTo>
                  <a:pt x="679" y="958"/>
                </a:lnTo>
                <a:lnTo>
                  <a:pt x="678" y="956"/>
                </a:lnTo>
                <a:lnTo>
                  <a:pt x="677" y="953"/>
                </a:lnTo>
                <a:lnTo>
                  <a:pt x="677" y="948"/>
                </a:lnTo>
                <a:lnTo>
                  <a:pt x="678" y="946"/>
                </a:lnTo>
                <a:lnTo>
                  <a:pt x="679" y="943"/>
                </a:lnTo>
                <a:lnTo>
                  <a:pt x="681" y="941"/>
                </a:lnTo>
                <a:lnTo>
                  <a:pt x="683" y="940"/>
                </a:lnTo>
                <a:lnTo>
                  <a:pt x="685" y="939"/>
                </a:lnTo>
                <a:lnTo>
                  <a:pt x="688" y="938"/>
                </a:lnTo>
                <a:close/>
                <a:moveTo>
                  <a:pt x="2925" y="500"/>
                </a:moveTo>
                <a:lnTo>
                  <a:pt x="2927" y="499"/>
                </a:lnTo>
                <a:lnTo>
                  <a:pt x="2930" y="500"/>
                </a:lnTo>
                <a:lnTo>
                  <a:pt x="2933" y="501"/>
                </a:lnTo>
                <a:lnTo>
                  <a:pt x="2935" y="502"/>
                </a:lnTo>
                <a:lnTo>
                  <a:pt x="2937" y="504"/>
                </a:lnTo>
                <a:lnTo>
                  <a:pt x="2938" y="506"/>
                </a:lnTo>
                <a:lnTo>
                  <a:pt x="2939" y="508"/>
                </a:lnTo>
                <a:lnTo>
                  <a:pt x="2940" y="510"/>
                </a:lnTo>
                <a:lnTo>
                  <a:pt x="2940" y="513"/>
                </a:lnTo>
                <a:lnTo>
                  <a:pt x="2940" y="516"/>
                </a:lnTo>
                <a:lnTo>
                  <a:pt x="2938" y="519"/>
                </a:lnTo>
                <a:lnTo>
                  <a:pt x="2936" y="522"/>
                </a:lnTo>
                <a:lnTo>
                  <a:pt x="2933" y="524"/>
                </a:lnTo>
                <a:lnTo>
                  <a:pt x="2929" y="526"/>
                </a:lnTo>
                <a:lnTo>
                  <a:pt x="2927" y="526"/>
                </a:lnTo>
                <a:lnTo>
                  <a:pt x="2924" y="525"/>
                </a:lnTo>
                <a:lnTo>
                  <a:pt x="2921" y="524"/>
                </a:lnTo>
                <a:lnTo>
                  <a:pt x="2919" y="523"/>
                </a:lnTo>
                <a:lnTo>
                  <a:pt x="2917" y="521"/>
                </a:lnTo>
                <a:lnTo>
                  <a:pt x="2916" y="519"/>
                </a:lnTo>
                <a:lnTo>
                  <a:pt x="2915" y="517"/>
                </a:lnTo>
                <a:lnTo>
                  <a:pt x="2914" y="515"/>
                </a:lnTo>
                <a:lnTo>
                  <a:pt x="2914" y="512"/>
                </a:lnTo>
                <a:lnTo>
                  <a:pt x="2914" y="510"/>
                </a:lnTo>
                <a:lnTo>
                  <a:pt x="2916" y="506"/>
                </a:lnTo>
                <a:lnTo>
                  <a:pt x="2918" y="503"/>
                </a:lnTo>
                <a:lnTo>
                  <a:pt x="2921" y="501"/>
                </a:lnTo>
                <a:lnTo>
                  <a:pt x="2925" y="500"/>
                </a:lnTo>
                <a:close/>
                <a:moveTo>
                  <a:pt x="727" y="884"/>
                </a:moveTo>
                <a:lnTo>
                  <a:pt x="729" y="884"/>
                </a:lnTo>
                <a:lnTo>
                  <a:pt x="732" y="884"/>
                </a:lnTo>
                <a:lnTo>
                  <a:pt x="734" y="885"/>
                </a:lnTo>
                <a:lnTo>
                  <a:pt x="738" y="887"/>
                </a:lnTo>
                <a:lnTo>
                  <a:pt x="740" y="888"/>
                </a:lnTo>
                <a:lnTo>
                  <a:pt x="741" y="890"/>
                </a:lnTo>
                <a:lnTo>
                  <a:pt x="742" y="893"/>
                </a:lnTo>
                <a:lnTo>
                  <a:pt x="743" y="895"/>
                </a:lnTo>
                <a:lnTo>
                  <a:pt x="743" y="898"/>
                </a:lnTo>
                <a:lnTo>
                  <a:pt x="743" y="900"/>
                </a:lnTo>
                <a:lnTo>
                  <a:pt x="742" y="903"/>
                </a:lnTo>
                <a:lnTo>
                  <a:pt x="740" y="905"/>
                </a:lnTo>
                <a:lnTo>
                  <a:pt x="739" y="907"/>
                </a:lnTo>
                <a:lnTo>
                  <a:pt x="737" y="908"/>
                </a:lnTo>
                <a:lnTo>
                  <a:pt x="734" y="909"/>
                </a:lnTo>
                <a:lnTo>
                  <a:pt x="731" y="910"/>
                </a:lnTo>
                <a:lnTo>
                  <a:pt x="729" y="910"/>
                </a:lnTo>
                <a:lnTo>
                  <a:pt x="726" y="910"/>
                </a:lnTo>
                <a:lnTo>
                  <a:pt x="723" y="909"/>
                </a:lnTo>
                <a:lnTo>
                  <a:pt x="721" y="908"/>
                </a:lnTo>
                <a:lnTo>
                  <a:pt x="719" y="906"/>
                </a:lnTo>
                <a:lnTo>
                  <a:pt x="718" y="904"/>
                </a:lnTo>
                <a:lnTo>
                  <a:pt x="717" y="902"/>
                </a:lnTo>
                <a:lnTo>
                  <a:pt x="716" y="899"/>
                </a:lnTo>
                <a:lnTo>
                  <a:pt x="716" y="897"/>
                </a:lnTo>
                <a:lnTo>
                  <a:pt x="716" y="894"/>
                </a:lnTo>
                <a:lnTo>
                  <a:pt x="717" y="892"/>
                </a:lnTo>
                <a:lnTo>
                  <a:pt x="718" y="889"/>
                </a:lnTo>
                <a:lnTo>
                  <a:pt x="720" y="887"/>
                </a:lnTo>
                <a:lnTo>
                  <a:pt x="722" y="886"/>
                </a:lnTo>
                <a:lnTo>
                  <a:pt x="724" y="885"/>
                </a:lnTo>
                <a:lnTo>
                  <a:pt x="727" y="884"/>
                </a:lnTo>
                <a:close/>
                <a:moveTo>
                  <a:pt x="2860" y="484"/>
                </a:moveTo>
                <a:lnTo>
                  <a:pt x="2863" y="484"/>
                </a:lnTo>
                <a:lnTo>
                  <a:pt x="2866" y="484"/>
                </a:lnTo>
                <a:lnTo>
                  <a:pt x="2868" y="485"/>
                </a:lnTo>
                <a:lnTo>
                  <a:pt x="2871" y="487"/>
                </a:lnTo>
                <a:lnTo>
                  <a:pt x="2872" y="488"/>
                </a:lnTo>
                <a:lnTo>
                  <a:pt x="2874" y="490"/>
                </a:lnTo>
                <a:lnTo>
                  <a:pt x="2875" y="493"/>
                </a:lnTo>
                <a:lnTo>
                  <a:pt x="2876" y="495"/>
                </a:lnTo>
                <a:lnTo>
                  <a:pt x="2876" y="498"/>
                </a:lnTo>
                <a:lnTo>
                  <a:pt x="2875" y="500"/>
                </a:lnTo>
                <a:lnTo>
                  <a:pt x="2875" y="502"/>
                </a:lnTo>
                <a:lnTo>
                  <a:pt x="2874" y="504"/>
                </a:lnTo>
                <a:lnTo>
                  <a:pt x="2872" y="507"/>
                </a:lnTo>
                <a:lnTo>
                  <a:pt x="2869" y="509"/>
                </a:lnTo>
                <a:lnTo>
                  <a:pt x="2865" y="510"/>
                </a:lnTo>
                <a:lnTo>
                  <a:pt x="2862" y="510"/>
                </a:lnTo>
                <a:lnTo>
                  <a:pt x="2860" y="510"/>
                </a:lnTo>
                <a:lnTo>
                  <a:pt x="2857" y="509"/>
                </a:lnTo>
                <a:lnTo>
                  <a:pt x="2855" y="508"/>
                </a:lnTo>
                <a:lnTo>
                  <a:pt x="2853" y="506"/>
                </a:lnTo>
                <a:lnTo>
                  <a:pt x="2852" y="504"/>
                </a:lnTo>
                <a:lnTo>
                  <a:pt x="2850" y="502"/>
                </a:lnTo>
                <a:lnTo>
                  <a:pt x="2850" y="499"/>
                </a:lnTo>
                <a:lnTo>
                  <a:pt x="2850" y="497"/>
                </a:lnTo>
                <a:lnTo>
                  <a:pt x="2850" y="494"/>
                </a:lnTo>
                <a:lnTo>
                  <a:pt x="2851" y="492"/>
                </a:lnTo>
                <a:lnTo>
                  <a:pt x="2851" y="490"/>
                </a:lnTo>
                <a:lnTo>
                  <a:pt x="2854" y="487"/>
                </a:lnTo>
                <a:lnTo>
                  <a:pt x="2857" y="485"/>
                </a:lnTo>
                <a:lnTo>
                  <a:pt x="2860" y="484"/>
                </a:lnTo>
                <a:close/>
                <a:moveTo>
                  <a:pt x="768" y="832"/>
                </a:moveTo>
                <a:lnTo>
                  <a:pt x="770" y="831"/>
                </a:lnTo>
                <a:lnTo>
                  <a:pt x="773" y="832"/>
                </a:lnTo>
                <a:lnTo>
                  <a:pt x="776" y="833"/>
                </a:lnTo>
                <a:lnTo>
                  <a:pt x="778" y="834"/>
                </a:lnTo>
                <a:lnTo>
                  <a:pt x="780" y="836"/>
                </a:lnTo>
                <a:lnTo>
                  <a:pt x="782" y="838"/>
                </a:lnTo>
                <a:lnTo>
                  <a:pt x="783" y="841"/>
                </a:lnTo>
                <a:lnTo>
                  <a:pt x="783" y="843"/>
                </a:lnTo>
                <a:lnTo>
                  <a:pt x="783" y="846"/>
                </a:lnTo>
                <a:lnTo>
                  <a:pt x="783" y="848"/>
                </a:lnTo>
                <a:lnTo>
                  <a:pt x="782" y="850"/>
                </a:lnTo>
                <a:lnTo>
                  <a:pt x="780" y="853"/>
                </a:lnTo>
                <a:lnTo>
                  <a:pt x="779" y="855"/>
                </a:lnTo>
                <a:lnTo>
                  <a:pt x="777" y="856"/>
                </a:lnTo>
                <a:lnTo>
                  <a:pt x="775" y="857"/>
                </a:lnTo>
                <a:lnTo>
                  <a:pt x="772" y="858"/>
                </a:lnTo>
                <a:lnTo>
                  <a:pt x="770" y="858"/>
                </a:lnTo>
                <a:lnTo>
                  <a:pt x="767" y="857"/>
                </a:lnTo>
                <a:lnTo>
                  <a:pt x="764" y="856"/>
                </a:lnTo>
                <a:lnTo>
                  <a:pt x="762" y="855"/>
                </a:lnTo>
                <a:lnTo>
                  <a:pt x="760" y="853"/>
                </a:lnTo>
                <a:lnTo>
                  <a:pt x="759" y="851"/>
                </a:lnTo>
                <a:lnTo>
                  <a:pt x="758" y="849"/>
                </a:lnTo>
                <a:lnTo>
                  <a:pt x="757" y="846"/>
                </a:lnTo>
                <a:lnTo>
                  <a:pt x="757" y="844"/>
                </a:lnTo>
                <a:lnTo>
                  <a:pt x="757" y="841"/>
                </a:lnTo>
                <a:lnTo>
                  <a:pt x="758" y="839"/>
                </a:lnTo>
                <a:lnTo>
                  <a:pt x="760" y="836"/>
                </a:lnTo>
                <a:lnTo>
                  <a:pt x="761" y="835"/>
                </a:lnTo>
                <a:lnTo>
                  <a:pt x="763" y="833"/>
                </a:lnTo>
                <a:lnTo>
                  <a:pt x="766" y="832"/>
                </a:lnTo>
                <a:lnTo>
                  <a:pt x="768" y="832"/>
                </a:lnTo>
                <a:close/>
                <a:moveTo>
                  <a:pt x="2796" y="468"/>
                </a:moveTo>
                <a:lnTo>
                  <a:pt x="2799" y="468"/>
                </a:lnTo>
                <a:lnTo>
                  <a:pt x="2802" y="469"/>
                </a:lnTo>
                <a:lnTo>
                  <a:pt x="2804" y="469"/>
                </a:lnTo>
                <a:lnTo>
                  <a:pt x="2806" y="471"/>
                </a:lnTo>
                <a:lnTo>
                  <a:pt x="2808" y="473"/>
                </a:lnTo>
                <a:lnTo>
                  <a:pt x="2810" y="475"/>
                </a:lnTo>
                <a:lnTo>
                  <a:pt x="2811" y="477"/>
                </a:lnTo>
                <a:lnTo>
                  <a:pt x="2811" y="479"/>
                </a:lnTo>
                <a:lnTo>
                  <a:pt x="2812" y="482"/>
                </a:lnTo>
                <a:lnTo>
                  <a:pt x="2811" y="484"/>
                </a:lnTo>
                <a:lnTo>
                  <a:pt x="2811" y="486"/>
                </a:lnTo>
                <a:lnTo>
                  <a:pt x="2810" y="488"/>
                </a:lnTo>
                <a:lnTo>
                  <a:pt x="2807" y="491"/>
                </a:lnTo>
                <a:lnTo>
                  <a:pt x="2804" y="493"/>
                </a:lnTo>
                <a:lnTo>
                  <a:pt x="2801" y="494"/>
                </a:lnTo>
                <a:lnTo>
                  <a:pt x="2798" y="494"/>
                </a:lnTo>
                <a:lnTo>
                  <a:pt x="2795" y="494"/>
                </a:lnTo>
                <a:lnTo>
                  <a:pt x="2793" y="493"/>
                </a:lnTo>
                <a:lnTo>
                  <a:pt x="2791" y="492"/>
                </a:lnTo>
                <a:lnTo>
                  <a:pt x="2789" y="490"/>
                </a:lnTo>
                <a:lnTo>
                  <a:pt x="2787" y="488"/>
                </a:lnTo>
                <a:lnTo>
                  <a:pt x="2786" y="486"/>
                </a:lnTo>
                <a:lnTo>
                  <a:pt x="2786" y="483"/>
                </a:lnTo>
                <a:lnTo>
                  <a:pt x="2785" y="481"/>
                </a:lnTo>
                <a:lnTo>
                  <a:pt x="2786" y="478"/>
                </a:lnTo>
                <a:lnTo>
                  <a:pt x="2786" y="476"/>
                </a:lnTo>
                <a:lnTo>
                  <a:pt x="2787" y="475"/>
                </a:lnTo>
                <a:lnTo>
                  <a:pt x="2790" y="472"/>
                </a:lnTo>
                <a:lnTo>
                  <a:pt x="2793" y="470"/>
                </a:lnTo>
                <a:lnTo>
                  <a:pt x="2796" y="468"/>
                </a:lnTo>
                <a:close/>
                <a:moveTo>
                  <a:pt x="2732" y="452"/>
                </a:moveTo>
                <a:lnTo>
                  <a:pt x="2735" y="452"/>
                </a:lnTo>
                <a:lnTo>
                  <a:pt x="2737" y="453"/>
                </a:lnTo>
                <a:lnTo>
                  <a:pt x="2740" y="454"/>
                </a:lnTo>
                <a:lnTo>
                  <a:pt x="2742" y="455"/>
                </a:lnTo>
                <a:lnTo>
                  <a:pt x="2744" y="457"/>
                </a:lnTo>
                <a:lnTo>
                  <a:pt x="2746" y="459"/>
                </a:lnTo>
                <a:lnTo>
                  <a:pt x="2747" y="461"/>
                </a:lnTo>
                <a:lnTo>
                  <a:pt x="2747" y="463"/>
                </a:lnTo>
                <a:lnTo>
                  <a:pt x="2747" y="466"/>
                </a:lnTo>
                <a:lnTo>
                  <a:pt x="2747" y="469"/>
                </a:lnTo>
                <a:lnTo>
                  <a:pt x="2746" y="470"/>
                </a:lnTo>
                <a:lnTo>
                  <a:pt x="2746" y="472"/>
                </a:lnTo>
                <a:lnTo>
                  <a:pt x="2743" y="475"/>
                </a:lnTo>
                <a:lnTo>
                  <a:pt x="2740" y="477"/>
                </a:lnTo>
                <a:lnTo>
                  <a:pt x="2737" y="478"/>
                </a:lnTo>
                <a:lnTo>
                  <a:pt x="2734" y="478"/>
                </a:lnTo>
                <a:lnTo>
                  <a:pt x="2731" y="478"/>
                </a:lnTo>
                <a:lnTo>
                  <a:pt x="2729" y="477"/>
                </a:lnTo>
                <a:lnTo>
                  <a:pt x="2726" y="476"/>
                </a:lnTo>
                <a:lnTo>
                  <a:pt x="2725" y="474"/>
                </a:lnTo>
                <a:lnTo>
                  <a:pt x="2723" y="472"/>
                </a:lnTo>
                <a:lnTo>
                  <a:pt x="2722" y="470"/>
                </a:lnTo>
                <a:lnTo>
                  <a:pt x="2721" y="467"/>
                </a:lnTo>
                <a:lnTo>
                  <a:pt x="2721" y="465"/>
                </a:lnTo>
                <a:lnTo>
                  <a:pt x="2722" y="462"/>
                </a:lnTo>
                <a:lnTo>
                  <a:pt x="2722" y="460"/>
                </a:lnTo>
                <a:lnTo>
                  <a:pt x="2723" y="459"/>
                </a:lnTo>
                <a:lnTo>
                  <a:pt x="2725" y="456"/>
                </a:lnTo>
                <a:lnTo>
                  <a:pt x="2728" y="454"/>
                </a:lnTo>
                <a:lnTo>
                  <a:pt x="2732" y="452"/>
                </a:lnTo>
                <a:close/>
                <a:moveTo>
                  <a:pt x="810" y="780"/>
                </a:moveTo>
                <a:lnTo>
                  <a:pt x="812" y="780"/>
                </a:lnTo>
                <a:lnTo>
                  <a:pt x="815" y="781"/>
                </a:lnTo>
                <a:lnTo>
                  <a:pt x="818" y="782"/>
                </a:lnTo>
                <a:lnTo>
                  <a:pt x="820" y="783"/>
                </a:lnTo>
                <a:lnTo>
                  <a:pt x="822" y="785"/>
                </a:lnTo>
                <a:lnTo>
                  <a:pt x="823" y="787"/>
                </a:lnTo>
                <a:lnTo>
                  <a:pt x="825" y="792"/>
                </a:lnTo>
                <a:lnTo>
                  <a:pt x="825" y="795"/>
                </a:lnTo>
                <a:lnTo>
                  <a:pt x="824" y="797"/>
                </a:lnTo>
                <a:lnTo>
                  <a:pt x="823" y="800"/>
                </a:lnTo>
                <a:lnTo>
                  <a:pt x="822" y="802"/>
                </a:lnTo>
                <a:lnTo>
                  <a:pt x="820" y="803"/>
                </a:lnTo>
                <a:lnTo>
                  <a:pt x="818" y="805"/>
                </a:lnTo>
                <a:lnTo>
                  <a:pt x="816" y="806"/>
                </a:lnTo>
                <a:lnTo>
                  <a:pt x="814" y="806"/>
                </a:lnTo>
                <a:lnTo>
                  <a:pt x="811" y="806"/>
                </a:lnTo>
                <a:lnTo>
                  <a:pt x="808" y="806"/>
                </a:lnTo>
                <a:lnTo>
                  <a:pt x="806" y="805"/>
                </a:lnTo>
                <a:lnTo>
                  <a:pt x="803" y="803"/>
                </a:lnTo>
                <a:lnTo>
                  <a:pt x="802" y="801"/>
                </a:lnTo>
                <a:lnTo>
                  <a:pt x="800" y="799"/>
                </a:lnTo>
                <a:lnTo>
                  <a:pt x="799" y="794"/>
                </a:lnTo>
                <a:lnTo>
                  <a:pt x="799" y="792"/>
                </a:lnTo>
                <a:lnTo>
                  <a:pt x="799" y="789"/>
                </a:lnTo>
                <a:lnTo>
                  <a:pt x="800" y="787"/>
                </a:lnTo>
                <a:lnTo>
                  <a:pt x="802" y="785"/>
                </a:lnTo>
                <a:lnTo>
                  <a:pt x="803" y="783"/>
                </a:lnTo>
                <a:lnTo>
                  <a:pt x="805" y="782"/>
                </a:lnTo>
                <a:lnTo>
                  <a:pt x="807" y="781"/>
                </a:lnTo>
                <a:lnTo>
                  <a:pt x="810" y="780"/>
                </a:lnTo>
                <a:close/>
                <a:moveTo>
                  <a:pt x="2668" y="436"/>
                </a:moveTo>
                <a:lnTo>
                  <a:pt x="2671" y="436"/>
                </a:lnTo>
                <a:lnTo>
                  <a:pt x="2673" y="437"/>
                </a:lnTo>
                <a:lnTo>
                  <a:pt x="2676" y="437"/>
                </a:lnTo>
                <a:lnTo>
                  <a:pt x="2678" y="439"/>
                </a:lnTo>
                <a:lnTo>
                  <a:pt x="2680" y="441"/>
                </a:lnTo>
                <a:lnTo>
                  <a:pt x="2681" y="443"/>
                </a:lnTo>
                <a:lnTo>
                  <a:pt x="2682" y="445"/>
                </a:lnTo>
                <a:lnTo>
                  <a:pt x="2683" y="447"/>
                </a:lnTo>
                <a:lnTo>
                  <a:pt x="2683" y="450"/>
                </a:lnTo>
                <a:lnTo>
                  <a:pt x="2683" y="452"/>
                </a:lnTo>
                <a:lnTo>
                  <a:pt x="2682" y="454"/>
                </a:lnTo>
                <a:lnTo>
                  <a:pt x="2681" y="456"/>
                </a:lnTo>
                <a:lnTo>
                  <a:pt x="2679" y="459"/>
                </a:lnTo>
                <a:lnTo>
                  <a:pt x="2676" y="461"/>
                </a:lnTo>
                <a:lnTo>
                  <a:pt x="2672" y="462"/>
                </a:lnTo>
                <a:lnTo>
                  <a:pt x="2670" y="462"/>
                </a:lnTo>
                <a:lnTo>
                  <a:pt x="2667" y="462"/>
                </a:lnTo>
                <a:lnTo>
                  <a:pt x="2664" y="461"/>
                </a:lnTo>
                <a:lnTo>
                  <a:pt x="2662" y="460"/>
                </a:lnTo>
                <a:lnTo>
                  <a:pt x="2660" y="458"/>
                </a:lnTo>
                <a:lnTo>
                  <a:pt x="2659" y="456"/>
                </a:lnTo>
                <a:lnTo>
                  <a:pt x="2658" y="454"/>
                </a:lnTo>
                <a:lnTo>
                  <a:pt x="2657" y="451"/>
                </a:lnTo>
                <a:lnTo>
                  <a:pt x="2657" y="449"/>
                </a:lnTo>
                <a:lnTo>
                  <a:pt x="2657" y="446"/>
                </a:lnTo>
                <a:lnTo>
                  <a:pt x="2658" y="444"/>
                </a:lnTo>
                <a:lnTo>
                  <a:pt x="2659" y="442"/>
                </a:lnTo>
                <a:lnTo>
                  <a:pt x="2661" y="440"/>
                </a:lnTo>
                <a:lnTo>
                  <a:pt x="2664" y="438"/>
                </a:lnTo>
                <a:lnTo>
                  <a:pt x="2668" y="436"/>
                </a:lnTo>
                <a:close/>
                <a:moveTo>
                  <a:pt x="853" y="730"/>
                </a:moveTo>
                <a:lnTo>
                  <a:pt x="856" y="730"/>
                </a:lnTo>
                <a:lnTo>
                  <a:pt x="859" y="731"/>
                </a:lnTo>
                <a:lnTo>
                  <a:pt x="861" y="732"/>
                </a:lnTo>
                <a:lnTo>
                  <a:pt x="864" y="733"/>
                </a:lnTo>
                <a:lnTo>
                  <a:pt x="866" y="735"/>
                </a:lnTo>
                <a:lnTo>
                  <a:pt x="867" y="738"/>
                </a:lnTo>
                <a:lnTo>
                  <a:pt x="867" y="739"/>
                </a:lnTo>
                <a:lnTo>
                  <a:pt x="868" y="740"/>
                </a:lnTo>
                <a:lnTo>
                  <a:pt x="868" y="743"/>
                </a:lnTo>
                <a:lnTo>
                  <a:pt x="868" y="748"/>
                </a:lnTo>
                <a:lnTo>
                  <a:pt x="866" y="750"/>
                </a:lnTo>
                <a:lnTo>
                  <a:pt x="865" y="752"/>
                </a:lnTo>
                <a:lnTo>
                  <a:pt x="863" y="754"/>
                </a:lnTo>
                <a:lnTo>
                  <a:pt x="861" y="755"/>
                </a:lnTo>
                <a:lnTo>
                  <a:pt x="857" y="756"/>
                </a:lnTo>
                <a:lnTo>
                  <a:pt x="854" y="756"/>
                </a:lnTo>
                <a:lnTo>
                  <a:pt x="852" y="756"/>
                </a:lnTo>
                <a:lnTo>
                  <a:pt x="849" y="755"/>
                </a:lnTo>
                <a:lnTo>
                  <a:pt x="846" y="753"/>
                </a:lnTo>
                <a:lnTo>
                  <a:pt x="845" y="751"/>
                </a:lnTo>
                <a:lnTo>
                  <a:pt x="843" y="749"/>
                </a:lnTo>
                <a:lnTo>
                  <a:pt x="843" y="748"/>
                </a:lnTo>
                <a:lnTo>
                  <a:pt x="842" y="746"/>
                </a:lnTo>
                <a:lnTo>
                  <a:pt x="842" y="744"/>
                </a:lnTo>
                <a:lnTo>
                  <a:pt x="843" y="739"/>
                </a:lnTo>
                <a:lnTo>
                  <a:pt x="844" y="737"/>
                </a:lnTo>
                <a:lnTo>
                  <a:pt x="845" y="735"/>
                </a:lnTo>
                <a:lnTo>
                  <a:pt x="847" y="733"/>
                </a:lnTo>
                <a:lnTo>
                  <a:pt x="849" y="732"/>
                </a:lnTo>
                <a:lnTo>
                  <a:pt x="853" y="730"/>
                </a:lnTo>
                <a:close/>
                <a:moveTo>
                  <a:pt x="2604" y="420"/>
                </a:moveTo>
                <a:lnTo>
                  <a:pt x="2606" y="420"/>
                </a:lnTo>
                <a:lnTo>
                  <a:pt x="2609" y="420"/>
                </a:lnTo>
                <a:lnTo>
                  <a:pt x="2612" y="421"/>
                </a:lnTo>
                <a:lnTo>
                  <a:pt x="2614" y="423"/>
                </a:lnTo>
                <a:lnTo>
                  <a:pt x="2616" y="424"/>
                </a:lnTo>
                <a:lnTo>
                  <a:pt x="2617" y="426"/>
                </a:lnTo>
                <a:lnTo>
                  <a:pt x="2618" y="429"/>
                </a:lnTo>
                <a:lnTo>
                  <a:pt x="2619" y="431"/>
                </a:lnTo>
                <a:lnTo>
                  <a:pt x="2619" y="434"/>
                </a:lnTo>
                <a:lnTo>
                  <a:pt x="2619" y="436"/>
                </a:lnTo>
                <a:lnTo>
                  <a:pt x="2618" y="438"/>
                </a:lnTo>
                <a:lnTo>
                  <a:pt x="2617" y="440"/>
                </a:lnTo>
                <a:lnTo>
                  <a:pt x="2615" y="443"/>
                </a:lnTo>
                <a:lnTo>
                  <a:pt x="2612" y="445"/>
                </a:lnTo>
                <a:lnTo>
                  <a:pt x="2608" y="446"/>
                </a:lnTo>
                <a:lnTo>
                  <a:pt x="2606" y="446"/>
                </a:lnTo>
                <a:lnTo>
                  <a:pt x="2603" y="446"/>
                </a:lnTo>
                <a:lnTo>
                  <a:pt x="2600" y="445"/>
                </a:lnTo>
                <a:lnTo>
                  <a:pt x="2598" y="444"/>
                </a:lnTo>
                <a:lnTo>
                  <a:pt x="2596" y="442"/>
                </a:lnTo>
                <a:lnTo>
                  <a:pt x="2595" y="440"/>
                </a:lnTo>
                <a:lnTo>
                  <a:pt x="2594" y="438"/>
                </a:lnTo>
                <a:lnTo>
                  <a:pt x="2593" y="435"/>
                </a:lnTo>
                <a:lnTo>
                  <a:pt x="2593" y="433"/>
                </a:lnTo>
                <a:lnTo>
                  <a:pt x="2593" y="430"/>
                </a:lnTo>
                <a:lnTo>
                  <a:pt x="2594" y="428"/>
                </a:lnTo>
                <a:lnTo>
                  <a:pt x="2595" y="426"/>
                </a:lnTo>
                <a:lnTo>
                  <a:pt x="2597" y="423"/>
                </a:lnTo>
                <a:lnTo>
                  <a:pt x="2600" y="421"/>
                </a:lnTo>
                <a:lnTo>
                  <a:pt x="2604" y="420"/>
                </a:lnTo>
                <a:close/>
                <a:moveTo>
                  <a:pt x="2540" y="404"/>
                </a:moveTo>
                <a:lnTo>
                  <a:pt x="2542" y="404"/>
                </a:lnTo>
                <a:lnTo>
                  <a:pt x="2545" y="404"/>
                </a:lnTo>
                <a:lnTo>
                  <a:pt x="2548" y="405"/>
                </a:lnTo>
                <a:lnTo>
                  <a:pt x="2550" y="406"/>
                </a:lnTo>
                <a:lnTo>
                  <a:pt x="2552" y="408"/>
                </a:lnTo>
                <a:lnTo>
                  <a:pt x="2553" y="410"/>
                </a:lnTo>
                <a:lnTo>
                  <a:pt x="2554" y="412"/>
                </a:lnTo>
                <a:lnTo>
                  <a:pt x="2555" y="415"/>
                </a:lnTo>
                <a:lnTo>
                  <a:pt x="2555" y="417"/>
                </a:lnTo>
                <a:lnTo>
                  <a:pt x="2555" y="420"/>
                </a:lnTo>
                <a:lnTo>
                  <a:pt x="2554" y="422"/>
                </a:lnTo>
                <a:lnTo>
                  <a:pt x="2553" y="424"/>
                </a:lnTo>
                <a:lnTo>
                  <a:pt x="2551" y="427"/>
                </a:lnTo>
                <a:lnTo>
                  <a:pt x="2548" y="429"/>
                </a:lnTo>
                <a:lnTo>
                  <a:pt x="2544" y="430"/>
                </a:lnTo>
                <a:lnTo>
                  <a:pt x="2541" y="430"/>
                </a:lnTo>
                <a:lnTo>
                  <a:pt x="2539" y="430"/>
                </a:lnTo>
                <a:lnTo>
                  <a:pt x="2536" y="429"/>
                </a:lnTo>
                <a:lnTo>
                  <a:pt x="2534" y="427"/>
                </a:lnTo>
                <a:lnTo>
                  <a:pt x="2532" y="426"/>
                </a:lnTo>
                <a:lnTo>
                  <a:pt x="2531" y="424"/>
                </a:lnTo>
                <a:lnTo>
                  <a:pt x="2529" y="421"/>
                </a:lnTo>
                <a:lnTo>
                  <a:pt x="2529" y="419"/>
                </a:lnTo>
                <a:lnTo>
                  <a:pt x="2529" y="416"/>
                </a:lnTo>
                <a:lnTo>
                  <a:pt x="2529" y="414"/>
                </a:lnTo>
                <a:lnTo>
                  <a:pt x="2530" y="412"/>
                </a:lnTo>
                <a:lnTo>
                  <a:pt x="2531" y="410"/>
                </a:lnTo>
                <a:lnTo>
                  <a:pt x="2533" y="407"/>
                </a:lnTo>
                <a:lnTo>
                  <a:pt x="2536" y="405"/>
                </a:lnTo>
                <a:lnTo>
                  <a:pt x="2540" y="404"/>
                </a:lnTo>
                <a:close/>
                <a:moveTo>
                  <a:pt x="898" y="682"/>
                </a:moveTo>
                <a:lnTo>
                  <a:pt x="901" y="682"/>
                </a:lnTo>
                <a:lnTo>
                  <a:pt x="904" y="682"/>
                </a:lnTo>
                <a:lnTo>
                  <a:pt x="907" y="683"/>
                </a:lnTo>
                <a:lnTo>
                  <a:pt x="909" y="685"/>
                </a:lnTo>
                <a:lnTo>
                  <a:pt x="911" y="687"/>
                </a:lnTo>
                <a:lnTo>
                  <a:pt x="912" y="689"/>
                </a:lnTo>
                <a:lnTo>
                  <a:pt x="913" y="692"/>
                </a:lnTo>
                <a:lnTo>
                  <a:pt x="913" y="694"/>
                </a:lnTo>
                <a:lnTo>
                  <a:pt x="912" y="699"/>
                </a:lnTo>
                <a:lnTo>
                  <a:pt x="911" y="702"/>
                </a:lnTo>
                <a:lnTo>
                  <a:pt x="909" y="704"/>
                </a:lnTo>
                <a:lnTo>
                  <a:pt x="906" y="706"/>
                </a:lnTo>
                <a:lnTo>
                  <a:pt x="904" y="707"/>
                </a:lnTo>
                <a:lnTo>
                  <a:pt x="902" y="708"/>
                </a:lnTo>
                <a:lnTo>
                  <a:pt x="899" y="708"/>
                </a:lnTo>
                <a:lnTo>
                  <a:pt x="896" y="707"/>
                </a:lnTo>
                <a:lnTo>
                  <a:pt x="893" y="706"/>
                </a:lnTo>
                <a:lnTo>
                  <a:pt x="891" y="704"/>
                </a:lnTo>
                <a:lnTo>
                  <a:pt x="889" y="702"/>
                </a:lnTo>
                <a:lnTo>
                  <a:pt x="888" y="700"/>
                </a:lnTo>
                <a:lnTo>
                  <a:pt x="887" y="697"/>
                </a:lnTo>
                <a:lnTo>
                  <a:pt x="887" y="695"/>
                </a:lnTo>
                <a:lnTo>
                  <a:pt x="888" y="690"/>
                </a:lnTo>
                <a:lnTo>
                  <a:pt x="889" y="688"/>
                </a:lnTo>
                <a:lnTo>
                  <a:pt x="891" y="686"/>
                </a:lnTo>
                <a:lnTo>
                  <a:pt x="894" y="683"/>
                </a:lnTo>
                <a:lnTo>
                  <a:pt x="896" y="682"/>
                </a:lnTo>
                <a:lnTo>
                  <a:pt x="898" y="682"/>
                </a:lnTo>
                <a:close/>
                <a:moveTo>
                  <a:pt x="2475" y="388"/>
                </a:moveTo>
                <a:lnTo>
                  <a:pt x="2478" y="388"/>
                </a:lnTo>
                <a:lnTo>
                  <a:pt x="2481" y="388"/>
                </a:lnTo>
                <a:lnTo>
                  <a:pt x="2483" y="389"/>
                </a:lnTo>
                <a:lnTo>
                  <a:pt x="2486" y="390"/>
                </a:lnTo>
                <a:lnTo>
                  <a:pt x="2487" y="392"/>
                </a:lnTo>
                <a:lnTo>
                  <a:pt x="2489" y="394"/>
                </a:lnTo>
                <a:lnTo>
                  <a:pt x="2490" y="396"/>
                </a:lnTo>
                <a:lnTo>
                  <a:pt x="2491" y="399"/>
                </a:lnTo>
                <a:lnTo>
                  <a:pt x="2491" y="401"/>
                </a:lnTo>
                <a:lnTo>
                  <a:pt x="2490" y="404"/>
                </a:lnTo>
                <a:lnTo>
                  <a:pt x="2490" y="406"/>
                </a:lnTo>
                <a:lnTo>
                  <a:pt x="2489" y="408"/>
                </a:lnTo>
                <a:lnTo>
                  <a:pt x="2487" y="410"/>
                </a:lnTo>
                <a:lnTo>
                  <a:pt x="2483" y="413"/>
                </a:lnTo>
                <a:lnTo>
                  <a:pt x="2480" y="414"/>
                </a:lnTo>
                <a:lnTo>
                  <a:pt x="2477" y="414"/>
                </a:lnTo>
                <a:lnTo>
                  <a:pt x="2474" y="413"/>
                </a:lnTo>
                <a:lnTo>
                  <a:pt x="2472" y="413"/>
                </a:lnTo>
                <a:lnTo>
                  <a:pt x="2470" y="411"/>
                </a:lnTo>
                <a:lnTo>
                  <a:pt x="2468" y="409"/>
                </a:lnTo>
                <a:lnTo>
                  <a:pt x="2466" y="407"/>
                </a:lnTo>
                <a:lnTo>
                  <a:pt x="2465" y="405"/>
                </a:lnTo>
                <a:lnTo>
                  <a:pt x="2465" y="403"/>
                </a:lnTo>
                <a:lnTo>
                  <a:pt x="2465" y="400"/>
                </a:lnTo>
                <a:lnTo>
                  <a:pt x="2465" y="398"/>
                </a:lnTo>
                <a:lnTo>
                  <a:pt x="2466" y="396"/>
                </a:lnTo>
                <a:lnTo>
                  <a:pt x="2466" y="394"/>
                </a:lnTo>
                <a:lnTo>
                  <a:pt x="2469" y="391"/>
                </a:lnTo>
                <a:lnTo>
                  <a:pt x="2472" y="389"/>
                </a:lnTo>
                <a:lnTo>
                  <a:pt x="2475" y="388"/>
                </a:lnTo>
                <a:close/>
                <a:moveTo>
                  <a:pt x="944" y="635"/>
                </a:moveTo>
                <a:lnTo>
                  <a:pt x="947" y="635"/>
                </a:lnTo>
                <a:lnTo>
                  <a:pt x="950" y="635"/>
                </a:lnTo>
                <a:lnTo>
                  <a:pt x="953" y="637"/>
                </a:lnTo>
                <a:lnTo>
                  <a:pt x="956" y="639"/>
                </a:lnTo>
                <a:lnTo>
                  <a:pt x="958" y="641"/>
                </a:lnTo>
                <a:lnTo>
                  <a:pt x="959" y="643"/>
                </a:lnTo>
                <a:lnTo>
                  <a:pt x="959" y="645"/>
                </a:lnTo>
                <a:lnTo>
                  <a:pt x="960" y="648"/>
                </a:lnTo>
                <a:lnTo>
                  <a:pt x="959" y="650"/>
                </a:lnTo>
                <a:lnTo>
                  <a:pt x="959" y="653"/>
                </a:lnTo>
                <a:lnTo>
                  <a:pt x="957" y="655"/>
                </a:lnTo>
                <a:lnTo>
                  <a:pt x="956" y="657"/>
                </a:lnTo>
                <a:lnTo>
                  <a:pt x="954" y="658"/>
                </a:lnTo>
                <a:lnTo>
                  <a:pt x="952" y="659"/>
                </a:lnTo>
                <a:lnTo>
                  <a:pt x="949" y="661"/>
                </a:lnTo>
                <a:lnTo>
                  <a:pt x="946" y="661"/>
                </a:lnTo>
                <a:lnTo>
                  <a:pt x="943" y="660"/>
                </a:lnTo>
                <a:lnTo>
                  <a:pt x="940" y="659"/>
                </a:lnTo>
                <a:lnTo>
                  <a:pt x="937" y="657"/>
                </a:lnTo>
                <a:lnTo>
                  <a:pt x="936" y="655"/>
                </a:lnTo>
                <a:lnTo>
                  <a:pt x="934" y="652"/>
                </a:lnTo>
                <a:lnTo>
                  <a:pt x="934" y="650"/>
                </a:lnTo>
                <a:lnTo>
                  <a:pt x="933" y="648"/>
                </a:lnTo>
                <a:lnTo>
                  <a:pt x="934" y="645"/>
                </a:lnTo>
                <a:lnTo>
                  <a:pt x="934" y="643"/>
                </a:lnTo>
                <a:lnTo>
                  <a:pt x="936" y="640"/>
                </a:lnTo>
                <a:lnTo>
                  <a:pt x="937" y="638"/>
                </a:lnTo>
                <a:lnTo>
                  <a:pt x="939" y="637"/>
                </a:lnTo>
                <a:lnTo>
                  <a:pt x="941" y="636"/>
                </a:lnTo>
                <a:lnTo>
                  <a:pt x="944" y="635"/>
                </a:lnTo>
                <a:close/>
                <a:moveTo>
                  <a:pt x="2411" y="372"/>
                </a:moveTo>
                <a:lnTo>
                  <a:pt x="2414" y="371"/>
                </a:lnTo>
                <a:lnTo>
                  <a:pt x="2417" y="372"/>
                </a:lnTo>
                <a:lnTo>
                  <a:pt x="2419" y="373"/>
                </a:lnTo>
                <a:lnTo>
                  <a:pt x="2421" y="374"/>
                </a:lnTo>
                <a:lnTo>
                  <a:pt x="2423" y="376"/>
                </a:lnTo>
                <a:lnTo>
                  <a:pt x="2425" y="378"/>
                </a:lnTo>
                <a:lnTo>
                  <a:pt x="2426" y="380"/>
                </a:lnTo>
                <a:lnTo>
                  <a:pt x="2426" y="383"/>
                </a:lnTo>
                <a:lnTo>
                  <a:pt x="2427" y="385"/>
                </a:lnTo>
                <a:lnTo>
                  <a:pt x="2426" y="388"/>
                </a:lnTo>
                <a:lnTo>
                  <a:pt x="2426" y="390"/>
                </a:lnTo>
                <a:lnTo>
                  <a:pt x="2425" y="391"/>
                </a:lnTo>
                <a:lnTo>
                  <a:pt x="2422" y="394"/>
                </a:lnTo>
                <a:lnTo>
                  <a:pt x="2419" y="396"/>
                </a:lnTo>
                <a:lnTo>
                  <a:pt x="2416" y="398"/>
                </a:lnTo>
                <a:lnTo>
                  <a:pt x="2413" y="398"/>
                </a:lnTo>
                <a:lnTo>
                  <a:pt x="2410" y="397"/>
                </a:lnTo>
                <a:lnTo>
                  <a:pt x="2408" y="396"/>
                </a:lnTo>
                <a:lnTo>
                  <a:pt x="2406" y="395"/>
                </a:lnTo>
                <a:lnTo>
                  <a:pt x="2404" y="393"/>
                </a:lnTo>
                <a:lnTo>
                  <a:pt x="2402" y="391"/>
                </a:lnTo>
                <a:lnTo>
                  <a:pt x="2401" y="389"/>
                </a:lnTo>
                <a:lnTo>
                  <a:pt x="2401" y="387"/>
                </a:lnTo>
                <a:lnTo>
                  <a:pt x="2400" y="384"/>
                </a:lnTo>
                <a:lnTo>
                  <a:pt x="2401" y="381"/>
                </a:lnTo>
                <a:lnTo>
                  <a:pt x="2401" y="380"/>
                </a:lnTo>
                <a:lnTo>
                  <a:pt x="2402" y="378"/>
                </a:lnTo>
                <a:lnTo>
                  <a:pt x="2405" y="375"/>
                </a:lnTo>
                <a:lnTo>
                  <a:pt x="2408" y="373"/>
                </a:lnTo>
                <a:lnTo>
                  <a:pt x="2411" y="372"/>
                </a:lnTo>
                <a:close/>
                <a:moveTo>
                  <a:pt x="2347" y="356"/>
                </a:moveTo>
                <a:lnTo>
                  <a:pt x="2350" y="355"/>
                </a:lnTo>
                <a:lnTo>
                  <a:pt x="2352" y="356"/>
                </a:lnTo>
                <a:lnTo>
                  <a:pt x="2355" y="357"/>
                </a:lnTo>
                <a:lnTo>
                  <a:pt x="2357" y="358"/>
                </a:lnTo>
                <a:lnTo>
                  <a:pt x="2359" y="360"/>
                </a:lnTo>
                <a:lnTo>
                  <a:pt x="2361" y="362"/>
                </a:lnTo>
                <a:lnTo>
                  <a:pt x="2362" y="364"/>
                </a:lnTo>
                <a:lnTo>
                  <a:pt x="2362" y="367"/>
                </a:lnTo>
                <a:lnTo>
                  <a:pt x="2362" y="369"/>
                </a:lnTo>
                <a:lnTo>
                  <a:pt x="2362" y="372"/>
                </a:lnTo>
                <a:lnTo>
                  <a:pt x="2361" y="374"/>
                </a:lnTo>
                <a:lnTo>
                  <a:pt x="2361" y="375"/>
                </a:lnTo>
                <a:lnTo>
                  <a:pt x="2358" y="378"/>
                </a:lnTo>
                <a:lnTo>
                  <a:pt x="2355" y="380"/>
                </a:lnTo>
                <a:lnTo>
                  <a:pt x="2352" y="381"/>
                </a:lnTo>
                <a:lnTo>
                  <a:pt x="2349" y="382"/>
                </a:lnTo>
                <a:lnTo>
                  <a:pt x="2346" y="381"/>
                </a:lnTo>
                <a:lnTo>
                  <a:pt x="2344" y="380"/>
                </a:lnTo>
                <a:lnTo>
                  <a:pt x="2341" y="379"/>
                </a:lnTo>
                <a:lnTo>
                  <a:pt x="2340" y="377"/>
                </a:lnTo>
                <a:lnTo>
                  <a:pt x="2338" y="375"/>
                </a:lnTo>
                <a:lnTo>
                  <a:pt x="2337" y="373"/>
                </a:lnTo>
                <a:lnTo>
                  <a:pt x="2336" y="371"/>
                </a:lnTo>
                <a:lnTo>
                  <a:pt x="2336" y="368"/>
                </a:lnTo>
                <a:lnTo>
                  <a:pt x="2337" y="365"/>
                </a:lnTo>
                <a:lnTo>
                  <a:pt x="2337" y="363"/>
                </a:lnTo>
                <a:lnTo>
                  <a:pt x="2338" y="362"/>
                </a:lnTo>
                <a:lnTo>
                  <a:pt x="2340" y="359"/>
                </a:lnTo>
                <a:lnTo>
                  <a:pt x="2343" y="357"/>
                </a:lnTo>
                <a:lnTo>
                  <a:pt x="2347" y="356"/>
                </a:lnTo>
                <a:close/>
                <a:moveTo>
                  <a:pt x="993" y="590"/>
                </a:moveTo>
                <a:lnTo>
                  <a:pt x="996" y="589"/>
                </a:lnTo>
                <a:lnTo>
                  <a:pt x="999" y="590"/>
                </a:lnTo>
                <a:lnTo>
                  <a:pt x="1002" y="591"/>
                </a:lnTo>
                <a:lnTo>
                  <a:pt x="1003" y="592"/>
                </a:lnTo>
                <a:lnTo>
                  <a:pt x="1005" y="594"/>
                </a:lnTo>
                <a:lnTo>
                  <a:pt x="1006" y="596"/>
                </a:lnTo>
                <a:lnTo>
                  <a:pt x="1007" y="598"/>
                </a:lnTo>
                <a:lnTo>
                  <a:pt x="1008" y="601"/>
                </a:lnTo>
                <a:lnTo>
                  <a:pt x="1008" y="603"/>
                </a:lnTo>
                <a:lnTo>
                  <a:pt x="1008" y="606"/>
                </a:lnTo>
                <a:lnTo>
                  <a:pt x="1007" y="608"/>
                </a:lnTo>
                <a:lnTo>
                  <a:pt x="1005" y="610"/>
                </a:lnTo>
                <a:lnTo>
                  <a:pt x="1004" y="612"/>
                </a:lnTo>
                <a:lnTo>
                  <a:pt x="1001" y="614"/>
                </a:lnTo>
                <a:lnTo>
                  <a:pt x="999" y="615"/>
                </a:lnTo>
                <a:lnTo>
                  <a:pt x="997" y="615"/>
                </a:lnTo>
                <a:lnTo>
                  <a:pt x="994" y="616"/>
                </a:lnTo>
                <a:lnTo>
                  <a:pt x="991" y="615"/>
                </a:lnTo>
                <a:lnTo>
                  <a:pt x="988" y="613"/>
                </a:lnTo>
                <a:lnTo>
                  <a:pt x="986" y="612"/>
                </a:lnTo>
                <a:lnTo>
                  <a:pt x="985" y="611"/>
                </a:lnTo>
                <a:lnTo>
                  <a:pt x="983" y="609"/>
                </a:lnTo>
                <a:lnTo>
                  <a:pt x="982" y="607"/>
                </a:lnTo>
                <a:lnTo>
                  <a:pt x="982" y="604"/>
                </a:lnTo>
                <a:lnTo>
                  <a:pt x="982" y="602"/>
                </a:lnTo>
                <a:lnTo>
                  <a:pt x="982" y="599"/>
                </a:lnTo>
                <a:lnTo>
                  <a:pt x="983" y="597"/>
                </a:lnTo>
                <a:lnTo>
                  <a:pt x="984" y="595"/>
                </a:lnTo>
                <a:lnTo>
                  <a:pt x="986" y="593"/>
                </a:lnTo>
                <a:lnTo>
                  <a:pt x="989" y="591"/>
                </a:lnTo>
                <a:lnTo>
                  <a:pt x="991" y="590"/>
                </a:lnTo>
                <a:lnTo>
                  <a:pt x="993" y="590"/>
                </a:lnTo>
                <a:close/>
                <a:moveTo>
                  <a:pt x="2283" y="340"/>
                </a:moveTo>
                <a:lnTo>
                  <a:pt x="2286" y="339"/>
                </a:lnTo>
                <a:lnTo>
                  <a:pt x="2288" y="340"/>
                </a:lnTo>
                <a:lnTo>
                  <a:pt x="2291" y="341"/>
                </a:lnTo>
                <a:lnTo>
                  <a:pt x="2293" y="342"/>
                </a:lnTo>
                <a:lnTo>
                  <a:pt x="2295" y="344"/>
                </a:lnTo>
                <a:lnTo>
                  <a:pt x="2296" y="346"/>
                </a:lnTo>
                <a:lnTo>
                  <a:pt x="2297" y="348"/>
                </a:lnTo>
                <a:lnTo>
                  <a:pt x="2298" y="350"/>
                </a:lnTo>
                <a:lnTo>
                  <a:pt x="2298" y="353"/>
                </a:lnTo>
                <a:lnTo>
                  <a:pt x="2298" y="356"/>
                </a:lnTo>
                <a:lnTo>
                  <a:pt x="2297" y="358"/>
                </a:lnTo>
                <a:lnTo>
                  <a:pt x="2296" y="359"/>
                </a:lnTo>
                <a:lnTo>
                  <a:pt x="2294" y="362"/>
                </a:lnTo>
                <a:lnTo>
                  <a:pt x="2291" y="364"/>
                </a:lnTo>
                <a:lnTo>
                  <a:pt x="2287" y="365"/>
                </a:lnTo>
                <a:lnTo>
                  <a:pt x="2285" y="366"/>
                </a:lnTo>
                <a:lnTo>
                  <a:pt x="2282" y="365"/>
                </a:lnTo>
                <a:lnTo>
                  <a:pt x="2279" y="364"/>
                </a:lnTo>
                <a:lnTo>
                  <a:pt x="2277" y="363"/>
                </a:lnTo>
                <a:lnTo>
                  <a:pt x="2275" y="361"/>
                </a:lnTo>
                <a:lnTo>
                  <a:pt x="2274" y="359"/>
                </a:lnTo>
                <a:lnTo>
                  <a:pt x="2273" y="357"/>
                </a:lnTo>
                <a:lnTo>
                  <a:pt x="2272" y="355"/>
                </a:lnTo>
                <a:lnTo>
                  <a:pt x="2272" y="352"/>
                </a:lnTo>
                <a:lnTo>
                  <a:pt x="2272" y="349"/>
                </a:lnTo>
                <a:lnTo>
                  <a:pt x="2273" y="347"/>
                </a:lnTo>
                <a:lnTo>
                  <a:pt x="2274" y="346"/>
                </a:lnTo>
                <a:lnTo>
                  <a:pt x="2276" y="343"/>
                </a:lnTo>
                <a:lnTo>
                  <a:pt x="2279" y="341"/>
                </a:lnTo>
                <a:lnTo>
                  <a:pt x="2283" y="340"/>
                </a:lnTo>
                <a:close/>
                <a:moveTo>
                  <a:pt x="1042" y="546"/>
                </a:moveTo>
                <a:lnTo>
                  <a:pt x="1046" y="546"/>
                </a:lnTo>
                <a:lnTo>
                  <a:pt x="1049" y="547"/>
                </a:lnTo>
                <a:lnTo>
                  <a:pt x="1052" y="548"/>
                </a:lnTo>
                <a:lnTo>
                  <a:pt x="1055" y="551"/>
                </a:lnTo>
                <a:lnTo>
                  <a:pt x="1056" y="553"/>
                </a:lnTo>
                <a:lnTo>
                  <a:pt x="1057" y="555"/>
                </a:lnTo>
                <a:lnTo>
                  <a:pt x="1058" y="558"/>
                </a:lnTo>
                <a:lnTo>
                  <a:pt x="1058" y="560"/>
                </a:lnTo>
                <a:lnTo>
                  <a:pt x="1057" y="563"/>
                </a:lnTo>
                <a:lnTo>
                  <a:pt x="1056" y="565"/>
                </a:lnTo>
                <a:lnTo>
                  <a:pt x="1055" y="567"/>
                </a:lnTo>
                <a:lnTo>
                  <a:pt x="1053" y="569"/>
                </a:lnTo>
                <a:lnTo>
                  <a:pt x="1050" y="571"/>
                </a:lnTo>
                <a:lnTo>
                  <a:pt x="1047" y="572"/>
                </a:lnTo>
                <a:lnTo>
                  <a:pt x="1044" y="572"/>
                </a:lnTo>
                <a:lnTo>
                  <a:pt x="1040" y="571"/>
                </a:lnTo>
                <a:lnTo>
                  <a:pt x="1037" y="570"/>
                </a:lnTo>
                <a:lnTo>
                  <a:pt x="1035" y="567"/>
                </a:lnTo>
                <a:lnTo>
                  <a:pt x="1033" y="565"/>
                </a:lnTo>
                <a:lnTo>
                  <a:pt x="1032" y="563"/>
                </a:lnTo>
                <a:lnTo>
                  <a:pt x="1032" y="560"/>
                </a:lnTo>
                <a:lnTo>
                  <a:pt x="1032" y="558"/>
                </a:lnTo>
                <a:lnTo>
                  <a:pt x="1032" y="555"/>
                </a:lnTo>
                <a:lnTo>
                  <a:pt x="1033" y="553"/>
                </a:lnTo>
                <a:lnTo>
                  <a:pt x="1034" y="551"/>
                </a:lnTo>
                <a:lnTo>
                  <a:pt x="1036" y="549"/>
                </a:lnTo>
                <a:lnTo>
                  <a:pt x="1039" y="547"/>
                </a:lnTo>
                <a:lnTo>
                  <a:pt x="1042" y="546"/>
                </a:lnTo>
                <a:close/>
                <a:moveTo>
                  <a:pt x="2219" y="324"/>
                </a:moveTo>
                <a:lnTo>
                  <a:pt x="2221" y="323"/>
                </a:lnTo>
                <a:lnTo>
                  <a:pt x="2224" y="324"/>
                </a:lnTo>
                <a:lnTo>
                  <a:pt x="2227" y="325"/>
                </a:lnTo>
                <a:lnTo>
                  <a:pt x="2229" y="326"/>
                </a:lnTo>
                <a:lnTo>
                  <a:pt x="2231" y="328"/>
                </a:lnTo>
                <a:lnTo>
                  <a:pt x="2232" y="330"/>
                </a:lnTo>
                <a:lnTo>
                  <a:pt x="2233" y="332"/>
                </a:lnTo>
                <a:lnTo>
                  <a:pt x="2234" y="335"/>
                </a:lnTo>
                <a:lnTo>
                  <a:pt x="2234" y="337"/>
                </a:lnTo>
                <a:lnTo>
                  <a:pt x="2234" y="340"/>
                </a:lnTo>
                <a:lnTo>
                  <a:pt x="2233" y="342"/>
                </a:lnTo>
                <a:lnTo>
                  <a:pt x="2232" y="343"/>
                </a:lnTo>
                <a:lnTo>
                  <a:pt x="2230" y="346"/>
                </a:lnTo>
                <a:lnTo>
                  <a:pt x="2227" y="348"/>
                </a:lnTo>
                <a:lnTo>
                  <a:pt x="2223" y="350"/>
                </a:lnTo>
                <a:lnTo>
                  <a:pt x="2220" y="350"/>
                </a:lnTo>
                <a:lnTo>
                  <a:pt x="2218" y="349"/>
                </a:lnTo>
                <a:lnTo>
                  <a:pt x="2215" y="348"/>
                </a:lnTo>
                <a:lnTo>
                  <a:pt x="2213" y="347"/>
                </a:lnTo>
                <a:lnTo>
                  <a:pt x="2211" y="345"/>
                </a:lnTo>
                <a:lnTo>
                  <a:pt x="2210" y="343"/>
                </a:lnTo>
                <a:lnTo>
                  <a:pt x="2208" y="341"/>
                </a:lnTo>
                <a:lnTo>
                  <a:pt x="2207" y="339"/>
                </a:lnTo>
                <a:lnTo>
                  <a:pt x="2207" y="336"/>
                </a:lnTo>
                <a:lnTo>
                  <a:pt x="2207" y="333"/>
                </a:lnTo>
                <a:lnTo>
                  <a:pt x="2208" y="332"/>
                </a:lnTo>
                <a:lnTo>
                  <a:pt x="2210" y="330"/>
                </a:lnTo>
                <a:lnTo>
                  <a:pt x="2212" y="327"/>
                </a:lnTo>
                <a:lnTo>
                  <a:pt x="2215" y="325"/>
                </a:lnTo>
                <a:lnTo>
                  <a:pt x="2219" y="324"/>
                </a:lnTo>
                <a:close/>
                <a:moveTo>
                  <a:pt x="1094" y="505"/>
                </a:moveTo>
                <a:lnTo>
                  <a:pt x="1098" y="505"/>
                </a:lnTo>
                <a:lnTo>
                  <a:pt x="1101" y="506"/>
                </a:lnTo>
                <a:lnTo>
                  <a:pt x="1104" y="507"/>
                </a:lnTo>
                <a:lnTo>
                  <a:pt x="1107" y="510"/>
                </a:lnTo>
                <a:lnTo>
                  <a:pt x="1108" y="512"/>
                </a:lnTo>
                <a:lnTo>
                  <a:pt x="1109" y="514"/>
                </a:lnTo>
                <a:lnTo>
                  <a:pt x="1110" y="517"/>
                </a:lnTo>
                <a:lnTo>
                  <a:pt x="1109" y="520"/>
                </a:lnTo>
                <a:lnTo>
                  <a:pt x="1109" y="522"/>
                </a:lnTo>
                <a:lnTo>
                  <a:pt x="1108" y="524"/>
                </a:lnTo>
                <a:lnTo>
                  <a:pt x="1106" y="526"/>
                </a:lnTo>
                <a:lnTo>
                  <a:pt x="1104" y="528"/>
                </a:lnTo>
                <a:lnTo>
                  <a:pt x="1103" y="529"/>
                </a:lnTo>
                <a:lnTo>
                  <a:pt x="1102" y="530"/>
                </a:lnTo>
                <a:lnTo>
                  <a:pt x="1099" y="531"/>
                </a:lnTo>
                <a:lnTo>
                  <a:pt x="1095" y="531"/>
                </a:lnTo>
                <a:lnTo>
                  <a:pt x="1092" y="530"/>
                </a:lnTo>
                <a:lnTo>
                  <a:pt x="1089" y="528"/>
                </a:lnTo>
                <a:lnTo>
                  <a:pt x="1086" y="526"/>
                </a:lnTo>
                <a:lnTo>
                  <a:pt x="1085" y="523"/>
                </a:lnTo>
                <a:lnTo>
                  <a:pt x="1084" y="521"/>
                </a:lnTo>
                <a:lnTo>
                  <a:pt x="1083" y="519"/>
                </a:lnTo>
                <a:lnTo>
                  <a:pt x="1083" y="516"/>
                </a:lnTo>
                <a:lnTo>
                  <a:pt x="1084" y="514"/>
                </a:lnTo>
                <a:lnTo>
                  <a:pt x="1085" y="511"/>
                </a:lnTo>
                <a:lnTo>
                  <a:pt x="1086" y="509"/>
                </a:lnTo>
                <a:lnTo>
                  <a:pt x="1088" y="507"/>
                </a:lnTo>
                <a:lnTo>
                  <a:pt x="1090" y="506"/>
                </a:lnTo>
                <a:lnTo>
                  <a:pt x="1091" y="506"/>
                </a:lnTo>
                <a:lnTo>
                  <a:pt x="1094" y="505"/>
                </a:lnTo>
                <a:close/>
                <a:moveTo>
                  <a:pt x="2153" y="308"/>
                </a:moveTo>
                <a:lnTo>
                  <a:pt x="2156" y="308"/>
                </a:lnTo>
                <a:lnTo>
                  <a:pt x="2159" y="308"/>
                </a:lnTo>
                <a:lnTo>
                  <a:pt x="2161" y="309"/>
                </a:lnTo>
                <a:lnTo>
                  <a:pt x="2164" y="310"/>
                </a:lnTo>
                <a:lnTo>
                  <a:pt x="2165" y="312"/>
                </a:lnTo>
                <a:lnTo>
                  <a:pt x="2167" y="314"/>
                </a:lnTo>
                <a:lnTo>
                  <a:pt x="2168" y="316"/>
                </a:lnTo>
                <a:lnTo>
                  <a:pt x="2169" y="319"/>
                </a:lnTo>
                <a:lnTo>
                  <a:pt x="2169" y="321"/>
                </a:lnTo>
                <a:lnTo>
                  <a:pt x="2168" y="324"/>
                </a:lnTo>
                <a:lnTo>
                  <a:pt x="2168" y="326"/>
                </a:lnTo>
                <a:lnTo>
                  <a:pt x="2167" y="327"/>
                </a:lnTo>
                <a:lnTo>
                  <a:pt x="2165" y="330"/>
                </a:lnTo>
                <a:lnTo>
                  <a:pt x="2161" y="332"/>
                </a:lnTo>
                <a:lnTo>
                  <a:pt x="2158" y="334"/>
                </a:lnTo>
                <a:lnTo>
                  <a:pt x="2155" y="334"/>
                </a:lnTo>
                <a:lnTo>
                  <a:pt x="2153" y="333"/>
                </a:lnTo>
                <a:lnTo>
                  <a:pt x="2150" y="333"/>
                </a:lnTo>
                <a:lnTo>
                  <a:pt x="2148" y="331"/>
                </a:lnTo>
                <a:lnTo>
                  <a:pt x="2146" y="330"/>
                </a:lnTo>
                <a:lnTo>
                  <a:pt x="2144" y="327"/>
                </a:lnTo>
                <a:lnTo>
                  <a:pt x="2143" y="325"/>
                </a:lnTo>
                <a:lnTo>
                  <a:pt x="2143" y="323"/>
                </a:lnTo>
                <a:lnTo>
                  <a:pt x="2143" y="320"/>
                </a:lnTo>
                <a:lnTo>
                  <a:pt x="2143" y="318"/>
                </a:lnTo>
                <a:lnTo>
                  <a:pt x="2144" y="316"/>
                </a:lnTo>
                <a:lnTo>
                  <a:pt x="2144" y="314"/>
                </a:lnTo>
                <a:lnTo>
                  <a:pt x="2147" y="311"/>
                </a:lnTo>
                <a:lnTo>
                  <a:pt x="2150" y="309"/>
                </a:lnTo>
                <a:lnTo>
                  <a:pt x="2153" y="308"/>
                </a:lnTo>
                <a:close/>
                <a:moveTo>
                  <a:pt x="1147" y="466"/>
                </a:moveTo>
                <a:lnTo>
                  <a:pt x="1151" y="466"/>
                </a:lnTo>
                <a:lnTo>
                  <a:pt x="1155" y="467"/>
                </a:lnTo>
                <a:lnTo>
                  <a:pt x="1158" y="468"/>
                </a:lnTo>
                <a:lnTo>
                  <a:pt x="1161" y="471"/>
                </a:lnTo>
                <a:lnTo>
                  <a:pt x="1162" y="474"/>
                </a:lnTo>
                <a:lnTo>
                  <a:pt x="1163" y="476"/>
                </a:lnTo>
                <a:lnTo>
                  <a:pt x="1163" y="481"/>
                </a:lnTo>
                <a:lnTo>
                  <a:pt x="1162" y="483"/>
                </a:lnTo>
                <a:lnTo>
                  <a:pt x="1161" y="486"/>
                </a:lnTo>
                <a:lnTo>
                  <a:pt x="1159" y="488"/>
                </a:lnTo>
                <a:lnTo>
                  <a:pt x="1157" y="490"/>
                </a:lnTo>
                <a:lnTo>
                  <a:pt x="1155" y="491"/>
                </a:lnTo>
                <a:lnTo>
                  <a:pt x="1152" y="492"/>
                </a:lnTo>
                <a:lnTo>
                  <a:pt x="1148" y="492"/>
                </a:lnTo>
                <a:lnTo>
                  <a:pt x="1145" y="491"/>
                </a:lnTo>
                <a:lnTo>
                  <a:pt x="1142" y="489"/>
                </a:lnTo>
                <a:lnTo>
                  <a:pt x="1139" y="486"/>
                </a:lnTo>
                <a:lnTo>
                  <a:pt x="1138" y="484"/>
                </a:lnTo>
                <a:lnTo>
                  <a:pt x="1137" y="481"/>
                </a:lnTo>
                <a:lnTo>
                  <a:pt x="1137" y="476"/>
                </a:lnTo>
                <a:lnTo>
                  <a:pt x="1138" y="474"/>
                </a:lnTo>
                <a:lnTo>
                  <a:pt x="1139" y="472"/>
                </a:lnTo>
                <a:lnTo>
                  <a:pt x="1140" y="470"/>
                </a:lnTo>
                <a:lnTo>
                  <a:pt x="1142" y="468"/>
                </a:lnTo>
                <a:lnTo>
                  <a:pt x="1145" y="467"/>
                </a:lnTo>
                <a:lnTo>
                  <a:pt x="1147" y="466"/>
                </a:lnTo>
                <a:close/>
                <a:moveTo>
                  <a:pt x="2089" y="292"/>
                </a:moveTo>
                <a:lnTo>
                  <a:pt x="2092" y="292"/>
                </a:lnTo>
                <a:lnTo>
                  <a:pt x="2095" y="292"/>
                </a:lnTo>
                <a:lnTo>
                  <a:pt x="2097" y="293"/>
                </a:lnTo>
                <a:lnTo>
                  <a:pt x="2099" y="294"/>
                </a:lnTo>
                <a:lnTo>
                  <a:pt x="2101" y="296"/>
                </a:lnTo>
                <a:lnTo>
                  <a:pt x="2103" y="298"/>
                </a:lnTo>
                <a:lnTo>
                  <a:pt x="2104" y="300"/>
                </a:lnTo>
                <a:lnTo>
                  <a:pt x="2104" y="303"/>
                </a:lnTo>
                <a:lnTo>
                  <a:pt x="2105" y="305"/>
                </a:lnTo>
                <a:lnTo>
                  <a:pt x="2104" y="308"/>
                </a:lnTo>
                <a:lnTo>
                  <a:pt x="2104" y="310"/>
                </a:lnTo>
                <a:lnTo>
                  <a:pt x="2103" y="312"/>
                </a:lnTo>
                <a:lnTo>
                  <a:pt x="2100" y="315"/>
                </a:lnTo>
                <a:lnTo>
                  <a:pt x="2097" y="317"/>
                </a:lnTo>
                <a:lnTo>
                  <a:pt x="2094" y="318"/>
                </a:lnTo>
                <a:lnTo>
                  <a:pt x="2091" y="318"/>
                </a:lnTo>
                <a:lnTo>
                  <a:pt x="2088" y="318"/>
                </a:lnTo>
                <a:lnTo>
                  <a:pt x="2086" y="317"/>
                </a:lnTo>
                <a:lnTo>
                  <a:pt x="2084" y="315"/>
                </a:lnTo>
                <a:lnTo>
                  <a:pt x="2082" y="314"/>
                </a:lnTo>
                <a:lnTo>
                  <a:pt x="2080" y="312"/>
                </a:lnTo>
                <a:lnTo>
                  <a:pt x="2079" y="309"/>
                </a:lnTo>
                <a:lnTo>
                  <a:pt x="2078" y="307"/>
                </a:lnTo>
                <a:lnTo>
                  <a:pt x="2078" y="304"/>
                </a:lnTo>
                <a:lnTo>
                  <a:pt x="2079" y="302"/>
                </a:lnTo>
                <a:lnTo>
                  <a:pt x="2079" y="300"/>
                </a:lnTo>
                <a:lnTo>
                  <a:pt x="2080" y="298"/>
                </a:lnTo>
                <a:lnTo>
                  <a:pt x="2083" y="295"/>
                </a:lnTo>
                <a:lnTo>
                  <a:pt x="2086" y="293"/>
                </a:lnTo>
                <a:lnTo>
                  <a:pt x="2089" y="292"/>
                </a:lnTo>
                <a:close/>
                <a:moveTo>
                  <a:pt x="1203" y="429"/>
                </a:moveTo>
                <a:lnTo>
                  <a:pt x="1206" y="429"/>
                </a:lnTo>
                <a:lnTo>
                  <a:pt x="1210" y="430"/>
                </a:lnTo>
                <a:lnTo>
                  <a:pt x="1213" y="432"/>
                </a:lnTo>
                <a:lnTo>
                  <a:pt x="1215" y="434"/>
                </a:lnTo>
                <a:lnTo>
                  <a:pt x="1216" y="435"/>
                </a:lnTo>
                <a:lnTo>
                  <a:pt x="1217" y="438"/>
                </a:lnTo>
                <a:lnTo>
                  <a:pt x="1218" y="440"/>
                </a:lnTo>
                <a:lnTo>
                  <a:pt x="1218" y="443"/>
                </a:lnTo>
                <a:lnTo>
                  <a:pt x="1218" y="445"/>
                </a:lnTo>
                <a:lnTo>
                  <a:pt x="1217" y="447"/>
                </a:lnTo>
                <a:lnTo>
                  <a:pt x="1216" y="450"/>
                </a:lnTo>
                <a:lnTo>
                  <a:pt x="1214" y="452"/>
                </a:lnTo>
                <a:lnTo>
                  <a:pt x="1212" y="453"/>
                </a:lnTo>
                <a:lnTo>
                  <a:pt x="1210" y="454"/>
                </a:lnTo>
                <a:lnTo>
                  <a:pt x="1207" y="455"/>
                </a:lnTo>
                <a:lnTo>
                  <a:pt x="1203" y="455"/>
                </a:lnTo>
                <a:lnTo>
                  <a:pt x="1200" y="454"/>
                </a:lnTo>
                <a:lnTo>
                  <a:pt x="1196" y="452"/>
                </a:lnTo>
                <a:lnTo>
                  <a:pt x="1195" y="451"/>
                </a:lnTo>
                <a:lnTo>
                  <a:pt x="1194" y="449"/>
                </a:lnTo>
                <a:lnTo>
                  <a:pt x="1193" y="447"/>
                </a:lnTo>
                <a:lnTo>
                  <a:pt x="1192" y="444"/>
                </a:lnTo>
                <a:lnTo>
                  <a:pt x="1192" y="442"/>
                </a:lnTo>
                <a:lnTo>
                  <a:pt x="1192" y="439"/>
                </a:lnTo>
                <a:lnTo>
                  <a:pt x="1193" y="437"/>
                </a:lnTo>
                <a:lnTo>
                  <a:pt x="1194" y="435"/>
                </a:lnTo>
                <a:lnTo>
                  <a:pt x="1196" y="433"/>
                </a:lnTo>
                <a:lnTo>
                  <a:pt x="1198" y="431"/>
                </a:lnTo>
                <a:lnTo>
                  <a:pt x="1200" y="430"/>
                </a:lnTo>
                <a:lnTo>
                  <a:pt x="1203" y="429"/>
                </a:lnTo>
                <a:close/>
                <a:moveTo>
                  <a:pt x="2025" y="276"/>
                </a:moveTo>
                <a:lnTo>
                  <a:pt x="2028" y="276"/>
                </a:lnTo>
                <a:lnTo>
                  <a:pt x="2030" y="276"/>
                </a:lnTo>
                <a:lnTo>
                  <a:pt x="2033" y="277"/>
                </a:lnTo>
                <a:lnTo>
                  <a:pt x="2035" y="279"/>
                </a:lnTo>
                <a:lnTo>
                  <a:pt x="2037" y="280"/>
                </a:lnTo>
                <a:lnTo>
                  <a:pt x="2038" y="282"/>
                </a:lnTo>
                <a:lnTo>
                  <a:pt x="2039" y="285"/>
                </a:lnTo>
                <a:lnTo>
                  <a:pt x="2040" y="287"/>
                </a:lnTo>
                <a:lnTo>
                  <a:pt x="2040" y="290"/>
                </a:lnTo>
                <a:lnTo>
                  <a:pt x="2040" y="292"/>
                </a:lnTo>
                <a:lnTo>
                  <a:pt x="2038" y="296"/>
                </a:lnTo>
                <a:lnTo>
                  <a:pt x="2036" y="299"/>
                </a:lnTo>
                <a:lnTo>
                  <a:pt x="2033" y="301"/>
                </a:lnTo>
                <a:lnTo>
                  <a:pt x="2029" y="302"/>
                </a:lnTo>
                <a:lnTo>
                  <a:pt x="2027" y="302"/>
                </a:lnTo>
                <a:lnTo>
                  <a:pt x="2024" y="302"/>
                </a:lnTo>
                <a:lnTo>
                  <a:pt x="2022" y="301"/>
                </a:lnTo>
                <a:lnTo>
                  <a:pt x="2019" y="300"/>
                </a:lnTo>
                <a:lnTo>
                  <a:pt x="2017" y="298"/>
                </a:lnTo>
                <a:lnTo>
                  <a:pt x="2016" y="296"/>
                </a:lnTo>
                <a:lnTo>
                  <a:pt x="2015" y="294"/>
                </a:lnTo>
                <a:lnTo>
                  <a:pt x="2014" y="291"/>
                </a:lnTo>
                <a:lnTo>
                  <a:pt x="2014" y="289"/>
                </a:lnTo>
                <a:lnTo>
                  <a:pt x="2014" y="286"/>
                </a:lnTo>
                <a:lnTo>
                  <a:pt x="2016" y="282"/>
                </a:lnTo>
                <a:lnTo>
                  <a:pt x="2018" y="280"/>
                </a:lnTo>
                <a:lnTo>
                  <a:pt x="2021" y="277"/>
                </a:lnTo>
                <a:lnTo>
                  <a:pt x="2025" y="276"/>
                </a:lnTo>
                <a:close/>
                <a:moveTo>
                  <a:pt x="1259" y="395"/>
                </a:moveTo>
                <a:lnTo>
                  <a:pt x="1263" y="395"/>
                </a:lnTo>
                <a:lnTo>
                  <a:pt x="1267" y="396"/>
                </a:lnTo>
                <a:lnTo>
                  <a:pt x="1269" y="397"/>
                </a:lnTo>
                <a:lnTo>
                  <a:pt x="1271" y="399"/>
                </a:lnTo>
                <a:lnTo>
                  <a:pt x="1272" y="400"/>
                </a:lnTo>
                <a:lnTo>
                  <a:pt x="1273" y="402"/>
                </a:lnTo>
                <a:lnTo>
                  <a:pt x="1274" y="404"/>
                </a:lnTo>
                <a:lnTo>
                  <a:pt x="1275" y="407"/>
                </a:lnTo>
                <a:lnTo>
                  <a:pt x="1275" y="409"/>
                </a:lnTo>
                <a:lnTo>
                  <a:pt x="1274" y="412"/>
                </a:lnTo>
                <a:lnTo>
                  <a:pt x="1273" y="414"/>
                </a:lnTo>
                <a:lnTo>
                  <a:pt x="1272" y="416"/>
                </a:lnTo>
                <a:lnTo>
                  <a:pt x="1270" y="418"/>
                </a:lnTo>
                <a:lnTo>
                  <a:pt x="1268" y="420"/>
                </a:lnTo>
                <a:lnTo>
                  <a:pt x="1266" y="421"/>
                </a:lnTo>
                <a:lnTo>
                  <a:pt x="1264" y="421"/>
                </a:lnTo>
                <a:lnTo>
                  <a:pt x="1260" y="421"/>
                </a:lnTo>
                <a:lnTo>
                  <a:pt x="1256" y="420"/>
                </a:lnTo>
                <a:lnTo>
                  <a:pt x="1254" y="419"/>
                </a:lnTo>
                <a:lnTo>
                  <a:pt x="1253" y="418"/>
                </a:lnTo>
                <a:lnTo>
                  <a:pt x="1251" y="416"/>
                </a:lnTo>
                <a:lnTo>
                  <a:pt x="1250" y="415"/>
                </a:lnTo>
                <a:lnTo>
                  <a:pt x="1249" y="412"/>
                </a:lnTo>
                <a:lnTo>
                  <a:pt x="1249" y="410"/>
                </a:lnTo>
                <a:lnTo>
                  <a:pt x="1249" y="407"/>
                </a:lnTo>
                <a:lnTo>
                  <a:pt x="1249" y="405"/>
                </a:lnTo>
                <a:lnTo>
                  <a:pt x="1250" y="402"/>
                </a:lnTo>
                <a:lnTo>
                  <a:pt x="1251" y="400"/>
                </a:lnTo>
                <a:lnTo>
                  <a:pt x="1253" y="398"/>
                </a:lnTo>
                <a:lnTo>
                  <a:pt x="1255" y="397"/>
                </a:lnTo>
                <a:lnTo>
                  <a:pt x="1257" y="396"/>
                </a:lnTo>
                <a:lnTo>
                  <a:pt x="1259" y="395"/>
                </a:lnTo>
                <a:close/>
                <a:moveTo>
                  <a:pt x="1960" y="263"/>
                </a:moveTo>
                <a:lnTo>
                  <a:pt x="1965" y="263"/>
                </a:lnTo>
                <a:lnTo>
                  <a:pt x="1967" y="264"/>
                </a:lnTo>
                <a:lnTo>
                  <a:pt x="1969" y="265"/>
                </a:lnTo>
                <a:lnTo>
                  <a:pt x="1971" y="266"/>
                </a:lnTo>
                <a:lnTo>
                  <a:pt x="1973" y="268"/>
                </a:lnTo>
                <a:lnTo>
                  <a:pt x="1974" y="270"/>
                </a:lnTo>
                <a:lnTo>
                  <a:pt x="1975" y="273"/>
                </a:lnTo>
                <a:lnTo>
                  <a:pt x="1975" y="275"/>
                </a:lnTo>
                <a:lnTo>
                  <a:pt x="1975" y="278"/>
                </a:lnTo>
                <a:lnTo>
                  <a:pt x="1974" y="282"/>
                </a:lnTo>
                <a:lnTo>
                  <a:pt x="1972" y="285"/>
                </a:lnTo>
                <a:lnTo>
                  <a:pt x="1970" y="286"/>
                </a:lnTo>
                <a:lnTo>
                  <a:pt x="1968" y="288"/>
                </a:lnTo>
                <a:lnTo>
                  <a:pt x="1965" y="289"/>
                </a:lnTo>
                <a:lnTo>
                  <a:pt x="1960" y="289"/>
                </a:lnTo>
                <a:lnTo>
                  <a:pt x="1958" y="288"/>
                </a:lnTo>
                <a:lnTo>
                  <a:pt x="1955" y="287"/>
                </a:lnTo>
                <a:lnTo>
                  <a:pt x="1953" y="285"/>
                </a:lnTo>
                <a:lnTo>
                  <a:pt x="1952" y="283"/>
                </a:lnTo>
                <a:lnTo>
                  <a:pt x="1950" y="281"/>
                </a:lnTo>
                <a:lnTo>
                  <a:pt x="1950" y="279"/>
                </a:lnTo>
                <a:lnTo>
                  <a:pt x="1949" y="276"/>
                </a:lnTo>
                <a:lnTo>
                  <a:pt x="1949" y="274"/>
                </a:lnTo>
                <a:lnTo>
                  <a:pt x="1951" y="270"/>
                </a:lnTo>
                <a:lnTo>
                  <a:pt x="1953" y="267"/>
                </a:lnTo>
                <a:lnTo>
                  <a:pt x="1955" y="265"/>
                </a:lnTo>
                <a:lnTo>
                  <a:pt x="1956" y="264"/>
                </a:lnTo>
                <a:lnTo>
                  <a:pt x="1960" y="263"/>
                </a:lnTo>
                <a:close/>
                <a:moveTo>
                  <a:pt x="1318" y="364"/>
                </a:moveTo>
                <a:lnTo>
                  <a:pt x="1322" y="364"/>
                </a:lnTo>
                <a:lnTo>
                  <a:pt x="1324" y="365"/>
                </a:lnTo>
                <a:lnTo>
                  <a:pt x="1326" y="366"/>
                </a:lnTo>
                <a:lnTo>
                  <a:pt x="1328" y="367"/>
                </a:lnTo>
                <a:lnTo>
                  <a:pt x="1329" y="368"/>
                </a:lnTo>
                <a:lnTo>
                  <a:pt x="1332" y="371"/>
                </a:lnTo>
                <a:lnTo>
                  <a:pt x="1333" y="374"/>
                </a:lnTo>
                <a:lnTo>
                  <a:pt x="1333" y="376"/>
                </a:lnTo>
                <a:lnTo>
                  <a:pt x="1333" y="379"/>
                </a:lnTo>
                <a:lnTo>
                  <a:pt x="1333" y="381"/>
                </a:lnTo>
                <a:lnTo>
                  <a:pt x="1331" y="384"/>
                </a:lnTo>
                <a:lnTo>
                  <a:pt x="1330" y="386"/>
                </a:lnTo>
                <a:lnTo>
                  <a:pt x="1328" y="388"/>
                </a:lnTo>
                <a:lnTo>
                  <a:pt x="1326" y="389"/>
                </a:lnTo>
                <a:lnTo>
                  <a:pt x="1322" y="390"/>
                </a:lnTo>
                <a:lnTo>
                  <a:pt x="1318" y="390"/>
                </a:lnTo>
                <a:lnTo>
                  <a:pt x="1316" y="390"/>
                </a:lnTo>
                <a:lnTo>
                  <a:pt x="1314" y="389"/>
                </a:lnTo>
                <a:lnTo>
                  <a:pt x="1312" y="388"/>
                </a:lnTo>
                <a:lnTo>
                  <a:pt x="1311" y="387"/>
                </a:lnTo>
                <a:lnTo>
                  <a:pt x="1308" y="383"/>
                </a:lnTo>
                <a:lnTo>
                  <a:pt x="1307" y="381"/>
                </a:lnTo>
                <a:lnTo>
                  <a:pt x="1307" y="378"/>
                </a:lnTo>
                <a:lnTo>
                  <a:pt x="1307" y="376"/>
                </a:lnTo>
                <a:lnTo>
                  <a:pt x="1308" y="373"/>
                </a:lnTo>
                <a:lnTo>
                  <a:pt x="1309" y="371"/>
                </a:lnTo>
                <a:lnTo>
                  <a:pt x="1310" y="369"/>
                </a:lnTo>
                <a:lnTo>
                  <a:pt x="1312" y="367"/>
                </a:lnTo>
                <a:lnTo>
                  <a:pt x="1314" y="366"/>
                </a:lnTo>
                <a:lnTo>
                  <a:pt x="1318" y="364"/>
                </a:lnTo>
                <a:close/>
                <a:moveTo>
                  <a:pt x="1895" y="254"/>
                </a:moveTo>
                <a:lnTo>
                  <a:pt x="1898" y="254"/>
                </a:lnTo>
                <a:lnTo>
                  <a:pt x="1901" y="254"/>
                </a:lnTo>
                <a:lnTo>
                  <a:pt x="1903" y="255"/>
                </a:lnTo>
                <a:lnTo>
                  <a:pt x="1905" y="257"/>
                </a:lnTo>
                <a:lnTo>
                  <a:pt x="1907" y="259"/>
                </a:lnTo>
                <a:lnTo>
                  <a:pt x="1908" y="261"/>
                </a:lnTo>
                <a:lnTo>
                  <a:pt x="1909" y="263"/>
                </a:lnTo>
                <a:lnTo>
                  <a:pt x="1910" y="266"/>
                </a:lnTo>
                <a:lnTo>
                  <a:pt x="1910" y="268"/>
                </a:lnTo>
                <a:lnTo>
                  <a:pt x="1909" y="270"/>
                </a:lnTo>
                <a:lnTo>
                  <a:pt x="1909" y="272"/>
                </a:lnTo>
                <a:lnTo>
                  <a:pt x="1906" y="276"/>
                </a:lnTo>
                <a:lnTo>
                  <a:pt x="1903" y="278"/>
                </a:lnTo>
                <a:lnTo>
                  <a:pt x="1901" y="279"/>
                </a:lnTo>
                <a:lnTo>
                  <a:pt x="1899" y="280"/>
                </a:lnTo>
                <a:lnTo>
                  <a:pt x="1895" y="280"/>
                </a:lnTo>
                <a:lnTo>
                  <a:pt x="1893" y="279"/>
                </a:lnTo>
                <a:lnTo>
                  <a:pt x="1891" y="278"/>
                </a:lnTo>
                <a:lnTo>
                  <a:pt x="1888" y="277"/>
                </a:lnTo>
                <a:lnTo>
                  <a:pt x="1887" y="275"/>
                </a:lnTo>
                <a:lnTo>
                  <a:pt x="1885" y="273"/>
                </a:lnTo>
                <a:lnTo>
                  <a:pt x="1884" y="271"/>
                </a:lnTo>
                <a:lnTo>
                  <a:pt x="1884" y="268"/>
                </a:lnTo>
                <a:lnTo>
                  <a:pt x="1884" y="265"/>
                </a:lnTo>
                <a:lnTo>
                  <a:pt x="1884" y="263"/>
                </a:lnTo>
                <a:lnTo>
                  <a:pt x="1885" y="261"/>
                </a:lnTo>
                <a:lnTo>
                  <a:pt x="1887" y="258"/>
                </a:lnTo>
                <a:lnTo>
                  <a:pt x="1891" y="255"/>
                </a:lnTo>
                <a:lnTo>
                  <a:pt x="1893" y="254"/>
                </a:lnTo>
                <a:lnTo>
                  <a:pt x="1895" y="254"/>
                </a:lnTo>
                <a:close/>
                <a:moveTo>
                  <a:pt x="1378" y="337"/>
                </a:moveTo>
                <a:lnTo>
                  <a:pt x="1382" y="337"/>
                </a:lnTo>
                <a:lnTo>
                  <a:pt x="1386" y="338"/>
                </a:lnTo>
                <a:lnTo>
                  <a:pt x="1388" y="339"/>
                </a:lnTo>
                <a:lnTo>
                  <a:pt x="1390" y="341"/>
                </a:lnTo>
                <a:lnTo>
                  <a:pt x="1392" y="344"/>
                </a:lnTo>
                <a:lnTo>
                  <a:pt x="1393" y="347"/>
                </a:lnTo>
                <a:lnTo>
                  <a:pt x="1393" y="349"/>
                </a:lnTo>
                <a:lnTo>
                  <a:pt x="1393" y="352"/>
                </a:lnTo>
                <a:lnTo>
                  <a:pt x="1392" y="354"/>
                </a:lnTo>
                <a:lnTo>
                  <a:pt x="1391" y="357"/>
                </a:lnTo>
                <a:lnTo>
                  <a:pt x="1390" y="359"/>
                </a:lnTo>
                <a:lnTo>
                  <a:pt x="1388" y="360"/>
                </a:lnTo>
                <a:lnTo>
                  <a:pt x="1385" y="362"/>
                </a:lnTo>
                <a:lnTo>
                  <a:pt x="1382" y="362"/>
                </a:lnTo>
                <a:lnTo>
                  <a:pt x="1378" y="362"/>
                </a:lnTo>
                <a:lnTo>
                  <a:pt x="1374" y="361"/>
                </a:lnTo>
                <a:lnTo>
                  <a:pt x="1372" y="360"/>
                </a:lnTo>
                <a:lnTo>
                  <a:pt x="1370" y="358"/>
                </a:lnTo>
                <a:lnTo>
                  <a:pt x="1368" y="355"/>
                </a:lnTo>
                <a:lnTo>
                  <a:pt x="1367" y="352"/>
                </a:lnTo>
                <a:lnTo>
                  <a:pt x="1367" y="350"/>
                </a:lnTo>
                <a:lnTo>
                  <a:pt x="1367" y="347"/>
                </a:lnTo>
                <a:lnTo>
                  <a:pt x="1368" y="345"/>
                </a:lnTo>
                <a:lnTo>
                  <a:pt x="1369" y="342"/>
                </a:lnTo>
                <a:lnTo>
                  <a:pt x="1371" y="340"/>
                </a:lnTo>
                <a:lnTo>
                  <a:pt x="1373" y="339"/>
                </a:lnTo>
                <a:lnTo>
                  <a:pt x="1375" y="337"/>
                </a:lnTo>
                <a:lnTo>
                  <a:pt x="1378" y="337"/>
                </a:lnTo>
                <a:close/>
                <a:moveTo>
                  <a:pt x="1829" y="249"/>
                </a:moveTo>
                <a:lnTo>
                  <a:pt x="1831" y="249"/>
                </a:lnTo>
                <a:lnTo>
                  <a:pt x="1834" y="249"/>
                </a:lnTo>
                <a:lnTo>
                  <a:pt x="1836" y="250"/>
                </a:lnTo>
                <a:lnTo>
                  <a:pt x="1839" y="252"/>
                </a:lnTo>
                <a:lnTo>
                  <a:pt x="1840" y="253"/>
                </a:lnTo>
                <a:lnTo>
                  <a:pt x="1842" y="255"/>
                </a:lnTo>
                <a:lnTo>
                  <a:pt x="1843" y="257"/>
                </a:lnTo>
                <a:lnTo>
                  <a:pt x="1844" y="260"/>
                </a:lnTo>
                <a:lnTo>
                  <a:pt x="1844" y="263"/>
                </a:lnTo>
                <a:lnTo>
                  <a:pt x="1844" y="265"/>
                </a:lnTo>
                <a:lnTo>
                  <a:pt x="1843" y="267"/>
                </a:lnTo>
                <a:lnTo>
                  <a:pt x="1842" y="269"/>
                </a:lnTo>
                <a:lnTo>
                  <a:pt x="1841" y="271"/>
                </a:lnTo>
                <a:lnTo>
                  <a:pt x="1839" y="272"/>
                </a:lnTo>
                <a:lnTo>
                  <a:pt x="1837" y="274"/>
                </a:lnTo>
                <a:lnTo>
                  <a:pt x="1835" y="274"/>
                </a:lnTo>
                <a:lnTo>
                  <a:pt x="1833" y="275"/>
                </a:lnTo>
                <a:lnTo>
                  <a:pt x="1830" y="275"/>
                </a:lnTo>
                <a:lnTo>
                  <a:pt x="1828" y="275"/>
                </a:lnTo>
                <a:lnTo>
                  <a:pt x="1825" y="274"/>
                </a:lnTo>
                <a:lnTo>
                  <a:pt x="1823" y="273"/>
                </a:lnTo>
                <a:lnTo>
                  <a:pt x="1821" y="271"/>
                </a:lnTo>
                <a:lnTo>
                  <a:pt x="1820" y="269"/>
                </a:lnTo>
                <a:lnTo>
                  <a:pt x="1819" y="267"/>
                </a:lnTo>
                <a:lnTo>
                  <a:pt x="1818" y="264"/>
                </a:lnTo>
                <a:lnTo>
                  <a:pt x="1818" y="262"/>
                </a:lnTo>
                <a:lnTo>
                  <a:pt x="1818" y="259"/>
                </a:lnTo>
                <a:lnTo>
                  <a:pt x="1819" y="257"/>
                </a:lnTo>
                <a:lnTo>
                  <a:pt x="1820" y="255"/>
                </a:lnTo>
                <a:lnTo>
                  <a:pt x="1821" y="253"/>
                </a:lnTo>
                <a:lnTo>
                  <a:pt x="1823" y="252"/>
                </a:lnTo>
                <a:lnTo>
                  <a:pt x="1824" y="251"/>
                </a:lnTo>
                <a:lnTo>
                  <a:pt x="1826" y="250"/>
                </a:lnTo>
                <a:lnTo>
                  <a:pt x="1829" y="249"/>
                </a:lnTo>
                <a:close/>
                <a:moveTo>
                  <a:pt x="1439" y="312"/>
                </a:moveTo>
                <a:lnTo>
                  <a:pt x="1444" y="312"/>
                </a:lnTo>
                <a:lnTo>
                  <a:pt x="1446" y="313"/>
                </a:lnTo>
                <a:lnTo>
                  <a:pt x="1448" y="314"/>
                </a:lnTo>
                <a:lnTo>
                  <a:pt x="1452" y="317"/>
                </a:lnTo>
                <a:lnTo>
                  <a:pt x="1453" y="318"/>
                </a:lnTo>
                <a:lnTo>
                  <a:pt x="1454" y="321"/>
                </a:lnTo>
                <a:lnTo>
                  <a:pt x="1455" y="326"/>
                </a:lnTo>
                <a:lnTo>
                  <a:pt x="1454" y="328"/>
                </a:lnTo>
                <a:lnTo>
                  <a:pt x="1453" y="331"/>
                </a:lnTo>
                <a:lnTo>
                  <a:pt x="1452" y="333"/>
                </a:lnTo>
                <a:lnTo>
                  <a:pt x="1450" y="335"/>
                </a:lnTo>
                <a:lnTo>
                  <a:pt x="1448" y="336"/>
                </a:lnTo>
                <a:lnTo>
                  <a:pt x="1446" y="337"/>
                </a:lnTo>
                <a:lnTo>
                  <a:pt x="1444" y="338"/>
                </a:lnTo>
                <a:lnTo>
                  <a:pt x="1439" y="338"/>
                </a:lnTo>
                <a:lnTo>
                  <a:pt x="1437" y="337"/>
                </a:lnTo>
                <a:lnTo>
                  <a:pt x="1435" y="336"/>
                </a:lnTo>
                <a:lnTo>
                  <a:pt x="1432" y="334"/>
                </a:lnTo>
                <a:lnTo>
                  <a:pt x="1430" y="332"/>
                </a:lnTo>
                <a:lnTo>
                  <a:pt x="1429" y="330"/>
                </a:lnTo>
                <a:lnTo>
                  <a:pt x="1428" y="324"/>
                </a:lnTo>
                <a:lnTo>
                  <a:pt x="1429" y="322"/>
                </a:lnTo>
                <a:lnTo>
                  <a:pt x="1430" y="320"/>
                </a:lnTo>
                <a:lnTo>
                  <a:pt x="1431" y="317"/>
                </a:lnTo>
                <a:lnTo>
                  <a:pt x="1433" y="315"/>
                </a:lnTo>
                <a:lnTo>
                  <a:pt x="1435" y="314"/>
                </a:lnTo>
                <a:lnTo>
                  <a:pt x="1437" y="313"/>
                </a:lnTo>
                <a:lnTo>
                  <a:pt x="1439" y="312"/>
                </a:lnTo>
                <a:close/>
                <a:moveTo>
                  <a:pt x="1762" y="249"/>
                </a:moveTo>
                <a:lnTo>
                  <a:pt x="1764" y="249"/>
                </a:lnTo>
                <a:lnTo>
                  <a:pt x="1767" y="249"/>
                </a:lnTo>
                <a:lnTo>
                  <a:pt x="1769" y="250"/>
                </a:lnTo>
                <a:lnTo>
                  <a:pt x="1772" y="251"/>
                </a:lnTo>
                <a:lnTo>
                  <a:pt x="1774" y="252"/>
                </a:lnTo>
                <a:lnTo>
                  <a:pt x="1775" y="254"/>
                </a:lnTo>
                <a:lnTo>
                  <a:pt x="1777" y="256"/>
                </a:lnTo>
                <a:lnTo>
                  <a:pt x="1777" y="258"/>
                </a:lnTo>
                <a:lnTo>
                  <a:pt x="1777" y="259"/>
                </a:lnTo>
                <a:lnTo>
                  <a:pt x="1778" y="262"/>
                </a:lnTo>
                <a:lnTo>
                  <a:pt x="1778" y="264"/>
                </a:lnTo>
                <a:lnTo>
                  <a:pt x="1777" y="266"/>
                </a:lnTo>
                <a:lnTo>
                  <a:pt x="1776" y="268"/>
                </a:lnTo>
                <a:lnTo>
                  <a:pt x="1775" y="270"/>
                </a:lnTo>
                <a:lnTo>
                  <a:pt x="1773" y="272"/>
                </a:lnTo>
                <a:lnTo>
                  <a:pt x="1771" y="273"/>
                </a:lnTo>
                <a:lnTo>
                  <a:pt x="1769" y="274"/>
                </a:lnTo>
                <a:lnTo>
                  <a:pt x="1767" y="275"/>
                </a:lnTo>
                <a:lnTo>
                  <a:pt x="1765" y="275"/>
                </a:lnTo>
                <a:lnTo>
                  <a:pt x="1762" y="275"/>
                </a:lnTo>
                <a:lnTo>
                  <a:pt x="1760" y="274"/>
                </a:lnTo>
                <a:lnTo>
                  <a:pt x="1758" y="273"/>
                </a:lnTo>
                <a:lnTo>
                  <a:pt x="1756" y="271"/>
                </a:lnTo>
                <a:lnTo>
                  <a:pt x="1754" y="270"/>
                </a:lnTo>
                <a:lnTo>
                  <a:pt x="1753" y="267"/>
                </a:lnTo>
                <a:lnTo>
                  <a:pt x="1752" y="266"/>
                </a:lnTo>
                <a:lnTo>
                  <a:pt x="1752" y="265"/>
                </a:lnTo>
                <a:lnTo>
                  <a:pt x="1752" y="262"/>
                </a:lnTo>
                <a:lnTo>
                  <a:pt x="1752" y="260"/>
                </a:lnTo>
                <a:lnTo>
                  <a:pt x="1752" y="258"/>
                </a:lnTo>
                <a:lnTo>
                  <a:pt x="1753" y="255"/>
                </a:lnTo>
                <a:lnTo>
                  <a:pt x="1755" y="254"/>
                </a:lnTo>
                <a:lnTo>
                  <a:pt x="1756" y="252"/>
                </a:lnTo>
                <a:lnTo>
                  <a:pt x="1758" y="251"/>
                </a:lnTo>
                <a:lnTo>
                  <a:pt x="1760" y="250"/>
                </a:lnTo>
                <a:lnTo>
                  <a:pt x="1762" y="249"/>
                </a:lnTo>
                <a:close/>
                <a:moveTo>
                  <a:pt x="1502" y="291"/>
                </a:moveTo>
                <a:lnTo>
                  <a:pt x="1507" y="291"/>
                </a:lnTo>
                <a:lnTo>
                  <a:pt x="1509" y="292"/>
                </a:lnTo>
                <a:lnTo>
                  <a:pt x="1511" y="293"/>
                </a:lnTo>
                <a:lnTo>
                  <a:pt x="1513" y="295"/>
                </a:lnTo>
                <a:lnTo>
                  <a:pt x="1514" y="295"/>
                </a:lnTo>
                <a:lnTo>
                  <a:pt x="1515" y="296"/>
                </a:lnTo>
                <a:lnTo>
                  <a:pt x="1516" y="298"/>
                </a:lnTo>
                <a:lnTo>
                  <a:pt x="1517" y="301"/>
                </a:lnTo>
                <a:lnTo>
                  <a:pt x="1517" y="303"/>
                </a:lnTo>
                <a:lnTo>
                  <a:pt x="1517" y="306"/>
                </a:lnTo>
                <a:lnTo>
                  <a:pt x="1517" y="308"/>
                </a:lnTo>
                <a:lnTo>
                  <a:pt x="1516" y="311"/>
                </a:lnTo>
                <a:lnTo>
                  <a:pt x="1515" y="312"/>
                </a:lnTo>
                <a:lnTo>
                  <a:pt x="1514" y="313"/>
                </a:lnTo>
                <a:lnTo>
                  <a:pt x="1513" y="314"/>
                </a:lnTo>
                <a:lnTo>
                  <a:pt x="1510" y="316"/>
                </a:lnTo>
                <a:lnTo>
                  <a:pt x="1508" y="317"/>
                </a:lnTo>
                <a:lnTo>
                  <a:pt x="1507" y="317"/>
                </a:lnTo>
                <a:lnTo>
                  <a:pt x="1502" y="317"/>
                </a:lnTo>
                <a:lnTo>
                  <a:pt x="1500" y="317"/>
                </a:lnTo>
                <a:lnTo>
                  <a:pt x="1497" y="316"/>
                </a:lnTo>
                <a:lnTo>
                  <a:pt x="1496" y="314"/>
                </a:lnTo>
                <a:lnTo>
                  <a:pt x="1495" y="313"/>
                </a:lnTo>
                <a:lnTo>
                  <a:pt x="1494" y="312"/>
                </a:lnTo>
                <a:lnTo>
                  <a:pt x="1493" y="310"/>
                </a:lnTo>
                <a:lnTo>
                  <a:pt x="1492" y="308"/>
                </a:lnTo>
                <a:lnTo>
                  <a:pt x="1491" y="305"/>
                </a:lnTo>
                <a:lnTo>
                  <a:pt x="1491" y="303"/>
                </a:lnTo>
                <a:lnTo>
                  <a:pt x="1492" y="300"/>
                </a:lnTo>
                <a:lnTo>
                  <a:pt x="1493" y="298"/>
                </a:lnTo>
                <a:lnTo>
                  <a:pt x="1493" y="297"/>
                </a:lnTo>
                <a:lnTo>
                  <a:pt x="1494" y="296"/>
                </a:lnTo>
                <a:lnTo>
                  <a:pt x="1496" y="294"/>
                </a:lnTo>
                <a:lnTo>
                  <a:pt x="1498" y="293"/>
                </a:lnTo>
                <a:lnTo>
                  <a:pt x="1501" y="292"/>
                </a:lnTo>
                <a:lnTo>
                  <a:pt x="1502" y="291"/>
                </a:lnTo>
                <a:close/>
                <a:moveTo>
                  <a:pt x="1696" y="253"/>
                </a:moveTo>
                <a:lnTo>
                  <a:pt x="1699" y="253"/>
                </a:lnTo>
                <a:lnTo>
                  <a:pt x="1702" y="254"/>
                </a:lnTo>
                <a:lnTo>
                  <a:pt x="1705" y="255"/>
                </a:lnTo>
                <a:lnTo>
                  <a:pt x="1707" y="256"/>
                </a:lnTo>
                <a:lnTo>
                  <a:pt x="1709" y="258"/>
                </a:lnTo>
                <a:lnTo>
                  <a:pt x="1710" y="260"/>
                </a:lnTo>
                <a:lnTo>
                  <a:pt x="1711" y="262"/>
                </a:lnTo>
                <a:lnTo>
                  <a:pt x="1712" y="265"/>
                </a:lnTo>
                <a:lnTo>
                  <a:pt x="1712" y="267"/>
                </a:lnTo>
                <a:lnTo>
                  <a:pt x="1711" y="270"/>
                </a:lnTo>
                <a:lnTo>
                  <a:pt x="1710" y="272"/>
                </a:lnTo>
                <a:lnTo>
                  <a:pt x="1709" y="274"/>
                </a:lnTo>
                <a:lnTo>
                  <a:pt x="1706" y="277"/>
                </a:lnTo>
                <a:lnTo>
                  <a:pt x="1703" y="278"/>
                </a:lnTo>
                <a:lnTo>
                  <a:pt x="1701" y="279"/>
                </a:lnTo>
                <a:lnTo>
                  <a:pt x="1698" y="279"/>
                </a:lnTo>
                <a:lnTo>
                  <a:pt x="1695" y="279"/>
                </a:lnTo>
                <a:lnTo>
                  <a:pt x="1693" y="278"/>
                </a:lnTo>
                <a:lnTo>
                  <a:pt x="1690" y="276"/>
                </a:lnTo>
                <a:lnTo>
                  <a:pt x="1689" y="274"/>
                </a:lnTo>
                <a:lnTo>
                  <a:pt x="1687" y="272"/>
                </a:lnTo>
                <a:lnTo>
                  <a:pt x="1686" y="270"/>
                </a:lnTo>
                <a:lnTo>
                  <a:pt x="1686" y="267"/>
                </a:lnTo>
                <a:lnTo>
                  <a:pt x="1686" y="265"/>
                </a:lnTo>
                <a:lnTo>
                  <a:pt x="1686" y="262"/>
                </a:lnTo>
                <a:lnTo>
                  <a:pt x="1687" y="260"/>
                </a:lnTo>
                <a:lnTo>
                  <a:pt x="1688" y="258"/>
                </a:lnTo>
                <a:lnTo>
                  <a:pt x="1692" y="255"/>
                </a:lnTo>
                <a:lnTo>
                  <a:pt x="1694" y="254"/>
                </a:lnTo>
                <a:lnTo>
                  <a:pt x="1696" y="253"/>
                </a:lnTo>
                <a:close/>
                <a:moveTo>
                  <a:pt x="1566" y="275"/>
                </a:moveTo>
                <a:lnTo>
                  <a:pt x="1571" y="275"/>
                </a:lnTo>
                <a:lnTo>
                  <a:pt x="1573" y="275"/>
                </a:lnTo>
                <a:lnTo>
                  <a:pt x="1575" y="277"/>
                </a:lnTo>
                <a:lnTo>
                  <a:pt x="1577" y="278"/>
                </a:lnTo>
                <a:lnTo>
                  <a:pt x="1579" y="280"/>
                </a:lnTo>
                <a:lnTo>
                  <a:pt x="1580" y="282"/>
                </a:lnTo>
                <a:lnTo>
                  <a:pt x="1581" y="285"/>
                </a:lnTo>
                <a:lnTo>
                  <a:pt x="1581" y="287"/>
                </a:lnTo>
                <a:lnTo>
                  <a:pt x="1581" y="290"/>
                </a:lnTo>
                <a:lnTo>
                  <a:pt x="1580" y="292"/>
                </a:lnTo>
                <a:lnTo>
                  <a:pt x="1579" y="294"/>
                </a:lnTo>
                <a:lnTo>
                  <a:pt x="1578" y="296"/>
                </a:lnTo>
                <a:lnTo>
                  <a:pt x="1576" y="298"/>
                </a:lnTo>
                <a:lnTo>
                  <a:pt x="1574" y="299"/>
                </a:lnTo>
                <a:lnTo>
                  <a:pt x="1571" y="300"/>
                </a:lnTo>
                <a:lnTo>
                  <a:pt x="1566" y="300"/>
                </a:lnTo>
                <a:lnTo>
                  <a:pt x="1563" y="300"/>
                </a:lnTo>
                <a:lnTo>
                  <a:pt x="1561" y="298"/>
                </a:lnTo>
                <a:lnTo>
                  <a:pt x="1559" y="297"/>
                </a:lnTo>
                <a:lnTo>
                  <a:pt x="1557" y="295"/>
                </a:lnTo>
                <a:lnTo>
                  <a:pt x="1556" y="293"/>
                </a:lnTo>
                <a:lnTo>
                  <a:pt x="1555" y="290"/>
                </a:lnTo>
                <a:lnTo>
                  <a:pt x="1555" y="288"/>
                </a:lnTo>
                <a:lnTo>
                  <a:pt x="1555" y="285"/>
                </a:lnTo>
                <a:lnTo>
                  <a:pt x="1556" y="283"/>
                </a:lnTo>
                <a:lnTo>
                  <a:pt x="1557" y="281"/>
                </a:lnTo>
                <a:lnTo>
                  <a:pt x="1559" y="279"/>
                </a:lnTo>
                <a:lnTo>
                  <a:pt x="1561" y="277"/>
                </a:lnTo>
                <a:lnTo>
                  <a:pt x="1563" y="276"/>
                </a:lnTo>
                <a:lnTo>
                  <a:pt x="1565" y="275"/>
                </a:lnTo>
                <a:lnTo>
                  <a:pt x="1566" y="275"/>
                </a:lnTo>
                <a:close/>
                <a:moveTo>
                  <a:pt x="1631" y="262"/>
                </a:moveTo>
                <a:lnTo>
                  <a:pt x="1634" y="262"/>
                </a:lnTo>
                <a:lnTo>
                  <a:pt x="1636" y="262"/>
                </a:lnTo>
                <a:lnTo>
                  <a:pt x="1639" y="263"/>
                </a:lnTo>
                <a:lnTo>
                  <a:pt x="1641" y="264"/>
                </a:lnTo>
                <a:lnTo>
                  <a:pt x="1643" y="266"/>
                </a:lnTo>
                <a:lnTo>
                  <a:pt x="1644" y="268"/>
                </a:lnTo>
                <a:lnTo>
                  <a:pt x="1645" y="270"/>
                </a:lnTo>
                <a:lnTo>
                  <a:pt x="1646" y="273"/>
                </a:lnTo>
                <a:lnTo>
                  <a:pt x="1646" y="275"/>
                </a:lnTo>
                <a:lnTo>
                  <a:pt x="1646" y="278"/>
                </a:lnTo>
                <a:lnTo>
                  <a:pt x="1645" y="280"/>
                </a:lnTo>
                <a:lnTo>
                  <a:pt x="1644" y="282"/>
                </a:lnTo>
                <a:lnTo>
                  <a:pt x="1640" y="286"/>
                </a:lnTo>
                <a:lnTo>
                  <a:pt x="1638" y="287"/>
                </a:lnTo>
                <a:lnTo>
                  <a:pt x="1635" y="288"/>
                </a:lnTo>
                <a:lnTo>
                  <a:pt x="1633" y="288"/>
                </a:lnTo>
                <a:lnTo>
                  <a:pt x="1630" y="287"/>
                </a:lnTo>
                <a:lnTo>
                  <a:pt x="1628" y="287"/>
                </a:lnTo>
                <a:lnTo>
                  <a:pt x="1625" y="285"/>
                </a:lnTo>
                <a:lnTo>
                  <a:pt x="1624" y="284"/>
                </a:lnTo>
                <a:lnTo>
                  <a:pt x="1622" y="282"/>
                </a:lnTo>
                <a:lnTo>
                  <a:pt x="1621" y="279"/>
                </a:lnTo>
                <a:lnTo>
                  <a:pt x="1620" y="277"/>
                </a:lnTo>
                <a:lnTo>
                  <a:pt x="1620" y="274"/>
                </a:lnTo>
                <a:lnTo>
                  <a:pt x="1620" y="272"/>
                </a:lnTo>
                <a:lnTo>
                  <a:pt x="1621" y="269"/>
                </a:lnTo>
                <a:lnTo>
                  <a:pt x="1622" y="267"/>
                </a:lnTo>
                <a:lnTo>
                  <a:pt x="1626" y="264"/>
                </a:lnTo>
                <a:lnTo>
                  <a:pt x="1628" y="262"/>
                </a:lnTo>
                <a:lnTo>
                  <a:pt x="1631" y="262"/>
                </a:lnTo>
                <a:close/>
              </a:path>
            </a:pathLst>
          </a:custGeom>
          <a:solidFill>
            <a:srgbClr val="2C495A">
              <a:alpha val="49804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reeform 6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66745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tsikko ja sisältö" type="obj" preserve="1">
  <p:cSld name="slide_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5416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Content Green" type="obj" preserve="1">
  <p:cSld name="slide_6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"/>
          <p:cNvSpPr>
            <a:spLocks noEditPoints="1"/>
          </p:cNvSpPr>
          <p:nvPr userDrawn="1"/>
        </p:nvSpPr>
        <p:spPr bwMode="auto">
          <a:xfrm>
            <a:off x="7608168" y="4587521"/>
            <a:ext cx="4583832" cy="2270479"/>
          </a:xfrm>
          <a:custGeom>
            <a:avLst/>
            <a:gdLst>
              <a:gd name="T0" fmla="*/ 3697 w 4811"/>
              <a:gd name="T1" fmla="*/ 2229 h 2383"/>
              <a:gd name="T2" fmla="*/ 4135 w 4811"/>
              <a:gd name="T3" fmla="*/ 2292 h 2383"/>
              <a:gd name="T4" fmla="*/ 4664 w 4811"/>
              <a:gd name="T5" fmla="*/ 925 h 2383"/>
              <a:gd name="T6" fmla="*/ 4243 w 4811"/>
              <a:gd name="T7" fmla="*/ 833 h 2383"/>
              <a:gd name="T8" fmla="*/ 3838 w 4811"/>
              <a:gd name="T9" fmla="*/ 694 h 2383"/>
              <a:gd name="T10" fmla="*/ 3455 w 4811"/>
              <a:gd name="T11" fmla="*/ 502 h 2383"/>
              <a:gd name="T12" fmla="*/ 3177 w 4811"/>
              <a:gd name="T13" fmla="*/ 365 h 2383"/>
              <a:gd name="T14" fmla="*/ 3047 w 4811"/>
              <a:gd name="T15" fmla="*/ 284 h 2383"/>
              <a:gd name="T16" fmla="*/ 444 w 4811"/>
              <a:gd name="T17" fmla="*/ 1728 h 2383"/>
              <a:gd name="T18" fmla="*/ 569 w 4811"/>
              <a:gd name="T19" fmla="*/ 1649 h 2383"/>
              <a:gd name="T20" fmla="*/ 2935 w 4811"/>
              <a:gd name="T21" fmla="*/ 245 h 2383"/>
              <a:gd name="T22" fmla="*/ 1360 w 4811"/>
              <a:gd name="T23" fmla="*/ 1024 h 2383"/>
              <a:gd name="T24" fmla="*/ 2672 w 4811"/>
              <a:gd name="T25" fmla="*/ 135 h 2383"/>
              <a:gd name="T26" fmla="*/ 1444 w 4811"/>
              <a:gd name="T27" fmla="*/ 614 h 2383"/>
              <a:gd name="T28" fmla="*/ 1457 w 4811"/>
              <a:gd name="T29" fmla="*/ 469 h 2383"/>
              <a:gd name="T30" fmla="*/ 1962 w 4811"/>
              <a:gd name="T31" fmla="*/ 44 h 2383"/>
              <a:gd name="T32" fmla="*/ 1697 w 4811"/>
              <a:gd name="T33" fmla="*/ 121 h 2383"/>
              <a:gd name="T34" fmla="*/ 4512 w 4811"/>
              <a:gd name="T35" fmla="*/ 1220 h 2383"/>
              <a:gd name="T36" fmla="*/ 4105 w 4811"/>
              <a:gd name="T37" fmla="*/ 1077 h 2383"/>
              <a:gd name="T38" fmla="*/ 3709 w 4811"/>
              <a:gd name="T39" fmla="*/ 878 h 2383"/>
              <a:gd name="T40" fmla="*/ 3339 w 4811"/>
              <a:gd name="T41" fmla="*/ 673 h 2383"/>
              <a:gd name="T42" fmla="*/ 733 w 4811"/>
              <a:gd name="T43" fmla="*/ 2077 h 2383"/>
              <a:gd name="T44" fmla="*/ 835 w 4811"/>
              <a:gd name="T45" fmla="*/ 1990 h 2383"/>
              <a:gd name="T46" fmla="*/ 1324 w 4811"/>
              <a:gd name="T47" fmla="*/ 1694 h 2383"/>
              <a:gd name="T48" fmla="*/ 1522 w 4811"/>
              <a:gd name="T49" fmla="*/ 1503 h 2383"/>
              <a:gd name="T50" fmla="*/ 1660 w 4811"/>
              <a:gd name="T51" fmla="*/ 1239 h 2383"/>
              <a:gd name="T52" fmla="*/ 2781 w 4811"/>
              <a:gd name="T53" fmla="*/ 439 h 2383"/>
              <a:gd name="T54" fmla="*/ 1718 w 4811"/>
              <a:gd name="T55" fmla="*/ 811 h 2383"/>
              <a:gd name="T56" fmla="*/ 2218 w 4811"/>
              <a:gd name="T57" fmla="*/ 385 h 2383"/>
              <a:gd name="T58" fmla="*/ 1945 w 4811"/>
              <a:gd name="T59" fmla="*/ 469 h 2383"/>
              <a:gd name="T60" fmla="*/ 4617 w 4811"/>
              <a:gd name="T61" fmla="*/ 1533 h 2383"/>
              <a:gd name="T62" fmla="*/ 4100 w 4811"/>
              <a:gd name="T63" fmla="*/ 1288 h 2383"/>
              <a:gd name="T64" fmla="*/ 3735 w 4811"/>
              <a:gd name="T65" fmla="*/ 1088 h 2383"/>
              <a:gd name="T66" fmla="*/ 1488 w 4811"/>
              <a:gd name="T67" fmla="*/ 2147 h 2383"/>
              <a:gd name="T68" fmla="*/ 1615 w 4811"/>
              <a:gd name="T69" fmla="*/ 2081 h 2383"/>
              <a:gd name="T70" fmla="*/ 1818 w 4811"/>
              <a:gd name="T71" fmla="*/ 1874 h 2383"/>
              <a:gd name="T72" fmla="*/ 1949 w 4811"/>
              <a:gd name="T73" fmla="*/ 1628 h 2383"/>
              <a:gd name="T74" fmla="*/ 3075 w 4811"/>
              <a:gd name="T75" fmla="*/ 825 h 2383"/>
              <a:gd name="T76" fmla="*/ 2789 w 4811"/>
              <a:gd name="T77" fmla="*/ 776 h 2383"/>
              <a:gd name="T78" fmla="*/ 2035 w 4811"/>
              <a:gd name="T79" fmla="*/ 1065 h 2383"/>
              <a:gd name="T80" fmla="*/ 2114 w 4811"/>
              <a:gd name="T81" fmla="*/ 937 h 2383"/>
              <a:gd name="T82" fmla="*/ 4637 w 4811"/>
              <a:gd name="T83" fmla="*/ 1805 h 2383"/>
              <a:gd name="T84" fmla="*/ 4260 w 4811"/>
              <a:gd name="T85" fmla="*/ 1606 h 2383"/>
              <a:gd name="T86" fmla="*/ 3874 w 4811"/>
              <a:gd name="T87" fmla="*/ 1413 h 2383"/>
              <a:gd name="T88" fmla="*/ 2085 w 4811"/>
              <a:gd name="T89" fmla="*/ 2254 h 2383"/>
              <a:gd name="T90" fmla="*/ 2215 w 4811"/>
              <a:gd name="T91" fmla="*/ 2003 h 2383"/>
              <a:gd name="T92" fmla="*/ 3342 w 4811"/>
              <a:gd name="T93" fmla="*/ 1195 h 2383"/>
              <a:gd name="T94" fmla="*/ 3056 w 4811"/>
              <a:gd name="T95" fmla="*/ 1147 h 2383"/>
              <a:gd name="T96" fmla="*/ 2302 w 4811"/>
              <a:gd name="T97" fmla="*/ 1435 h 2383"/>
              <a:gd name="T98" fmla="*/ 2381 w 4811"/>
              <a:gd name="T99" fmla="*/ 1308 h 2383"/>
              <a:gd name="T100" fmla="*/ 4653 w 4811"/>
              <a:gd name="T101" fmla="*/ 2048 h 2383"/>
              <a:gd name="T102" fmla="*/ 4272 w 4811"/>
              <a:gd name="T103" fmla="*/ 1845 h 2383"/>
              <a:gd name="T104" fmla="*/ 3878 w 4811"/>
              <a:gd name="T105" fmla="*/ 1665 h 2383"/>
              <a:gd name="T106" fmla="*/ 2513 w 4811"/>
              <a:gd name="T107" fmla="*/ 2232 h 2383"/>
              <a:gd name="T108" fmla="*/ 3462 w 4811"/>
              <a:gd name="T109" fmla="*/ 1541 h 2383"/>
              <a:gd name="T110" fmla="*/ 3181 w 4811"/>
              <a:gd name="T111" fmla="*/ 1508 h 2383"/>
              <a:gd name="T112" fmla="*/ 2893 w 4811"/>
              <a:gd name="T113" fmla="*/ 1559 h 2383"/>
              <a:gd name="T114" fmla="*/ 4793 w 4811"/>
              <a:gd name="T115" fmla="*/ 2346 h 2383"/>
              <a:gd name="T116" fmla="*/ 4402 w 4811"/>
              <a:gd name="T117" fmla="*/ 2133 h 2383"/>
              <a:gd name="T118" fmla="*/ 4008 w 4811"/>
              <a:gd name="T119" fmla="*/ 1967 h 2383"/>
              <a:gd name="T120" fmla="*/ 3592 w 4811"/>
              <a:gd name="T121" fmla="*/ 1871 h 2383"/>
              <a:gd name="T122" fmla="*/ 2838 w 4811"/>
              <a:gd name="T123" fmla="*/ 2167 h 2383"/>
              <a:gd name="T124" fmla="*/ 2915 w 4811"/>
              <a:gd name="T125" fmla="*/ 2051 h 2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11" h="2383">
                <a:moveTo>
                  <a:pt x="3277" y="2328"/>
                </a:moveTo>
                <a:lnTo>
                  <a:pt x="3280" y="2327"/>
                </a:lnTo>
                <a:lnTo>
                  <a:pt x="3283" y="2326"/>
                </a:lnTo>
                <a:lnTo>
                  <a:pt x="3286" y="2326"/>
                </a:lnTo>
                <a:lnTo>
                  <a:pt x="3289" y="2327"/>
                </a:lnTo>
                <a:lnTo>
                  <a:pt x="3292" y="2328"/>
                </a:lnTo>
                <a:lnTo>
                  <a:pt x="3294" y="2330"/>
                </a:lnTo>
                <a:lnTo>
                  <a:pt x="3295" y="2331"/>
                </a:lnTo>
                <a:lnTo>
                  <a:pt x="3296" y="2332"/>
                </a:lnTo>
                <a:lnTo>
                  <a:pt x="3298" y="2334"/>
                </a:lnTo>
                <a:lnTo>
                  <a:pt x="3299" y="2340"/>
                </a:lnTo>
                <a:lnTo>
                  <a:pt x="3299" y="2343"/>
                </a:lnTo>
                <a:lnTo>
                  <a:pt x="3299" y="2345"/>
                </a:lnTo>
                <a:lnTo>
                  <a:pt x="3298" y="2348"/>
                </a:lnTo>
                <a:lnTo>
                  <a:pt x="3296" y="2350"/>
                </a:lnTo>
                <a:lnTo>
                  <a:pt x="3294" y="2352"/>
                </a:lnTo>
                <a:lnTo>
                  <a:pt x="3292" y="2354"/>
                </a:lnTo>
                <a:lnTo>
                  <a:pt x="3289" y="2355"/>
                </a:lnTo>
                <a:lnTo>
                  <a:pt x="3286" y="2356"/>
                </a:lnTo>
                <a:lnTo>
                  <a:pt x="3282" y="2356"/>
                </a:lnTo>
                <a:lnTo>
                  <a:pt x="3280" y="2355"/>
                </a:lnTo>
                <a:lnTo>
                  <a:pt x="3277" y="2354"/>
                </a:lnTo>
                <a:lnTo>
                  <a:pt x="3274" y="2352"/>
                </a:lnTo>
                <a:lnTo>
                  <a:pt x="3273" y="2351"/>
                </a:lnTo>
                <a:lnTo>
                  <a:pt x="3272" y="2350"/>
                </a:lnTo>
                <a:lnTo>
                  <a:pt x="3271" y="2347"/>
                </a:lnTo>
                <a:lnTo>
                  <a:pt x="3269" y="2342"/>
                </a:lnTo>
                <a:lnTo>
                  <a:pt x="3269" y="2339"/>
                </a:lnTo>
                <a:lnTo>
                  <a:pt x="3270" y="2336"/>
                </a:lnTo>
                <a:lnTo>
                  <a:pt x="3271" y="2334"/>
                </a:lnTo>
                <a:lnTo>
                  <a:pt x="3273" y="2332"/>
                </a:lnTo>
                <a:lnTo>
                  <a:pt x="3274" y="2329"/>
                </a:lnTo>
                <a:lnTo>
                  <a:pt x="3277" y="2328"/>
                </a:lnTo>
                <a:close/>
                <a:moveTo>
                  <a:pt x="3411" y="2276"/>
                </a:moveTo>
                <a:lnTo>
                  <a:pt x="3414" y="2274"/>
                </a:lnTo>
                <a:lnTo>
                  <a:pt x="3417" y="2274"/>
                </a:lnTo>
                <a:lnTo>
                  <a:pt x="3420" y="2274"/>
                </a:lnTo>
                <a:lnTo>
                  <a:pt x="3423" y="2274"/>
                </a:lnTo>
                <a:lnTo>
                  <a:pt x="3425" y="2275"/>
                </a:lnTo>
                <a:lnTo>
                  <a:pt x="3428" y="2277"/>
                </a:lnTo>
                <a:lnTo>
                  <a:pt x="3430" y="2279"/>
                </a:lnTo>
                <a:lnTo>
                  <a:pt x="3431" y="2281"/>
                </a:lnTo>
                <a:lnTo>
                  <a:pt x="3433" y="2284"/>
                </a:lnTo>
                <a:lnTo>
                  <a:pt x="3433" y="2289"/>
                </a:lnTo>
                <a:lnTo>
                  <a:pt x="3433" y="2292"/>
                </a:lnTo>
                <a:lnTo>
                  <a:pt x="3432" y="2294"/>
                </a:lnTo>
                <a:lnTo>
                  <a:pt x="3431" y="2296"/>
                </a:lnTo>
                <a:lnTo>
                  <a:pt x="3430" y="2298"/>
                </a:lnTo>
                <a:lnTo>
                  <a:pt x="3428" y="2300"/>
                </a:lnTo>
                <a:lnTo>
                  <a:pt x="3426" y="2302"/>
                </a:lnTo>
                <a:lnTo>
                  <a:pt x="3423" y="2303"/>
                </a:lnTo>
                <a:lnTo>
                  <a:pt x="3420" y="2304"/>
                </a:lnTo>
                <a:lnTo>
                  <a:pt x="3417" y="2304"/>
                </a:lnTo>
                <a:lnTo>
                  <a:pt x="3414" y="2303"/>
                </a:lnTo>
                <a:lnTo>
                  <a:pt x="3411" y="2302"/>
                </a:lnTo>
                <a:lnTo>
                  <a:pt x="3409" y="2300"/>
                </a:lnTo>
                <a:lnTo>
                  <a:pt x="3407" y="2298"/>
                </a:lnTo>
                <a:lnTo>
                  <a:pt x="3405" y="2296"/>
                </a:lnTo>
                <a:lnTo>
                  <a:pt x="3404" y="2293"/>
                </a:lnTo>
                <a:lnTo>
                  <a:pt x="3403" y="2288"/>
                </a:lnTo>
                <a:lnTo>
                  <a:pt x="3404" y="2285"/>
                </a:lnTo>
                <a:lnTo>
                  <a:pt x="3404" y="2283"/>
                </a:lnTo>
                <a:lnTo>
                  <a:pt x="3405" y="2281"/>
                </a:lnTo>
                <a:lnTo>
                  <a:pt x="3407" y="2279"/>
                </a:lnTo>
                <a:lnTo>
                  <a:pt x="3409" y="2277"/>
                </a:lnTo>
                <a:lnTo>
                  <a:pt x="3411" y="2276"/>
                </a:lnTo>
                <a:close/>
                <a:moveTo>
                  <a:pt x="3551" y="2243"/>
                </a:moveTo>
                <a:lnTo>
                  <a:pt x="3553" y="2242"/>
                </a:lnTo>
                <a:lnTo>
                  <a:pt x="3556" y="2241"/>
                </a:lnTo>
                <a:lnTo>
                  <a:pt x="3559" y="2241"/>
                </a:lnTo>
                <a:lnTo>
                  <a:pt x="3562" y="2241"/>
                </a:lnTo>
                <a:lnTo>
                  <a:pt x="3565" y="2242"/>
                </a:lnTo>
                <a:lnTo>
                  <a:pt x="3567" y="2244"/>
                </a:lnTo>
                <a:lnTo>
                  <a:pt x="3569" y="2246"/>
                </a:lnTo>
                <a:lnTo>
                  <a:pt x="3571" y="2248"/>
                </a:lnTo>
                <a:lnTo>
                  <a:pt x="3572" y="2251"/>
                </a:lnTo>
                <a:lnTo>
                  <a:pt x="3573" y="2254"/>
                </a:lnTo>
                <a:lnTo>
                  <a:pt x="3573" y="2258"/>
                </a:lnTo>
                <a:lnTo>
                  <a:pt x="3572" y="2263"/>
                </a:lnTo>
                <a:lnTo>
                  <a:pt x="3569" y="2266"/>
                </a:lnTo>
                <a:lnTo>
                  <a:pt x="3566" y="2269"/>
                </a:lnTo>
                <a:lnTo>
                  <a:pt x="3563" y="2270"/>
                </a:lnTo>
                <a:lnTo>
                  <a:pt x="3561" y="2271"/>
                </a:lnTo>
                <a:lnTo>
                  <a:pt x="3557" y="2271"/>
                </a:lnTo>
                <a:lnTo>
                  <a:pt x="3555" y="2271"/>
                </a:lnTo>
                <a:lnTo>
                  <a:pt x="3552" y="2270"/>
                </a:lnTo>
                <a:lnTo>
                  <a:pt x="3549" y="2268"/>
                </a:lnTo>
                <a:lnTo>
                  <a:pt x="3547" y="2266"/>
                </a:lnTo>
                <a:lnTo>
                  <a:pt x="3545" y="2264"/>
                </a:lnTo>
                <a:lnTo>
                  <a:pt x="3544" y="2261"/>
                </a:lnTo>
                <a:lnTo>
                  <a:pt x="3543" y="2258"/>
                </a:lnTo>
                <a:lnTo>
                  <a:pt x="3543" y="2254"/>
                </a:lnTo>
                <a:lnTo>
                  <a:pt x="3545" y="2249"/>
                </a:lnTo>
                <a:lnTo>
                  <a:pt x="3547" y="2246"/>
                </a:lnTo>
                <a:lnTo>
                  <a:pt x="3551" y="2243"/>
                </a:lnTo>
                <a:close/>
                <a:moveTo>
                  <a:pt x="3694" y="2230"/>
                </a:moveTo>
                <a:lnTo>
                  <a:pt x="3697" y="2229"/>
                </a:lnTo>
                <a:lnTo>
                  <a:pt x="3701" y="2228"/>
                </a:lnTo>
                <a:lnTo>
                  <a:pt x="3704" y="2229"/>
                </a:lnTo>
                <a:lnTo>
                  <a:pt x="3707" y="2229"/>
                </a:lnTo>
                <a:lnTo>
                  <a:pt x="3710" y="2231"/>
                </a:lnTo>
                <a:lnTo>
                  <a:pt x="3712" y="2233"/>
                </a:lnTo>
                <a:lnTo>
                  <a:pt x="3714" y="2235"/>
                </a:lnTo>
                <a:lnTo>
                  <a:pt x="3715" y="2237"/>
                </a:lnTo>
                <a:lnTo>
                  <a:pt x="3716" y="2240"/>
                </a:lnTo>
                <a:lnTo>
                  <a:pt x="3716" y="2243"/>
                </a:lnTo>
                <a:lnTo>
                  <a:pt x="3716" y="2247"/>
                </a:lnTo>
                <a:lnTo>
                  <a:pt x="3714" y="2251"/>
                </a:lnTo>
                <a:lnTo>
                  <a:pt x="3712" y="2254"/>
                </a:lnTo>
                <a:lnTo>
                  <a:pt x="3709" y="2256"/>
                </a:lnTo>
                <a:lnTo>
                  <a:pt x="3705" y="2258"/>
                </a:lnTo>
                <a:lnTo>
                  <a:pt x="3702" y="2258"/>
                </a:lnTo>
                <a:lnTo>
                  <a:pt x="3699" y="2258"/>
                </a:lnTo>
                <a:lnTo>
                  <a:pt x="3696" y="2257"/>
                </a:lnTo>
                <a:lnTo>
                  <a:pt x="3693" y="2256"/>
                </a:lnTo>
                <a:lnTo>
                  <a:pt x="3691" y="2254"/>
                </a:lnTo>
                <a:lnTo>
                  <a:pt x="3689" y="2252"/>
                </a:lnTo>
                <a:lnTo>
                  <a:pt x="3688" y="2250"/>
                </a:lnTo>
                <a:lnTo>
                  <a:pt x="3687" y="2247"/>
                </a:lnTo>
                <a:lnTo>
                  <a:pt x="3686" y="2244"/>
                </a:lnTo>
                <a:lnTo>
                  <a:pt x="3687" y="2240"/>
                </a:lnTo>
                <a:lnTo>
                  <a:pt x="3688" y="2236"/>
                </a:lnTo>
                <a:lnTo>
                  <a:pt x="3691" y="2233"/>
                </a:lnTo>
                <a:lnTo>
                  <a:pt x="3694" y="2230"/>
                </a:lnTo>
                <a:close/>
                <a:moveTo>
                  <a:pt x="3838" y="2236"/>
                </a:moveTo>
                <a:lnTo>
                  <a:pt x="3842" y="2235"/>
                </a:lnTo>
                <a:lnTo>
                  <a:pt x="3844" y="2234"/>
                </a:lnTo>
                <a:lnTo>
                  <a:pt x="3847" y="2234"/>
                </a:lnTo>
                <a:lnTo>
                  <a:pt x="3850" y="2235"/>
                </a:lnTo>
                <a:lnTo>
                  <a:pt x="3852" y="2236"/>
                </a:lnTo>
                <a:lnTo>
                  <a:pt x="3855" y="2238"/>
                </a:lnTo>
                <a:lnTo>
                  <a:pt x="3857" y="2240"/>
                </a:lnTo>
                <a:lnTo>
                  <a:pt x="3858" y="2241"/>
                </a:lnTo>
                <a:lnTo>
                  <a:pt x="3858" y="2242"/>
                </a:lnTo>
                <a:lnTo>
                  <a:pt x="3859" y="2245"/>
                </a:lnTo>
                <a:lnTo>
                  <a:pt x="3860" y="2248"/>
                </a:lnTo>
                <a:lnTo>
                  <a:pt x="3860" y="2251"/>
                </a:lnTo>
                <a:lnTo>
                  <a:pt x="3859" y="2254"/>
                </a:lnTo>
                <a:lnTo>
                  <a:pt x="3858" y="2258"/>
                </a:lnTo>
                <a:lnTo>
                  <a:pt x="3855" y="2260"/>
                </a:lnTo>
                <a:lnTo>
                  <a:pt x="3853" y="2262"/>
                </a:lnTo>
                <a:lnTo>
                  <a:pt x="3848" y="2264"/>
                </a:lnTo>
                <a:lnTo>
                  <a:pt x="3846" y="2264"/>
                </a:lnTo>
                <a:lnTo>
                  <a:pt x="3844" y="2264"/>
                </a:lnTo>
                <a:lnTo>
                  <a:pt x="3841" y="2264"/>
                </a:lnTo>
                <a:lnTo>
                  <a:pt x="3838" y="2263"/>
                </a:lnTo>
                <a:lnTo>
                  <a:pt x="3835" y="2261"/>
                </a:lnTo>
                <a:lnTo>
                  <a:pt x="3833" y="2259"/>
                </a:lnTo>
                <a:lnTo>
                  <a:pt x="3833" y="2258"/>
                </a:lnTo>
                <a:lnTo>
                  <a:pt x="3832" y="2256"/>
                </a:lnTo>
                <a:lnTo>
                  <a:pt x="3831" y="2254"/>
                </a:lnTo>
                <a:lnTo>
                  <a:pt x="3830" y="2251"/>
                </a:lnTo>
                <a:lnTo>
                  <a:pt x="3830" y="2248"/>
                </a:lnTo>
                <a:lnTo>
                  <a:pt x="3831" y="2244"/>
                </a:lnTo>
                <a:lnTo>
                  <a:pt x="3832" y="2241"/>
                </a:lnTo>
                <a:lnTo>
                  <a:pt x="3835" y="2238"/>
                </a:lnTo>
                <a:lnTo>
                  <a:pt x="3838" y="2236"/>
                </a:lnTo>
                <a:close/>
                <a:moveTo>
                  <a:pt x="3980" y="2258"/>
                </a:moveTo>
                <a:lnTo>
                  <a:pt x="3982" y="2257"/>
                </a:lnTo>
                <a:lnTo>
                  <a:pt x="3985" y="2256"/>
                </a:lnTo>
                <a:lnTo>
                  <a:pt x="3990" y="2256"/>
                </a:lnTo>
                <a:lnTo>
                  <a:pt x="3993" y="2257"/>
                </a:lnTo>
                <a:lnTo>
                  <a:pt x="3996" y="2258"/>
                </a:lnTo>
                <a:lnTo>
                  <a:pt x="3998" y="2260"/>
                </a:lnTo>
                <a:lnTo>
                  <a:pt x="4000" y="2263"/>
                </a:lnTo>
                <a:lnTo>
                  <a:pt x="4001" y="2265"/>
                </a:lnTo>
                <a:lnTo>
                  <a:pt x="4002" y="2268"/>
                </a:lnTo>
                <a:lnTo>
                  <a:pt x="4002" y="2271"/>
                </a:lnTo>
                <a:lnTo>
                  <a:pt x="4002" y="2274"/>
                </a:lnTo>
                <a:lnTo>
                  <a:pt x="4001" y="2277"/>
                </a:lnTo>
                <a:lnTo>
                  <a:pt x="3999" y="2280"/>
                </a:lnTo>
                <a:lnTo>
                  <a:pt x="3997" y="2282"/>
                </a:lnTo>
                <a:lnTo>
                  <a:pt x="3995" y="2284"/>
                </a:lnTo>
                <a:lnTo>
                  <a:pt x="3992" y="2285"/>
                </a:lnTo>
                <a:lnTo>
                  <a:pt x="3990" y="2286"/>
                </a:lnTo>
                <a:lnTo>
                  <a:pt x="3984" y="2286"/>
                </a:lnTo>
                <a:lnTo>
                  <a:pt x="3981" y="2285"/>
                </a:lnTo>
                <a:lnTo>
                  <a:pt x="3979" y="2283"/>
                </a:lnTo>
                <a:lnTo>
                  <a:pt x="3977" y="2281"/>
                </a:lnTo>
                <a:lnTo>
                  <a:pt x="3975" y="2279"/>
                </a:lnTo>
                <a:lnTo>
                  <a:pt x="3973" y="2277"/>
                </a:lnTo>
                <a:lnTo>
                  <a:pt x="3972" y="2274"/>
                </a:lnTo>
                <a:lnTo>
                  <a:pt x="3972" y="2271"/>
                </a:lnTo>
                <a:lnTo>
                  <a:pt x="3972" y="2268"/>
                </a:lnTo>
                <a:lnTo>
                  <a:pt x="3973" y="2265"/>
                </a:lnTo>
                <a:lnTo>
                  <a:pt x="3975" y="2262"/>
                </a:lnTo>
                <a:lnTo>
                  <a:pt x="3977" y="2260"/>
                </a:lnTo>
                <a:lnTo>
                  <a:pt x="3980" y="2258"/>
                </a:lnTo>
                <a:close/>
                <a:moveTo>
                  <a:pt x="4121" y="2292"/>
                </a:moveTo>
                <a:lnTo>
                  <a:pt x="4123" y="2291"/>
                </a:lnTo>
                <a:lnTo>
                  <a:pt x="4126" y="2290"/>
                </a:lnTo>
                <a:lnTo>
                  <a:pt x="4129" y="2290"/>
                </a:lnTo>
                <a:lnTo>
                  <a:pt x="4132" y="2290"/>
                </a:lnTo>
                <a:lnTo>
                  <a:pt x="4135" y="2292"/>
                </a:lnTo>
                <a:lnTo>
                  <a:pt x="4137" y="2293"/>
                </a:lnTo>
                <a:lnTo>
                  <a:pt x="4140" y="2295"/>
                </a:lnTo>
                <a:lnTo>
                  <a:pt x="4141" y="2298"/>
                </a:lnTo>
                <a:lnTo>
                  <a:pt x="4142" y="2300"/>
                </a:lnTo>
                <a:lnTo>
                  <a:pt x="4143" y="2303"/>
                </a:lnTo>
                <a:lnTo>
                  <a:pt x="4143" y="2306"/>
                </a:lnTo>
                <a:lnTo>
                  <a:pt x="4143" y="2309"/>
                </a:lnTo>
                <a:lnTo>
                  <a:pt x="4141" y="2312"/>
                </a:lnTo>
                <a:lnTo>
                  <a:pt x="4140" y="2314"/>
                </a:lnTo>
                <a:lnTo>
                  <a:pt x="4138" y="2316"/>
                </a:lnTo>
                <a:lnTo>
                  <a:pt x="4136" y="2318"/>
                </a:lnTo>
                <a:lnTo>
                  <a:pt x="4133" y="2319"/>
                </a:lnTo>
                <a:lnTo>
                  <a:pt x="4130" y="2320"/>
                </a:lnTo>
                <a:lnTo>
                  <a:pt x="4127" y="2320"/>
                </a:lnTo>
                <a:lnTo>
                  <a:pt x="4124" y="2319"/>
                </a:lnTo>
                <a:lnTo>
                  <a:pt x="4121" y="2318"/>
                </a:lnTo>
                <a:lnTo>
                  <a:pt x="4119" y="2317"/>
                </a:lnTo>
                <a:lnTo>
                  <a:pt x="4117" y="2315"/>
                </a:lnTo>
                <a:lnTo>
                  <a:pt x="4115" y="2312"/>
                </a:lnTo>
                <a:lnTo>
                  <a:pt x="4114" y="2310"/>
                </a:lnTo>
                <a:lnTo>
                  <a:pt x="4113" y="2307"/>
                </a:lnTo>
                <a:lnTo>
                  <a:pt x="4113" y="2304"/>
                </a:lnTo>
                <a:lnTo>
                  <a:pt x="4114" y="2301"/>
                </a:lnTo>
                <a:lnTo>
                  <a:pt x="4115" y="2298"/>
                </a:lnTo>
                <a:lnTo>
                  <a:pt x="4116" y="2296"/>
                </a:lnTo>
                <a:lnTo>
                  <a:pt x="4118" y="2294"/>
                </a:lnTo>
                <a:lnTo>
                  <a:pt x="4121" y="2292"/>
                </a:lnTo>
                <a:close/>
                <a:moveTo>
                  <a:pt x="4258" y="2336"/>
                </a:moveTo>
                <a:lnTo>
                  <a:pt x="4261" y="2334"/>
                </a:lnTo>
                <a:lnTo>
                  <a:pt x="4264" y="2334"/>
                </a:lnTo>
                <a:lnTo>
                  <a:pt x="4267" y="2334"/>
                </a:lnTo>
                <a:lnTo>
                  <a:pt x="4270" y="2334"/>
                </a:lnTo>
                <a:lnTo>
                  <a:pt x="4273" y="2336"/>
                </a:lnTo>
                <a:lnTo>
                  <a:pt x="4275" y="2338"/>
                </a:lnTo>
                <a:lnTo>
                  <a:pt x="4277" y="2340"/>
                </a:lnTo>
                <a:lnTo>
                  <a:pt x="4279" y="2342"/>
                </a:lnTo>
                <a:lnTo>
                  <a:pt x="4280" y="2348"/>
                </a:lnTo>
                <a:lnTo>
                  <a:pt x="4279" y="2354"/>
                </a:lnTo>
                <a:lnTo>
                  <a:pt x="4278" y="2356"/>
                </a:lnTo>
                <a:lnTo>
                  <a:pt x="4277" y="2358"/>
                </a:lnTo>
                <a:lnTo>
                  <a:pt x="4275" y="2360"/>
                </a:lnTo>
                <a:lnTo>
                  <a:pt x="4273" y="2362"/>
                </a:lnTo>
                <a:lnTo>
                  <a:pt x="4270" y="2363"/>
                </a:lnTo>
                <a:lnTo>
                  <a:pt x="4267" y="2364"/>
                </a:lnTo>
                <a:lnTo>
                  <a:pt x="4263" y="2364"/>
                </a:lnTo>
                <a:lnTo>
                  <a:pt x="4260" y="2363"/>
                </a:lnTo>
                <a:lnTo>
                  <a:pt x="4257" y="2362"/>
                </a:lnTo>
                <a:lnTo>
                  <a:pt x="4255" y="2360"/>
                </a:lnTo>
                <a:lnTo>
                  <a:pt x="4253" y="2358"/>
                </a:lnTo>
                <a:lnTo>
                  <a:pt x="4252" y="2355"/>
                </a:lnTo>
                <a:lnTo>
                  <a:pt x="4250" y="2350"/>
                </a:lnTo>
                <a:lnTo>
                  <a:pt x="4251" y="2344"/>
                </a:lnTo>
                <a:lnTo>
                  <a:pt x="4252" y="2341"/>
                </a:lnTo>
                <a:lnTo>
                  <a:pt x="4254" y="2339"/>
                </a:lnTo>
                <a:lnTo>
                  <a:pt x="4255" y="2337"/>
                </a:lnTo>
                <a:lnTo>
                  <a:pt x="4258" y="2336"/>
                </a:lnTo>
                <a:close/>
                <a:moveTo>
                  <a:pt x="4787" y="946"/>
                </a:moveTo>
                <a:lnTo>
                  <a:pt x="4790" y="945"/>
                </a:lnTo>
                <a:lnTo>
                  <a:pt x="4792" y="944"/>
                </a:lnTo>
                <a:lnTo>
                  <a:pt x="4795" y="944"/>
                </a:lnTo>
                <a:lnTo>
                  <a:pt x="4798" y="944"/>
                </a:lnTo>
                <a:lnTo>
                  <a:pt x="4801" y="945"/>
                </a:lnTo>
                <a:lnTo>
                  <a:pt x="4804" y="946"/>
                </a:lnTo>
                <a:lnTo>
                  <a:pt x="4806" y="948"/>
                </a:lnTo>
                <a:lnTo>
                  <a:pt x="4808" y="950"/>
                </a:lnTo>
                <a:lnTo>
                  <a:pt x="4810" y="953"/>
                </a:lnTo>
                <a:lnTo>
                  <a:pt x="4811" y="956"/>
                </a:lnTo>
                <a:lnTo>
                  <a:pt x="4811" y="959"/>
                </a:lnTo>
                <a:lnTo>
                  <a:pt x="4811" y="962"/>
                </a:lnTo>
                <a:lnTo>
                  <a:pt x="4810" y="966"/>
                </a:lnTo>
                <a:lnTo>
                  <a:pt x="4808" y="969"/>
                </a:lnTo>
                <a:lnTo>
                  <a:pt x="4806" y="972"/>
                </a:lnTo>
                <a:lnTo>
                  <a:pt x="4803" y="974"/>
                </a:lnTo>
                <a:lnTo>
                  <a:pt x="4801" y="975"/>
                </a:lnTo>
                <a:lnTo>
                  <a:pt x="4798" y="976"/>
                </a:lnTo>
                <a:lnTo>
                  <a:pt x="4796" y="976"/>
                </a:lnTo>
                <a:lnTo>
                  <a:pt x="4793" y="976"/>
                </a:lnTo>
                <a:lnTo>
                  <a:pt x="4790" y="975"/>
                </a:lnTo>
                <a:lnTo>
                  <a:pt x="4787" y="974"/>
                </a:lnTo>
                <a:lnTo>
                  <a:pt x="4785" y="972"/>
                </a:lnTo>
                <a:lnTo>
                  <a:pt x="4782" y="969"/>
                </a:lnTo>
                <a:lnTo>
                  <a:pt x="4781" y="967"/>
                </a:lnTo>
                <a:lnTo>
                  <a:pt x="4780" y="964"/>
                </a:lnTo>
                <a:lnTo>
                  <a:pt x="4779" y="961"/>
                </a:lnTo>
                <a:lnTo>
                  <a:pt x="4780" y="958"/>
                </a:lnTo>
                <a:lnTo>
                  <a:pt x="4780" y="954"/>
                </a:lnTo>
                <a:lnTo>
                  <a:pt x="4782" y="951"/>
                </a:lnTo>
                <a:lnTo>
                  <a:pt x="4785" y="948"/>
                </a:lnTo>
                <a:lnTo>
                  <a:pt x="4787" y="946"/>
                </a:lnTo>
                <a:close/>
                <a:moveTo>
                  <a:pt x="4645" y="923"/>
                </a:moveTo>
                <a:lnTo>
                  <a:pt x="4648" y="922"/>
                </a:lnTo>
                <a:lnTo>
                  <a:pt x="4650" y="921"/>
                </a:lnTo>
                <a:lnTo>
                  <a:pt x="4656" y="921"/>
                </a:lnTo>
                <a:lnTo>
                  <a:pt x="4659" y="922"/>
                </a:lnTo>
                <a:lnTo>
                  <a:pt x="4660" y="923"/>
                </a:lnTo>
                <a:lnTo>
                  <a:pt x="4662" y="923"/>
                </a:lnTo>
                <a:lnTo>
                  <a:pt x="4664" y="925"/>
                </a:lnTo>
                <a:lnTo>
                  <a:pt x="4666" y="928"/>
                </a:lnTo>
                <a:lnTo>
                  <a:pt x="4668" y="930"/>
                </a:lnTo>
                <a:lnTo>
                  <a:pt x="4669" y="933"/>
                </a:lnTo>
                <a:lnTo>
                  <a:pt x="4669" y="936"/>
                </a:lnTo>
                <a:lnTo>
                  <a:pt x="4669" y="940"/>
                </a:lnTo>
                <a:lnTo>
                  <a:pt x="4668" y="943"/>
                </a:lnTo>
                <a:lnTo>
                  <a:pt x="4666" y="946"/>
                </a:lnTo>
                <a:lnTo>
                  <a:pt x="4664" y="949"/>
                </a:lnTo>
                <a:lnTo>
                  <a:pt x="4661" y="951"/>
                </a:lnTo>
                <a:lnTo>
                  <a:pt x="4659" y="952"/>
                </a:lnTo>
                <a:lnTo>
                  <a:pt x="4656" y="953"/>
                </a:lnTo>
                <a:lnTo>
                  <a:pt x="4650" y="953"/>
                </a:lnTo>
                <a:lnTo>
                  <a:pt x="4647" y="952"/>
                </a:lnTo>
                <a:lnTo>
                  <a:pt x="4646" y="951"/>
                </a:lnTo>
                <a:lnTo>
                  <a:pt x="4644" y="950"/>
                </a:lnTo>
                <a:lnTo>
                  <a:pt x="4642" y="948"/>
                </a:lnTo>
                <a:lnTo>
                  <a:pt x="4640" y="946"/>
                </a:lnTo>
                <a:lnTo>
                  <a:pt x="4638" y="943"/>
                </a:lnTo>
                <a:lnTo>
                  <a:pt x="4637" y="940"/>
                </a:lnTo>
                <a:lnTo>
                  <a:pt x="4637" y="937"/>
                </a:lnTo>
                <a:lnTo>
                  <a:pt x="4637" y="934"/>
                </a:lnTo>
                <a:lnTo>
                  <a:pt x="4638" y="931"/>
                </a:lnTo>
                <a:lnTo>
                  <a:pt x="4640" y="928"/>
                </a:lnTo>
                <a:lnTo>
                  <a:pt x="4642" y="925"/>
                </a:lnTo>
                <a:lnTo>
                  <a:pt x="4645" y="923"/>
                </a:lnTo>
                <a:close/>
                <a:moveTo>
                  <a:pt x="4503" y="896"/>
                </a:moveTo>
                <a:lnTo>
                  <a:pt x="4506" y="895"/>
                </a:lnTo>
                <a:lnTo>
                  <a:pt x="4509" y="894"/>
                </a:lnTo>
                <a:lnTo>
                  <a:pt x="4515" y="894"/>
                </a:lnTo>
                <a:lnTo>
                  <a:pt x="4518" y="895"/>
                </a:lnTo>
                <a:lnTo>
                  <a:pt x="4521" y="897"/>
                </a:lnTo>
                <a:lnTo>
                  <a:pt x="4523" y="899"/>
                </a:lnTo>
                <a:lnTo>
                  <a:pt x="4525" y="901"/>
                </a:lnTo>
                <a:lnTo>
                  <a:pt x="4526" y="904"/>
                </a:lnTo>
                <a:lnTo>
                  <a:pt x="4527" y="907"/>
                </a:lnTo>
                <a:lnTo>
                  <a:pt x="4527" y="910"/>
                </a:lnTo>
                <a:lnTo>
                  <a:pt x="4527" y="913"/>
                </a:lnTo>
                <a:lnTo>
                  <a:pt x="4526" y="916"/>
                </a:lnTo>
                <a:lnTo>
                  <a:pt x="4524" y="919"/>
                </a:lnTo>
                <a:lnTo>
                  <a:pt x="4522" y="922"/>
                </a:lnTo>
                <a:lnTo>
                  <a:pt x="4519" y="924"/>
                </a:lnTo>
                <a:lnTo>
                  <a:pt x="4517" y="925"/>
                </a:lnTo>
                <a:lnTo>
                  <a:pt x="4514" y="926"/>
                </a:lnTo>
                <a:lnTo>
                  <a:pt x="4508" y="926"/>
                </a:lnTo>
                <a:lnTo>
                  <a:pt x="4505" y="925"/>
                </a:lnTo>
                <a:lnTo>
                  <a:pt x="4502" y="923"/>
                </a:lnTo>
                <a:lnTo>
                  <a:pt x="4500" y="921"/>
                </a:lnTo>
                <a:lnTo>
                  <a:pt x="4498" y="919"/>
                </a:lnTo>
                <a:lnTo>
                  <a:pt x="4497" y="916"/>
                </a:lnTo>
                <a:lnTo>
                  <a:pt x="4496" y="913"/>
                </a:lnTo>
                <a:lnTo>
                  <a:pt x="4495" y="910"/>
                </a:lnTo>
                <a:lnTo>
                  <a:pt x="4496" y="907"/>
                </a:lnTo>
                <a:lnTo>
                  <a:pt x="4497" y="903"/>
                </a:lnTo>
                <a:lnTo>
                  <a:pt x="4499" y="900"/>
                </a:lnTo>
                <a:lnTo>
                  <a:pt x="4501" y="898"/>
                </a:lnTo>
                <a:lnTo>
                  <a:pt x="4503" y="896"/>
                </a:lnTo>
                <a:close/>
                <a:moveTo>
                  <a:pt x="4363" y="865"/>
                </a:moveTo>
                <a:lnTo>
                  <a:pt x="4365" y="864"/>
                </a:lnTo>
                <a:lnTo>
                  <a:pt x="4368" y="863"/>
                </a:lnTo>
                <a:lnTo>
                  <a:pt x="4371" y="863"/>
                </a:lnTo>
                <a:lnTo>
                  <a:pt x="4374" y="863"/>
                </a:lnTo>
                <a:lnTo>
                  <a:pt x="4377" y="864"/>
                </a:lnTo>
                <a:lnTo>
                  <a:pt x="4380" y="866"/>
                </a:lnTo>
                <a:lnTo>
                  <a:pt x="4382" y="868"/>
                </a:lnTo>
                <a:lnTo>
                  <a:pt x="4384" y="870"/>
                </a:lnTo>
                <a:lnTo>
                  <a:pt x="4386" y="873"/>
                </a:lnTo>
                <a:lnTo>
                  <a:pt x="4386" y="876"/>
                </a:lnTo>
                <a:lnTo>
                  <a:pt x="4387" y="879"/>
                </a:lnTo>
                <a:lnTo>
                  <a:pt x="4386" y="882"/>
                </a:lnTo>
                <a:lnTo>
                  <a:pt x="4385" y="886"/>
                </a:lnTo>
                <a:lnTo>
                  <a:pt x="4383" y="888"/>
                </a:lnTo>
                <a:lnTo>
                  <a:pt x="4381" y="891"/>
                </a:lnTo>
                <a:lnTo>
                  <a:pt x="4379" y="893"/>
                </a:lnTo>
                <a:lnTo>
                  <a:pt x="4376" y="894"/>
                </a:lnTo>
                <a:lnTo>
                  <a:pt x="4373" y="895"/>
                </a:lnTo>
                <a:lnTo>
                  <a:pt x="4370" y="895"/>
                </a:lnTo>
                <a:lnTo>
                  <a:pt x="4367" y="894"/>
                </a:lnTo>
                <a:lnTo>
                  <a:pt x="4364" y="893"/>
                </a:lnTo>
                <a:lnTo>
                  <a:pt x="4361" y="892"/>
                </a:lnTo>
                <a:lnTo>
                  <a:pt x="4359" y="890"/>
                </a:lnTo>
                <a:lnTo>
                  <a:pt x="4357" y="887"/>
                </a:lnTo>
                <a:lnTo>
                  <a:pt x="4356" y="884"/>
                </a:lnTo>
                <a:lnTo>
                  <a:pt x="4355" y="881"/>
                </a:lnTo>
                <a:lnTo>
                  <a:pt x="4355" y="878"/>
                </a:lnTo>
                <a:lnTo>
                  <a:pt x="4355" y="875"/>
                </a:lnTo>
                <a:lnTo>
                  <a:pt x="4356" y="872"/>
                </a:lnTo>
                <a:lnTo>
                  <a:pt x="4358" y="869"/>
                </a:lnTo>
                <a:lnTo>
                  <a:pt x="4360" y="867"/>
                </a:lnTo>
                <a:lnTo>
                  <a:pt x="4363" y="865"/>
                </a:lnTo>
                <a:close/>
                <a:moveTo>
                  <a:pt x="4223" y="829"/>
                </a:moveTo>
                <a:lnTo>
                  <a:pt x="4226" y="828"/>
                </a:lnTo>
                <a:lnTo>
                  <a:pt x="4229" y="827"/>
                </a:lnTo>
                <a:lnTo>
                  <a:pt x="4232" y="827"/>
                </a:lnTo>
                <a:lnTo>
                  <a:pt x="4235" y="828"/>
                </a:lnTo>
                <a:lnTo>
                  <a:pt x="4238" y="829"/>
                </a:lnTo>
                <a:lnTo>
                  <a:pt x="4241" y="831"/>
                </a:lnTo>
                <a:lnTo>
                  <a:pt x="4243" y="833"/>
                </a:lnTo>
                <a:lnTo>
                  <a:pt x="4245" y="835"/>
                </a:lnTo>
                <a:lnTo>
                  <a:pt x="4246" y="838"/>
                </a:lnTo>
                <a:lnTo>
                  <a:pt x="4247" y="841"/>
                </a:lnTo>
                <a:lnTo>
                  <a:pt x="4247" y="844"/>
                </a:lnTo>
                <a:lnTo>
                  <a:pt x="4246" y="847"/>
                </a:lnTo>
                <a:lnTo>
                  <a:pt x="4245" y="850"/>
                </a:lnTo>
                <a:lnTo>
                  <a:pt x="4244" y="853"/>
                </a:lnTo>
                <a:lnTo>
                  <a:pt x="4241" y="855"/>
                </a:lnTo>
                <a:lnTo>
                  <a:pt x="4239" y="857"/>
                </a:lnTo>
                <a:lnTo>
                  <a:pt x="4236" y="858"/>
                </a:lnTo>
                <a:lnTo>
                  <a:pt x="4233" y="859"/>
                </a:lnTo>
                <a:lnTo>
                  <a:pt x="4230" y="859"/>
                </a:lnTo>
                <a:lnTo>
                  <a:pt x="4227" y="859"/>
                </a:lnTo>
                <a:lnTo>
                  <a:pt x="4224" y="857"/>
                </a:lnTo>
                <a:lnTo>
                  <a:pt x="4221" y="856"/>
                </a:lnTo>
                <a:lnTo>
                  <a:pt x="4219" y="854"/>
                </a:lnTo>
                <a:lnTo>
                  <a:pt x="4217" y="851"/>
                </a:lnTo>
                <a:lnTo>
                  <a:pt x="4216" y="848"/>
                </a:lnTo>
                <a:lnTo>
                  <a:pt x="4215" y="845"/>
                </a:lnTo>
                <a:lnTo>
                  <a:pt x="4215" y="842"/>
                </a:lnTo>
                <a:lnTo>
                  <a:pt x="4216" y="839"/>
                </a:lnTo>
                <a:lnTo>
                  <a:pt x="4217" y="836"/>
                </a:lnTo>
                <a:lnTo>
                  <a:pt x="4218" y="833"/>
                </a:lnTo>
                <a:lnTo>
                  <a:pt x="4221" y="831"/>
                </a:lnTo>
                <a:lnTo>
                  <a:pt x="4223" y="829"/>
                </a:lnTo>
                <a:close/>
                <a:moveTo>
                  <a:pt x="4085" y="788"/>
                </a:moveTo>
                <a:lnTo>
                  <a:pt x="4088" y="787"/>
                </a:lnTo>
                <a:lnTo>
                  <a:pt x="4091" y="786"/>
                </a:lnTo>
                <a:lnTo>
                  <a:pt x="4094" y="786"/>
                </a:lnTo>
                <a:lnTo>
                  <a:pt x="4098" y="787"/>
                </a:lnTo>
                <a:lnTo>
                  <a:pt x="4101" y="788"/>
                </a:lnTo>
                <a:lnTo>
                  <a:pt x="4103" y="790"/>
                </a:lnTo>
                <a:lnTo>
                  <a:pt x="4105" y="792"/>
                </a:lnTo>
                <a:lnTo>
                  <a:pt x="4107" y="795"/>
                </a:lnTo>
                <a:lnTo>
                  <a:pt x="4108" y="798"/>
                </a:lnTo>
                <a:lnTo>
                  <a:pt x="4109" y="801"/>
                </a:lnTo>
                <a:lnTo>
                  <a:pt x="4109" y="804"/>
                </a:lnTo>
                <a:lnTo>
                  <a:pt x="4108" y="807"/>
                </a:lnTo>
                <a:lnTo>
                  <a:pt x="4107" y="810"/>
                </a:lnTo>
                <a:lnTo>
                  <a:pt x="4105" y="812"/>
                </a:lnTo>
                <a:lnTo>
                  <a:pt x="4103" y="814"/>
                </a:lnTo>
                <a:lnTo>
                  <a:pt x="4101" y="816"/>
                </a:lnTo>
                <a:lnTo>
                  <a:pt x="4098" y="817"/>
                </a:lnTo>
                <a:lnTo>
                  <a:pt x="4095" y="818"/>
                </a:lnTo>
                <a:lnTo>
                  <a:pt x="4091" y="818"/>
                </a:lnTo>
                <a:lnTo>
                  <a:pt x="4088" y="817"/>
                </a:lnTo>
                <a:lnTo>
                  <a:pt x="4085" y="816"/>
                </a:lnTo>
                <a:lnTo>
                  <a:pt x="4082" y="814"/>
                </a:lnTo>
                <a:lnTo>
                  <a:pt x="4080" y="812"/>
                </a:lnTo>
                <a:lnTo>
                  <a:pt x="4079" y="809"/>
                </a:lnTo>
                <a:lnTo>
                  <a:pt x="4077" y="807"/>
                </a:lnTo>
                <a:lnTo>
                  <a:pt x="4077" y="804"/>
                </a:lnTo>
                <a:lnTo>
                  <a:pt x="4077" y="800"/>
                </a:lnTo>
                <a:lnTo>
                  <a:pt x="4078" y="797"/>
                </a:lnTo>
                <a:lnTo>
                  <a:pt x="4079" y="794"/>
                </a:lnTo>
                <a:lnTo>
                  <a:pt x="4080" y="792"/>
                </a:lnTo>
                <a:lnTo>
                  <a:pt x="4082" y="790"/>
                </a:lnTo>
                <a:lnTo>
                  <a:pt x="4085" y="788"/>
                </a:lnTo>
                <a:close/>
                <a:moveTo>
                  <a:pt x="3948" y="741"/>
                </a:moveTo>
                <a:lnTo>
                  <a:pt x="3951" y="739"/>
                </a:lnTo>
                <a:lnTo>
                  <a:pt x="3954" y="739"/>
                </a:lnTo>
                <a:lnTo>
                  <a:pt x="3958" y="739"/>
                </a:lnTo>
                <a:lnTo>
                  <a:pt x="3961" y="740"/>
                </a:lnTo>
                <a:lnTo>
                  <a:pt x="3964" y="741"/>
                </a:lnTo>
                <a:lnTo>
                  <a:pt x="3967" y="743"/>
                </a:lnTo>
                <a:lnTo>
                  <a:pt x="3969" y="745"/>
                </a:lnTo>
                <a:lnTo>
                  <a:pt x="3970" y="748"/>
                </a:lnTo>
                <a:lnTo>
                  <a:pt x="3971" y="751"/>
                </a:lnTo>
                <a:lnTo>
                  <a:pt x="3972" y="754"/>
                </a:lnTo>
                <a:lnTo>
                  <a:pt x="3971" y="757"/>
                </a:lnTo>
                <a:lnTo>
                  <a:pt x="3971" y="760"/>
                </a:lnTo>
                <a:lnTo>
                  <a:pt x="3968" y="765"/>
                </a:lnTo>
                <a:lnTo>
                  <a:pt x="3964" y="769"/>
                </a:lnTo>
                <a:lnTo>
                  <a:pt x="3960" y="770"/>
                </a:lnTo>
                <a:lnTo>
                  <a:pt x="3957" y="771"/>
                </a:lnTo>
                <a:lnTo>
                  <a:pt x="3954" y="771"/>
                </a:lnTo>
                <a:lnTo>
                  <a:pt x="3950" y="770"/>
                </a:lnTo>
                <a:lnTo>
                  <a:pt x="3947" y="768"/>
                </a:lnTo>
                <a:lnTo>
                  <a:pt x="3945" y="766"/>
                </a:lnTo>
                <a:lnTo>
                  <a:pt x="3943" y="764"/>
                </a:lnTo>
                <a:lnTo>
                  <a:pt x="3941" y="761"/>
                </a:lnTo>
                <a:lnTo>
                  <a:pt x="3940" y="758"/>
                </a:lnTo>
                <a:lnTo>
                  <a:pt x="3940" y="755"/>
                </a:lnTo>
                <a:lnTo>
                  <a:pt x="3940" y="752"/>
                </a:lnTo>
                <a:lnTo>
                  <a:pt x="3941" y="749"/>
                </a:lnTo>
                <a:lnTo>
                  <a:pt x="3944" y="744"/>
                </a:lnTo>
                <a:lnTo>
                  <a:pt x="3948" y="741"/>
                </a:lnTo>
                <a:close/>
                <a:moveTo>
                  <a:pt x="3815" y="685"/>
                </a:moveTo>
                <a:lnTo>
                  <a:pt x="3816" y="684"/>
                </a:lnTo>
                <a:lnTo>
                  <a:pt x="3818" y="684"/>
                </a:lnTo>
                <a:lnTo>
                  <a:pt x="3822" y="683"/>
                </a:lnTo>
                <a:lnTo>
                  <a:pt x="3826" y="683"/>
                </a:lnTo>
                <a:lnTo>
                  <a:pt x="3829" y="685"/>
                </a:lnTo>
                <a:lnTo>
                  <a:pt x="3832" y="686"/>
                </a:lnTo>
                <a:lnTo>
                  <a:pt x="3834" y="688"/>
                </a:lnTo>
                <a:lnTo>
                  <a:pt x="3836" y="691"/>
                </a:lnTo>
                <a:lnTo>
                  <a:pt x="3838" y="694"/>
                </a:lnTo>
                <a:lnTo>
                  <a:pt x="3838" y="697"/>
                </a:lnTo>
                <a:lnTo>
                  <a:pt x="3839" y="700"/>
                </a:lnTo>
                <a:lnTo>
                  <a:pt x="3838" y="703"/>
                </a:lnTo>
                <a:lnTo>
                  <a:pt x="3837" y="706"/>
                </a:lnTo>
                <a:lnTo>
                  <a:pt x="3834" y="710"/>
                </a:lnTo>
                <a:lnTo>
                  <a:pt x="3833" y="712"/>
                </a:lnTo>
                <a:lnTo>
                  <a:pt x="3831" y="713"/>
                </a:lnTo>
                <a:lnTo>
                  <a:pt x="3829" y="714"/>
                </a:lnTo>
                <a:lnTo>
                  <a:pt x="3827" y="715"/>
                </a:lnTo>
                <a:lnTo>
                  <a:pt x="3823" y="715"/>
                </a:lnTo>
                <a:lnTo>
                  <a:pt x="3820" y="715"/>
                </a:lnTo>
                <a:lnTo>
                  <a:pt x="3816" y="714"/>
                </a:lnTo>
                <a:lnTo>
                  <a:pt x="3813" y="712"/>
                </a:lnTo>
                <a:lnTo>
                  <a:pt x="3811" y="710"/>
                </a:lnTo>
                <a:lnTo>
                  <a:pt x="3809" y="707"/>
                </a:lnTo>
                <a:lnTo>
                  <a:pt x="3808" y="705"/>
                </a:lnTo>
                <a:lnTo>
                  <a:pt x="3807" y="702"/>
                </a:lnTo>
                <a:lnTo>
                  <a:pt x="3807" y="699"/>
                </a:lnTo>
                <a:lnTo>
                  <a:pt x="3807" y="696"/>
                </a:lnTo>
                <a:lnTo>
                  <a:pt x="3808" y="692"/>
                </a:lnTo>
                <a:lnTo>
                  <a:pt x="3811" y="688"/>
                </a:lnTo>
                <a:lnTo>
                  <a:pt x="3813" y="687"/>
                </a:lnTo>
                <a:lnTo>
                  <a:pt x="3815" y="685"/>
                </a:lnTo>
                <a:close/>
                <a:moveTo>
                  <a:pt x="3687" y="619"/>
                </a:moveTo>
                <a:lnTo>
                  <a:pt x="3691" y="617"/>
                </a:lnTo>
                <a:lnTo>
                  <a:pt x="3695" y="617"/>
                </a:lnTo>
                <a:lnTo>
                  <a:pt x="3699" y="617"/>
                </a:lnTo>
                <a:lnTo>
                  <a:pt x="3703" y="619"/>
                </a:lnTo>
                <a:lnTo>
                  <a:pt x="3705" y="621"/>
                </a:lnTo>
                <a:lnTo>
                  <a:pt x="3707" y="623"/>
                </a:lnTo>
                <a:lnTo>
                  <a:pt x="3709" y="626"/>
                </a:lnTo>
                <a:lnTo>
                  <a:pt x="3710" y="629"/>
                </a:lnTo>
                <a:lnTo>
                  <a:pt x="3711" y="632"/>
                </a:lnTo>
                <a:lnTo>
                  <a:pt x="3711" y="635"/>
                </a:lnTo>
                <a:lnTo>
                  <a:pt x="3710" y="638"/>
                </a:lnTo>
                <a:lnTo>
                  <a:pt x="3709" y="641"/>
                </a:lnTo>
                <a:lnTo>
                  <a:pt x="3706" y="644"/>
                </a:lnTo>
                <a:lnTo>
                  <a:pt x="3703" y="647"/>
                </a:lnTo>
                <a:lnTo>
                  <a:pt x="3699" y="648"/>
                </a:lnTo>
                <a:lnTo>
                  <a:pt x="3695" y="649"/>
                </a:lnTo>
                <a:lnTo>
                  <a:pt x="3691" y="648"/>
                </a:lnTo>
                <a:lnTo>
                  <a:pt x="3687" y="647"/>
                </a:lnTo>
                <a:lnTo>
                  <a:pt x="3684" y="645"/>
                </a:lnTo>
                <a:lnTo>
                  <a:pt x="3682" y="643"/>
                </a:lnTo>
                <a:lnTo>
                  <a:pt x="3680" y="640"/>
                </a:lnTo>
                <a:lnTo>
                  <a:pt x="3679" y="637"/>
                </a:lnTo>
                <a:lnTo>
                  <a:pt x="3679" y="634"/>
                </a:lnTo>
                <a:lnTo>
                  <a:pt x="3679" y="631"/>
                </a:lnTo>
                <a:lnTo>
                  <a:pt x="3680" y="628"/>
                </a:lnTo>
                <a:lnTo>
                  <a:pt x="3681" y="625"/>
                </a:lnTo>
                <a:lnTo>
                  <a:pt x="3683" y="621"/>
                </a:lnTo>
                <a:lnTo>
                  <a:pt x="3687" y="619"/>
                </a:lnTo>
                <a:close/>
                <a:moveTo>
                  <a:pt x="3561" y="547"/>
                </a:moveTo>
                <a:lnTo>
                  <a:pt x="3565" y="545"/>
                </a:lnTo>
                <a:lnTo>
                  <a:pt x="3569" y="545"/>
                </a:lnTo>
                <a:lnTo>
                  <a:pt x="3573" y="545"/>
                </a:lnTo>
                <a:lnTo>
                  <a:pt x="3577" y="547"/>
                </a:lnTo>
                <a:lnTo>
                  <a:pt x="3580" y="549"/>
                </a:lnTo>
                <a:lnTo>
                  <a:pt x="3582" y="551"/>
                </a:lnTo>
                <a:lnTo>
                  <a:pt x="3584" y="554"/>
                </a:lnTo>
                <a:lnTo>
                  <a:pt x="3585" y="556"/>
                </a:lnTo>
                <a:lnTo>
                  <a:pt x="3585" y="560"/>
                </a:lnTo>
                <a:lnTo>
                  <a:pt x="3585" y="563"/>
                </a:lnTo>
                <a:lnTo>
                  <a:pt x="3585" y="566"/>
                </a:lnTo>
                <a:lnTo>
                  <a:pt x="3583" y="569"/>
                </a:lnTo>
                <a:lnTo>
                  <a:pt x="3581" y="572"/>
                </a:lnTo>
                <a:lnTo>
                  <a:pt x="3578" y="575"/>
                </a:lnTo>
                <a:lnTo>
                  <a:pt x="3574" y="576"/>
                </a:lnTo>
                <a:lnTo>
                  <a:pt x="3570" y="577"/>
                </a:lnTo>
                <a:lnTo>
                  <a:pt x="3566" y="576"/>
                </a:lnTo>
                <a:lnTo>
                  <a:pt x="3562" y="575"/>
                </a:lnTo>
                <a:lnTo>
                  <a:pt x="3559" y="573"/>
                </a:lnTo>
                <a:lnTo>
                  <a:pt x="3557" y="571"/>
                </a:lnTo>
                <a:lnTo>
                  <a:pt x="3555" y="568"/>
                </a:lnTo>
                <a:lnTo>
                  <a:pt x="3554" y="565"/>
                </a:lnTo>
                <a:lnTo>
                  <a:pt x="3554" y="562"/>
                </a:lnTo>
                <a:lnTo>
                  <a:pt x="3554" y="559"/>
                </a:lnTo>
                <a:lnTo>
                  <a:pt x="3554" y="556"/>
                </a:lnTo>
                <a:lnTo>
                  <a:pt x="3556" y="553"/>
                </a:lnTo>
                <a:lnTo>
                  <a:pt x="3558" y="550"/>
                </a:lnTo>
                <a:lnTo>
                  <a:pt x="3561" y="547"/>
                </a:lnTo>
                <a:close/>
                <a:moveTo>
                  <a:pt x="3436" y="477"/>
                </a:moveTo>
                <a:lnTo>
                  <a:pt x="3439" y="475"/>
                </a:lnTo>
                <a:lnTo>
                  <a:pt x="3443" y="475"/>
                </a:lnTo>
                <a:lnTo>
                  <a:pt x="3445" y="475"/>
                </a:lnTo>
                <a:lnTo>
                  <a:pt x="3447" y="475"/>
                </a:lnTo>
                <a:lnTo>
                  <a:pt x="3451" y="477"/>
                </a:lnTo>
                <a:lnTo>
                  <a:pt x="3454" y="479"/>
                </a:lnTo>
                <a:lnTo>
                  <a:pt x="3456" y="481"/>
                </a:lnTo>
                <a:lnTo>
                  <a:pt x="3458" y="483"/>
                </a:lnTo>
                <a:lnTo>
                  <a:pt x="3459" y="486"/>
                </a:lnTo>
                <a:lnTo>
                  <a:pt x="3460" y="489"/>
                </a:lnTo>
                <a:lnTo>
                  <a:pt x="3460" y="492"/>
                </a:lnTo>
                <a:lnTo>
                  <a:pt x="3459" y="495"/>
                </a:lnTo>
                <a:lnTo>
                  <a:pt x="3458" y="498"/>
                </a:lnTo>
                <a:lnTo>
                  <a:pt x="3457" y="500"/>
                </a:lnTo>
                <a:lnTo>
                  <a:pt x="3455" y="502"/>
                </a:lnTo>
                <a:lnTo>
                  <a:pt x="3452" y="505"/>
                </a:lnTo>
                <a:lnTo>
                  <a:pt x="3448" y="506"/>
                </a:lnTo>
                <a:lnTo>
                  <a:pt x="3444" y="507"/>
                </a:lnTo>
                <a:lnTo>
                  <a:pt x="3442" y="507"/>
                </a:lnTo>
                <a:lnTo>
                  <a:pt x="3440" y="506"/>
                </a:lnTo>
                <a:lnTo>
                  <a:pt x="3436" y="505"/>
                </a:lnTo>
                <a:lnTo>
                  <a:pt x="3433" y="503"/>
                </a:lnTo>
                <a:lnTo>
                  <a:pt x="3431" y="501"/>
                </a:lnTo>
                <a:lnTo>
                  <a:pt x="3429" y="498"/>
                </a:lnTo>
                <a:lnTo>
                  <a:pt x="3428" y="495"/>
                </a:lnTo>
                <a:lnTo>
                  <a:pt x="3428" y="492"/>
                </a:lnTo>
                <a:lnTo>
                  <a:pt x="3428" y="489"/>
                </a:lnTo>
                <a:lnTo>
                  <a:pt x="3428" y="486"/>
                </a:lnTo>
                <a:lnTo>
                  <a:pt x="3430" y="483"/>
                </a:lnTo>
                <a:lnTo>
                  <a:pt x="3431" y="481"/>
                </a:lnTo>
                <a:lnTo>
                  <a:pt x="3432" y="479"/>
                </a:lnTo>
                <a:lnTo>
                  <a:pt x="3436" y="477"/>
                </a:lnTo>
                <a:close/>
                <a:moveTo>
                  <a:pt x="3309" y="408"/>
                </a:moveTo>
                <a:lnTo>
                  <a:pt x="3313" y="407"/>
                </a:lnTo>
                <a:lnTo>
                  <a:pt x="3317" y="406"/>
                </a:lnTo>
                <a:lnTo>
                  <a:pt x="3319" y="406"/>
                </a:lnTo>
                <a:lnTo>
                  <a:pt x="3321" y="406"/>
                </a:lnTo>
                <a:lnTo>
                  <a:pt x="3325" y="408"/>
                </a:lnTo>
                <a:lnTo>
                  <a:pt x="3327" y="410"/>
                </a:lnTo>
                <a:lnTo>
                  <a:pt x="3330" y="412"/>
                </a:lnTo>
                <a:lnTo>
                  <a:pt x="3331" y="415"/>
                </a:lnTo>
                <a:lnTo>
                  <a:pt x="3332" y="417"/>
                </a:lnTo>
                <a:lnTo>
                  <a:pt x="3333" y="423"/>
                </a:lnTo>
                <a:lnTo>
                  <a:pt x="3333" y="427"/>
                </a:lnTo>
                <a:lnTo>
                  <a:pt x="3331" y="430"/>
                </a:lnTo>
                <a:lnTo>
                  <a:pt x="3329" y="433"/>
                </a:lnTo>
                <a:lnTo>
                  <a:pt x="3325" y="436"/>
                </a:lnTo>
                <a:lnTo>
                  <a:pt x="3322" y="437"/>
                </a:lnTo>
                <a:lnTo>
                  <a:pt x="3318" y="438"/>
                </a:lnTo>
                <a:lnTo>
                  <a:pt x="3316" y="438"/>
                </a:lnTo>
                <a:lnTo>
                  <a:pt x="3314" y="438"/>
                </a:lnTo>
                <a:lnTo>
                  <a:pt x="3310" y="436"/>
                </a:lnTo>
                <a:lnTo>
                  <a:pt x="3307" y="434"/>
                </a:lnTo>
                <a:lnTo>
                  <a:pt x="3305" y="432"/>
                </a:lnTo>
                <a:lnTo>
                  <a:pt x="3303" y="429"/>
                </a:lnTo>
                <a:lnTo>
                  <a:pt x="3302" y="427"/>
                </a:lnTo>
                <a:lnTo>
                  <a:pt x="3301" y="421"/>
                </a:lnTo>
                <a:lnTo>
                  <a:pt x="3302" y="417"/>
                </a:lnTo>
                <a:lnTo>
                  <a:pt x="3303" y="414"/>
                </a:lnTo>
                <a:lnTo>
                  <a:pt x="3306" y="411"/>
                </a:lnTo>
                <a:lnTo>
                  <a:pt x="3309" y="408"/>
                </a:lnTo>
                <a:close/>
                <a:moveTo>
                  <a:pt x="8" y="2264"/>
                </a:moveTo>
                <a:lnTo>
                  <a:pt x="11" y="2262"/>
                </a:lnTo>
                <a:lnTo>
                  <a:pt x="15" y="2262"/>
                </a:lnTo>
                <a:lnTo>
                  <a:pt x="19" y="2262"/>
                </a:lnTo>
                <a:lnTo>
                  <a:pt x="22" y="2263"/>
                </a:lnTo>
                <a:lnTo>
                  <a:pt x="25" y="2264"/>
                </a:lnTo>
                <a:lnTo>
                  <a:pt x="28" y="2266"/>
                </a:lnTo>
                <a:lnTo>
                  <a:pt x="30" y="2269"/>
                </a:lnTo>
                <a:lnTo>
                  <a:pt x="31" y="2272"/>
                </a:lnTo>
                <a:lnTo>
                  <a:pt x="32" y="2275"/>
                </a:lnTo>
                <a:lnTo>
                  <a:pt x="32" y="2278"/>
                </a:lnTo>
                <a:lnTo>
                  <a:pt x="32" y="2281"/>
                </a:lnTo>
                <a:lnTo>
                  <a:pt x="31" y="2284"/>
                </a:lnTo>
                <a:lnTo>
                  <a:pt x="28" y="2288"/>
                </a:lnTo>
                <a:lnTo>
                  <a:pt x="24" y="2291"/>
                </a:lnTo>
                <a:lnTo>
                  <a:pt x="21" y="2293"/>
                </a:lnTo>
                <a:lnTo>
                  <a:pt x="17" y="2293"/>
                </a:lnTo>
                <a:lnTo>
                  <a:pt x="14" y="2293"/>
                </a:lnTo>
                <a:lnTo>
                  <a:pt x="10" y="2292"/>
                </a:lnTo>
                <a:lnTo>
                  <a:pt x="7" y="2291"/>
                </a:lnTo>
                <a:lnTo>
                  <a:pt x="5" y="2289"/>
                </a:lnTo>
                <a:lnTo>
                  <a:pt x="3" y="2286"/>
                </a:lnTo>
                <a:lnTo>
                  <a:pt x="1" y="2283"/>
                </a:lnTo>
                <a:lnTo>
                  <a:pt x="0" y="2280"/>
                </a:lnTo>
                <a:lnTo>
                  <a:pt x="0" y="2277"/>
                </a:lnTo>
                <a:lnTo>
                  <a:pt x="0" y="2274"/>
                </a:lnTo>
                <a:lnTo>
                  <a:pt x="1" y="2271"/>
                </a:lnTo>
                <a:lnTo>
                  <a:pt x="4" y="2267"/>
                </a:lnTo>
                <a:lnTo>
                  <a:pt x="8" y="2264"/>
                </a:lnTo>
                <a:close/>
                <a:moveTo>
                  <a:pt x="3182" y="341"/>
                </a:moveTo>
                <a:lnTo>
                  <a:pt x="3185" y="340"/>
                </a:lnTo>
                <a:lnTo>
                  <a:pt x="3189" y="339"/>
                </a:lnTo>
                <a:lnTo>
                  <a:pt x="3193" y="339"/>
                </a:lnTo>
                <a:lnTo>
                  <a:pt x="3197" y="341"/>
                </a:lnTo>
                <a:lnTo>
                  <a:pt x="3200" y="343"/>
                </a:lnTo>
                <a:lnTo>
                  <a:pt x="3202" y="345"/>
                </a:lnTo>
                <a:lnTo>
                  <a:pt x="3204" y="347"/>
                </a:lnTo>
                <a:lnTo>
                  <a:pt x="3205" y="350"/>
                </a:lnTo>
                <a:lnTo>
                  <a:pt x="3206" y="353"/>
                </a:lnTo>
                <a:lnTo>
                  <a:pt x="3206" y="356"/>
                </a:lnTo>
                <a:lnTo>
                  <a:pt x="3205" y="359"/>
                </a:lnTo>
                <a:lnTo>
                  <a:pt x="3204" y="362"/>
                </a:lnTo>
                <a:lnTo>
                  <a:pt x="3203" y="364"/>
                </a:lnTo>
                <a:lnTo>
                  <a:pt x="3201" y="366"/>
                </a:lnTo>
                <a:lnTo>
                  <a:pt x="3198" y="369"/>
                </a:lnTo>
                <a:lnTo>
                  <a:pt x="3194" y="370"/>
                </a:lnTo>
                <a:lnTo>
                  <a:pt x="3190" y="371"/>
                </a:lnTo>
                <a:lnTo>
                  <a:pt x="3186" y="371"/>
                </a:lnTo>
                <a:lnTo>
                  <a:pt x="3182" y="369"/>
                </a:lnTo>
                <a:lnTo>
                  <a:pt x="3180" y="368"/>
                </a:lnTo>
                <a:lnTo>
                  <a:pt x="3177" y="365"/>
                </a:lnTo>
                <a:lnTo>
                  <a:pt x="3176" y="363"/>
                </a:lnTo>
                <a:lnTo>
                  <a:pt x="3174" y="360"/>
                </a:lnTo>
                <a:lnTo>
                  <a:pt x="3174" y="357"/>
                </a:lnTo>
                <a:lnTo>
                  <a:pt x="3174" y="354"/>
                </a:lnTo>
                <a:lnTo>
                  <a:pt x="3174" y="351"/>
                </a:lnTo>
                <a:lnTo>
                  <a:pt x="3175" y="348"/>
                </a:lnTo>
                <a:lnTo>
                  <a:pt x="3177" y="346"/>
                </a:lnTo>
                <a:lnTo>
                  <a:pt x="3178" y="344"/>
                </a:lnTo>
                <a:lnTo>
                  <a:pt x="3182" y="341"/>
                </a:lnTo>
                <a:close/>
                <a:moveTo>
                  <a:pt x="72" y="2135"/>
                </a:moveTo>
                <a:lnTo>
                  <a:pt x="76" y="2133"/>
                </a:lnTo>
                <a:lnTo>
                  <a:pt x="80" y="2133"/>
                </a:lnTo>
                <a:lnTo>
                  <a:pt x="84" y="2133"/>
                </a:lnTo>
                <a:lnTo>
                  <a:pt x="88" y="2135"/>
                </a:lnTo>
                <a:lnTo>
                  <a:pt x="90" y="2136"/>
                </a:lnTo>
                <a:lnTo>
                  <a:pt x="92" y="2139"/>
                </a:lnTo>
                <a:lnTo>
                  <a:pt x="94" y="2141"/>
                </a:lnTo>
                <a:lnTo>
                  <a:pt x="95" y="2144"/>
                </a:lnTo>
                <a:lnTo>
                  <a:pt x="96" y="2147"/>
                </a:lnTo>
                <a:lnTo>
                  <a:pt x="96" y="2150"/>
                </a:lnTo>
                <a:lnTo>
                  <a:pt x="95" y="2153"/>
                </a:lnTo>
                <a:lnTo>
                  <a:pt x="94" y="2156"/>
                </a:lnTo>
                <a:lnTo>
                  <a:pt x="91" y="2160"/>
                </a:lnTo>
                <a:lnTo>
                  <a:pt x="88" y="2162"/>
                </a:lnTo>
                <a:lnTo>
                  <a:pt x="84" y="2164"/>
                </a:lnTo>
                <a:lnTo>
                  <a:pt x="80" y="2165"/>
                </a:lnTo>
                <a:lnTo>
                  <a:pt x="76" y="2164"/>
                </a:lnTo>
                <a:lnTo>
                  <a:pt x="72" y="2162"/>
                </a:lnTo>
                <a:lnTo>
                  <a:pt x="69" y="2161"/>
                </a:lnTo>
                <a:lnTo>
                  <a:pt x="67" y="2158"/>
                </a:lnTo>
                <a:lnTo>
                  <a:pt x="66" y="2156"/>
                </a:lnTo>
                <a:lnTo>
                  <a:pt x="64" y="2153"/>
                </a:lnTo>
                <a:lnTo>
                  <a:pt x="64" y="2150"/>
                </a:lnTo>
                <a:lnTo>
                  <a:pt x="64" y="2147"/>
                </a:lnTo>
                <a:lnTo>
                  <a:pt x="65" y="2144"/>
                </a:lnTo>
                <a:lnTo>
                  <a:pt x="66" y="2141"/>
                </a:lnTo>
                <a:lnTo>
                  <a:pt x="68" y="2137"/>
                </a:lnTo>
                <a:lnTo>
                  <a:pt x="72" y="2135"/>
                </a:lnTo>
                <a:close/>
                <a:moveTo>
                  <a:pt x="149" y="2013"/>
                </a:moveTo>
                <a:lnTo>
                  <a:pt x="153" y="2012"/>
                </a:lnTo>
                <a:lnTo>
                  <a:pt x="157" y="2011"/>
                </a:lnTo>
                <a:lnTo>
                  <a:pt x="162" y="2012"/>
                </a:lnTo>
                <a:lnTo>
                  <a:pt x="166" y="2014"/>
                </a:lnTo>
                <a:lnTo>
                  <a:pt x="169" y="2016"/>
                </a:lnTo>
                <a:lnTo>
                  <a:pt x="170" y="2019"/>
                </a:lnTo>
                <a:lnTo>
                  <a:pt x="172" y="2022"/>
                </a:lnTo>
                <a:lnTo>
                  <a:pt x="173" y="2024"/>
                </a:lnTo>
                <a:lnTo>
                  <a:pt x="173" y="2028"/>
                </a:lnTo>
                <a:lnTo>
                  <a:pt x="172" y="2031"/>
                </a:lnTo>
                <a:lnTo>
                  <a:pt x="172" y="2034"/>
                </a:lnTo>
                <a:lnTo>
                  <a:pt x="170" y="2036"/>
                </a:lnTo>
                <a:lnTo>
                  <a:pt x="168" y="2039"/>
                </a:lnTo>
                <a:lnTo>
                  <a:pt x="165" y="2041"/>
                </a:lnTo>
                <a:lnTo>
                  <a:pt x="161" y="2043"/>
                </a:lnTo>
                <a:lnTo>
                  <a:pt x="156" y="2043"/>
                </a:lnTo>
                <a:lnTo>
                  <a:pt x="152" y="2042"/>
                </a:lnTo>
                <a:lnTo>
                  <a:pt x="148" y="2040"/>
                </a:lnTo>
                <a:lnTo>
                  <a:pt x="145" y="2038"/>
                </a:lnTo>
                <a:lnTo>
                  <a:pt x="143" y="2036"/>
                </a:lnTo>
                <a:lnTo>
                  <a:pt x="142" y="2033"/>
                </a:lnTo>
                <a:lnTo>
                  <a:pt x="141" y="2030"/>
                </a:lnTo>
                <a:lnTo>
                  <a:pt x="141" y="2027"/>
                </a:lnTo>
                <a:lnTo>
                  <a:pt x="141" y="2024"/>
                </a:lnTo>
                <a:lnTo>
                  <a:pt x="142" y="2021"/>
                </a:lnTo>
                <a:lnTo>
                  <a:pt x="144" y="2018"/>
                </a:lnTo>
                <a:lnTo>
                  <a:pt x="146" y="2015"/>
                </a:lnTo>
                <a:lnTo>
                  <a:pt x="149" y="2013"/>
                </a:lnTo>
                <a:close/>
                <a:moveTo>
                  <a:pt x="3053" y="277"/>
                </a:moveTo>
                <a:lnTo>
                  <a:pt x="3055" y="276"/>
                </a:lnTo>
                <a:lnTo>
                  <a:pt x="3056" y="275"/>
                </a:lnTo>
                <a:lnTo>
                  <a:pt x="3060" y="275"/>
                </a:lnTo>
                <a:lnTo>
                  <a:pt x="3064" y="275"/>
                </a:lnTo>
                <a:lnTo>
                  <a:pt x="3068" y="276"/>
                </a:lnTo>
                <a:lnTo>
                  <a:pt x="3071" y="278"/>
                </a:lnTo>
                <a:lnTo>
                  <a:pt x="3073" y="280"/>
                </a:lnTo>
                <a:lnTo>
                  <a:pt x="3075" y="283"/>
                </a:lnTo>
                <a:lnTo>
                  <a:pt x="3076" y="285"/>
                </a:lnTo>
                <a:lnTo>
                  <a:pt x="3077" y="288"/>
                </a:lnTo>
                <a:lnTo>
                  <a:pt x="3077" y="291"/>
                </a:lnTo>
                <a:lnTo>
                  <a:pt x="3076" y="295"/>
                </a:lnTo>
                <a:lnTo>
                  <a:pt x="3075" y="298"/>
                </a:lnTo>
                <a:lnTo>
                  <a:pt x="3073" y="302"/>
                </a:lnTo>
                <a:lnTo>
                  <a:pt x="3071" y="303"/>
                </a:lnTo>
                <a:lnTo>
                  <a:pt x="3069" y="304"/>
                </a:lnTo>
                <a:lnTo>
                  <a:pt x="3067" y="305"/>
                </a:lnTo>
                <a:lnTo>
                  <a:pt x="3065" y="306"/>
                </a:lnTo>
                <a:lnTo>
                  <a:pt x="3062" y="307"/>
                </a:lnTo>
                <a:lnTo>
                  <a:pt x="3058" y="306"/>
                </a:lnTo>
                <a:lnTo>
                  <a:pt x="3054" y="305"/>
                </a:lnTo>
                <a:lnTo>
                  <a:pt x="3051" y="303"/>
                </a:lnTo>
                <a:lnTo>
                  <a:pt x="3049" y="301"/>
                </a:lnTo>
                <a:lnTo>
                  <a:pt x="3047" y="299"/>
                </a:lnTo>
                <a:lnTo>
                  <a:pt x="3046" y="296"/>
                </a:lnTo>
                <a:lnTo>
                  <a:pt x="3045" y="293"/>
                </a:lnTo>
                <a:lnTo>
                  <a:pt x="3045" y="290"/>
                </a:lnTo>
                <a:lnTo>
                  <a:pt x="3045" y="287"/>
                </a:lnTo>
                <a:lnTo>
                  <a:pt x="3047" y="284"/>
                </a:lnTo>
                <a:lnTo>
                  <a:pt x="3049" y="280"/>
                </a:lnTo>
                <a:lnTo>
                  <a:pt x="3051" y="278"/>
                </a:lnTo>
                <a:lnTo>
                  <a:pt x="3053" y="277"/>
                </a:lnTo>
                <a:close/>
                <a:moveTo>
                  <a:pt x="238" y="1901"/>
                </a:moveTo>
                <a:lnTo>
                  <a:pt x="240" y="1900"/>
                </a:lnTo>
                <a:lnTo>
                  <a:pt x="243" y="1899"/>
                </a:lnTo>
                <a:lnTo>
                  <a:pt x="245" y="1899"/>
                </a:lnTo>
                <a:lnTo>
                  <a:pt x="248" y="1899"/>
                </a:lnTo>
                <a:lnTo>
                  <a:pt x="250" y="1899"/>
                </a:lnTo>
                <a:lnTo>
                  <a:pt x="252" y="1900"/>
                </a:lnTo>
                <a:lnTo>
                  <a:pt x="255" y="1901"/>
                </a:lnTo>
                <a:lnTo>
                  <a:pt x="257" y="1902"/>
                </a:lnTo>
                <a:lnTo>
                  <a:pt x="259" y="1905"/>
                </a:lnTo>
                <a:lnTo>
                  <a:pt x="261" y="1908"/>
                </a:lnTo>
                <a:lnTo>
                  <a:pt x="262" y="1910"/>
                </a:lnTo>
                <a:lnTo>
                  <a:pt x="262" y="1913"/>
                </a:lnTo>
                <a:lnTo>
                  <a:pt x="262" y="1917"/>
                </a:lnTo>
                <a:lnTo>
                  <a:pt x="261" y="1920"/>
                </a:lnTo>
                <a:lnTo>
                  <a:pt x="260" y="1922"/>
                </a:lnTo>
                <a:lnTo>
                  <a:pt x="258" y="1925"/>
                </a:lnTo>
                <a:lnTo>
                  <a:pt x="256" y="1927"/>
                </a:lnTo>
                <a:lnTo>
                  <a:pt x="254" y="1928"/>
                </a:lnTo>
                <a:lnTo>
                  <a:pt x="252" y="1929"/>
                </a:lnTo>
                <a:lnTo>
                  <a:pt x="250" y="1930"/>
                </a:lnTo>
                <a:lnTo>
                  <a:pt x="247" y="1930"/>
                </a:lnTo>
                <a:lnTo>
                  <a:pt x="245" y="1930"/>
                </a:lnTo>
                <a:lnTo>
                  <a:pt x="242" y="1930"/>
                </a:lnTo>
                <a:lnTo>
                  <a:pt x="240" y="1929"/>
                </a:lnTo>
                <a:lnTo>
                  <a:pt x="238" y="1928"/>
                </a:lnTo>
                <a:lnTo>
                  <a:pt x="236" y="1927"/>
                </a:lnTo>
                <a:lnTo>
                  <a:pt x="233" y="1924"/>
                </a:lnTo>
                <a:lnTo>
                  <a:pt x="232" y="1921"/>
                </a:lnTo>
                <a:lnTo>
                  <a:pt x="231" y="1919"/>
                </a:lnTo>
                <a:lnTo>
                  <a:pt x="230" y="1916"/>
                </a:lnTo>
                <a:lnTo>
                  <a:pt x="230" y="1912"/>
                </a:lnTo>
                <a:lnTo>
                  <a:pt x="231" y="1909"/>
                </a:lnTo>
                <a:lnTo>
                  <a:pt x="232" y="1907"/>
                </a:lnTo>
                <a:lnTo>
                  <a:pt x="234" y="1904"/>
                </a:lnTo>
                <a:lnTo>
                  <a:pt x="236" y="1902"/>
                </a:lnTo>
                <a:lnTo>
                  <a:pt x="238" y="1901"/>
                </a:lnTo>
                <a:close/>
                <a:moveTo>
                  <a:pt x="338" y="1797"/>
                </a:moveTo>
                <a:lnTo>
                  <a:pt x="341" y="1796"/>
                </a:lnTo>
                <a:lnTo>
                  <a:pt x="343" y="1796"/>
                </a:lnTo>
                <a:lnTo>
                  <a:pt x="349" y="1796"/>
                </a:lnTo>
                <a:lnTo>
                  <a:pt x="351" y="1796"/>
                </a:lnTo>
                <a:lnTo>
                  <a:pt x="354" y="1797"/>
                </a:lnTo>
                <a:lnTo>
                  <a:pt x="358" y="1800"/>
                </a:lnTo>
                <a:lnTo>
                  <a:pt x="360" y="1803"/>
                </a:lnTo>
                <a:lnTo>
                  <a:pt x="361" y="1806"/>
                </a:lnTo>
                <a:lnTo>
                  <a:pt x="362" y="1809"/>
                </a:lnTo>
                <a:lnTo>
                  <a:pt x="362" y="1812"/>
                </a:lnTo>
                <a:lnTo>
                  <a:pt x="362" y="1815"/>
                </a:lnTo>
                <a:lnTo>
                  <a:pt x="361" y="1818"/>
                </a:lnTo>
                <a:lnTo>
                  <a:pt x="359" y="1821"/>
                </a:lnTo>
                <a:lnTo>
                  <a:pt x="357" y="1823"/>
                </a:lnTo>
                <a:lnTo>
                  <a:pt x="354" y="1825"/>
                </a:lnTo>
                <a:lnTo>
                  <a:pt x="352" y="1826"/>
                </a:lnTo>
                <a:lnTo>
                  <a:pt x="349" y="1827"/>
                </a:lnTo>
                <a:lnTo>
                  <a:pt x="344" y="1827"/>
                </a:lnTo>
                <a:lnTo>
                  <a:pt x="341" y="1827"/>
                </a:lnTo>
                <a:lnTo>
                  <a:pt x="339" y="1826"/>
                </a:lnTo>
                <a:lnTo>
                  <a:pt x="337" y="1824"/>
                </a:lnTo>
                <a:lnTo>
                  <a:pt x="335" y="1822"/>
                </a:lnTo>
                <a:lnTo>
                  <a:pt x="333" y="1820"/>
                </a:lnTo>
                <a:lnTo>
                  <a:pt x="331" y="1817"/>
                </a:lnTo>
                <a:lnTo>
                  <a:pt x="331" y="1814"/>
                </a:lnTo>
                <a:lnTo>
                  <a:pt x="330" y="1811"/>
                </a:lnTo>
                <a:lnTo>
                  <a:pt x="331" y="1808"/>
                </a:lnTo>
                <a:lnTo>
                  <a:pt x="332" y="1805"/>
                </a:lnTo>
                <a:lnTo>
                  <a:pt x="333" y="1802"/>
                </a:lnTo>
                <a:lnTo>
                  <a:pt x="335" y="1800"/>
                </a:lnTo>
                <a:lnTo>
                  <a:pt x="338" y="1797"/>
                </a:lnTo>
                <a:close/>
                <a:moveTo>
                  <a:pt x="448" y="1703"/>
                </a:moveTo>
                <a:lnTo>
                  <a:pt x="450" y="1702"/>
                </a:lnTo>
                <a:lnTo>
                  <a:pt x="453" y="1701"/>
                </a:lnTo>
                <a:lnTo>
                  <a:pt x="459" y="1701"/>
                </a:lnTo>
                <a:lnTo>
                  <a:pt x="461" y="1702"/>
                </a:lnTo>
                <a:lnTo>
                  <a:pt x="464" y="1703"/>
                </a:lnTo>
                <a:lnTo>
                  <a:pt x="466" y="1705"/>
                </a:lnTo>
                <a:lnTo>
                  <a:pt x="467" y="1706"/>
                </a:lnTo>
                <a:lnTo>
                  <a:pt x="468" y="1707"/>
                </a:lnTo>
                <a:lnTo>
                  <a:pt x="470" y="1710"/>
                </a:lnTo>
                <a:lnTo>
                  <a:pt x="471" y="1713"/>
                </a:lnTo>
                <a:lnTo>
                  <a:pt x="472" y="1716"/>
                </a:lnTo>
                <a:lnTo>
                  <a:pt x="471" y="1719"/>
                </a:lnTo>
                <a:lnTo>
                  <a:pt x="471" y="1722"/>
                </a:lnTo>
                <a:lnTo>
                  <a:pt x="470" y="1725"/>
                </a:lnTo>
                <a:lnTo>
                  <a:pt x="468" y="1727"/>
                </a:lnTo>
                <a:lnTo>
                  <a:pt x="465" y="1730"/>
                </a:lnTo>
                <a:lnTo>
                  <a:pt x="464" y="1731"/>
                </a:lnTo>
                <a:lnTo>
                  <a:pt x="461" y="1732"/>
                </a:lnTo>
                <a:lnTo>
                  <a:pt x="458" y="1733"/>
                </a:lnTo>
                <a:lnTo>
                  <a:pt x="453" y="1733"/>
                </a:lnTo>
                <a:lnTo>
                  <a:pt x="450" y="1732"/>
                </a:lnTo>
                <a:lnTo>
                  <a:pt x="447" y="1731"/>
                </a:lnTo>
                <a:lnTo>
                  <a:pt x="445" y="1729"/>
                </a:lnTo>
                <a:lnTo>
                  <a:pt x="444" y="1728"/>
                </a:lnTo>
                <a:lnTo>
                  <a:pt x="443" y="1727"/>
                </a:lnTo>
                <a:lnTo>
                  <a:pt x="441" y="1724"/>
                </a:lnTo>
                <a:lnTo>
                  <a:pt x="440" y="1721"/>
                </a:lnTo>
                <a:lnTo>
                  <a:pt x="440" y="1718"/>
                </a:lnTo>
                <a:lnTo>
                  <a:pt x="440" y="1715"/>
                </a:lnTo>
                <a:lnTo>
                  <a:pt x="440" y="1712"/>
                </a:lnTo>
                <a:lnTo>
                  <a:pt x="442" y="1709"/>
                </a:lnTo>
                <a:lnTo>
                  <a:pt x="443" y="1707"/>
                </a:lnTo>
                <a:lnTo>
                  <a:pt x="446" y="1704"/>
                </a:lnTo>
                <a:lnTo>
                  <a:pt x="448" y="1703"/>
                </a:lnTo>
                <a:close/>
                <a:moveTo>
                  <a:pt x="816" y="1477"/>
                </a:moveTo>
                <a:lnTo>
                  <a:pt x="819" y="1476"/>
                </a:lnTo>
                <a:lnTo>
                  <a:pt x="822" y="1475"/>
                </a:lnTo>
                <a:lnTo>
                  <a:pt x="825" y="1475"/>
                </a:lnTo>
                <a:lnTo>
                  <a:pt x="828" y="1476"/>
                </a:lnTo>
                <a:lnTo>
                  <a:pt x="831" y="1477"/>
                </a:lnTo>
                <a:lnTo>
                  <a:pt x="834" y="1479"/>
                </a:lnTo>
                <a:lnTo>
                  <a:pt x="836" y="1481"/>
                </a:lnTo>
                <a:lnTo>
                  <a:pt x="838" y="1483"/>
                </a:lnTo>
                <a:lnTo>
                  <a:pt x="839" y="1486"/>
                </a:lnTo>
                <a:lnTo>
                  <a:pt x="840" y="1489"/>
                </a:lnTo>
                <a:lnTo>
                  <a:pt x="840" y="1492"/>
                </a:lnTo>
                <a:lnTo>
                  <a:pt x="839" y="1495"/>
                </a:lnTo>
                <a:lnTo>
                  <a:pt x="838" y="1498"/>
                </a:lnTo>
                <a:lnTo>
                  <a:pt x="836" y="1501"/>
                </a:lnTo>
                <a:lnTo>
                  <a:pt x="834" y="1503"/>
                </a:lnTo>
                <a:lnTo>
                  <a:pt x="832" y="1505"/>
                </a:lnTo>
                <a:lnTo>
                  <a:pt x="829" y="1506"/>
                </a:lnTo>
                <a:lnTo>
                  <a:pt x="825" y="1507"/>
                </a:lnTo>
                <a:lnTo>
                  <a:pt x="822" y="1507"/>
                </a:lnTo>
                <a:lnTo>
                  <a:pt x="819" y="1506"/>
                </a:lnTo>
                <a:lnTo>
                  <a:pt x="816" y="1505"/>
                </a:lnTo>
                <a:lnTo>
                  <a:pt x="814" y="1504"/>
                </a:lnTo>
                <a:lnTo>
                  <a:pt x="811" y="1501"/>
                </a:lnTo>
                <a:lnTo>
                  <a:pt x="810" y="1499"/>
                </a:lnTo>
                <a:lnTo>
                  <a:pt x="808" y="1496"/>
                </a:lnTo>
                <a:lnTo>
                  <a:pt x="808" y="1493"/>
                </a:lnTo>
                <a:lnTo>
                  <a:pt x="808" y="1490"/>
                </a:lnTo>
                <a:lnTo>
                  <a:pt x="808" y="1487"/>
                </a:lnTo>
                <a:lnTo>
                  <a:pt x="809" y="1484"/>
                </a:lnTo>
                <a:lnTo>
                  <a:pt x="811" y="1481"/>
                </a:lnTo>
                <a:lnTo>
                  <a:pt x="813" y="1479"/>
                </a:lnTo>
                <a:lnTo>
                  <a:pt x="816" y="1477"/>
                </a:lnTo>
                <a:close/>
                <a:moveTo>
                  <a:pt x="940" y="1405"/>
                </a:moveTo>
                <a:lnTo>
                  <a:pt x="943" y="1403"/>
                </a:lnTo>
                <a:lnTo>
                  <a:pt x="946" y="1403"/>
                </a:lnTo>
                <a:lnTo>
                  <a:pt x="949" y="1402"/>
                </a:lnTo>
                <a:lnTo>
                  <a:pt x="952" y="1403"/>
                </a:lnTo>
                <a:lnTo>
                  <a:pt x="954" y="1404"/>
                </a:lnTo>
                <a:lnTo>
                  <a:pt x="957" y="1405"/>
                </a:lnTo>
                <a:lnTo>
                  <a:pt x="959" y="1407"/>
                </a:lnTo>
                <a:lnTo>
                  <a:pt x="961" y="1410"/>
                </a:lnTo>
                <a:lnTo>
                  <a:pt x="963" y="1413"/>
                </a:lnTo>
                <a:lnTo>
                  <a:pt x="964" y="1416"/>
                </a:lnTo>
                <a:lnTo>
                  <a:pt x="964" y="1419"/>
                </a:lnTo>
                <a:lnTo>
                  <a:pt x="963" y="1422"/>
                </a:lnTo>
                <a:lnTo>
                  <a:pt x="962" y="1425"/>
                </a:lnTo>
                <a:lnTo>
                  <a:pt x="961" y="1428"/>
                </a:lnTo>
                <a:lnTo>
                  <a:pt x="959" y="1430"/>
                </a:lnTo>
                <a:lnTo>
                  <a:pt x="956" y="1432"/>
                </a:lnTo>
                <a:lnTo>
                  <a:pt x="953" y="1433"/>
                </a:lnTo>
                <a:lnTo>
                  <a:pt x="950" y="1434"/>
                </a:lnTo>
                <a:lnTo>
                  <a:pt x="947" y="1434"/>
                </a:lnTo>
                <a:lnTo>
                  <a:pt x="944" y="1434"/>
                </a:lnTo>
                <a:lnTo>
                  <a:pt x="941" y="1433"/>
                </a:lnTo>
                <a:lnTo>
                  <a:pt x="939" y="1431"/>
                </a:lnTo>
                <a:lnTo>
                  <a:pt x="936" y="1429"/>
                </a:lnTo>
                <a:lnTo>
                  <a:pt x="934" y="1427"/>
                </a:lnTo>
                <a:lnTo>
                  <a:pt x="933" y="1424"/>
                </a:lnTo>
                <a:lnTo>
                  <a:pt x="932" y="1421"/>
                </a:lnTo>
                <a:lnTo>
                  <a:pt x="932" y="1418"/>
                </a:lnTo>
                <a:lnTo>
                  <a:pt x="932" y="1415"/>
                </a:lnTo>
                <a:lnTo>
                  <a:pt x="933" y="1412"/>
                </a:lnTo>
                <a:lnTo>
                  <a:pt x="935" y="1409"/>
                </a:lnTo>
                <a:lnTo>
                  <a:pt x="937" y="1407"/>
                </a:lnTo>
                <a:lnTo>
                  <a:pt x="939" y="1405"/>
                </a:lnTo>
                <a:lnTo>
                  <a:pt x="940" y="1405"/>
                </a:lnTo>
                <a:close/>
                <a:moveTo>
                  <a:pt x="564" y="1619"/>
                </a:moveTo>
                <a:lnTo>
                  <a:pt x="567" y="1618"/>
                </a:lnTo>
                <a:lnTo>
                  <a:pt x="570" y="1617"/>
                </a:lnTo>
                <a:lnTo>
                  <a:pt x="573" y="1617"/>
                </a:lnTo>
                <a:lnTo>
                  <a:pt x="576" y="1618"/>
                </a:lnTo>
                <a:lnTo>
                  <a:pt x="579" y="1619"/>
                </a:lnTo>
                <a:lnTo>
                  <a:pt x="581" y="1620"/>
                </a:lnTo>
                <a:lnTo>
                  <a:pt x="584" y="1622"/>
                </a:lnTo>
                <a:lnTo>
                  <a:pt x="586" y="1624"/>
                </a:lnTo>
                <a:lnTo>
                  <a:pt x="587" y="1627"/>
                </a:lnTo>
                <a:lnTo>
                  <a:pt x="588" y="1630"/>
                </a:lnTo>
                <a:lnTo>
                  <a:pt x="588" y="1633"/>
                </a:lnTo>
                <a:lnTo>
                  <a:pt x="588" y="1636"/>
                </a:lnTo>
                <a:lnTo>
                  <a:pt x="587" y="1639"/>
                </a:lnTo>
                <a:lnTo>
                  <a:pt x="586" y="1642"/>
                </a:lnTo>
                <a:lnTo>
                  <a:pt x="584" y="1645"/>
                </a:lnTo>
                <a:lnTo>
                  <a:pt x="581" y="1647"/>
                </a:lnTo>
                <a:lnTo>
                  <a:pt x="578" y="1648"/>
                </a:lnTo>
                <a:lnTo>
                  <a:pt x="575" y="1649"/>
                </a:lnTo>
                <a:lnTo>
                  <a:pt x="569" y="1649"/>
                </a:lnTo>
                <a:lnTo>
                  <a:pt x="566" y="1648"/>
                </a:lnTo>
                <a:lnTo>
                  <a:pt x="563" y="1646"/>
                </a:lnTo>
                <a:lnTo>
                  <a:pt x="561" y="1644"/>
                </a:lnTo>
                <a:lnTo>
                  <a:pt x="559" y="1642"/>
                </a:lnTo>
                <a:lnTo>
                  <a:pt x="558" y="1639"/>
                </a:lnTo>
                <a:lnTo>
                  <a:pt x="557" y="1636"/>
                </a:lnTo>
                <a:lnTo>
                  <a:pt x="556" y="1633"/>
                </a:lnTo>
                <a:lnTo>
                  <a:pt x="557" y="1630"/>
                </a:lnTo>
                <a:lnTo>
                  <a:pt x="558" y="1627"/>
                </a:lnTo>
                <a:lnTo>
                  <a:pt x="559" y="1624"/>
                </a:lnTo>
                <a:lnTo>
                  <a:pt x="561" y="1622"/>
                </a:lnTo>
                <a:lnTo>
                  <a:pt x="564" y="1620"/>
                </a:lnTo>
                <a:lnTo>
                  <a:pt x="564" y="1619"/>
                </a:lnTo>
                <a:close/>
                <a:moveTo>
                  <a:pt x="687" y="1545"/>
                </a:moveTo>
                <a:lnTo>
                  <a:pt x="690" y="1543"/>
                </a:lnTo>
                <a:lnTo>
                  <a:pt x="694" y="1543"/>
                </a:lnTo>
                <a:lnTo>
                  <a:pt x="697" y="1543"/>
                </a:lnTo>
                <a:lnTo>
                  <a:pt x="700" y="1543"/>
                </a:lnTo>
                <a:lnTo>
                  <a:pt x="703" y="1544"/>
                </a:lnTo>
                <a:lnTo>
                  <a:pt x="705" y="1546"/>
                </a:lnTo>
                <a:lnTo>
                  <a:pt x="708" y="1548"/>
                </a:lnTo>
                <a:lnTo>
                  <a:pt x="709" y="1551"/>
                </a:lnTo>
                <a:lnTo>
                  <a:pt x="711" y="1554"/>
                </a:lnTo>
                <a:lnTo>
                  <a:pt x="711" y="1557"/>
                </a:lnTo>
                <a:lnTo>
                  <a:pt x="711" y="1560"/>
                </a:lnTo>
                <a:lnTo>
                  <a:pt x="711" y="1563"/>
                </a:lnTo>
                <a:lnTo>
                  <a:pt x="710" y="1566"/>
                </a:lnTo>
                <a:lnTo>
                  <a:pt x="708" y="1568"/>
                </a:lnTo>
                <a:lnTo>
                  <a:pt x="706" y="1571"/>
                </a:lnTo>
                <a:lnTo>
                  <a:pt x="703" y="1572"/>
                </a:lnTo>
                <a:lnTo>
                  <a:pt x="700" y="1574"/>
                </a:lnTo>
                <a:lnTo>
                  <a:pt x="697" y="1574"/>
                </a:lnTo>
                <a:lnTo>
                  <a:pt x="694" y="1574"/>
                </a:lnTo>
                <a:lnTo>
                  <a:pt x="691" y="1574"/>
                </a:lnTo>
                <a:lnTo>
                  <a:pt x="688" y="1573"/>
                </a:lnTo>
                <a:lnTo>
                  <a:pt x="686" y="1571"/>
                </a:lnTo>
                <a:lnTo>
                  <a:pt x="683" y="1569"/>
                </a:lnTo>
                <a:lnTo>
                  <a:pt x="681" y="1566"/>
                </a:lnTo>
                <a:lnTo>
                  <a:pt x="680" y="1563"/>
                </a:lnTo>
                <a:lnTo>
                  <a:pt x="680" y="1560"/>
                </a:lnTo>
                <a:lnTo>
                  <a:pt x="679" y="1557"/>
                </a:lnTo>
                <a:lnTo>
                  <a:pt x="680" y="1554"/>
                </a:lnTo>
                <a:lnTo>
                  <a:pt x="681" y="1551"/>
                </a:lnTo>
                <a:lnTo>
                  <a:pt x="683" y="1549"/>
                </a:lnTo>
                <a:lnTo>
                  <a:pt x="685" y="1547"/>
                </a:lnTo>
                <a:lnTo>
                  <a:pt x="687" y="1545"/>
                </a:lnTo>
                <a:close/>
                <a:moveTo>
                  <a:pt x="1058" y="1323"/>
                </a:moveTo>
                <a:lnTo>
                  <a:pt x="1060" y="1321"/>
                </a:lnTo>
                <a:lnTo>
                  <a:pt x="1063" y="1321"/>
                </a:lnTo>
                <a:lnTo>
                  <a:pt x="1069" y="1321"/>
                </a:lnTo>
                <a:lnTo>
                  <a:pt x="1071" y="1321"/>
                </a:lnTo>
                <a:lnTo>
                  <a:pt x="1074" y="1323"/>
                </a:lnTo>
                <a:lnTo>
                  <a:pt x="1076" y="1324"/>
                </a:lnTo>
                <a:lnTo>
                  <a:pt x="1078" y="1327"/>
                </a:lnTo>
                <a:lnTo>
                  <a:pt x="1080" y="1329"/>
                </a:lnTo>
                <a:lnTo>
                  <a:pt x="1081" y="1332"/>
                </a:lnTo>
                <a:lnTo>
                  <a:pt x="1082" y="1335"/>
                </a:lnTo>
                <a:lnTo>
                  <a:pt x="1081" y="1338"/>
                </a:lnTo>
                <a:lnTo>
                  <a:pt x="1081" y="1341"/>
                </a:lnTo>
                <a:lnTo>
                  <a:pt x="1080" y="1344"/>
                </a:lnTo>
                <a:lnTo>
                  <a:pt x="1078" y="1347"/>
                </a:lnTo>
                <a:lnTo>
                  <a:pt x="1075" y="1349"/>
                </a:lnTo>
                <a:lnTo>
                  <a:pt x="1074" y="1350"/>
                </a:lnTo>
                <a:lnTo>
                  <a:pt x="1071" y="1351"/>
                </a:lnTo>
                <a:lnTo>
                  <a:pt x="1068" y="1352"/>
                </a:lnTo>
                <a:lnTo>
                  <a:pt x="1063" y="1352"/>
                </a:lnTo>
                <a:lnTo>
                  <a:pt x="1060" y="1351"/>
                </a:lnTo>
                <a:lnTo>
                  <a:pt x="1057" y="1350"/>
                </a:lnTo>
                <a:lnTo>
                  <a:pt x="1055" y="1348"/>
                </a:lnTo>
                <a:lnTo>
                  <a:pt x="1053" y="1346"/>
                </a:lnTo>
                <a:lnTo>
                  <a:pt x="1051" y="1343"/>
                </a:lnTo>
                <a:lnTo>
                  <a:pt x="1050" y="1340"/>
                </a:lnTo>
                <a:lnTo>
                  <a:pt x="1050" y="1337"/>
                </a:lnTo>
                <a:lnTo>
                  <a:pt x="1050" y="1334"/>
                </a:lnTo>
                <a:lnTo>
                  <a:pt x="1050" y="1331"/>
                </a:lnTo>
                <a:lnTo>
                  <a:pt x="1052" y="1328"/>
                </a:lnTo>
                <a:lnTo>
                  <a:pt x="1054" y="1326"/>
                </a:lnTo>
                <a:lnTo>
                  <a:pt x="1056" y="1324"/>
                </a:lnTo>
                <a:lnTo>
                  <a:pt x="1058" y="1323"/>
                </a:lnTo>
                <a:close/>
                <a:moveTo>
                  <a:pt x="2923" y="216"/>
                </a:moveTo>
                <a:lnTo>
                  <a:pt x="2926" y="214"/>
                </a:lnTo>
                <a:lnTo>
                  <a:pt x="2930" y="213"/>
                </a:lnTo>
                <a:lnTo>
                  <a:pt x="2933" y="214"/>
                </a:lnTo>
                <a:lnTo>
                  <a:pt x="2935" y="214"/>
                </a:lnTo>
                <a:lnTo>
                  <a:pt x="2937" y="215"/>
                </a:lnTo>
                <a:lnTo>
                  <a:pt x="2940" y="216"/>
                </a:lnTo>
                <a:lnTo>
                  <a:pt x="2942" y="219"/>
                </a:lnTo>
                <a:lnTo>
                  <a:pt x="2944" y="221"/>
                </a:lnTo>
                <a:lnTo>
                  <a:pt x="2946" y="224"/>
                </a:lnTo>
                <a:lnTo>
                  <a:pt x="2946" y="227"/>
                </a:lnTo>
                <a:lnTo>
                  <a:pt x="2947" y="230"/>
                </a:lnTo>
                <a:lnTo>
                  <a:pt x="2946" y="233"/>
                </a:lnTo>
                <a:lnTo>
                  <a:pt x="2945" y="236"/>
                </a:lnTo>
                <a:lnTo>
                  <a:pt x="2942" y="240"/>
                </a:lnTo>
                <a:lnTo>
                  <a:pt x="2941" y="242"/>
                </a:lnTo>
                <a:lnTo>
                  <a:pt x="2939" y="243"/>
                </a:lnTo>
                <a:lnTo>
                  <a:pt x="2935" y="245"/>
                </a:lnTo>
                <a:lnTo>
                  <a:pt x="2932" y="245"/>
                </a:lnTo>
                <a:lnTo>
                  <a:pt x="2928" y="245"/>
                </a:lnTo>
                <a:lnTo>
                  <a:pt x="2926" y="245"/>
                </a:lnTo>
                <a:lnTo>
                  <a:pt x="2924" y="244"/>
                </a:lnTo>
                <a:lnTo>
                  <a:pt x="2921" y="242"/>
                </a:lnTo>
                <a:lnTo>
                  <a:pt x="2919" y="240"/>
                </a:lnTo>
                <a:lnTo>
                  <a:pt x="2917" y="238"/>
                </a:lnTo>
                <a:lnTo>
                  <a:pt x="2916" y="235"/>
                </a:lnTo>
                <a:lnTo>
                  <a:pt x="2915" y="232"/>
                </a:lnTo>
                <a:lnTo>
                  <a:pt x="2915" y="229"/>
                </a:lnTo>
                <a:lnTo>
                  <a:pt x="2915" y="226"/>
                </a:lnTo>
                <a:lnTo>
                  <a:pt x="2916" y="223"/>
                </a:lnTo>
                <a:lnTo>
                  <a:pt x="2919" y="219"/>
                </a:lnTo>
                <a:lnTo>
                  <a:pt x="2921" y="217"/>
                </a:lnTo>
                <a:lnTo>
                  <a:pt x="2923" y="216"/>
                </a:lnTo>
                <a:close/>
                <a:moveTo>
                  <a:pt x="1167" y="1229"/>
                </a:moveTo>
                <a:lnTo>
                  <a:pt x="1169" y="1228"/>
                </a:lnTo>
                <a:lnTo>
                  <a:pt x="1171" y="1227"/>
                </a:lnTo>
                <a:lnTo>
                  <a:pt x="1174" y="1227"/>
                </a:lnTo>
                <a:lnTo>
                  <a:pt x="1177" y="1227"/>
                </a:lnTo>
                <a:lnTo>
                  <a:pt x="1179" y="1228"/>
                </a:lnTo>
                <a:lnTo>
                  <a:pt x="1182" y="1229"/>
                </a:lnTo>
                <a:lnTo>
                  <a:pt x="1184" y="1230"/>
                </a:lnTo>
                <a:lnTo>
                  <a:pt x="1186" y="1232"/>
                </a:lnTo>
                <a:lnTo>
                  <a:pt x="1188" y="1234"/>
                </a:lnTo>
                <a:lnTo>
                  <a:pt x="1189" y="1237"/>
                </a:lnTo>
                <a:lnTo>
                  <a:pt x="1190" y="1240"/>
                </a:lnTo>
                <a:lnTo>
                  <a:pt x="1191" y="1243"/>
                </a:lnTo>
                <a:lnTo>
                  <a:pt x="1190" y="1246"/>
                </a:lnTo>
                <a:lnTo>
                  <a:pt x="1189" y="1249"/>
                </a:lnTo>
                <a:lnTo>
                  <a:pt x="1188" y="1252"/>
                </a:lnTo>
                <a:lnTo>
                  <a:pt x="1186" y="1254"/>
                </a:lnTo>
                <a:lnTo>
                  <a:pt x="1182" y="1257"/>
                </a:lnTo>
                <a:lnTo>
                  <a:pt x="1180" y="1258"/>
                </a:lnTo>
                <a:lnTo>
                  <a:pt x="1178" y="1259"/>
                </a:lnTo>
                <a:lnTo>
                  <a:pt x="1175" y="1259"/>
                </a:lnTo>
                <a:lnTo>
                  <a:pt x="1172" y="1259"/>
                </a:lnTo>
                <a:lnTo>
                  <a:pt x="1170" y="1258"/>
                </a:lnTo>
                <a:lnTo>
                  <a:pt x="1167" y="1257"/>
                </a:lnTo>
                <a:lnTo>
                  <a:pt x="1165" y="1256"/>
                </a:lnTo>
                <a:lnTo>
                  <a:pt x="1163" y="1254"/>
                </a:lnTo>
                <a:lnTo>
                  <a:pt x="1161" y="1251"/>
                </a:lnTo>
                <a:lnTo>
                  <a:pt x="1160" y="1249"/>
                </a:lnTo>
                <a:lnTo>
                  <a:pt x="1159" y="1246"/>
                </a:lnTo>
                <a:lnTo>
                  <a:pt x="1159" y="1243"/>
                </a:lnTo>
                <a:lnTo>
                  <a:pt x="1159" y="1240"/>
                </a:lnTo>
                <a:lnTo>
                  <a:pt x="1160" y="1237"/>
                </a:lnTo>
                <a:lnTo>
                  <a:pt x="1161" y="1234"/>
                </a:lnTo>
                <a:lnTo>
                  <a:pt x="1163" y="1231"/>
                </a:lnTo>
                <a:lnTo>
                  <a:pt x="1167" y="1229"/>
                </a:lnTo>
                <a:close/>
                <a:moveTo>
                  <a:pt x="1262" y="1122"/>
                </a:moveTo>
                <a:lnTo>
                  <a:pt x="1266" y="1120"/>
                </a:lnTo>
                <a:lnTo>
                  <a:pt x="1271" y="1120"/>
                </a:lnTo>
                <a:lnTo>
                  <a:pt x="1273" y="1120"/>
                </a:lnTo>
                <a:lnTo>
                  <a:pt x="1276" y="1121"/>
                </a:lnTo>
                <a:lnTo>
                  <a:pt x="1278" y="1122"/>
                </a:lnTo>
                <a:lnTo>
                  <a:pt x="1280" y="1123"/>
                </a:lnTo>
                <a:lnTo>
                  <a:pt x="1282" y="1125"/>
                </a:lnTo>
                <a:lnTo>
                  <a:pt x="1284" y="1128"/>
                </a:lnTo>
                <a:lnTo>
                  <a:pt x="1285" y="1131"/>
                </a:lnTo>
                <a:lnTo>
                  <a:pt x="1286" y="1134"/>
                </a:lnTo>
                <a:lnTo>
                  <a:pt x="1286" y="1137"/>
                </a:lnTo>
                <a:lnTo>
                  <a:pt x="1286" y="1140"/>
                </a:lnTo>
                <a:lnTo>
                  <a:pt x="1285" y="1143"/>
                </a:lnTo>
                <a:lnTo>
                  <a:pt x="1283" y="1146"/>
                </a:lnTo>
                <a:lnTo>
                  <a:pt x="1281" y="1148"/>
                </a:lnTo>
                <a:lnTo>
                  <a:pt x="1278" y="1150"/>
                </a:lnTo>
                <a:lnTo>
                  <a:pt x="1274" y="1151"/>
                </a:lnTo>
                <a:lnTo>
                  <a:pt x="1269" y="1152"/>
                </a:lnTo>
                <a:lnTo>
                  <a:pt x="1267" y="1152"/>
                </a:lnTo>
                <a:lnTo>
                  <a:pt x="1265" y="1151"/>
                </a:lnTo>
                <a:lnTo>
                  <a:pt x="1263" y="1150"/>
                </a:lnTo>
                <a:lnTo>
                  <a:pt x="1260" y="1149"/>
                </a:lnTo>
                <a:lnTo>
                  <a:pt x="1258" y="1146"/>
                </a:lnTo>
                <a:lnTo>
                  <a:pt x="1256" y="1144"/>
                </a:lnTo>
                <a:lnTo>
                  <a:pt x="1255" y="1141"/>
                </a:lnTo>
                <a:lnTo>
                  <a:pt x="1254" y="1138"/>
                </a:lnTo>
                <a:lnTo>
                  <a:pt x="1254" y="1135"/>
                </a:lnTo>
                <a:lnTo>
                  <a:pt x="1255" y="1132"/>
                </a:lnTo>
                <a:lnTo>
                  <a:pt x="1256" y="1129"/>
                </a:lnTo>
                <a:lnTo>
                  <a:pt x="1257" y="1126"/>
                </a:lnTo>
                <a:lnTo>
                  <a:pt x="1260" y="1124"/>
                </a:lnTo>
                <a:lnTo>
                  <a:pt x="1262" y="1122"/>
                </a:lnTo>
                <a:close/>
                <a:moveTo>
                  <a:pt x="1339" y="1001"/>
                </a:moveTo>
                <a:lnTo>
                  <a:pt x="1343" y="999"/>
                </a:lnTo>
                <a:lnTo>
                  <a:pt x="1347" y="999"/>
                </a:lnTo>
                <a:lnTo>
                  <a:pt x="1351" y="999"/>
                </a:lnTo>
                <a:lnTo>
                  <a:pt x="1354" y="1001"/>
                </a:lnTo>
                <a:lnTo>
                  <a:pt x="1357" y="1002"/>
                </a:lnTo>
                <a:lnTo>
                  <a:pt x="1359" y="1005"/>
                </a:lnTo>
                <a:lnTo>
                  <a:pt x="1361" y="1007"/>
                </a:lnTo>
                <a:lnTo>
                  <a:pt x="1362" y="1010"/>
                </a:lnTo>
                <a:lnTo>
                  <a:pt x="1363" y="1013"/>
                </a:lnTo>
                <a:lnTo>
                  <a:pt x="1363" y="1016"/>
                </a:lnTo>
                <a:lnTo>
                  <a:pt x="1363" y="1019"/>
                </a:lnTo>
                <a:lnTo>
                  <a:pt x="1361" y="1022"/>
                </a:lnTo>
                <a:lnTo>
                  <a:pt x="1360" y="1024"/>
                </a:lnTo>
                <a:lnTo>
                  <a:pt x="1359" y="1026"/>
                </a:lnTo>
                <a:lnTo>
                  <a:pt x="1355" y="1029"/>
                </a:lnTo>
                <a:lnTo>
                  <a:pt x="1352" y="1030"/>
                </a:lnTo>
                <a:lnTo>
                  <a:pt x="1348" y="1031"/>
                </a:lnTo>
                <a:lnTo>
                  <a:pt x="1344" y="1030"/>
                </a:lnTo>
                <a:lnTo>
                  <a:pt x="1340" y="1029"/>
                </a:lnTo>
                <a:lnTo>
                  <a:pt x="1337" y="1027"/>
                </a:lnTo>
                <a:lnTo>
                  <a:pt x="1335" y="1025"/>
                </a:lnTo>
                <a:lnTo>
                  <a:pt x="1333" y="1023"/>
                </a:lnTo>
                <a:lnTo>
                  <a:pt x="1332" y="1020"/>
                </a:lnTo>
                <a:lnTo>
                  <a:pt x="1331" y="1014"/>
                </a:lnTo>
                <a:lnTo>
                  <a:pt x="1332" y="1011"/>
                </a:lnTo>
                <a:lnTo>
                  <a:pt x="1333" y="1008"/>
                </a:lnTo>
                <a:lnTo>
                  <a:pt x="1334" y="1006"/>
                </a:lnTo>
                <a:lnTo>
                  <a:pt x="1336" y="1004"/>
                </a:lnTo>
                <a:lnTo>
                  <a:pt x="1339" y="1001"/>
                </a:lnTo>
                <a:close/>
                <a:moveTo>
                  <a:pt x="2790" y="159"/>
                </a:moveTo>
                <a:lnTo>
                  <a:pt x="2794" y="157"/>
                </a:lnTo>
                <a:lnTo>
                  <a:pt x="2797" y="157"/>
                </a:lnTo>
                <a:lnTo>
                  <a:pt x="2801" y="157"/>
                </a:lnTo>
                <a:lnTo>
                  <a:pt x="2804" y="158"/>
                </a:lnTo>
                <a:lnTo>
                  <a:pt x="2807" y="159"/>
                </a:lnTo>
                <a:lnTo>
                  <a:pt x="2810" y="161"/>
                </a:lnTo>
                <a:lnTo>
                  <a:pt x="2812" y="164"/>
                </a:lnTo>
                <a:lnTo>
                  <a:pt x="2813" y="166"/>
                </a:lnTo>
                <a:lnTo>
                  <a:pt x="2814" y="169"/>
                </a:lnTo>
                <a:lnTo>
                  <a:pt x="2814" y="172"/>
                </a:lnTo>
                <a:lnTo>
                  <a:pt x="2814" y="175"/>
                </a:lnTo>
                <a:lnTo>
                  <a:pt x="2813" y="179"/>
                </a:lnTo>
                <a:lnTo>
                  <a:pt x="2810" y="183"/>
                </a:lnTo>
                <a:lnTo>
                  <a:pt x="2808" y="185"/>
                </a:lnTo>
                <a:lnTo>
                  <a:pt x="2806" y="186"/>
                </a:lnTo>
                <a:lnTo>
                  <a:pt x="2803" y="188"/>
                </a:lnTo>
                <a:lnTo>
                  <a:pt x="2800" y="189"/>
                </a:lnTo>
                <a:lnTo>
                  <a:pt x="2796" y="188"/>
                </a:lnTo>
                <a:lnTo>
                  <a:pt x="2792" y="187"/>
                </a:lnTo>
                <a:lnTo>
                  <a:pt x="2789" y="186"/>
                </a:lnTo>
                <a:lnTo>
                  <a:pt x="2787" y="184"/>
                </a:lnTo>
                <a:lnTo>
                  <a:pt x="2785" y="181"/>
                </a:lnTo>
                <a:lnTo>
                  <a:pt x="2784" y="179"/>
                </a:lnTo>
                <a:lnTo>
                  <a:pt x="2783" y="176"/>
                </a:lnTo>
                <a:lnTo>
                  <a:pt x="2782" y="173"/>
                </a:lnTo>
                <a:lnTo>
                  <a:pt x="2783" y="170"/>
                </a:lnTo>
                <a:lnTo>
                  <a:pt x="2784" y="167"/>
                </a:lnTo>
                <a:lnTo>
                  <a:pt x="2786" y="162"/>
                </a:lnTo>
                <a:lnTo>
                  <a:pt x="2788" y="160"/>
                </a:lnTo>
                <a:lnTo>
                  <a:pt x="2790" y="159"/>
                </a:lnTo>
                <a:close/>
                <a:moveTo>
                  <a:pt x="1393" y="868"/>
                </a:moveTo>
                <a:lnTo>
                  <a:pt x="1396" y="867"/>
                </a:lnTo>
                <a:lnTo>
                  <a:pt x="1399" y="866"/>
                </a:lnTo>
                <a:lnTo>
                  <a:pt x="1402" y="866"/>
                </a:lnTo>
                <a:lnTo>
                  <a:pt x="1405" y="866"/>
                </a:lnTo>
                <a:lnTo>
                  <a:pt x="1408" y="868"/>
                </a:lnTo>
                <a:lnTo>
                  <a:pt x="1411" y="869"/>
                </a:lnTo>
                <a:lnTo>
                  <a:pt x="1413" y="872"/>
                </a:lnTo>
                <a:lnTo>
                  <a:pt x="1415" y="874"/>
                </a:lnTo>
                <a:lnTo>
                  <a:pt x="1416" y="877"/>
                </a:lnTo>
                <a:lnTo>
                  <a:pt x="1417" y="880"/>
                </a:lnTo>
                <a:lnTo>
                  <a:pt x="1417" y="883"/>
                </a:lnTo>
                <a:lnTo>
                  <a:pt x="1416" y="886"/>
                </a:lnTo>
                <a:lnTo>
                  <a:pt x="1415" y="889"/>
                </a:lnTo>
                <a:lnTo>
                  <a:pt x="1413" y="892"/>
                </a:lnTo>
                <a:lnTo>
                  <a:pt x="1411" y="894"/>
                </a:lnTo>
                <a:lnTo>
                  <a:pt x="1409" y="896"/>
                </a:lnTo>
                <a:lnTo>
                  <a:pt x="1406" y="897"/>
                </a:lnTo>
                <a:lnTo>
                  <a:pt x="1403" y="898"/>
                </a:lnTo>
                <a:lnTo>
                  <a:pt x="1399" y="898"/>
                </a:lnTo>
                <a:lnTo>
                  <a:pt x="1396" y="897"/>
                </a:lnTo>
                <a:lnTo>
                  <a:pt x="1393" y="896"/>
                </a:lnTo>
                <a:lnTo>
                  <a:pt x="1391" y="894"/>
                </a:lnTo>
                <a:lnTo>
                  <a:pt x="1388" y="892"/>
                </a:lnTo>
                <a:lnTo>
                  <a:pt x="1387" y="889"/>
                </a:lnTo>
                <a:lnTo>
                  <a:pt x="1385" y="886"/>
                </a:lnTo>
                <a:lnTo>
                  <a:pt x="1385" y="883"/>
                </a:lnTo>
                <a:lnTo>
                  <a:pt x="1385" y="880"/>
                </a:lnTo>
                <a:lnTo>
                  <a:pt x="1385" y="877"/>
                </a:lnTo>
                <a:lnTo>
                  <a:pt x="1387" y="874"/>
                </a:lnTo>
                <a:lnTo>
                  <a:pt x="1388" y="872"/>
                </a:lnTo>
                <a:lnTo>
                  <a:pt x="1390" y="870"/>
                </a:lnTo>
                <a:lnTo>
                  <a:pt x="1393" y="868"/>
                </a:lnTo>
                <a:close/>
                <a:moveTo>
                  <a:pt x="2656" y="107"/>
                </a:moveTo>
                <a:lnTo>
                  <a:pt x="2659" y="106"/>
                </a:lnTo>
                <a:lnTo>
                  <a:pt x="2662" y="105"/>
                </a:lnTo>
                <a:lnTo>
                  <a:pt x="2666" y="105"/>
                </a:lnTo>
                <a:lnTo>
                  <a:pt x="2669" y="106"/>
                </a:lnTo>
                <a:lnTo>
                  <a:pt x="2672" y="108"/>
                </a:lnTo>
                <a:lnTo>
                  <a:pt x="2675" y="109"/>
                </a:lnTo>
                <a:lnTo>
                  <a:pt x="2677" y="112"/>
                </a:lnTo>
                <a:lnTo>
                  <a:pt x="2678" y="114"/>
                </a:lnTo>
                <a:lnTo>
                  <a:pt x="2679" y="117"/>
                </a:lnTo>
                <a:lnTo>
                  <a:pt x="2680" y="120"/>
                </a:lnTo>
                <a:lnTo>
                  <a:pt x="2680" y="123"/>
                </a:lnTo>
                <a:lnTo>
                  <a:pt x="2679" y="127"/>
                </a:lnTo>
                <a:lnTo>
                  <a:pt x="2678" y="129"/>
                </a:lnTo>
                <a:lnTo>
                  <a:pt x="2676" y="132"/>
                </a:lnTo>
                <a:lnTo>
                  <a:pt x="2674" y="134"/>
                </a:lnTo>
                <a:lnTo>
                  <a:pt x="2672" y="135"/>
                </a:lnTo>
                <a:lnTo>
                  <a:pt x="2669" y="137"/>
                </a:lnTo>
                <a:lnTo>
                  <a:pt x="2665" y="137"/>
                </a:lnTo>
                <a:lnTo>
                  <a:pt x="2662" y="137"/>
                </a:lnTo>
                <a:lnTo>
                  <a:pt x="2659" y="136"/>
                </a:lnTo>
                <a:lnTo>
                  <a:pt x="2656" y="135"/>
                </a:lnTo>
                <a:lnTo>
                  <a:pt x="2653" y="133"/>
                </a:lnTo>
                <a:lnTo>
                  <a:pt x="2651" y="131"/>
                </a:lnTo>
                <a:lnTo>
                  <a:pt x="2649" y="128"/>
                </a:lnTo>
                <a:lnTo>
                  <a:pt x="2648" y="125"/>
                </a:lnTo>
                <a:lnTo>
                  <a:pt x="2648" y="122"/>
                </a:lnTo>
                <a:lnTo>
                  <a:pt x="2648" y="119"/>
                </a:lnTo>
                <a:lnTo>
                  <a:pt x="2649" y="116"/>
                </a:lnTo>
                <a:lnTo>
                  <a:pt x="2652" y="111"/>
                </a:lnTo>
                <a:lnTo>
                  <a:pt x="2654" y="109"/>
                </a:lnTo>
                <a:lnTo>
                  <a:pt x="2656" y="107"/>
                </a:lnTo>
                <a:close/>
                <a:moveTo>
                  <a:pt x="1423" y="727"/>
                </a:moveTo>
                <a:lnTo>
                  <a:pt x="1428" y="726"/>
                </a:lnTo>
                <a:lnTo>
                  <a:pt x="1431" y="725"/>
                </a:lnTo>
                <a:lnTo>
                  <a:pt x="1433" y="725"/>
                </a:lnTo>
                <a:lnTo>
                  <a:pt x="1436" y="726"/>
                </a:lnTo>
                <a:lnTo>
                  <a:pt x="1439" y="728"/>
                </a:lnTo>
                <a:lnTo>
                  <a:pt x="1442" y="729"/>
                </a:lnTo>
                <a:lnTo>
                  <a:pt x="1444" y="732"/>
                </a:lnTo>
                <a:lnTo>
                  <a:pt x="1445" y="734"/>
                </a:lnTo>
                <a:lnTo>
                  <a:pt x="1446" y="737"/>
                </a:lnTo>
                <a:lnTo>
                  <a:pt x="1447" y="740"/>
                </a:lnTo>
                <a:lnTo>
                  <a:pt x="1447" y="744"/>
                </a:lnTo>
                <a:lnTo>
                  <a:pt x="1446" y="747"/>
                </a:lnTo>
                <a:lnTo>
                  <a:pt x="1444" y="750"/>
                </a:lnTo>
                <a:lnTo>
                  <a:pt x="1442" y="753"/>
                </a:lnTo>
                <a:lnTo>
                  <a:pt x="1439" y="755"/>
                </a:lnTo>
                <a:lnTo>
                  <a:pt x="1434" y="757"/>
                </a:lnTo>
                <a:lnTo>
                  <a:pt x="1431" y="757"/>
                </a:lnTo>
                <a:lnTo>
                  <a:pt x="1429" y="757"/>
                </a:lnTo>
                <a:lnTo>
                  <a:pt x="1426" y="756"/>
                </a:lnTo>
                <a:lnTo>
                  <a:pt x="1423" y="755"/>
                </a:lnTo>
                <a:lnTo>
                  <a:pt x="1420" y="753"/>
                </a:lnTo>
                <a:lnTo>
                  <a:pt x="1418" y="751"/>
                </a:lnTo>
                <a:lnTo>
                  <a:pt x="1417" y="748"/>
                </a:lnTo>
                <a:lnTo>
                  <a:pt x="1416" y="745"/>
                </a:lnTo>
                <a:lnTo>
                  <a:pt x="1415" y="742"/>
                </a:lnTo>
                <a:lnTo>
                  <a:pt x="1415" y="739"/>
                </a:lnTo>
                <a:lnTo>
                  <a:pt x="1416" y="735"/>
                </a:lnTo>
                <a:lnTo>
                  <a:pt x="1418" y="732"/>
                </a:lnTo>
                <a:lnTo>
                  <a:pt x="1420" y="729"/>
                </a:lnTo>
                <a:lnTo>
                  <a:pt x="1423" y="727"/>
                </a:lnTo>
                <a:close/>
                <a:moveTo>
                  <a:pt x="2519" y="64"/>
                </a:moveTo>
                <a:lnTo>
                  <a:pt x="2522" y="62"/>
                </a:lnTo>
                <a:lnTo>
                  <a:pt x="2525" y="62"/>
                </a:lnTo>
                <a:lnTo>
                  <a:pt x="2528" y="62"/>
                </a:lnTo>
                <a:lnTo>
                  <a:pt x="2531" y="62"/>
                </a:lnTo>
                <a:lnTo>
                  <a:pt x="2534" y="63"/>
                </a:lnTo>
                <a:lnTo>
                  <a:pt x="2537" y="65"/>
                </a:lnTo>
                <a:lnTo>
                  <a:pt x="2539" y="67"/>
                </a:lnTo>
                <a:lnTo>
                  <a:pt x="2541" y="70"/>
                </a:lnTo>
                <a:lnTo>
                  <a:pt x="2542" y="73"/>
                </a:lnTo>
                <a:lnTo>
                  <a:pt x="2543" y="76"/>
                </a:lnTo>
                <a:lnTo>
                  <a:pt x="2543" y="79"/>
                </a:lnTo>
                <a:lnTo>
                  <a:pt x="2542" y="82"/>
                </a:lnTo>
                <a:lnTo>
                  <a:pt x="2541" y="85"/>
                </a:lnTo>
                <a:lnTo>
                  <a:pt x="2539" y="87"/>
                </a:lnTo>
                <a:lnTo>
                  <a:pt x="2537" y="90"/>
                </a:lnTo>
                <a:lnTo>
                  <a:pt x="2535" y="91"/>
                </a:lnTo>
                <a:lnTo>
                  <a:pt x="2532" y="93"/>
                </a:lnTo>
                <a:lnTo>
                  <a:pt x="2529" y="93"/>
                </a:lnTo>
                <a:lnTo>
                  <a:pt x="2526" y="93"/>
                </a:lnTo>
                <a:lnTo>
                  <a:pt x="2522" y="93"/>
                </a:lnTo>
                <a:lnTo>
                  <a:pt x="2519" y="92"/>
                </a:lnTo>
                <a:lnTo>
                  <a:pt x="2517" y="90"/>
                </a:lnTo>
                <a:lnTo>
                  <a:pt x="2514" y="88"/>
                </a:lnTo>
                <a:lnTo>
                  <a:pt x="2513" y="85"/>
                </a:lnTo>
                <a:lnTo>
                  <a:pt x="2512" y="83"/>
                </a:lnTo>
                <a:lnTo>
                  <a:pt x="2511" y="79"/>
                </a:lnTo>
                <a:lnTo>
                  <a:pt x="2511" y="76"/>
                </a:lnTo>
                <a:lnTo>
                  <a:pt x="2511" y="73"/>
                </a:lnTo>
                <a:lnTo>
                  <a:pt x="2513" y="70"/>
                </a:lnTo>
                <a:lnTo>
                  <a:pt x="2514" y="68"/>
                </a:lnTo>
                <a:lnTo>
                  <a:pt x="2516" y="65"/>
                </a:lnTo>
                <a:lnTo>
                  <a:pt x="2519" y="64"/>
                </a:lnTo>
                <a:close/>
                <a:moveTo>
                  <a:pt x="1437" y="583"/>
                </a:moveTo>
                <a:lnTo>
                  <a:pt x="1441" y="581"/>
                </a:lnTo>
                <a:lnTo>
                  <a:pt x="1446" y="581"/>
                </a:lnTo>
                <a:lnTo>
                  <a:pt x="1449" y="582"/>
                </a:lnTo>
                <a:lnTo>
                  <a:pt x="1452" y="583"/>
                </a:lnTo>
                <a:lnTo>
                  <a:pt x="1455" y="584"/>
                </a:lnTo>
                <a:lnTo>
                  <a:pt x="1457" y="586"/>
                </a:lnTo>
                <a:lnTo>
                  <a:pt x="1459" y="589"/>
                </a:lnTo>
                <a:lnTo>
                  <a:pt x="1460" y="592"/>
                </a:lnTo>
                <a:lnTo>
                  <a:pt x="1461" y="596"/>
                </a:lnTo>
                <a:lnTo>
                  <a:pt x="1461" y="599"/>
                </a:lnTo>
                <a:lnTo>
                  <a:pt x="1461" y="601"/>
                </a:lnTo>
                <a:lnTo>
                  <a:pt x="1460" y="603"/>
                </a:lnTo>
                <a:lnTo>
                  <a:pt x="1458" y="607"/>
                </a:lnTo>
                <a:lnTo>
                  <a:pt x="1456" y="610"/>
                </a:lnTo>
                <a:lnTo>
                  <a:pt x="1453" y="612"/>
                </a:lnTo>
                <a:lnTo>
                  <a:pt x="1449" y="614"/>
                </a:lnTo>
                <a:lnTo>
                  <a:pt x="1444" y="614"/>
                </a:lnTo>
                <a:lnTo>
                  <a:pt x="1441" y="613"/>
                </a:lnTo>
                <a:lnTo>
                  <a:pt x="1438" y="612"/>
                </a:lnTo>
                <a:lnTo>
                  <a:pt x="1435" y="611"/>
                </a:lnTo>
                <a:lnTo>
                  <a:pt x="1433" y="608"/>
                </a:lnTo>
                <a:lnTo>
                  <a:pt x="1431" y="606"/>
                </a:lnTo>
                <a:lnTo>
                  <a:pt x="1430" y="603"/>
                </a:lnTo>
                <a:lnTo>
                  <a:pt x="1429" y="600"/>
                </a:lnTo>
                <a:lnTo>
                  <a:pt x="1429" y="597"/>
                </a:lnTo>
                <a:lnTo>
                  <a:pt x="1429" y="595"/>
                </a:lnTo>
                <a:lnTo>
                  <a:pt x="1430" y="592"/>
                </a:lnTo>
                <a:lnTo>
                  <a:pt x="1431" y="588"/>
                </a:lnTo>
                <a:lnTo>
                  <a:pt x="1434" y="585"/>
                </a:lnTo>
                <a:lnTo>
                  <a:pt x="1437" y="583"/>
                </a:lnTo>
                <a:close/>
                <a:moveTo>
                  <a:pt x="2378" y="30"/>
                </a:moveTo>
                <a:lnTo>
                  <a:pt x="2380" y="28"/>
                </a:lnTo>
                <a:lnTo>
                  <a:pt x="2383" y="28"/>
                </a:lnTo>
                <a:lnTo>
                  <a:pt x="2389" y="28"/>
                </a:lnTo>
                <a:lnTo>
                  <a:pt x="2392" y="29"/>
                </a:lnTo>
                <a:lnTo>
                  <a:pt x="2395" y="30"/>
                </a:lnTo>
                <a:lnTo>
                  <a:pt x="2397" y="32"/>
                </a:lnTo>
                <a:lnTo>
                  <a:pt x="2399" y="35"/>
                </a:lnTo>
                <a:lnTo>
                  <a:pt x="2401" y="37"/>
                </a:lnTo>
                <a:lnTo>
                  <a:pt x="2402" y="40"/>
                </a:lnTo>
                <a:lnTo>
                  <a:pt x="2402" y="43"/>
                </a:lnTo>
                <a:lnTo>
                  <a:pt x="2402" y="47"/>
                </a:lnTo>
                <a:lnTo>
                  <a:pt x="2401" y="50"/>
                </a:lnTo>
                <a:lnTo>
                  <a:pt x="2399" y="53"/>
                </a:lnTo>
                <a:lnTo>
                  <a:pt x="2397" y="55"/>
                </a:lnTo>
                <a:lnTo>
                  <a:pt x="2394" y="57"/>
                </a:lnTo>
                <a:lnTo>
                  <a:pt x="2391" y="58"/>
                </a:lnTo>
                <a:lnTo>
                  <a:pt x="2389" y="59"/>
                </a:lnTo>
                <a:lnTo>
                  <a:pt x="2383" y="59"/>
                </a:lnTo>
                <a:lnTo>
                  <a:pt x="2380" y="58"/>
                </a:lnTo>
                <a:lnTo>
                  <a:pt x="2377" y="57"/>
                </a:lnTo>
                <a:lnTo>
                  <a:pt x="2375" y="55"/>
                </a:lnTo>
                <a:lnTo>
                  <a:pt x="2373" y="52"/>
                </a:lnTo>
                <a:lnTo>
                  <a:pt x="2371" y="50"/>
                </a:lnTo>
                <a:lnTo>
                  <a:pt x="2370" y="47"/>
                </a:lnTo>
                <a:lnTo>
                  <a:pt x="2370" y="44"/>
                </a:lnTo>
                <a:lnTo>
                  <a:pt x="2370" y="40"/>
                </a:lnTo>
                <a:lnTo>
                  <a:pt x="2371" y="37"/>
                </a:lnTo>
                <a:lnTo>
                  <a:pt x="2373" y="34"/>
                </a:lnTo>
                <a:lnTo>
                  <a:pt x="2375" y="32"/>
                </a:lnTo>
                <a:lnTo>
                  <a:pt x="2378" y="30"/>
                </a:lnTo>
                <a:close/>
                <a:moveTo>
                  <a:pt x="2236" y="8"/>
                </a:moveTo>
                <a:lnTo>
                  <a:pt x="2238" y="7"/>
                </a:lnTo>
                <a:lnTo>
                  <a:pt x="2240" y="6"/>
                </a:lnTo>
                <a:lnTo>
                  <a:pt x="2243" y="6"/>
                </a:lnTo>
                <a:lnTo>
                  <a:pt x="2245" y="6"/>
                </a:lnTo>
                <a:lnTo>
                  <a:pt x="2248" y="7"/>
                </a:lnTo>
                <a:lnTo>
                  <a:pt x="2251" y="8"/>
                </a:lnTo>
                <a:lnTo>
                  <a:pt x="2254" y="10"/>
                </a:lnTo>
                <a:lnTo>
                  <a:pt x="2256" y="12"/>
                </a:lnTo>
                <a:lnTo>
                  <a:pt x="2258" y="14"/>
                </a:lnTo>
                <a:lnTo>
                  <a:pt x="2259" y="17"/>
                </a:lnTo>
                <a:lnTo>
                  <a:pt x="2260" y="20"/>
                </a:lnTo>
                <a:lnTo>
                  <a:pt x="2260" y="23"/>
                </a:lnTo>
                <a:lnTo>
                  <a:pt x="2259" y="27"/>
                </a:lnTo>
                <a:lnTo>
                  <a:pt x="2257" y="31"/>
                </a:lnTo>
                <a:lnTo>
                  <a:pt x="2255" y="34"/>
                </a:lnTo>
                <a:lnTo>
                  <a:pt x="2252" y="36"/>
                </a:lnTo>
                <a:lnTo>
                  <a:pt x="2250" y="37"/>
                </a:lnTo>
                <a:lnTo>
                  <a:pt x="2247" y="38"/>
                </a:lnTo>
                <a:lnTo>
                  <a:pt x="2245" y="38"/>
                </a:lnTo>
                <a:lnTo>
                  <a:pt x="2242" y="38"/>
                </a:lnTo>
                <a:lnTo>
                  <a:pt x="2239" y="37"/>
                </a:lnTo>
                <a:lnTo>
                  <a:pt x="2236" y="36"/>
                </a:lnTo>
                <a:lnTo>
                  <a:pt x="2233" y="34"/>
                </a:lnTo>
                <a:lnTo>
                  <a:pt x="2231" y="32"/>
                </a:lnTo>
                <a:lnTo>
                  <a:pt x="2230" y="30"/>
                </a:lnTo>
                <a:lnTo>
                  <a:pt x="2228" y="27"/>
                </a:lnTo>
                <a:lnTo>
                  <a:pt x="2228" y="24"/>
                </a:lnTo>
                <a:lnTo>
                  <a:pt x="2228" y="20"/>
                </a:lnTo>
                <a:lnTo>
                  <a:pt x="2229" y="17"/>
                </a:lnTo>
                <a:lnTo>
                  <a:pt x="2230" y="13"/>
                </a:lnTo>
                <a:lnTo>
                  <a:pt x="2233" y="10"/>
                </a:lnTo>
                <a:lnTo>
                  <a:pt x="2236" y="8"/>
                </a:lnTo>
                <a:close/>
                <a:moveTo>
                  <a:pt x="1449" y="440"/>
                </a:moveTo>
                <a:lnTo>
                  <a:pt x="1451" y="439"/>
                </a:lnTo>
                <a:lnTo>
                  <a:pt x="1453" y="438"/>
                </a:lnTo>
                <a:lnTo>
                  <a:pt x="1456" y="437"/>
                </a:lnTo>
                <a:lnTo>
                  <a:pt x="1459" y="438"/>
                </a:lnTo>
                <a:lnTo>
                  <a:pt x="1462" y="438"/>
                </a:lnTo>
                <a:lnTo>
                  <a:pt x="1465" y="440"/>
                </a:lnTo>
                <a:lnTo>
                  <a:pt x="1467" y="441"/>
                </a:lnTo>
                <a:lnTo>
                  <a:pt x="1469" y="444"/>
                </a:lnTo>
                <a:lnTo>
                  <a:pt x="1471" y="446"/>
                </a:lnTo>
                <a:lnTo>
                  <a:pt x="1472" y="449"/>
                </a:lnTo>
                <a:lnTo>
                  <a:pt x="1473" y="452"/>
                </a:lnTo>
                <a:lnTo>
                  <a:pt x="1473" y="455"/>
                </a:lnTo>
                <a:lnTo>
                  <a:pt x="1472" y="459"/>
                </a:lnTo>
                <a:lnTo>
                  <a:pt x="1470" y="462"/>
                </a:lnTo>
                <a:lnTo>
                  <a:pt x="1468" y="465"/>
                </a:lnTo>
                <a:lnTo>
                  <a:pt x="1465" y="467"/>
                </a:lnTo>
                <a:lnTo>
                  <a:pt x="1462" y="468"/>
                </a:lnTo>
                <a:lnTo>
                  <a:pt x="1460" y="469"/>
                </a:lnTo>
                <a:lnTo>
                  <a:pt x="1457" y="469"/>
                </a:lnTo>
                <a:lnTo>
                  <a:pt x="1455" y="469"/>
                </a:lnTo>
                <a:lnTo>
                  <a:pt x="1452" y="469"/>
                </a:lnTo>
                <a:lnTo>
                  <a:pt x="1449" y="467"/>
                </a:lnTo>
                <a:lnTo>
                  <a:pt x="1446" y="466"/>
                </a:lnTo>
                <a:lnTo>
                  <a:pt x="1444" y="463"/>
                </a:lnTo>
                <a:lnTo>
                  <a:pt x="1442" y="461"/>
                </a:lnTo>
                <a:lnTo>
                  <a:pt x="1441" y="458"/>
                </a:lnTo>
                <a:lnTo>
                  <a:pt x="1441" y="455"/>
                </a:lnTo>
                <a:lnTo>
                  <a:pt x="1441" y="452"/>
                </a:lnTo>
                <a:lnTo>
                  <a:pt x="1442" y="448"/>
                </a:lnTo>
                <a:lnTo>
                  <a:pt x="1443" y="445"/>
                </a:lnTo>
                <a:lnTo>
                  <a:pt x="1446" y="442"/>
                </a:lnTo>
                <a:lnTo>
                  <a:pt x="1449" y="440"/>
                </a:lnTo>
                <a:close/>
                <a:moveTo>
                  <a:pt x="2092" y="2"/>
                </a:moveTo>
                <a:lnTo>
                  <a:pt x="2094" y="1"/>
                </a:lnTo>
                <a:lnTo>
                  <a:pt x="2096" y="1"/>
                </a:lnTo>
                <a:lnTo>
                  <a:pt x="2100" y="0"/>
                </a:lnTo>
                <a:lnTo>
                  <a:pt x="2103" y="0"/>
                </a:lnTo>
                <a:lnTo>
                  <a:pt x="2106" y="1"/>
                </a:lnTo>
                <a:lnTo>
                  <a:pt x="2107" y="2"/>
                </a:lnTo>
                <a:lnTo>
                  <a:pt x="2109" y="3"/>
                </a:lnTo>
                <a:lnTo>
                  <a:pt x="2111" y="4"/>
                </a:lnTo>
                <a:lnTo>
                  <a:pt x="2113" y="7"/>
                </a:lnTo>
                <a:lnTo>
                  <a:pt x="2115" y="9"/>
                </a:lnTo>
                <a:lnTo>
                  <a:pt x="2116" y="12"/>
                </a:lnTo>
                <a:lnTo>
                  <a:pt x="2116" y="16"/>
                </a:lnTo>
                <a:lnTo>
                  <a:pt x="2116" y="20"/>
                </a:lnTo>
                <a:lnTo>
                  <a:pt x="2115" y="22"/>
                </a:lnTo>
                <a:lnTo>
                  <a:pt x="2114" y="24"/>
                </a:lnTo>
                <a:lnTo>
                  <a:pt x="2111" y="27"/>
                </a:lnTo>
                <a:lnTo>
                  <a:pt x="2108" y="30"/>
                </a:lnTo>
                <a:lnTo>
                  <a:pt x="2106" y="31"/>
                </a:lnTo>
                <a:lnTo>
                  <a:pt x="2104" y="31"/>
                </a:lnTo>
                <a:lnTo>
                  <a:pt x="2100" y="32"/>
                </a:lnTo>
                <a:lnTo>
                  <a:pt x="2097" y="32"/>
                </a:lnTo>
                <a:lnTo>
                  <a:pt x="2094" y="31"/>
                </a:lnTo>
                <a:lnTo>
                  <a:pt x="2093" y="30"/>
                </a:lnTo>
                <a:lnTo>
                  <a:pt x="2091" y="29"/>
                </a:lnTo>
                <a:lnTo>
                  <a:pt x="2089" y="28"/>
                </a:lnTo>
                <a:lnTo>
                  <a:pt x="2087" y="25"/>
                </a:lnTo>
                <a:lnTo>
                  <a:pt x="2085" y="23"/>
                </a:lnTo>
                <a:lnTo>
                  <a:pt x="2084" y="20"/>
                </a:lnTo>
                <a:lnTo>
                  <a:pt x="2084" y="16"/>
                </a:lnTo>
                <a:lnTo>
                  <a:pt x="2085" y="12"/>
                </a:lnTo>
                <a:lnTo>
                  <a:pt x="2085" y="10"/>
                </a:lnTo>
                <a:lnTo>
                  <a:pt x="2086" y="8"/>
                </a:lnTo>
                <a:lnTo>
                  <a:pt x="2089" y="5"/>
                </a:lnTo>
                <a:lnTo>
                  <a:pt x="2092" y="2"/>
                </a:lnTo>
                <a:close/>
                <a:moveTo>
                  <a:pt x="1480" y="300"/>
                </a:moveTo>
                <a:lnTo>
                  <a:pt x="1483" y="298"/>
                </a:lnTo>
                <a:lnTo>
                  <a:pt x="1487" y="298"/>
                </a:lnTo>
                <a:lnTo>
                  <a:pt x="1490" y="298"/>
                </a:lnTo>
                <a:lnTo>
                  <a:pt x="1494" y="299"/>
                </a:lnTo>
                <a:lnTo>
                  <a:pt x="1497" y="300"/>
                </a:lnTo>
                <a:lnTo>
                  <a:pt x="1499" y="302"/>
                </a:lnTo>
                <a:lnTo>
                  <a:pt x="1501" y="304"/>
                </a:lnTo>
                <a:lnTo>
                  <a:pt x="1503" y="307"/>
                </a:lnTo>
                <a:lnTo>
                  <a:pt x="1504" y="310"/>
                </a:lnTo>
                <a:lnTo>
                  <a:pt x="1504" y="313"/>
                </a:lnTo>
                <a:lnTo>
                  <a:pt x="1504" y="316"/>
                </a:lnTo>
                <a:lnTo>
                  <a:pt x="1503" y="319"/>
                </a:lnTo>
                <a:lnTo>
                  <a:pt x="1500" y="324"/>
                </a:lnTo>
                <a:lnTo>
                  <a:pt x="1496" y="327"/>
                </a:lnTo>
                <a:lnTo>
                  <a:pt x="1493" y="329"/>
                </a:lnTo>
                <a:lnTo>
                  <a:pt x="1490" y="330"/>
                </a:lnTo>
                <a:lnTo>
                  <a:pt x="1486" y="329"/>
                </a:lnTo>
                <a:lnTo>
                  <a:pt x="1483" y="329"/>
                </a:lnTo>
                <a:lnTo>
                  <a:pt x="1480" y="327"/>
                </a:lnTo>
                <a:lnTo>
                  <a:pt x="1477" y="325"/>
                </a:lnTo>
                <a:lnTo>
                  <a:pt x="1475" y="323"/>
                </a:lnTo>
                <a:lnTo>
                  <a:pt x="1474" y="320"/>
                </a:lnTo>
                <a:lnTo>
                  <a:pt x="1473" y="317"/>
                </a:lnTo>
                <a:lnTo>
                  <a:pt x="1472" y="314"/>
                </a:lnTo>
                <a:lnTo>
                  <a:pt x="1472" y="311"/>
                </a:lnTo>
                <a:lnTo>
                  <a:pt x="1473" y="308"/>
                </a:lnTo>
                <a:lnTo>
                  <a:pt x="1476" y="303"/>
                </a:lnTo>
                <a:lnTo>
                  <a:pt x="1480" y="300"/>
                </a:lnTo>
                <a:close/>
                <a:moveTo>
                  <a:pt x="1949" y="15"/>
                </a:moveTo>
                <a:lnTo>
                  <a:pt x="1951" y="14"/>
                </a:lnTo>
                <a:lnTo>
                  <a:pt x="1954" y="13"/>
                </a:lnTo>
                <a:lnTo>
                  <a:pt x="1958" y="13"/>
                </a:lnTo>
                <a:lnTo>
                  <a:pt x="1961" y="13"/>
                </a:lnTo>
                <a:lnTo>
                  <a:pt x="1964" y="14"/>
                </a:lnTo>
                <a:lnTo>
                  <a:pt x="1966" y="16"/>
                </a:lnTo>
                <a:lnTo>
                  <a:pt x="1969" y="18"/>
                </a:lnTo>
                <a:lnTo>
                  <a:pt x="1970" y="20"/>
                </a:lnTo>
                <a:lnTo>
                  <a:pt x="1972" y="23"/>
                </a:lnTo>
                <a:lnTo>
                  <a:pt x="1972" y="25"/>
                </a:lnTo>
                <a:lnTo>
                  <a:pt x="1973" y="26"/>
                </a:lnTo>
                <a:lnTo>
                  <a:pt x="1973" y="31"/>
                </a:lnTo>
                <a:lnTo>
                  <a:pt x="1972" y="33"/>
                </a:lnTo>
                <a:lnTo>
                  <a:pt x="1971" y="36"/>
                </a:lnTo>
                <a:lnTo>
                  <a:pt x="1970" y="38"/>
                </a:lnTo>
                <a:lnTo>
                  <a:pt x="1969" y="40"/>
                </a:lnTo>
                <a:lnTo>
                  <a:pt x="1967" y="41"/>
                </a:lnTo>
                <a:lnTo>
                  <a:pt x="1965" y="42"/>
                </a:lnTo>
                <a:lnTo>
                  <a:pt x="1962" y="44"/>
                </a:lnTo>
                <a:lnTo>
                  <a:pt x="1959" y="44"/>
                </a:lnTo>
                <a:lnTo>
                  <a:pt x="1956" y="45"/>
                </a:lnTo>
                <a:lnTo>
                  <a:pt x="1953" y="44"/>
                </a:lnTo>
                <a:lnTo>
                  <a:pt x="1950" y="43"/>
                </a:lnTo>
                <a:lnTo>
                  <a:pt x="1947" y="42"/>
                </a:lnTo>
                <a:lnTo>
                  <a:pt x="1945" y="40"/>
                </a:lnTo>
                <a:lnTo>
                  <a:pt x="1943" y="37"/>
                </a:lnTo>
                <a:lnTo>
                  <a:pt x="1942" y="34"/>
                </a:lnTo>
                <a:lnTo>
                  <a:pt x="1941" y="33"/>
                </a:lnTo>
                <a:lnTo>
                  <a:pt x="1941" y="31"/>
                </a:lnTo>
                <a:lnTo>
                  <a:pt x="1941" y="26"/>
                </a:lnTo>
                <a:lnTo>
                  <a:pt x="1942" y="24"/>
                </a:lnTo>
                <a:lnTo>
                  <a:pt x="1942" y="22"/>
                </a:lnTo>
                <a:lnTo>
                  <a:pt x="1944" y="20"/>
                </a:lnTo>
                <a:lnTo>
                  <a:pt x="1945" y="18"/>
                </a:lnTo>
                <a:lnTo>
                  <a:pt x="1947" y="16"/>
                </a:lnTo>
                <a:lnTo>
                  <a:pt x="1949" y="15"/>
                </a:lnTo>
                <a:close/>
                <a:moveTo>
                  <a:pt x="1809" y="47"/>
                </a:moveTo>
                <a:lnTo>
                  <a:pt x="1812" y="46"/>
                </a:lnTo>
                <a:lnTo>
                  <a:pt x="1815" y="45"/>
                </a:lnTo>
                <a:lnTo>
                  <a:pt x="1819" y="45"/>
                </a:lnTo>
                <a:lnTo>
                  <a:pt x="1822" y="46"/>
                </a:lnTo>
                <a:lnTo>
                  <a:pt x="1824" y="47"/>
                </a:lnTo>
                <a:lnTo>
                  <a:pt x="1827" y="49"/>
                </a:lnTo>
                <a:lnTo>
                  <a:pt x="1829" y="51"/>
                </a:lnTo>
                <a:lnTo>
                  <a:pt x="1831" y="53"/>
                </a:lnTo>
                <a:lnTo>
                  <a:pt x="1832" y="56"/>
                </a:lnTo>
                <a:lnTo>
                  <a:pt x="1833" y="62"/>
                </a:lnTo>
                <a:lnTo>
                  <a:pt x="1833" y="65"/>
                </a:lnTo>
                <a:lnTo>
                  <a:pt x="1832" y="67"/>
                </a:lnTo>
                <a:lnTo>
                  <a:pt x="1831" y="69"/>
                </a:lnTo>
                <a:lnTo>
                  <a:pt x="1829" y="72"/>
                </a:lnTo>
                <a:lnTo>
                  <a:pt x="1825" y="75"/>
                </a:lnTo>
                <a:lnTo>
                  <a:pt x="1822" y="76"/>
                </a:lnTo>
                <a:lnTo>
                  <a:pt x="1819" y="77"/>
                </a:lnTo>
                <a:lnTo>
                  <a:pt x="1815" y="77"/>
                </a:lnTo>
                <a:lnTo>
                  <a:pt x="1812" y="77"/>
                </a:lnTo>
                <a:lnTo>
                  <a:pt x="1810" y="75"/>
                </a:lnTo>
                <a:lnTo>
                  <a:pt x="1807" y="74"/>
                </a:lnTo>
                <a:lnTo>
                  <a:pt x="1805" y="72"/>
                </a:lnTo>
                <a:lnTo>
                  <a:pt x="1803" y="69"/>
                </a:lnTo>
                <a:lnTo>
                  <a:pt x="1802" y="66"/>
                </a:lnTo>
                <a:lnTo>
                  <a:pt x="1801" y="60"/>
                </a:lnTo>
                <a:lnTo>
                  <a:pt x="1801" y="58"/>
                </a:lnTo>
                <a:lnTo>
                  <a:pt x="1802" y="55"/>
                </a:lnTo>
                <a:lnTo>
                  <a:pt x="1803" y="53"/>
                </a:lnTo>
                <a:lnTo>
                  <a:pt x="1805" y="51"/>
                </a:lnTo>
                <a:lnTo>
                  <a:pt x="1809" y="47"/>
                </a:lnTo>
                <a:close/>
                <a:moveTo>
                  <a:pt x="1557" y="180"/>
                </a:moveTo>
                <a:lnTo>
                  <a:pt x="1560" y="179"/>
                </a:lnTo>
                <a:lnTo>
                  <a:pt x="1562" y="179"/>
                </a:lnTo>
                <a:lnTo>
                  <a:pt x="1565" y="178"/>
                </a:lnTo>
                <a:lnTo>
                  <a:pt x="1567" y="178"/>
                </a:lnTo>
                <a:lnTo>
                  <a:pt x="1570" y="179"/>
                </a:lnTo>
                <a:lnTo>
                  <a:pt x="1572" y="180"/>
                </a:lnTo>
                <a:lnTo>
                  <a:pt x="1575" y="181"/>
                </a:lnTo>
                <a:lnTo>
                  <a:pt x="1577" y="183"/>
                </a:lnTo>
                <a:lnTo>
                  <a:pt x="1579" y="186"/>
                </a:lnTo>
                <a:lnTo>
                  <a:pt x="1580" y="188"/>
                </a:lnTo>
                <a:lnTo>
                  <a:pt x="1581" y="191"/>
                </a:lnTo>
                <a:lnTo>
                  <a:pt x="1581" y="194"/>
                </a:lnTo>
                <a:lnTo>
                  <a:pt x="1581" y="197"/>
                </a:lnTo>
                <a:lnTo>
                  <a:pt x="1580" y="200"/>
                </a:lnTo>
                <a:lnTo>
                  <a:pt x="1579" y="203"/>
                </a:lnTo>
                <a:lnTo>
                  <a:pt x="1577" y="206"/>
                </a:lnTo>
                <a:lnTo>
                  <a:pt x="1573" y="208"/>
                </a:lnTo>
                <a:lnTo>
                  <a:pt x="1571" y="209"/>
                </a:lnTo>
                <a:lnTo>
                  <a:pt x="1568" y="210"/>
                </a:lnTo>
                <a:lnTo>
                  <a:pt x="1566" y="210"/>
                </a:lnTo>
                <a:lnTo>
                  <a:pt x="1563" y="210"/>
                </a:lnTo>
                <a:lnTo>
                  <a:pt x="1561" y="210"/>
                </a:lnTo>
                <a:lnTo>
                  <a:pt x="1558" y="209"/>
                </a:lnTo>
                <a:lnTo>
                  <a:pt x="1556" y="207"/>
                </a:lnTo>
                <a:lnTo>
                  <a:pt x="1554" y="206"/>
                </a:lnTo>
                <a:lnTo>
                  <a:pt x="1552" y="203"/>
                </a:lnTo>
                <a:lnTo>
                  <a:pt x="1550" y="200"/>
                </a:lnTo>
                <a:lnTo>
                  <a:pt x="1550" y="197"/>
                </a:lnTo>
                <a:lnTo>
                  <a:pt x="1549" y="194"/>
                </a:lnTo>
                <a:lnTo>
                  <a:pt x="1550" y="191"/>
                </a:lnTo>
                <a:lnTo>
                  <a:pt x="1551" y="188"/>
                </a:lnTo>
                <a:lnTo>
                  <a:pt x="1552" y="185"/>
                </a:lnTo>
                <a:lnTo>
                  <a:pt x="1554" y="183"/>
                </a:lnTo>
                <a:lnTo>
                  <a:pt x="1557" y="180"/>
                </a:lnTo>
                <a:close/>
                <a:moveTo>
                  <a:pt x="1675" y="100"/>
                </a:moveTo>
                <a:lnTo>
                  <a:pt x="1678" y="98"/>
                </a:lnTo>
                <a:lnTo>
                  <a:pt x="1682" y="98"/>
                </a:lnTo>
                <a:lnTo>
                  <a:pt x="1685" y="98"/>
                </a:lnTo>
                <a:lnTo>
                  <a:pt x="1688" y="98"/>
                </a:lnTo>
                <a:lnTo>
                  <a:pt x="1691" y="100"/>
                </a:lnTo>
                <a:lnTo>
                  <a:pt x="1694" y="101"/>
                </a:lnTo>
                <a:lnTo>
                  <a:pt x="1696" y="104"/>
                </a:lnTo>
                <a:lnTo>
                  <a:pt x="1697" y="106"/>
                </a:lnTo>
                <a:lnTo>
                  <a:pt x="1699" y="109"/>
                </a:lnTo>
                <a:lnTo>
                  <a:pt x="1699" y="112"/>
                </a:lnTo>
                <a:lnTo>
                  <a:pt x="1699" y="115"/>
                </a:lnTo>
                <a:lnTo>
                  <a:pt x="1698" y="118"/>
                </a:lnTo>
                <a:lnTo>
                  <a:pt x="1697" y="121"/>
                </a:lnTo>
                <a:lnTo>
                  <a:pt x="1696" y="123"/>
                </a:lnTo>
                <a:lnTo>
                  <a:pt x="1694" y="126"/>
                </a:lnTo>
                <a:lnTo>
                  <a:pt x="1691" y="127"/>
                </a:lnTo>
                <a:lnTo>
                  <a:pt x="1688" y="129"/>
                </a:lnTo>
                <a:lnTo>
                  <a:pt x="1684" y="129"/>
                </a:lnTo>
                <a:lnTo>
                  <a:pt x="1681" y="129"/>
                </a:lnTo>
                <a:lnTo>
                  <a:pt x="1678" y="129"/>
                </a:lnTo>
                <a:lnTo>
                  <a:pt x="1675" y="127"/>
                </a:lnTo>
                <a:lnTo>
                  <a:pt x="1673" y="125"/>
                </a:lnTo>
                <a:lnTo>
                  <a:pt x="1670" y="123"/>
                </a:lnTo>
                <a:lnTo>
                  <a:pt x="1669" y="120"/>
                </a:lnTo>
                <a:lnTo>
                  <a:pt x="1668" y="118"/>
                </a:lnTo>
                <a:lnTo>
                  <a:pt x="1667" y="115"/>
                </a:lnTo>
                <a:lnTo>
                  <a:pt x="1667" y="112"/>
                </a:lnTo>
                <a:lnTo>
                  <a:pt x="1668" y="109"/>
                </a:lnTo>
                <a:lnTo>
                  <a:pt x="1669" y="106"/>
                </a:lnTo>
                <a:lnTo>
                  <a:pt x="1670" y="104"/>
                </a:lnTo>
                <a:lnTo>
                  <a:pt x="1673" y="101"/>
                </a:lnTo>
                <a:lnTo>
                  <a:pt x="1675" y="100"/>
                </a:lnTo>
                <a:close/>
                <a:moveTo>
                  <a:pt x="4769" y="1270"/>
                </a:moveTo>
                <a:lnTo>
                  <a:pt x="4772" y="1269"/>
                </a:lnTo>
                <a:lnTo>
                  <a:pt x="4775" y="1268"/>
                </a:lnTo>
                <a:lnTo>
                  <a:pt x="4780" y="1268"/>
                </a:lnTo>
                <a:lnTo>
                  <a:pt x="4783" y="1269"/>
                </a:lnTo>
                <a:lnTo>
                  <a:pt x="4786" y="1271"/>
                </a:lnTo>
                <a:lnTo>
                  <a:pt x="4789" y="1273"/>
                </a:lnTo>
                <a:lnTo>
                  <a:pt x="4790" y="1275"/>
                </a:lnTo>
                <a:lnTo>
                  <a:pt x="4792" y="1278"/>
                </a:lnTo>
                <a:lnTo>
                  <a:pt x="4793" y="1281"/>
                </a:lnTo>
                <a:lnTo>
                  <a:pt x="4793" y="1284"/>
                </a:lnTo>
                <a:lnTo>
                  <a:pt x="4793" y="1287"/>
                </a:lnTo>
                <a:lnTo>
                  <a:pt x="4792" y="1290"/>
                </a:lnTo>
                <a:lnTo>
                  <a:pt x="4790" y="1293"/>
                </a:lnTo>
                <a:lnTo>
                  <a:pt x="4788" y="1296"/>
                </a:lnTo>
                <a:lnTo>
                  <a:pt x="4785" y="1298"/>
                </a:lnTo>
                <a:lnTo>
                  <a:pt x="4783" y="1299"/>
                </a:lnTo>
                <a:lnTo>
                  <a:pt x="4780" y="1300"/>
                </a:lnTo>
                <a:lnTo>
                  <a:pt x="4777" y="1300"/>
                </a:lnTo>
                <a:lnTo>
                  <a:pt x="4774" y="1299"/>
                </a:lnTo>
                <a:lnTo>
                  <a:pt x="4771" y="1298"/>
                </a:lnTo>
                <a:lnTo>
                  <a:pt x="4768" y="1297"/>
                </a:lnTo>
                <a:lnTo>
                  <a:pt x="4766" y="1295"/>
                </a:lnTo>
                <a:lnTo>
                  <a:pt x="4764" y="1293"/>
                </a:lnTo>
                <a:lnTo>
                  <a:pt x="4762" y="1290"/>
                </a:lnTo>
                <a:lnTo>
                  <a:pt x="4762" y="1287"/>
                </a:lnTo>
                <a:lnTo>
                  <a:pt x="4761" y="1284"/>
                </a:lnTo>
                <a:lnTo>
                  <a:pt x="4762" y="1281"/>
                </a:lnTo>
                <a:lnTo>
                  <a:pt x="4763" y="1277"/>
                </a:lnTo>
                <a:lnTo>
                  <a:pt x="4764" y="1275"/>
                </a:lnTo>
                <a:lnTo>
                  <a:pt x="4767" y="1272"/>
                </a:lnTo>
                <a:lnTo>
                  <a:pt x="4769" y="1270"/>
                </a:lnTo>
                <a:close/>
                <a:moveTo>
                  <a:pt x="4629" y="1238"/>
                </a:moveTo>
                <a:lnTo>
                  <a:pt x="4631" y="1237"/>
                </a:lnTo>
                <a:lnTo>
                  <a:pt x="4634" y="1237"/>
                </a:lnTo>
                <a:lnTo>
                  <a:pt x="4637" y="1236"/>
                </a:lnTo>
                <a:lnTo>
                  <a:pt x="4640" y="1237"/>
                </a:lnTo>
                <a:lnTo>
                  <a:pt x="4643" y="1238"/>
                </a:lnTo>
                <a:lnTo>
                  <a:pt x="4646" y="1239"/>
                </a:lnTo>
                <a:lnTo>
                  <a:pt x="4648" y="1242"/>
                </a:lnTo>
                <a:lnTo>
                  <a:pt x="4650" y="1244"/>
                </a:lnTo>
                <a:lnTo>
                  <a:pt x="4651" y="1247"/>
                </a:lnTo>
                <a:lnTo>
                  <a:pt x="4652" y="1250"/>
                </a:lnTo>
                <a:lnTo>
                  <a:pt x="4652" y="1253"/>
                </a:lnTo>
                <a:lnTo>
                  <a:pt x="4652" y="1256"/>
                </a:lnTo>
                <a:lnTo>
                  <a:pt x="4651" y="1259"/>
                </a:lnTo>
                <a:lnTo>
                  <a:pt x="4649" y="1262"/>
                </a:lnTo>
                <a:lnTo>
                  <a:pt x="4647" y="1264"/>
                </a:lnTo>
                <a:lnTo>
                  <a:pt x="4644" y="1266"/>
                </a:lnTo>
                <a:lnTo>
                  <a:pt x="4642" y="1267"/>
                </a:lnTo>
                <a:lnTo>
                  <a:pt x="4639" y="1268"/>
                </a:lnTo>
                <a:lnTo>
                  <a:pt x="4636" y="1268"/>
                </a:lnTo>
                <a:lnTo>
                  <a:pt x="4633" y="1268"/>
                </a:lnTo>
                <a:lnTo>
                  <a:pt x="4630" y="1267"/>
                </a:lnTo>
                <a:lnTo>
                  <a:pt x="4627" y="1265"/>
                </a:lnTo>
                <a:lnTo>
                  <a:pt x="4625" y="1263"/>
                </a:lnTo>
                <a:lnTo>
                  <a:pt x="4623" y="1260"/>
                </a:lnTo>
                <a:lnTo>
                  <a:pt x="4622" y="1258"/>
                </a:lnTo>
                <a:lnTo>
                  <a:pt x="4621" y="1255"/>
                </a:lnTo>
                <a:lnTo>
                  <a:pt x="4621" y="1252"/>
                </a:lnTo>
                <a:lnTo>
                  <a:pt x="4621" y="1248"/>
                </a:lnTo>
                <a:lnTo>
                  <a:pt x="4622" y="1245"/>
                </a:lnTo>
                <a:lnTo>
                  <a:pt x="4624" y="1243"/>
                </a:lnTo>
                <a:lnTo>
                  <a:pt x="4626" y="1240"/>
                </a:lnTo>
                <a:lnTo>
                  <a:pt x="4629" y="1238"/>
                </a:lnTo>
                <a:close/>
                <a:moveTo>
                  <a:pt x="4489" y="1202"/>
                </a:moveTo>
                <a:lnTo>
                  <a:pt x="4492" y="1201"/>
                </a:lnTo>
                <a:lnTo>
                  <a:pt x="4495" y="1200"/>
                </a:lnTo>
                <a:lnTo>
                  <a:pt x="4498" y="1200"/>
                </a:lnTo>
                <a:lnTo>
                  <a:pt x="4501" y="1201"/>
                </a:lnTo>
                <a:lnTo>
                  <a:pt x="4504" y="1202"/>
                </a:lnTo>
                <a:lnTo>
                  <a:pt x="4507" y="1203"/>
                </a:lnTo>
                <a:lnTo>
                  <a:pt x="4509" y="1206"/>
                </a:lnTo>
                <a:lnTo>
                  <a:pt x="4511" y="1208"/>
                </a:lnTo>
                <a:lnTo>
                  <a:pt x="4512" y="1211"/>
                </a:lnTo>
                <a:lnTo>
                  <a:pt x="4513" y="1214"/>
                </a:lnTo>
                <a:lnTo>
                  <a:pt x="4513" y="1217"/>
                </a:lnTo>
                <a:lnTo>
                  <a:pt x="4512" y="1220"/>
                </a:lnTo>
                <a:lnTo>
                  <a:pt x="4511" y="1223"/>
                </a:lnTo>
                <a:lnTo>
                  <a:pt x="4509" y="1226"/>
                </a:lnTo>
                <a:lnTo>
                  <a:pt x="4507" y="1228"/>
                </a:lnTo>
                <a:lnTo>
                  <a:pt x="4505" y="1230"/>
                </a:lnTo>
                <a:lnTo>
                  <a:pt x="4502" y="1231"/>
                </a:lnTo>
                <a:lnTo>
                  <a:pt x="4499" y="1232"/>
                </a:lnTo>
                <a:lnTo>
                  <a:pt x="4496" y="1232"/>
                </a:lnTo>
                <a:lnTo>
                  <a:pt x="4493" y="1231"/>
                </a:lnTo>
                <a:lnTo>
                  <a:pt x="4490" y="1230"/>
                </a:lnTo>
                <a:lnTo>
                  <a:pt x="4487" y="1228"/>
                </a:lnTo>
                <a:lnTo>
                  <a:pt x="4485" y="1226"/>
                </a:lnTo>
                <a:lnTo>
                  <a:pt x="4483" y="1224"/>
                </a:lnTo>
                <a:lnTo>
                  <a:pt x="4482" y="1221"/>
                </a:lnTo>
                <a:lnTo>
                  <a:pt x="4481" y="1218"/>
                </a:lnTo>
                <a:lnTo>
                  <a:pt x="4481" y="1215"/>
                </a:lnTo>
                <a:lnTo>
                  <a:pt x="4482" y="1212"/>
                </a:lnTo>
                <a:lnTo>
                  <a:pt x="4483" y="1209"/>
                </a:lnTo>
                <a:lnTo>
                  <a:pt x="4485" y="1206"/>
                </a:lnTo>
                <a:lnTo>
                  <a:pt x="4487" y="1204"/>
                </a:lnTo>
                <a:lnTo>
                  <a:pt x="4489" y="1202"/>
                </a:lnTo>
                <a:close/>
                <a:moveTo>
                  <a:pt x="4351" y="1161"/>
                </a:moveTo>
                <a:lnTo>
                  <a:pt x="4354" y="1159"/>
                </a:lnTo>
                <a:lnTo>
                  <a:pt x="4357" y="1158"/>
                </a:lnTo>
                <a:lnTo>
                  <a:pt x="4361" y="1158"/>
                </a:lnTo>
                <a:lnTo>
                  <a:pt x="4364" y="1159"/>
                </a:lnTo>
                <a:lnTo>
                  <a:pt x="4367" y="1160"/>
                </a:lnTo>
                <a:lnTo>
                  <a:pt x="4369" y="1162"/>
                </a:lnTo>
                <a:lnTo>
                  <a:pt x="4372" y="1164"/>
                </a:lnTo>
                <a:lnTo>
                  <a:pt x="4373" y="1167"/>
                </a:lnTo>
                <a:lnTo>
                  <a:pt x="4374" y="1170"/>
                </a:lnTo>
                <a:lnTo>
                  <a:pt x="4375" y="1173"/>
                </a:lnTo>
                <a:lnTo>
                  <a:pt x="4375" y="1176"/>
                </a:lnTo>
                <a:lnTo>
                  <a:pt x="4374" y="1179"/>
                </a:lnTo>
                <a:lnTo>
                  <a:pt x="4373" y="1182"/>
                </a:lnTo>
                <a:lnTo>
                  <a:pt x="4371" y="1184"/>
                </a:lnTo>
                <a:lnTo>
                  <a:pt x="4369" y="1186"/>
                </a:lnTo>
                <a:lnTo>
                  <a:pt x="4367" y="1188"/>
                </a:lnTo>
                <a:lnTo>
                  <a:pt x="4364" y="1189"/>
                </a:lnTo>
                <a:lnTo>
                  <a:pt x="4361" y="1190"/>
                </a:lnTo>
                <a:lnTo>
                  <a:pt x="4357" y="1190"/>
                </a:lnTo>
                <a:lnTo>
                  <a:pt x="4354" y="1189"/>
                </a:lnTo>
                <a:lnTo>
                  <a:pt x="4351" y="1188"/>
                </a:lnTo>
                <a:lnTo>
                  <a:pt x="4349" y="1186"/>
                </a:lnTo>
                <a:lnTo>
                  <a:pt x="4347" y="1184"/>
                </a:lnTo>
                <a:lnTo>
                  <a:pt x="4345" y="1181"/>
                </a:lnTo>
                <a:lnTo>
                  <a:pt x="4344" y="1179"/>
                </a:lnTo>
                <a:lnTo>
                  <a:pt x="4343" y="1176"/>
                </a:lnTo>
                <a:lnTo>
                  <a:pt x="4343" y="1172"/>
                </a:lnTo>
                <a:lnTo>
                  <a:pt x="4344" y="1169"/>
                </a:lnTo>
                <a:lnTo>
                  <a:pt x="4345" y="1167"/>
                </a:lnTo>
                <a:lnTo>
                  <a:pt x="4347" y="1164"/>
                </a:lnTo>
                <a:lnTo>
                  <a:pt x="4349" y="1162"/>
                </a:lnTo>
                <a:lnTo>
                  <a:pt x="4351" y="1161"/>
                </a:lnTo>
                <a:close/>
                <a:moveTo>
                  <a:pt x="4215" y="1112"/>
                </a:moveTo>
                <a:lnTo>
                  <a:pt x="4218" y="1111"/>
                </a:lnTo>
                <a:lnTo>
                  <a:pt x="4222" y="1110"/>
                </a:lnTo>
                <a:lnTo>
                  <a:pt x="4225" y="1111"/>
                </a:lnTo>
                <a:lnTo>
                  <a:pt x="4229" y="1111"/>
                </a:lnTo>
                <a:lnTo>
                  <a:pt x="4232" y="1113"/>
                </a:lnTo>
                <a:lnTo>
                  <a:pt x="4234" y="1115"/>
                </a:lnTo>
                <a:lnTo>
                  <a:pt x="4236" y="1117"/>
                </a:lnTo>
                <a:lnTo>
                  <a:pt x="4238" y="1120"/>
                </a:lnTo>
                <a:lnTo>
                  <a:pt x="4239" y="1123"/>
                </a:lnTo>
                <a:lnTo>
                  <a:pt x="4239" y="1126"/>
                </a:lnTo>
                <a:lnTo>
                  <a:pt x="4239" y="1129"/>
                </a:lnTo>
                <a:lnTo>
                  <a:pt x="4238" y="1132"/>
                </a:lnTo>
                <a:lnTo>
                  <a:pt x="4235" y="1137"/>
                </a:lnTo>
                <a:lnTo>
                  <a:pt x="4233" y="1138"/>
                </a:lnTo>
                <a:lnTo>
                  <a:pt x="4231" y="1140"/>
                </a:lnTo>
                <a:lnTo>
                  <a:pt x="4228" y="1141"/>
                </a:lnTo>
                <a:lnTo>
                  <a:pt x="4224" y="1142"/>
                </a:lnTo>
                <a:lnTo>
                  <a:pt x="4221" y="1142"/>
                </a:lnTo>
                <a:lnTo>
                  <a:pt x="4217" y="1141"/>
                </a:lnTo>
                <a:lnTo>
                  <a:pt x="4215" y="1140"/>
                </a:lnTo>
                <a:lnTo>
                  <a:pt x="4212" y="1138"/>
                </a:lnTo>
                <a:lnTo>
                  <a:pt x="4210" y="1135"/>
                </a:lnTo>
                <a:lnTo>
                  <a:pt x="4209" y="1133"/>
                </a:lnTo>
                <a:lnTo>
                  <a:pt x="4208" y="1130"/>
                </a:lnTo>
                <a:lnTo>
                  <a:pt x="4207" y="1127"/>
                </a:lnTo>
                <a:lnTo>
                  <a:pt x="4207" y="1124"/>
                </a:lnTo>
                <a:lnTo>
                  <a:pt x="4208" y="1121"/>
                </a:lnTo>
                <a:lnTo>
                  <a:pt x="4211" y="1116"/>
                </a:lnTo>
                <a:lnTo>
                  <a:pt x="4213" y="1114"/>
                </a:lnTo>
                <a:lnTo>
                  <a:pt x="4215" y="1112"/>
                </a:lnTo>
                <a:close/>
                <a:moveTo>
                  <a:pt x="4082" y="1057"/>
                </a:moveTo>
                <a:lnTo>
                  <a:pt x="4086" y="1055"/>
                </a:lnTo>
                <a:lnTo>
                  <a:pt x="4089" y="1054"/>
                </a:lnTo>
                <a:lnTo>
                  <a:pt x="4093" y="1055"/>
                </a:lnTo>
                <a:lnTo>
                  <a:pt x="4097" y="1056"/>
                </a:lnTo>
                <a:lnTo>
                  <a:pt x="4100" y="1058"/>
                </a:lnTo>
                <a:lnTo>
                  <a:pt x="4102" y="1060"/>
                </a:lnTo>
                <a:lnTo>
                  <a:pt x="4104" y="1062"/>
                </a:lnTo>
                <a:lnTo>
                  <a:pt x="4105" y="1065"/>
                </a:lnTo>
                <a:lnTo>
                  <a:pt x="4106" y="1068"/>
                </a:lnTo>
                <a:lnTo>
                  <a:pt x="4106" y="1071"/>
                </a:lnTo>
                <a:lnTo>
                  <a:pt x="4106" y="1074"/>
                </a:lnTo>
                <a:lnTo>
                  <a:pt x="4105" y="1077"/>
                </a:lnTo>
                <a:lnTo>
                  <a:pt x="4102" y="1081"/>
                </a:lnTo>
                <a:lnTo>
                  <a:pt x="4100" y="1083"/>
                </a:lnTo>
                <a:lnTo>
                  <a:pt x="4098" y="1084"/>
                </a:lnTo>
                <a:lnTo>
                  <a:pt x="4095" y="1085"/>
                </a:lnTo>
                <a:lnTo>
                  <a:pt x="4091" y="1086"/>
                </a:lnTo>
                <a:lnTo>
                  <a:pt x="4087" y="1086"/>
                </a:lnTo>
                <a:lnTo>
                  <a:pt x="4084" y="1085"/>
                </a:lnTo>
                <a:lnTo>
                  <a:pt x="4081" y="1083"/>
                </a:lnTo>
                <a:lnTo>
                  <a:pt x="4079" y="1081"/>
                </a:lnTo>
                <a:lnTo>
                  <a:pt x="4077" y="1078"/>
                </a:lnTo>
                <a:lnTo>
                  <a:pt x="4075" y="1076"/>
                </a:lnTo>
                <a:lnTo>
                  <a:pt x="4075" y="1073"/>
                </a:lnTo>
                <a:lnTo>
                  <a:pt x="4074" y="1070"/>
                </a:lnTo>
                <a:lnTo>
                  <a:pt x="4075" y="1067"/>
                </a:lnTo>
                <a:lnTo>
                  <a:pt x="4076" y="1064"/>
                </a:lnTo>
                <a:lnTo>
                  <a:pt x="4079" y="1059"/>
                </a:lnTo>
                <a:lnTo>
                  <a:pt x="4080" y="1058"/>
                </a:lnTo>
                <a:lnTo>
                  <a:pt x="4082" y="1057"/>
                </a:lnTo>
                <a:close/>
                <a:moveTo>
                  <a:pt x="3954" y="990"/>
                </a:moveTo>
                <a:lnTo>
                  <a:pt x="3957" y="988"/>
                </a:lnTo>
                <a:lnTo>
                  <a:pt x="3961" y="988"/>
                </a:lnTo>
                <a:lnTo>
                  <a:pt x="3965" y="988"/>
                </a:lnTo>
                <a:lnTo>
                  <a:pt x="3969" y="990"/>
                </a:lnTo>
                <a:lnTo>
                  <a:pt x="3972" y="992"/>
                </a:lnTo>
                <a:lnTo>
                  <a:pt x="3974" y="994"/>
                </a:lnTo>
                <a:lnTo>
                  <a:pt x="3976" y="997"/>
                </a:lnTo>
                <a:lnTo>
                  <a:pt x="3977" y="1000"/>
                </a:lnTo>
                <a:lnTo>
                  <a:pt x="3977" y="1003"/>
                </a:lnTo>
                <a:lnTo>
                  <a:pt x="3977" y="1006"/>
                </a:lnTo>
                <a:lnTo>
                  <a:pt x="3977" y="1009"/>
                </a:lnTo>
                <a:lnTo>
                  <a:pt x="3975" y="1012"/>
                </a:lnTo>
                <a:lnTo>
                  <a:pt x="3974" y="1013"/>
                </a:lnTo>
                <a:lnTo>
                  <a:pt x="3973" y="1015"/>
                </a:lnTo>
                <a:lnTo>
                  <a:pt x="3969" y="1017"/>
                </a:lnTo>
                <a:lnTo>
                  <a:pt x="3966" y="1019"/>
                </a:lnTo>
                <a:lnTo>
                  <a:pt x="3962" y="1020"/>
                </a:lnTo>
                <a:lnTo>
                  <a:pt x="3958" y="1019"/>
                </a:lnTo>
                <a:lnTo>
                  <a:pt x="3954" y="1017"/>
                </a:lnTo>
                <a:lnTo>
                  <a:pt x="3951" y="1016"/>
                </a:lnTo>
                <a:lnTo>
                  <a:pt x="3949" y="1013"/>
                </a:lnTo>
                <a:lnTo>
                  <a:pt x="3947" y="1011"/>
                </a:lnTo>
                <a:lnTo>
                  <a:pt x="3946" y="1008"/>
                </a:lnTo>
                <a:lnTo>
                  <a:pt x="3946" y="1005"/>
                </a:lnTo>
                <a:lnTo>
                  <a:pt x="3946" y="1002"/>
                </a:lnTo>
                <a:lnTo>
                  <a:pt x="3946" y="999"/>
                </a:lnTo>
                <a:lnTo>
                  <a:pt x="3948" y="996"/>
                </a:lnTo>
                <a:lnTo>
                  <a:pt x="3949" y="994"/>
                </a:lnTo>
                <a:lnTo>
                  <a:pt x="3950" y="992"/>
                </a:lnTo>
                <a:lnTo>
                  <a:pt x="3954" y="990"/>
                </a:lnTo>
                <a:close/>
                <a:moveTo>
                  <a:pt x="3828" y="919"/>
                </a:moveTo>
                <a:lnTo>
                  <a:pt x="3832" y="917"/>
                </a:lnTo>
                <a:lnTo>
                  <a:pt x="3836" y="917"/>
                </a:lnTo>
                <a:lnTo>
                  <a:pt x="3840" y="917"/>
                </a:lnTo>
                <a:lnTo>
                  <a:pt x="3844" y="919"/>
                </a:lnTo>
                <a:lnTo>
                  <a:pt x="3847" y="921"/>
                </a:lnTo>
                <a:lnTo>
                  <a:pt x="3849" y="923"/>
                </a:lnTo>
                <a:lnTo>
                  <a:pt x="3850" y="926"/>
                </a:lnTo>
                <a:lnTo>
                  <a:pt x="3851" y="928"/>
                </a:lnTo>
                <a:lnTo>
                  <a:pt x="3852" y="931"/>
                </a:lnTo>
                <a:lnTo>
                  <a:pt x="3852" y="934"/>
                </a:lnTo>
                <a:lnTo>
                  <a:pt x="3851" y="938"/>
                </a:lnTo>
                <a:lnTo>
                  <a:pt x="3850" y="940"/>
                </a:lnTo>
                <a:lnTo>
                  <a:pt x="3847" y="944"/>
                </a:lnTo>
                <a:lnTo>
                  <a:pt x="3844" y="946"/>
                </a:lnTo>
                <a:lnTo>
                  <a:pt x="3840" y="948"/>
                </a:lnTo>
                <a:lnTo>
                  <a:pt x="3836" y="949"/>
                </a:lnTo>
                <a:lnTo>
                  <a:pt x="3832" y="948"/>
                </a:lnTo>
                <a:lnTo>
                  <a:pt x="3828" y="947"/>
                </a:lnTo>
                <a:lnTo>
                  <a:pt x="3826" y="945"/>
                </a:lnTo>
                <a:lnTo>
                  <a:pt x="3824" y="942"/>
                </a:lnTo>
                <a:lnTo>
                  <a:pt x="3822" y="940"/>
                </a:lnTo>
                <a:lnTo>
                  <a:pt x="3821" y="937"/>
                </a:lnTo>
                <a:lnTo>
                  <a:pt x="3820" y="934"/>
                </a:lnTo>
                <a:lnTo>
                  <a:pt x="3820" y="931"/>
                </a:lnTo>
                <a:lnTo>
                  <a:pt x="3821" y="928"/>
                </a:lnTo>
                <a:lnTo>
                  <a:pt x="3822" y="925"/>
                </a:lnTo>
                <a:lnTo>
                  <a:pt x="3825" y="922"/>
                </a:lnTo>
                <a:lnTo>
                  <a:pt x="3828" y="919"/>
                </a:lnTo>
                <a:close/>
                <a:moveTo>
                  <a:pt x="3702" y="849"/>
                </a:moveTo>
                <a:lnTo>
                  <a:pt x="3706" y="847"/>
                </a:lnTo>
                <a:lnTo>
                  <a:pt x="3710" y="847"/>
                </a:lnTo>
                <a:lnTo>
                  <a:pt x="3712" y="847"/>
                </a:lnTo>
                <a:lnTo>
                  <a:pt x="3714" y="847"/>
                </a:lnTo>
                <a:lnTo>
                  <a:pt x="3718" y="849"/>
                </a:lnTo>
                <a:lnTo>
                  <a:pt x="3721" y="851"/>
                </a:lnTo>
                <a:lnTo>
                  <a:pt x="3723" y="853"/>
                </a:lnTo>
                <a:lnTo>
                  <a:pt x="3725" y="855"/>
                </a:lnTo>
                <a:lnTo>
                  <a:pt x="3726" y="858"/>
                </a:lnTo>
                <a:lnTo>
                  <a:pt x="3726" y="861"/>
                </a:lnTo>
                <a:lnTo>
                  <a:pt x="3726" y="864"/>
                </a:lnTo>
                <a:lnTo>
                  <a:pt x="3726" y="867"/>
                </a:lnTo>
                <a:lnTo>
                  <a:pt x="3724" y="870"/>
                </a:lnTo>
                <a:lnTo>
                  <a:pt x="3722" y="874"/>
                </a:lnTo>
                <a:lnTo>
                  <a:pt x="3718" y="876"/>
                </a:lnTo>
                <a:lnTo>
                  <a:pt x="3715" y="878"/>
                </a:lnTo>
                <a:lnTo>
                  <a:pt x="3711" y="878"/>
                </a:lnTo>
                <a:lnTo>
                  <a:pt x="3709" y="878"/>
                </a:lnTo>
                <a:lnTo>
                  <a:pt x="3707" y="878"/>
                </a:lnTo>
                <a:lnTo>
                  <a:pt x="3703" y="877"/>
                </a:lnTo>
                <a:lnTo>
                  <a:pt x="3700" y="875"/>
                </a:lnTo>
                <a:lnTo>
                  <a:pt x="3698" y="872"/>
                </a:lnTo>
                <a:lnTo>
                  <a:pt x="3696" y="870"/>
                </a:lnTo>
                <a:lnTo>
                  <a:pt x="3695" y="867"/>
                </a:lnTo>
                <a:lnTo>
                  <a:pt x="3695" y="864"/>
                </a:lnTo>
                <a:lnTo>
                  <a:pt x="3695" y="861"/>
                </a:lnTo>
                <a:lnTo>
                  <a:pt x="3695" y="858"/>
                </a:lnTo>
                <a:lnTo>
                  <a:pt x="3697" y="855"/>
                </a:lnTo>
                <a:lnTo>
                  <a:pt x="3699" y="851"/>
                </a:lnTo>
                <a:lnTo>
                  <a:pt x="3702" y="849"/>
                </a:lnTo>
                <a:close/>
                <a:moveTo>
                  <a:pt x="3576" y="780"/>
                </a:moveTo>
                <a:lnTo>
                  <a:pt x="3578" y="779"/>
                </a:lnTo>
                <a:lnTo>
                  <a:pt x="3580" y="779"/>
                </a:lnTo>
                <a:lnTo>
                  <a:pt x="3584" y="778"/>
                </a:lnTo>
                <a:lnTo>
                  <a:pt x="3586" y="778"/>
                </a:lnTo>
                <a:lnTo>
                  <a:pt x="3588" y="778"/>
                </a:lnTo>
                <a:lnTo>
                  <a:pt x="3591" y="780"/>
                </a:lnTo>
                <a:lnTo>
                  <a:pt x="3594" y="782"/>
                </a:lnTo>
                <a:lnTo>
                  <a:pt x="3596" y="784"/>
                </a:lnTo>
                <a:lnTo>
                  <a:pt x="3598" y="786"/>
                </a:lnTo>
                <a:lnTo>
                  <a:pt x="3599" y="789"/>
                </a:lnTo>
                <a:lnTo>
                  <a:pt x="3600" y="792"/>
                </a:lnTo>
                <a:lnTo>
                  <a:pt x="3600" y="795"/>
                </a:lnTo>
                <a:lnTo>
                  <a:pt x="3599" y="798"/>
                </a:lnTo>
                <a:lnTo>
                  <a:pt x="3598" y="801"/>
                </a:lnTo>
                <a:lnTo>
                  <a:pt x="3597" y="803"/>
                </a:lnTo>
                <a:lnTo>
                  <a:pt x="3595" y="805"/>
                </a:lnTo>
                <a:lnTo>
                  <a:pt x="3592" y="808"/>
                </a:lnTo>
                <a:lnTo>
                  <a:pt x="3590" y="808"/>
                </a:lnTo>
                <a:lnTo>
                  <a:pt x="3588" y="809"/>
                </a:lnTo>
                <a:lnTo>
                  <a:pt x="3584" y="810"/>
                </a:lnTo>
                <a:lnTo>
                  <a:pt x="3582" y="810"/>
                </a:lnTo>
                <a:lnTo>
                  <a:pt x="3580" y="809"/>
                </a:lnTo>
                <a:lnTo>
                  <a:pt x="3576" y="808"/>
                </a:lnTo>
                <a:lnTo>
                  <a:pt x="3574" y="806"/>
                </a:lnTo>
                <a:lnTo>
                  <a:pt x="3572" y="804"/>
                </a:lnTo>
                <a:lnTo>
                  <a:pt x="3570" y="801"/>
                </a:lnTo>
                <a:lnTo>
                  <a:pt x="3569" y="798"/>
                </a:lnTo>
                <a:lnTo>
                  <a:pt x="3568" y="796"/>
                </a:lnTo>
                <a:lnTo>
                  <a:pt x="3568" y="792"/>
                </a:lnTo>
                <a:lnTo>
                  <a:pt x="3569" y="789"/>
                </a:lnTo>
                <a:lnTo>
                  <a:pt x="3570" y="786"/>
                </a:lnTo>
                <a:lnTo>
                  <a:pt x="3571" y="785"/>
                </a:lnTo>
                <a:lnTo>
                  <a:pt x="3573" y="783"/>
                </a:lnTo>
                <a:lnTo>
                  <a:pt x="3576" y="780"/>
                </a:lnTo>
                <a:close/>
                <a:moveTo>
                  <a:pt x="3448" y="713"/>
                </a:moveTo>
                <a:lnTo>
                  <a:pt x="3452" y="712"/>
                </a:lnTo>
                <a:lnTo>
                  <a:pt x="3456" y="711"/>
                </a:lnTo>
                <a:lnTo>
                  <a:pt x="3460" y="712"/>
                </a:lnTo>
                <a:lnTo>
                  <a:pt x="3464" y="713"/>
                </a:lnTo>
                <a:lnTo>
                  <a:pt x="3466" y="715"/>
                </a:lnTo>
                <a:lnTo>
                  <a:pt x="3469" y="717"/>
                </a:lnTo>
                <a:lnTo>
                  <a:pt x="3470" y="719"/>
                </a:lnTo>
                <a:lnTo>
                  <a:pt x="3472" y="722"/>
                </a:lnTo>
                <a:lnTo>
                  <a:pt x="3472" y="728"/>
                </a:lnTo>
                <a:lnTo>
                  <a:pt x="3472" y="731"/>
                </a:lnTo>
                <a:lnTo>
                  <a:pt x="3471" y="734"/>
                </a:lnTo>
                <a:lnTo>
                  <a:pt x="3469" y="736"/>
                </a:lnTo>
                <a:lnTo>
                  <a:pt x="3468" y="738"/>
                </a:lnTo>
                <a:lnTo>
                  <a:pt x="3464" y="741"/>
                </a:lnTo>
                <a:lnTo>
                  <a:pt x="3461" y="742"/>
                </a:lnTo>
                <a:lnTo>
                  <a:pt x="3457" y="743"/>
                </a:lnTo>
                <a:lnTo>
                  <a:pt x="3453" y="742"/>
                </a:lnTo>
                <a:lnTo>
                  <a:pt x="3449" y="741"/>
                </a:lnTo>
                <a:lnTo>
                  <a:pt x="3446" y="739"/>
                </a:lnTo>
                <a:lnTo>
                  <a:pt x="3444" y="737"/>
                </a:lnTo>
                <a:lnTo>
                  <a:pt x="3443" y="735"/>
                </a:lnTo>
                <a:lnTo>
                  <a:pt x="3441" y="732"/>
                </a:lnTo>
                <a:lnTo>
                  <a:pt x="3441" y="726"/>
                </a:lnTo>
                <a:lnTo>
                  <a:pt x="3441" y="723"/>
                </a:lnTo>
                <a:lnTo>
                  <a:pt x="3442" y="720"/>
                </a:lnTo>
                <a:lnTo>
                  <a:pt x="3444" y="718"/>
                </a:lnTo>
                <a:lnTo>
                  <a:pt x="3445" y="716"/>
                </a:lnTo>
                <a:lnTo>
                  <a:pt x="3448" y="713"/>
                </a:lnTo>
                <a:close/>
                <a:moveTo>
                  <a:pt x="418" y="2383"/>
                </a:moveTo>
                <a:lnTo>
                  <a:pt x="421" y="2382"/>
                </a:lnTo>
                <a:lnTo>
                  <a:pt x="424" y="2382"/>
                </a:lnTo>
                <a:lnTo>
                  <a:pt x="426" y="2382"/>
                </a:lnTo>
                <a:lnTo>
                  <a:pt x="429" y="2383"/>
                </a:lnTo>
                <a:lnTo>
                  <a:pt x="418" y="2383"/>
                </a:lnTo>
                <a:close/>
                <a:moveTo>
                  <a:pt x="3320" y="649"/>
                </a:moveTo>
                <a:lnTo>
                  <a:pt x="3321" y="648"/>
                </a:lnTo>
                <a:lnTo>
                  <a:pt x="3323" y="647"/>
                </a:lnTo>
                <a:lnTo>
                  <a:pt x="3327" y="647"/>
                </a:lnTo>
                <a:lnTo>
                  <a:pt x="3331" y="647"/>
                </a:lnTo>
                <a:lnTo>
                  <a:pt x="3335" y="648"/>
                </a:lnTo>
                <a:lnTo>
                  <a:pt x="3337" y="650"/>
                </a:lnTo>
                <a:lnTo>
                  <a:pt x="3340" y="652"/>
                </a:lnTo>
                <a:lnTo>
                  <a:pt x="3341" y="655"/>
                </a:lnTo>
                <a:lnTo>
                  <a:pt x="3343" y="657"/>
                </a:lnTo>
                <a:lnTo>
                  <a:pt x="3343" y="660"/>
                </a:lnTo>
                <a:lnTo>
                  <a:pt x="3343" y="663"/>
                </a:lnTo>
                <a:lnTo>
                  <a:pt x="3343" y="666"/>
                </a:lnTo>
                <a:lnTo>
                  <a:pt x="3342" y="669"/>
                </a:lnTo>
                <a:lnTo>
                  <a:pt x="3339" y="673"/>
                </a:lnTo>
                <a:lnTo>
                  <a:pt x="3338" y="675"/>
                </a:lnTo>
                <a:lnTo>
                  <a:pt x="3336" y="676"/>
                </a:lnTo>
                <a:lnTo>
                  <a:pt x="3334" y="677"/>
                </a:lnTo>
                <a:lnTo>
                  <a:pt x="3332" y="678"/>
                </a:lnTo>
                <a:lnTo>
                  <a:pt x="3328" y="678"/>
                </a:lnTo>
                <a:lnTo>
                  <a:pt x="3325" y="678"/>
                </a:lnTo>
                <a:lnTo>
                  <a:pt x="3321" y="677"/>
                </a:lnTo>
                <a:lnTo>
                  <a:pt x="3318" y="675"/>
                </a:lnTo>
                <a:lnTo>
                  <a:pt x="3316" y="673"/>
                </a:lnTo>
                <a:lnTo>
                  <a:pt x="3314" y="670"/>
                </a:lnTo>
                <a:lnTo>
                  <a:pt x="3313" y="668"/>
                </a:lnTo>
                <a:lnTo>
                  <a:pt x="3312" y="665"/>
                </a:lnTo>
                <a:lnTo>
                  <a:pt x="3312" y="662"/>
                </a:lnTo>
                <a:lnTo>
                  <a:pt x="3312" y="659"/>
                </a:lnTo>
                <a:lnTo>
                  <a:pt x="3313" y="656"/>
                </a:lnTo>
                <a:lnTo>
                  <a:pt x="3316" y="652"/>
                </a:lnTo>
                <a:lnTo>
                  <a:pt x="3318" y="650"/>
                </a:lnTo>
                <a:lnTo>
                  <a:pt x="3320" y="649"/>
                </a:lnTo>
                <a:close/>
                <a:moveTo>
                  <a:pt x="505" y="2272"/>
                </a:moveTo>
                <a:lnTo>
                  <a:pt x="507" y="2271"/>
                </a:lnTo>
                <a:lnTo>
                  <a:pt x="510" y="2270"/>
                </a:lnTo>
                <a:lnTo>
                  <a:pt x="512" y="2270"/>
                </a:lnTo>
                <a:lnTo>
                  <a:pt x="514" y="2270"/>
                </a:lnTo>
                <a:lnTo>
                  <a:pt x="517" y="2270"/>
                </a:lnTo>
                <a:lnTo>
                  <a:pt x="519" y="2271"/>
                </a:lnTo>
                <a:lnTo>
                  <a:pt x="521" y="2272"/>
                </a:lnTo>
                <a:lnTo>
                  <a:pt x="523" y="2273"/>
                </a:lnTo>
                <a:lnTo>
                  <a:pt x="526" y="2276"/>
                </a:lnTo>
                <a:lnTo>
                  <a:pt x="526" y="2277"/>
                </a:lnTo>
                <a:lnTo>
                  <a:pt x="527" y="2279"/>
                </a:lnTo>
                <a:lnTo>
                  <a:pt x="528" y="2281"/>
                </a:lnTo>
                <a:lnTo>
                  <a:pt x="529" y="2284"/>
                </a:lnTo>
                <a:lnTo>
                  <a:pt x="529" y="2287"/>
                </a:lnTo>
                <a:lnTo>
                  <a:pt x="528" y="2290"/>
                </a:lnTo>
                <a:lnTo>
                  <a:pt x="527" y="2293"/>
                </a:lnTo>
                <a:lnTo>
                  <a:pt x="525" y="2296"/>
                </a:lnTo>
                <a:lnTo>
                  <a:pt x="523" y="2298"/>
                </a:lnTo>
                <a:lnTo>
                  <a:pt x="521" y="2299"/>
                </a:lnTo>
                <a:lnTo>
                  <a:pt x="519" y="2300"/>
                </a:lnTo>
                <a:lnTo>
                  <a:pt x="516" y="2301"/>
                </a:lnTo>
                <a:lnTo>
                  <a:pt x="514" y="2301"/>
                </a:lnTo>
                <a:lnTo>
                  <a:pt x="511" y="2301"/>
                </a:lnTo>
                <a:lnTo>
                  <a:pt x="509" y="2301"/>
                </a:lnTo>
                <a:lnTo>
                  <a:pt x="507" y="2300"/>
                </a:lnTo>
                <a:lnTo>
                  <a:pt x="505" y="2299"/>
                </a:lnTo>
                <a:lnTo>
                  <a:pt x="502" y="2297"/>
                </a:lnTo>
                <a:lnTo>
                  <a:pt x="500" y="2295"/>
                </a:lnTo>
                <a:lnTo>
                  <a:pt x="499" y="2294"/>
                </a:lnTo>
                <a:lnTo>
                  <a:pt x="499" y="2292"/>
                </a:lnTo>
                <a:lnTo>
                  <a:pt x="498" y="2289"/>
                </a:lnTo>
                <a:lnTo>
                  <a:pt x="497" y="2286"/>
                </a:lnTo>
                <a:lnTo>
                  <a:pt x="497" y="2283"/>
                </a:lnTo>
                <a:lnTo>
                  <a:pt x="498" y="2280"/>
                </a:lnTo>
                <a:lnTo>
                  <a:pt x="499" y="2278"/>
                </a:lnTo>
                <a:lnTo>
                  <a:pt x="501" y="2275"/>
                </a:lnTo>
                <a:lnTo>
                  <a:pt x="503" y="2273"/>
                </a:lnTo>
                <a:lnTo>
                  <a:pt x="505" y="2272"/>
                </a:lnTo>
                <a:close/>
                <a:moveTo>
                  <a:pt x="605" y="2169"/>
                </a:moveTo>
                <a:lnTo>
                  <a:pt x="608" y="2167"/>
                </a:lnTo>
                <a:lnTo>
                  <a:pt x="610" y="2167"/>
                </a:lnTo>
                <a:lnTo>
                  <a:pt x="615" y="2167"/>
                </a:lnTo>
                <a:lnTo>
                  <a:pt x="618" y="2167"/>
                </a:lnTo>
                <a:lnTo>
                  <a:pt x="620" y="2168"/>
                </a:lnTo>
                <a:lnTo>
                  <a:pt x="623" y="2170"/>
                </a:lnTo>
                <a:lnTo>
                  <a:pt x="625" y="2171"/>
                </a:lnTo>
                <a:lnTo>
                  <a:pt x="627" y="2174"/>
                </a:lnTo>
                <a:lnTo>
                  <a:pt x="628" y="2177"/>
                </a:lnTo>
                <a:lnTo>
                  <a:pt x="629" y="2180"/>
                </a:lnTo>
                <a:lnTo>
                  <a:pt x="629" y="2183"/>
                </a:lnTo>
                <a:lnTo>
                  <a:pt x="628" y="2186"/>
                </a:lnTo>
                <a:lnTo>
                  <a:pt x="628" y="2189"/>
                </a:lnTo>
                <a:lnTo>
                  <a:pt x="626" y="2191"/>
                </a:lnTo>
                <a:lnTo>
                  <a:pt x="624" y="2194"/>
                </a:lnTo>
                <a:lnTo>
                  <a:pt x="621" y="2196"/>
                </a:lnTo>
                <a:lnTo>
                  <a:pt x="619" y="2197"/>
                </a:lnTo>
                <a:lnTo>
                  <a:pt x="616" y="2198"/>
                </a:lnTo>
                <a:lnTo>
                  <a:pt x="611" y="2198"/>
                </a:lnTo>
                <a:lnTo>
                  <a:pt x="608" y="2197"/>
                </a:lnTo>
                <a:lnTo>
                  <a:pt x="606" y="2196"/>
                </a:lnTo>
                <a:lnTo>
                  <a:pt x="604" y="2195"/>
                </a:lnTo>
                <a:lnTo>
                  <a:pt x="601" y="2193"/>
                </a:lnTo>
                <a:lnTo>
                  <a:pt x="600" y="2191"/>
                </a:lnTo>
                <a:lnTo>
                  <a:pt x="598" y="2188"/>
                </a:lnTo>
                <a:lnTo>
                  <a:pt x="597" y="2185"/>
                </a:lnTo>
                <a:lnTo>
                  <a:pt x="597" y="2182"/>
                </a:lnTo>
                <a:lnTo>
                  <a:pt x="598" y="2179"/>
                </a:lnTo>
                <a:lnTo>
                  <a:pt x="599" y="2176"/>
                </a:lnTo>
                <a:lnTo>
                  <a:pt x="600" y="2173"/>
                </a:lnTo>
                <a:lnTo>
                  <a:pt x="602" y="2171"/>
                </a:lnTo>
                <a:lnTo>
                  <a:pt x="605" y="2169"/>
                </a:lnTo>
                <a:close/>
                <a:moveTo>
                  <a:pt x="714" y="2075"/>
                </a:moveTo>
                <a:lnTo>
                  <a:pt x="717" y="2074"/>
                </a:lnTo>
                <a:lnTo>
                  <a:pt x="720" y="2073"/>
                </a:lnTo>
                <a:lnTo>
                  <a:pt x="725" y="2073"/>
                </a:lnTo>
                <a:lnTo>
                  <a:pt x="728" y="2074"/>
                </a:lnTo>
                <a:lnTo>
                  <a:pt x="730" y="2075"/>
                </a:lnTo>
                <a:lnTo>
                  <a:pt x="733" y="2077"/>
                </a:lnTo>
                <a:lnTo>
                  <a:pt x="734" y="2078"/>
                </a:lnTo>
                <a:lnTo>
                  <a:pt x="735" y="2079"/>
                </a:lnTo>
                <a:lnTo>
                  <a:pt x="737" y="2082"/>
                </a:lnTo>
                <a:lnTo>
                  <a:pt x="738" y="2085"/>
                </a:lnTo>
                <a:lnTo>
                  <a:pt x="738" y="2088"/>
                </a:lnTo>
                <a:lnTo>
                  <a:pt x="738" y="2091"/>
                </a:lnTo>
                <a:lnTo>
                  <a:pt x="737" y="2094"/>
                </a:lnTo>
                <a:lnTo>
                  <a:pt x="736" y="2097"/>
                </a:lnTo>
                <a:lnTo>
                  <a:pt x="734" y="2099"/>
                </a:lnTo>
                <a:lnTo>
                  <a:pt x="732" y="2101"/>
                </a:lnTo>
                <a:lnTo>
                  <a:pt x="730" y="2103"/>
                </a:lnTo>
                <a:lnTo>
                  <a:pt x="728" y="2104"/>
                </a:lnTo>
                <a:lnTo>
                  <a:pt x="725" y="2105"/>
                </a:lnTo>
                <a:lnTo>
                  <a:pt x="719" y="2104"/>
                </a:lnTo>
                <a:lnTo>
                  <a:pt x="717" y="2104"/>
                </a:lnTo>
                <a:lnTo>
                  <a:pt x="714" y="2102"/>
                </a:lnTo>
                <a:lnTo>
                  <a:pt x="712" y="2101"/>
                </a:lnTo>
                <a:lnTo>
                  <a:pt x="711" y="2100"/>
                </a:lnTo>
                <a:lnTo>
                  <a:pt x="710" y="2099"/>
                </a:lnTo>
                <a:lnTo>
                  <a:pt x="708" y="2096"/>
                </a:lnTo>
                <a:lnTo>
                  <a:pt x="707" y="2093"/>
                </a:lnTo>
                <a:lnTo>
                  <a:pt x="707" y="2090"/>
                </a:lnTo>
                <a:lnTo>
                  <a:pt x="707" y="2087"/>
                </a:lnTo>
                <a:lnTo>
                  <a:pt x="707" y="2084"/>
                </a:lnTo>
                <a:lnTo>
                  <a:pt x="708" y="2081"/>
                </a:lnTo>
                <a:lnTo>
                  <a:pt x="710" y="2079"/>
                </a:lnTo>
                <a:lnTo>
                  <a:pt x="713" y="2076"/>
                </a:lnTo>
                <a:lnTo>
                  <a:pt x="714" y="2075"/>
                </a:lnTo>
                <a:close/>
                <a:moveTo>
                  <a:pt x="1082" y="1849"/>
                </a:moveTo>
                <a:lnTo>
                  <a:pt x="1086" y="1848"/>
                </a:lnTo>
                <a:lnTo>
                  <a:pt x="1089" y="1847"/>
                </a:lnTo>
                <a:lnTo>
                  <a:pt x="1092" y="1847"/>
                </a:lnTo>
                <a:lnTo>
                  <a:pt x="1095" y="1848"/>
                </a:lnTo>
                <a:lnTo>
                  <a:pt x="1098" y="1849"/>
                </a:lnTo>
                <a:lnTo>
                  <a:pt x="1100" y="1851"/>
                </a:lnTo>
                <a:lnTo>
                  <a:pt x="1102" y="1853"/>
                </a:lnTo>
                <a:lnTo>
                  <a:pt x="1104" y="1855"/>
                </a:lnTo>
                <a:lnTo>
                  <a:pt x="1106" y="1858"/>
                </a:lnTo>
                <a:lnTo>
                  <a:pt x="1106" y="1861"/>
                </a:lnTo>
                <a:lnTo>
                  <a:pt x="1106" y="1864"/>
                </a:lnTo>
                <a:lnTo>
                  <a:pt x="1106" y="1867"/>
                </a:lnTo>
                <a:lnTo>
                  <a:pt x="1105" y="1870"/>
                </a:lnTo>
                <a:lnTo>
                  <a:pt x="1103" y="1873"/>
                </a:lnTo>
                <a:lnTo>
                  <a:pt x="1101" y="1875"/>
                </a:lnTo>
                <a:lnTo>
                  <a:pt x="1098" y="1877"/>
                </a:lnTo>
                <a:lnTo>
                  <a:pt x="1095" y="1878"/>
                </a:lnTo>
                <a:lnTo>
                  <a:pt x="1092" y="1879"/>
                </a:lnTo>
                <a:lnTo>
                  <a:pt x="1089" y="1879"/>
                </a:lnTo>
                <a:lnTo>
                  <a:pt x="1086" y="1878"/>
                </a:lnTo>
                <a:lnTo>
                  <a:pt x="1083" y="1877"/>
                </a:lnTo>
                <a:lnTo>
                  <a:pt x="1080" y="1875"/>
                </a:lnTo>
                <a:lnTo>
                  <a:pt x="1078" y="1873"/>
                </a:lnTo>
                <a:lnTo>
                  <a:pt x="1076" y="1870"/>
                </a:lnTo>
                <a:lnTo>
                  <a:pt x="1075" y="1868"/>
                </a:lnTo>
                <a:lnTo>
                  <a:pt x="1075" y="1865"/>
                </a:lnTo>
                <a:lnTo>
                  <a:pt x="1075" y="1862"/>
                </a:lnTo>
                <a:lnTo>
                  <a:pt x="1075" y="1859"/>
                </a:lnTo>
                <a:lnTo>
                  <a:pt x="1076" y="1856"/>
                </a:lnTo>
                <a:lnTo>
                  <a:pt x="1078" y="1853"/>
                </a:lnTo>
                <a:lnTo>
                  <a:pt x="1080" y="1851"/>
                </a:lnTo>
                <a:lnTo>
                  <a:pt x="1082" y="1849"/>
                </a:lnTo>
                <a:close/>
                <a:moveTo>
                  <a:pt x="1207" y="1776"/>
                </a:moveTo>
                <a:lnTo>
                  <a:pt x="1209" y="1774"/>
                </a:lnTo>
                <a:lnTo>
                  <a:pt x="1212" y="1774"/>
                </a:lnTo>
                <a:lnTo>
                  <a:pt x="1215" y="1773"/>
                </a:lnTo>
                <a:lnTo>
                  <a:pt x="1218" y="1774"/>
                </a:lnTo>
                <a:lnTo>
                  <a:pt x="1221" y="1775"/>
                </a:lnTo>
                <a:lnTo>
                  <a:pt x="1224" y="1776"/>
                </a:lnTo>
                <a:lnTo>
                  <a:pt x="1226" y="1778"/>
                </a:lnTo>
                <a:lnTo>
                  <a:pt x="1228" y="1781"/>
                </a:lnTo>
                <a:lnTo>
                  <a:pt x="1229" y="1784"/>
                </a:lnTo>
                <a:lnTo>
                  <a:pt x="1230" y="1788"/>
                </a:lnTo>
                <a:lnTo>
                  <a:pt x="1230" y="1791"/>
                </a:lnTo>
                <a:lnTo>
                  <a:pt x="1230" y="1794"/>
                </a:lnTo>
                <a:lnTo>
                  <a:pt x="1229" y="1797"/>
                </a:lnTo>
                <a:lnTo>
                  <a:pt x="1228" y="1799"/>
                </a:lnTo>
                <a:lnTo>
                  <a:pt x="1226" y="1802"/>
                </a:lnTo>
                <a:lnTo>
                  <a:pt x="1223" y="1804"/>
                </a:lnTo>
                <a:lnTo>
                  <a:pt x="1220" y="1805"/>
                </a:lnTo>
                <a:lnTo>
                  <a:pt x="1217" y="1806"/>
                </a:lnTo>
                <a:lnTo>
                  <a:pt x="1214" y="1806"/>
                </a:lnTo>
                <a:lnTo>
                  <a:pt x="1211" y="1806"/>
                </a:lnTo>
                <a:lnTo>
                  <a:pt x="1208" y="1805"/>
                </a:lnTo>
                <a:lnTo>
                  <a:pt x="1205" y="1803"/>
                </a:lnTo>
                <a:lnTo>
                  <a:pt x="1203" y="1801"/>
                </a:lnTo>
                <a:lnTo>
                  <a:pt x="1201" y="1799"/>
                </a:lnTo>
                <a:lnTo>
                  <a:pt x="1200" y="1796"/>
                </a:lnTo>
                <a:lnTo>
                  <a:pt x="1199" y="1793"/>
                </a:lnTo>
                <a:lnTo>
                  <a:pt x="1199" y="1790"/>
                </a:lnTo>
                <a:lnTo>
                  <a:pt x="1199" y="1787"/>
                </a:lnTo>
                <a:lnTo>
                  <a:pt x="1200" y="1783"/>
                </a:lnTo>
                <a:lnTo>
                  <a:pt x="1201" y="1780"/>
                </a:lnTo>
                <a:lnTo>
                  <a:pt x="1203" y="1778"/>
                </a:lnTo>
                <a:lnTo>
                  <a:pt x="1206" y="1776"/>
                </a:lnTo>
                <a:lnTo>
                  <a:pt x="1207" y="1776"/>
                </a:lnTo>
                <a:close/>
                <a:moveTo>
                  <a:pt x="832" y="1991"/>
                </a:moveTo>
                <a:lnTo>
                  <a:pt x="835" y="1990"/>
                </a:lnTo>
                <a:lnTo>
                  <a:pt x="838" y="1989"/>
                </a:lnTo>
                <a:lnTo>
                  <a:pt x="841" y="1989"/>
                </a:lnTo>
                <a:lnTo>
                  <a:pt x="844" y="1990"/>
                </a:lnTo>
                <a:lnTo>
                  <a:pt x="847" y="1991"/>
                </a:lnTo>
                <a:lnTo>
                  <a:pt x="849" y="1992"/>
                </a:lnTo>
                <a:lnTo>
                  <a:pt x="851" y="1994"/>
                </a:lnTo>
                <a:lnTo>
                  <a:pt x="853" y="1996"/>
                </a:lnTo>
                <a:lnTo>
                  <a:pt x="855" y="1999"/>
                </a:lnTo>
                <a:lnTo>
                  <a:pt x="856" y="2002"/>
                </a:lnTo>
                <a:lnTo>
                  <a:pt x="856" y="2008"/>
                </a:lnTo>
                <a:lnTo>
                  <a:pt x="855" y="2011"/>
                </a:lnTo>
                <a:lnTo>
                  <a:pt x="853" y="2014"/>
                </a:lnTo>
                <a:lnTo>
                  <a:pt x="851" y="2016"/>
                </a:lnTo>
                <a:lnTo>
                  <a:pt x="849" y="2018"/>
                </a:lnTo>
                <a:lnTo>
                  <a:pt x="846" y="2020"/>
                </a:lnTo>
                <a:lnTo>
                  <a:pt x="843" y="2021"/>
                </a:lnTo>
                <a:lnTo>
                  <a:pt x="837" y="2020"/>
                </a:lnTo>
                <a:lnTo>
                  <a:pt x="834" y="2020"/>
                </a:lnTo>
                <a:lnTo>
                  <a:pt x="831" y="2018"/>
                </a:lnTo>
                <a:lnTo>
                  <a:pt x="829" y="2016"/>
                </a:lnTo>
                <a:lnTo>
                  <a:pt x="827" y="2014"/>
                </a:lnTo>
                <a:lnTo>
                  <a:pt x="825" y="2011"/>
                </a:lnTo>
                <a:lnTo>
                  <a:pt x="825" y="2008"/>
                </a:lnTo>
                <a:lnTo>
                  <a:pt x="825" y="2002"/>
                </a:lnTo>
                <a:lnTo>
                  <a:pt x="826" y="1999"/>
                </a:lnTo>
                <a:lnTo>
                  <a:pt x="827" y="1996"/>
                </a:lnTo>
                <a:lnTo>
                  <a:pt x="829" y="1994"/>
                </a:lnTo>
                <a:lnTo>
                  <a:pt x="831" y="1992"/>
                </a:lnTo>
                <a:lnTo>
                  <a:pt x="832" y="1991"/>
                </a:lnTo>
                <a:close/>
                <a:moveTo>
                  <a:pt x="955" y="1917"/>
                </a:moveTo>
                <a:lnTo>
                  <a:pt x="958" y="1915"/>
                </a:lnTo>
                <a:lnTo>
                  <a:pt x="961" y="1915"/>
                </a:lnTo>
                <a:lnTo>
                  <a:pt x="964" y="1915"/>
                </a:lnTo>
                <a:lnTo>
                  <a:pt x="967" y="1915"/>
                </a:lnTo>
                <a:lnTo>
                  <a:pt x="970" y="1916"/>
                </a:lnTo>
                <a:lnTo>
                  <a:pt x="973" y="1918"/>
                </a:lnTo>
                <a:lnTo>
                  <a:pt x="975" y="1920"/>
                </a:lnTo>
                <a:lnTo>
                  <a:pt x="977" y="1923"/>
                </a:lnTo>
                <a:lnTo>
                  <a:pt x="978" y="1926"/>
                </a:lnTo>
                <a:lnTo>
                  <a:pt x="979" y="1929"/>
                </a:lnTo>
                <a:lnTo>
                  <a:pt x="979" y="1932"/>
                </a:lnTo>
                <a:lnTo>
                  <a:pt x="978" y="1935"/>
                </a:lnTo>
                <a:lnTo>
                  <a:pt x="977" y="1937"/>
                </a:lnTo>
                <a:lnTo>
                  <a:pt x="976" y="1940"/>
                </a:lnTo>
                <a:lnTo>
                  <a:pt x="974" y="1942"/>
                </a:lnTo>
                <a:lnTo>
                  <a:pt x="971" y="1944"/>
                </a:lnTo>
                <a:lnTo>
                  <a:pt x="968" y="1945"/>
                </a:lnTo>
                <a:lnTo>
                  <a:pt x="965" y="1946"/>
                </a:lnTo>
                <a:lnTo>
                  <a:pt x="962" y="1946"/>
                </a:lnTo>
                <a:lnTo>
                  <a:pt x="959" y="1946"/>
                </a:lnTo>
                <a:lnTo>
                  <a:pt x="956" y="1945"/>
                </a:lnTo>
                <a:lnTo>
                  <a:pt x="953" y="1943"/>
                </a:lnTo>
                <a:lnTo>
                  <a:pt x="951" y="1941"/>
                </a:lnTo>
                <a:lnTo>
                  <a:pt x="949" y="1938"/>
                </a:lnTo>
                <a:lnTo>
                  <a:pt x="948" y="1935"/>
                </a:lnTo>
                <a:lnTo>
                  <a:pt x="947" y="1932"/>
                </a:lnTo>
                <a:lnTo>
                  <a:pt x="947" y="1929"/>
                </a:lnTo>
                <a:lnTo>
                  <a:pt x="948" y="1926"/>
                </a:lnTo>
                <a:lnTo>
                  <a:pt x="949" y="1923"/>
                </a:lnTo>
                <a:lnTo>
                  <a:pt x="951" y="1921"/>
                </a:lnTo>
                <a:lnTo>
                  <a:pt x="953" y="1919"/>
                </a:lnTo>
                <a:lnTo>
                  <a:pt x="955" y="1917"/>
                </a:lnTo>
                <a:close/>
                <a:moveTo>
                  <a:pt x="1324" y="1694"/>
                </a:moveTo>
                <a:lnTo>
                  <a:pt x="1327" y="1692"/>
                </a:lnTo>
                <a:lnTo>
                  <a:pt x="1330" y="1692"/>
                </a:lnTo>
                <a:lnTo>
                  <a:pt x="1335" y="1692"/>
                </a:lnTo>
                <a:lnTo>
                  <a:pt x="1338" y="1693"/>
                </a:lnTo>
                <a:lnTo>
                  <a:pt x="1341" y="1694"/>
                </a:lnTo>
                <a:lnTo>
                  <a:pt x="1343" y="1695"/>
                </a:lnTo>
                <a:lnTo>
                  <a:pt x="1344" y="1696"/>
                </a:lnTo>
                <a:lnTo>
                  <a:pt x="1345" y="1698"/>
                </a:lnTo>
                <a:lnTo>
                  <a:pt x="1347" y="1700"/>
                </a:lnTo>
                <a:lnTo>
                  <a:pt x="1348" y="1703"/>
                </a:lnTo>
                <a:lnTo>
                  <a:pt x="1348" y="1706"/>
                </a:lnTo>
                <a:lnTo>
                  <a:pt x="1348" y="1709"/>
                </a:lnTo>
                <a:lnTo>
                  <a:pt x="1347" y="1712"/>
                </a:lnTo>
                <a:lnTo>
                  <a:pt x="1346" y="1715"/>
                </a:lnTo>
                <a:lnTo>
                  <a:pt x="1344" y="1718"/>
                </a:lnTo>
                <a:lnTo>
                  <a:pt x="1342" y="1720"/>
                </a:lnTo>
                <a:lnTo>
                  <a:pt x="1340" y="1721"/>
                </a:lnTo>
                <a:lnTo>
                  <a:pt x="1338" y="1722"/>
                </a:lnTo>
                <a:lnTo>
                  <a:pt x="1335" y="1723"/>
                </a:lnTo>
                <a:lnTo>
                  <a:pt x="1329" y="1723"/>
                </a:lnTo>
                <a:lnTo>
                  <a:pt x="1327" y="1722"/>
                </a:lnTo>
                <a:lnTo>
                  <a:pt x="1324" y="1721"/>
                </a:lnTo>
                <a:lnTo>
                  <a:pt x="1322" y="1719"/>
                </a:lnTo>
                <a:lnTo>
                  <a:pt x="1321" y="1718"/>
                </a:lnTo>
                <a:lnTo>
                  <a:pt x="1320" y="1717"/>
                </a:lnTo>
                <a:lnTo>
                  <a:pt x="1318" y="1714"/>
                </a:lnTo>
                <a:lnTo>
                  <a:pt x="1317" y="1711"/>
                </a:lnTo>
                <a:lnTo>
                  <a:pt x="1317" y="1708"/>
                </a:lnTo>
                <a:lnTo>
                  <a:pt x="1317" y="1705"/>
                </a:lnTo>
                <a:lnTo>
                  <a:pt x="1317" y="1702"/>
                </a:lnTo>
                <a:lnTo>
                  <a:pt x="1319" y="1699"/>
                </a:lnTo>
                <a:lnTo>
                  <a:pt x="1320" y="1697"/>
                </a:lnTo>
                <a:lnTo>
                  <a:pt x="1323" y="1695"/>
                </a:lnTo>
                <a:lnTo>
                  <a:pt x="1324" y="1694"/>
                </a:lnTo>
                <a:close/>
                <a:moveTo>
                  <a:pt x="3189" y="587"/>
                </a:moveTo>
                <a:lnTo>
                  <a:pt x="3193" y="585"/>
                </a:lnTo>
                <a:lnTo>
                  <a:pt x="3196" y="585"/>
                </a:lnTo>
                <a:lnTo>
                  <a:pt x="3200" y="585"/>
                </a:lnTo>
                <a:lnTo>
                  <a:pt x="3202" y="585"/>
                </a:lnTo>
                <a:lnTo>
                  <a:pt x="3204" y="586"/>
                </a:lnTo>
                <a:lnTo>
                  <a:pt x="3207" y="588"/>
                </a:lnTo>
                <a:lnTo>
                  <a:pt x="3209" y="590"/>
                </a:lnTo>
                <a:lnTo>
                  <a:pt x="3211" y="592"/>
                </a:lnTo>
                <a:lnTo>
                  <a:pt x="3212" y="596"/>
                </a:lnTo>
                <a:lnTo>
                  <a:pt x="3213" y="599"/>
                </a:lnTo>
                <a:lnTo>
                  <a:pt x="3213" y="602"/>
                </a:lnTo>
                <a:lnTo>
                  <a:pt x="3213" y="605"/>
                </a:lnTo>
                <a:lnTo>
                  <a:pt x="3212" y="608"/>
                </a:lnTo>
                <a:lnTo>
                  <a:pt x="3209" y="612"/>
                </a:lnTo>
                <a:lnTo>
                  <a:pt x="3207" y="614"/>
                </a:lnTo>
                <a:lnTo>
                  <a:pt x="3205" y="615"/>
                </a:lnTo>
                <a:lnTo>
                  <a:pt x="3202" y="617"/>
                </a:lnTo>
                <a:lnTo>
                  <a:pt x="3198" y="617"/>
                </a:lnTo>
                <a:lnTo>
                  <a:pt x="3195" y="617"/>
                </a:lnTo>
                <a:lnTo>
                  <a:pt x="3193" y="616"/>
                </a:lnTo>
                <a:lnTo>
                  <a:pt x="3191" y="616"/>
                </a:lnTo>
                <a:lnTo>
                  <a:pt x="3188" y="614"/>
                </a:lnTo>
                <a:lnTo>
                  <a:pt x="3186" y="612"/>
                </a:lnTo>
                <a:lnTo>
                  <a:pt x="3184" y="610"/>
                </a:lnTo>
                <a:lnTo>
                  <a:pt x="3183" y="607"/>
                </a:lnTo>
                <a:lnTo>
                  <a:pt x="3182" y="604"/>
                </a:lnTo>
                <a:lnTo>
                  <a:pt x="3181" y="601"/>
                </a:lnTo>
                <a:lnTo>
                  <a:pt x="3182" y="598"/>
                </a:lnTo>
                <a:lnTo>
                  <a:pt x="3183" y="595"/>
                </a:lnTo>
                <a:lnTo>
                  <a:pt x="3186" y="590"/>
                </a:lnTo>
                <a:lnTo>
                  <a:pt x="3187" y="588"/>
                </a:lnTo>
                <a:lnTo>
                  <a:pt x="3189" y="587"/>
                </a:lnTo>
                <a:close/>
                <a:moveTo>
                  <a:pt x="1433" y="1600"/>
                </a:moveTo>
                <a:lnTo>
                  <a:pt x="1436" y="1599"/>
                </a:lnTo>
                <a:lnTo>
                  <a:pt x="1438" y="1598"/>
                </a:lnTo>
                <a:lnTo>
                  <a:pt x="1441" y="1598"/>
                </a:lnTo>
                <a:lnTo>
                  <a:pt x="1443" y="1598"/>
                </a:lnTo>
                <a:lnTo>
                  <a:pt x="1446" y="1599"/>
                </a:lnTo>
                <a:lnTo>
                  <a:pt x="1448" y="1600"/>
                </a:lnTo>
                <a:lnTo>
                  <a:pt x="1451" y="1601"/>
                </a:lnTo>
                <a:lnTo>
                  <a:pt x="1453" y="1603"/>
                </a:lnTo>
                <a:lnTo>
                  <a:pt x="1455" y="1605"/>
                </a:lnTo>
                <a:lnTo>
                  <a:pt x="1456" y="1608"/>
                </a:lnTo>
                <a:lnTo>
                  <a:pt x="1457" y="1611"/>
                </a:lnTo>
                <a:lnTo>
                  <a:pt x="1457" y="1614"/>
                </a:lnTo>
                <a:lnTo>
                  <a:pt x="1457" y="1617"/>
                </a:lnTo>
                <a:lnTo>
                  <a:pt x="1456" y="1620"/>
                </a:lnTo>
                <a:lnTo>
                  <a:pt x="1454" y="1623"/>
                </a:lnTo>
                <a:lnTo>
                  <a:pt x="1452" y="1625"/>
                </a:lnTo>
                <a:lnTo>
                  <a:pt x="1449" y="1627"/>
                </a:lnTo>
                <a:lnTo>
                  <a:pt x="1447" y="1629"/>
                </a:lnTo>
                <a:lnTo>
                  <a:pt x="1444" y="1629"/>
                </a:lnTo>
                <a:lnTo>
                  <a:pt x="1442" y="1630"/>
                </a:lnTo>
                <a:lnTo>
                  <a:pt x="1439" y="1629"/>
                </a:lnTo>
                <a:lnTo>
                  <a:pt x="1437" y="1629"/>
                </a:lnTo>
                <a:lnTo>
                  <a:pt x="1434" y="1628"/>
                </a:lnTo>
                <a:lnTo>
                  <a:pt x="1432" y="1627"/>
                </a:lnTo>
                <a:lnTo>
                  <a:pt x="1430" y="1625"/>
                </a:lnTo>
                <a:lnTo>
                  <a:pt x="1428" y="1622"/>
                </a:lnTo>
                <a:lnTo>
                  <a:pt x="1426" y="1619"/>
                </a:lnTo>
                <a:lnTo>
                  <a:pt x="1426" y="1617"/>
                </a:lnTo>
                <a:lnTo>
                  <a:pt x="1425" y="1614"/>
                </a:lnTo>
                <a:lnTo>
                  <a:pt x="1426" y="1610"/>
                </a:lnTo>
                <a:lnTo>
                  <a:pt x="1427" y="1608"/>
                </a:lnTo>
                <a:lnTo>
                  <a:pt x="1428" y="1605"/>
                </a:lnTo>
                <a:lnTo>
                  <a:pt x="1430" y="1602"/>
                </a:lnTo>
                <a:lnTo>
                  <a:pt x="1433" y="1600"/>
                </a:lnTo>
                <a:close/>
                <a:moveTo>
                  <a:pt x="1529" y="1493"/>
                </a:moveTo>
                <a:lnTo>
                  <a:pt x="1533" y="1491"/>
                </a:lnTo>
                <a:lnTo>
                  <a:pt x="1538" y="1491"/>
                </a:lnTo>
                <a:lnTo>
                  <a:pt x="1540" y="1491"/>
                </a:lnTo>
                <a:lnTo>
                  <a:pt x="1542" y="1492"/>
                </a:lnTo>
                <a:lnTo>
                  <a:pt x="1544" y="1493"/>
                </a:lnTo>
                <a:lnTo>
                  <a:pt x="1547" y="1494"/>
                </a:lnTo>
                <a:lnTo>
                  <a:pt x="1549" y="1496"/>
                </a:lnTo>
                <a:lnTo>
                  <a:pt x="1551" y="1499"/>
                </a:lnTo>
                <a:lnTo>
                  <a:pt x="1552" y="1502"/>
                </a:lnTo>
                <a:lnTo>
                  <a:pt x="1553" y="1505"/>
                </a:lnTo>
                <a:lnTo>
                  <a:pt x="1553" y="1508"/>
                </a:lnTo>
                <a:lnTo>
                  <a:pt x="1552" y="1511"/>
                </a:lnTo>
                <a:lnTo>
                  <a:pt x="1551" y="1514"/>
                </a:lnTo>
                <a:lnTo>
                  <a:pt x="1549" y="1516"/>
                </a:lnTo>
                <a:lnTo>
                  <a:pt x="1547" y="1519"/>
                </a:lnTo>
                <a:lnTo>
                  <a:pt x="1545" y="1521"/>
                </a:lnTo>
                <a:lnTo>
                  <a:pt x="1541" y="1522"/>
                </a:lnTo>
                <a:lnTo>
                  <a:pt x="1536" y="1523"/>
                </a:lnTo>
                <a:lnTo>
                  <a:pt x="1534" y="1522"/>
                </a:lnTo>
                <a:lnTo>
                  <a:pt x="1531" y="1522"/>
                </a:lnTo>
                <a:lnTo>
                  <a:pt x="1529" y="1521"/>
                </a:lnTo>
                <a:lnTo>
                  <a:pt x="1527" y="1519"/>
                </a:lnTo>
                <a:lnTo>
                  <a:pt x="1525" y="1517"/>
                </a:lnTo>
                <a:lnTo>
                  <a:pt x="1523" y="1515"/>
                </a:lnTo>
                <a:lnTo>
                  <a:pt x="1522" y="1512"/>
                </a:lnTo>
                <a:lnTo>
                  <a:pt x="1521" y="1509"/>
                </a:lnTo>
                <a:lnTo>
                  <a:pt x="1521" y="1506"/>
                </a:lnTo>
                <a:lnTo>
                  <a:pt x="1522" y="1503"/>
                </a:lnTo>
                <a:lnTo>
                  <a:pt x="1523" y="1500"/>
                </a:lnTo>
                <a:lnTo>
                  <a:pt x="1524" y="1497"/>
                </a:lnTo>
                <a:lnTo>
                  <a:pt x="1526" y="1495"/>
                </a:lnTo>
                <a:lnTo>
                  <a:pt x="1529" y="1493"/>
                </a:lnTo>
                <a:close/>
                <a:moveTo>
                  <a:pt x="1606" y="1372"/>
                </a:moveTo>
                <a:lnTo>
                  <a:pt x="1609" y="1371"/>
                </a:lnTo>
                <a:lnTo>
                  <a:pt x="1613" y="1370"/>
                </a:lnTo>
                <a:lnTo>
                  <a:pt x="1617" y="1370"/>
                </a:lnTo>
                <a:lnTo>
                  <a:pt x="1621" y="1372"/>
                </a:lnTo>
                <a:lnTo>
                  <a:pt x="1624" y="1373"/>
                </a:lnTo>
                <a:lnTo>
                  <a:pt x="1626" y="1376"/>
                </a:lnTo>
                <a:lnTo>
                  <a:pt x="1628" y="1378"/>
                </a:lnTo>
                <a:lnTo>
                  <a:pt x="1629" y="1381"/>
                </a:lnTo>
                <a:lnTo>
                  <a:pt x="1630" y="1387"/>
                </a:lnTo>
                <a:lnTo>
                  <a:pt x="1629" y="1390"/>
                </a:lnTo>
                <a:lnTo>
                  <a:pt x="1628" y="1393"/>
                </a:lnTo>
                <a:lnTo>
                  <a:pt x="1627" y="1395"/>
                </a:lnTo>
                <a:lnTo>
                  <a:pt x="1625" y="1397"/>
                </a:lnTo>
                <a:lnTo>
                  <a:pt x="1622" y="1399"/>
                </a:lnTo>
                <a:lnTo>
                  <a:pt x="1618" y="1401"/>
                </a:lnTo>
                <a:lnTo>
                  <a:pt x="1614" y="1402"/>
                </a:lnTo>
                <a:lnTo>
                  <a:pt x="1610" y="1401"/>
                </a:lnTo>
                <a:lnTo>
                  <a:pt x="1607" y="1400"/>
                </a:lnTo>
                <a:lnTo>
                  <a:pt x="1604" y="1398"/>
                </a:lnTo>
                <a:lnTo>
                  <a:pt x="1602" y="1396"/>
                </a:lnTo>
                <a:lnTo>
                  <a:pt x="1600" y="1393"/>
                </a:lnTo>
                <a:lnTo>
                  <a:pt x="1599" y="1391"/>
                </a:lnTo>
                <a:lnTo>
                  <a:pt x="1598" y="1385"/>
                </a:lnTo>
                <a:lnTo>
                  <a:pt x="1599" y="1381"/>
                </a:lnTo>
                <a:lnTo>
                  <a:pt x="1600" y="1378"/>
                </a:lnTo>
                <a:lnTo>
                  <a:pt x="1601" y="1377"/>
                </a:lnTo>
                <a:lnTo>
                  <a:pt x="1602" y="1375"/>
                </a:lnTo>
                <a:lnTo>
                  <a:pt x="1606" y="1372"/>
                </a:lnTo>
                <a:close/>
                <a:moveTo>
                  <a:pt x="3057" y="530"/>
                </a:moveTo>
                <a:lnTo>
                  <a:pt x="3060" y="528"/>
                </a:lnTo>
                <a:lnTo>
                  <a:pt x="3064" y="528"/>
                </a:lnTo>
                <a:lnTo>
                  <a:pt x="3067" y="528"/>
                </a:lnTo>
                <a:lnTo>
                  <a:pt x="3071" y="529"/>
                </a:lnTo>
                <a:lnTo>
                  <a:pt x="3074" y="530"/>
                </a:lnTo>
                <a:lnTo>
                  <a:pt x="3076" y="532"/>
                </a:lnTo>
                <a:lnTo>
                  <a:pt x="3078" y="535"/>
                </a:lnTo>
                <a:lnTo>
                  <a:pt x="3080" y="537"/>
                </a:lnTo>
                <a:lnTo>
                  <a:pt x="3081" y="540"/>
                </a:lnTo>
                <a:lnTo>
                  <a:pt x="3081" y="543"/>
                </a:lnTo>
                <a:lnTo>
                  <a:pt x="3081" y="546"/>
                </a:lnTo>
                <a:lnTo>
                  <a:pt x="3080" y="549"/>
                </a:lnTo>
                <a:lnTo>
                  <a:pt x="3077" y="554"/>
                </a:lnTo>
                <a:lnTo>
                  <a:pt x="3075" y="556"/>
                </a:lnTo>
                <a:lnTo>
                  <a:pt x="3073" y="557"/>
                </a:lnTo>
                <a:lnTo>
                  <a:pt x="3070" y="559"/>
                </a:lnTo>
                <a:lnTo>
                  <a:pt x="3066" y="559"/>
                </a:lnTo>
                <a:lnTo>
                  <a:pt x="3063" y="559"/>
                </a:lnTo>
                <a:lnTo>
                  <a:pt x="3059" y="558"/>
                </a:lnTo>
                <a:lnTo>
                  <a:pt x="3056" y="557"/>
                </a:lnTo>
                <a:lnTo>
                  <a:pt x="3054" y="555"/>
                </a:lnTo>
                <a:lnTo>
                  <a:pt x="3052" y="552"/>
                </a:lnTo>
                <a:lnTo>
                  <a:pt x="3050" y="550"/>
                </a:lnTo>
                <a:lnTo>
                  <a:pt x="3050" y="547"/>
                </a:lnTo>
                <a:lnTo>
                  <a:pt x="3049" y="544"/>
                </a:lnTo>
                <a:lnTo>
                  <a:pt x="3050" y="541"/>
                </a:lnTo>
                <a:lnTo>
                  <a:pt x="3050" y="537"/>
                </a:lnTo>
                <a:lnTo>
                  <a:pt x="3053" y="533"/>
                </a:lnTo>
                <a:lnTo>
                  <a:pt x="3055" y="531"/>
                </a:lnTo>
                <a:lnTo>
                  <a:pt x="3057" y="530"/>
                </a:lnTo>
                <a:close/>
                <a:moveTo>
                  <a:pt x="1660" y="1239"/>
                </a:moveTo>
                <a:lnTo>
                  <a:pt x="1662" y="1238"/>
                </a:lnTo>
                <a:lnTo>
                  <a:pt x="1666" y="1237"/>
                </a:lnTo>
                <a:lnTo>
                  <a:pt x="1669" y="1237"/>
                </a:lnTo>
                <a:lnTo>
                  <a:pt x="1672" y="1237"/>
                </a:lnTo>
                <a:lnTo>
                  <a:pt x="1675" y="1239"/>
                </a:lnTo>
                <a:lnTo>
                  <a:pt x="1678" y="1240"/>
                </a:lnTo>
                <a:lnTo>
                  <a:pt x="1680" y="1243"/>
                </a:lnTo>
                <a:lnTo>
                  <a:pt x="1681" y="1245"/>
                </a:lnTo>
                <a:lnTo>
                  <a:pt x="1683" y="1248"/>
                </a:lnTo>
                <a:lnTo>
                  <a:pt x="1683" y="1251"/>
                </a:lnTo>
                <a:lnTo>
                  <a:pt x="1683" y="1254"/>
                </a:lnTo>
                <a:lnTo>
                  <a:pt x="1683" y="1257"/>
                </a:lnTo>
                <a:lnTo>
                  <a:pt x="1681" y="1260"/>
                </a:lnTo>
                <a:lnTo>
                  <a:pt x="1680" y="1263"/>
                </a:lnTo>
                <a:lnTo>
                  <a:pt x="1678" y="1265"/>
                </a:lnTo>
                <a:lnTo>
                  <a:pt x="1675" y="1266"/>
                </a:lnTo>
                <a:lnTo>
                  <a:pt x="1673" y="1268"/>
                </a:lnTo>
                <a:lnTo>
                  <a:pt x="1669" y="1268"/>
                </a:lnTo>
                <a:lnTo>
                  <a:pt x="1666" y="1268"/>
                </a:lnTo>
                <a:lnTo>
                  <a:pt x="1663" y="1268"/>
                </a:lnTo>
                <a:lnTo>
                  <a:pt x="1660" y="1267"/>
                </a:lnTo>
                <a:lnTo>
                  <a:pt x="1657" y="1265"/>
                </a:lnTo>
                <a:lnTo>
                  <a:pt x="1655" y="1263"/>
                </a:lnTo>
                <a:lnTo>
                  <a:pt x="1654" y="1260"/>
                </a:lnTo>
                <a:lnTo>
                  <a:pt x="1652" y="1257"/>
                </a:lnTo>
                <a:lnTo>
                  <a:pt x="1652" y="1254"/>
                </a:lnTo>
                <a:lnTo>
                  <a:pt x="1652" y="1251"/>
                </a:lnTo>
                <a:lnTo>
                  <a:pt x="1652" y="1248"/>
                </a:lnTo>
                <a:lnTo>
                  <a:pt x="1653" y="1245"/>
                </a:lnTo>
                <a:lnTo>
                  <a:pt x="1655" y="1243"/>
                </a:lnTo>
                <a:lnTo>
                  <a:pt x="1657" y="1241"/>
                </a:lnTo>
                <a:lnTo>
                  <a:pt x="1660" y="1239"/>
                </a:lnTo>
                <a:close/>
                <a:moveTo>
                  <a:pt x="2923" y="479"/>
                </a:moveTo>
                <a:lnTo>
                  <a:pt x="2926" y="477"/>
                </a:lnTo>
                <a:lnTo>
                  <a:pt x="2929" y="476"/>
                </a:lnTo>
                <a:lnTo>
                  <a:pt x="2932" y="476"/>
                </a:lnTo>
                <a:lnTo>
                  <a:pt x="2936" y="477"/>
                </a:lnTo>
                <a:lnTo>
                  <a:pt x="2939" y="479"/>
                </a:lnTo>
                <a:lnTo>
                  <a:pt x="2941" y="481"/>
                </a:lnTo>
                <a:lnTo>
                  <a:pt x="2943" y="483"/>
                </a:lnTo>
                <a:lnTo>
                  <a:pt x="2945" y="485"/>
                </a:lnTo>
                <a:lnTo>
                  <a:pt x="2946" y="488"/>
                </a:lnTo>
                <a:lnTo>
                  <a:pt x="2946" y="491"/>
                </a:lnTo>
                <a:lnTo>
                  <a:pt x="2946" y="494"/>
                </a:lnTo>
                <a:lnTo>
                  <a:pt x="2946" y="497"/>
                </a:lnTo>
                <a:lnTo>
                  <a:pt x="2944" y="500"/>
                </a:lnTo>
                <a:lnTo>
                  <a:pt x="2943" y="502"/>
                </a:lnTo>
                <a:lnTo>
                  <a:pt x="2941" y="504"/>
                </a:lnTo>
                <a:lnTo>
                  <a:pt x="2938" y="506"/>
                </a:lnTo>
                <a:lnTo>
                  <a:pt x="2935" y="507"/>
                </a:lnTo>
                <a:lnTo>
                  <a:pt x="2932" y="508"/>
                </a:lnTo>
                <a:lnTo>
                  <a:pt x="2929" y="508"/>
                </a:lnTo>
                <a:lnTo>
                  <a:pt x="2925" y="507"/>
                </a:lnTo>
                <a:lnTo>
                  <a:pt x="2922" y="506"/>
                </a:lnTo>
                <a:lnTo>
                  <a:pt x="2920" y="504"/>
                </a:lnTo>
                <a:lnTo>
                  <a:pt x="2918" y="502"/>
                </a:lnTo>
                <a:lnTo>
                  <a:pt x="2916" y="499"/>
                </a:lnTo>
                <a:lnTo>
                  <a:pt x="2915" y="496"/>
                </a:lnTo>
                <a:lnTo>
                  <a:pt x="2915" y="493"/>
                </a:lnTo>
                <a:lnTo>
                  <a:pt x="2915" y="490"/>
                </a:lnTo>
                <a:lnTo>
                  <a:pt x="2916" y="487"/>
                </a:lnTo>
                <a:lnTo>
                  <a:pt x="2917" y="484"/>
                </a:lnTo>
                <a:lnTo>
                  <a:pt x="2918" y="482"/>
                </a:lnTo>
                <a:lnTo>
                  <a:pt x="2920" y="480"/>
                </a:lnTo>
                <a:lnTo>
                  <a:pt x="2923" y="479"/>
                </a:lnTo>
                <a:close/>
                <a:moveTo>
                  <a:pt x="1690" y="1098"/>
                </a:moveTo>
                <a:lnTo>
                  <a:pt x="1692" y="1097"/>
                </a:lnTo>
                <a:lnTo>
                  <a:pt x="1695" y="1097"/>
                </a:lnTo>
                <a:lnTo>
                  <a:pt x="1697" y="1096"/>
                </a:lnTo>
                <a:lnTo>
                  <a:pt x="1700" y="1096"/>
                </a:lnTo>
                <a:lnTo>
                  <a:pt x="1703" y="1097"/>
                </a:lnTo>
                <a:lnTo>
                  <a:pt x="1706" y="1099"/>
                </a:lnTo>
                <a:lnTo>
                  <a:pt x="1708" y="1100"/>
                </a:lnTo>
                <a:lnTo>
                  <a:pt x="1710" y="1103"/>
                </a:lnTo>
                <a:lnTo>
                  <a:pt x="1712" y="1105"/>
                </a:lnTo>
                <a:lnTo>
                  <a:pt x="1713" y="1108"/>
                </a:lnTo>
                <a:lnTo>
                  <a:pt x="1714" y="1111"/>
                </a:lnTo>
                <a:lnTo>
                  <a:pt x="1713" y="1114"/>
                </a:lnTo>
                <a:lnTo>
                  <a:pt x="1712" y="1118"/>
                </a:lnTo>
                <a:lnTo>
                  <a:pt x="1711" y="1121"/>
                </a:lnTo>
                <a:lnTo>
                  <a:pt x="1708" y="1124"/>
                </a:lnTo>
                <a:lnTo>
                  <a:pt x="1706" y="1126"/>
                </a:lnTo>
                <a:lnTo>
                  <a:pt x="1703" y="1127"/>
                </a:lnTo>
                <a:lnTo>
                  <a:pt x="1701" y="1128"/>
                </a:lnTo>
                <a:lnTo>
                  <a:pt x="1698" y="1128"/>
                </a:lnTo>
                <a:lnTo>
                  <a:pt x="1695" y="1128"/>
                </a:lnTo>
                <a:lnTo>
                  <a:pt x="1692" y="1127"/>
                </a:lnTo>
                <a:lnTo>
                  <a:pt x="1690" y="1126"/>
                </a:lnTo>
                <a:lnTo>
                  <a:pt x="1687" y="1124"/>
                </a:lnTo>
                <a:lnTo>
                  <a:pt x="1685" y="1122"/>
                </a:lnTo>
                <a:lnTo>
                  <a:pt x="1683" y="1119"/>
                </a:lnTo>
                <a:lnTo>
                  <a:pt x="1682" y="1116"/>
                </a:lnTo>
                <a:lnTo>
                  <a:pt x="1682" y="1113"/>
                </a:lnTo>
                <a:lnTo>
                  <a:pt x="1682" y="1110"/>
                </a:lnTo>
                <a:lnTo>
                  <a:pt x="1683" y="1106"/>
                </a:lnTo>
                <a:lnTo>
                  <a:pt x="1685" y="1103"/>
                </a:lnTo>
                <a:lnTo>
                  <a:pt x="1687" y="1100"/>
                </a:lnTo>
                <a:lnTo>
                  <a:pt x="1690" y="1098"/>
                </a:lnTo>
                <a:close/>
                <a:moveTo>
                  <a:pt x="2786" y="435"/>
                </a:moveTo>
                <a:lnTo>
                  <a:pt x="2788" y="433"/>
                </a:lnTo>
                <a:lnTo>
                  <a:pt x="2791" y="433"/>
                </a:lnTo>
                <a:lnTo>
                  <a:pt x="2795" y="433"/>
                </a:lnTo>
                <a:lnTo>
                  <a:pt x="2798" y="433"/>
                </a:lnTo>
                <a:lnTo>
                  <a:pt x="2801" y="434"/>
                </a:lnTo>
                <a:lnTo>
                  <a:pt x="2803" y="436"/>
                </a:lnTo>
                <a:lnTo>
                  <a:pt x="2806" y="438"/>
                </a:lnTo>
                <a:lnTo>
                  <a:pt x="2807" y="441"/>
                </a:lnTo>
                <a:lnTo>
                  <a:pt x="2809" y="443"/>
                </a:lnTo>
                <a:lnTo>
                  <a:pt x="2809" y="446"/>
                </a:lnTo>
                <a:lnTo>
                  <a:pt x="2809" y="450"/>
                </a:lnTo>
                <a:lnTo>
                  <a:pt x="2809" y="453"/>
                </a:lnTo>
                <a:lnTo>
                  <a:pt x="2808" y="456"/>
                </a:lnTo>
                <a:lnTo>
                  <a:pt x="2806" y="458"/>
                </a:lnTo>
                <a:lnTo>
                  <a:pt x="2804" y="460"/>
                </a:lnTo>
                <a:lnTo>
                  <a:pt x="2801" y="462"/>
                </a:lnTo>
                <a:lnTo>
                  <a:pt x="2799" y="463"/>
                </a:lnTo>
                <a:lnTo>
                  <a:pt x="2796" y="464"/>
                </a:lnTo>
                <a:lnTo>
                  <a:pt x="2792" y="464"/>
                </a:lnTo>
                <a:lnTo>
                  <a:pt x="2789" y="464"/>
                </a:lnTo>
                <a:lnTo>
                  <a:pt x="2786" y="462"/>
                </a:lnTo>
                <a:lnTo>
                  <a:pt x="2784" y="461"/>
                </a:lnTo>
                <a:lnTo>
                  <a:pt x="2781" y="459"/>
                </a:lnTo>
                <a:lnTo>
                  <a:pt x="2780" y="456"/>
                </a:lnTo>
                <a:lnTo>
                  <a:pt x="2778" y="453"/>
                </a:lnTo>
                <a:lnTo>
                  <a:pt x="2778" y="450"/>
                </a:lnTo>
                <a:lnTo>
                  <a:pt x="2778" y="447"/>
                </a:lnTo>
                <a:lnTo>
                  <a:pt x="2778" y="444"/>
                </a:lnTo>
                <a:lnTo>
                  <a:pt x="2779" y="441"/>
                </a:lnTo>
                <a:lnTo>
                  <a:pt x="2781" y="439"/>
                </a:lnTo>
                <a:lnTo>
                  <a:pt x="2783" y="436"/>
                </a:lnTo>
                <a:lnTo>
                  <a:pt x="2786" y="435"/>
                </a:lnTo>
                <a:close/>
                <a:moveTo>
                  <a:pt x="1704" y="955"/>
                </a:moveTo>
                <a:lnTo>
                  <a:pt x="1708" y="953"/>
                </a:lnTo>
                <a:lnTo>
                  <a:pt x="1713" y="953"/>
                </a:lnTo>
                <a:lnTo>
                  <a:pt x="1716" y="954"/>
                </a:lnTo>
                <a:lnTo>
                  <a:pt x="1719" y="955"/>
                </a:lnTo>
                <a:lnTo>
                  <a:pt x="1721" y="956"/>
                </a:lnTo>
                <a:lnTo>
                  <a:pt x="1724" y="958"/>
                </a:lnTo>
                <a:lnTo>
                  <a:pt x="1725" y="961"/>
                </a:lnTo>
                <a:lnTo>
                  <a:pt x="1727" y="964"/>
                </a:lnTo>
                <a:lnTo>
                  <a:pt x="1727" y="967"/>
                </a:lnTo>
                <a:lnTo>
                  <a:pt x="1728" y="970"/>
                </a:lnTo>
                <a:lnTo>
                  <a:pt x="1727" y="974"/>
                </a:lnTo>
                <a:lnTo>
                  <a:pt x="1725" y="977"/>
                </a:lnTo>
                <a:lnTo>
                  <a:pt x="1723" y="980"/>
                </a:lnTo>
                <a:lnTo>
                  <a:pt x="1720" y="983"/>
                </a:lnTo>
                <a:lnTo>
                  <a:pt x="1715" y="984"/>
                </a:lnTo>
                <a:lnTo>
                  <a:pt x="1711" y="985"/>
                </a:lnTo>
                <a:lnTo>
                  <a:pt x="1707" y="984"/>
                </a:lnTo>
                <a:lnTo>
                  <a:pt x="1705" y="983"/>
                </a:lnTo>
                <a:lnTo>
                  <a:pt x="1702" y="981"/>
                </a:lnTo>
                <a:lnTo>
                  <a:pt x="1700" y="979"/>
                </a:lnTo>
                <a:lnTo>
                  <a:pt x="1698" y="977"/>
                </a:lnTo>
                <a:lnTo>
                  <a:pt x="1697" y="974"/>
                </a:lnTo>
                <a:lnTo>
                  <a:pt x="1696" y="971"/>
                </a:lnTo>
                <a:lnTo>
                  <a:pt x="1696" y="968"/>
                </a:lnTo>
                <a:lnTo>
                  <a:pt x="1697" y="964"/>
                </a:lnTo>
                <a:lnTo>
                  <a:pt x="1698" y="960"/>
                </a:lnTo>
                <a:lnTo>
                  <a:pt x="1701" y="957"/>
                </a:lnTo>
                <a:lnTo>
                  <a:pt x="1704" y="955"/>
                </a:lnTo>
                <a:close/>
                <a:moveTo>
                  <a:pt x="2646" y="401"/>
                </a:moveTo>
                <a:lnTo>
                  <a:pt x="2648" y="399"/>
                </a:lnTo>
                <a:lnTo>
                  <a:pt x="2651" y="399"/>
                </a:lnTo>
                <a:lnTo>
                  <a:pt x="2657" y="399"/>
                </a:lnTo>
                <a:lnTo>
                  <a:pt x="2660" y="400"/>
                </a:lnTo>
                <a:lnTo>
                  <a:pt x="2663" y="401"/>
                </a:lnTo>
                <a:lnTo>
                  <a:pt x="2665" y="403"/>
                </a:lnTo>
                <a:lnTo>
                  <a:pt x="2667" y="406"/>
                </a:lnTo>
                <a:lnTo>
                  <a:pt x="2668" y="408"/>
                </a:lnTo>
                <a:lnTo>
                  <a:pt x="2669" y="411"/>
                </a:lnTo>
                <a:lnTo>
                  <a:pt x="2670" y="414"/>
                </a:lnTo>
                <a:lnTo>
                  <a:pt x="2669" y="417"/>
                </a:lnTo>
                <a:lnTo>
                  <a:pt x="2668" y="421"/>
                </a:lnTo>
                <a:lnTo>
                  <a:pt x="2666" y="424"/>
                </a:lnTo>
                <a:lnTo>
                  <a:pt x="2664" y="426"/>
                </a:lnTo>
                <a:lnTo>
                  <a:pt x="2662" y="428"/>
                </a:lnTo>
                <a:lnTo>
                  <a:pt x="2659" y="429"/>
                </a:lnTo>
                <a:lnTo>
                  <a:pt x="2656" y="430"/>
                </a:lnTo>
                <a:lnTo>
                  <a:pt x="2651" y="430"/>
                </a:lnTo>
                <a:lnTo>
                  <a:pt x="2647" y="429"/>
                </a:lnTo>
                <a:lnTo>
                  <a:pt x="2645" y="427"/>
                </a:lnTo>
                <a:lnTo>
                  <a:pt x="2642" y="425"/>
                </a:lnTo>
                <a:lnTo>
                  <a:pt x="2640" y="423"/>
                </a:lnTo>
                <a:lnTo>
                  <a:pt x="2639" y="420"/>
                </a:lnTo>
                <a:lnTo>
                  <a:pt x="2638" y="418"/>
                </a:lnTo>
                <a:lnTo>
                  <a:pt x="2638" y="414"/>
                </a:lnTo>
                <a:lnTo>
                  <a:pt x="2638" y="411"/>
                </a:lnTo>
                <a:lnTo>
                  <a:pt x="2639" y="408"/>
                </a:lnTo>
                <a:lnTo>
                  <a:pt x="2641" y="405"/>
                </a:lnTo>
                <a:lnTo>
                  <a:pt x="2643" y="403"/>
                </a:lnTo>
                <a:lnTo>
                  <a:pt x="2646" y="401"/>
                </a:lnTo>
                <a:close/>
                <a:moveTo>
                  <a:pt x="2504" y="379"/>
                </a:moveTo>
                <a:lnTo>
                  <a:pt x="2506" y="378"/>
                </a:lnTo>
                <a:lnTo>
                  <a:pt x="2508" y="377"/>
                </a:lnTo>
                <a:lnTo>
                  <a:pt x="2510" y="377"/>
                </a:lnTo>
                <a:lnTo>
                  <a:pt x="2513" y="377"/>
                </a:lnTo>
                <a:lnTo>
                  <a:pt x="2516" y="378"/>
                </a:lnTo>
                <a:lnTo>
                  <a:pt x="2519" y="379"/>
                </a:lnTo>
                <a:lnTo>
                  <a:pt x="2522" y="381"/>
                </a:lnTo>
                <a:lnTo>
                  <a:pt x="2524" y="383"/>
                </a:lnTo>
                <a:lnTo>
                  <a:pt x="2525" y="385"/>
                </a:lnTo>
                <a:lnTo>
                  <a:pt x="2527" y="388"/>
                </a:lnTo>
                <a:lnTo>
                  <a:pt x="2527" y="391"/>
                </a:lnTo>
                <a:lnTo>
                  <a:pt x="2527" y="394"/>
                </a:lnTo>
                <a:lnTo>
                  <a:pt x="2526" y="398"/>
                </a:lnTo>
                <a:lnTo>
                  <a:pt x="2525" y="402"/>
                </a:lnTo>
                <a:lnTo>
                  <a:pt x="2522" y="404"/>
                </a:lnTo>
                <a:lnTo>
                  <a:pt x="2519" y="407"/>
                </a:lnTo>
                <a:lnTo>
                  <a:pt x="2517" y="408"/>
                </a:lnTo>
                <a:lnTo>
                  <a:pt x="2515" y="408"/>
                </a:lnTo>
                <a:lnTo>
                  <a:pt x="2512" y="409"/>
                </a:lnTo>
                <a:lnTo>
                  <a:pt x="2510" y="409"/>
                </a:lnTo>
                <a:lnTo>
                  <a:pt x="2507" y="408"/>
                </a:lnTo>
                <a:lnTo>
                  <a:pt x="2504" y="407"/>
                </a:lnTo>
                <a:lnTo>
                  <a:pt x="2501" y="405"/>
                </a:lnTo>
                <a:lnTo>
                  <a:pt x="2499" y="403"/>
                </a:lnTo>
                <a:lnTo>
                  <a:pt x="2497" y="400"/>
                </a:lnTo>
                <a:lnTo>
                  <a:pt x="2496" y="398"/>
                </a:lnTo>
                <a:lnTo>
                  <a:pt x="2496" y="394"/>
                </a:lnTo>
                <a:lnTo>
                  <a:pt x="2496" y="391"/>
                </a:lnTo>
                <a:lnTo>
                  <a:pt x="2497" y="387"/>
                </a:lnTo>
                <a:lnTo>
                  <a:pt x="2498" y="384"/>
                </a:lnTo>
                <a:lnTo>
                  <a:pt x="2501" y="381"/>
                </a:lnTo>
                <a:lnTo>
                  <a:pt x="2504" y="379"/>
                </a:lnTo>
                <a:close/>
                <a:moveTo>
                  <a:pt x="1715" y="812"/>
                </a:moveTo>
                <a:lnTo>
                  <a:pt x="1718" y="811"/>
                </a:lnTo>
                <a:lnTo>
                  <a:pt x="1720" y="810"/>
                </a:lnTo>
                <a:lnTo>
                  <a:pt x="1723" y="810"/>
                </a:lnTo>
                <a:lnTo>
                  <a:pt x="1725" y="810"/>
                </a:lnTo>
                <a:lnTo>
                  <a:pt x="1728" y="810"/>
                </a:lnTo>
                <a:lnTo>
                  <a:pt x="1731" y="812"/>
                </a:lnTo>
                <a:lnTo>
                  <a:pt x="1734" y="813"/>
                </a:lnTo>
                <a:lnTo>
                  <a:pt x="1736" y="816"/>
                </a:lnTo>
                <a:lnTo>
                  <a:pt x="1737" y="818"/>
                </a:lnTo>
                <a:lnTo>
                  <a:pt x="1739" y="821"/>
                </a:lnTo>
                <a:lnTo>
                  <a:pt x="1739" y="824"/>
                </a:lnTo>
                <a:lnTo>
                  <a:pt x="1739" y="827"/>
                </a:lnTo>
                <a:lnTo>
                  <a:pt x="1738" y="831"/>
                </a:lnTo>
                <a:lnTo>
                  <a:pt x="1737" y="834"/>
                </a:lnTo>
                <a:lnTo>
                  <a:pt x="1734" y="837"/>
                </a:lnTo>
                <a:lnTo>
                  <a:pt x="1731" y="839"/>
                </a:lnTo>
                <a:lnTo>
                  <a:pt x="1729" y="840"/>
                </a:lnTo>
                <a:lnTo>
                  <a:pt x="1727" y="841"/>
                </a:lnTo>
                <a:lnTo>
                  <a:pt x="1724" y="841"/>
                </a:lnTo>
                <a:lnTo>
                  <a:pt x="1721" y="841"/>
                </a:lnTo>
                <a:lnTo>
                  <a:pt x="1718" y="840"/>
                </a:lnTo>
                <a:lnTo>
                  <a:pt x="1716" y="839"/>
                </a:lnTo>
                <a:lnTo>
                  <a:pt x="1713" y="837"/>
                </a:lnTo>
                <a:lnTo>
                  <a:pt x="1711" y="835"/>
                </a:lnTo>
                <a:lnTo>
                  <a:pt x="1709" y="833"/>
                </a:lnTo>
                <a:lnTo>
                  <a:pt x="1708" y="830"/>
                </a:lnTo>
                <a:lnTo>
                  <a:pt x="1708" y="827"/>
                </a:lnTo>
                <a:lnTo>
                  <a:pt x="1708" y="823"/>
                </a:lnTo>
                <a:lnTo>
                  <a:pt x="1709" y="820"/>
                </a:lnTo>
                <a:lnTo>
                  <a:pt x="1710" y="817"/>
                </a:lnTo>
                <a:lnTo>
                  <a:pt x="1713" y="814"/>
                </a:lnTo>
                <a:lnTo>
                  <a:pt x="1715" y="812"/>
                </a:lnTo>
                <a:close/>
                <a:moveTo>
                  <a:pt x="2359" y="373"/>
                </a:moveTo>
                <a:lnTo>
                  <a:pt x="2361" y="372"/>
                </a:lnTo>
                <a:lnTo>
                  <a:pt x="2362" y="372"/>
                </a:lnTo>
                <a:lnTo>
                  <a:pt x="2366" y="371"/>
                </a:lnTo>
                <a:lnTo>
                  <a:pt x="2370" y="371"/>
                </a:lnTo>
                <a:lnTo>
                  <a:pt x="2373" y="372"/>
                </a:lnTo>
                <a:lnTo>
                  <a:pt x="2375" y="374"/>
                </a:lnTo>
                <a:lnTo>
                  <a:pt x="2378" y="375"/>
                </a:lnTo>
                <a:lnTo>
                  <a:pt x="2380" y="378"/>
                </a:lnTo>
                <a:lnTo>
                  <a:pt x="2381" y="380"/>
                </a:lnTo>
                <a:lnTo>
                  <a:pt x="2382" y="383"/>
                </a:lnTo>
                <a:lnTo>
                  <a:pt x="2383" y="387"/>
                </a:lnTo>
                <a:lnTo>
                  <a:pt x="2382" y="391"/>
                </a:lnTo>
                <a:lnTo>
                  <a:pt x="2381" y="393"/>
                </a:lnTo>
                <a:lnTo>
                  <a:pt x="2381" y="395"/>
                </a:lnTo>
                <a:lnTo>
                  <a:pt x="2378" y="398"/>
                </a:lnTo>
                <a:lnTo>
                  <a:pt x="2375" y="401"/>
                </a:lnTo>
                <a:lnTo>
                  <a:pt x="2373" y="402"/>
                </a:lnTo>
                <a:lnTo>
                  <a:pt x="2371" y="402"/>
                </a:lnTo>
                <a:lnTo>
                  <a:pt x="2367" y="403"/>
                </a:lnTo>
                <a:lnTo>
                  <a:pt x="2364" y="403"/>
                </a:lnTo>
                <a:lnTo>
                  <a:pt x="2361" y="402"/>
                </a:lnTo>
                <a:lnTo>
                  <a:pt x="2358" y="400"/>
                </a:lnTo>
                <a:lnTo>
                  <a:pt x="2356" y="398"/>
                </a:lnTo>
                <a:lnTo>
                  <a:pt x="2354" y="396"/>
                </a:lnTo>
                <a:lnTo>
                  <a:pt x="2352" y="393"/>
                </a:lnTo>
                <a:lnTo>
                  <a:pt x="2351" y="390"/>
                </a:lnTo>
                <a:lnTo>
                  <a:pt x="2351" y="387"/>
                </a:lnTo>
                <a:lnTo>
                  <a:pt x="2351" y="383"/>
                </a:lnTo>
                <a:lnTo>
                  <a:pt x="2352" y="381"/>
                </a:lnTo>
                <a:lnTo>
                  <a:pt x="2353" y="379"/>
                </a:lnTo>
                <a:lnTo>
                  <a:pt x="2356" y="376"/>
                </a:lnTo>
                <a:lnTo>
                  <a:pt x="2359" y="373"/>
                </a:lnTo>
                <a:close/>
                <a:moveTo>
                  <a:pt x="1747" y="672"/>
                </a:moveTo>
                <a:lnTo>
                  <a:pt x="1750" y="670"/>
                </a:lnTo>
                <a:lnTo>
                  <a:pt x="1754" y="670"/>
                </a:lnTo>
                <a:lnTo>
                  <a:pt x="1757" y="670"/>
                </a:lnTo>
                <a:lnTo>
                  <a:pt x="1761" y="671"/>
                </a:lnTo>
                <a:lnTo>
                  <a:pt x="1764" y="672"/>
                </a:lnTo>
                <a:lnTo>
                  <a:pt x="1766" y="674"/>
                </a:lnTo>
                <a:lnTo>
                  <a:pt x="1768" y="676"/>
                </a:lnTo>
                <a:lnTo>
                  <a:pt x="1769" y="679"/>
                </a:lnTo>
                <a:lnTo>
                  <a:pt x="1770" y="682"/>
                </a:lnTo>
                <a:lnTo>
                  <a:pt x="1771" y="685"/>
                </a:lnTo>
                <a:lnTo>
                  <a:pt x="1771" y="688"/>
                </a:lnTo>
                <a:lnTo>
                  <a:pt x="1770" y="691"/>
                </a:lnTo>
                <a:lnTo>
                  <a:pt x="1767" y="696"/>
                </a:lnTo>
                <a:lnTo>
                  <a:pt x="1765" y="698"/>
                </a:lnTo>
                <a:lnTo>
                  <a:pt x="1763" y="699"/>
                </a:lnTo>
                <a:lnTo>
                  <a:pt x="1760" y="701"/>
                </a:lnTo>
                <a:lnTo>
                  <a:pt x="1756" y="701"/>
                </a:lnTo>
                <a:lnTo>
                  <a:pt x="1753" y="701"/>
                </a:lnTo>
                <a:lnTo>
                  <a:pt x="1749" y="700"/>
                </a:lnTo>
                <a:lnTo>
                  <a:pt x="1746" y="699"/>
                </a:lnTo>
                <a:lnTo>
                  <a:pt x="1744" y="697"/>
                </a:lnTo>
                <a:lnTo>
                  <a:pt x="1742" y="695"/>
                </a:lnTo>
                <a:lnTo>
                  <a:pt x="1741" y="692"/>
                </a:lnTo>
                <a:lnTo>
                  <a:pt x="1740" y="689"/>
                </a:lnTo>
                <a:lnTo>
                  <a:pt x="1739" y="686"/>
                </a:lnTo>
                <a:lnTo>
                  <a:pt x="1739" y="683"/>
                </a:lnTo>
                <a:lnTo>
                  <a:pt x="1740" y="680"/>
                </a:lnTo>
                <a:lnTo>
                  <a:pt x="1743" y="675"/>
                </a:lnTo>
                <a:lnTo>
                  <a:pt x="1745" y="673"/>
                </a:lnTo>
                <a:lnTo>
                  <a:pt x="1747" y="672"/>
                </a:lnTo>
                <a:close/>
                <a:moveTo>
                  <a:pt x="2216" y="386"/>
                </a:moveTo>
                <a:lnTo>
                  <a:pt x="2218" y="385"/>
                </a:lnTo>
                <a:lnTo>
                  <a:pt x="2221" y="384"/>
                </a:lnTo>
                <a:lnTo>
                  <a:pt x="2224" y="384"/>
                </a:lnTo>
                <a:lnTo>
                  <a:pt x="2227" y="384"/>
                </a:lnTo>
                <a:lnTo>
                  <a:pt x="2230" y="385"/>
                </a:lnTo>
                <a:lnTo>
                  <a:pt x="2233" y="387"/>
                </a:lnTo>
                <a:lnTo>
                  <a:pt x="2235" y="389"/>
                </a:lnTo>
                <a:lnTo>
                  <a:pt x="2237" y="391"/>
                </a:lnTo>
                <a:lnTo>
                  <a:pt x="2238" y="394"/>
                </a:lnTo>
                <a:lnTo>
                  <a:pt x="2239" y="397"/>
                </a:lnTo>
                <a:lnTo>
                  <a:pt x="2239" y="402"/>
                </a:lnTo>
                <a:lnTo>
                  <a:pt x="2238" y="406"/>
                </a:lnTo>
                <a:lnTo>
                  <a:pt x="2237" y="408"/>
                </a:lnTo>
                <a:lnTo>
                  <a:pt x="2235" y="410"/>
                </a:lnTo>
                <a:lnTo>
                  <a:pt x="2233" y="412"/>
                </a:lnTo>
                <a:lnTo>
                  <a:pt x="2232" y="413"/>
                </a:lnTo>
                <a:lnTo>
                  <a:pt x="2229" y="414"/>
                </a:lnTo>
                <a:lnTo>
                  <a:pt x="2226" y="415"/>
                </a:lnTo>
                <a:lnTo>
                  <a:pt x="2223" y="415"/>
                </a:lnTo>
                <a:lnTo>
                  <a:pt x="2220" y="415"/>
                </a:lnTo>
                <a:lnTo>
                  <a:pt x="2217" y="414"/>
                </a:lnTo>
                <a:lnTo>
                  <a:pt x="2214" y="412"/>
                </a:lnTo>
                <a:lnTo>
                  <a:pt x="2212" y="410"/>
                </a:lnTo>
                <a:lnTo>
                  <a:pt x="2210" y="408"/>
                </a:lnTo>
                <a:lnTo>
                  <a:pt x="2209" y="405"/>
                </a:lnTo>
                <a:lnTo>
                  <a:pt x="2208" y="402"/>
                </a:lnTo>
                <a:lnTo>
                  <a:pt x="2208" y="397"/>
                </a:lnTo>
                <a:lnTo>
                  <a:pt x="2209" y="393"/>
                </a:lnTo>
                <a:lnTo>
                  <a:pt x="2211" y="391"/>
                </a:lnTo>
                <a:lnTo>
                  <a:pt x="2212" y="389"/>
                </a:lnTo>
                <a:lnTo>
                  <a:pt x="2214" y="387"/>
                </a:lnTo>
                <a:lnTo>
                  <a:pt x="2216" y="386"/>
                </a:lnTo>
                <a:close/>
                <a:moveTo>
                  <a:pt x="2076" y="418"/>
                </a:moveTo>
                <a:lnTo>
                  <a:pt x="2079" y="417"/>
                </a:lnTo>
                <a:lnTo>
                  <a:pt x="2082" y="416"/>
                </a:lnTo>
                <a:lnTo>
                  <a:pt x="2085" y="416"/>
                </a:lnTo>
                <a:lnTo>
                  <a:pt x="2088" y="417"/>
                </a:lnTo>
                <a:lnTo>
                  <a:pt x="2091" y="418"/>
                </a:lnTo>
                <a:lnTo>
                  <a:pt x="2094" y="420"/>
                </a:lnTo>
                <a:lnTo>
                  <a:pt x="2096" y="422"/>
                </a:lnTo>
                <a:lnTo>
                  <a:pt x="2098" y="424"/>
                </a:lnTo>
                <a:lnTo>
                  <a:pt x="2099" y="427"/>
                </a:lnTo>
                <a:lnTo>
                  <a:pt x="2100" y="433"/>
                </a:lnTo>
                <a:lnTo>
                  <a:pt x="2099" y="435"/>
                </a:lnTo>
                <a:lnTo>
                  <a:pt x="2098" y="438"/>
                </a:lnTo>
                <a:lnTo>
                  <a:pt x="2097" y="440"/>
                </a:lnTo>
                <a:lnTo>
                  <a:pt x="2096" y="442"/>
                </a:lnTo>
                <a:lnTo>
                  <a:pt x="2092" y="446"/>
                </a:lnTo>
                <a:lnTo>
                  <a:pt x="2088" y="447"/>
                </a:lnTo>
                <a:lnTo>
                  <a:pt x="2085" y="448"/>
                </a:lnTo>
                <a:lnTo>
                  <a:pt x="2082" y="448"/>
                </a:lnTo>
                <a:lnTo>
                  <a:pt x="2079" y="447"/>
                </a:lnTo>
                <a:lnTo>
                  <a:pt x="2076" y="446"/>
                </a:lnTo>
                <a:lnTo>
                  <a:pt x="2074" y="444"/>
                </a:lnTo>
                <a:lnTo>
                  <a:pt x="2072" y="442"/>
                </a:lnTo>
                <a:lnTo>
                  <a:pt x="2070" y="440"/>
                </a:lnTo>
                <a:lnTo>
                  <a:pt x="2069" y="437"/>
                </a:lnTo>
                <a:lnTo>
                  <a:pt x="2068" y="431"/>
                </a:lnTo>
                <a:lnTo>
                  <a:pt x="2068" y="429"/>
                </a:lnTo>
                <a:lnTo>
                  <a:pt x="2069" y="426"/>
                </a:lnTo>
                <a:lnTo>
                  <a:pt x="2070" y="424"/>
                </a:lnTo>
                <a:lnTo>
                  <a:pt x="2072" y="422"/>
                </a:lnTo>
                <a:lnTo>
                  <a:pt x="2076" y="418"/>
                </a:lnTo>
                <a:close/>
                <a:moveTo>
                  <a:pt x="1824" y="551"/>
                </a:moveTo>
                <a:lnTo>
                  <a:pt x="1827" y="550"/>
                </a:lnTo>
                <a:lnTo>
                  <a:pt x="1829" y="550"/>
                </a:lnTo>
                <a:lnTo>
                  <a:pt x="1832" y="549"/>
                </a:lnTo>
                <a:lnTo>
                  <a:pt x="1834" y="549"/>
                </a:lnTo>
                <a:lnTo>
                  <a:pt x="1839" y="551"/>
                </a:lnTo>
                <a:lnTo>
                  <a:pt x="1841" y="552"/>
                </a:lnTo>
                <a:lnTo>
                  <a:pt x="1843" y="554"/>
                </a:lnTo>
                <a:lnTo>
                  <a:pt x="1845" y="557"/>
                </a:lnTo>
                <a:lnTo>
                  <a:pt x="1847" y="559"/>
                </a:lnTo>
                <a:lnTo>
                  <a:pt x="1848" y="562"/>
                </a:lnTo>
                <a:lnTo>
                  <a:pt x="1848" y="565"/>
                </a:lnTo>
                <a:lnTo>
                  <a:pt x="1848" y="568"/>
                </a:lnTo>
                <a:lnTo>
                  <a:pt x="1847" y="571"/>
                </a:lnTo>
                <a:lnTo>
                  <a:pt x="1845" y="574"/>
                </a:lnTo>
                <a:lnTo>
                  <a:pt x="1843" y="576"/>
                </a:lnTo>
                <a:lnTo>
                  <a:pt x="1840" y="579"/>
                </a:lnTo>
                <a:lnTo>
                  <a:pt x="1838" y="580"/>
                </a:lnTo>
                <a:lnTo>
                  <a:pt x="1835" y="581"/>
                </a:lnTo>
                <a:lnTo>
                  <a:pt x="1833" y="581"/>
                </a:lnTo>
                <a:lnTo>
                  <a:pt x="1830" y="581"/>
                </a:lnTo>
                <a:lnTo>
                  <a:pt x="1825" y="579"/>
                </a:lnTo>
                <a:lnTo>
                  <a:pt x="1823" y="578"/>
                </a:lnTo>
                <a:lnTo>
                  <a:pt x="1821" y="576"/>
                </a:lnTo>
                <a:lnTo>
                  <a:pt x="1819" y="574"/>
                </a:lnTo>
                <a:lnTo>
                  <a:pt x="1817" y="571"/>
                </a:lnTo>
                <a:lnTo>
                  <a:pt x="1817" y="568"/>
                </a:lnTo>
                <a:lnTo>
                  <a:pt x="1816" y="565"/>
                </a:lnTo>
                <a:lnTo>
                  <a:pt x="1817" y="562"/>
                </a:lnTo>
                <a:lnTo>
                  <a:pt x="1817" y="559"/>
                </a:lnTo>
                <a:lnTo>
                  <a:pt x="1819" y="556"/>
                </a:lnTo>
                <a:lnTo>
                  <a:pt x="1821" y="554"/>
                </a:lnTo>
                <a:lnTo>
                  <a:pt x="1824" y="551"/>
                </a:lnTo>
                <a:close/>
                <a:moveTo>
                  <a:pt x="1942" y="471"/>
                </a:moveTo>
                <a:lnTo>
                  <a:pt x="1945" y="469"/>
                </a:lnTo>
                <a:lnTo>
                  <a:pt x="1949" y="469"/>
                </a:lnTo>
                <a:lnTo>
                  <a:pt x="1952" y="469"/>
                </a:lnTo>
                <a:lnTo>
                  <a:pt x="1955" y="469"/>
                </a:lnTo>
                <a:lnTo>
                  <a:pt x="1958" y="471"/>
                </a:lnTo>
                <a:lnTo>
                  <a:pt x="1960" y="472"/>
                </a:lnTo>
                <a:lnTo>
                  <a:pt x="1962" y="475"/>
                </a:lnTo>
                <a:lnTo>
                  <a:pt x="1964" y="477"/>
                </a:lnTo>
                <a:lnTo>
                  <a:pt x="1965" y="480"/>
                </a:lnTo>
                <a:lnTo>
                  <a:pt x="1966" y="483"/>
                </a:lnTo>
                <a:lnTo>
                  <a:pt x="1966" y="486"/>
                </a:lnTo>
                <a:lnTo>
                  <a:pt x="1965" y="489"/>
                </a:lnTo>
                <a:lnTo>
                  <a:pt x="1964" y="492"/>
                </a:lnTo>
                <a:lnTo>
                  <a:pt x="1962" y="494"/>
                </a:lnTo>
                <a:lnTo>
                  <a:pt x="1960" y="496"/>
                </a:lnTo>
                <a:lnTo>
                  <a:pt x="1958" y="498"/>
                </a:lnTo>
                <a:lnTo>
                  <a:pt x="1954" y="499"/>
                </a:lnTo>
                <a:lnTo>
                  <a:pt x="1951" y="500"/>
                </a:lnTo>
                <a:lnTo>
                  <a:pt x="1948" y="500"/>
                </a:lnTo>
                <a:lnTo>
                  <a:pt x="1945" y="499"/>
                </a:lnTo>
                <a:lnTo>
                  <a:pt x="1942" y="498"/>
                </a:lnTo>
                <a:lnTo>
                  <a:pt x="1939" y="496"/>
                </a:lnTo>
                <a:lnTo>
                  <a:pt x="1937" y="494"/>
                </a:lnTo>
                <a:lnTo>
                  <a:pt x="1936" y="491"/>
                </a:lnTo>
                <a:lnTo>
                  <a:pt x="1934" y="488"/>
                </a:lnTo>
                <a:lnTo>
                  <a:pt x="1934" y="485"/>
                </a:lnTo>
                <a:lnTo>
                  <a:pt x="1934" y="483"/>
                </a:lnTo>
                <a:lnTo>
                  <a:pt x="1935" y="480"/>
                </a:lnTo>
                <a:lnTo>
                  <a:pt x="1936" y="477"/>
                </a:lnTo>
                <a:lnTo>
                  <a:pt x="1937" y="475"/>
                </a:lnTo>
                <a:lnTo>
                  <a:pt x="1939" y="472"/>
                </a:lnTo>
                <a:lnTo>
                  <a:pt x="1942" y="471"/>
                </a:lnTo>
                <a:close/>
                <a:moveTo>
                  <a:pt x="4755" y="1575"/>
                </a:moveTo>
                <a:lnTo>
                  <a:pt x="4758" y="1574"/>
                </a:lnTo>
                <a:lnTo>
                  <a:pt x="4761" y="1573"/>
                </a:lnTo>
                <a:lnTo>
                  <a:pt x="4764" y="1573"/>
                </a:lnTo>
                <a:lnTo>
                  <a:pt x="4767" y="1574"/>
                </a:lnTo>
                <a:lnTo>
                  <a:pt x="4770" y="1575"/>
                </a:lnTo>
                <a:lnTo>
                  <a:pt x="4773" y="1576"/>
                </a:lnTo>
                <a:lnTo>
                  <a:pt x="4775" y="1579"/>
                </a:lnTo>
                <a:lnTo>
                  <a:pt x="4777" y="1581"/>
                </a:lnTo>
                <a:lnTo>
                  <a:pt x="4778" y="1584"/>
                </a:lnTo>
                <a:lnTo>
                  <a:pt x="4779" y="1587"/>
                </a:lnTo>
                <a:lnTo>
                  <a:pt x="4779" y="1590"/>
                </a:lnTo>
                <a:lnTo>
                  <a:pt x="4778" y="1593"/>
                </a:lnTo>
                <a:lnTo>
                  <a:pt x="4777" y="1596"/>
                </a:lnTo>
                <a:lnTo>
                  <a:pt x="4775" y="1598"/>
                </a:lnTo>
                <a:lnTo>
                  <a:pt x="4773" y="1601"/>
                </a:lnTo>
                <a:lnTo>
                  <a:pt x="4771" y="1602"/>
                </a:lnTo>
                <a:lnTo>
                  <a:pt x="4768" y="1604"/>
                </a:lnTo>
                <a:lnTo>
                  <a:pt x="4765" y="1604"/>
                </a:lnTo>
                <a:lnTo>
                  <a:pt x="4762" y="1604"/>
                </a:lnTo>
                <a:lnTo>
                  <a:pt x="4759" y="1604"/>
                </a:lnTo>
                <a:lnTo>
                  <a:pt x="4756" y="1603"/>
                </a:lnTo>
                <a:lnTo>
                  <a:pt x="4753" y="1601"/>
                </a:lnTo>
                <a:lnTo>
                  <a:pt x="4751" y="1599"/>
                </a:lnTo>
                <a:lnTo>
                  <a:pt x="4749" y="1596"/>
                </a:lnTo>
                <a:lnTo>
                  <a:pt x="4748" y="1594"/>
                </a:lnTo>
                <a:lnTo>
                  <a:pt x="4747" y="1591"/>
                </a:lnTo>
                <a:lnTo>
                  <a:pt x="4747" y="1588"/>
                </a:lnTo>
                <a:lnTo>
                  <a:pt x="4748" y="1584"/>
                </a:lnTo>
                <a:lnTo>
                  <a:pt x="4749" y="1581"/>
                </a:lnTo>
                <a:lnTo>
                  <a:pt x="4751" y="1579"/>
                </a:lnTo>
                <a:lnTo>
                  <a:pt x="4753" y="1577"/>
                </a:lnTo>
                <a:lnTo>
                  <a:pt x="4755" y="1575"/>
                </a:lnTo>
                <a:close/>
                <a:moveTo>
                  <a:pt x="4617" y="1533"/>
                </a:moveTo>
                <a:lnTo>
                  <a:pt x="4620" y="1531"/>
                </a:lnTo>
                <a:lnTo>
                  <a:pt x="4624" y="1531"/>
                </a:lnTo>
                <a:lnTo>
                  <a:pt x="4627" y="1531"/>
                </a:lnTo>
                <a:lnTo>
                  <a:pt x="4630" y="1531"/>
                </a:lnTo>
                <a:lnTo>
                  <a:pt x="4633" y="1533"/>
                </a:lnTo>
                <a:lnTo>
                  <a:pt x="4636" y="1535"/>
                </a:lnTo>
                <a:lnTo>
                  <a:pt x="4638" y="1537"/>
                </a:lnTo>
                <a:lnTo>
                  <a:pt x="4639" y="1539"/>
                </a:lnTo>
                <a:lnTo>
                  <a:pt x="4640" y="1542"/>
                </a:lnTo>
                <a:lnTo>
                  <a:pt x="4641" y="1545"/>
                </a:lnTo>
                <a:lnTo>
                  <a:pt x="4641" y="1548"/>
                </a:lnTo>
                <a:lnTo>
                  <a:pt x="4640" y="1551"/>
                </a:lnTo>
                <a:lnTo>
                  <a:pt x="4639" y="1554"/>
                </a:lnTo>
                <a:lnTo>
                  <a:pt x="4637" y="1556"/>
                </a:lnTo>
                <a:lnTo>
                  <a:pt x="4635" y="1558"/>
                </a:lnTo>
                <a:lnTo>
                  <a:pt x="4633" y="1560"/>
                </a:lnTo>
                <a:lnTo>
                  <a:pt x="4630" y="1561"/>
                </a:lnTo>
                <a:lnTo>
                  <a:pt x="4627" y="1562"/>
                </a:lnTo>
                <a:lnTo>
                  <a:pt x="4624" y="1562"/>
                </a:lnTo>
                <a:lnTo>
                  <a:pt x="4620" y="1561"/>
                </a:lnTo>
                <a:lnTo>
                  <a:pt x="4617" y="1560"/>
                </a:lnTo>
                <a:lnTo>
                  <a:pt x="4615" y="1558"/>
                </a:lnTo>
                <a:lnTo>
                  <a:pt x="4613" y="1556"/>
                </a:lnTo>
                <a:lnTo>
                  <a:pt x="4611" y="1553"/>
                </a:lnTo>
                <a:lnTo>
                  <a:pt x="4610" y="1551"/>
                </a:lnTo>
                <a:lnTo>
                  <a:pt x="4610" y="1548"/>
                </a:lnTo>
                <a:lnTo>
                  <a:pt x="4610" y="1545"/>
                </a:lnTo>
                <a:lnTo>
                  <a:pt x="4610" y="1541"/>
                </a:lnTo>
                <a:lnTo>
                  <a:pt x="4612" y="1539"/>
                </a:lnTo>
                <a:lnTo>
                  <a:pt x="4613" y="1536"/>
                </a:lnTo>
                <a:lnTo>
                  <a:pt x="4615" y="1534"/>
                </a:lnTo>
                <a:lnTo>
                  <a:pt x="4617" y="1533"/>
                </a:lnTo>
                <a:close/>
                <a:moveTo>
                  <a:pt x="4482" y="1484"/>
                </a:moveTo>
                <a:lnTo>
                  <a:pt x="4485" y="1483"/>
                </a:lnTo>
                <a:lnTo>
                  <a:pt x="4488" y="1482"/>
                </a:lnTo>
                <a:lnTo>
                  <a:pt x="4492" y="1482"/>
                </a:lnTo>
                <a:lnTo>
                  <a:pt x="4495" y="1483"/>
                </a:lnTo>
                <a:lnTo>
                  <a:pt x="4498" y="1485"/>
                </a:lnTo>
                <a:lnTo>
                  <a:pt x="4500" y="1486"/>
                </a:lnTo>
                <a:lnTo>
                  <a:pt x="4502" y="1489"/>
                </a:lnTo>
                <a:lnTo>
                  <a:pt x="4504" y="1491"/>
                </a:lnTo>
                <a:lnTo>
                  <a:pt x="4505" y="1494"/>
                </a:lnTo>
                <a:lnTo>
                  <a:pt x="4505" y="1497"/>
                </a:lnTo>
                <a:lnTo>
                  <a:pt x="4505" y="1500"/>
                </a:lnTo>
                <a:lnTo>
                  <a:pt x="4504" y="1503"/>
                </a:lnTo>
                <a:lnTo>
                  <a:pt x="4503" y="1506"/>
                </a:lnTo>
                <a:lnTo>
                  <a:pt x="4501" y="1508"/>
                </a:lnTo>
                <a:lnTo>
                  <a:pt x="4500" y="1510"/>
                </a:lnTo>
                <a:lnTo>
                  <a:pt x="4497" y="1511"/>
                </a:lnTo>
                <a:lnTo>
                  <a:pt x="4494" y="1513"/>
                </a:lnTo>
                <a:lnTo>
                  <a:pt x="4491" y="1513"/>
                </a:lnTo>
                <a:lnTo>
                  <a:pt x="4487" y="1513"/>
                </a:lnTo>
                <a:lnTo>
                  <a:pt x="4484" y="1512"/>
                </a:lnTo>
                <a:lnTo>
                  <a:pt x="4481" y="1511"/>
                </a:lnTo>
                <a:lnTo>
                  <a:pt x="4479" y="1509"/>
                </a:lnTo>
                <a:lnTo>
                  <a:pt x="4477" y="1507"/>
                </a:lnTo>
                <a:lnTo>
                  <a:pt x="4475" y="1504"/>
                </a:lnTo>
                <a:lnTo>
                  <a:pt x="4474" y="1501"/>
                </a:lnTo>
                <a:lnTo>
                  <a:pt x="4474" y="1498"/>
                </a:lnTo>
                <a:lnTo>
                  <a:pt x="4474" y="1495"/>
                </a:lnTo>
                <a:lnTo>
                  <a:pt x="4475" y="1492"/>
                </a:lnTo>
                <a:lnTo>
                  <a:pt x="4476" y="1490"/>
                </a:lnTo>
                <a:lnTo>
                  <a:pt x="4478" y="1487"/>
                </a:lnTo>
                <a:lnTo>
                  <a:pt x="4480" y="1486"/>
                </a:lnTo>
                <a:lnTo>
                  <a:pt x="4482" y="1484"/>
                </a:lnTo>
                <a:close/>
                <a:moveTo>
                  <a:pt x="4349" y="1428"/>
                </a:moveTo>
                <a:lnTo>
                  <a:pt x="4352" y="1426"/>
                </a:lnTo>
                <a:lnTo>
                  <a:pt x="4356" y="1426"/>
                </a:lnTo>
                <a:lnTo>
                  <a:pt x="4360" y="1426"/>
                </a:lnTo>
                <a:lnTo>
                  <a:pt x="4364" y="1427"/>
                </a:lnTo>
                <a:lnTo>
                  <a:pt x="4366" y="1429"/>
                </a:lnTo>
                <a:lnTo>
                  <a:pt x="4369" y="1431"/>
                </a:lnTo>
                <a:lnTo>
                  <a:pt x="4370" y="1433"/>
                </a:lnTo>
                <a:lnTo>
                  <a:pt x="4372" y="1436"/>
                </a:lnTo>
                <a:lnTo>
                  <a:pt x="4372" y="1439"/>
                </a:lnTo>
                <a:lnTo>
                  <a:pt x="4373" y="1442"/>
                </a:lnTo>
                <a:lnTo>
                  <a:pt x="4372" y="1445"/>
                </a:lnTo>
                <a:lnTo>
                  <a:pt x="4371" y="1448"/>
                </a:lnTo>
                <a:lnTo>
                  <a:pt x="4370" y="1450"/>
                </a:lnTo>
                <a:lnTo>
                  <a:pt x="4368" y="1452"/>
                </a:lnTo>
                <a:lnTo>
                  <a:pt x="4367" y="1454"/>
                </a:lnTo>
                <a:lnTo>
                  <a:pt x="4365" y="1455"/>
                </a:lnTo>
                <a:lnTo>
                  <a:pt x="4361" y="1456"/>
                </a:lnTo>
                <a:lnTo>
                  <a:pt x="4358" y="1457"/>
                </a:lnTo>
                <a:lnTo>
                  <a:pt x="4354" y="1457"/>
                </a:lnTo>
                <a:lnTo>
                  <a:pt x="4350" y="1456"/>
                </a:lnTo>
                <a:lnTo>
                  <a:pt x="4348" y="1454"/>
                </a:lnTo>
                <a:lnTo>
                  <a:pt x="4345" y="1452"/>
                </a:lnTo>
                <a:lnTo>
                  <a:pt x="4343" y="1449"/>
                </a:lnTo>
                <a:lnTo>
                  <a:pt x="4342" y="1447"/>
                </a:lnTo>
                <a:lnTo>
                  <a:pt x="4341" y="1444"/>
                </a:lnTo>
                <a:lnTo>
                  <a:pt x="4341" y="1441"/>
                </a:lnTo>
                <a:lnTo>
                  <a:pt x="4342" y="1438"/>
                </a:lnTo>
                <a:lnTo>
                  <a:pt x="4343" y="1435"/>
                </a:lnTo>
                <a:lnTo>
                  <a:pt x="4344" y="1433"/>
                </a:lnTo>
                <a:lnTo>
                  <a:pt x="4345" y="1431"/>
                </a:lnTo>
                <a:lnTo>
                  <a:pt x="4347" y="1429"/>
                </a:lnTo>
                <a:lnTo>
                  <a:pt x="4349" y="1428"/>
                </a:lnTo>
                <a:close/>
                <a:moveTo>
                  <a:pt x="4221" y="1361"/>
                </a:moveTo>
                <a:lnTo>
                  <a:pt x="4225" y="1359"/>
                </a:lnTo>
                <a:lnTo>
                  <a:pt x="4229" y="1359"/>
                </a:lnTo>
                <a:lnTo>
                  <a:pt x="4233" y="1359"/>
                </a:lnTo>
                <a:lnTo>
                  <a:pt x="4237" y="1361"/>
                </a:lnTo>
                <a:lnTo>
                  <a:pt x="4240" y="1363"/>
                </a:lnTo>
                <a:lnTo>
                  <a:pt x="4242" y="1365"/>
                </a:lnTo>
                <a:lnTo>
                  <a:pt x="4243" y="1368"/>
                </a:lnTo>
                <a:lnTo>
                  <a:pt x="4244" y="1370"/>
                </a:lnTo>
                <a:lnTo>
                  <a:pt x="4245" y="1373"/>
                </a:lnTo>
                <a:lnTo>
                  <a:pt x="4245" y="1376"/>
                </a:lnTo>
                <a:lnTo>
                  <a:pt x="4244" y="1379"/>
                </a:lnTo>
                <a:lnTo>
                  <a:pt x="4243" y="1382"/>
                </a:lnTo>
                <a:lnTo>
                  <a:pt x="4240" y="1386"/>
                </a:lnTo>
                <a:lnTo>
                  <a:pt x="4237" y="1388"/>
                </a:lnTo>
                <a:lnTo>
                  <a:pt x="4233" y="1390"/>
                </a:lnTo>
                <a:lnTo>
                  <a:pt x="4229" y="1390"/>
                </a:lnTo>
                <a:lnTo>
                  <a:pt x="4225" y="1390"/>
                </a:lnTo>
                <a:lnTo>
                  <a:pt x="4221" y="1388"/>
                </a:lnTo>
                <a:lnTo>
                  <a:pt x="4219" y="1386"/>
                </a:lnTo>
                <a:lnTo>
                  <a:pt x="4217" y="1384"/>
                </a:lnTo>
                <a:lnTo>
                  <a:pt x="4215" y="1382"/>
                </a:lnTo>
                <a:lnTo>
                  <a:pt x="4214" y="1379"/>
                </a:lnTo>
                <a:lnTo>
                  <a:pt x="4214" y="1376"/>
                </a:lnTo>
                <a:lnTo>
                  <a:pt x="4214" y="1373"/>
                </a:lnTo>
                <a:lnTo>
                  <a:pt x="4214" y="1370"/>
                </a:lnTo>
                <a:lnTo>
                  <a:pt x="4216" y="1367"/>
                </a:lnTo>
                <a:lnTo>
                  <a:pt x="4218" y="1363"/>
                </a:lnTo>
                <a:lnTo>
                  <a:pt x="4221" y="1361"/>
                </a:lnTo>
                <a:close/>
                <a:moveTo>
                  <a:pt x="4096" y="1290"/>
                </a:moveTo>
                <a:lnTo>
                  <a:pt x="4100" y="1288"/>
                </a:lnTo>
                <a:lnTo>
                  <a:pt x="4104" y="1288"/>
                </a:lnTo>
                <a:lnTo>
                  <a:pt x="4108" y="1288"/>
                </a:lnTo>
                <a:lnTo>
                  <a:pt x="4112" y="1290"/>
                </a:lnTo>
                <a:lnTo>
                  <a:pt x="4114" y="1292"/>
                </a:lnTo>
                <a:lnTo>
                  <a:pt x="4116" y="1294"/>
                </a:lnTo>
                <a:lnTo>
                  <a:pt x="4118" y="1297"/>
                </a:lnTo>
                <a:lnTo>
                  <a:pt x="4119" y="1299"/>
                </a:lnTo>
                <a:lnTo>
                  <a:pt x="4120" y="1302"/>
                </a:lnTo>
                <a:lnTo>
                  <a:pt x="4120" y="1305"/>
                </a:lnTo>
                <a:lnTo>
                  <a:pt x="4119" y="1308"/>
                </a:lnTo>
                <a:lnTo>
                  <a:pt x="4118" y="1311"/>
                </a:lnTo>
                <a:lnTo>
                  <a:pt x="4115" y="1315"/>
                </a:lnTo>
                <a:lnTo>
                  <a:pt x="4112" y="1317"/>
                </a:lnTo>
                <a:lnTo>
                  <a:pt x="4108" y="1319"/>
                </a:lnTo>
                <a:lnTo>
                  <a:pt x="4104" y="1319"/>
                </a:lnTo>
                <a:lnTo>
                  <a:pt x="4100" y="1319"/>
                </a:lnTo>
                <a:lnTo>
                  <a:pt x="4096" y="1317"/>
                </a:lnTo>
                <a:lnTo>
                  <a:pt x="4094" y="1315"/>
                </a:lnTo>
                <a:lnTo>
                  <a:pt x="4092" y="1313"/>
                </a:lnTo>
                <a:lnTo>
                  <a:pt x="4090" y="1311"/>
                </a:lnTo>
                <a:lnTo>
                  <a:pt x="4089" y="1308"/>
                </a:lnTo>
                <a:lnTo>
                  <a:pt x="4088" y="1305"/>
                </a:lnTo>
                <a:lnTo>
                  <a:pt x="4088" y="1302"/>
                </a:lnTo>
                <a:lnTo>
                  <a:pt x="4089" y="1299"/>
                </a:lnTo>
                <a:lnTo>
                  <a:pt x="4090" y="1296"/>
                </a:lnTo>
                <a:lnTo>
                  <a:pt x="4093" y="1293"/>
                </a:lnTo>
                <a:lnTo>
                  <a:pt x="4096" y="1290"/>
                </a:lnTo>
                <a:close/>
                <a:moveTo>
                  <a:pt x="3969" y="1220"/>
                </a:moveTo>
                <a:lnTo>
                  <a:pt x="3973" y="1218"/>
                </a:lnTo>
                <a:lnTo>
                  <a:pt x="3977" y="1218"/>
                </a:lnTo>
                <a:lnTo>
                  <a:pt x="3979" y="1218"/>
                </a:lnTo>
                <a:lnTo>
                  <a:pt x="3981" y="1218"/>
                </a:lnTo>
                <a:lnTo>
                  <a:pt x="3985" y="1220"/>
                </a:lnTo>
                <a:lnTo>
                  <a:pt x="3987" y="1222"/>
                </a:lnTo>
                <a:lnTo>
                  <a:pt x="3989" y="1224"/>
                </a:lnTo>
                <a:lnTo>
                  <a:pt x="3991" y="1226"/>
                </a:lnTo>
                <a:lnTo>
                  <a:pt x="3992" y="1229"/>
                </a:lnTo>
                <a:lnTo>
                  <a:pt x="3993" y="1232"/>
                </a:lnTo>
                <a:lnTo>
                  <a:pt x="3993" y="1235"/>
                </a:lnTo>
                <a:lnTo>
                  <a:pt x="3992" y="1238"/>
                </a:lnTo>
                <a:lnTo>
                  <a:pt x="3991" y="1241"/>
                </a:lnTo>
                <a:lnTo>
                  <a:pt x="3988" y="1245"/>
                </a:lnTo>
                <a:lnTo>
                  <a:pt x="3985" y="1247"/>
                </a:lnTo>
                <a:lnTo>
                  <a:pt x="3981" y="1249"/>
                </a:lnTo>
                <a:lnTo>
                  <a:pt x="3977" y="1249"/>
                </a:lnTo>
                <a:lnTo>
                  <a:pt x="3975" y="1249"/>
                </a:lnTo>
                <a:lnTo>
                  <a:pt x="3973" y="1249"/>
                </a:lnTo>
                <a:lnTo>
                  <a:pt x="3970" y="1247"/>
                </a:lnTo>
                <a:lnTo>
                  <a:pt x="3967" y="1245"/>
                </a:lnTo>
                <a:lnTo>
                  <a:pt x="3965" y="1243"/>
                </a:lnTo>
                <a:lnTo>
                  <a:pt x="3963" y="1241"/>
                </a:lnTo>
                <a:lnTo>
                  <a:pt x="3962" y="1238"/>
                </a:lnTo>
                <a:lnTo>
                  <a:pt x="3962" y="1235"/>
                </a:lnTo>
                <a:lnTo>
                  <a:pt x="3962" y="1232"/>
                </a:lnTo>
                <a:lnTo>
                  <a:pt x="3962" y="1229"/>
                </a:lnTo>
                <a:lnTo>
                  <a:pt x="3963" y="1226"/>
                </a:lnTo>
                <a:lnTo>
                  <a:pt x="3966" y="1223"/>
                </a:lnTo>
                <a:lnTo>
                  <a:pt x="3969" y="1220"/>
                </a:lnTo>
                <a:close/>
                <a:moveTo>
                  <a:pt x="3843" y="1151"/>
                </a:moveTo>
                <a:lnTo>
                  <a:pt x="3846" y="1150"/>
                </a:lnTo>
                <a:lnTo>
                  <a:pt x="3850" y="1149"/>
                </a:lnTo>
                <a:lnTo>
                  <a:pt x="3852" y="1149"/>
                </a:lnTo>
                <a:lnTo>
                  <a:pt x="3854" y="1150"/>
                </a:lnTo>
                <a:lnTo>
                  <a:pt x="3858" y="1151"/>
                </a:lnTo>
                <a:lnTo>
                  <a:pt x="3861" y="1153"/>
                </a:lnTo>
                <a:lnTo>
                  <a:pt x="3863" y="1155"/>
                </a:lnTo>
                <a:lnTo>
                  <a:pt x="3864" y="1157"/>
                </a:lnTo>
                <a:lnTo>
                  <a:pt x="3866" y="1160"/>
                </a:lnTo>
                <a:lnTo>
                  <a:pt x="3866" y="1163"/>
                </a:lnTo>
                <a:lnTo>
                  <a:pt x="3866" y="1166"/>
                </a:lnTo>
                <a:lnTo>
                  <a:pt x="3866" y="1169"/>
                </a:lnTo>
                <a:lnTo>
                  <a:pt x="3864" y="1172"/>
                </a:lnTo>
                <a:lnTo>
                  <a:pt x="3862" y="1176"/>
                </a:lnTo>
                <a:lnTo>
                  <a:pt x="3858" y="1178"/>
                </a:lnTo>
                <a:lnTo>
                  <a:pt x="3855" y="1180"/>
                </a:lnTo>
                <a:lnTo>
                  <a:pt x="3851" y="1180"/>
                </a:lnTo>
                <a:lnTo>
                  <a:pt x="3849" y="1180"/>
                </a:lnTo>
                <a:lnTo>
                  <a:pt x="3847" y="1180"/>
                </a:lnTo>
                <a:lnTo>
                  <a:pt x="3843" y="1179"/>
                </a:lnTo>
                <a:lnTo>
                  <a:pt x="3841" y="1177"/>
                </a:lnTo>
                <a:lnTo>
                  <a:pt x="3838" y="1175"/>
                </a:lnTo>
                <a:lnTo>
                  <a:pt x="3837" y="1172"/>
                </a:lnTo>
                <a:lnTo>
                  <a:pt x="3836" y="1169"/>
                </a:lnTo>
                <a:lnTo>
                  <a:pt x="3835" y="1166"/>
                </a:lnTo>
                <a:lnTo>
                  <a:pt x="3835" y="1163"/>
                </a:lnTo>
                <a:lnTo>
                  <a:pt x="3836" y="1160"/>
                </a:lnTo>
                <a:lnTo>
                  <a:pt x="3837" y="1157"/>
                </a:lnTo>
                <a:lnTo>
                  <a:pt x="3839" y="1154"/>
                </a:lnTo>
                <a:lnTo>
                  <a:pt x="3843" y="1151"/>
                </a:lnTo>
                <a:close/>
                <a:moveTo>
                  <a:pt x="3715" y="1084"/>
                </a:moveTo>
                <a:lnTo>
                  <a:pt x="3717" y="1083"/>
                </a:lnTo>
                <a:lnTo>
                  <a:pt x="3719" y="1083"/>
                </a:lnTo>
                <a:lnTo>
                  <a:pt x="3723" y="1082"/>
                </a:lnTo>
                <a:lnTo>
                  <a:pt x="3726" y="1083"/>
                </a:lnTo>
                <a:lnTo>
                  <a:pt x="3730" y="1084"/>
                </a:lnTo>
                <a:lnTo>
                  <a:pt x="3733" y="1086"/>
                </a:lnTo>
                <a:lnTo>
                  <a:pt x="3735" y="1088"/>
                </a:lnTo>
                <a:lnTo>
                  <a:pt x="3737" y="1090"/>
                </a:lnTo>
                <a:lnTo>
                  <a:pt x="3738" y="1093"/>
                </a:lnTo>
                <a:lnTo>
                  <a:pt x="3739" y="1099"/>
                </a:lnTo>
                <a:lnTo>
                  <a:pt x="3738" y="1102"/>
                </a:lnTo>
                <a:lnTo>
                  <a:pt x="3737" y="1105"/>
                </a:lnTo>
                <a:lnTo>
                  <a:pt x="3736" y="1107"/>
                </a:lnTo>
                <a:lnTo>
                  <a:pt x="3734" y="1109"/>
                </a:lnTo>
                <a:lnTo>
                  <a:pt x="3731" y="1111"/>
                </a:lnTo>
                <a:lnTo>
                  <a:pt x="3729" y="1112"/>
                </a:lnTo>
                <a:lnTo>
                  <a:pt x="3727" y="1113"/>
                </a:lnTo>
                <a:lnTo>
                  <a:pt x="3724" y="1114"/>
                </a:lnTo>
                <a:lnTo>
                  <a:pt x="3720" y="1113"/>
                </a:lnTo>
                <a:lnTo>
                  <a:pt x="3716" y="1112"/>
                </a:lnTo>
                <a:lnTo>
                  <a:pt x="3713" y="1110"/>
                </a:lnTo>
                <a:lnTo>
                  <a:pt x="3711" y="1108"/>
                </a:lnTo>
                <a:lnTo>
                  <a:pt x="3709" y="1105"/>
                </a:lnTo>
                <a:lnTo>
                  <a:pt x="3708" y="1103"/>
                </a:lnTo>
                <a:lnTo>
                  <a:pt x="3707" y="1097"/>
                </a:lnTo>
                <a:lnTo>
                  <a:pt x="3708" y="1094"/>
                </a:lnTo>
                <a:lnTo>
                  <a:pt x="3709" y="1091"/>
                </a:lnTo>
                <a:lnTo>
                  <a:pt x="3710" y="1089"/>
                </a:lnTo>
                <a:lnTo>
                  <a:pt x="3712" y="1087"/>
                </a:lnTo>
                <a:lnTo>
                  <a:pt x="3715" y="1084"/>
                </a:lnTo>
                <a:close/>
                <a:moveTo>
                  <a:pt x="3587" y="1020"/>
                </a:moveTo>
                <a:lnTo>
                  <a:pt x="3588" y="1019"/>
                </a:lnTo>
                <a:lnTo>
                  <a:pt x="3590" y="1018"/>
                </a:lnTo>
                <a:lnTo>
                  <a:pt x="3594" y="1018"/>
                </a:lnTo>
                <a:lnTo>
                  <a:pt x="3597" y="1018"/>
                </a:lnTo>
                <a:lnTo>
                  <a:pt x="3601" y="1019"/>
                </a:lnTo>
                <a:lnTo>
                  <a:pt x="3604" y="1021"/>
                </a:lnTo>
                <a:lnTo>
                  <a:pt x="3606" y="1023"/>
                </a:lnTo>
                <a:lnTo>
                  <a:pt x="3608" y="1026"/>
                </a:lnTo>
                <a:lnTo>
                  <a:pt x="3609" y="1028"/>
                </a:lnTo>
                <a:lnTo>
                  <a:pt x="3610" y="1031"/>
                </a:lnTo>
                <a:lnTo>
                  <a:pt x="3610" y="1034"/>
                </a:lnTo>
                <a:lnTo>
                  <a:pt x="3610" y="1037"/>
                </a:lnTo>
                <a:lnTo>
                  <a:pt x="3608" y="1040"/>
                </a:lnTo>
                <a:lnTo>
                  <a:pt x="3607" y="1042"/>
                </a:lnTo>
                <a:lnTo>
                  <a:pt x="3606" y="1044"/>
                </a:lnTo>
                <a:lnTo>
                  <a:pt x="3604" y="1046"/>
                </a:lnTo>
                <a:lnTo>
                  <a:pt x="3602" y="1047"/>
                </a:lnTo>
                <a:lnTo>
                  <a:pt x="3601" y="1048"/>
                </a:lnTo>
                <a:lnTo>
                  <a:pt x="3599" y="1049"/>
                </a:lnTo>
                <a:lnTo>
                  <a:pt x="3595" y="1049"/>
                </a:lnTo>
                <a:lnTo>
                  <a:pt x="3591" y="1049"/>
                </a:lnTo>
                <a:lnTo>
                  <a:pt x="3588" y="1048"/>
                </a:lnTo>
                <a:lnTo>
                  <a:pt x="3585" y="1046"/>
                </a:lnTo>
                <a:lnTo>
                  <a:pt x="3583" y="1044"/>
                </a:lnTo>
                <a:lnTo>
                  <a:pt x="3581" y="1041"/>
                </a:lnTo>
                <a:lnTo>
                  <a:pt x="3580" y="1039"/>
                </a:lnTo>
                <a:lnTo>
                  <a:pt x="3579" y="1036"/>
                </a:lnTo>
                <a:lnTo>
                  <a:pt x="3579" y="1033"/>
                </a:lnTo>
                <a:lnTo>
                  <a:pt x="3579" y="1030"/>
                </a:lnTo>
                <a:lnTo>
                  <a:pt x="3580" y="1027"/>
                </a:lnTo>
                <a:lnTo>
                  <a:pt x="3581" y="1025"/>
                </a:lnTo>
                <a:lnTo>
                  <a:pt x="3583" y="1023"/>
                </a:lnTo>
                <a:lnTo>
                  <a:pt x="3585" y="1021"/>
                </a:lnTo>
                <a:lnTo>
                  <a:pt x="3587" y="1020"/>
                </a:lnTo>
                <a:close/>
                <a:moveTo>
                  <a:pt x="1349" y="2220"/>
                </a:moveTo>
                <a:lnTo>
                  <a:pt x="1352" y="2219"/>
                </a:lnTo>
                <a:lnTo>
                  <a:pt x="1355" y="2218"/>
                </a:lnTo>
                <a:lnTo>
                  <a:pt x="1359" y="2218"/>
                </a:lnTo>
                <a:lnTo>
                  <a:pt x="1362" y="2219"/>
                </a:lnTo>
                <a:lnTo>
                  <a:pt x="1364" y="2220"/>
                </a:lnTo>
                <a:lnTo>
                  <a:pt x="1367" y="2222"/>
                </a:lnTo>
                <a:lnTo>
                  <a:pt x="1369" y="2224"/>
                </a:lnTo>
                <a:lnTo>
                  <a:pt x="1371" y="2226"/>
                </a:lnTo>
                <a:lnTo>
                  <a:pt x="1372" y="2229"/>
                </a:lnTo>
                <a:lnTo>
                  <a:pt x="1373" y="2232"/>
                </a:lnTo>
                <a:lnTo>
                  <a:pt x="1373" y="2235"/>
                </a:lnTo>
                <a:lnTo>
                  <a:pt x="1372" y="2238"/>
                </a:lnTo>
                <a:lnTo>
                  <a:pt x="1371" y="2241"/>
                </a:lnTo>
                <a:lnTo>
                  <a:pt x="1370" y="2243"/>
                </a:lnTo>
                <a:lnTo>
                  <a:pt x="1367" y="2246"/>
                </a:lnTo>
                <a:lnTo>
                  <a:pt x="1365" y="2247"/>
                </a:lnTo>
                <a:lnTo>
                  <a:pt x="1362" y="2249"/>
                </a:lnTo>
                <a:lnTo>
                  <a:pt x="1359" y="2249"/>
                </a:lnTo>
                <a:lnTo>
                  <a:pt x="1356" y="2249"/>
                </a:lnTo>
                <a:lnTo>
                  <a:pt x="1353" y="2249"/>
                </a:lnTo>
                <a:lnTo>
                  <a:pt x="1350" y="2248"/>
                </a:lnTo>
                <a:lnTo>
                  <a:pt x="1347" y="2246"/>
                </a:lnTo>
                <a:lnTo>
                  <a:pt x="1345" y="2244"/>
                </a:lnTo>
                <a:lnTo>
                  <a:pt x="1343" y="2241"/>
                </a:lnTo>
                <a:lnTo>
                  <a:pt x="1342" y="2238"/>
                </a:lnTo>
                <a:lnTo>
                  <a:pt x="1341" y="2235"/>
                </a:lnTo>
                <a:lnTo>
                  <a:pt x="1341" y="2232"/>
                </a:lnTo>
                <a:lnTo>
                  <a:pt x="1342" y="2230"/>
                </a:lnTo>
                <a:lnTo>
                  <a:pt x="1343" y="2227"/>
                </a:lnTo>
                <a:lnTo>
                  <a:pt x="1345" y="2224"/>
                </a:lnTo>
                <a:lnTo>
                  <a:pt x="1347" y="2222"/>
                </a:lnTo>
                <a:lnTo>
                  <a:pt x="1349" y="2220"/>
                </a:lnTo>
                <a:close/>
                <a:moveTo>
                  <a:pt x="1473" y="2148"/>
                </a:moveTo>
                <a:lnTo>
                  <a:pt x="1476" y="2146"/>
                </a:lnTo>
                <a:lnTo>
                  <a:pt x="1479" y="2146"/>
                </a:lnTo>
                <a:lnTo>
                  <a:pt x="1482" y="2146"/>
                </a:lnTo>
                <a:lnTo>
                  <a:pt x="1485" y="2146"/>
                </a:lnTo>
                <a:lnTo>
                  <a:pt x="1488" y="2147"/>
                </a:lnTo>
                <a:lnTo>
                  <a:pt x="1490" y="2148"/>
                </a:lnTo>
                <a:lnTo>
                  <a:pt x="1493" y="2150"/>
                </a:lnTo>
                <a:lnTo>
                  <a:pt x="1494" y="2153"/>
                </a:lnTo>
                <a:lnTo>
                  <a:pt x="1496" y="2156"/>
                </a:lnTo>
                <a:lnTo>
                  <a:pt x="1497" y="2159"/>
                </a:lnTo>
                <a:lnTo>
                  <a:pt x="1497" y="2162"/>
                </a:lnTo>
                <a:lnTo>
                  <a:pt x="1497" y="2165"/>
                </a:lnTo>
                <a:lnTo>
                  <a:pt x="1496" y="2168"/>
                </a:lnTo>
                <a:lnTo>
                  <a:pt x="1494" y="2170"/>
                </a:lnTo>
                <a:lnTo>
                  <a:pt x="1492" y="2173"/>
                </a:lnTo>
                <a:lnTo>
                  <a:pt x="1490" y="2174"/>
                </a:lnTo>
                <a:lnTo>
                  <a:pt x="1487" y="2176"/>
                </a:lnTo>
                <a:lnTo>
                  <a:pt x="1484" y="2177"/>
                </a:lnTo>
                <a:lnTo>
                  <a:pt x="1481" y="2177"/>
                </a:lnTo>
                <a:lnTo>
                  <a:pt x="1478" y="2176"/>
                </a:lnTo>
                <a:lnTo>
                  <a:pt x="1475" y="2175"/>
                </a:lnTo>
                <a:lnTo>
                  <a:pt x="1472" y="2174"/>
                </a:lnTo>
                <a:lnTo>
                  <a:pt x="1470" y="2172"/>
                </a:lnTo>
                <a:lnTo>
                  <a:pt x="1468" y="2170"/>
                </a:lnTo>
                <a:lnTo>
                  <a:pt x="1467" y="2167"/>
                </a:lnTo>
                <a:lnTo>
                  <a:pt x="1466" y="2164"/>
                </a:lnTo>
                <a:lnTo>
                  <a:pt x="1466" y="2161"/>
                </a:lnTo>
                <a:lnTo>
                  <a:pt x="1466" y="2158"/>
                </a:lnTo>
                <a:lnTo>
                  <a:pt x="1467" y="2155"/>
                </a:lnTo>
                <a:lnTo>
                  <a:pt x="1468" y="2152"/>
                </a:lnTo>
                <a:lnTo>
                  <a:pt x="1470" y="2150"/>
                </a:lnTo>
                <a:lnTo>
                  <a:pt x="1473" y="2148"/>
                </a:lnTo>
                <a:close/>
                <a:moveTo>
                  <a:pt x="1099" y="2362"/>
                </a:moveTo>
                <a:lnTo>
                  <a:pt x="1102" y="2361"/>
                </a:lnTo>
                <a:lnTo>
                  <a:pt x="1105" y="2360"/>
                </a:lnTo>
                <a:lnTo>
                  <a:pt x="1108" y="2360"/>
                </a:lnTo>
                <a:lnTo>
                  <a:pt x="1110" y="2361"/>
                </a:lnTo>
                <a:lnTo>
                  <a:pt x="1113" y="2362"/>
                </a:lnTo>
                <a:lnTo>
                  <a:pt x="1116" y="2363"/>
                </a:lnTo>
                <a:lnTo>
                  <a:pt x="1118" y="2365"/>
                </a:lnTo>
                <a:lnTo>
                  <a:pt x="1120" y="2367"/>
                </a:lnTo>
                <a:lnTo>
                  <a:pt x="1121" y="2369"/>
                </a:lnTo>
                <a:lnTo>
                  <a:pt x="1122" y="2371"/>
                </a:lnTo>
                <a:lnTo>
                  <a:pt x="1123" y="2375"/>
                </a:lnTo>
                <a:lnTo>
                  <a:pt x="1122" y="2379"/>
                </a:lnTo>
                <a:lnTo>
                  <a:pt x="1121" y="2383"/>
                </a:lnTo>
                <a:lnTo>
                  <a:pt x="1093" y="2383"/>
                </a:lnTo>
                <a:lnTo>
                  <a:pt x="1092" y="2380"/>
                </a:lnTo>
                <a:lnTo>
                  <a:pt x="1091" y="2378"/>
                </a:lnTo>
                <a:lnTo>
                  <a:pt x="1091" y="2375"/>
                </a:lnTo>
                <a:lnTo>
                  <a:pt x="1092" y="2372"/>
                </a:lnTo>
                <a:lnTo>
                  <a:pt x="1093" y="2369"/>
                </a:lnTo>
                <a:lnTo>
                  <a:pt x="1094" y="2367"/>
                </a:lnTo>
                <a:lnTo>
                  <a:pt x="1096" y="2365"/>
                </a:lnTo>
                <a:lnTo>
                  <a:pt x="1098" y="2363"/>
                </a:lnTo>
                <a:lnTo>
                  <a:pt x="1099" y="2362"/>
                </a:lnTo>
                <a:close/>
                <a:moveTo>
                  <a:pt x="1222" y="2288"/>
                </a:moveTo>
                <a:lnTo>
                  <a:pt x="1225" y="2286"/>
                </a:lnTo>
                <a:lnTo>
                  <a:pt x="1228" y="2286"/>
                </a:lnTo>
                <a:lnTo>
                  <a:pt x="1231" y="2286"/>
                </a:lnTo>
                <a:lnTo>
                  <a:pt x="1234" y="2286"/>
                </a:lnTo>
                <a:lnTo>
                  <a:pt x="1237" y="2287"/>
                </a:lnTo>
                <a:lnTo>
                  <a:pt x="1240" y="2289"/>
                </a:lnTo>
                <a:lnTo>
                  <a:pt x="1242" y="2291"/>
                </a:lnTo>
                <a:lnTo>
                  <a:pt x="1244" y="2294"/>
                </a:lnTo>
                <a:lnTo>
                  <a:pt x="1245" y="2297"/>
                </a:lnTo>
                <a:lnTo>
                  <a:pt x="1245" y="2300"/>
                </a:lnTo>
                <a:lnTo>
                  <a:pt x="1246" y="2303"/>
                </a:lnTo>
                <a:lnTo>
                  <a:pt x="1245" y="2305"/>
                </a:lnTo>
                <a:lnTo>
                  <a:pt x="1244" y="2308"/>
                </a:lnTo>
                <a:lnTo>
                  <a:pt x="1242" y="2311"/>
                </a:lnTo>
                <a:lnTo>
                  <a:pt x="1240" y="2313"/>
                </a:lnTo>
                <a:lnTo>
                  <a:pt x="1238" y="2315"/>
                </a:lnTo>
                <a:lnTo>
                  <a:pt x="1235" y="2316"/>
                </a:lnTo>
                <a:lnTo>
                  <a:pt x="1232" y="2317"/>
                </a:lnTo>
                <a:lnTo>
                  <a:pt x="1229" y="2317"/>
                </a:lnTo>
                <a:lnTo>
                  <a:pt x="1226" y="2316"/>
                </a:lnTo>
                <a:lnTo>
                  <a:pt x="1223" y="2315"/>
                </a:lnTo>
                <a:lnTo>
                  <a:pt x="1220" y="2314"/>
                </a:lnTo>
                <a:lnTo>
                  <a:pt x="1218" y="2312"/>
                </a:lnTo>
                <a:lnTo>
                  <a:pt x="1216" y="2309"/>
                </a:lnTo>
                <a:lnTo>
                  <a:pt x="1215" y="2306"/>
                </a:lnTo>
                <a:lnTo>
                  <a:pt x="1214" y="2303"/>
                </a:lnTo>
                <a:lnTo>
                  <a:pt x="1214" y="2300"/>
                </a:lnTo>
                <a:lnTo>
                  <a:pt x="1215" y="2297"/>
                </a:lnTo>
                <a:lnTo>
                  <a:pt x="1216" y="2294"/>
                </a:lnTo>
                <a:lnTo>
                  <a:pt x="1217" y="2292"/>
                </a:lnTo>
                <a:lnTo>
                  <a:pt x="1219" y="2290"/>
                </a:lnTo>
                <a:lnTo>
                  <a:pt x="1222" y="2288"/>
                </a:lnTo>
                <a:close/>
                <a:moveTo>
                  <a:pt x="1591" y="2066"/>
                </a:moveTo>
                <a:lnTo>
                  <a:pt x="1594" y="2064"/>
                </a:lnTo>
                <a:lnTo>
                  <a:pt x="1597" y="2064"/>
                </a:lnTo>
                <a:lnTo>
                  <a:pt x="1602" y="2064"/>
                </a:lnTo>
                <a:lnTo>
                  <a:pt x="1605" y="2065"/>
                </a:lnTo>
                <a:lnTo>
                  <a:pt x="1607" y="2066"/>
                </a:lnTo>
                <a:lnTo>
                  <a:pt x="1610" y="2067"/>
                </a:lnTo>
                <a:lnTo>
                  <a:pt x="1611" y="2069"/>
                </a:lnTo>
                <a:lnTo>
                  <a:pt x="1612" y="2070"/>
                </a:lnTo>
                <a:lnTo>
                  <a:pt x="1613" y="2072"/>
                </a:lnTo>
                <a:lnTo>
                  <a:pt x="1614" y="2075"/>
                </a:lnTo>
                <a:lnTo>
                  <a:pt x="1615" y="2078"/>
                </a:lnTo>
                <a:lnTo>
                  <a:pt x="1615" y="2081"/>
                </a:lnTo>
                <a:lnTo>
                  <a:pt x="1614" y="2084"/>
                </a:lnTo>
                <a:lnTo>
                  <a:pt x="1613" y="2087"/>
                </a:lnTo>
                <a:lnTo>
                  <a:pt x="1611" y="2089"/>
                </a:lnTo>
                <a:lnTo>
                  <a:pt x="1609" y="2092"/>
                </a:lnTo>
                <a:lnTo>
                  <a:pt x="1607" y="2093"/>
                </a:lnTo>
                <a:lnTo>
                  <a:pt x="1604" y="2094"/>
                </a:lnTo>
                <a:lnTo>
                  <a:pt x="1602" y="2095"/>
                </a:lnTo>
                <a:lnTo>
                  <a:pt x="1596" y="2095"/>
                </a:lnTo>
                <a:lnTo>
                  <a:pt x="1593" y="2094"/>
                </a:lnTo>
                <a:lnTo>
                  <a:pt x="1591" y="2093"/>
                </a:lnTo>
                <a:lnTo>
                  <a:pt x="1589" y="2091"/>
                </a:lnTo>
                <a:lnTo>
                  <a:pt x="1588" y="2090"/>
                </a:lnTo>
                <a:lnTo>
                  <a:pt x="1587" y="2089"/>
                </a:lnTo>
                <a:lnTo>
                  <a:pt x="1585" y="2086"/>
                </a:lnTo>
                <a:lnTo>
                  <a:pt x="1584" y="2083"/>
                </a:lnTo>
                <a:lnTo>
                  <a:pt x="1583" y="2080"/>
                </a:lnTo>
                <a:lnTo>
                  <a:pt x="1584" y="2077"/>
                </a:lnTo>
                <a:lnTo>
                  <a:pt x="1584" y="2074"/>
                </a:lnTo>
                <a:lnTo>
                  <a:pt x="1585" y="2071"/>
                </a:lnTo>
                <a:lnTo>
                  <a:pt x="1587" y="2069"/>
                </a:lnTo>
                <a:lnTo>
                  <a:pt x="1590" y="2067"/>
                </a:lnTo>
                <a:lnTo>
                  <a:pt x="1591" y="2066"/>
                </a:lnTo>
                <a:close/>
                <a:moveTo>
                  <a:pt x="3456" y="959"/>
                </a:moveTo>
                <a:lnTo>
                  <a:pt x="3460" y="957"/>
                </a:lnTo>
                <a:lnTo>
                  <a:pt x="3463" y="957"/>
                </a:lnTo>
                <a:lnTo>
                  <a:pt x="3467" y="957"/>
                </a:lnTo>
                <a:lnTo>
                  <a:pt x="3469" y="957"/>
                </a:lnTo>
                <a:lnTo>
                  <a:pt x="3471" y="958"/>
                </a:lnTo>
                <a:lnTo>
                  <a:pt x="3473" y="960"/>
                </a:lnTo>
                <a:lnTo>
                  <a:pt x="3476" y="962"/>
                </a:lnTo>
                <a:lnTo>
                  <a:pt x="3477" y="964"/>
                </a:lnTo>
                <a:lnTo>
                  <a:pt x="3479" y="967"/>
                </a:lnTo>
                <a:lnTo>
                  <a:pt x="3480" y="970"/>
                </a:lnTo>
                <a:lnTo>
                  <a:pt x="3480" y="973"/>
                </a:lnTo>
                <a:lnTo>
                  <a:pt x="3479" y="976"/>
                </a:lnTo>
                <a:lnTo>
                  <a:pt x="3478" y="979"/>
                </a:lnTo>
                <a:lnTo>
                  <a:pt x="3476" y="983"/>
                </a:lnTo>
                <a:lnTo>
                  <a:pt x="3474" y="984"/>
                </a:lnTo>
                <a:lnTo>
                  <a:pt x="3472" y="986"/>
                </a:lnTo>
                <a:lnTo>
                  <a:pt x="3469" y="987"/>
                </a:lnTo>
                <a:lnTo>
                  <a:pt x="3465" y="988"/>
                </a:lnTo>
                <a:lnTo>
                  <a:pt x="3461" y="988"/>
                </a:lnTo>
                <a:lnTo>
                  <a:pt x="3459" y="987"/>
                </a:lnTo>
                <a:lnTo>
                  <a:pt x="3458" y="987"/>
                </a:lnTo>
                <a:lnTo>
                  <a:pt x="3455" y="985"/>
                </a:lnTo>
                <a:lnTo>
                  <a:pt x="3453" y="983"/>
                </a:lnTo>
                <a:lnTo>
                  <a:pt x="3451" y="980"/>
                </a:lnTo>
                <a:lnTo>
                  <a:pt x="3449" y="978"/>
                </a:lnTo>
                <a:lnTo>
                  <a:pt x="3449" y="975"/>
                </a:lnTo>
                <a:lnTo>
                  <a:pt x="3448" y="972"/>
                </a:lnTo>
                <a:lnTo>
                  <a:pt x="3449" y="969"/>
                </a:lnTo>
                <a:lnTo>
                  <a:pt x="3450" y="966"/>
                </a:lnTo>
                <a:lnTo>
                  <a:pt x="3452" y="962"/>
                </a:lnTo>
                <a:lnTo>
                  <a:pt x="3454" y="960"/>
                </a:lnTo>
                <a:lnTo>
                  <a:pt x="3456" y="959"/>
                </a:lnTo>
                <a:close/>
                <a:moveTo>
                  <a:pt x="1700" y="1972"/>
                </a:moveTo>
                <a:lnTo>
                  <a:pt x="1702" y="1971"/>
                </a:lnTo>
                <a:lnTo>
                  <a:pt x="1705" y="1970"/>
                </a:lnTo>
                <a:lnTo>
                  <a:pt x="1707" y="1970"/>
                </a:lnTo>
                <a:lnTo>
                  <a:pt x="1710" y="1970"/>
                </a:lnTo>
                <a:lnTo>
                  <a:pt x="1715" y="1972"/>
                </a:lnTo>
                <a:lnTo>
                  <a:pt x="1717" y="1973"/>
                </a:lnTo>
                <a:lnTo>
                  <a:pt x="1719" y="1975"/>
                </a:lnTo>
                <a:lnTo>
                  <a:pt x="1721" y="1977"/>
                </a:lnTo>
                <a:lnTo>
                  <a:pt x="1723" y="1980"/>
                </a:lnTo>
                <a:lnTo>
                  <a:pt x="1723" y="1983"/>
                </a:lnTo>
                <a:lnTo>
                  <a:pt x="1724" y="1986"/>
                </a:lnTo>
                <a:lnTo>
                  <a:pt x="1723" y="1989"/>
                </a:lnTo>
                <a:lnTo>
                  <a:pt x="1722" y="1992"/>
                </a:lnTo>
                <a:lnTo>
                  <a:pt x="1721" y="1994"/>
                </a:lnTo>
                <a:lnTo>
                  <a:pt x="1719" y="1997"/>
                </a:lnTo>
                <a:lnTo>
                  <a:pt x="1716" y="1999"/>
                </a:lnTo>
                <a:lnTo>
                  <a:pt x="1713" y="2000"/>
                </a:lnTo>
                <a:lnTo>
                  <a:pt x="1711" y="2001"/>
                </a:lnTo>
                <a:lnTo>
                  <a:pt x="1708" y="2001"/>
                </a:lnTo>
                <a:lnTo>
                  <a:pt x="1706" y="2001"/>
                </a:lnTo>
                <a:lnTo>
                  <a:pt x="1701" y="2000"/>
                </a:lnTo>
                <a:lnTo>
                  <a:pt x="1699" y="1998"/>
                </a:lnTo>
                <a:lnTo>
                  <a:pt x="1697" y="1997"/>
                </a:lnTo>
                <a:lnTo>
                  <a:pt x="1695" y="1994"/>
                </a:lnTo>
                <a:lnTo>
                  <a:pt x="1693" y="1991"/>
                </a:lnTo>
                <a:lnTo>
                  <a:pt x="1692" y="1988"/>
                </a:lnTo>
                <a:lnTo>
                  <a:pt x="1692" y="1985"/>
                </a:lnTo>
                <a:lnTo>
                  <a:pt x="1693" y="1982"/>
                </a:lnTo>
                <a:lnTo>
                  <a:pt x="1694" y="1980"/>
                </a:lnTo>
                <a:lnTo>
                  <a:pt x="1695" y="1977"/>
                </a:lnTo>
                <a:lnTo>
                  <a:pt x="1697" y="1974"/>
                </a:lnTo>
                <a:lnTo>
                  <a:pt x="1700" y="1972"/>
                </a:lnTo>
                <a:close/>
                <a:moveTo>
                  <a:pt x="1796" y="1865"/>
                </a:moveTo>
                <a:lnTo>
                  <a:pt x="1800" y="1863"/>
                </a:lnTo>
                <a:lnTo>
                  <a:pt x="1805" y="1863"/>
                </a:lnTo>
                <a:lnTo>
                  <a:pt x="1807" y="1863"/>
                </a:lnTo>
                <a:lnTo>
                  <a:pt x="1809" y="1864"/>
                </a:lnTo>
                <a:lnTo>
                  <a:pt x="1813" y="1866"/>
                </a:lnTo>
                <a:lnTo>
                  <a:pt x="1815" y="1868"/>
                </a:lnTo>
                <a:lnTo>
                  <a:pt x="1817" y="1871"/>
                </a:lnTo>
                <a:lnTo>
                  <a:pt x="1818" y="1874"/>
                </a:lnTo>
                <a:lnTo>
                  <a:pt x="1819" y="1877"/>
                </a:lnTo>
                <a:lnTo>
                  <a:pt x="1819" y="1880"/>
                </a:lnTo>
                <a:lnTo>
                  <a:pt x="1819" y="1883"/>
                </a:lnTo>
                <a:lnTo>
                  <a:pt x="1818" y="1886"/>
                </a:lnTo>
                <a:lnTo>
                  <a:pt x="1816" y="1888"/>
                </a:lnTo>
                <a:lnTo>
                  <a:pt x="1814" y="1891"/>
                </a:lnTo>
                <a:lnTo>
                  <a:pt x="1811" y="1892"/>
                </a:lnTo>
                <a:lnTo>
                  <a:pt x="1807" y="1894"/>
                </a:lnTo>
                <a:lnTo>
                  <a:pt x="1803" y="1894"/>
                </a:lnTo>
                <a:lnTo>
                  <a:pt x="1800" y="1894"/>
                </a:lnTo>
                <a:lnTo>
                  <a:pt x="1798" y="1893"/>
                </a:lnTo>
                <a:lnTo>
                  <a:pt x="1794" y="1891"/>
                </a:lnTo>
                <a:lnTo>
                  <a:pt x="1792" y="1889"/>
                </a:lnTo>
                <a:lnTo>
                  <a:pt x="1790" y="1886"/>
                </a:lnTo>
                <a:lnTo>
                  <a:pt x="1789" y="1884"/>
                </a:lnTo>
                <a:lnTo>
                  <a:pt x="1788" y="1881"/>
                </a:lnTo>
                <a:lnTo>
                  <a:pt x="1788" y="1878"/>
                </a:lnTo>
                <a:lnTo>
                  <a:pt x="1788" y="1875"/>
                </a:lnTo>
                <a:lnTo>
                  <a:pt x="1789" y="1872"/>
                </a:lnTo>
                <a:lnTo>
                  <a:pt x="1791" y="1869"/>
                </a:lnTo>
                <a:lnTo>
                  <a:pt x="1793" y="1867"/>
                </a:lnTo>
                <a:lnTo>
                  <a:pt x="1796" y="1865"/>
                </a:lnTo>
                <a:close/>
                <a:moveTo>
                  <a:pt x="1873" y="1743"/>
                </a:moveTo>
                <a:lnTo>
                  <a:pt x="1874" y="1742"/>
                </a:lnTo>
                <a:lnTo>
                  <a:pt x="1876" y="1742"/>
                </a:lnTo>
                <a:lnTo>
                  <a:pt x="1880" y="1741"/>
                </a:lnTo>
                <a:lnTo>
                  <a:pt x="1884" y="1741"/>
                </a:lnTo>
                <a:lnTo>
                  <a:pt x="1888" y="1743"/>
                </a:lnTo>
                <a:lnTo>
                  <a:pt x="1890" y="1744"/>
                </a:lnTo>
                <a:lnTo>
                  <a:pt x="1893" y="1747"/>
                </a:lnTo>
                <a:lnTo>
                  <a:pt x="1894" y="1749"/>
                </a:lnTo>
                <a:lnTo>
                  <a:pt x="1896" y="1752"/>
                </a:lnTo>
                <a:lnTo>
                  <a:pt x="1896" y="1758"/>
                </a:lnTo>
                <a:lnTo>
                  <a:pt x="1896" y="1761"/>
                </a:lnTo>
                <a:lnTo>
                  <a:pt x="1895" y="1764"/>
                </a:lnTo>
                <a:lnTo>
                  <a:pt x="1893" y="1766"/>
                </a:lnTo>
                <a:lnTo>
                  <a:pt x="1892" y="1768"/>
                </a:lnTo>
                <a:lnTo>
                  <a:pt x="1888" y="1770"/>
                </a:lnTo>
                <a:lnTo>
                  <a:pt x="1887" y="1771"/>
                </a:lnTo>
                <a:lnTo>
                  <a:pt x="1885" y="1772"/>
                </a:lnTo>
                <a:lnTo>
                  <a:pt x="1881" y="1772"/>
                </a:lnTo>
                <a:lnTo>
                  <a:pt x="1877" y="1772"/>
                </a:lnTo>
                <a:lnTo>
                  <a:pt x="1873" y="1771"/>
                </a:lnTo>
                <a:lnTo>
                  <a:pt x="1871" y="1769"/>
                </a:lnTo>
                <a:lnTo>
                  <a:pt x="1869" y="1767"/>
                </a:lnTo>
                <a:lnTo>
                  <a:pt x="1867" y="1764"/>
                </a:lnTo>
                <a:lnTo>
                  <a:pt x="1866" y="1761"/>
                </a:lnTo>
                <a:lnTo>
                  <a:pt x="1865" y="1755"/>
                </a:lnTo>
                <a:lnTo>
                  <a:pt x="1865" y="1752"/>
                </a:lnTo>
                <a:lnTo>
                  <a:pt x="1867" y="1749"/>
                </a:lnTo>
                <a:lnTo>
                  <a:pt x="1868" y="1748"/>
                </a:lnTo>
                <a:lnTo>
                  <a:pt x="1869" y="1746"/>
                </a:lnTo>
                <a:lnTo>
                  <a:pt x="1873" y="1743"/>
                </a:lnTo>
                <a:close/>
                <a:moveTo>
                  <a:pt x="3324" y="902"/>
                </a:moveTo>
                <a:lnTo>
                  <a:pt x="3327" y="900"/>
                </a:lnTo>
                <a:lnTo>
                  <a:pt x="3331" y="900"/>
                </a:lnTo>
                <a:lnTo>
                  <a:pt x="3334" y="900"/>
                </a:lnTo>
                <a:lnTo>
                  <a:pt x="3338" y="901"/>
                </a:lnTo>
                <a:lnTo>
                  <a:pt x="3341" y="902"/>
                </a:lnTo>
                <a:lnTo>
                  <a:pt x="3343" y="904"/>
                </a:lnTo>
                <a:lnTo>
                  <a:pt x="3345" y="907"/>
                </a:lnTo>
                <a:lnTo>
                  <a:pt x="3346" y="909"/>
                </a:lnTo>
                <a:lnTo>
                  <a:pt x="3347" y="912"/>
                </a:lnTo>
                <a:lnTo>
                  <a:pt x="3347" y="915"/>
                </a:lnTo>
                <a:lnTo>
                  <a:pt x="3347" y="918"/>
                </a:lnTo>
                <a:lnTo>
                  <a:pt x="3346" y="921"/>
                </a:lnTo>
                <a:lnTo>
                  <a:pt x="3345" y="924"/>
                </a:lnTo>
                <a:lnTo>
                  <a:pt x="3344" y="926"/>
                </a:lnTo>
                <a:lnTo>
                  <a:pt x="3340" y="929"/>
                </a:lnTo>
                <a:lnTo>
                  <a:pt x="3336" y="930"/>
                </a:lnTo>
                <a:lnTo>
                  <a:pt x="3333" y="931"/>
                </a:lnTo>
                <a:lnTo>
                  <a:pt x="3329" y="931"/>
                </a:lnTo>
                <a:lnTo>
                  <a:pt x="3326" y="930"/>
                </a:lnTo>
                <a:lnTo>
                  <a:pt x="3323" y="928"/>
                </a:lnTo>
                <a:lnTo>
                  <a:pt x="3321" y="926"/>
                </a:lnTo>
                <a:lnTo>
                  <a:pt x="3319" y="924"/>
                </a:lnTo>
                <a:lnTo>
                  <a:pt x="3317" y="921"/>
                </a:lnTo>
                <a:lnTo>
                  <a:pt x="3316" y="919"/>
                </a:lnTo>
                <a:lnTo>
                  <a:pt x="3316" y="916"/>
                </a:lnTo>
                <a:lnTo>
                  <a:pt x="3316" y="912"/>
                </a:lnTo>
                <a:lnTo>
                  <a:pt x="3317" y="909"/>
                </a:lnTo>
                <a:lnTo>
                  <a:pt x="3318" y="907"/>
                </a:lnTo>
                <a:lnTo>
                  <a:pt x="3320" y="905"/>
                </a:lnTo>
                <a:lnTo>
                  <a:pt x="3324" y="902"/>
                </a:lnTo>
                <a:close/>
                <a:moveTo>
                  <a:pt x="1926" y="1610"/>
                </a:moveTo>
                <a:lnTo>
                  <a:pt x="1929" y="1609"/>
                </a:lnTo>
                <a:lnTo>
                  <a:pt x="1932" y="1608"/>
                </a:lnTo>
                <a:lnTo>
                  <a:pt x="1935" y="1608"/>
                </a:lnTo>
                <a:lnTo>
                  <a:pt x="1939" y="1609"/>
                </a:lnTo>
                <a:lnTo>
                  <a:pt x="1942" y="1610"/>
                </a:lnTo>
                <a:lnTo>
                  <a:pt x="1944" y="1611"/>
                </a:lnTo>
                <a:lnTo>
                  <a:pt x="1946" y="1614"/>
                </a:lnTo>
                <a:lnTo>
                  <a:pt x="1948" y="1616"/>
                </a:lnTo>
                <a:lnTo>
                  <a:pt x="1949" y="1619"/>
                </a:lnTo>
                <a:lnTo>
                  <a:pt x="1950" y="1622"/>
                </a:lnTo>
                <a:lnTo>
                  <a:pt x="1950" y="1625"/>
                </a:lnTo>
                <a:lnTo>
                  <a:pt x="1949" y="1628"/>
                </a:lnTo>
                <a:lnTo>
                  <a:pt x="1948" y="1631"/>
                </a:lnTo>
                <a:lnTo>
                  <a:pt x="1946" y="1633"/>
                </a:lnTo>
                <a:lnTo>
                  <a:pt x="1944" y="1635"/>
                </a:lnTo>
                <a:lnTo>
                  <a:pt x="1942" y="1637"/>
                </a:lnTo>
                <a:lnTo>
                  <a:pt x="1939" y="1638"/>
                </a:lnTo>
                <a:lnTo>
                  <a:pt x="1936" y="1639"/>
                </a:lnTo>
                <a:lnTo>
                  <a:pt x="1933" y="1639"/>
                </a:lnTo>
                <a:lnTo>
                  <a:pt x="1930" y="1639"/>
                </a:lnTo>
                <a:lnTo>
                  <a:pt x="1927" y="1637"/>
                </a:lnTo>
                <a:lnTo>
                  <a:pt x="1924" y="1636"/>
                </a:lnTo>
                <a:lnTo>
                  <a:pt x="1922" y="1633"/>
                </a:lnTo>
                <a:lnTo>
                  <a:pt x="1920" y="1631"/>
                </a:lnTo>
                <a:lnTo>
                  <a:pt x="1919" y="1628"/>
                </a:lnTo>
                <a:lnTo>
                  <a:pt x="1919" y="1625"/>
                </a:lnTo>
                <a:lnTo>
                  <a:pt x="1919" y="1622"/>
                </a:lnTo>
                <a:lnTo>
                  <a:pt x="1919" y="1619"/>
                </a:lnTo>
                <a:lnTo>
                  <a:pt x="1920" y="1616"/>
                </a:lnTo>
                <a:lnTo>
                  <a:pt x="1922" y="1614"/>
                </a:lnTo>
                <a:lnTo>
                  <a:pt x="1924" y="1612"/>
                </a:lnTo>
                <a:lnTo>
                  <a:pt x="1926" y="1610"/>
                </a:lnTo>
                <a:close/>
                <a:moveTo>
                  <a:pt x="3189" y="851"/>
                </a:moveTo>
                <a:lnTo>
                  <a:pt x="3192" y="849"/>
                </a:lnTo>
                <a:lnTo>
                  <a:pt x="3196" y="849"/>
                </a:lnTo>
                <a:lnTo>
                  <a:pt x="3199" y="849"/>
                </a:lnTo>
                <a:lnTo>
                  <a:pt x="3202" y="849"/>
                </a:lnTo>
                <a:lnTo>
                  <a:pt x="3205" y="851"/>
                </a:lnTo>
                <a:lnTo>
                  <a:pt x="3208" y="853"/>
                </a:lnTo>
                <a:lnTo>
                  <a:pt x="3210" y="855"/>
                </a:lnTo>
                <a:lnTo>
                  <a:pt x="3211" y="857"/>
                </a:lnTo>
                <a:lnTo>
                  <a:pt x="3212" y="860"/>
                </a:lnTo>
                <a:lnTo>
                  <a:pt x="3213" y="863"/>
                </a:lnTo>
                <a:lnTo>
                  <a:pt x="3212" y="869"/>
                </a:lnTo>
                <a:lnTo>
                  <a:pt x="3211" y="872"/>
                </a:lnTo>
                <a:lnTo>
                  <a:pt x="3209" y="874"/>
                </a:lnTo>
                <a:lnTo>
                  <a:pt x="3207" y="876"/>
                </a:lnTo>
                <a:lnTo>
                  <a:pt x="3205" y="878"/>
                </a:lnTo>
                <a:lnTo>
                  <a:pt x="3202" y="879"/>
                </a:lnTo>
                <a:lnTo>
                  <a:pt x="3199" y="880"/>
                </a:lnTo>
                <a:lnTo>
                  <a:pt x="3195" y="880"/>
                </a:lnTo>
                <a:lnTo>
                  <a:pt x="3192" y="879"/>
                </a:lnTo>
                <a:lnTo>
                  <a:pt x="3189" y="878"/>
                </a:lnTo>
                <a:lnTo>
                  <a:pt x="3187" y="876"/>
                </a:lnTo>
                <a:lnTo>
                  <a:pt x="3185" y="873"/>
                </a:lnTo>
                <a:lnTo>
                  <a:pt x="3183" y="871"/>
                </a:lnTo>
                <a:lnTo>
                  <a:pt x="3182" y="868"/>
                </a:lnTo>
                <a:lnTo>
                  <a:pt x="3182" y="865"/>
                </a:lnTo>
                <a:lnTo>
                  <a:pt x="3182" y="859"/>
                </a:lnTo>
                <a:lnTo>
                  <a:pt x="3184" y="856"/>
                </a:lnTo>
                <a:lnTo>
                  <a:pt x="3185" y="854"/>
                </a:lnTo>
                <a:lnTo>
                  <a:pt x="3187" y="852"/>
                </a:lnTo>
                <a:lnTo>
                  <a:pt x="3189" y="851"/>
                </a:lnTo>
                <a:close/>
                <a:moveTo>
                  <a:pt x="1957" y="1469"/>
                </a:moveTo>
                <a:lnTo>
                  <a:pt x="1959" y="1468"/>
                </a:lnTo>
                <a:lnTo>
                  <a:pt x="1961" y="1468"/>
                </a:lnTo>
                <a:lnTo>
                  <a:pt x="1964" y="1467"/>
                </a:lnTo>
                <a:lnTo>
                  <a:pt x="1967" y="1468"/>
                </a:lnTo>
                <a:lnTo>
                  <a:pt x="1970" y="1468"/>
                </a:lnTo>
                <a:lnTo>
                  <a:pt x="1973" y="1470"/>
                </a:lnTo>
                <a:lnTo>
                  <a:pt x="1975" y="1471"/>
                </a:lnTo>
                <a:lnTo>
                  <a:pt x="1977" y="1474"/>
                </a:lnTo>
                <a:lnTo>
                  <a:pt x="1979" y="1476"/>
                </a:lnTo>
                <a:lnTo>
                  <a:pt x="1980" y="1479"/>
                </a:lnTo>
                <a:lnTo>
                  <a:pt x="1980" y="1482"/>
                </a:lnTo>
                <a:lnTo>
                  <a:pt x="1980" y="1485"/>
                </a:lnTo>
                <a:lnTo>
                  <a:pt x="1979" y="1489"/>
                </a:lnTo>
                <a:lnTo>
                  <a:pt x="1977" y="1492"/>
                </a:lnTo>
                <a:lnTo>
                  <a:pt x="1975" y="1495"/>
                </a:lnTo>
                <a:lnTo>
                  <a:pt x="1972" y="1497"/>
                </a:lnTo>
                <a:lnTo>
                  <a:pt x="1970" y="1498"/>
                </a:lnTo>
                <a:lnTo>
                  <a:pt x="1967" y="1498"/>
                </a:lnTo>
                <a:lnTo>
                  <a:pt x="1965" y="1499"/>
                </a:lnTo>
                <a:lnTo>
                  <a:pt x="1962" y="1499"/>
                </a:lnTo>
                <a:lnTo>
                  <a:pt x="1959" y="1498"/>
                </a:lnTo>
                <a:lnTo>
                  <a:pt x="1956" y="1496"/>
                </a:lnTo>
                <a:lnTo>
                  <a:pt x="1954" y="1495"/>
                </a:lnTo>
                <a:lnTo>
                  <a:pt x="1952" y="1492"/>
                </a:lnTo>
                <a:lnTo>
                  <a:pt x="1950" y="1490"/>
                </a:lnTo>
                <a:lnTo>
                  <a:pt x="1949" y="1487"/>
                </a:lnTo>
                <a:lnTo>
                  <a:pt x="1949" y="1484"/>
                </a:lnTo>
                <a:lnTo>
                  <a:pt x="1949" y="1481"/>
                </a:lnTo>
                <a:lnTo>
                  <a:pt x="1950" y="1477"/>
                </a:lnTo>
                <a:lnTo>
                  <a:pt x="1952" y="1474"/>
                </a:lnTo>
                <a:lnTo>
                  <a:pt x="1954" y="1472"/>
                </a:lnTo>
                <a:lnTo>
                  <a:pt x="1957" y="1469"/>
                </a:lnTo>
                <a:close/>
                <a:moveTo>
                  <a:pt x="3052" y="807"/>
                </a:moveTo>
                <a:lnTo>
                  <a:pt x="3055" y="805"/>
                </a:lnTo>
                <a:lnTo>
                  <a:pt x="3058" y="805"/>
                </a:lnTo>
                <a:lnTo>
                  <a:pt x="3061" y="805"/>
                </a:lnTo>
                <a:lnTo>
                  <a:pt x="3064" y="805"/>
                </a:lnTo>
                <a:lnTo>
                  <a:pt x="3067" y="806"/>
                </a:lnTo>
                <a:lnTo>
                  <a:pt x="3070" y="808"/>
                </a:lnTo>
                <a:lnTo>
                  <a:pt x="3072" y="810"/>
                </a:lnTo>
                <a:lnTo>
                  <a:pt x="3074" y="813"/>
                </a:lnTo>
                <a:lnTo>
                  <a:pt x="3075" y="815"/>
                </a:lnTo>
                <a:lnTo>
                  <a:pt x="3076" y="818"/>
                </a:lnTo>
                <a:lnTo>
                  <a:pt x="3076" y="821"/>
                </a:lnTo>
                <a:lnTo>
                  <a:pt x="3075" y="825"/>
                </a:lnTo>
                <a:lnTo>
                  <a:pt x="3074" y="828"/>
                </a:lnTo>
                <a:lnTo>
                  <a:pt x="3072" y="830"/>
                </a:lnTo>
                <a:lnTo>
                  <a:pt x="3070" y="832"/>
                </a:lnTo>
                <a:lnTo>
                  <a:pt x="3068" y="834"/>
                </a:lnTo>
                <a:lnTo>
                  <a:pt x="3065" y="835"/>
                </a:lnTo>
                <a:lnTo>
                  <a:pt x="3062" y="836"/>
                </a:lnTo>
                <a:lnTo>
                  <a:pt x="3059" y="836"/>
                </a:lnTo>
                <a:lnTo>
                  <a:pt x="3056" y="835"/>
                </a:lnTo>
                <a:lnTo>
                  <a:pt x="3053" y="834"/>
                </a:lnTo>
                <a:lnTo>
                  <a:pt x="3050" y="833"/>
                </a:lnTo>
                <a:lnTo>
                  <a:pt x="3048" y="830"/>
                </a:lnTo>
                <a:lnTo>
                  <a:pt x="3046" y="828"/>
                </a:lnTo>
                <a:lnTo>
                  <a:pt x="3045" y="825"/>
                </a:lnTo>
                <a:lnTo>
                  <a:pt x="3045" y="822"/>
                </a:lnTo>
                <a:lnTo>
                  <a:pt x="3045" y="819"/>
                </a:lnTo>
                <a:lnTo>
                  <a:pt x="3045" y="816"/>
                </a:lnTo>
                <a:lnTo>
                  <a:pt x="3046" y="813"/>
                </a:lnTo>
                <a:lnTo>
                  <a:pt x="3048" y="811"/>
                </a:lnTo>
                <a:lnTo>
                  <a:pt x="3050" y="808"/>
                </a:lnTo>
                <a:lnTo>
                  <a:pt x="3052" y="807"/>
                </a:lnTo>
                <a:close/>
                <a:moveTo>
                  <a:pt x="1971" y="1326"/>
                </a:moveTo>
                <a:lnTo>
                  <a:pt x="1975" y="1324"/>
                </a:lnTo>
                <a:lnTo>
                  <a:pt x="1980" y="1324"/>
                </a:lnTo>
                <a:lnTo>
                  <a:pt x="1983" y="1325"/>
                </a:lnTo>
                <a:lnTo>
                  <a:pt x="1986" y="1326"/>
                </a:lnTo>
                <a:lnTo>
                  <a:pt x="1988" y="1327"/>
                </a:lnTo>
                <a:lnTo>
                  <a:pt x="1990" y="1329"/>
                </a:lnTo>
                <a:lnTo>
                  <a:pt x="1992" y="1332"/>
                </a:lnTo>
                <a:lnTo>
                  <a:pt x="1993" y="1335"/>
                </a:lnTo>
                <a:lnTo>
                  <a:pt x="1994" y="1338"/>
                </a:lnTo>
                <a:lnTo>
                  <a:pt x="1994" y="1341"/>
                </a:lnTo>
                <a:lnTo>
                  <a:pt x="1993" y="1345"/>
                </a:lnTo>
                <a:lnTo>
                  <a:pt x="1992" y="1348"/>
                </a:lnTo>
                <a:lnTo>
                  <a:pt x="1989" y="1351"/>
                </a:lnTo>
                <a:lnTo>
                  <a:pt x="1986" y="1353"/>
                </a:lnTo>
                <a:lnTo>
                  <a:pt x="1982" y="1355"/>
                </a:lnTo>
                <a:lnTo>
                  <a:pt x="1977" y="1355"/>
                </a:lnTo>
                <a:lnTo>
                  <a:pt x="1974" y="1355"/>
                </a:lnTo>
                <a:lnTo>
                  <a:pt x="1971" y="1354"/>
                </a:lnTo>
                <a:lnTo>
                  <a:pt x="1969" y="1352"/>
                </a:lnTo>
                <a:lnTo>
                  <a:pt x="1967" y="1350"/>
                </a:lnTo>
                <a:lnTo>
                  <a:pt x="1965" y="1348"/>
                </a:lnTo>
                <a:lnTo>
                  <a:pt x="1964" y="1345"/>
                </a:lnTo>
                <a:lnTo>
                  <a:pt x="1963" y="1342"/>
                </a:lnTo>
                <a:lnTo>
                  <a:pt x="1963" y="1339"/>
                </a:lnTo>
                <a:lnTo>
                  <a:pt x="1964" y="1335"/>
                </a:lnTo>
                <a:lnTo>
                  <a:pt x="1965" y="1331"/>
                </a:lnTo>
                <a:lnTo>
                  <a:pt x="1968" y="1328"/>
                </a:lnTo>
                <a:lnTo>
                  <a:pt x="1971" y="1326"/>
                </a:lnTo>
                <a:close/>
                <a:moveTo>
                  <a:pt x="2913" y="773"/>
                </a:moveTo>
                <a:lnTo>
                  <a:pt x="2915" y="771"/>
                </a:lnTo>
                <a:lnTo>
                  <a:pt x="2918" y="771"/>
                </a:lnTo>
                <a:lnTo>
                  <a:pt x="2923" y="771"/>
                </a:lnTo>
                <a:lnTo>
                  <a:pt x="2926" y="772"/>
                </a:lnTo>
                <a:lnTo>
                  <a:pt x="2929" y="773"/>
                </a:lnTo>
                <a:lnTo>
                  <a:pt x="2932" y="775"/>
                </a:lnTo>
                <a:lnTo>
                  <a:pt x="2933" y="778"/>
                </a:lnTo>
                <a:lnTo>
                  <a:pt x="2935" y="780"/>
                </a:lnTo>
                <a:lnTo>
                  <a:pt x="2936" y="783"/>
                </a:lnTo>
                <a:lnTo>
                  <a:pt x="2936" y="786"/>
                </a:lnTo>
                <a:lnTo>
                  <a:pt x="2936" y="789"/>
                </a:lnTo>
                <a:lnTo>
                  <a:pt x="2935" y="793"/>
                </a:lnTo>
                <a:lnTo>
                  <a:pt x="2933" y="795"/>
                </a:lnTo>
                <a:lnTo>
                  <a:pt x="2931" y="798"/>
                </a:lnTo>
                <a:lnTo>
                  <a:pt x="2928" y="800"/>
                </a:lnTo>
                <a:lnTo>
                  <a:pt x="2926" y="801"/>
                </a:lnTo>
                <a:lnTo>
                  <a:pt x="2923" y="802"/>
                </a:lnTo>
                <a:lnTo>
                  <a:pt x="2917" y="802"/>
                </a:lnTo>
                <a:lnTo>
                  <a:pt x="2914" y="801"/>
                </a:lnTo>
                <a:lnTo>
                  <a:pt x="2912" y="799"/>
                </a:lnTo>
                <a:lnTo>
                  <a:pt x="2909" y="797"/>
                </a:lnTo>
                <a:lnTo>
                  <a:pt x="2907" y="795"/>
                </a:lnTo>
                <a:lnTo>
                  <a:pt x="2906" y="792"/>
                </a:lnTo>
                <a:lnTo>
                  <a:pt x="2905" y="789"/>
                </a:lnTo>
                <a:lnTo>
                  <a:pt x="2905" y="786"/>
                </a:lnTo>
                <a:lnTo>
                  <a:pt x="2905" y="783"/>
                </a:lnTo>
                <a:lnTo>
                  <a:pt x="2906" y="780"/>
                </a:lnTo>
                <a:lnTo>
                  <a:pt x="2908" y="777"/>
                </a:lnTo>
                <a:lnTo>
                  <a:pt x="2910" y="775"/>
                </a:lnTo>
                <a:lnTo>
                  <a:pt x="2913" y="773"/>
                </a:lnTo>
                <a:close/>
                <a:moveTo>
                  <a:pt x="2770" y="751"/>
                </a:moveTo>
                <a:lnTo>
                  <a:pt x="2772" y="750"/>
                </a:lnTo>
                <a:lnTo>
                  <a:pt x="2775" y="749"/>
                </a:lnTo>
                <a:lnTo>
                  <a:pt x="2777" y="749"/>
                </a:lnTo>
                <a:lnTo>
                  <a:pt x="2780" y="749"/>
                </a:lnTo>
                <a:lnTo>
                  <a:pt x="2783" y="750"/>
                </a:lnTo>
                <a:lnTo>
                  <a:pt x="2786" y="751"/>
                </a:lnTo>
                <a:lnTo>
                  <a:pt x="2788" y="753"/>
                </a:lnTo>
                <a:lnTo>
                  <a:pt x="2789" y="754"/>
                </a:lnTo>
                <a:lnTo>
                  <a:pt x="2790" y="755"/>
                </a:lnTo>
                <a:lnTo>
                  <a:pt x="2792" y="757"/>
                </a:lnTo>
                <a:lnTo>
                  <a:pt x="2793" y="760"/>
                </a:lnTo>
                <a:lnTo>
                  <a:pt x="2794" y="763"/>
                </a:lnTo>
                <a:lnTo>
                  <a:pt x="2794" y="766"/>
                </a:lnTo>
                <a:lnTo>
                  <a:pt x="2793" y="770"/>
                </a:lnTo>
                <a:lnTo>
                  <a:pt x="2791" y="773"/>
                </a:lnTo>
                <a:lnTo>
                  <a:pt x="2789" y="776"/>
                </a:lnTo>
                <a:lnTo>
                  <a:pt x="2786" y="778"/>
                </a:lnTo>
                <a:lnTo>
                  <a:pt x="2784" y="779"/>
                </a:lnTo>
                <a:lnTo>
                  <a:pt x="2782" y="780"/>
                </a:lnTo>
                <a:lnTo>
                  <a:pt x="2779" y="780"/>
                </a:lnTo>
                <a:lnTo>
                  <a:pt x="2777" y="780"/>
                </a:lnTo>
                <a:lnTo>
                  <a:pt x="2773" y="780"/>
                </a:lnTo>
                <a:lnTo>
                  <a:pt x="2771" y="778"/>
                </a:lnTo>
                <a:lnTo>
                  <a:pt x="2768" y="777"/>
                </a:lnTo>
                <a:lnTo>
                  <a:pt x="2767" y="776"/>
                </a:lnTo>
                <a:lnTo>
                  <a:pt x="2766" y="775"/>
                </a:lnTo>
                <a:lnTo>
                  <a:pt x="2764" y="772"/>
                </a:lnTo>
                <a:lnTo>
                  <a:pt x="2763" y="769"/>
                </a:lnTo>
                <a:lnTo>
                  <a:pt x="2763" y="766"/>
                </a:lnTo>
                <a:lnTo>
                  <a:pt x="2763" y="763"/>
                </a:lnTo>
                <a:lnTo>
                  <a:pt x="2763" y="759"/>
                </a:lnTo>
                <a:lnTo>
                  <a:pt x="2765" y="756"/>
                </a:lnTo>
                <a:lnTo>
                  <a:pt x="2767" y="753"/>
                </a:lnTo>
                <a:lnTo>
                  <a:pt x="2770" y="751"/>
                </a:lnTo>
                <a:close/>
                <a:moveTo>
                  <a:pt x="1982" y="1183"/>
                </a:moveTo>
                <a:lnTo>
                  <a:pt x="1984" y="1182"/>
                </a:lnTo>
                <a:lnTo>
                  <a:pt x="1987" y="1181"/>
                </a:lnTo>
                <a:lnTo>
                  <a:pt x="1989" y="1181"/>
                </a:lnTo>
                <a:lnTo>
                  <a:pt x="1992" y="1181"/>
                </a:lnTo>
                <a:lnTo>
                  <a:pt x="1995" y="1181"/>
                </a:lnTo>
                <a:lnTo>
                  <a:pt x="1998" y="1183"/>
                </a:lnTo>
                <a:lnTo>
                  <a:pt x="2000" y="1184"/>
                </a:lnTo>
                <a:lnTo>
                  <a:pt x="2002" y="1187"/>
                </a:lnTo>
                <a:lnTo>
                  <a:pt x="2004" y="1189"/>
                </a:lnTo>
                <a:lnTo>
                  <a:pt x="2005" y="1192"/>
                </a:lnTo>
                <a:lnTo>
                  <a:pt x="2006" y="1195"/>
                </a:lnTo>
                <a:lnTo>
                  <a:pt x="2006" y="1198"/>
                </a:lnTo>
                <a:lnTo>
                  <a:pt x="2005" y="1202"/>
                </a:lnTo>
                <a:lnTo>
                  <a:pt x="2003" y="1205"/>
                </a:lnTo>
                <a:lnTo>
                  <a:pt x="2001" y="1208"/>
                </a:lnTo>
                <a:lnTo>
                  <a:pt x="1998" y="1210"/>
                </a:lnTo>
                <a:lnTo>
                  <a:pt x="1996" y="1211"/>
                </a:lnTo>
                <a:lnTo>
                  <a:pt x="1993" y="1212"/>
                </a:lnTo>
                <a:lnTo>
                  <a:pt x="1991" y="1212"/>
                </a:lnTo>
                <a:lnTo>
                  <a:pt x="1988" y="1212"/>
                </a:lnTo>
                <a:lnTo>
                  <a:pt x="1985" y="1211"/>
                </a:lnTo>
                <a:lnTo>
                  <a:pt x="1982" y="1210"/>
                </a:lnTo>
                <a:lnTo>
                  <a:pt x="1980" y="1208"/>
                </a:lnTo>
                <a:lnTo>
                  <a:pt x="1978" y="1206"/>
                </a:lnTo>
                <a:lnTo>
                  <a:pt x="1976" y="1203"/>
                </a:lnTo>
                <a:lnTo>
                  <a:pt x="1975" y="1201"/>
                </a:lnTo>
                <a:lnTo>
                  <a:pt x="1974" y="1198"/>
                </a:lnTo>
                <a:lnTo>
                  <a:pt x="1975" y="1194"/>
                </a:lnTo>
                <a:lnTo>
                  <a:pt x="1975" y="1191"/>
                </a:lnTo>
                <a:lnTo>
                  <a:pt x="1977" y="1188"/>
                </a:lnTo>
                <a:lnTo>
                  <a:pt x="1979" y="1185"/>
                </a:lnTo>
                <a:lnTo>
                  <a:pt x="1982" y="1183"/>
                </a:lnTo>
                <a:close/>
                <a:moveTo>
                  <a:pt x="2627" y="745"/>
                </a:moveTo>
                <a:lnTo>
                  <a:pt x="2628" y="744"/>
                </a:lnTo>
                <a:lnTo>
                  <a:pt x="2630" y="744"/>
                </a:lnTo>
                <a:lnTo>
                  <a:pt x="2634" y="743"/>
                </a:lnTo>
                <a:lnTo>
                  <a:pt x="2637" y="743"/>
                </a:lnTo>
                <a:lnTo>
                  <a:pt x="2640" y="744"/>
                </a:lnTo>
                <a:lnTo>
                  <a:pt x="2643" y="746"/>
                </a:lnTo>
                <a:lnTo>
                  <a:pt x="2645" y="748"/>
                </a:lnTo>
                <a:lnTo>
                  <a:pt x="2647" y="750"/>
                </a:lnTo>
                <a:lnTo>
                  <a:pt x="2649" y="752"/>
                </a:lnTo>
                <a:lnTo>
                  <a:pt x="2650" y="755"/>
                </a:lnTo>
                <a:lnTo>
                  <a:pt x="2650" y="758"/>
                </a:lnTo>
                <a:lnTo>
                  <a:pt x="2650" y="763"/>
                </a:lnTo>
                <a:lnTo>
                  <a:pt x="2648" y="767"/>
                </a:lnTo>
                <a:lnTo>
                  <a:pt x="2646" y="770"/>
                </a:lnTo>
                <a:lnTo>
                  <a:pt x="2642" y="772"/>
                </a:lnTo>
                <a:lnTo>
                  <a:pt x="2641" y="773"/>
                </a:lnTo>
                <a:lnTo>
                  <a:pt x="2639" y="774"/>
                </a:lnTo>
                <a:lnTo>
                  <a:pt x="2635" y="775"/>
                </a:lnTo>
                <a:lnTo>
                  <a:pt x="2632" y="774"/>
                </a:lnTo>
                <a:lnTo>
                  <a:pt x="2629" y="773"/>
                </a:lnTo>
                <a:lnTo>
                  <a:pt x="2626" y="772"/>
                </a:lnTo>
                <a:lnTo>
                  <a:pt x="2624" y="770"/>
                </a:lnTo>
                <a:lnTo>
                  <a:pt x="2622" y="768"/>
                </a:lnTo>
                <a:lnTo>
                  <a:pt x="2620" y="765"/>
                </a:lnTo>
                <a:lnTo>
                  <a:pt x="2619" y="762"/>
                </a:lnTo>
                <a:lnTo>
                  <a:pt x="2619" y="759"/>
                </a:lnTo>
                <a:lnTo>
                  <a:pt x="2619" y="755"/>
                </a:lnTo>
                <a:lnTo>
                  <a:pt x="2621" y="751"/>
                </a:lnTo>
                <a:lnTo>
                  <a:pt x="2623" y="748"/>
                </a:lnTo>
                <a:lnTo>
                  <a:pt x="2627" y="745"/>
                </a:lnTo>
                <a:close/>
                <a:moveTo>
                  <a:pt x="2014" y="1043"/>
                </a:moveTo>
                <a:lnTo>
                  <a:pt x="2017" y="1041"/>
                </a:lnTo>
                <a:lnTo>
                  <a:pt x="2020" y="1041"/>
                </a:lnTo>
                <a:lnTo>
                  <a:pt x="2024" y="1041"/>
                </a:lnTo>
                <a:lnTo>
                  <a:pt x="2027" y="1042"/>
                </a:lnTo>
                <a:lnTo>
                  <a:pt x="2029" y="1042"/>
                </a:lnTo>
                <a:lnTo>
                  <a:pt x="2030" y="1043"/>
                </a:lnTo>
                <a:lnTo>
                  <a:pt x="2033" y="1045"/>
                </a:lnTo>
                <a:lnTo>
                  <a:pt x="2035" y="1047"/>
                </a:lnTo>
                <a:lnTo>
                  <a:pt x="2036" y="1050"/>
                </a:lnTo>
                <a:lnTo>
                  <a:pt x="2037" y="1053"/>
                </a:lnTo>
                <a:lnTo>
                  <a:pt x="2037" y="1056"/>
                </a:lnTo>
                <a:lnTo>
                  <a:pt x="2037" y="1059"/>
                </a:lnTo>
                <a:lnTo>
                  <a:pt x="2036" y="1062"/>
                </a:lnTo>
                <a:lnTo>
                  <a:pt x="2035" y="1065"/>
                </a:lnTo>
                <a:lnTo>
                  <a:pt x="2034" y="1067"/>
                </a:lnTo>
                <a:lnTo>
                  <a:pt x="2032" y="1069"/>
                </a:lnTo>
                <a:lnTo>
                  <a:pt x="2030" y="1070"/>
                </a:lnTo>
                <a:lnTo>
                  <a:pt x="2026" y="1071"/>
                </a:lnTo>
                <a:lnTo>
                  <a:pt x="2023" y="1072"/>
                </a:lnTo>
                <a:lnTo>
                  <a:pt x="2020" y="1072"/>
                </a:lnTo>
                <a:lnTo>
                  <a:pt x="2016" y="1071"/>
                </a:lnTo>
                <a:lnTo>
                  <a:pt x="2015" y="1070"/>
                </a:lnTo>
                <a:lnTo>
                  <a:pt x="2013" y="1070"/>
                </a:lnTo>
                <a:lnTo>
                  <a:pt x="2011" y="1068"/>
                </a:lnTo>
                <a:lnTo>
                  <a:pt x="2009" y="1065"/>
                </a:lnTo>
                <a:lnTo>
                  <a:pt x="2007" y="1063"/>
                </a:lnTo>
                <a:lnTo>
                  <a:pt x="2006" y="1060"/>
                </a:lnTo>
                <a:lnTo>
                  <a:pt x="2006" y="1057"/>
                </a:lnTo>
                <a:lnTo>
                  <a:pt x="2006" y="1054"/>
                </a:lnTo>
                <a:lnTo>
                  <a:pt x="2007" y="1051"/>
                </a:lnTo>
                <a:lnTo>
                  <a:pt x="2008" y="1048"/>
                </a:lnTo>
                <a:lnTo>
                  <a:pt x="2010" y="1046"/>
                </a:lnTo>
                <a:lnTo>
                  <a:pt x="2012" y="1044"/>
                </a:lnTo>
                <a:lnTo>
                  <a:pt x="2014" y="1043"/>
                </a:lnTo>
                <a:close/>
                <a:moveTo>
                  <a:pt x="2483" y="758"/>
                </a:moveTo>
                <a:lnTo>
                  <a:pt x="2486" y="757"/>
                </a:lnTo>
                <a:lnTo>
                  <a:pt x="2489" y="756"/>
                </a:lnTo>
                <a:lnTo>
                  <a:pt x="2492" y="756"/>
                </a:lnTo>
                <a:lnTo>
                  <a:pt x="2495" y="756"/>
                </a:lnTo>
                <a:lnTo>
                  <a:pt x="2498" y="757"/>
                </a:lnTo>
                <a:lnTo>
                  <a:pt x="2501" y="759"/>
                </a:lnTo>
                <a:lnTo>
                  <a:pt x="2503" y="761"/>
                </a:lnTo>
                <a:lnTo>
                  <a:pt x="2505" y="763"/>
                </a:lnTo>
                <a:lnTo>
                  <a:pt x="2506" y="766"/>
                </a:lnTo>
                <a:lnTo>
                  <a:pt x="2507" y="769"/>
                </a:lnTo>
                <a:lnTo>
                  <a:pt x="2507" y="774"/>
                </a:lnTo>
                <a:lnTo>
                  <a:pt x="2505" y="778"/>
                </a:lnTo>
                <a:lnTo>
                  <a:pt x="2503" y="782"/>
                </a:lnTo>
                <a:lnTo>
                  <a:pt x="2501" y="784"/>
                </a:lnTo>
                <a:lnTo>
                  <a:pt x="2499" y="785"/>
                </a:lnTo>
                <a:lnTo>
                  <a:pt x="2497" y="786"/>
                </a:lnTo>
                <a:lnTo>
                  <a:pt x="2494" y="787"/>
                </a:lnTo>
                <a:lnTo>
                  <a:pt x="2491" y="787"/>
                </a:lnTo>
                <a:lnTo>
                  <a:pt x="2488" y="787"/>
                </a:lnTo>
                <a:lnTo>
                  <a:pt x="2485" y="786"/>
                </a:lnTo>
                <a:lnTo>
                  <a:pt x="2482" y="784"/>
                </a:lnTo>
                <a:lnTo>
                  <a:pt x="2480" y="782"/>
                </a:lnTo>
                <a:lnTo>
                  <a:pt x="2478" y="780"/>
                </a:lnTo>
                <a:lnTo>
                  <a:pt x="2477" y="777"/>
                </a:lnTo>
                <a:lnTo>
                  <a:pt x="2476" y="774"/>
                </a:lnTo>
                <a:lnTo>
                  <a:pt x="2476" y="769"/>
                </a:lnTo>
                <a:lnTo>
                  <a:pt x="2477" y="765"/>
                </a:lnTo>
                <a:lnTo>
                  <a:pt x="2480" y="761"/>
                </a:lnTo>
                <a:lnTo>
                  <a:pt x="2482" y="759"/>
                </a:lnTo>
                <a:lnTo>
                  <a:pt x="2483" y="758"/>
                </a:lnTo>
                <a:close/>
                <a:moveTo>
                  <a:pt x="2343" y="790"/>
                </a:moveTo>
                <a:lnTo>
                  <a:pt x="2346" y="789"/>
                </a:lnTo>
                <a:lnTo>
                  <a:pt x="2349" y="788"/>
                </a:lnTo>
                <a:lnTo>
                  <a:pt x="2352" y="788"/>
                </a:lnTo>
                <a:lnTo>
                  <a:pt x="2355" y="789"/>
                </a:lnTo>
                <a:lnTo>
                  <a:pt x="2358" y="790"/>
                </a:lnTo>
                <a:lnTo>
                  <a:pt x="2360" y="792"/>
                </a:lnTo>
                <a:lnTo>
                  <a:pt x="2362" y="794"/>
                </a:lnTo>
                <a:lnTo>
                  <a:pt x="2364" y="796"/>
                </a:lnTo>
                <a:lnTo>
                  <a:pt x="2365" y="799"/>
                </a:lnTo>
                <a:lnTo>
                  <a:pt x="2366" y="805"/>
                </a:lnTo>
                <a:lnTo>
                  <a:pt x="2366" y="807"/>
                </a:lnTo>
                <a:lnTo>
                  <a:pt x="2365" y="810"/>
                </a:lnTo>
                <a:lnTo>
                  <a:pt x="2364" y="812"/>
                </a:lnTo>
                <a:lnTo>
                  <a:pt x="2362" y="814"/>
                </a:lnTo>
                <a:lnTo>
                  <a:pt x="2360" y="816"/>
                </a:lnTo>
                <a:lnTo>
                  <a:pt x="2358" y="818"/>
                </a:lnTo>
                <a:lnTo>
                  <a:pt x="2355" y="819"/>
                </a:lnTo>
                <a:lnTo>
                  <a:pt x="2352" y="820"/>
                </a:lnTo>
                <a:lnTo>
                  <a:pt x="2349" y="820"/>
                </a:lnTo>
                <a:lnTo>
                  <a:pt x="2346" y="819"/>
                </a:lnTo>
                <a:lnTo>
                  <a:pt x="2343" y="818"/>
                </a:lnTo>
                <a:lnTo>
                  <a:pt x="2341" y="816"/>
                </a:lnTo>
                <a:lnTo>
                  <a:pt x="2338" y="814"/>
                </a:lnTo>
                <a:lnTo>
                  <a:pt x="2337" y="812"/>
                </a:lnTo>
                <a:lnTo>
                  <a:pt x="2335" y="809"/>
                </a:lnTo>
                <a:lnTo>
                  <a:pt x="2335" y="803"/>
                </a:lnTo>
                <a:lnTo>
                  <a:pt x="2335" y="801"/>
                </a:lnTo>
                <a:lnTo>
                  <a:pt x="2336" y="798"/>
                </a:lnTo>
                <a:lnTo>
                  <a:pt x="2337" y="796"/>
                </a:lnTo>
                <a:lnTo>
                  <a:pt x="2338" y="794"/>
                </a:lnTo>
                <a:lnTo>
                  <a:pt x="2340" y="792"/>
                </a:lnTo>
                <a:lnTo>
                  <a:pt x="2343" y="790"/>
                </a:lnTo>
                <a:close/>
                <a:moveTo>
                  <a:pt x="2091" y="923"/>
                </a:moveTo>
                <a:lnTo>
                  <a:pt x="2093" y="922"/>
                </a:lnTo>
                <a:lnTo>
                  <a:pt x="2096" y="922"/>
                </a:lnTo>
                <a:lnTo>
                  <a:pt x="2098" y="921"/>
                </a:lnTo>
                <a:lnTo>
                  <a:pt x="2101" y="922"/>
                </a:lnTo>
                <a:lnTo>
                  <a:pt x="2103" y="922"/>
                </a:lnTo>
                <a:lnTo>
                  <a:pt x="2106" y="923"/>
                </a:lnTo>
                <a:lnTo>
                  <a:pt x="2108" y="924"/>
                </a:lnTo>
                <a:lnTo>
                  <a:pt x="2110" y="926"/>
                </a:lnTo>
                <a:lnTo>
                  <a:pt x="2112" y="928"/>
                </a:lnTo>
                <a:lnTo>
                  <a:pt x="2113" y="931"/>
                </a:lnTo>
                <a:lnTo>
                  <a:pt x="2114" y="934"/>
                </a:lnTo>
                <a:lnTo>
                  <a:pt x="2114" y="937"/>
                </a:lnTo>
                <a:lnTo>
                  <a:pt x="2114" y="940"/>
                </a:lnTo>
                <a:lnTo>
                  <a:pt x="2113" y="943"/>
                </a:lnTo>
                <a:lnTo>
                  <a:pt x="2112" y="946"/>
                </a:lnTo>
                <a:lnTo>
                  <a:pt x="2110" y="948"/>
                </a:lnTo>
                <a:lnTo>
                  <a:pt x="2107" y="951"/>
                </a:lnTo>
                <a:lnTo>
                  <a:pt x="2104" y="952"/>
                </a:lnTo>
                <a:lnTo>
                  <a:pt x="2102" y="952"/>
                </a:lnTo>
                <a:lnTo>
                  <a:pt x="2099" y="953"/>
                </a:lnTo>
                <a:lnTo>
                  <a:pt x="2097" y="953"/>
                </a:lnTo>
                <a:lnTo>
                  <a:pt x="2094" y="952"/>
                </a:lnTo>
                <a:lnTo>
                  <a:pt x="2092" y="951"/>
                </a:lnTo>
                <a:lnTo>
                  <a:pt x="2090" y="950"/>
                </a:lnTo>
                <a:lnTo>
                  <a:pt x="2088" y="948"/>
                </a:lnTo>
                <a:lnTo>
                  <a:pt x="2086" y="946"/>
                </a:lnTo>
                <a:lnTo>
                  <a:pt x="2084" y="943"/>
                </a:lnTo>
                <a:lnTo>
                  <a:pt x="2083" y="940"/>
                </a:lnTo>
                <a:lnTo>
                  <a:pt x="2083" y="937"/>
                </a:lnTo>
                <a:lnTo>
                  <a:pt x="2083" y="934"/>
                </a:lnTo>
                <a:lnTo>
                  <a:pt x="2084" y="931"/>
                </a:lnTo>
                <a:lnTo>
                  <a:pt x="2086" y="928"/>
                </a:lnTo>
                <a:lnTo>
                  <a:pt x="2088" y="926"/>
                </a:lnTo>
                <a:lnTo>
                  <a:pt x="2091" y="923"/>
                </a:lnTo>
                <a:close/>
                <a:moveTo>
                  <a:pt x="2209" y="843"/>
                </a:moveTo>
                <a:lnTo>
                  <a:pt x="2212" y="841"/>
                </a:lnTo>
                <a:lnTo>
                  <a:pt x="2215" y="841"/>
                </a:lnTo>
                <a:lnTo>
                  <a:pt x="2218" y="841"/>
                </a:lnTo>
                <a:lnTo>
                  <a:pt x="2222" y="841"/>
                </a:lnTo>
                <a:lnTo>
                  <a:pt x="2224" y="843"/>
                </a:lnTo>
                <a:lnTo>
                  <a:pt x="2227" y="844"/>
                </a:lnTo>
                <a:lnTo>
                  <a:pt x="2229" y="847"/>
                </a:lnTo>
                <a:lnTo>
                  <a:pt x="2231" y="849"/>
                </a:lnTo>
                <a:lnTo>
                  <a:pt x="2232" y="852"/>
                </a:lnTo>
                <a:lnTo>
                  <a:pt x="2232" y="855"/>
                </a:lnTo>
                <a:lnTo>
                  <a:pt x="2232" y="858"/>
                </a:lnTo>
                <a:lnTo>
                  <a:pt x="2231" y="861"/>
                </a:lnTo>
                <a:lnTo>
                  <a:pt x="2230" y="864"/>
                </a:lnTo>
                <a:lnTo>
                  <a:pt x="2229" y="866"/>
                </a:lnTo>
                <a:lnTo>
                  <a:pt x="2227" y="868"/>
                </a:lnTo>
                <a:lnTo>
                  <a:pt x="2224" y="870"/>
                </a:lnTo>
                <a:lnTo>
                  <a:pt x="2221" y="871"/>
                </a:lnTo>
                <a:lnTo>
                  <a:pt x="2218" y="872"/>
                </a:lnTo>
                <a:lnTo>
                  <a:pt x="2215" y="872"/>
                </a:lnTo>
                <a:lnTo>
                  <a:pt x="2211" y="871"/>
                </a:lnTo>
                <a:lnTo>
                  <a:pt x="2209" y="870"/>
                </a:lnTo>
                <a:lnTo>
                  <a:pt x="2206" y="868"/>
                </a:lnTo>
                <a:lnTo>
                  <a:pt x="2204" y="866"/>
                </a:lnTo>
                <a:lnTo>
                  <a:pt x="2202" y="863"/>
                </a:lnTo>
                <a:lnTo>
                  <a:pt x="2201" y="860"/>
                </a:lnTo>
                <a:lnTo>
                  <a:pt x="2201" y="857"/>
                </a:lnTo>
                <a:lnTo>
                  <a:pt x="2201" y="854"/>
                </a:lnTo>
                <a:lnTo>
                  <a:pt x="2202" y="852"/>
                </a:lnTo>
                <a:lnTo>
                  <a:pt x="2203" y="849"/>
                </a:lnTo>
                <a:lnTo>
                  <a:pt x="2204" y="847"/>
                </a:lnTo>
                <a:lnTo>
                  <a:pt x="2206" y="844"/>
                </a:lnTo>
                <a:lnTo>
                  <a:pt x="2209" y="843"/>
                </a:lnTo>
                <a:close/>
                <a:moveTo>
                  <a:pt x="4748" y="1857"/>
                </a:moveTo>
                <a:lnTo>
                  <a:pt x="4751" y="1855"/>
                </a:lnTo>
                <a:lnTo>
                  <a:pt x="4755" y="1855"/>
                </a:lnTo>
                <a:lnTo>
                  <a:pt x="4758" y="1855"/>
                </a:lnTo>
                <a:lnTo>
                  <a:pt x="4762" y="1856"/>
                </a:lnTo>
                <a:lnTo>
                  <a:pt x="4764" y="1857"/>
                </a:lnTo>
                <a:lnTo>
                  <a:pt x="4767" y="1859"/>
                </a:lnTo>
                <a:lnTo>
                  <a:pt x="4769" y="1861"/>
                </a:lnTo>
                <a:lnTo>
                  <a:pt x="4770" y="1864"/>
                </a:lnTo>
                <a:lnTo>
                  <a:pt x="4771" y="1867"/>
                </a:lnTo>
                <a:lnTo>
                  <a:pt x="4772" y="1870"/>
                </a:lnTo>
                <a:lnTo>
                  <a:pt x="4771" y="1873"/>
                </a:lnTo>
                <a:lnTo>
                  <a:pt x="4770" y="1876"/>
                </a:lnTo>
                <a:lnTo>
                  <a:pt x="4769" y="1878"/>
                </a:lnTo>
                <a:lnTo>
                  <a:pt x="4768" y="1880"/>
                </a:lnTo>
                <a:lnTo>
                  <a:pt x="4766" y="1882"/>
                </a:lnTo>
                <a:lnTo>
                  <a:pt x="4764" y="1884"/>
                </a:lnTo>
                <a:lnTo>
                  <a:pt x="4761" y="1885"/>
                </a:lnTo>
                <a:lnTo>
                  <a:pt x="4757" y="1886"/>
                </a:lnTo>
                <a:lnTo>
                  <a:pt x="4754" y="1886"/>
                </a:lnTo>
                <a:lnTo>
                  <a:pt x="4750" y="1885"/>
                </a:lnTo>
                <a:lnTo>
                  <a:pt x="4749" y="1884"/>
                </a:lnTo>
                <a:lnTo>
                  <a:pt x="4747" y="1883"/>
                </a:lnTo>
                <a:lnTo>
                  <a:pt x="4745" y="1881"/>
                </a:lnTo>
                <a:lnTo>
                  <a:pt x="4743" y="1879"/>
                </a:lnTo>
                <a:lnTo>
                  <a:pt x="4742" y="1876"/>
                </a:lnTo>
                <a:lnTo>
                  <a:pt x="4741" y="1874"/>
                </a:lnTo>
                <a:lnTo>
                  <a:pt x="4740" y="1871"/>
                </a:lnTo>
                <a:lnTo>
                  <a:pt x="4741" y="1868"/>
                </a:lnTo>
                <a:lnTo>
                  <a:pt x="4742" y="1865"/>
                </a:lnTo>
                <a:lnTo>
                  <a:pt x="4743" y="1862"/>
                </a:lnTo>
                <a:lnTo>
                  <a:pt x="4744" y="1860"/>
                </a:lnTo>
                <a:lnTo>
                  <a:pt x="4746" y="1858"/>
                </a:lnTo>
                <a:lnTo>
                  <a:pt x="4748" y="1857"/>
                </a:lnTo>
                <a:close/>
                <a:moveTo>
                  <a:pt x="4616" y="1800"/>
                </a:moveTo>
                <a:lnTo>
                  <a:pt x="4619" y="1798"/>
                </a:lnTo>
                <a:lnTo>
                  <a:pt x="4623" y="1798"/>
                </a:lnTo>
                <a:lnTo>
                  <a:pt x="4627" y="1798"/>
                </a:lnTo>
                <a:lnTo>
                  <a:pt x="4630" y="1799"/>
                </a:lnTo>
                <a:lnTo>
                  <a:pt x="4633" y="1801"/>
                </a:lnTo>
                <a:lnTo>
                  <a:pt x="4635" y="1803"/>
                </a:lnTo>
                <a:lnTo>
                  <a:pt x="4637" y="1805"/>
                </a:lnTo>
                <a:lnTo>
                  <a:pt x="4638" y="1808"/>
                </a:lnTo>
                <a:lnTo>
                  <a:pt x="4639" y="1811"/>
                </a:lnTo>
                <a:lnTo>
                  <a:pt x="4639" y="1814"/>
                </a:lnTo>
                <a:lnTo>
                  <a:pt x="4639" y="1817"/>
                </a:lnTo>
                <a:lnTo>
                  <a:pt x="4638" y="1820"/>
                </a:lnTo>
                <a:lnTo>
                  <a:pt x="4636" y="1822"/>
                </a:lnTo>
                <a:lnTo>
                  <a:pt x="4635" y="1824"/>
                </a:lnTo>
                <a:lnTo>
                  <a:pt x="4633" y="1826"/>
                </a:lnTo>
                <a:lnTo>
                  <a:pt x="4631" y="1827"/>
                </a:lnTo>
                <a:lnTo>
                  <a:pt x="4628" y="1828"/>
                </a:lnTo>
                <a:lnTo>
                  <a:pt x="4624" y="1829"/>
                </a:lnTo>
                <a:lnTo>
                  <a:pt x="4621" y="1829"/>
                </a:lnTo>
                <a:lnTo>
                  <a:pt x="4617" y="1827"/>
                </a:lnTo>
                <a:lnTo>
                  <a:pt x="4614" y="1826"/>
                </a:lnTo>
                <a:lnTo>
                  <a:pt x="4612" y="1824"/>
                </a:lnTo>
                <a:lnTo>
                  <a:pt x="4610" y="1821"/>
                </a:lnTo>
                <a:lnTo>
                  <a:pt x="4609" y="1819"/>
                </a:lnTo>
                <a:lnTo>
                  <a:pt x="4608" y="1816"/>
                </a:lnTo>
                <a:lnTo>
                  <a:pt x="4608" y="1813"/>
                </a:lnTo>
                <a:lnTo>
                  <a:pt x="4608" y="1810"/>
                </a:lnTo>
                <a:lnTo>
                  <a:pt x="4609" y="1807"/>
                </a:lnTo>
                <a:lnTo>
                  <a:pt x="4611" y="1805"/>
                </a:lnTo>
                <a:lnTo>
                  <a:pt x="4612" y="1803"/>
                </a:lnTo>
                <a:lnTo>
                  <a:pt x="4614" y="1801"/>
                </a:lnTo>
                <a:lnTo>
                  <a:pt x="4616" y="1800"/>
                </a:lnTo>
                <a:close/>
                <a:moveTo>
                  <a:pt x="4488" y="1732"/>
                </a:moveTo>
                <a:lnTo>
                  <a:pt x="4492" y="1731"/>
                </a:lnTo>
                <a:lnTo>
                  <a:pt x="4496" y="1730"/>
                </a:lnTo>
                <a:lnTo>
                  <a:pt x="4500" y="1730"/>
                </a:lnTo>
                <a:lnTo>
                  <a:pt x="4504" y="1732"/>
                </a:lnTo>
                <a:lnTo>
                  <a:pt x="4506" y="1734"/>
                </a:lnTo>
                <a:lnTo>
                  <a:pt x="4508" y="1736"/>
                </a:lnTo>
                <a:lnTo>
                  <a:pt x="4510" y="1739"/>
                </a:lnTo>
                <a:lnTo>
                  <a:pt x="4511" y="1741"/>
                </a:lnTo>
                <a:lnTo>
                  <a:pt x="4511" y="1744"/>
                </a:lnTo>
                <a:lnTo>
                  <a:pt x="4511" y="1747"/>
                </a:lnTo>
                <a:lnTo>
                  <a:pt x="4511" y="1750"/>
                </a:lnTo>
                <a:lnTo>
                  <a:pt x="4509" y="1753"/>
                </a:lnTo>
                <a:lnTo>
                  <a:pt x="4507" y="1757"/>
                </a:lnTo>
                <a:lnTo>
                  <a:pt x="4504" y="1759"/>
                </a:lnTo>
                <a:lnTo>
                  <a:pt x="4500" y="1760"/>
                </a:lnTo>
                <a:lnTo>
                  <a:pt x="4496" y="1761"/>
                </a:lnTo>
                <a:lnTo>
                  <a:pt x="4492" y="1761"/>
                </a:lnTo>
                <a:lnTo>
                  <a:pt x="4488" y="1759"/>
                </a:lnTo>
                <a:lnTo>
                  <a:pt x="4486" y="1757"/>
                </a:lnTo>
                <a:lnTo>
                  <a:pt x="4484" y="1755"/>
                </a:lnTo>
                <a:lnTo>
                  <a:pt x="4482" y="1752"/>
                </a:lnTo>
                <a:lnTo>
                  <a:pt x="4481" y="1750"/>
                </a:lnTo>
                <a:lnTo>
                  <a:pt x="4480" y="1747"/>
                </a:lnTo>
                <a:lnTo>
                  <a:pt x="4481" y="1744"/>
                </a:lnTo>
                <a:lnTo>
                  <a:pt x="4481" y="1741"/>
                </a:lnTo>
                <a:lnTo>
                  <a:pt x="4482" y="1738"/>
                </a:lnTo>
                <a:lnTo>
                  <a:pt x="4485" y="1735"/>
                </a:lnTo>
                <a:lnTo>
                  <a:pt x="4488" y="1732"/>
                </a:lnTo>
                <a:close/>
                <a:moveTo>
                  <a:pt x="4363" y="1661"/>
                </a:moveTo>
                <a:lnTo>
                  <a:pt x="4367" y="1660"/>
                </a:lnTo>
                <a:lnTo>
                  <a:pt x="4370" y="1659"/>
                </a:lnTo>
                <a:lnTo>
                  <a:pt x="4374" y="1659"/>
                </a:lnTo>
                <a:lnTo>
                  <a:pt x="4378" y="1661"/>
                </a:lnTo>
                <a:lnTo>
                  <a:pt x="4381" y="1663"/>
                </a:lnTo>
                <a:lnTo>
                  <a:pt x="4383" y="1665"/>
                </a:lnTo>
                <a:lnTo>
                  <a:pt x="4385" y="1668"/>
                </a:lnTo>
                <a:lnTo>
                  <a:pt x="4386" y="1670"/>
                </a:lnTo>
                <a:lnTo>
                  <a:pt x="4386" y="1673"/>
                </a:lnTo>
                <a:lnTo>
                  <a:pt x="4386" y="1676"/>
                </a:lnTo>
                <a:lnTo>
                  <a:pt x="4385" y="1679"/>
                </a:lnTo>
                <a:lnTo>
                  <a:pt x="4384" y="1682"/>
                </a:lnTo>
                <a:lnTo>
                  <a:pt x="4383" y="1684"/>
                </a:lnTo>
                <a:lnTo>
                  <a:pt x="4382" y="1685"/>
                </a:lnTo>
                <a:lnTo>
                  <a:pt x="4378" y="1688"/>
                </a:lnTo>
                <a:lnTo>
                  <a:pt x="4375" y="1689"/>
                </a:lnTo>
                <a:lnTo>
                  <a:pt x="4371" y="1690"/>
                </a:lnTo>
                <a:lnTo>
                  <a:pt x="4367" y="1690"/>
                </a:lnTo>
                <a:lnTo>
                  <a:pt x="4363" y="1688"/>
                </a:lnTo>
                <a:lnTo>
                  <a:pt x="4360" y="1686"/>
                </a:lnTo>
                <a:lnTo>
                  <a:pt x="4358" y="1684"/>
                </a:lnTo>
                <a:lnTo>
                  <a:pt x="4357" y="1681"/>
                </a:lnTo>
                <a:lnTo>
                  <a:pt x="4356" y="1679"/>
                </a:lnTo>
                <a:lnTo>
                  <a:pt x="4355" y="1676"/>
                </a:lnTo>
                <a:lnTo>
                  <a:pt x="4355" y="1673"/>
                </a:lnTo>
                <a:lnTo>
                  <a:pt x="4356" y="1670"/>
                </a:lnTo>
                <a:lnTo>
                  <a:pt x="4357" y="1667"/>
                </a:lnTo>
                <a:lnTo>
                  <a:pt x="4358" y="1665"/>
                </a:lnTo>
                <a:lnTo>
                  <a:pt x="4360" y="1664"/>
                </a:lnTo>
                <a:lnTo>
                  <a:pt x="4363" y="1661"/>
                </a:lnTo>
                <a:close/>
                <a:moveTo>
                  <a:pt x="4237" y="1591"/>
                </a:moveTo>
                <a:lnTo>
                  <a:pt x="4241" y="1589"/>
                </a:lnTo>
                <a:lnTo>
                  <a:pt x="4245" y="1589"/>
                </a:lnTo>
                <a:lnTo>
                  <a:pt x="4247" y="1589"/>
                </a:lnTo>
                <a:lnTo>
                  <a:pt x="4249" y="1589"/>
                </a:lnTo>
                <a:lnTo>
                  <a:pt x="4252" y="1591"/>
                </a:lnTo>
                <a:lnTo>
                  <a:pt x="4255" y="1593"/>
                </a:lnTo>
                <a:lnTo>
                  <a:pt x="4257" y="1595"/>
                </a:lnTo>
                <a:lnTo>
                  <a:pt x="4259" y="1597"/>
                </a:lnTo>
                <a:lnTo>
                  <a:pt x="4260" y="1600"/>
                </a:lnTo>
                <a:lnTo>
                  <a:pt x="4260" y="1603"/>
                </a:lnTo>
                <a:lnTo>
                  <a:pt x="4260" y="1606"/>
                </a:lnTo>
                <a:lnTo>
                  <a:pt x="4260" y="1609"/>
                </a:lnTo>
                <a:lnTo>
                  <a:pt x="4258" y="1612"/>
                </a:lnTo>
                <a:lnTo>
                  <a:pt x="4256" y="1615"/>
                </a:lnTo>
                <a:lnTo>
                  <a:pt x="4253" y="1618"/>
                </a:lnTo>
                <a:lnTo>
                  <a:pt x="4249" y="1619"/>
                </a:lnTo>
                <a:lnTo>
                  <a:pt x="4245" y="1620"/>
                </a:lnTo>
                <a:lnTo>
                  <a:pt x="4243" y="1620"/>
                </a:lnTo>
                <a:lnTo>
                  <a:pt x="4241" y="1620"/>
                </a:lnTo>
                <a:lnTo>
                  <a:pt x="4237" y="1618"/>
                </a:lnTo>
                <a:lnTo>
                  <a:pt x="4235" y="1616"/>
                </a:lnTo>
                <a:lnTo>
                  <a:pt x="4233" y="1614"/>
                </a:lnTo>
                <a:lnTo>
                  <a:pt x="4231" y="1612"/>
                </a:lnTo>
                <a:lnTo>
                  <a:pt x="4230" y="1609"/>
                </a:lnTo>
                <a:lnTo>
                  <a:pt x="4229" y="1606"/>
                </a:lnTo>
                <a:lnTo>
                  <a:pt x="4229" y="1603"/>
                </a:lnTo>
                <a:lnTo>
                  <a:pt x="4230" y="1600"/>
                </a:lnTo>
                <a:lnTo>
                  <a:pt x="4231" y="1597"/>
                </a:lnTo>
                <a:lnTo>
                  <a:pt x="4234" y="1594"/>
                </a:lnTo>
                <a:lnTo>
                  <a:pt x="4237" y="1591"/>
                </a:lnTo>
                <a:close/>
                <a:moveTo>
                  <a:pt x="4111" y="1522"/>
                </a:moveTo>
                <a:lnTo>
                  <a:pt x="4112" y="1521"/>
                </a:lnTo>
                <a:lnTo>
                  <a:pt x="4114" y="1521"/>
                </a:lnTo>
                <a:lnTo>
                  <a:pt x="4118" y="1520"/>
                </a:lnTo>
                <a:lnTo>
                  <a:pt x="4120" y="1520"/>
                </a:lnTo>
                <a:lnTo>
                  <a:pt x="4122" y="1521"/>
                </a:lnTo>
                <a:lnTo>
                  <a:pt x="4126" y="1522"/>
                </a:lnTo>
                <a:lnTo>
                  <a:pt x="4128" y="1524"/>
                </a:lnTo>
                <a:lnTo>
                  <a:pt x="4130" y="1526"/>
                </a:lnTo>
                <a:lnTo>
                  <a:pt x="4132" y="1528"/>
                </a:lnTo>
                <a:lnTo>
                  <a:pt x="4133" y="1531"/>
                </a:lnTo>
                <a:lnTo>
                  <a:pt x="4134" y="1534"/>
                </a:lnTo>
                <a:lnTo>
                  <a:pt x="4134" y="1537"/>
                </a:lnTo>
                <a:lnTo>
                  <a:pt x="4133" y="1540"/>
                </a:lnTo>
                <a:lnTo>
                  <a:pt x="4132" y="1543"/>
                </a:lnTo>
                <a:lnTo>
                  <a:pt x="4129" y="1547"/>
                </a:lnTo>
                <a:lnTo>
                  <a:pt x="4128" y="1548"/>
                </a:lnTo>
                <a:lnTo>
                  <a:pt x="4126" y="1549"/>
                </a:lnTo>
                <a:lnTo>
                  <a:pt x="4124" y="1550"/>
                </a:lnTo>
                <a:lnTo>
                  <a:pt x="4123" y="1551"/>
                </a:lnTo>
                <a:lnTo>
                  <a:pt x="4119" y="1551"/>
                </a:lnTo>
                <a:lnTo>
                  <a:pt x="4117" y="1551"/>
                </a:lnTo>
                <a:lnTo>
                  <a:pt x="4115" y="1551"/>
                </a:lnTo>
                <a:lnTo>
                  <a:pt x="4111" y="1549"/>
                </a:lnTo>
                <a:lnTo>
                  <a:pt x="4108" y="1548"/>
                </a:lnTo>
                <a:lnTo>
                  <a:pt x="4106" y="1545"/>
                </a:lnTo>
                <a:lnTo>
                  <a:pt x="4105" y="1543"/>
                </a:lnTo>
                <a:lnTo>
                  <a:pt x="4103" y="1540"/>
                </a:lnTo>
                <a:lnTo>
                  <a:pt x="4103" y="1537"/>
                </a:lnTo>
                <a:lnTo>
                  <a:pt x="4103" y="1534"/>
                </a:lnTo>
                <a:lnTo>
                  <a:pt x="4103" y="1531"/>
                </a:lnTo>
                <a:lnTo>
                  <a:pt x="4105" y="1528"/>
                </a:lnTo>
                <a:lnTo>
                  <a:pt x="4107" y="1525"/>
                </a:lnTo>
                <a:lnTo>
                  <a:pt x="4109" y="1523"/>
                </a:lnTo>
                <a:lnTo>
                  <a:pt x="4111" y="1522"/>
                </a:lnTo>
                <a:close/>
                <a:moveTo>
                  <a:pt x="3982" y="1455"/>
                </a:moveTo>
                <a:lnTo>
                  <a:pt x="3984" y="1454"/>
                </a:lnTo>
                <a:lnTo>
                  <a:pt x="3986" y="1454"/>
                </a:lnTo>
                <a:lnTo>
                  <a:pt x="3989" y="1453"/>
                </a:lnTo>
                <a:lnTo>
                  <a:pt x="3993" y="1454"/>
                </a:lnTo>
                <a:lnTo>
                  <a:pt x="3997" y="1455"/>
                </a:lnTo>
                <a:lnTo>
                  <a:pt x="4000" y="1457"/>
                </a:lnTo>
                <a:lnTo>
                  <a:pt x="4002" y="1459"/>
                </a:lnTo>
                <a:lnTo>
                  <a:pt x="4003" y="1461"/>
                </a:lnTo>
                <a:lnTo>
                  <a:pt x="4005" y="1464"/>
                </a:lnTo>
                <a:lnTo>
                  <a:pt x="4005" y="1470"/>
                </a:lnTo>
                <a:lnTo>
                  <a:pt x="4005" y="1473"/>
                </a:lnTo>
                <a:lnTo>
                  <a:pt x="4004" y="1476"/>
                </a:lnTo>
                <a:lnTo>
                  <a:pt x="4001" y="1480"/>
                </a:lnTo>
                <a:lnTo>
                  <a:pt x="3998" y="1482"/>
                </a:lnTo>
                <a:lnTo>
                  <a:pt x="3996" y="1483"/>
                </a:lnTo>
                <a:lnTo>
                  <a:pt x="3994" y="1484"/>
                </a:lnTo>
                <a:lnTo>
                  <a:pt x="3990" y="1484"/>
                </a:lnTo>
                <a:lnTo>
                  <a:pt x="3987" y="1484"/>
                </a:lnTo>
                <a:lnTo>
                  <a:pt x="3983" y="1483"/>
                </a:lnTo>
                <a:lnTo>
                  <a:pt x="3980" y="1481"/>
                </a:lnTo>
                <a:lnTo>
                  <a:pt x="3978" y="1479"/>
                </a:lnTo>
                <a:lnTo>
                  <a:pt x="3976" y="1476"/>
                </a:lnTo>
                <a:lnTo>
                  <a:pt x="3975" y="1474"/>
                </a:lnTo>
                <a:lnTo>
                  <a:pt x="3974" y="1468"/>
                </a:lnTo>
                <a:lnTo>
                  <a:pt x="3975" y="1465"/>
                </a:lnTo>
                <a:lnTo>
                  <a:pt x="3976" y="1462"/>
                </a:lnTo>
                <a:lnTo>
                  <a:pt x="3979" y="1458"/>
                </a:lnTo>
                <a:lnTo>
                  <a:pt x="3982" y="1455"/>
                </a:lnTo>
                <a:close/>
                <a:moveTo>
                  <a:pt x="3853" y="1391"/>
                </a:moveTo>
                <a:lnTo>
                  <a:pt x="3857" y="1389"/>
                </a:lnTo>
                <a:lnTo>
                  <a:pt x="3860" y="1389"/>
                </a:lnTo>
                <a:lnTo>
                  <a:pt x="3864" y="1389"/>
                </a:lnTo>
                <a:lnTo>
                  <a:pt x="3868" y="1390"/>
                </a:lnTo>
                <a:lnTo>
                  <a:pt x="3871" y="1392"/>
                </a:lnTo>
                <a:lnTo>
                  <a:pt x="3873" y="1394"/>
                </a:lnTo>
                <a:lnTo>
                  <a:pt x="3875" y="1397"/>
                </a:lnTo>
                <a:lnTo>
                  <a:pt x="3876" y="1399"/>
                </a:lnTo>
                <a:lnTo>
                  <a:pt x="3876" y="1402"/>
                </a:lnTo>
                <a:lnTo>
                  <a:pt x="3877" y="1405"/>
                </a:lnTo>
                <a:lnTo>
                  <a:pt x="3876" y="1408"/>
                </a:lnTo>
                <a:lnTo>
                  <a:pt x="3875" y="1411"/>
                </a:lnTo>
                <a:lnTo>
                  <a:pt x="3874" y="1413"/>
                </a:lnTo>
                <a:lnTo>
                  <a:pt x="3872" y="1415"/>
                </a:lnTo>
                <a:lnTo>
                  <a:pt x="3869" y="1418"/>
                </a:lnTo>
                <a:lnTo>
                  <a:pt x="3865" y="1419"/>
                </a:lnTo>
                <a:lnTo>
                  <a:pt x="3862" y="1420"/>
                </a:lnTo>
                <a:lnTo>
                  <a:pt x="3858" y="1420"/>
                </a:lnTo>
                <a:lnTo>
                  <a:pt x="3854" y="1418"/>
                </a:lnTo>
                <a:lnTo>
                  <a:pt x="3852" y="1417"/>
                </a:lnTo>
                <a:lnTo>
                  <a:pt x="3849" y="1415"/>
                </a:lnTo>
                <a:lnTo>
                  <a:pt x="3848" y="1412"/>
                </a:lnTo>
                <a:lnTo>
                  <a:pt x="3846" y="1409"/>
                </a:lnTo>
                <a:lnTo>
                  <a:pt x="3846" y="1407"/>
                </a:lnTo>
                <a:lnTo>
                  <a:pt x="3846" y="1404"/>
                </a:lnTo>
                <a:lnTo>
                  <a:pt x="3846" y="1400"/>
                </a:lnTo>
                <a:lnTo>
                  <a:pt x="3847" y="1398"/>
                </a:lnTo>
                <a:lnTo>
                  <a:pt x="3848" y="1395"/>
                </a:lnTo>
                <a:lnTo>
                  <a:pt x="3850" y="1394"/>
                </a:lnTo>
                <a:lnTo>
                  <a:pt x="3853" y="1391"/>
                </a:lnTo>
                <a:close/>
                <a:moveTo>
                  <a:pt x="3723" y="1330"/>
                </a:moveTo>
                <a:lnTo>
                  <a:pt x="3726" y="1328"/>
                </a:lnTo>
                <a:lnTo>
                  <a:pt x="3730" y="1328"/>
                </a:lnTo>
                <a:lnTo>
                  <a:pt x="3734" y="1328"/>
                </a:lnTo>
                <a:lnTo>
                  <a:pt x="3735" y="1328"/>
                </a:lnTo>
                <a:lnTo>
                  <a:pt x="3737" y="1329"/>
                </a:lnTo>
                <a:lnTo>
                  <a:pt x="3740" y="1331"/>
                </a:lnTo>
                <a:lnTo>
                  <a:pt x="3742" y="1333"/>
                </a:lnTo>
                <a:lnTo>
                  <a:pt x="3744" y="1335"/>
                </a:lnTo>
                <a:lnTo>
                  <a:pt x="3745" y="1338"/>
                </a:lnTo>
                <a:lnTo>
                  <a:pt x="3746" y="1341"/>
                </a:lnTo>
                <a:lnTo>
                  <a:pt x="3746" y="1344"/>
                </a:lnTo>
                <a:lnTo>
                  <a:pt x="3746" y="1347"/>
                </a:lnTo>
                <a:lnTo>
                  <a:pt x="3745" y="1350"/>
                </a:lnTo>
                <a:lnTo>
                  <a:pt x="3744" y="1352"/>
                </a:lnTo>
                <a:lnTo>
                  <a:pt x="3742" y="1354"/>
                </a:lnTo>
                <a:lnTo>
                  <a:pt x="3741" y="1355"/>
                </a:lnTo>
                <a:lnTo>
                  <a:pt x="3739" y="1357"/>
                </a:lnTo>
                <a:lnTo>
                  <a:pt x="3735" y="1358"/>
                </a:lnTo>
                <a:lnTo>
                  <a:pt x="3732" y="1359"/>
                </a:lnTo>
                <a:lnTo>
                  <a:pt x="3728" y="1358"/>
                </a:lnTo>
                <a:lnTo>
                  <a:pt x="3726" y="1358"/>
                </a:lnTo>
                <a:lnTo>
                  <a:pt x="3724" y="1357"/>
                </a:lnTo>
                <a:lnTo>
                  <a:pt x="3722" y="1356"/>
                </a:lnTo>
                <a:lnTo>
                  <a:pt x="3719" y="1354"/>
                </a:lnTo>
                <a:lnTo>
                  <a:pt x="3718" y="1351"/>
                </a:lnTo>
                <a:lnTo>
                  <a:pt x="3716" y="1349"/>
                </a:lnTo>
                <a:lnTo>
                  <a:pt x="3715" y="1346"/>
                </a:lnTo>
                <a:lnTo>
                  <a:pt x="3715" y="1343"/>
                </a:lnTo>
                <a:lnTo>
                  <a:pt x="3716" y="1340"/>
                </a:lnTo>
                <a:lnTo>
                  <a:pt x="3717" y="1337"/>
                </a:lnTo>
                <a:lnTo>
                  <a:pt x="3718" y="1335"/>
                </a:lnTo>
                <a:lnTo>
                  <a:pt x="3719" y="1333"/>
                </a:lnTo>
                <a:lnTo>
                  <a:pt x="3721" y="1331"/>
                </a:lnTo>
                <a:lnTo>
                  <a:pt x="3723" y="1330"/>
                </a:lnTo>
                <a:close/>
                <a:moveTo>
                  <a:pt x="1967" y="2343"/>
                </a:moveTo>
                <a:lnTo>
                  <a:pt x="1969" y="2342"/>
                </a:lnTo>
                <a:lnTo>
                  <a:pt x="1972" y="2341"/>
                </a:lnTo>
                <a:lnTo>
                  <a:pt x="1977" y="2341"/>
                </a:lnTo>
                <a:lnTo>
                  <a:pt x="1979" y="2342"/>
                </a:lnTo>
                <a:lnTo>
                  <a:pt x="1982" y="2343"/>
                </a:lnTo>
                <a:lnTo>
                  <a:pt x="1984" y="2344"/>
                </a:lnTo>
                <a:lnTo>
                  <a:pt x="1986" y="2346"/>
                </a:lnTo>
                <a:lnTo>
                  <a:pt x="1988" y="2348"/>
                </a:lnTo>
                <a:lnTo>
                  <a:pt x="1989" y="2351"/>
                </a:lnTo>
                <a:lnTo>
                  <a:pt x="1990" y="2354"/>
                </a:lnTo>
                <a:lnTo>
                  <a:pt x="1990" y="2357"/>
                </a:lnTo>
                <a:lnTo>
                  <a:pt x="1990" y="2360"/>
                </a:lnTo>
                <a:lnTo>
                  <a:pt x="1989" y="2363"/>
                </a:lnTo>
                <a:lnTo>
                  <a:pt x="1988" y="2365"/>
                </a:lnTo>
                <a:lnTo>
                  <a:pt x="1986" y="2368"/>
                </a:lnTo>
                <a:lnTo>
                  <a:pt x="1982" y="2370"/>
                </a:lnTo>
                <a:lnTo>
                  <a:pt x="1978" y="2372"/>
                </a:lnTo>
                <a:lnTo>
                  <a:pt x="1973" y="2372"/>
                </a:lnTo>
                <a:lnTo>
                  <a:pt x="1970" y="2371"/>
                </a:lnTo>
                <a:lnTo>
                  <a:pt x="1968" y="2370"/>
                </a:lnTo>
                <a:lnTo>
                  <a:pt x="1966" y="2369"/>
                </a:lnTo>
                <a:lnTo>
                  <a:pt x="1964" y="2367"/>
                </a:lnTo>
                <a:lnTo>
                  <a:pt x="1962" y="2365"/>
                </a:lnTo>
                <a:lnTo>
                  <a:pt x="1960" y="2362"/>
                </a:lnTo>
                <a:lnTo>
                  <a:pt x="1959" y="2359"/>
                </a:lnTo>
                <a:lnTo>
                  <a:pt x="1959" y="2356"/>
                </a:lnTo>
                <a:lnTo>
                  <a:pt x="1959" y="2353"/>
                </a:lnTo>
                <a:lnTo>
                  <a:pt x="1960" y="2350"/>
                </a:lnTo>
                <a:lnTo>
                  <a:pt x="1962" y="2348"/>
                </a:lnTo>
                <a:lnTo>
                  <a:pt x="1964" y="2345"/>
                </a:lnTo>
                <a:lnTo>
                  <a:pt x="1967" y="2343"/>
                </a:lnTo>
                <a:close/>
                <a:moveTo>
                  <a:pt x="2063" y="2236"/>
                </a:moveTo>
                <a:lnTo>
                  <a:pt x="2067" y="2234"/>
                </a:lnTo>
                <a:lnTo>
                  <a:pt x="2071" y="2234"/>
                </a:lnTo>
                <a:lnTo>
                  <a:pt x="2073" y="2234"/>
                </a:lnTo>
                <a:lnTo>
                  <a:pt x="2076" y="2235"/>
                </a:lnTo>
                <a:lnTo>
                  <a:pt x="2078" y="2236"/>
                </a:lnTo>
                <a:lnTo>
                  <a:pt x="2080" y="2237"/>
                </a:lnTo>
                <a:lnTo>
                  <a:pt x="2082" y="2239"/>
                </a:lnTo>
                <a:lnTo>
                  <a:pt x="2084" y="2242"/>
                </a:lnTo>
                <a:lnTo>
                  <a:pt x="2085" y="2245"/>
                </a:lnTo>
                <a:lnTo>
                  <a:pt x="2086" y="2248"/>
                </a:lnTo>
                <a:lnTo>
                  <a:pt x="2086" y="2251"/>
                </a:lnTo>
                <a:lnTo>
                  <a:pt x="2085" y="2254"/>
                </a:lnTo>
                <a:lnTo>
                  <a:pt x="2084" y="2256"/>
                </a:lnTo>
                <a:lnTo>
                  <a:pt x="2083" y="2259"/>
                </a:lnTo>
                <a:lnTo>
                  <a:pt x="2081" y="2261"/>
                </a:lnTo>
                <a:lnTo>
                  <a:pt x="2078" y="2263"/>
                </a:lnTo>
                <a:lnTo>
                  <a:pt x="2074" y="2265"/>
                </a:lnTo>
                <a:lnTo>
                  <a:pt x="2069" y="2265"/>
                </a:lnTo>
                <a:lnTo>
                  <a:pt x="2067" y="2265"/>
                </a:lnTo>
                <a:lnTo>
                  <a:pt x="2065" y="2264"/>
                </a:lnTo>
                <a:lnTo>
                  <a:pt x="2063" y="2263"/>
                </a:lnTo>
                <a:lnTo>
                  <a:pt x="2061" y="2262"/>
                </a:lnTo>
                <a:lnTo>
                  <a:pt x="2059" y="2260"/>
                </a:lnTo>
                <a:lnTo>
                  <a:pt x="2057" y="2257"/>
                </a:lnTo>
                <a:lnTo>
                  <a:pt x="2056" y="2255"/>
                </a:lnTo>
                <a:lnTo>
                  <a:pt x="2055" y="2252"/>
                </a:lnTo>
                <a:lnTo>
                  <a:pt x="2055" y="2249"/>
                </a:lnTo>
                <a:lnTo>
                  <a:pt x="2055" y="2246"/>
                </a:lnTo>
                <a:lnTo>
                  <a:pt x="2056" y="2243"/>
                </a:lnTo>
                <a:lnTo>
                  <a:pt x="2058" y="2240"/>
                </a:lnTo>
                <a:lnTo>
                  <a:pt x="2060" y="2238"/>
                </a:lnTo>
                <a:lnTo>
                  <a:pt x="2063" y="2236"/>
                </a:lnTo>
                <a:close/>
                <a:moveTo>
                  <a:pt x="2140" y="2115"/>
                </a:moveTo>
                <a:lnTo>
                  <a:pt x="2141" y="2114"/>
                </a:lnTo>
                <a:lnTo>
                  <a:pt x="2143" y="2114"/>
                </a:lnTo>
                <a:lnTo>
                  <a:pt x="2147" y="2113"/>
                </a:lnTo>
                <a:lnTo>
                  <a:pt x="2151" y="2113"/>
                </a:lnTo>
                <a:lnTo>
                  <a:pt x="2154" y="2115"/>
                </a:lnTo>
                <a:lnTo>
                  <a:pt x="2157" y="2116"/>
                </a:lnTo>
                <a:lnTo>
                  <a:pt x="2159" y="2119"/>
                </a:lnTo>
                <a:lnTo>
                  <a:pt x="2161" y="2121"/>
                </a:lnTo>
                <a:lnTo>
                  <a:pt x="2162" y="2124"/>
                </a:lnTo>
                <a:lnTo>
                  <a:pt x="2163" y="2130"/>
                </a:lnTo>
                <a:lnTo>
                  <a:pt x="2162" y="2133"/>
                </a:lnTo>
                <a:lnTo>
                  <a:pt x="2161" y="2136"/>
                </a:lnTo>
                <a:lnTo>
                  <a:pt x="2159" y="2139"/>
                </a:lnTo>
                <a:lnTo>
                  <a:pt x="2155" y="2142"/>
                </a:lnTo>
                <a:lnTo>
                  <a:pt x="2153" y="2143"/>
                </a:lnTo>
                <a:lnTo>
                  <a:pt x="2152" y="2143"/>
                </a:lnTo>
                <a:lnTo>
                  <a:pt x="2148" y="2144"/>
                </a:lnTo>
                <a:lnTo>
                  <a:pt x="2144" y="2144"/>
                </a:lnTo>
                <a:lnTo>
                  <a:pt x="2140" y="2142"/>
                </a:lnTo>
                <a:lnTo>
                  <a:pt x="2138" y="2141"/>
                </a:lnTo>
                <a:lnTo>
                  <a:pt x="2135" y="2139"/>
                </a:lnTo>
                <a:lnTo>
                  <a:pt x="2134" y="2136"/>
                </a:lnTo>
                <a:lnTo>
                  <a:pt x="2133" y="2133"/>
                </a:lnTo>
                <a:lnTo>
                  <a:pt x="2132" y="2127"/>
                </a:lnTo>
                <a:lnTo>
                  <a:pt x="2132" y="2124"/>
                </a:lnTo>
                <a:lnTo>
                  <a:pt x="2133" y="2121"/>
                </a:lnTo>
                <a:lnTo>
                  <a:pt x="2136" y="2118"/>
                </a:lnTo>
                <a:lnTo>
                  <a:pt x="2140" y="2115"/>
                </a:lnTo>
                <a:close/>
                <a:moveTo>
                  <a:pt x="3591" y="1273"/>
                </a:moveTo>
                <a:lnTo>
                  <a:pt x="3594" y="1271"/>
                </a:lnTo>
                <a:lnTo>
                  <a:pt x="3597" y="1271"/>
                </a:lnTo>
                <a:lnTo>
                  <a:pt x="3601" y="1271"/>
                </a:lnTo>
                <a:lnTo>
                  <a:pt x="3604" y="1272"/>
                </a:lnTo>
                <a:lnTo>
                  <a:pt x="3607" y="1273"/>
                </a:lnTo>
                <a:lnTo>
                  <a:pt x="3610" y="1275"/>
                </a:lnTo>
                <a:lnTo>
                  <a:pt x="3611" y="1278"/>
                </a:lnTo>
                <a:lnTo>
                  <a:pt x="3613" y="1280"/>
                </a:lnTo>
                <a:lnTo>
                  <a:pt x="3614" y="1283"/>
                </a:lnTo>
                <a:lnTo>
                  <a:pt x="3614" y="1286"/>
                </a:lnTo>
                <a:lnTo>
                  <a:pt x="3614" y="1289"/>
                </a:lnTo>
                <a:lnTo>
                  <a:pt x="3613" y="1292"/>
                </a:lnTo>
                <a:lnTo>
                  <a:pt x="3612" y="1294"/>
                </a:lnTo>
                <a:lnTo>
                  <a:pt x="3610" y="1297"/>
                </a:lnTo>
                <a:lnTo>
                  <a:pt x="3608" y="1298"/>
                </a:lnTo>
                <a:lnTo>
                  <a:pt x="3606" y="1300"/>
                </a:lnTo>
                <a:lnTo>
                  <a:pt x="3603" y="1301"/>
                </a:lnTo>
                <a:lnTo>
                  <a:pt x="3600" y="1302"/>
                </a:lnTo>
                <a:lnTo>
                  <a:pt x="3596" y="1302"/>
                </a:lnTo>
                <a:lnTo>
                  <a:pt x="3593" y="1301"/>
                </a:lnTo>
                <a:lnTo>
                  <a:pt x="3590" y="1299"/>
                </a:lnTo>
                <a:lnTo>
                  <a:pt x="3588" y="1297"/>
                </a:lnTo>
                <a:lnTo>
                  <a:pt x="3586" y="1295"/>
                </a:lnTo>
                <a:lnTo>
                  <a:pt x="3584" y="1292"/>
                </a:lnTo>
                <a:lnTo>
                  <a:pt x="3583" y="1289"/>
                </a:lnTo>
                <a:lnTo>
                  <a:pt x="3583" y="1286"/>
                </a:lnTo>
                <a:lnTo>
                  <a:pt x="3583" y="1283"/>
                </a:lnTo>
                <a:lnTo>
                  <a:pt x="3584" y="1280"/>
                </a:lnTo>
                <a:lnTo>
                  <a:pt x="3585" y="1278"/>
                </a:lnTo>
                <a:lnTo>
                  <a:pt x="3587" y="1276"/>
                </a:lnTo>
                <a:lnTo>
                  <a:pt x="3589" y="1274"/>
                </a:lnTo>
                <a:lnTo>
                  <a:pt x="3591" y="1273"/>
                </a:lnTo>
                <a:close/>
                <a:moveTo>
                  <a:pt x="2193" y="1982"/>
                </a:moveTo>
                <a:lnTo>
                  <a:pt x="2196" y="1981"/>
                </a:lnTo>
                <a:lnTo>
                  <a:pt x="2199" y="1980"/>
                </a:lnTo>
                <a:lnTo>
                  <a:pt x="2202" y="1980"/>
                </a:lnTo>
                <a:lnTo>
                  <a:pt x="2205" y="1981"/>
                </a:lnTo>
                <a:lnTo>
                  <a:pt x="2208" y="1982"/>
                </a:lnTo>
                <a:lnTo>
                  <a:pt x="2211" y="1983"/>
                </a:lnTo>
                <a:lnTo>
                  <a:pt x="2212" y="1984"/>
                </a:lnTo>
                <a:lnTo>
                  <a:pt x="2213" y="1986"/>
                </a:lnTo>
                <a:lnTo>
                  <a:pt x="2215" y="1988"/>
                </a:lnTo>
                <a:lnTo>
                  <a:pt x="2216" y="1991"/>
                </a:lnTo>
                <a:lnTo>
                  <a:pt x="2216" y="1994"/>
                </a:lnTo>
                <a:lnTo>
                  <a:pt x="2216" y="1997"/>
                </a:lnTo>
                <a:lnTo>
                  <a:pt x="2216" y="2000"/>
                </a:lnTo>
                <a:lnTo>
                  <a:pt x="2215" y="2003"/>
                </a:lnTo>
                <a:lnTo>
                  <a:pt x="2213" y="2005"/>
                </a:lnTo>
                <a:lnTo>
                  <a:pt x="2211" y="2007"/>
                </a:lnTo>
                <a:lnTo>
                  <a:pt x="2209" y="2009"/>
                </a:lnTo>
                <a:lnTo>
                  <a:pt x="2206" y="2010"/>
                </a:lnTo>
                <a:lnTo>
                  <a:pt x="2203" y="2011"/>
                </a:lnTo>
                <a:lnTo>
                  <a:pt x="2200" y="2011"/>
                </a:lnTo>
                <a:lnTo>
                  <a:pt x="2196" y="2010"/>
                </a:lnTo>
                <a:lnTo>
                  <a:pt x="2194" y="2009"/>
                </a:lnTo>
                <a:lnTo>
                  <a:pt x="2191" y="2007"/>
                </a:lnTo>
                <a:lnTo>
                  <a:pt x="2190" y="2006"/>
                </a:lnTo>
                <a:lnTo>
                  <a:pt x="2189" y="2005"/>
                </a:lnTo>
                <a:lnTo>
                  <a:pt x="2187" y="2003"/>
                </a:lnTo>
                <a:lnTo>
                  <a:pt x="2186" y="2000"/>
                </a:lnTo>
                <a:lnTo>
                  <a:pt x="2185" y="1997"/>
                </a:lnTo>
                <a:lnTo>
                  <a:pt x="2185" y="1994"/>
                </a:lnTo>
                <a:lnTo>
                  <a:pt x="2186" y="1991"/>
                </a:lnTo>
                <a:lnTo>
                  <a:pt x="2187" y="1988"/>
                </a:lnTo>
                <a:lnTo>
                  <a:pt x="2189" y="1986"/>
                </a:lnTo>
                <a:lnTo>
                  <a:pt x="2191" y="1984"/>
                </a:lnTo>
                <a:lnTo>
                  <a:pt x="2193" y="1982"/>
                </a:lnTo>
                <a:close/>
                <a:moveTo>
                  <a:pt x="3456" y="1222"/>
                </a:moveTo>
                <a:lnTo>
                  <a:pt x="3459" y="1220"/>
                </a:lnTo>
                <a:lnTo>
                  <a:pt x="3462" y="1220"/>
                </a:lnTo>
                <a:lnTo>
                  <a:pt x="3466" y="1220"/>
                </a:lnTo>
                <a:lnTo>
                  <a:pt x="3469" y="1220"/>
                </a:lnTo>
                <a:lnTo>
                  <a:pt x="3472" y="1222"/>
                </a:lnTo>
                <a:lnTo>
                  <a:pt x="3474" y="1224"/>
                </a:lnTo>
                <a:lnTo>
                  <a:pt x="3476" y="1226"/>
                </a:lnTo>
                <a:lnTo>
                  <a:pt x="3478" y="1228"/>
                </a:lnTo>
                <a:lnTo>
                  <a:pt x="3479" y="1231"/>
                </a:lnTo>
                <a:lnTo>
                  <a:pt x="3480" y="1234"/>
                </a:lnTo>
                <a:lnTo>
                  <a:pt x="3479" y="1240"/>
                </a:lnTo>
                <a:lnTo>
                  <a:pt x="3477" y="1243"/>
                </a:lnTo>
                <a:lnTo>
                  <a:pt x="3476" y="1245"/>
                </a:lnTo>
                <a:lnTo>
                  <a:pt x="3474" y="1247"/>
                </a:lnTo>
                <a:lnTo>
                  <a:pt x="3472" y="1248"/>
                </a:lnTo>
                <a:lnTo>
                  <a:pt x="3469" y="1250"/>
                </a:lnTo>
                <a:lnTo>
                  <a:pt x="3466" y="1250"/>
                </a:lnTo>
                <a:lnTo>
                  <a:pt x="3462" y="1250"/>
                </a:lnTo>
                <a:lnTo>
                  <a:pt x="3459" y="1250"/>
                </a:lnTo>
                <a:lnTo>
                  <a:pt x="3456" y="1248"/>
                </a:lnTo>
                <a:lnTo>
                  <a:pt x="3454" y="1247"/>
                </a:lnTo>
                <a:lnTo>
                  <a:pt x="3452" y="1244"/>
                </a:lnTo>
                <a:lnTo>
                  <a:pt x="3450" y="1242"/>
                </a:lnTo>
                <a:lnTo>
                  <a:pt x="3449" y="1239"/>
                </a:lnTo>
                <a:lnTo>
                  <a:pt x="3448" y="1236"/>
                </a:lnTo>
                <a:lnTo>
                  <a:pt x="3449" y="1230"/>
                </a:lnTo>
                <a:lnTo>
                  <a:pt x="3451" y="1227"/>
                </a:lnTo>
                <a:lnTo>
                  <a:pt x="3452" y="1225"/>
                </a:lnTo>
                <a:lnTo>
                  <a:pt x="3454" y="1223"/>
                </a:lnTo>
                <a:lnTo>
                  <a:pt x="3456" y="1222"/>
                </a:lnTo>
                <a:close/>
                <a:moveTo>
                  <a:pt x="2223" y="1841"/>
                </a:moveTo>
                <a:lnTo>
                  <a:pt x="2226" y="1840"/>
                </a:lnTo>
                <a:lnTo>
                  <a:pt x="2228" y="1840"/>
                </a:lnTo>
                <a:lnTo>
                  <a:pt x="2231" y="1839"/>
                </a:lnTo>
                <a:lnTo>
                  <a:pt x="2233" y="1840"/>
                </a:lnTo>
                <a:lnTo>
                  <a:pt x="2236" y="1840"/>
                </a:lnTo>
                <a:lnTo>
                  <a:pt x="2239" y="1842"/>
                </a:lnTo>
                <a:lnTo>
                  <a:pt x="2242" y="1843"/>
                </a:lnTo>
                <a:lnTo>
                  <a:pt x="2244" y="1846"/>
                </a:lnTo>
                <a:lnTo>
                  <a:pt x="2245" y="1848"/>
                </a:lnTo>
                <a:lnTo>
                  <a:pt x="2246" y="1851"/>
                </a:lnTo>
                <a:lnTo>
                  <a:pt x="2247" y="1854"/>
                </a:lnTo>
                <a:lnTo>
                  <a:pt x="2247" y="1857"/>
                </a:lnTo>
                <a:lnTo>
                  <a:pt x="2246" y="1861"/>
                </a:lnTo>
                <a:lnTo>
                  <a:pt x="2244" y="1864"/>
                </a:lnTo>
                <a:lnTo>
                  <a:pt x="2242" y="1866"/>
                </a:lnTo>
                <a:lnTo>
                  <a:pt x="2239" y="1868"/>
                </a:lnTo>
                <a:lnTo>
                  <a:pt x="2237" y="1869"/>
                </a:lnTo>
                <a:lnTo>
                  <a:pt x="2234" y="1870"/>
                </a:lnTo>
                <a:lnTo>
                  <a:pt x="2232" y="1870"/>
                </a:lnTo>
                <a:lnTo>
                  <a:pt x="2229" y="1870"/>
                </a:lnTo>
                <a:lnTo>
                  <a:pt x="2226" y="1870"/>
                </a:lnTo>
                <a:lnTo>
                  <a:pt x="2223" y="1868"/>
                </a:lnTo>
                <a:lnTo>
                  <a:pt x="2221" y="1866"/>
                </a:lnTo>
                <a:lnTo>
                  <a:pt x="2219" y="1864"/>
                </a:lnTo>
                <a:lnTo>
                  <a:pt x="2217" y="1862"/>
                </a:lnTo>
                <a:lnTo>
                  <a:pt x="2216" y="1859"/>
                </a:lnTo>
                <a:lnTo>
                  <a:pt x="2216" y="1856"/>
                </a:lnTo>
                <a:lnTo>
                  <a:pt x="2216" y="1853"/>
                </a:lnTo>
                <a:lnTo>
                  <a:pt x="2217" y="1849"/>
                </a:lnTo>
                <a:lnTo>
                  <a:pt x="2218" y="1846"/>
                </a:lnTo>
                <a:lnTo>
                  <a:pt x="2221" y="1844"/>
                </a:lnTo>
                <a:lnTo>
                  <a:pt x="2223" y="1841"/>
                </a:lnTo>
                <a:close/>
                <a:moveTo>
                  <a:pt x="3319" y="1178"/>
                </a:moveTo>
                <a:lnTo>
                  <a:pt x="3322" y="1177"/>
                </a:lnTo>
                <a:lnTo>
                  <a:pt x="3325" y="1176"/>
                </a:lnTo>
                <a:lnTo>
                  <a:pt x="3328" y="1176"/>
                </a:lnTo>
                <a:lnTo>
                  <a:pt x="3331" y="1176"/>
                </a:lnTo>
                <a:lnTo>
                  <a:pt x="3334" y="1177"/>
                </a:lnTo>
                <a:lnTo>
                  <a:pt x="3337" y="1179"/>
                </a:lnTo>
                <a:lnTo>
                  <a:pt x="3339" y="1181"/>
                </a:lnTo>
                <a:lnTo>
                  <a:pt x="3340" y="1184"/>
                </a:lnTo>
                <a:lnTo>
                  <a:pt x="3342" y="1186"/>
                </a:lnTo>
                <a:lnTo>
                  <a:pt x="3342" y="1189"/>
                </a:lnTo>
                <a:lnTo>
                  <a:pt x="3342" y="1192"/>
                </a:lnTo>
                <a:lnTo>
                  <a:pt x="3342" y="1195"/>
                </a:lnTo>
                <a:lnTo>
                  <a:pt x="3341" y="1198"/>
                </a:lnTo>
                <a:lnTo>
                  <a:pt x="3339" y="1201"/>
                </a:lnTo>
                <a:lnTo>
                  <a:pt x="3337" y="1203"/>
                </a:lnTo>
                <a:lnTo>
                  <a:pt x="3335" y="1205"/>
                </a:lnTo>
                <a:lnTo>
                  <a:pt x="3332" y="1206"/>
                </a:lnTo>
                <a:lnTo>
                  <a:pt x="3329" y="1207"/>
                </a:lnTo>
                <a:lnTo>
                  <a:pt x="3326" y="1207"/>
                </a:lnTo>
                <a:lnTo>
                  <a:pt x="3323" y="1206"/>
                </a:lnTo>
                <a:lnTo>
                  <a:pt x="3320" y="1205"/>
                </a:lnTo>
                <a:lnTo>
                  <a:pt x="3317" y="1203"/>
                </a:lnTo>
                <a:lnTo>
                  <a:pt x="3315" y="1201"/>
                </a:lnTo>
                <a:lnTo>
                  <a:pt x="3313" y="1199"/>
                </a:lnTo>
                <a:lnTo>
                  <a:pt x="3312" y="1196"/>
                </a:lnTo>
                <a:lnTo>
                  <a:pt x="3311" y="1193"/>
                </a:lnTo>
                <a:lnTo>
                  <a:pt x="3311" y="1190"/>
                </a:lnTo>
                <a:lnTo>
                  <a:pt x="3312" y="1187"/>
                </a:lnTo>
                <a:lnTo>
                  <a:pt x="3313" y="1184"/>
                </a:lnTo>
                <a:lnTo>
                  <a:pt x="3315" y="1182"/>
                </a:lnTo>
                <a:lnTo>
                  <a:pt x="3317" y="1179"/>
                </a:lnTo>
                <a:lnTo>
                  <a:pt x="3319" y="1178"/>
                </a:lnTo>
                <a:close/>
                <a:moveTo>
                  <a:pt x="2237" y="1697"/>
                </a:moveTo>
                <a:lnTo>
                  <a:pt x="2242" y="1696"/>
                </a:lnTo>
                <a:lnTo>
                  <a:pt x="2246" y="1695"/>
                </a:lnTo>
                <a:lnTo>
                  <a:pt x="2249" y="1696"/>
                </a:lnTo>
                <a:lnTo>
                  <a:pt x="2252" y="1697"/>
                </a:lnTo>
                <a:lnTo>
                  <a:pt x="2255" y="1698"/>
                </a:lnTo>
                <a:lnTo>
                  <a:pt x="2257" y="1700"/>
                </a:lnTo>
                <a:lnTo>
                  <a:pt x="2259" y="1703"/>
                </a:lnTo>
                <a:lnTo>
                  <a:pt x="2260" y="1706"/>
                </a:lnTo>
                <a:lnTo>
                  <a:pt x="2261" y="1709"/>
                </a:lnTo>
                <a:lnTo>
                  <a:pt x="2261" y="1712"/>
                </a:lnTo>
                <a:lnTo>
                  <a:pt x="2260" y="1714"/>
                </a:lnTo>
                <a:lnTo>
                  <a:pt x="2260" y="1716"/>
                </a:lnTo>
                <a:lnTo>
                  <a:pt x="2258" y="1719"/>
                </a:lnTo>
                <a:lnTo>
                  <a:pt x="2256" y="1722"/>
                </a:lnTo>
                <a:lnTo>
                  <a:pt x="2253" y="1724"/>
                </a:lnTo>
                <a:lnTo>
                  <a:pt x="2249" y="1726"/>
                </a:lnTo>
                <a:lnTo>
                  <a:pt x="2244" y="1726"/>
                </a:lnTo>
                <a:lnTo>
                  <a:pt x="2241" y="1726"/>
                </a:lnTo>
                <a:lnTo>
                  <a:pt x="2238" y="1725"/>
                </a:lnTo>
                <a:lnTo>
                  <a:pt x="2236" y="1723"/>
                </a:lnTo>
                <a:lnTo>
                  <a:pt x="2233" y="1721"/>
                </a:lnTo>
                <a:lnTo>
                  <a:pt x="2232" y="1718"/>
                </a:lnTo>
                <a:lnTo>
                  <a:pt x="2230" y="1716"/>
                </a:lnTo>
                <a:lnTo>
                  <a:pt x="2230" y="1713"/>
                </a:lnTo>
                <a:lnTo>
                  <a:pt x="2230" y="1710"/>
                </a:lnTo>
                <a:lnTo>
                  <a:pt x="2230" y="1708"/>
                </a:lnTo>
                <a:lnTo>
                  <a:pt x="2230" y="1706"/>
                </a:lnTo>
                <a:lnTo>
                  <a:pt x="2232" y="1702"/>
                </a:lnTo>
                <a:lnTo>
                  <a:pt x="2234" y="1699"/>
                </a:lnTo>
                <a:lnTo>
                  <a:pt x="2237" y="1697"/>
                </a:lnTo>
                <a:close/>
                <a:moveTo>
                  <a:pt x="3179" y="1144"/>
                </a:moveTo>
                <a:lnTo>
                  <a:pt x="3182" y="1143"/>
                </a:lnTo>
                <a:lnTo>
                  <a:pt x="3184" y="1142"/>
                </a:lnTo>
                <a:lnTo>
                  <a:pt x="3190" y="1142"/>
                </a:lnTo>
                <a:lnTo>
                  <a:pt x="3193" y="1143"/>
                </a:lnTo>
                <a:lnTo>
                  <a:pt x="3196" y="1144"/>
                </a:lnTo>
                <a:lnTo>
                  <a:pt x="3198" y="1146"/>
                </a:lnTo>
                <a:lnTo>
                  <a:pt x="3200" y="1149"/>
                </a:lnTo>
                <a:lnTo>
                  <a:pt x="3201" y="1151"/>
                </a:lnTo>
                <a:lnTo>
                  <a:pt x="3202" y="1154"/>
                </a:lnTo>
                <a:lnTo>
                  <a:pt x="3203" y="1157"/>
                </a:lnTo>
                <a:lnTo>
                  <a:pt x="3202" y="1160"/>
                </a:lnTo>
                <a:lnTo>
                  <a:pt x="3201" y="1163"/>
                </a:lnTo>
                <a:lnTo>
                  <a:pt x="3200" y="1166"/>
                </a:lnTo>
                <a:lnTo>
                  <a:pt x="3197" y="1169"/>
                </a:lnTo>
                <a:lnTo>
                  <a:pt x="3195" y="1171"/>
                </a:lnTo>
                <a:lnTo>
                  <a:pt x="3192" y="1172"/>
                </a:lnTo>
                <a:lnTo>
                  <a:pt x="3190" y="1172"/>
                </a:lnTo>
                <a:lnTo>
                  <a:pt x="3184" y="1172"/>
                </a:lnTo>
                <a:lnTo>
                  <a:pt x="3181" y="1171"/>
                </a:lnTo>
                <a:lnTo>
                  <a:pt x="3178" y="1170"/>
                </a:lnTo>
                <a:lnTo>
                  <a:pt x="3176" y="1168"/>
                </a:lnTo>
                <a:lnTo>
                  <a:pt x="3174" y="1166"/>
                </a:lnTo>
                <a:lnTo>
                  <a:pt x="3173" y="1163"/>
                </a:lnTo>
                <a:lnTo>
                  <a:pt x="3172" y="1160"/>
                </a:lnTo>
                <a:lnTo>
                  <a:pt x="3172" y="1157"/>
                </a:lnTo>
                <a:lnTo>
                  <a:pt x="3172" y="1154"/>
                </a:lnTo>
                <a:lnTo>
                  <a:pt x="3173" y="1151"/>
                </a:lnTo>
                <a:lnTo>
                  <a:pt x="3175" y="1148"/>
                </a:lnTo>
                <a:lnTo>
                  <a:pt x="3177" y="1146"/>
                </a:lnTo>
                <a:lnTo>
                  <a:pt x="3179" y="1144"/>
                </a:lnTo>
                <a:close/>
                <a:moveTo>
                  <a:pt x="3037" y="1122"/>
                </a:moveTo>
                <a:lnTo>
                  <a:pt x="3042" y="1120"/>
                </a:lnTo>
                <a:lnTo>
                  <a:pt x="3044" y="1120"/>
                </a:lnTo>
                <a:lnTo>
                  <a:pt x="3046" y="1120"/>
                </a:lnTo>
                <a:lnTo>
                  <a:pt x="3050" y="1121"/>
                </a:lnTo>
                <a:lnTo>
                  <a:pt x="3052" y="1122"/>
                </a:lnTo>
                <a:lnTo>
                  <a:pt x="3055" y="1124"/>
                </a:lnTo>
                <a:lnTo>
                  <a:pt x="3057" y="1126"/>
                </a:lnTo>
                <a:lnTo>
                  <a:pt x="3059" y="1128"/>
                </a:lnTo>
                <a:lnTo>
                  <a:pt x="3060" y="1131"/>
                </a:lnTo>
                <a:lnTo>
                  <a:pt x="3060" y="1134"/>
                </a:lnTo>
                <a:lnTo>
                  <a:pt x="3060" y="1137"/>
                </a:lnTo>
                <a:lnTo>
                  <a:pt x="3060" y="1141"/>
                </a:lnTo>
                <a:lnTo>
                  <a:pt x="3058" y="1144"/>
                </a:lnTo>
                <a:lnTo>
                  <a:pt x="3056" y="1147"/>
                </a:lnTo>
                <a:lnTo>
                  <a:pt x="3053" y="1149"/>
                </a:lnTo>
                <a:lnTo>
                  <a:pt x="3048" y="1151"/>
                </a:lnTo>
                <a:lnTo>
                  <a:pt x="3046" y="1151"/>
                </a:lnTo>
                <a:lnTo>
                  <a:pt x="3043" y="1151"/>
                </a:lnTo>
                <a:lnTo>
                  <a:pt x="3040" y="1150"/>
                </a:lnTo>
                <a:lnTo>
                  <a:pt x="3037" y="1149"/>
                </a:lnTo>
                <a:lnTo>
                  <a:pt x="3035" y="1148"/>
                </a:lnTo>
                <a:lnTo>
                  <a:pt x="3033" y="1145"/>
                </a:lnTo>
                <a:lnTo>
                  <a:pt x="3031" y="1143"/>
                </a:lnTo>
                <a:lnTo>
                  <a:pt x="3030" y="1140"/>
                </a:lnTo>
                <a:lnTo>
                  <a:pt x="3029" y="1137"/>
                </a:lnTo>
                <a:lnTo>
                  <a:pt x="3029" y="1134"/>
                </a:lnTo>
                <a:lnTo>
                  <a:pt x="3030" y="1130"/>
                </a:lnTo>
                <a:lnTo>
                  <a:pt x="3032" y="1127"/>
                </a:lnTo>
                <a:lnTo>
                  <a:pt x="3034" y="1124"/>
                </a:lnTo>
                <a:lnTo>
                  <a:pt x="3037" y="1122"/>
                </a:lnTo>
                <a:close/>
                <a:moveTo>
                  <a:pt x="2249" y="1554"/>
                </a:moveTo>
                <a:lnTo>
                  <a:pt x="2251" y="1553"/>
                </a:lnTo>
                <a:lnTo>
                  <a:pt x="2254" y="1552"/>
                </a:lnTo>
                <a:lnTo>
                  <a:pt x="2256" y="1552"/>
                </a:lnTo>
                <a:lnTo>
                  <a:pt x="2259" y="1552"/>
                </a:lnTo>
                <a:lnTo>
                  <a:pt x="2262" y="1552"/>
                </a:lnTo>
                <a:lnTo>
                  <a:pt x="2265" y="1554"/>
                </a:lnTo>
                <a:lnTo>
                  <a:pt x="2267" y="1555"/>
                </a:lnTo>
                <a:lnTo>
                  <a:pt x="2269" y="1558"/>
                </a:lnTo>
                <a:lnTo>
                  <a:pt x="2270" y="1559"/>
                </a:lnTo>
                <a:lnTo>
                  <a:pt x="2271" y="1560"/>
                </a:lnTo>
                <a:lnTo>
                  <a:pt x="2272" y="1563"/>
                </a:lnTo>
                <a:lnTo>
                  <a:pt x="2272" y="1566"/>
                </a:lnTo>
                <a:lnTo>
                  <a:pt x="2272" y="1569"/>
                </a:lnTo>
                <a:lnTo>
                  <a:pt x="2271" y="1573"/>
                </a:lnTo>
                <a:lnTo>
                  <a:pt x="2270" y="1576"/>
                </a:lnTo>
                <a:lnTo>
                  <a:pt x="2267" y="1579"/>
                </a:lnTo>
                <a:lnTo>
                  <a:pt x="2265" y="1581"/>
                </a:lnTo>
                <a:lnTo>
                  <a:pt x="2262" y="1582"/>
                </a:lnTo>
                <a:lnTo>
                  <a:pt x="2260" y="1582"/>
                </a:lnTo>
                <a:lnTo>
                  <a:pt x="2258" y="1583"/>
                </a:lnTo>
                <a:lnTo>
                  <a:pt x="2255" y="1583"/>
                </a:lnTo>
                <a:lnTo>
                  <a:pt x="2252" y="1582"/>
                </a:lnTo>
                <a:lnTo>
                  <a:pt x="2249" y="1581"/>
                </a:lnTo>
                <a:lnTo>
                  <a:pt x="2247" y="1579"/>
                </a:lnTo>
                <a:lnTo>
                  <a:pt x="2245" y="1577"/>
                </a:lnTo>
                <a:lnTo>
                  <a:pt x="2244" y="1576"/>
                </a:lnTo>
                <a:lnTo>
                  <a:pt x="2243" y="1574"/>
                </a:lnTo>
                <a:lnTo>
                  <a:pt x="2242" y="1571"/>
                </a:lnTo>
                <a:lnTo>
                  <a:pt x="2241" y="1568"/>
                </a:lnTo>
                <a:lnTo>
                  <a:pt x="2241" y="1565"/>
                </a:lnTo>
                <a:lnTo>
                  <a:pt x="2242" y="1562"/>
                </a:lnTo>
                <a:lnTo>
                  <a:pt x="2244" y="1558"/>
                </a:lnTo>
                <a:lnTo>
                  <a:pt x="2246" y="1556"/>
                </a:lnTo>
                <a:lnTo>
                  <a:pt x="2249" y="1554"/>
                </a:lnTo>
                <a:close/>
                <a:moveTo>
                  <a:pt x="2893" y="1116"/>
                </a:moveTo>
                <a:lnTo>
                  <a:pt x="2895" y="1115"/>
                </a:lnTo>
                <a:lnTo>
                  <a:pt x="2897" y="1115"/>
                </a:lnTo>
                <a:lnTo>
                  <a:pt x="2901" y="1114"/>
                </a:lnTo>
                <a:lnTo>
                  <a:pt x="2904" y="1114"/>
                </a:lnTo>
                <a:lnTo>
                  <a:pt x="2907" y="1115"/>
                </a:lnTo>
                <a:lnTo>
                  <a:pt x="2910" y="1117"/>
                </a:lnTo>
                <a:lnTo>
                  <a:pt x="2912" y="1119"/>
                </a:lnTo>
                <a:lnTo>
                  <a:pt x="2914" y="1121"/>
                </a:lnTo>
                <a:lnTo>
                  <a:pt x="2915" y="1123"/>
                </a:lnTo>
                <a:lnTo>
                  <a:pt x="2916" y="1126"/>
                </a:lnTo>
                <a:lnTo>
                  <a:pt x="2917" y="1129"/>
                </a:lnTo>
                <a:lnTo>
                  <a:pt x="2916" y="1134"/>
                </a:lnTo>
                <a:lnTo>
                  <a:pt x="2915" y="1137"/>
                </a:lnTo>
                <a:lnTo>
                  <a:pt x="2912" y="1141"/>
                </a:lnTo>
                <a:lnTo>
                  <a:pt x="2909" y="1143"/>
                </a:lnTo>
                <a:lnTo>
                  <a:pt x="2907" y="1144"/>
                </a:lnTo>
                <a:lnTo>
                  <a:pt x="2905" y="1145"/>
                </a:lnTo>
                <a:lnTo>
                  <a:pt x="2902" y="1145"/>
                </a:lnTo>
                <a:lnTo>
                  <a:pt x="2898" y="1145"/>
                </a:lnTo>
                <a:lnTo>
                  <a:pt x="2895" y="1144"/>
                </a:lnTo>
                <a:lnTo>
                  <a:pt x="2893" y="1143"/>
                </a:lnTo>
                <a:lnTo>
                  <a:pt x="2890" y="1141"/>
                </a:lnTo>
                <a:lnTo>
                  <a:pt x="2888" y="1139"/>
                </a:lnTo>
                <a:lnTo>
                  <a:pt x="2887" y="1136"/>
                </a:lnTo>
                <a:lnTo>
                  <a:pt x="2886" y="1133"/>
                </a:lnTo>
                <a:lnTo>
                  <a:pt x="2886" y="1130"/>
                </a:lnTo>
                <a:lnTo>
                  <a:pt x="2886" y="1126"/>
                </a:lnTo>
                <a:lnTo>
                  <a:pt x="2888" y="1122"/>
                </a:lnTo>
                <a:lnTo>
                  <a:pt x="2890" y="1119"/>
                </a:lnTo>
                <a:lnTo>
                  <a:pt x="2893" y="1116"/>
                </a:lnTo>
                <a:close/>
                <a:moveTo>
                  <a:pt x="2281" y="1414"/>
                </a:moveTo>
                <a:lnTo>
                  <a:pt x="2284" y="1412"/>
                </a:lnTo>
                <a:lnTo>
                  <a:pt x="2287" y="1412"/>
                </a:lnTo>
                <a:lnTo>
                  <a:pt x="2291" y="1412"/>
                </a:lnTo>
                <a:lnTo>
                  <a:pt x="2294" y="1413"/>
                </a:lnTo>
                <a:lnTo>
                  <a:pt x="2295" y="1413"/>
                </a:lnTo>
                <a:lnTo>
                  <a:pt x="2297" y="1414"/>
                </a:lnTo>
                <a:lnTo>
                  <a:pt x="2299" y="1416"/>
                </a:lnTo>
                <a:lnTo>
                  <a:pt x="2301" y="1418"/>
                </a:lnTo>
                <a:lnTo>
                  <a:pt x="2303" y="1421"/>
                </a:lnTo>
                <a:lnTo>
                  <a:pt x="2304" y="1424"/>
                </a:lnTo>
                <a:lnTo>
                  <a:pt x="2304" y="1427"/>
                </a:lnTo>
                <a:lnTo>
                  <a:pt x="2304" y="1430"/>
                </a:lnTo>
                <a:lnTo>
                  <a:pt x="2303" y="1433"/>
                </a:lnTo>
                <a:lnTo>
                  <a:pt x="2302" y="1435"/>
                </a:lnTo>
                <a:lnTo>
                  <a:pt x="2300" y="1437"/>
                </a:lnTo>
                <a:lnTo>
                  <a:pt x="2298" y="1439"/>
                </a:lnTo>
                <a:lnTo>
                  <a:pt x="2296" y="1441"/>
                </a:lnTo>
                <a:lnTo>
                  <a:pt x="2293" y="1442"/>
                </a:lnTo>
                <a:lnTo>
                  <a:pt x="2290" y="1443"/>
                </a:lnTo>
                <a:lnTo>
                  <a:pt x="2286" y="1443"/>
                </a:lnTo>
                <a:lnTo>
                  <a:pt x="2283" y="1442"/>
                </a:lnTo>
                <a:lnTo>
                  <a:pt x="2281" y="1441"/>
                </a:lnTo>
                <a:lnTo>
                  <a:pt x="2280" y="1440"/>
                </a:lnTo>
                <a:lnTo>
                  <a:pt x="2278" y="1439"/>
                </a:lnTo>
                <a:lnTo>
                  <a:pt x="2276" y="1436"/>
                </a:lnTo>
                <a:lnTo>
                  <a:pt x="2274" y="1434"/>
                </a:lnTo>
                <a:lnTo>
                  <a:pt x="2273" y="1431"/>
                </a:lnTo>
                <a:lnTo>
                  <a:pt x="2273" y="1428"/>
                </a:lnTo>
                <a:lnTo>
                  <a:pt x="2273" y="1425"/>
                </a:lnTo>
                <a:lnTo>
                  <a:pt x="2274" y="1422"/>
                </a:lnTo>
                <a:lnTo>
                  <a:pt x="2275" y="1419"/>
                </a:lnTo>
                <a:lnTo>
                  <a:pt x="2277" y="1417"/>
                </a:lnTo>
                <a:lnTo>
                  <a:pt x="2279" y="1415"/>
                </a:lnTo>
                <a:lnTo>
                  <a:pt x="2281" y="1414"/>
                </a:lnTo>
                <a:close/>
                <a:moveTo>
                  <a:pt x="2750" y="1129"/>
                </a:moveTo>
                <a:lnTo>
                  <a:pt x="2753" y="1128"/>
                </a:lnTo>
                <a:lnTo>
                  <a:pt x="2756" y="1127"/>
                </a:lnTo>
                <a:lnTo>
                  <a:pt x="2759" y="1127"/>
                </a:lnTo>
                <a:lnTo>
                  <a:pt x="2762" y="1127"/>
                </a:lnTo>
                <a:lnTo>
                  <a:pt x="2765" y="1128"/>
                </a:lnTo>
                <a:lnTo>
                  <a:pt x="2767" y="1130"/>
                </a:lnTo>
                <a:lnTo>
                  <a:pt x="2769" y="1132"/>
                </a:lnTo>
                <a:lnTo>
                  <a:pt x="2771" y="1134"/>
                </a:lnTo>
                <a:lnTo>
                  <a:pt x="2773" y="1137"/>
                </a:lnTo>
                <a:lnTo>
                  <a:pt x="2773" y="1140"/>
                </a:lnTo>
                <a:lnTo>
                  <a:pt x="2773" y="1145"/>
                </a:lnTo>
                <a:lnTo>
                  <a:pt x="2772" y="1149"/>
                </a:lnTo>
                <a:lnTo>
                  <a:pt x="2769" y="1153"/>
                </a:lnTo>
                <a:lnTo>
                  <a:pt x="2768" y="1154"/>
                </a:lnTo>
                <a:lnTo>
                  <a:pt x="2766" y="1156"/>
                </a:lnTo>
                <a:lnTo>
                  <a:pt x="2763" y="1157"/>
                </a:lnTo>
                <a:lnTo>
                  <a:pt x="2760" y="1158"/>
                </a:lnTo>
                <a:lnTo>
                  <a:pt x="2757" y="1158"/>
                </a:lnTo>
                <a:lnTo>
                  <a:pt x="2754" y="1157"/>
                </a:lnTo>
                <a:lnTo>
                  <a:pt x="2751" y="1156"/>
                </a:lnTo>
                <a:lnTo>
                  <a:pt x="2749" y="1155"/>
                </a:lnTo>
                <a:lnTo>
                  <a:pt x="2747" y="1153"/>
                </a:lnTo>
                <a:lnTo>
                  <a:pt x="2745" y="1151"/>
                </a:lnTo>
                <a:lnTo>
                  <a:pt x="2743" y="1148"/>
                </a:lnTo>
                <a:lnTo>
                  <a:pt x="2743" y="1145"/>
                </a:lnTo>
                <a:lnTo>
                  <a:pt x="2743" y="1140"/>
                </a:lnTo>
                <a:lnTo>
                  <a:pt x="2744" y="1136"/>
                </a:lnTo>
                <a:lnTo>
                  <a:pt x="2747" y="1132"/>
                </a:lnTo>
                <a:lnTo>
                  <a:pt x="2748" y="1130"/>
                </a:lnTo>
                <a:lnTo>
                  <a:pt x="2750" y="1129"/>
                </a:lnTo>
                <a:close/>
                <a:moveTo>
                  <a:pt x="2610" y="1161"/>
                </a:moveTo>
                <a:lnTo>
                  <a:pt x="2614" y="1160"/>
                </a:lnTo>
                <a:lnTo>
                  <a:pt x="2617" y="1159"/>
                </a:lnTo>
                <a:lnTo>
                  <a:pt x="2620" y="1159"/>
                </a:lnTo>
                <a:lnTo>
                  <a:pt x="2623" y="1160"/>
                </a:lnTo>
                <a:lnTo>
                  <a:pt x="2625" y="1161"/>
                </a:lnTo>
                <a:lnTo>
                  <a:pt x="2628" y="1163"/>
                </a:lnTo>
                <a:lnTo>
                  <a:pt x="2630" y="1165"/>
                </a:lnTo>
                <a:lnTo>
                  <a:pt x="2632" y="1167"/>
                </a:lnTo>
                <a:lnTo>
                  <a:pt x="2633" y="1170"/>
                </a:lnTo>
                <a:lnTo>
                  <a:pt x="2634" y="1176"/>
                </a:lnTo>
                <a:lnTo>
                  <a:pt x="2633" y="1178"/>
                </a:lnTo>
                <a:lnTo>
                  <a:pt x="2633" y="1181"/>
                </a:lnTo>
                <a:lnTo>
                  <a:pt x="2631" y="1183"/>
                </a:lnTo>
                <a:lnTo>
                  <a:pt x="2630" y="1185"/>
                </a:lnTo>
                <a:lnTo>
                  <a:pt x="2628" y="1187"/>
                </a:lnTo>
                <a:lnTo>
                  <a:pt x="2626" y="1188"/>
                </a:lnTo>
                <a:lnTo>
                  <a:pt x="2623" y="1190"/>
                </a:lnTo>
                <a:lnTo>
                  <a:pt x="2620" y="1190"/>
                </a:lnTo>
                <a:lnTo>
                  <a:pt x="2617" y="1190"/>
                </a:lnTo>
                <a:lnTo>
                  <a:pt x="2614" y="1190"/>
                </a:lnTo>
                <a:lnTo>
                  <a:pt x="2611" y="1189"/>
                </a:lnTo>
                <a:lnTo>
                  <a:pt x="2608" y="1187"/>
                </a:lnTo>
                <a:lnTo>
                  <a:pt x="2606" y="1185"/>
                </a:lnTo>
                <a:lnTo>
                  <a:pt x="2605" y="1182"/>
                </a:lnTo>
                <a:lnTo>
                  <a:pt x="2603" y="1180"/>
                </a:lnTo>
                <a:lnTo>
                  <a:pt x="2603" y="1174"/>
                </a:lnTo>
                <a:lnTo>
                  <a:pt x="2603" y="1172"/>
                </a:lnTo>
                <a:lnTo>
                  <a:pt x="2604" y="1169"/>
                </a:lnTo>
                <a:lnTo>
                  <a:pt x="2605" y="1167"/>
                </a:lnTo>
                <a:lnTo>
                  <a:pt x="2606" y="1165"/>
                </a:lnTo>
                <a:lnTo>
                  <a:pt x="2608" y="1163"/>
                </a:lnTo>
                <a:lnTo>
                  <a:pt x="2610" y="1161"/>
                </a:lnTo>
                <a:close/>
                <a:moveTo>
                  <a:pt x="2358" y="1295"/>
                </a:moveTo>
                <a:lnTo>
                  <a:pt x="2360" y="1293"/>
                </a:lnTo>
                <a:lnTo>
                  <a:pt x="2362" y="1293"/>
                </a:lnTo>
                <a:lnTo>
                  <a:pt x="2365" y="1292"/>
                </a:lnTo>
                <a:lnTo>
                  <a:pt x="2367" y="1293"/>
                </a:lnTo>
                <a:lnTo>
                  <a:pt x="2370" y="1293"/>
                </a:lnTo>
                <a:lnTo>
                  <a:pt x="2372" y="1294"/>
                </a:lnTo>
                <a:lnTo>
                  <a:pt x="2375" y="1295"/>
                </a:lnTo>
                <a:lnTo>
                  <a:pt x="2377" y="1297"/>
                </a:lnTo>
                <a:lnTo>
                  <a:pt x="2379" y="1299"/>
                </a:lnTo>
                <a:lnTo>
                  <a:pt x="2380" y="1302"/>
                </a:lnTo>
                <a:lnTo>
                  <a:pt x="2381" y="1305"/>
                </a:lnTo>
                <a:lnTo>
                  <a:pt x="2381" y="1308"/>
                </a:lnTo>
                <a:lnTo>
                  <a:pt x="2381" y="1311"/>
                </a:lnTo>
                <a:lnTo>
                  <a:pt x="2380" y="1314"/>
                </a:lnTo>
                <a:lnTo>
                  <a:pt x="2378" y="1317"/>
                </a:lnTo>
                <a:lnTo>
                  <a:pt x="2376" y="1319"/>
                </a:lnTo>
                <a:lnTo>
                  <a:pt x="2373" y="1321"/>
                </a:lnTo>
                <a:lnTo>
                  <a:pt x="2371" y="1323"/>
                </a:lnTo>
                <a:lnTo>
                  <a:pt x="2369" y="1323"/>
                </a:lnTo>
                <a:lnTo>
                  <a:pt x="2366" y="1324"/>
                </a:lnTo>
                <a:lnTo>
                  <a:pt x="2364" y="1323"/>
                </a:lnTo>
                <a:lnTo>
                  <a:pt x="2361" y="1323"/>
                </a:lnTo>
                <a:lnTo>
                  <a:pt x="2359" y="1322"/>
                </a:lnTo>
                <a:lnTo>
                  <a:pt x="2357" y="1321"/>
                </a:lnTo>
                <a:lnTo>
                  <a:pt x="2354" y="1319"/>
                </a:lnTo>
                <a:lnTo>
                  <a:pt x="2352" y="1316"/>
                </a:lnTo>
                <a:lnTo>
                  <a:pt x="2351" y="1314"/>
                </a:lnTo>
                <a:lnTo>
                  <a:pt x="2350" y="1311"/>
                </a:lnTo>
                <a:lnTo>
                  <a:pt x="2350" y="1308"/>
                </a:lnTo>
                <a:lnTo>
                  <a:pt x="2350" y="1305"/>
                </a:lnTo>
                <a:lnTo>
                  <a:pt x="2351" y="1302"/>
                </a:lnTo>
                <a:lnTo>
                  <a:pt x="2353" y="1299"/>
                </a:lnTo>
                <a:lnTo>
                  <a:pt x="2355" y="1297"/>
                </a:lnTo>
                <a:lnTo>
                  <a:pt x="2358" y="1295"/>
                </a:lnTo>
                <a:close/>
                <a:moveTo>
                  <a:pt x="2476" y="1214"/>
                </a:moveTo>
                <a:lnTo>
                  <a:pt x="2480" y="1212"/>
                </a:lnTo>
                <a:lnTo>
                  <a:pt x="2483" y="1212"/>
                </a:lnTo>
                <a:lnTo>
                  <a:pt x="2486" y="1212"/>
                </a:lnTo>
                <a:lnTo>
                  <a:pt x="2489" y="1213"/>
                </a:lnTo>
                <a:lnTo>
                  <a:pt x="2492" y="1214"/>
                </a:lnTo>
                <a:lnTo>
                  <a:pt x="2494" y="1215"/>
                </a:lnTo>
                <a:lnTo>
                  <a:pt x="2497" y="1218"/>
                </a:lnTo>
                <a:lnTo>
                  <a:pt x="2498" y="1220"/>
                </a:lnTo>
                <a:lnTo>
                  <a:pt x="2499" y="1223"/>
                </a:lnTo>
                <a:lnTo>
                  <a:pt x="2500" y="1226"/>
                </a:lnTo>
                <a:lnTo>
                  <a:pt x="2500" y="1229"/>
                </a:lnTo>
                <a:lnTo>
                  <a:pt x="2499" y="1232"/>
                </a:lnTo>
                <a:lnTo>
                  <a:pt x="2498" y="1234"/>
                </a:lnTo>
                <a:lnTo>
                  <a:pt x="2496" y="1237"/>
                </a:lnTo>
                <a:lnTo>
                  <a:pt x="2494" y="1239"/>
                </a:lnTo>
                <a:lnTo>
                  <a:pt x="2492" y="1241"/>
                </a:lnTo>
                <a:lnTo>
                  <a:pt x="2489" y="1242"/>
                </a:lnTo>
                <a:lnTo>
                  <a:pt x="2485" y="1242"/>
                </a:lnTo>
                <a:lnTo>
                  <a:pt x="2482" y="1242"/>
                </a:lnTo>
                <a:lnTo>
                  <a:pt x="2479" y="1242"/>
                </a:lnTo>
                <a:lnTo>
                  <a:pt x="2476" y="1241"/>
                </a:lnTo>
                <a:lnTo>
                  <a:pt x="2474" y="1239"/>
                </a:lnTo>
                <a:lnTo>
                  <a:pt x="2472" y="1237"/>
                </a:lnTo>
                <a:lnTo>
                  <a:pt x="2470" y="1234"/>
                </a:lnTo>
                <a:lnTo>
                  <a:pt x="2469" y="1231"/>
                </a:lnTo>
                <a:lnTo>
                  <a:pt x="2469" y="1228"/>
                </a:lnTo>
                <a:lnTo>
                  <a:pt x="2469" y="1225"/>
                </a:lnTo>
                <a:lnTo>
                  <a:pt x="2469" y="1223"/>
                </a:lnTo>
                <a:lnTo>
                  <a:pt x="2470" y="1220"/>
                </a:lnTo>
                <a:lnTo>
                  <a:pt x="2472" y="1218"/>
                </a:lnTo>
                <a:lnTo>
                  <a:pt x="2474" y="1215"/>
                </a:lnTo>
                <a:lnTo>
                  <a:pt x="2476" y="1214"/>
                </a:lnTo>
                <a:close/>
                <a:moveTo>
                  <a:pt x="4755" y="2104"/>
                </a:moveTo>
                <a:lnTo>
                  <a:pt x="4757" y="2103"/>
                </a:lnTo>
                <a:lnTo>
                  <a:pt x="4759" y="2103"/>
                </a:lnTo>
                <a:lnTo>
                  <a:pt x="4762" y="2102"/>
                </a:lnTo>
                <a:lnTo>
                  <a:pt x="4766" y="2102"/>
                </a:lnTo>
                <a:lnTo>
                  <a:pt x="4770" y="2104"/>
                </a:lnTo>
                <a:lnTo>
                  <a:pt x="4773" y="2106"/>
                </a:lnTo>
                <a:lnTo>
                  <a:pt x="4775" y="2108"/>
                </a:lnTo>
                <a:lnTo>
                  <a:pt x="4776" y="2111"/>
                </a:lnTo>
                <a:lnTo>
                  <a:pt x="4778" y="2113"/>
                </a:lnTo>
                <a:lnTo>
                  <a:pt x="4778" y="2116"/>
                </a:lnTo>
                <a:lnTo>
                  <a:pt x="4778" y="2119"/>
                </a:lnTo>
                <a:lnTo>
                  <a:pt x="4777" y="2122"/>
                </a:lnTo>
                <a:lnTo>
                  <a:pt x="4776" y="2125"/>
                </a:lnTo>
                <a:lnTo>
                  <a:pt x="4774" y="2128"/>
                </a:lnTo>
                <a:lnTo>
                  <a:pt x="4770" y="2131"/>
                </a:lnTo>
                <a:lnTo>
                  <a:pt x="4769" y="2132"/>
                </a:lnTo>
                <a:lnTo>
                  <a:pt x="4767" y="2132"/>
                </a:lnTo>
                <a:lnTo>
                  <a:pt x="4763" y="2133"/>
                </a:lnTo>
                <a:lnTo>
                  <a:pt x="4759" y="2132"/>
                </a:lnTo>
                <a:lnTo>
                  <a:pt x="4755" y="2131"/>
                </a:lnTo>
                <a:lnTo>
                  <a:pt x="4752" y="2129"/>
                </a:lnTo>
                <a:lnTo>
                  <a:pt x="4750" y="2127"/>
                </a:lnTo>
                <a:lnTo>
                  <a:pt x="4749" y="2124"/>
                </a:lnTo>
                <a:lnTo>
                  <a:pt x="4748" y="2121"/>
                </a:lnTo>
                <a:lnTo>
                  <a:pt x="4747" y="2119"/>
                </a:lnTo>
                <a:lnTo>
                  <a:pt x="4747" y="2116"/>
                </a:lnTo>
                <a:lnTo>
                  <a:pt x="4748" y="2113"/>
                </a:lnTo>
                <a:lnTo>
                  <a:pt x="4749" y="2110"/>
                </a:lnTo>
                <a:lnTo>
                  <a:pt x="4752" y="2107"/>
                </a:lnTo>
                <a:lnTo>
                  <a:pt x="4755" y="2104"/>
                </a:lnTo>
                <a:close/>
                <a:moveTo>
                  <a:pt x="4630" y="2033"/>
                </a:moveTo>
                <a:lnTo>
                  <a:pt x="4633" y="2032"/>
                </a:lnTo>
                <a:lnTo>
                  <a:pt x="4637" y="2031"/>
                </a:lnTo>
                <a:lnTo>
                  <a:pt x="4641" y="2031"/>
                </a:lnTo>
                <a:lnTo>
                  <a:pt x="4645" y="2033"/>
                </a:lnTo>
                <a:lnTo>
                  <a:pt x="4647" y="2035"/>
                </a:lnTo>
                <a:lnTo>
                  <a:pt x="4650" y="2037"/>
                </a:lnTo>
                <a:lnTo>
                  <a:pt x="4651" y="2040"/>
                </a:lnTo>
                <a:lnTo>
                  <a:pt x="4652" y="2042"/>
                </a:lnTo>
                <a:lnTo>
                  <a:pt x="4653" y="2045"/>
                </a:lnTo>
                <a:lnTo>
                  <a:pt x="4653" y="2048"/>
                </a:lnTo>
                <a:lnTo>
                  <a:pt x="4652" y="2051"/>
                </a:lnTo>
                <a:lnTo>
                  <a:pt x="4651" y="2054"/>
                </a:lnTo>
                <a:lnTo>
                  <a:pt x="4648" y="2057"/>
                </a:lnTo>
                <a:lnTo>
                  <a:pt x="4645" y="2060"/>
                </a:lnTo>
                <a:lnTo>
                  <a:pt x="4641" y="2061"/>
                </a:lnTo>
                <a:lnTo>
                  <a:pt x="4638" y="2062"/>
                </a:lnTo>
                <a:lnTo>
                  <a:pt x="4634" y="2061"/>
                </a:lnTo>
                <a:lnTo>
                  <a:pt x="4630" y="2060"/>
                </a:lnTo>
                <a:lnTo>
                  <a:pt x="4627" y="2058"/>
                </a:lnTo>
                <a:lnTo>
                  <a:pt x="4625" y="2056"/>
                </a:lnTo>
                <a:lnTo>
                  <a:pt x="4624" y="2053"/>
                </a:lnTo>
                <a:lnTo>
                  <a:pt x="4623" y="2051"/>
                </a:lnTo>
                <a:lnTo>
                  <a:pt x="4622" y="2048"/>
                </a:lnTo>
                <a:lnTo>
                  <a:pt x="4622" y="2045"/>
                </a:lnTo>
                <a:lnTo>
                  <a:pt x="4623" y="2042"/>
                </a:lnTo>
                <a:lnTo>
                  <a:pt x="4624" y="2039"/>
                </a:lnTo>
                <a:lnTo>
                  <a:pt x="4626" y="2036"/>
                </a:lnTo>
                <a:lnTo>
                  <a:pt x="4630" y="2033"/>
                </a:lnTo>
                <a:close/>
                <a:moveTo>
                  <a:pt x="4504" y="1963"/>
                </a:moveTo>
                <a:lnTo>
                  <a:pt x="4507" y="1962"/>
                </a:lnTo>
                <a:lnTo>
                  <a:pt x="4511" y="1961"/>
                </a:lnTo>
                <a:lnTo>
                  <a:pt x="4513" y="1961"/>
                </a:lnTo>
                <a:lnTo>
                  <a:pt x="4515" y="1961"/>
                </a:lnTo>
                <a:lnTo>
                  <a:pt x="4519" y="1963"/>
                </a:lnTo>
                <a:lnTo>
                  <a:pt x="4522" y="1965"/>
                </a:lnTo>
                <a:lnTo>
                  <a:pt x="4524" y="1967"/>
                </a:lnTo>
                <a:lnTo>
                  <a:pt x="4525" y="1968"/>
                </a:lnTo>
                <a:lnTo>
                  <a:pt x="4525" y="1969"/>
                </a:lnTo>
                <a:lnTo>
                  <a:pt x="4526" y="1972"/>
                </a:lnTo>
                <a:lnTo>
                  <a:pt x="4527" y="1975"/>
                </a:lnTo>
                <a:lnTo>
                  <a:pt x="4527" y="1978"/>
                </a:lnTo>
                <a:lnTo>
                  <a:pt x="4526" y="1981"/>
                </a:lnTo>
                <a:lnTo>
                  <a:pt x="4525" y="1984"/>
                </a:lnTo>
                <a:lnTo>
                  <a:pt x="4523" y="1987"/>
                </a:lnTo>
                <a:lnTo>
                  <a:pt x="4519" y="1990"/>
                </a:lnTo>
                <a:lnTo>
                  <a:pt x="4516" y="1991"/>
                </a:lnTo>
                <a:lnTo>
                  <a:pt x="4512" y="1992"/>
                </a:lnTo>
                <a:lnTo>
                  <a:pt x="4510" y="1992"/>
                </a:lnTo>
                <a:lnTo>
                  <a:pt x="4508" y="1991"/>
                </a:lnTo>
                <a:lnTo>
                  <a:pt x="4504" y="1990"/>
                </a:lnTo>
                <a:lnTo>
                  <a:pt x="4502" y="1988"/>
                </a:lnTo>
                <a:lnTo>
                  <a:pt x="4500" y="1986"/>
                </a:lnTo>
                <a:lnTo>
                  <a:pt x="4499" y="1985"/>
                </a:lnTo>
                <a:lnTo>
                  <a:pt x="4498" y="1983"/>
                </a:lnTo>
                <a:lnTo>
                  <a:pt x="4497" y="1981"/>
                </a:lnTo>
                <a:lnTo>
                  <a:pt x="4496" y="1978"/>
                </a:lnTo>
                <a:lnTo>
                  <a:pt x="4496" y="1975"/>
                </a:lnTo>
                <a:lnTo>
                  <a:pt x="4497" y="1972"/>
                </a:lnTo>
                <a:lnTo>
                  <a:pt x="4498" y="1969"/>
                </a:lnTo>
                <a:lnTo>
                  <a:pt x="4501" y="1966"/>
                </a:lnTo>
                <a:lnTo>
                  <a:pt x="4504" y="1963"/>
                </a:lnTo>
                <a:close/>
                <a:moveTo>
                  <a:pt x="4377" y="1894"/>
                </a:moveTo>
                <a:lnTo>
                  <a:pt x="4379" y="1893"/>
                </a:lnTo>
                <a:lnTo>
                  <a:pt x="4381" y="1893"/>
                </a:lnTo>
                <a:lnTo>
                  <a:pt x="4385" y="1892"/>
                </a:lnTo>
                <a:lnTo>
                  <a:pt x="4387" y="1892"/>
                </a:lnTo>
                <a:lnTo>
                  <a:pt x="4389" y="1893"/>
                </a:lnTo>
                <a:lnTo>
                  <a:pt x="4392" y="1894"/>
                </a:lnTo>
                <a:lnTo>
                  <a:pt x="4395" y="1896"/>
                </a:lnTo>
                <a:lnTo>
                  <a:pt x="4397" y="1898"/>
                </a:lnTo>
                <a:lnTo>
                  <a:pt x="4399" y="1900"/>
                </a:lnTo>
                <a:lnTo>
                  <a:pt x="4400" y="1903"/>
                </a:lnTo>
                <a:lnTo>
                  <a:pt x="4400" y="1906"/>
                </a:lnTo>
                <a:lnTo>
                  <a:pt x="4400" y="1909"/>
                </a:lnTo>
                <a:lnTo>
                  <a:pt x="4400" y="1912"/>
                </a:lnTo>
                <a:lnTo>
                  <a:pt x="4399" y="1915"/>
                </a:lnTo>
                <a:lnTo>
                  <a:pt x="4396" y="1918"/>
                </a:lnTo>
                <a:lnTo>
                  <a:pt x="4393" y="1921"/>
                </a:lnTo>
                <a:lnTo>
                  <a:pt x="4391" y="1922"/>
                </a:lnTo>
                <a:lnTo>
                  <a:pt x="4389" y="1922"/>
                </a:lnTo>
                <a:lnTo>
                  <a:pt x="4385" y="1923"/>
                </a:lnTo>
                <a:lnTo>
                  <a:pt x="4384" y="1923"/>
                </a:lnTo>
                <a:lnTo>
                  <a:pt x="4382" y="1923"/>
                </a:lnTo>
                <a:lnTo>
                  <a:pt x="4378" y="1921"/>
                </a:lnTo>
                <a:lnTo>
                  <a:pt x="4375" y="1919"/>
                </a:lnTo>
                <a:lnTo>
                  <a:pt x="4373" y="1917"/>
                </a:lnTo>
                <a:lnTo>
                  <a:pt x="4371" y="1915"/>
                </a:lnTo>
                <a:lnTo>
                  <a:pt x="4370" y="1912"/>
                </a:lnTo>
                <a:lnTo>
                  <a:pt x="4370" y="1909"/>
                </a:lnTo>
                <a:lnTo>
                  <a:pt x="4370" y="1906"/>
                </a:lnTo>
                <a:lnTo>
                  <a:pt x="4370" y="1903"/>
                </a:lnTo>
                <a:lnTo>
                  <a:pt x="4372" y="1900"/>
                </a:lnTo>
                <a:lnTo>
                  <a:pt x="4374" y="1897"/>
                </a:lnTo>
                <a:lnTo>
                  <a:pt x="4377" y="1894"/>
                </a:lnTo>
                <a:close/>
                <a:moveTo>
                  <a:pt x="4250" y="1827"/>
                </a:moveTo>
                <a:lnTo>
                  <a:pt x="4252" y="1827"/>
                </a:lnTo>
                <a:lnTo>
                  <a:pt x="4253" y="1826"/>
                </a:lnTo>
                <a:lnTo>
                  <a:pt x="4257" y="1825"/>
                </a:lnTo>
                <a:lnTo>
                  <a:pt x="4261" y="1826"/>
                </a:lnTo>
                <a:lnTo>
                  <a:pt x="4265" y="1827"/>
                </a:lnTo>
                <a:lnTo>
                  <a:pt x="4267" y="1829"/>
                </a:lnTo>
                <a:lnTo>
                  <a:pt x="4269" y="1831"/>
                </a:lnTo>
                <a:lnTo>
                  <a:pt x="4271" y="1833"/>
                </a:lnTo>
                <a:lnTo>
                  <a:pt x="4272" y="1836"/>
                </a:lnTo>
                <a:lnTo>
                  <a:pt x="4273" y="1839"/>
                </a:lnTo>
                <a:lnTo>
                  <a:pt x="4273" y="1842"/>
                </a:lnTo>
                <a:lnTo>
                  <a:pt x="4272" y="1845"/>
                </a:lnTo>
                <a:lnTo>
                  <a:pt x="4271" y="1848"/>
                </a:lnTo>
                <a:lnTo>
                  <a:pt x="4269" y="1851"/>
                </a:lnTo>
                <a:lnTo>
                  <a:pt x="4265" y="1854"/>
                </a:lnTo>
                <a:lnTo>
                  <a:pt x="4264" y="1855"/>
                </a:lnTo>
                <a:lnTo>
                  <a:pt x="4262" y="1855"/>
                </a:lnTo>
                <a:lnTo>
                  <a:pt x="4258" y="1856"/>
                </a:lnTo>
                <a:lnTo>
                  <a:pt x="4254" y="1856"/>
                </a:lnTo>
                <a:lnTo>
                  <a:pt x="4251" y="1854"/>
                </a:lnTo>
                <a:lnTo>
                  <a:pt x="4248" y="1853"/>
                </a:lnTo>
                <a:lnTo>
                  <a:pt x="4246" y="1851"/>
                </a:lnTo>
                <a:lnTo>
                  <a:pt x="4244" y="1848"/>
                </a:lnTo>
                <a:lnTo>
                  <a:pt x="4243" y="1845"/>
                </a:lnTo>
                <a:lnTo>
                  <a:pt x="4242" y="1840"/>
                </a:lnTo>
                <a:lnTo>
                  <a:pt x="4243" y="1837"/>
                </a:lnTo>
                <a:lnTo>
                  <a:pt x="4244" y="1834"/>
                </a:lnTo>
                <a:lnTo>
                  <a:pt x="4246" y="1830"/>
                </a:lnTo>
                <a:lnTo>
                  <a:pt x="4250" y="1827"/>
                </a:lnTo>
                <a:close/>
                <a:moveTo>
                  <a:pt x="4121" y="1762"/>
                </a:moveTo>
                <a:lnTo>
                  <a:pt x="4125" y="1760"/>
                </a:lnTo>
                <a:lnTo>
                  <a:pt x="4128" y="1760"/>
                </a:lnTo>
                <a:lnTo>
                  <a:pt x="4132" y="1760"/>
                </a:lnTo>
                <a:lnTo>
                  <a:pt x="4136" y="1761"/>
                </a:lnTo>
                <a:lnTo>
                  <a:pt x="4138" y="1763"/>
                </a:lnTo>
                <a:lnTo>
                  <a:pt x="4140" y="1765"/>
                </a:lnTo>
                <a:lnTo>
                  <a:pt x="4142" y="1768"/>
                </a:lnTo>
                <a:lnTo>
                  <a:pt x="4143" y="1770"/>
                </a:lnTo>
                <a:lnTo>
                  <a:pt x="4144" y="1773"/>
                </a:lnTo>
                <a:lnTo>
                  <a:pt x="4144" y="1776"/>
                </a:lnTo>
                <a:lnTo>
                  <a:pt x="4144" y="1779"/>
                </a:lnTo>
                <a:lnTo>
                  <a:pt x="4143" y="1782"/>
                </a:lnTo>
                <a:lnTo>
                  <a:pt x="4141" y="1784"/>
                </a:lnTo>
                <a:lnTo>
                  <a:pt x="4140" y="1787"/>
                </a:lnTo>
                <a:lnTo>
                  <a:pt x="4137" y="1790"/>
                </a:lnTo>
                <a:lnTo>
                  <a:pt x="4133" y="1791"/>
                </a:lnTo>
                <a:lnTo>
                  <a:pt x="4129" y="1792"/>
                </a:lnTo>
                <a:lnTo>
                  <a:pt x="4126" y="1791"/>
                </a:lnTo>
                <a:lnTo>
                  <a:pt x="4122" y="1790"/>
                </a:lnTo>
                <a:lnTo>
                  <a:pt x="4119" y="1788"/>
                </a:lnTo>
                <a:lnTo>
                  <a:pt x="4117" y="1785"/>
                </a:lnTo>
                <a:lnTo>
                  <a:pt x="4116" y="1783"/>
                </a:lnTo>
                <a:lnTo>
                  <a:pt x="4114" y="1780"/>
                </a:lnTo>
                <a:lnTo>
                  <a:pt x="4114" y="1777"/>
                </a:lnTo>
                <a:lnTo>
                  <a:pt x="4113" y="1774"/>
                </a:lnTo>
                <a:lnTo>
                  <a:pt x="4114" y="1771"/>
                </a:lnTo>
                <a:lnTo>
                  <a:pt x="4115" y="1769"/>
                </a:lnTo>
                <a:lnTo>
                  <a:pt x="4116" y="1766"/>
                </a:lnTo>
                <a:lnTo>
                  <a:pt x="4118" y="1765"/>
                </a:lnTo>
                <a:lnTo>
                  <a:pt x="4121" y="1762"/>
                </a:lnTo>
                <a:close/>
                <a:moveTo>
                  <a:pt x="3990" y="1701"/>
                </a:moveTo>
                <a:lnTo>
                  <a:pt x="3993" y="1699"/>
                </a:lnTo>
                <a:lnTo>
                  <a:pt x="3997" y="1699"/>
                </a:lnTo>
                <a:lnTo>
                  <a:pt x="4000" y="1699"/>
                </a:lnTo>
                <a:lnTo>
                  <a:pt x="4004" y="1700"/>
                </a:lnTo>
                <a:lnTo>
                  <a:pt x="4007" y="1702"/>
                </a:lnTo>
                <a:lnTo>
                  <a:pt x="4010" y="1704"/>
                </a:lnTo>
                <a:lnTo>
                  <a:pt x="4012" y="1706"/>
                </a:lnTo>
                <a:lnTo>
                  <a:pt x="4013" y="1709"/>
                </a:lnTo>
                <a:lnTo>
                  <a:pt x="4014" y="1711"/>
                </a:lnTo>
                <a:lnTo>
                  <a:pt x="4014" y="1714"/>
                </a:lnTo>
                <a:lnTo>
                  <a:pt x="4014" y="1717"/>
                </a:lnTo>
                <a:lnTo>
                  <a:pt x="4013" y="1720"/>
                </a:lnTo>
                <a:lnTo>
                  <a:pt x="4011" y="1723"/>
                </a:lnTo>
                <a:lnTo>
                  <a:pt x="4010" y="1724"/>
                </a:lnTo>
                <a:lnTo>
                  <a:pt x="4008" y="1725"/>
                </a:lnTo>
                <a:lnTo>
                  <a:pt x="4007" y="1726"/>
                </a:lnTo>
                <a:lnTo>
                  <a:pt x="4005" y="1727"/>
                </a:lnTo>
                <a:lnTo>
                  <a:pt x="4002" y="1729"/>
                </a:lnTo>
                <a:lnTo>
                  <a:pt x="3998" y="1729"/>
                </a:lnTo>
                <a:lnTo>
                  <a:pt x="3995" y="1729"/>
                </a:lnTo>
                <a:lnTo>
                  <a:pt x="3991" y="1728"/>
                </a:lnTo>
                <a:lnTo>
                  <a:pt x="3988" y="1727"/>
                </a:lnTo>
                <a:lnTo>
                  <a:pt x="3986" y="1725"/>
                </a:lnTo>
                <a:lnTo>
                  <a:pt x="3984" y="1722"/>
                </a:lnTo>
                <a:lnTo>
                  <a:pt x="3983" y="1719"/>
                </a:lnTo>
                <a:lnTo>
                  <a:pt x="3982" y="1717"/>
                </a:lnTo>
                <a:lnTo>
                  <a:pt x="3982" y="1714"/>
                </a:lnTo>
                <a:lnTo>
                  <a:pt x="3982" y="1711"/>
                </a:lnTo>
                <a:lnTo>
                  <a:pt x="3983" y="1708"/>
                </a:lnTo>
                <a:lnTo>
                  <a:pt x="3985" y="1706"/>
                </a:lnTo>
                <a:lnTo>
                  <a:pt x="3986" y="1704"/>
                </a:lnTo>
                <a:lnTo>
                  <a:pt x="3987" y="1703"/>
                </a:lnTo>
                <a:lnTo>
                  <a:pt x="3988" y="1702"/>
                </a:lnTo>
                <a:lnTo>
                  <a:pt x="3990" y="1701"/>
                </a:lnTo>
                <a:close/>
                <a:moveTo>
                  <a:pt x="3858" y="1644"/>
                </a:moveTo>
                <a:lnTo>
                  <a:pt x="3861" y="1642"/>
                </a:lnTo>
                <a:lnTo>
                  <a:pt x="3864" y="1642"/>
                </a:lnTo>
                <a:lnTo>
                  <a:pt x="3868" y="1642"/>
                </a:lnTo>
                <a:lnTo>
                  <a:pt x="3871" y="1643"/>
                </a:lnTo>
                <a:lnTo>
                  <a:pt x="3874" y="1644"/>
                </a:lnTo>
                <a:lnTo>
                  <a:pt x="3876" y="1646"/>
                </a:lnTo>
                <a:lnTo>
                  <a:pt x="3878" y="1649"/>
                </a:lnTo>
                <a:lnTo>
                  <a:pt x="3879" y="1651"/>
                </a:lnTo>
                <a:lnTo>
                  <a:pt x="3880" y="1654"/>
                </a:lnTo>
                <a:lnTo>
                  <a:pt x="3881" y="1657"/>
                </a:lnTo>
                <a:lnTo>
                  <a:pt x="3880" y="1660"/>
                </a:lnTo>
                <a:lnTo>
                  <a:pt x="3879" y="1663"/>
                </a:lnTo>
                <a:lnTo>
                  <a:pt x="3878" y="1665"/>
                </a:lnTo>
                <a:lnTo>
                  <a:pt x="3877" y="1667"/>
                </a:lnTo>
                <a:lnTo>
                  <a:pt x="3875" y="1669"/>
                </a:lnTo>
                <a:lnTo>
                  <a:pt x="3873" y="1670"/>
                </a:lnTo>
                <a:lnTo>
                  <a:pt x="3870" y="1672"/>
                </a:lnTo>
                <a:lnTo>
                  <a:pt x="3866" y="1672"/>
                </a:lnTo>
                <a:lnTo>
                  <a:pt x="3863" y="1672"/>
                </a:lnTo>
                <a:lnTo>
                  <a:pt x="3859" y="1671"/>
                </a:lnTo>
                <a:lnTo>
                  <a:pt x="3857" y="1670"/>
                </a:lnTo>
                <a:lnTo>
                  <a:pt x="3854" y="1668"/>
                </a:lnTo>
                <a:lnTo>
                  <a:pt x="3852" y="1666"/>
                </a:lnTo>
                <a:lnTo>
                  <a:pt x="3851" y="1663"/>
                </a:lnTo>
                <a:lnTo>
                  <a:pt x="3850" y="1660"/>
                </a:lnTo>
                <a:lnTo>
                  <a:pt x="3850" y="1657"/>
                </a:lnTo>
                <a:lnTo>
                  <a:pt x="3850" y="1654"/>
                </a:lnTo>
                <a:lnTo>
                  <a:pt x="3851" y="1651"/>
                </a:lnTo>
                <a:lnTo>
                  <a:pt x="3852" y="1649"/>
                </a:lnTo>
                <a:lnTo>
                  <a:pt x="3854" y="1647"/>
                </a:lnTo>
                <a:lnTo>
                  <a:pt x="3856" y="1645"/>
                </a:lnTo>
                <a:lnTo>
                  <a:pt x="3858" y="1644"/>
                </a:lnTo>
                <a:close/>
                <a:moveTo>
                  <a:pt x="2461" y="2353"/>
                </a:moveTo>
                <a:lnTo>
                  <a:pt x="2464" y="2352"/>
                </a:lnTo>
                <a:lnTo>
                  <a:pt x="2467" y="2351"/>
                </a:lnTo>
                <a:lnTo>
                  <a:pt x="2470" y="2351"/>
                </a:lnTo>
                <a:lnTo>
                  <a:pt x="2473" y="2352"/>
                </a:lnTo>
                <a:lnTo>
                  <a:pt x="2476" y="2353"/>
                </a:lnTo>
                <a:lnTo>
                  <a:pt x="2478" y="2354"/>
                </a:lnTo>
                <a:lnTo>
                  <a:pt x="2481" y="2357"/>
                </a:lnTo>
                <a:lnTo>
                  <a:pt x="2482" y="2359"/>
                </a:lnTo>
                <a:lnTo>
                  <a:pt x="2483" y="2362"/>
                </a:lnTo>
                <a:lnTo>
                  <a:pt x="2484" y="2365"/>
                </a:lnTo>
                <a:lnTo>
                  <a:pt x="2484" y="2368"/>
                </a:lnTo>
                <a:lnTo>
                  <a:pt x="2483" y="2371"/>
                </a:lnTo>
                <a:lnTo>
                  <a:pt x="2482" y="2374"/>
                </a:lnTo>
                <a:lnTo>
                  <a:pt x="2481" y="2376"/>
                </a:lnTo>
                <a:lnTo>
                  <a:pt x="2479" y="2378"/>
                </a:lnTo>
                <a:lnTo>
                  <a:pt x="2476" y="2380"/>
                </a:lnTo>
                <a:lnTo>
                  <a:pt x="2474" y="2381"/>
                </a:lnTo>
                <a:lnTo>
                  <a:pt x="2471" y="2382"/>
                </a:lnTo>
                <a:lnTo>
                  <a:pt x="2467" y="2382"/>
                </a:lnTo>
                <a:lnTo>
                  <a:pt x="2464" y="2381"/>
                </a:lnTo>
                <a:lnTo>
                  <a:pt x="2461" y="2380"/>
                </a:lnTo>
                <a:lnTo>
                  <a:pt x="2459" y="2378"/>
                </a:lnTo>
                <a:lnTo>
                  <a:pt x="2457" y="2376"/>
                </a:lnTo>
                <a:lnTo>
                  <a:pt x="2455" y="2374"/>
                </a:lnTo>
                <a:lnTo>
                  <a:pt x="2454" y="2371"/>
                </a:lnTo>
                <a:lnTo>
                  <a:pt x="2453" y="2368"/>
                </a:lnTo>
                <a:lnTo>
                  <a:pt x="2453" y="2365"/>
                </a:lnTo>
                <a:lnTo>
                  <a:pt x="2454" y="2362"/>
                </a:lnTo>
                <a:lnTo>
                  <a:pt x="2455" y="2359"/>
                </a:lnTo>
                <a:lnTo>
                  <a:pt x="2457" y="2357"/>
                </a:lnTo>
                <a:lnTo>
                  <a:pt x="2459" y="2355"/>
                </a:lnTo>
                <a:lnTo>
                  <a:pt x="2461" y="2353"/>
                </a:lnTo>
                <a:close/>
                <a:moveTo>
                  <a:pt x="3723" y="1593"/>
                </a:moveTo>
                <a:lnTo>
                  <a:pt x="3726" y="1591"/>
                </a:lnTo>
                <a:lnTo>
                  <a:pt x="3729" y="1591"/>
                </a:lnTo>
                <a:lnTo>
                  <a:pt x="3733" y="1591"/>
                </a:lnTo>
                <a:lnTo>
                  <a:pt x="3736" y="1591"/>
                </a:lnTo>
                <a:lnTo>
                  <a:pt x="3739" y="1593"/>
                </a:lnTo>
                <a:lnTo>
                  <a:pt x="3741" y="1595"/>
                </a:lnTo>
                <a:lnTo>
                  <a:pt x="3743" y="1597"/>
                </a:lnTo>
                <a:lnTo>
                  <a:pt x="3745" y="1599"/>
                </a:lnTo>
                <a:lnTo>
                  <a:pt x="3746" y="1602"/>
                </a:lnTo>
                <a:lnTo>
                  <a:pt x="3746" y="1605"/>
                </a:lnTo>
                <a:lnTo>
                  <a:pt x="3745" y="1611"/>
                </a:lnTo>
                <a:lnTo>
                  <a:pt x="3744" y="1614"/>
                </a:lnTo>
                <a:lnTo>
                  <a:pt x="3742" y="1616"/>
                </a:lnTo>
                <a:lnTo>
                  <a:pt x="3741" y="1618"/>
                </a:lnTo>
                <a:lnTo>
                  <a:pt x="3738" y="1619"/>
                </a:lnTo>
                <a:lnTo>
                  <a:pt x="3735" y="1621"/>
                </a:lnTo>
                <a:lnTo>
                  <a:pt x="3732" y="1621"/>
                </a:lnTo>
                <a:lnTo>
                  <a:pt x="3729" y="1621"/>
                </a:lnTo>
                <a:lnTo>
                  <a:pt x="3726" y="1620"/>
                </a:lnTo>
                <a:lnTo>
                  <a:pt x="3723" y="1619"/>
                </a:lnTo>
                <a:lnTo>
                  <a:pt x="3720" y="1617"/>
                </a:lnTo>
                <a:lnTo>
                  <a:pt x="3718" y="1615"/>
                </a:lnTo>
                <a:lnTo>
                  <a:pt x="3717" y="1613"/>
                </a:lnTo>
                <a:lnTo>
                  <a:pt x="3716" y="1610"/>
                </a:lnTo>
                <a:lnTo>
                  <a:pt x="3715" y="1607"/>
                </a:lnTo>
                <a:lnTo>
                  <a:pt x="3716" y="1601"/>
                </a:lnTo>
                <a:lnTo>
                  <a:pt x="3717" y="1598"/>
                </a:lnTo>
                <a:lnTo>
                  <a:pt x="3719" y="1596"/>
                </a:lnTo>
                <a:lnTo>
                  <a:pt x="3721" y="1594"/>
                </a:lnTo>
                <a:lnTo>
                  <a:pt x="3723" y="1593"/>
                </a:lnTo>
                <a:close/>
                <a:moveTo>
                  <a:pt x="2491" y="2213"/>
                </a:moveTo>
                <a:lnTo>
                  <a:pt x="2493" y="2211"/>
                </a:lnTo>
                <a:lnTo>
                  <a:pt x="2496" y="2211"/>
                </a:lnTo>
                <a:lnTo>
                  <a:pt x="2498" y="2210"/>
                </a:lnTo>
                <a:lnTo>
                  <a:pt x="2501" y="2211"/>
                </a:lnTo>
                <a:lnTo>
                  <a:pt x="2504" y="2211"/>
                </a:lnTo>
                <a:lnTo>
                  <a:pt x="2507" y="2213"/>
                </a:lnTo>
                <a:lnTo>
                  <a:pt x="2509" y="2214"/>
                </a:lnTo>
                <a:lnTo>
                  <a:pt x="2511" y="2217"/>
                </a:lnTo>
                <a:lnTo>
                  <a:pt x="2513" y="2219"/>
                </a:lnTo>
                <a:lnTo>
                  <a:pt x="2514" y="2222"/>
                </a:lnTo>
                <a:lnTo>
                  <a:pt x="2514" y="2225"/>
                </a:lnTo>
                <a:lnTo>
                  <a:pt x="2514" y="2228"/>
                </a:lnTo>
                <a:lnTo>
                  <a:pt x="2513" y="2232"/>
                </a:lnTo>
                <a:lnTo>
                  <a:pt x="2512" y="2235"/>
                </a:lnTo>
                <a:lnTo>
                  <a:pt x="2509" y="2237"/>
                </a:lnTo>
                <a:lnTo>
                  <a:pt x="2507" y="2239"/>
                </a:lnTo>
                <a:lnTo>
                  <a:pt x="2504" y="2240"/>
                </a:lnTo>
                <a:lnTo>
                  <a:pt x="2502" y="2241"/>
                </a:lnTo>
                <a:lnTo>
                  <a:pt x="2499" y="2241"/>
                </a:lnTo>
                <a:lnTo>
                  <a:pt x="2497" y="2241"/>
                </a:lnTo>
                <a:lnTo>
                  <a:pt x="2494" y="2240"/>
                </a:lnTo>
                <a:lnTo>
                  <a:pt x="2491" y="2239"/>
                </a:lnTo>
                <a:lnTo>
                  <a:pt x="2489" y="2237"/>
                </a:lnTo>
                <a:lnTo>
                  <a:pt x="2487" y="2235"/>
                </a:lnTo>
                <a:lnTo>
                  <a:pt x="2485" y="2233"/>
                </a:lnTo>
                <a:lnTo>
                  <a:pt x="2484" y="2230"/>
                </a:lnTo>
                <a:lnTo>
                  <a:pt x="2484" y="2227"/>
                </a:lnTo>
                <a:lnTo>
                  <a:pt x="2484" y="2224"/>
                </a:lnTo>
                <a:lnTo>
                  <a:pt x="2485" y="2220"/>
                </a:lnTo>
                <a:lnTo>
                  <a:pt x="2486" y="2217"/>
                </a:lnTo>
                <a:lnTo>
                  <a:pt x="2488" y="2215"/>
                </a:lnTo>
                <a:lnTo>
                  <a:pt x="2491" y="2213"/>
                </a:lnTo>
                <a:close/>
                <a:moveTo>
                  <a:pt x="3586" y="1549"/>
                </a:moveTo>
                <a:lnTo>
                  <a:pt x="3589" y="1548"/>
                </a:lnTo>
                <a:lnTo>
                  <a:pt x="3592" y="1547"/>
                </a:lnTo>
                <a:lnTo>
                  <a:pt x="3595" y="1547"/>
                </a:lnTo>
                <a:lnTo>
                  <a:pt x="3598" y="1547"/>
                </a:lnTo>
                <a:lnTo>
                  <a:pt x="3601" y="1548"/>
                </a:lnTo>
                <a:lnTo>
                  <a:pt x="3603" y="1550"/>
                </a:lnTo>
                <a:lnTo>
                  <a:pt x="3605" y="1552"/>
                </a:lnTo>
                <a:lnTo>
                  <a:pt x="3607" y="1555"/>
                </a:lnTo>
                <a:lnTo>
                  <a:pt x="3608" y="1557"/>
                </a:lnTo>
                <a:lnTo>
                  <a:pt x="3609" y="1560"/>
                </a:lnTo>
                <a:lnTo>
                  <a:pt x="3609" y="1563"/>
                </a:lnTo>
                <a:lnTo>
                  <a:pt x="3608" y="1566"/>
                </a:lnTo>
                <a:lnTo>
                  <a:pt x="3607" y="1569"/>
                </a:lnTo>
                <a:lnTo>
                  <a:pt x="3606" y="1572"/>
                </a:lnTo>
                <a:lnTo>
                  <a:pt x="3604" y="1574"/>
                </a:lnTo>
                <a:lnTo>
                  <a:pt x="3601" y="1575"/>
                </a:lnTo>
                <a:lnTo>
                  <a:pt x="3599" y="1577"/>
                </a:lnTo>
                <a:lnTo>
                  <a:pt x="3596" y="1577"/>
                </a:lnTo>
                <a:lnTo>
                  <a:pt x="3593" y="1577"/>
                </a:lnTo>
                <a:lnTo>
                  <a:pt x="3589" y="1577"/>
                </a:lnTo>
                <a:lnTo>
                  <a:pt x="3587" y="1576"/>
                </a:lnTo>
                <a:lnTo>
                  <a:pt x="3584" y="1574"/>
                </a:lnTo>
                <a:lnTo>
                  <a:pt x="3582" y="1572"/>
                </a:lnTo>
                <a:lnTo>
                  <a:pt x="3580" y="1570"/>
                </a:lnTo>
                <a:lnTo>
                  <a:pt x="3579" y="1567"/>
                </a:lnTo>
                <a:lnTo>
                  <a:pt x="3578" y="1564"/>
                </a:lnTo>
                <a:lnTo>
                  <a:pt x="3578" y="1561"/>
                </a:lnTo>
                <a:lnTo>
                  <a:pt x="3579" y="1558"/>
                </a:lnTo>
                <a:lnTo>
                  <a:pt x="3580" y="1555"/>
                </a:lnTo>
                <a:lnTo>
                  <a:pt x="3582" y="1553"/>
                </a:lnTo>
                <a:lnTo>
                  <a:pt x="3584" y="1550"/>
                </a:lnTo>
                <a:lnTo>
                  <a:pt x="3586" y="1549"/>
                </a:lnTo>
                <a:close/>
                <a:moveTo>
                  <a:pt x="2505" y="2069"/>
                </a:moveTo>
                <a:lnTo>
                  <a:pt x="2509" y="2068"/>
                </a:lnTo>
                <a:lnTo>
                  <a:pt x="2512" y="2067"/>
                </a:lnTo>
                <a:lnTo>
                  <a:pt x="2514" y="2067"/>
                </a:lnTo>
                <a:lnTo>
                  <a:pt x="2520" y="2069"/>
                </a:lnTo>
                <a:lnTo>
                  <a:pt x="2522" y="2070"/>
                </a:lnTo>
                <a:lnTo>
                  <a:pt x="2524" y="2072"/>
                </a:lnTo>
                <a:lnTo>
                  <a:pt x="2526" y="2075"/>
                </a:lnTo>
                <a:lnTo>
                  <a:pt x="2527" y="2078"/>
                </a:lnTo>
                <a:lnTo>
                  <a:pt x="2528" y="2081"/>
                </a:lnTo>
                <a:lnTo>
                  <a:pt x="2528" y="2084"/>
                </a:lnTo>
                <a:lnTo>
                  <a:pt x="2527" y="2087"/>
                </a:lnTo>
                <a:lnTo>
                  <a:pt x="2526" y="2091"/>
                </a:lnTo>
                <a:lnTo>
                  <a:pt x="2524" y="2094"/>
                </a:lnTo>
                <a:lnTo>
                  <a:pt x="2521" y="2096"/>
                </a:lnTo>
                <a:lnTo>
                  <a:pt x="2516" y="2098"/>
                </a:lnTo>
                <a:lnTo>
                  <a:pt x="2514" y="2098"/>
                </a:lnTo>
                <a:lnTo>
                  <a:pt x="2512" y="2098"/>
                </a:lnTo>
                <a:lnTo>
                  <a:pt x="2506" y="2096"/>
                </a:lnTo>
                <a:lnTo>
                  <a:pt x="2503" y="2095"/>
                </a:lnTo>
                <a:lnTo>
                  <a:pt x="2501" y="2093"/>
                </a:lnTo>
                <a:lnTo>
                  <a:pt x="2500" y="2090"/>
                </a:lnTo>
                <a:lnTo>
                  <a:pt x="2498" y="2088"/>
                </a:lnTo>
                <a:lnTo>
                  <a:pt x="2498" y="2085"/>
                </a:lnTo>
                <a:lnTo>
                  <a:pt x="2498" y="2082"/>
                </a:lnTo>
                <a:lnTo>
                  <a:pt x="2498" y="2078"/>
                </a:lnTo>
                <a:lnTo>
                  <a:pt x="2500" y="2074"/>
                </a:lnTo>
                <a:lnTo>
                  <a:pt x="2502" y="2071"/>
                </a:lnTo>
                <a:lnTo>
                  <a:pt x="2505" y="2069"/>
                </a:lnTo>
                <a:close/>
                <a:moveTo>
                  <a:pt x="3446" y="1515"/>
                </a:moveTo>
                <a:lnTo>
                  <a:pt x="3449" y="1514"/>
                </a:lnTo>
                <a:lnTo>
                  <a:pt x="3451" y="1513"/>
                </a:lnTo>
                <a:lnTo>
                  <a:pt x="3457" y="1513"/>
                </a:lnTo>
                <a:lnTo>
                  <a:pt x="3460" y="1514"/>
                </a:lnTo>
                <a:lnTo>
                  <a:pt x="3462" y="1515"/>
                </a:lnTo>
                <a:lnTo>
                  <a:pt x="3465" y="1517"/>
                </a:lnTo>
                <a:lnTo>
                  <a:pt x="3467" y="1520"/>
                </a:lnTo>
                <a:lnTo>
                  <a:pt x="3468" y="1522"/>
                </a:lnTo>
                <a:lnTo>
                  <a:pt x="3469" y="1525"/>
                </a:lnTo>
                <a:lnTo>
                  <a:pt x="3469" y="1528"/>
                </a:lnTo>
                <a:lnTo>
                  <a:pt x="3469" y="1531"/>
                </a:lnTo>
                <a:lnTo>
                  <a:pt x="3468" y="1534"/>
                </a:lnTo>
                <a:lnTo>
                  <a:pt x="3466" y="1537"/>
                </a:lnTo>
                <a:lnTo>
                  <a:pt x="3464" y="1540"/>
                </a:lnTo>
                <a:lnTo>
                  <a:pt x="3462" y="1541"/>
                </a:lnTo>
                <a:lnTo>
                  <a:pt x="3459" y="1543"/>
                </a:lnTo>
                <a:lnTo>
                  <a:pt x="3456" y="1543"/>
                </a:lnTo>
                <a:lnTo>
                  <a:pt x="3451" y="1543"/>
                </a:lnTo>
                <a:lnTo>
                  <a:pt x="3448" y="1542"/>
                </a:lnTo>
                <a:lnTo>
                  <a:pt x="3445" y="1541"/>
                </a:lnTo>
                <a:lnTo>
                  <a:pt x="3443" y="1539"/>
                </a:lnTo>
                <a:lnTo>
                  <a:pt x="3441" y="1537"/>
                </a:lnTo>
                <a:lnTo>
                  <a:pt x="3440" y="1534"/>
                </a:lnTo>
                <a:lnTo>
                  <a:pt x="3439" y="1531"/>
                </a:lnTo>
                <a:lnTo>
                  <a:pt x="3438" y="1528"/>
                </a:lnTo>
                <a:lnTo>
                  <a:pt x="3439" y="1525"/>
                </a:lnTo>
                <a:lnTo>
                  <a:pt x="3440" y="1522"/>
                </a:lnTo>
                <a:lnTo>
                  <a:pt x="3441" y="1519"/>
                </a:lnTo>
                <a:lnTo>
                  <a:pt x="3444" y="1517"/>
                </a:lnTo>
                <a:lnTo>
                  <a:pt x="3446" y="1515"/>
                </a:lnTo>
                <a:close/>
                <a:moveTo>
                  <a:pt x="3304" y="1493"/>
                </a:moveTo>
                <a:lnTo>
                  <a:pt x="3308" y="1491"/>
                </a:lnTo>
                <a:lnTo>
                  <a:pt x="3311" y="1491"/>
                </a:lnTo>
                <a:lnTo>
                  <a:pt x="3313" y="1491"/>
                </a:lnTo>
                <a:lnTo>
                  <a:pt x="3316" y="1492"/>
                </a:lnTo>
                <a:lnTo>
                  <a:pt x="3319" y="1493"/>
                </a:lnTo>
                <a:lnTo>
                  <a:pt x="3321" y="1495"/>
                </a:lnTo>
                <a:lnTo>
                  <a:pt x="3323" y="1497"/>
                </a:lnTo>
                <a:lnTo>
                  <a:pt x="3325" y="1499"/>
                </a:lnTo>
                <a:lnTo>
                  <a:pt x="3326" y="1502"/>
                </a:lnTo>
                <a:lnTo>
                  <a:pt x="3327" y="1505"/>
                </a:lnTo>
                <a:lnTo>
                  <a:pt x="3327" y="1508"/>
                </a:lnTo>
                <a:lnTo>
                  <a:pt x="3326" y="1512"/>
                </a:lnTo>
                <a:lnTo>
                  <a:pt x="3324" y="1515"/>
                </a:lnTo>
                <a:lnTo>
                  <a:pt x="3322" y="1518"/>
                </a:lnTo>
                <a:lnTo>
                  <a:pt x="3319" y="1520"/>
                </a:lnTo>
                <a:lnTo>
                  <a:pt x="3315" y="1522"/>
                </a:lnTo>
                <a:lnTo>
                  <a:pt x="3313" y="1522"/>
                </a:lnTo>
                <a:lnTo>
                  <a:pt x="3310" y="1522"/>
                </a:lnTo>
                <a:lnTo>
                  <a:pt x="3307" y="1521"/>
                </a:lnTo>
                <a:lnTo>
                  <a:pt x="3304" y="1520"/>
                </a:lnTo>
                <a:lnTo>
                  <a:pt x="3302" y="1518"/>
                </a:lnTo>
                <a:lnTo>
                  <a:pt x="3300" y="1516"/>
                </a:lnTo>
                <a:lnTo>
                  <a:pt x="3298" y="1514"/>
                </a:lnTo>
                <a:lnTo>
                  <a:pt x="3297" y="1511"/>
                </a:lnTo>
                <a:lnTo>
                  <a:pt x="3296" y="1508"/>
                </a:lnTo>
                <a:lnTo>
                  <a:pt x="3296" y="1505"/>
                </a:lnTo>
                <a:lnTo>
                  <a:pt x="3297" y="1501"/>
                </a:lnTo>
                <a:lnTo>
                  <a:pt x="3299" y="1498"/>
                </a:lnTo>
                <a:lnTo>
                  <a:pt x="3301" y="1495"/>
                </a:lnTo>
                <a:lnTo>
                  <a:pt x="3304" y="1493"/>
                </a:lnTo>
                <a:close/>
                <a:moveTo>
                  <a:pt x="2517" y="1926"/>
                </a:moveTo>
                <a:lnTo>
                  <a:pt x="2519" y="1925"/>
                </a:lnTo>
                <a:lnTo>
                  <a:pt x="2521" y="1924"/>
                </a:lnTo>
                <a:lnTo>
                  <a:pt x="2524" y="1924"/>
                </a:lnTo>
                <a:lnTo>
                  <a:pt x="2526" y="1924"/>
                </a:lnTo>
                <a:lnTo>
                  <a:pt x="2529" y="1924"/>
                </a:lnTo>
                <a:lnTo>
                  <a:pt x="2532" y="1926"/>
                </a:lnTo>
                <a:lnTo>
                  <a:pt x="2535" y="1927"/>
                </a:lnTo>
                <a:lnTo>
                  <a:pt x="2536" y="1928"/>
                </a:lnTo>
                <a:lnTo>
                  <a:pt x="2537" y="1930"/>
                </a:lnTo>
                <a:lnTo>
                  <a:pt x="2537" y="1931"/>
                </a:lnTo>
                <a:lnTo>
                  <a:pt x="2538" y="1932"/>
                </a:lnTo>
                <a:lnTo>
                  <a:pt x="2539" y="1935"/>
                </a:lnTo>
                <a:lnTo>
                  <a:pt x="2540" y="1938"/>
                </a:lnTo>
                <a:lnTo>
                  <a:pt x="2540" y="1941"/>
                </a:lnTo>
                <a:lnTo>
                  <a:pt x="2539" y="1944"/>
                </a:lnTo>
                <a:lnTo>
                  <a:pt x="2537" y="1948"/>
                </a:lnTo>
                <a:lnTo>
                  <a:pt x="2535" y="1950"/>
                </a:lnTo>
                <a:lnTo>
                  <a:pt x="2532" y="1952"/>
                </a:lnTo>
                <a:lnTo>
                  <a:pt x="2530" y="1953"/>
                </a:lnTo>
                <a:lnTo>
                  <a:pt x="2528" y="1954"/>
                </a:lnTo>
                <a:lnTo>
                  <a:pt x="2525" y="1954"/>
                </a:lnTo>
                <a:lnTo>
                  <a:pt x="2523" y="1954"/>
                </a:lnTo>
                <a:lnTo>
                  <a:pt x="2520" y="1954"/>
                </a:lnTo>
                <a:lnTo>
                  <a:pt x="2517" y="1952"/>
                </a:lnTo>
                <a:lnTo>
                  <a:pt x="2514" y="1951"/>
                </a:lnTo>
                <a:lnTo>
                  <a:pt x="2513" y="1950"/>
                </a:lnTo>
                <a:lnTo>
                  <a:pt x="2512" y="1949"/>
                </a:lnTo>
                <a:lnTo>
                  <a:pt x="2512" y="1947"/>
                </a:lnTo>
                <a:lnTo>
                  <a:pt x="2511" y="1946"/>
                </a:lnTo>
                <a:lnTo>
                  <a:pt x="2510" y="1943"/>
                </a:lnTo>
                <a:lnTo>
                  <a:pt x="2509" y="1940"/>
                </a:lnTo>
                <a:lnTo>
                  <a:pt x="2509" y="1937"/>
                </a:lnTo>
                <a:lnTo>
                  <a:pt x="2510" y="1934"/>
                </a:lnTo>
                <a:lnTo>
                  <a:pt x="2512" y="1930"/>
                </a:lnTo>
                <a:lnTo>
                  <a:pt x="2514" y="1928"/>
                </a:lnTo>
                <a:lnTo>
                  <a:pt x="2517" y="1926"/>
                </a:lnTo>
                <a:close/>
                <a:moveTo>
                  <a:pt x="3160" y="1487"/>
                </a:moveTo>
                <a:lnTo>
                  <a:pt x="3162" y="1486"/>
                </a:lnTo>
                <a:lnTo>
                  <a:pt x="3164" y="1486"/>
                </a:lnTo>
                <a:lnTo>
                  <a:pt x="3168" y="1485"/>
                </a:lnTo>
                <a:lnTo>
                  <a:pt x="3171" y="1485"/>
                </a:lnTo>
                <a:lnTo>
                  <a:pt x="3174" y="1486"/>
                </a:lnTo>
                <a:lnTo>
                  <a:pt x="3176" y="1488"/>
                </a:lnTo>
                <a:lnTo>
                  <a:pt x="3179" y="1490"/>
                </a:lnTo>
                <a:lnTo>
                  <a:pt x="3181" y="1492"/>
                </a:lnTo>
                <a:lnTo>
                  <a:pt x="3182" y="1494"/>
                </a:lnTo>
                <a:lnTo>
                  <a:pt x="3183" y="1497"/>
                </a:lnTo>
                <a:lnTo>
                  <a:pt x="3183" y="1500"/>
                </a:lnTo>
                <a:lnTo>
                  <a:pt x="3183" y="1505"/>
                </a:lnTo>
                <a:lnTo>
                  <a:pt x="3181" y="1508"/>
                </a:lnTo>
                <a:lnTo>
                  <a:pt x="3179" y="1511"/>
                </a:lnTo>
                <a:lnTo>
                  <a:pt x="3176" y="1514"/>
                </a:lnTo>
                <a:lnTo>
                  <a:pt x="3174" y="1515"/>
                </a:lnTo>
                <a:lnTo>
                  <a:pt x="3172" y="1515"/>
                </a:lnTo>
                <a:lnTo>
                  <a:pt x="3168" y="1516"/>
                </a:lnTo>
                <a:lnTo>
                  <a:pt x="3165" y="1516"/>
                </a:lnTo>
                <a:lnTo>
                  <a:pt x="3162" y="1515"/>
                </a:lnTo>
                <a:lnTo>
                  <a:pt x="3160" y="1514"/>
                </a:lnTo>
                <a:lnTo>
                  <a:pt x="3157" y="1512"/>
                </a:lnTo>
                <a:lnTo>
                  <a:pt x="3155" y="1509"/>
                </a:lnTo>
                <a:lnTo>
                  <a:pt x="3154" y="1507"/>
                </a:lnTo>
                <a:lnTo>
                  <a:pt x="3153" y="1504"/>
                </a:lnTo>
                <a:lnTo>
                  <a:pt x="3153" y="1501"/>
                </a:lnTo>
                <a:lnTo>
                  <a:pt x="3153" y="1497"/>
                </a:lnTo>
                <a:lnTo>
                  <a:pt x="3155" y="1493"/>
                </a:lnTo>
                <a:lnTo>
                  <a:pt x="3157" y="1490"/>
                </a:lnTo>
                <a:lnTo>
                  <a:pt x="3160" y="1487"/>
                </a:lnTo>
                <a:close/>
                <a:moveTo>
                  <a:pt x="2548" y="1785"/>
                </a:moveTo>
                <a:lnTo>
                  <a:pt x="2552" y="1784"/>
                </a:lnTo>
                <a:lnTo>
                  <a:pt x="2555" y="1783"/>
                </a:lnTo>
                <a:lnTo>
                  <a:pt x="2558" y="1783"/>
                </a:lnTo>
                <a:lnTo>
                  <a:pt x="2562" y="1784"/>
                </a:lnTo>
                <a:lnTo>
                  <a:pt x="2563" y="1785"/>
                </a:lnTo>
                <a:lnTo>
                  <a:pt x="2564" y="1785"/>
                </a:lnTo>
                <a:lnTo>
                  <a:pt x="2567" y="1788"/>
                </a:lnTo>
                <a:lnTo>
                  <a:pt x="2569" y="1790"/>
                </a:lnTo>
                <a:lnTo>
                  <a:pt x="2570" y="1793"/>
                </a:lnTo>
                <a:lnTo>
                  <a:pt x="2571" y="1796"/>
                </a:lnTo>
                <a:lnTo>
                  <a:pt x="2572" y="1799"/>
                </a:lnTo>
                <a:lnTo>
                  <a:pt x="2571" y="1802"/>
                </a:lnTo>
                <a:lnTo>
                  <a:pt x="2571" y="1805"/>
                </a:lnTo>
                <a:lnTo>
                  <a:pt x="2569" y="1807"/>
                </a:lnTo>
                <a:lnTo>
                  <a:pt x="2568" y="1809"/>
                </a:lnTo>
                <a:lnTo>
                  <a:pt x="2566" y="1811"/>
                </a:lnTo>
                <a:lnTo>
                  <a:pt x="2564" y="1813"/>
                </a:lnTo>
                <a:lnTo>
                  <a:pt x="2561" y="1814"/>
                </a:lnTo>
                <a:lnTo>
                  <a:pt x="2558" y="1815"/>
                </a:lnTo>
                <a:lnTo>
                  <a:pt x="2554" y="1814"/>
                </a:lnTo>
                <a:lnTo>
                  <a:pt x="2551" y="1814"/>
                </a:lnTo>
                <a:lnTo>
                  <a:pt x="2549" y="1813"/>
                </a:lnTo>
                <a:lnTo>
                  <a:pt x="2548" y="1812"/>
                </a:lnTo>
                <a:lnTo>
                  <a:pt x="2546" y="1810"/>
                </a:lnTo>
                <a:lnTo>
                  <a:pt x="2544" y="1808"/>
                </a:lnTo>
                <a:lnTo>
                  <a:pt x="2542" y="1805"/>
                </a:lnTo>
                <a:lnTo>
                  <a:pt x="2541" y="1803"/>
                </a:lnTo>
                <a:lnTo>
                  <a:pt x="2541" y="1800"/>
                </a:lnTo>
                <a:lnTo>
                  <a:pt x="2541" y="1797"/>
                </a:lnTo>
                <a:lnTo>
                  <a:pt x="2542" y="1794"/>
                </a:lnTo>
                <a:lnTo>
                  <a:pt x="2543" y="1791"/>
                </a:lnTo>
                <a:lnTo>
                  <a:pt x="2545" y="1789"/>
                </a:lnTo>
                <a:lnTo>
                  <a:pt x="2546" y="1787"/>
                </a:lnTo>
                <a:lnTo>
                  <a:pt x="2548" y="1785"/>
                </a:lnTo>
                <a:close/>
                <a:moveTo>
                  <a:pt x="3017" y="1500"/>
                </a:moveTo>
                <a:lnTo>
                  <a:pt x="3020" y="1499"/>
                </a:lnTo>
                <a:lnTo>
                  <a:pt x="3022" y="1498"/>
                </a:lnTo>
                <a:lnTo>
                  <a:pt x="3025" y="1498"/>
                </a:lnTo>
                <a:lnTo>
                  <a:pt x="3028" y="1498"/>
                </a:lnTo>
                <a:lnTo>
                  <a:pt x="3031" y="1499"/>
                </a:lnTo>
                <a:lnTo>
                  <a:pt x="3034" y="1501"/>
                </a:lnTo>
                <a:lnTo>
                  <a:pt x="3036" y="1503"/>
                </a:lnTo>
                <a:lnTo>
                  <a:pt x="3038" y="1505"/>
                </a:lnTo>
                <a:lnTo>
                  <a:pt x="3039" y="1508"/>
                </a:lnTo>
                <a:lnTo>
                  <a:pt x="3040" y="1511"/>
                </a:lnTo>
                <a:lnTo>
                  <a:pt x="3040" y="1516"/>
                </a:lnTo>
                <a:lnTo>
                  <a:pt x="3039" y="1520"/>
                </a:lnTo>
                <a:lnTo>
                  <a:pt x="3036" y="1524"/>
                </a:lnTo>
                <a:lnTo>
                  <a:pt x="3032" y="1527"/>
                </a:lnTo>
                <a:lnTo>
                  <a:pt x="3030" y="1528"/>
                </a:lnTo>
                <a:lnTo>
                  <a:pt x="3027" y="1528"/>
                </a:lnTo>
                <a:lnTo>
                  <a:pt x="3024" y="1529"/>
                </a:lnTo>
                <a:lnTo>
                  <a:pt x="3021" y="1528"/>
                </a:lnTo>
                <a:lnTo>
                  <a:pt x="3018" y="1527"/>
                </a:lnTo>
                <a:lnTo>
                  <a:pt x="3016" y="1526"/>
                </a:lnTo>
                <a:lnTo>
                  <a:pt x="3013" y="1524"/>
                </a:lnTo>
                <a:lnTo>
                  <a:pt x="3012" y="1521"/>
                </a:lnTo>
                <a:lnTo>
                  <a:pt x="3010" y="1519"/>
                </a:lnTo>
                <a:lnTo>
                  <a:pt x="3010" y="1516"/>
                </a:lnTo>
                <a:lnTo>
                  <a:pt x="3010" y="1511"/>
                </a:lnTo>
                <a:lnTo>
                  <a:pt x="3011" y="1506"/>
                </a:lnTo>
                <a:lnTo>
                  <a:pt x="3013" y="1503"/>
                </a:lnTo>
                <a:lnTo>
                  <a:pt x="3017" y="1500"/>
                </a:lnTo>
                <a:close/>
                <a:moveTo>
                  <a:pt x="2877" y="1532"/>
                </a:moveTo>
                <a:lnTo>
                  <a:pt x="2880" y="1531"/>
                </a:lnTo>
                <a:lnTo>
                  <a:pt x="2883" y="1530"/>
                </a:lnTo>
                <a:lnTo>
                  <a:pt x="2886" y="1530"/>
                </a:lnTo>
                <a:lnTo>
                  <a:pt x="2889" y="1531"/>
                </a:lnTo>
                <a:lnTo>
                  <a:pt x="2892" y="1532"/>
                </a:lnTo>
                <a:lnTo>
                  <a:pt x="2894" y="1534"/>
                </a:lnTo>
                <a:lnTo>
                  <a:pt x="2897" y="1536"/>
                </a:lnTo>
                <a:lnTo>
                  <a:pt x="2898" y="1538"/>
                </a:lnTo>
                <a:lnTo>
                  <a:pt x="2900" y="1541"/>
                </a:lnTo>
                <a:lnTo>
                  <a:pt x="2900" y="1546"/>
                </a:lnTo>
                <a:lnTo>
                  <a:pt x="2900" y="1549"/>
                </a:lnTo>
                <a:lnTo>
                  <a:pt x="2899" y="1551"/>
                </a:lnTo>
                <a:lnTo>
                  <a:pt x="2897" y="1556"/>
                </a:lnTo>
                <a:lnTo>
                  <a:pt x="2895" y="1558"/>
                </a:lnTo>
                <a:lnTo>
                  <a:pt x="2893" y="1559"/>
                </a:lnTo>
                <a:lnTo>
                  <a:pt x="2889" y="1560"/>
                </a:lnTo>
                <a:lnTo>
                  <a:pt x="2886" y="1561"/>
                </a:lnTo>
                <a:lnTo>
                  <a:pt x="2883" y="1561"/>
                </a:lnTo>
                <a:lnTo>
                  <a:pt x="2880" y="1561"/>
                </a:lnTo>
                <a:lnTo>
                  <a:pt x="2878" y="1559"/>
                </a:lnTo>
                <a:lnTo>
                  <a:pt x="2875" y="1558"/>
                </a:lnTo>
                <a:lnTo>
                  <a:pt x="2873" y="1556"/>
                </a:lnTo>
                <a:lnTo>
                  <a:pt x="2871" y="1553"/>
                </a:lnTo>
                <a:lnTo>
                  <a:pt x="2870" y="1550"/>
                </a:lnTo>
                <a:lnTo>
                  <a:pt x="2869" y="1545"/>
                </a:lnTo>
                <a:lnTo>
                  <a:pt x="2870" y="1543"/>
                </a:lnTo>
                <a:lnTo>
                  <a:pt x="2871" y="1540"/>
                </a:lnTo>
                <a:lnTo>
                  <a:pt x="2872" y="1538"/>
                </a:lnTo>
                <a:lnTo>
                  <a:pt x="2873" y="1536"/>
                </a:lnTo>
                <a:lnTo>
                  <a:pt x="2875" y="1534"/>
                </a:lnTo>
                <a:lnTo>
                  <a:pt x="2877" y="1532"/>
                </a:lnTo>
                <a:close/>
                <a:moveTo>
                  <a:pt x="2626" y="1666"/>
                </a:moveTo>
                <a:lnTo>
                  <a:pt x="2628" y="1664"/>
                </a:lnTo>
                <a:lnTo>
                  <a:pt x="2630" y="1664"/>
                </a:lnTo>
                <a:lnTo>
                  <a:pt x="2633" y="1664"/>
                </a:lnTo>
                <a:lnTo>
                  <a:pt x="2635" y="1664"/>
                </a:lnTo>
                <a:lnTo>
                  <a:pt x="2638" y="1664"/>
                </a:lnTo>
                <a:lnTo>
                  <a:pt x="2640" y="1665"/>
                </a:lnTo>
                <a:lnTo>
                  <a:pt x="2642" y="1666"/>
                </a:lnTo>
                <a:lnTo>
                  <a:pt x="2644" y="1668"/>
                </a:lnTo>
                <a:lnTo>
                  <a:pt x="2646" y="1670"/>
                </a:lnTo>
                <a:lnTo>
                  <a:pt x="2648" y="1673"/>
                </a:lnTo>
                <a:lnTo>
                  <a:pt x="2648" y="1676"/>
                </a:lnTo>
                <a:lnTo>
                  <a:pt x="2649" y="1679"/>
                </a:lnTo>
                <a:lnTo>
                  <a:pt x="2648" y="1682"/>
                </a:lnTo>
                <a:lnTo>
                  <a:pt x="2647" y="1685"/>
                </a:lnTo>
                <a:lnTo>
                  <a:pt x="2646" y="1687"/>
                </a:lnTo>
                <a:lnTo>
                  <a:pt x="2644" y="1690"/>
                </a:lnTo>
                <a:lnTo>
                  <a:pt x="2641" y="1692"/>
                </a:lnTo>
                <a:lnTo>
                  <a:pt x="2639" y="1693"/>
                </a:lnTo>
                <a:lnTo>
                  <a:pt x="2636" y="1694"/>
                </a:lnTo>
                <a:lnTo>
                  <a:pt x="2634" y="1694"/>
                </a:lnTo>
                <a:lnTo>
                  <a:pt x="2631" y="1694"/>
                </a:lnTo>
                <a:lnTo>
                  <a:pt x="2629" y="1694"/>
                </a:lnTo>
                <a:lnTo>
                  <a:pt x="2627" y="1693"/>
                </a:lnTo>
                <a:lnTo>
                  <a:pt x="2624" y="1691"/>
                </a:lnTo>
                <a:lnTo>
                  <a:pt x="2622" y="1690"/>
                </a:lnTo>
                <a:lnTo>
                  <a:pt x="2620" y="1687"/>
                </a:lnTo>
                <a:lnTo>
                  <a:pt x="2619" y="1685"/>
                </a:lnTo>
                <a:lnTo>
                  <a:pt x="2618" y="1682"/>
                </a:lnTo>
                <a:lnTo>
                  <a:pt x="2618" y="1679"/>
                </a:lnTo>
                <a:lnTo>
                  <a:pt x="2618" y="1676"/>
                </a:lnTo>
                <a:lnTo>
                  <a:pt x="2619" y="1673"/>
                </a:lnTo>
                <a:lnTo>
                  <a:pt x="2620" y="1670"/>
                </a:lnTo>
                <a:lnTo>
                  <a:pt x="2622" y="1668"/>
                </a:lnTo>
                <a:lnTo>
                  <a:pt x="2626" y="1666"/>
                </a:lnTo>
                <a:close/>
                <a:moveTo>
                  <a:pt x="2743" y="1585"/>
                </a:moveTo>
                <a:lnTo>
                  <a:pt x="2746" y="1583"/>
                </a:lnTo>
                <a:lnTo>
                  <a:pt x="2750" y="1583"/>
                </a:lnTo>
                <a:lnTo>
                  <a:pt x="2753" y="1583"/>
                </a:lnTo>
                <a:lnTo>
                  <a:pt x="2756" y="1584"/>
                </a:lnTo>
                <a:lnTo>
                  <a:pt x="2759" y="1585"/>
                </a:lnTo>
                <a:lnTo>
                  <a:pt x="2761" y="1586"/>
                </a:lnTo>
                <a:lnTo>
                  <a:pt x="2763" y="1589"/>
                </a:lnTo>
                <a:lnTo>
                  <a:pt x="2765" y="1591"/>
                </a:lnTo>
                <a:lnTo>
                  <a:pt x="2766" y="1594"/>
                </a:lnTo>
                <a:lnTo>
                  <a:pt x="2766" y="1597"/>
                </a:lnTo>
                <a:lnTo>
                  <a:pt x="2766" y="1600"/>
                </a:lnTo>
                <a:lnTo>
                  <a:pt x="2766" y="1603"/>
                </a:lnTo>
                <a:lnTo>
                  <a:pt x="2765" y="1605"/>
                </a:lnTo>
                <a:lnTo>
                  <a:pt x="2763" y="1608"/>
                </a:lnTo>
                <a:lnTo>
                  <a:pt x="2761" y="1610"/>
                </a:lnTo>
                <a:lnTo>
                  <a:pt x="2759" y="1611"/>
                </a:lnTo>
                <a:lnTo>
                  <a:pt x="2755" y="1613"/>
                </a:lnTo>
                <a:lnTo>
                  <a:pt x="2752" y="1613"/>
                </a:lnTo>
                <a:lnTo>
                  <a:pt x="2749" y="1613"/>
                </a:lnTo>
                <a:lnTo>
                  <a:pt x="2746" y="1613"/>
                </a:lnTo>
                <a:lnTo>
                  <a:pt x="2743" y="1611"/>
                </a:lnTo>
                <a:lnTo>
                  <a:pt x="2741" y="1610"/>
                </a:lnTo>
                <a:lnTo>
                  <a:pt x="2739" y="1607"/>
                </a:lnTo>
                <a:lnTo>
                  <a:pt x="2737" y="1605"/>
                </a:lnTo>
                <a:lnTo>
                  <a:pt x="2736" y="1602"/>
                </a:lnTo>
                <a:lnTo>
                  <a:pt x="2736" y="1599"/>
                </a:lnTo>
                <a:lnTo>
                  <a:pt x="2736" y="1596"/>
                </a:lnTo>
                <a:lnTo>
                  <a:pt x="2736" y="1594"/>
                </a:lnTo>
                <a:lnTo>
                  <a:pt x="2737" y="1591"/>
                </a:lnTo>
                <a:lnTo>
                  <a:pt x="2739" y="1589"/>
                </a:lnTo>
                <a:lnTo>
                  <a:pt x="2741" y="1586"/>
                </a:lnTo>
                <a:lnTo>
                  <a:pt x="2743" y="1585"/>
                </a:lnTo>
                <a:close/>
                <a:moveTo>
                  <a:pt x="4771" y="2334"/>
                </a:moveTo>
                <a:lnTo>
                  <a:pt x="4772" y="2333"/>
                </a:lnTo>
                <a:lnTo>
                  <a:pt x="4774" y="2333"/>
                </a:lnTo>
                <a:lnTo>
                  <a:pt x="4778" y="2332"/>
                </a:lnTo>
                <a:lnTo>
                  <a:pt x="4780" y="2332"/>
                </a:lnTo>
                <a:lnTo>
                  <a:pt x="4782" y="2332"/>
                </a:lnTo>
                <a:lnTo>
                  <a:pt x="4786" y="2334"/>
                </a:lnTo>
                <a:lnTo>
                  <a:pt x="4788" y="2336"/>
                </a:lnTo>
                <a:lnTo>
                  <a:pt x="4790" y="2338"/>
                </a:lnTo>
                <a:lnTo>
                  <a:pt x="4791" y="2339"/>
                </a:lnTo>
                <a:lnTo>
                  <a:pt x="4792" y="2340"/>
                </a:lnTo>
                <a:lnTo>
                  <a:pt x="4793" y="2343"/>
                </a:lnTo>
                <a:lnTo>
                  <a:pt x="4793" y="2346"/>
                </a:lnTo>
                <a:lnTo>
                  <a:pt x="4793" y="2349"/>
                </a:lnTo>
                <a:lnTo>
                  <a:pt x="4793" y="2352"/>
                </a:lnTo>
                <a:lnTo>
                  <a:pt x="4792" y="2355"/>
                </a:lnTo>
                <a:lnTo>
                  <a:pt x="4791" y="2356"/>
                </a:lnTo>
                <a:lnTo>
                  <a:pt x="4789" y="2358"/>
                </a:lnTo>
                <a:lnTo>
                  <a:pt x="4786" y="2360"/>
                </a:lnTo>
                <a:lnTo>
                  <a:pt x="4784" y="2361"/>
                </a:lnTo>
                <a:lnTo>
                  <a:pt x="4782" y="2362"/>
                </a:lnTo>
                <a:lnTo>
                  <a:pt x="4779" y="2362"/>
                </a:lnTo>
                <a:lnTo>
                  <a:pt x="4777" y="2362"/>
                </a:lnTo>
                <a:lnTo>
                  <a:pt x="4775" y="2362"/>
                </a:lnTo>
                <a:lnTo>
                  <a:pt x="4771" y="2361"/>
                </a:lnTo>
                <a:lnTo>
                  <a:pt x="4768" y="2359"/>
                </a:lnTo>
                <a:lnTo>
                  <a:pt x="4766" y="2357"/>
                </a:lnTo>
                <a:lnTo>
                  <a:pt x="4766" y="2355"/>
                </a:lnTo>
                <a:lnTo>
                  <a:pt x="4765" y="2354"/>
                </a:lnTo>
                <a:lnTo>
                  <a:pt x="4764" y="2351"/>
                </a:lnTo>
                <a:lnTo>
                  <a:pt x="4763" y="2349"/>
                </a:lnTo>
                <a:lnTo>
                  <a:pt x="4763" y="2346"/>
                </a:lnTo>
                <a:lnTo>
                  <a:pt x="4764" y="2343"/>
                </a:lnTo>
                <a:lnTo>
                  <a:pt x="4765" y="2340"/>
                </a:lnTo>
                <a:lnTo>
                  <a:pt x="4766" y="2338"/>
                </a:lnTo>
                <a:lnTo>
                  <a:pt x="4767" y="2337"/>
                </a:lnTo>
                <a:lnTo>
                  <a:pt x="4771" y="2334"/>
                </a:lnTo>
                <a:close/>
                <a:moveTo>
                  <a:pt x="4644" y="2265"/>
                </a:moveTo>
                <a:lnTo>
                  <a:pt x="4646" y="2264"/>
                </a:lnTo>
                <a:lnTo>
                  <a:pt x="4648" y="2264"/>
                </a:lnTo>
                <a:lnTo>
                  <a:pt x="4651" y="2263"/>
                </a:lnTo>
                <a:lnTo>
                  <a:pt x="4653" y="2263"/>
                </a:lnTo>
                <a:lnTo>
                  <a:pt x="4655" y="2264"/>
                </a:lnTo>
                <a:lnTo>
                  <a:pt x="4659" y="2265"/>
                </a:lnTo>
                <a:lnTo>
                  <a:pt x="4662" y="2267"/>
                </a:lnTo>
                <a:lnTo>
                  <a:pt x="4663" y="2268"/>
                </a:lnTo>
                <a:lnTo>
                  <a:pt x="4664" y="2269"/>
                </a:lnTo>
                <a:lnTo>
                  <a:pt x="4665" y="2270"/>
                </a:lnTo>
                <a:lnTo>
                  <a:pt x="4665" y="2271"/>
                </a:lnTo>
                <a:lnTo>
                  <a:pt x="4666" y="2274"/>
                </a:lnTo>
                <a:lnTo>
                  <a:pt x="4667" y="2277"/>
                </a:lnTo>
                <a:lnTo>
                  <a:pt x="4667" y="2280"/>
                </a:lnTo>
                <a:lnTo>
                  <a:pt x="4666" y="2283"/>
                </a:lnTo>
                <a:lnTo>
                  <a:pt x="4665" y="2286"/>
                </a:lnTo>
                <a:lnTo>
                  <a:pt x="4663" y="2289"/>
                </a:lnTo>
                <a:lnTo>
                  <a:pt x="4659" y="2292"/>
                </a:lnTo>
                <a:lnTo>
                  <a:pt x="4658" y="2293"/>
                </a:lnTo>
                <a:lnTo>
                  <a:pt x="4656" y="2293"/>
                </a:lnTo>
                <a:lnTo>
                  <a:pt x="4652" y="2294"/>
                </a:lnTo>
                <a:lnTo>
                  <a:pt x="4650" y="2294"/>
                </a:lnTo>
                <a:lnTo>
                  <a:pt x="4648" y="2293"/>
                </a:lnTo>
                <a:lnTo>
                  <a:pt x="4645" y="2292"/>
                </a:lnTo>
                <a:lnTo>
                  <a:pt x="4642" y="2290"/>
                </a:lnTo>
                <a:lnTo>
                  <a:pt x="4641" y="2289"/>
                </a:lnTo>
                <a:lnTo>
                  <a:pt x="4640" y="2288"/>
                </a:lnTo>
                <a:lnTo>
                  <a:pt x="4639" y="2287"/>
                </a:lnTo>
                <a:lnTo>
                  <a:pt x="4638" y="2286"/>
                </a:lnTo>
                <a:lnTo>
                  <a:pt x="4637" y="2283"/>
                </a:lnTo>
                <a:lnTo>
                  <a:pt x="4637" y="2280"/>
                </a:lnTo>
                <a:lnTo>
                  <a:pt x="4637" y="2277"/>
                </a:lnTo>
                <a:lnTo>
                  <a:pt x="4637" y="2274"/>
                </a:lnTo>
                <a:lnTo>
                  <a:pt x="4638" y="2271"/>
                </a:lnTo>
                <a:lnTo>
                  <a:pt x="4641" y="2268"/>
                </a:lnTo>
                <a:lnTo>
                  <a:pt x="4644" y="2265"/>
                </a:lnTo>
                <a:close/>
                <a:moveTo>
                  <a:pt x="4517" y="2198"/>
                </a:moveTo>
                <a:lnTo>
                  <a:pt x="4518" y="2198"/>
                </a:lnTo>
                <a:lnTo>
                  <a:pt x="4520" y="2197"/>
                </a:lnTo>
                <a:lnTo>
                  <a:pt x="4524" y="2196"/>
                </a:lnTo>
                <a:lnTo>
                  <a:pt x="4528" y="2197"/>
                </a:lnTo>
                <a:lnTo>
                  <a:pt x="4531" y="2198"/>
                </a:lnTo>
                <a:lnTo>
                  <a:pt x="4534" y="2200"/>
                </a:lnTo>
                <a:lnTo>
                  <a:pt x="4536" y="2202"/>
                </a:lnTo>
                <a:lnTo>
                  <a:pt x="4538" y="2204"/>
                </a:lnTo>
                <a:lnTo>
                  <a:pt x="4539" y="2207"/>
                </a:lnTo>
                <a:lnTo>
                  <a:pt x="4539" y="2210"/>
                </a:lnTo>
                <a:lnTo>
                  <a:pt x="4539" y="2213"/>
                </a:lnTo>
                <a:lnTo>
                  <a:pt x="4539" y="2216"/>
                </a:lnTo>
                <a:lnTo>
                  <a:pt x="4538" y="2219"/>
                </a:lnTo>
                <a:lnTo>
                  <a:pt x="4535" y="2222"/>
                </a:lnTo>
                <a:lnTo>
                  <a:pt x="4532" y="2225"/>
                </a:lnTo>
                <a:lnTo>
                  <a:pt x="4530" y="2226"/>
                </a:lnTo>
                <a:lnTo>
                  <a:pt x="4528" y="2226"/>
                </a:lnTo>
                <a:lnTo>
                  <a:pt x="4525" y="2227"/>
                </a:lnTo>
                <a:lnTo>
                  <a:pt x="4521" y="2226"/>
                </a:lnTo>
                <a:lnTo>
                  <a:pt x="4517" y="2225"/>
                </a:lnTo>
                <a:lnTo>
                  <a:pt x="4515" y="2223"/>
                </a:lnTo>
                <a:lnTo>
                  <a:pt x="4513" y="2221"/>
                </a:lnTo>
                <a:lnTo>
                  <a:pt x="4511" y="2219"/>
                </a:lnTo>
                <a:lnTo>
                  <a:pt x="4510" y="2216"/>
                </a:lnTo>
                <a:lnTo>
                  <a:pt x="4509" y="2213"/>
                </a:lnTo>
                <a:lnTo>
                  <a:pt x="4509" y="2210"/>
                </a:lnTo>
                <a:lnTo>
                  <a:pt x="4510" y="2207"/>
                </a:lnTo>
                <a:lnTo>
                  <a:pt x="4511" y="2205"/>
                </a:lnTo>
                <a:lnTo>
                  <a:pt x="4513" y="2201"/>
                </a:lnTo>
                <a:lnTo>
                  <a:pt x="4517" y="2198"/>
                </a:lnTo>
                <a:close/>
                <a:moveTo>
                  <a:pt x="4388" y="2134"/>
                </a:moveTo>
                <a:lnTo>
                  <a:pt x="4391" y="2133"/>
                </a:lnTo>
                <a:lnTo>
                  <a:pt x="4395" y="2132"/>
                </a:lnTo>
                <a:lnTo>
                  <a:pt x="4399" y="2132"/>
                </a:lnTo>
                <a:lnTo>
                  <a:pt x="4402" y="2133"/>
                </a:lnTo>
                <a:lnTo>
                  <a:pt x="4405" y="2135"/>
                </a:lnTo>
                <a:lnTo>
                  <a:pt x="4407" y="2137"/>
                </a:lnTo>
                <a:lnTo>
                  <a:pt x="4409" y="2140"/>
                </a:lnTo>
                <a:lnTo>
                  <a:pt x="4410" y="2142"/>
                </a:lnTo>
                <a:lnTo>
                  <a:pt x="4411" y="2145"/>
                </a:lnTo>
                <a:lnTo>
                  <a:pt x="4411" y="2148"/>
                </a:lnTo>
                <a:lnTo>
                  <a:pt x="4410" y="2151"/>
                </a:lnTo>
                <a:lnTo>
                  <a:pt x="4409" y="2154"/>
                </a:lnTo>
                <a:lnTo>
                  <a:pt x="4407" y="2158"/>
                </a:lnTo>
                <a:lnTo>
                  <a:pt x="4403" y="2160"/>
                </a:lnTo>
                <a:lnTo>
                  <a:pt x="4400" y="2162"/>
                </a:lnTo>
                <a:lnTo>
                  <a:pt x="4396" y="2162"/>
                </a:lnTo>
                <a:lnTo>
                  <a:pt x="4393" y="2162"/>
                </a:lnTo>
                <a:lnTo>
                  <a:pt x="4389" y="2161"/>
                </a:lnTo>
                <a:lnTo>
                  <a:pt x="4386" y="2159"/>
                </a:lnTo>
                <a:lnTo>
                  <a:pt x="4384" y="2157"/>
                </a:lnTo>
                <a:lnTo>
                  <a:pt x="4382" y="2155"/>
                </a:lnTo>
                <a:lnTo>
                  <a:pt x="4381" y="2152"/>
                </a:lnTo>
                <a:lnTo>
                  <a:pt x="4380" y="2149"/>
                </a:lnTo>
                <a:lnTo>
                  <a:pt x="4380" y="2146"/>
                </a:lnTo>
                <a:lnTo>
                  <a:pt x="4381" y="2143"/>
                </a:lnTo>
                <a:lnTo>
                  <a:pt x="4382" y="2140"/>
                </a:lnTo>
                <a:lnTo>
                  <a:pt x="4384" y="2137"/>
                </a:lnTo>
                <a:lnTo>
                  <a:pt x="4388" y="2134"/>
                </a:lnTo>
                <a:close/>
                <a:moveTo>
                  <a:pt x="4258" y="2073"/>
                </a:moveTo>
                <a:lnTo>
                  <a:pt x="4261" y="2071"/>
                </a:lnTo>
                <a:lnTo>
                  <a:pt x="4264" y="2071"/>
                </a:lnTo>
                <a:lnTo>
                  <a:pt x="4268" y="2071"/>
                </a:lnTo>
                <a:lnTo>
                  <a:pt x="4271" y="2072"/>
                </a:lnTo>
                <a:lnTo>
                  <a:pt x="4274" y="2074"/>
                </a:lnTo>
                <a:lnTo>
                  <a:pt x="4276" y="2076"/>
                </a:lnTo>
                <a:lnTo>
                  <a:pt x="4278" y="2078"/>
                </a:lnTo>
                <a:lnTo>
                  <a:pt x="4279" y="2081"/>
                </a:lnTo>
                <a:lnTo>
                  <a:pt x="4280" y="2083"/>
                </a:lnTo>
                <a:lnTo>
                  <a:pt x="4280" y="2086"/>
                </a:lnTo>
                <a:lnTo>
                  <a:pt x="4280" y="2089"/>
                </a:lnTo>
                <a:lnTo>
                  <a:pt x="4279" y="2092"/>
                </a:lnTo>
                <a:lnTo>
                  <a:pt x="4278" y="2094"/>
                </a:lnTo>
                <a:lnTo>
                  <a:pt x="4276" y="2096"/>
                </a:lnTo>
                <a:lnTo>
                  <a:pt x="4275" y="2098"/>
                </a:lnTo>
                <a:lnTo>
                  <a:pt x="4273" y="2099"/>
                </a:lnTo>
                <a:lnTo>
                  <a:pt x="4270" y="2101"/>
                </a:lnTo>
                <a:lnTo>
                  <a:pt x="4266" y="2101"/>
                </a:lnTo>
                <a:lnTo>
                  <a:pt x="4263" y="2101"/>
                </a:lnTo>
                <a:lnTo>
                  <a:pt x="4259" y="2100"/>
                </a:lnTo>
                <a:lnTo>
                  <a:pt x="4256" y="2098"/>
                </a:lnTo>
                <a:lnTo>
                  <a:pt x="4254" y="2096"/>
                </a:lnTo>
                <a:lnTo>
                  <a:pt x="4252" y="2094"/>
                </a:lnTo>
                <a:lnTo>
                  <a:pt x="4251" y="2091"/>
                </a:lnTo>
                <a:lnTo>
                  <a:pt x="4250" y="2089"/>
                </a:lnTo>
                <a:lnTo>
                  <a:pt x="4250" y="2086"/>
                </a:lnTo>
                <a:lnTo>
                  <a:pt x="4250" y="2083"/>
                </a:lnTo>
                <a:lnTo>
                  <a:pt x="4251" y="2080"/>
                </a:lnTo>
                <a:lnTo>
                  <a:pt x="4253" y="2078"/>
                </a:lnTo>
                <a:lnTo>
                  <a:pt x="4254" y="2076"/>
                </a:lnTo>
                <a:lnTo>
                  <a:pt x="4256" y="2074"/>
                </a:lnTo>
                <a:lnTo>
                  <a:pt x="4258" y="2073"/>
                </a:lnTo>
                <a:close/>
                <a:moveTo>
                  <a:pt x="4125" y="2016"/>
                </a:moveTo>
                <a:lnTo>
                  <a:pt x="4128" y="2015"/>
                </a:lnTo>
                <a:lnTo>
                  <a:pt x="4132" y="2014"/>
                </a:lnTo>
                <a:lnTo>
                  <a:pt x="4135" y="2014"/>
                </a:lnTo>
                <a:lnTo>
                  <a:pt x="4139" y="2015"/>
                </a:lnTo>
                <a:lnTo>
                  <a:pt x="4141" y="2016"/>
                </a:lnTo>
                <a:lnTo>
                  <a:pt x="4144" y="2018"/>
                </a:lnTo>
                <a:lnTo>
                  <a:pt x="4146" y="2021"/>
                </a:lnTo>
                <a:lnTo>
                  <a:pt x="4147" y="2023"/>
                </a:lnTo>
                <a:lnTo>
                  <a:pt x="4148" y="2026"/>
                </a:lnTo>
                <a:lnTo>
                  <a:pt x="4148" y="2029"/>
                </a:lnTo>
                <a:lnTo>
                  <a:pt x="4148" y="2032"/>
                </a:lnTo>
                <a:lnTo>
                  <a:pt x="4147" y="2035"/>
                </a:lnTo>
                <a:lnTo>
                  <a:pt x="4146" y="2037"/>
                </a:lnTo>
                <a:lnTo>
                  <a:pt x="4144" y="2039"/>
                </a:lnTo>
                <a:lnTo>
                  <a:pt x="4143" y="2041"/>
                </a:lnTo>
                <a:lnTo>
                  <a:pt x="4141" y="2042"/>
                </a:lnTo>
                <a:lnTo>
                  <a:pt x="4137" y="2044"/>
                </a:lnTo>
                <a:lnTo>
                  <a:pt x="4134" y="2044"/>
                </a:lnTo>
                <a:lnTo>
                  <a:pt x="4131" y="2044"/>
                </a:lnTo>
                <a:lnTo>
                  <a:pt x="4127" y="2043"/>
                </a:lnTo>
                <a:lnTo>
                  <a:pt x="4125" y="2042"/>
                </a:lnTo>
                <a:lnTo>
                  <a:pt x="4122" y="2040"/>
                </a:lnTo>
                <a:lnTo>
                  <a:pt x="4120" y="2038"/>
                </a:lnTo>
                <a:lnTo>
                  <a:pt x="4119" y="2035"/>
                </a:lnTo>
                <a:lnTo>
                  <a:pt x="4118" y="2032"/>
                </a:lnTo>
                <a:lnTo>
                  <a:pt x="4118" y="2029"/>
                </a:lnTo>
                <a:lnTo>
                  <a:pt x="4118" y="2026"/>
                </a:lnTo>
                <a:lnTo>
                  <a:pt x="4119" y="2023"/>
                </a:lnTo>
                <a:lnTo>
                  <a:pt x="4120" y="2021"/>
                </a:lnTo>
                <a:lnTo>
                  <a:pt x="4122" y="2019"/>
                </a:lnTo>
                <a:lnTo>
                  <a:pt x="4123" y="2017"/>
                </a:lnTo>
                <a:lnTo>
                  <a:pt x="4125" y="2016"/>
                </a:lnTo>
                <a:close/>
                <a:moveTo>
                  <a:pt x="3990" y="1965"/>
                </a:moveTo>
                <a:lnTo>
                  <a:pt x="3993" y="1963"/>
                </a:lnTo>
                <a:lnTo>
                  <a:pt x="3996" y="1963"/>
                </a:lnTo>
                <a:lnTo>
                  <a:pt x="3999" y="1963"/>
                </a:lnTo>
                <a:lnTo>
                  <a:pt x="4003" y="1963"/>
                </a:lnTo>
                <a:lnTo>
                  <a:pt x="4005" y="1965"/>
                </a:lnTo>
                <a:lnTo>
                  <a:pt x="4008" y="1967"/>
                </a:lnTo>
                <a:lnTo>
                  <a:pt x="4011" y="1969"/>
                </a:lnTo>
                <a:lnTo>
                  <a:pt x="4012" y="1971"/>
                </a:lnTo>
                <a:lnTo>
                  <a:pt x="4013" y="1974"/>
                </a:lnTo>
                <a:lnTo>
                  <a:pt x="4014" y="1977"/>
                </a:lnTo>
                <a:lnTo>
                  <a:pt x="4013" y="1983"/>
                </a:lnTo>
                <a:lnTo>
                  <a:pt x="4012" y="1985"/>
                </a:lnTo>
                <a:lnTo>
                  <a:pt x="4010" y="1988"/>
                </a:lnTo>
                <a:lnTo>
                  <a:pt x="4005" y="1991"/>
                </a:lnTo>
                <a:lnTo>
                  <a:pt x="4002" y="1992"/>
                </a:lnTo>
                <a:lnTo>
                  <a:pt x="3999" y="1993"/>
                </a:lnTo>
                <a:lnTo>
                  <a:pt x="3996" y="1993"/>
                </a:lnTo>
                <a:lnTo>
                  <a:pt x="3992" y="1992"/>
                </a:lnTo>
                <a:lnTo>
                  <a:pt x="3990" y="1991"/>
                </a:lnTo>
                <a:lnTo>
                  <a:pt x="3987" y="1989"/>
                </a:lnTo>
                <a:lnTo>
                  <a:pt x="3985" y="1987"/>
                </a:lnTo>
                <a:lnTo>
                  <a:pt x="3984" y="1984"/>
                </a:lnTo>
                <a:lnTo>
                  <a:pt x="3983" y="1982"/>
                </a:lnTo>
                <a:lnTo>
                  <a:pt x="3982" y="1979"/>
                </a:lnTo>
                <a:lnTo>
                  <a:pt x="3983" y="1973"/>
                </a:lnTo>
                <a:lnTo>
                  <a:pt x="3984" y="1970"/>
                </a:lnTo>
                <a:lnTo>
                  <a:pt x="3986" y="1968"/>
                </a:lnTo>
                <a:lnTo>
                  <a:pt x="3990" y="1965"/>
                </a:lnTo>
                <a:close/>
                <a:moveTo>
                  <a:pt x="3853" y="1921"/>
                </a:moveTo>
                <a:lnTo>
                  <a:pt x="3855" y="1920"/>
                </a:lnTo>
                <a:lnTo>
                  <a:pt x="3858" y="1919"/>
                </a:lnTo>
                <a:lnTo>
                  <a:pt x="3861" y="1919"/>
                </a:lnTo>
                <a:lnTo>
                  <a:pt x="3865" y="1919"/>
                </a:lnTo>
                <a:lnTo>
                  <a:pt x="3867" y="1921"/>
                </a:lnTo>
                <a:lnTo>
                  <a:pt x="3870" y="1922"/>
                </a:lnTo>
                <a:lnTo>
                  <a:pt x="3872" y="1924"/>
                </a:lnTo>
                <a:lnTo>
                  <a:pt x="3874" y="1927"/>
                </a:lnTo>
                <a:lnTo>
                  <a:pt x="3875" y="1929"/>
                </a:lnTo>
                <a:lnTo>
                  <a:pt x="3875" y="1932"/>
                </a:lnTo>
                <a:lnTo>
                  <a:pt x="3876" y="1935"/>
                </a:lnTo>
                <a:lnTo>
                  <a:pt x="3875" y="1938"/>
                </a:lnTo>
                <a:lnTo>
                  <a:pt x="3874" y="1941"/>
                </a:lnTo>
                <a:lnTo>
                  <a:pt x="3872" y="1943"/>
                </a:lnTo>
                <a:lnTo>
                  <a:pt x="3870" y="1946"/>
                </a:lnTo>
                <a:lnTo>
                  <a:pt x="3868" y="1947"/>
                </a:lnTo>
                <a:lnTo>
                  <a:pt x="3865" y="1948"/>
                </a:lnTo>
                <a:lnTo>
                  <a:pt x="3862" y="1949"/>
                </a:lnTo>
                <a:lnTo>
                  <a:pt x="3859" y="1949"/>
                </a:lnTo>
                <a:lnTo>
                  <a:pt x="3856" y="1949"/>
                </a:lnTo>
                <a:lnTo>
                  <a:pt x="3853" y="1948"/>
                </a:lnTo>
                <a:lnTo>
                  <a:pt x="3851" y="1946"/>
                </a:lnTo>
                <a:lnTo>
                  <a:pt x="3849" y="1944"/>
                </a:lnTo>
                <a:lnTo>
                  <a:pt x="3847" y="1941"/>
                </a:lnTo>
                <a:lnTo>
                  <a:pt x="3846" y="1939"/>
                </a:lnTo>
                <a:lnTo>
                  <a:pt x="3845" y="1936"/>
                </a:lnTo>
                <a:lnTo>
                  <a:pt x="3845" y="1933"/>
                </a:lnTo>
                <a:lnTo>
                  <a:pt x="3846" y="1930"/>
                </a:lnTo>
                <a:lnTo>
                  <a:pt x="3847" y="1927"/>
                </a:lnTo>
                <a:lnTo>
                  <a:pt x="3848" y="1925"/>
                </a:lnTo>
                <a:lnTo>
                  <a:pt x="3850" y="1922"/>
                </a:lnTo>
                <a:lnTo>
                  <a:pt x="3853" y="1921"/>
                </a:lnTo>
                <a:close/>
                <a:moveTo>
                  <a:pt x="3713" y="1887"/>
                </a:moveTo>
                <a:lnTo>
                  <a:pt x="3715" y="1886"/>
                </a:lnTo>
                <a:lnTo>
                  <a:pt x="3718" y="1885"/>
                </a:lnTo>
                <a:lnTo>
                  <a:pt x="3724" y="1885"/>
                </a:lnTo>
                <a:lnTo>
                  <a:pt x="3726" y="1886"/>
                </a:lnTo>
                <a:lnTo>
                  <a:pt x="3729" y="1887"/>
                </a:lnTo>
                <a:lnTo>
                  <a:pt x="3731" y="1889"/>
                </a:lnTo>
                <a:lnTo>
                  <a:pt x="3733" y="1892"/>
                </a:lnTo>
                <a:lnTo>
                  <a:pt x="3735" y="1894"/>
                </a:lnTo>
                <a:lnTo>
                  <a:pt x="3735" y="1897"/>
                </a:lnTo>
                <a:lnTo>
                  <a:pt x="3736" y="1900"/>
                </a:lnTo>
                <a:lnTo>
                  <a:pt x="3735" y="1903"/>
                </a:lnTo>
                <a:lnTo>
                  <a:pt x="3734" y="1906"/>
                </a:lnTo>
                <a:lnTo>
                  <a:pt x="3733" y="1909"/>
                </a:lnTo>
                <a:lnTo>
                  <a:pt x="3732" y="1910"/>
                </a:lnTo>
                <a:lnTo>
                  <a:pt x="3731" y="1911"/>
                </a:lnTo>
                <a:lnTo>
                  <a:pt x="3728" y="1913"/>
                </a:lnTo>
                <a:lnTo>
                  <a:pt x="3726" y="1914"/>
                </a:lnTo>
                <a:lnTo>
                  <a:pt x="3723" y="1915"/>
                </a:lnTo>
                <a:lnTo>
                  <a:pt x="3718" y="1915"/>
                </a:lnTo>
                <a:lnTo>
                  <a:pt x="3715" y="1914"/>
                </a:lnTo>
                <a:lnTo>
                  <a:pt x="3712" y="1913"/>
                </a:lnTo>
                <a:lnTo>
                  <a:pt x="3710" y="1911"/>
                </a:lnTo>
                <a:lnTo>
                  <a:pt x="3708" y="1908"/>
                </a:lnTo>
                <a:lnTo>
                  <a:pt x="3706" y="1906"/>
                </a:lnTo>
                <a:lnTo>
                  <a:pt x="3706" y="1903"/>
                </a:lnTo>
                <a:lnTo>
                  <a:pt x="3705" y="1900"/>
                </a:lnTo>
                <a:lnTo>
                  <a:pt x="3706" y="1897"/>
                </a:lnTo>
                <a:lnTo>
                  <a:pt x="3707" y="1894"/>
                </a:lnTo>
                <a:lnTo>
                  <a:pt x="3708" y="1891"/>
                </a:lnTo>
                <a:lnTo>
                  <a:pt x="3709" y="1890"/>
                </a:lnTo>
                <a:lnTo>
                  <a:pt x="3710" y="1889"/>
                </a:lnTo>
                <a:lnTo>
                  <a:pt x="3713" y="1887"/>
                </a:lnTo>
                <a:close/>
                <a:moveTo>
                  <a:pt x="3571" y="1865"/>
                </a:moveTo>
                <a:lnTo>
                  <a:pt x="3575" y="1864"/>
                </a:lnTo>
                <a:lnTo>
                  <a:pt x="3577" y="1863"/>
                </a:lnTo>
                <a:lnTo>
                  <a:pt x="3580" y="1863"/>
                </a:lnTo>
                <a:lnTo>
                  <a:pt x="3583" y="1864"/>
                </a:lnTo>
                <a:lnTo>
                  <a:pt x="3586" y="1865"/>
                </a:lnTo>
                <a:lnTo>
                  <a:pt x="3588" y="1867"/>
                </a:lnTo>
                <a:lnTo>
                  <a:pt x="3590" y="1869"/>
                </a:lnTo>
                <a:lnTo>
                  <a:pt x="3592" y="1871"/>
                </a:lnTo>
                <a:lnTo>
                  <a:pt x="3593" y="1874"/>
                </a:lnTo>
                <a:lnTo>
                  <a:pt x="3593" y="1877"/>
                </a:lnTo>
                <a:lnTo>
                  <a:pt x="3593" y="1880"/>
                </a:lnTo>
                <a:lnTo>
                  <a:pt x="3593" y="1884"/>
                </a:lnTo>
                <a:lnTo>
                  <a:pt x="3591" y="1887"/>
                </a:lnTo>
                <a:lnTo>
                  <a:pt x="3589" y="1889"/>
                </a:lnTo>
                <a:lnTo>
                  <a:pt x="3586" y="1892"/>
                </a:lnTo>
                <a:lnTo>
                  <a:pt x="3582" y="1893"/>
                </a:lnTo>
                <a:lnTo>
                  <a:pt x="3579" y="1894"/>
                </a:lnTo>
                <a:lnTo>
                  <a:pt x="3577" y="1894"/>
                </a:lnTo>
                <a:lnTo>
                  <a:pt x="3574" y="1893"/>
                </a:lnTo>
                <a:lnTo>
                  <a:pt x="3571" y="1892"/>
                </a:lnTo>
                <a:lnTo>
                  <a:pt x="3569" y="1890"/>
                </a:lnTo>
                <a:lnTo>
                  <a:pt x="3567" y="1888"/>
                </a:lnTo>
                <a:lnTo>
                  <a:pt x="3565" y="1886"/>
                </a:lnTo>
                <a:lnTo>
                  <a:pt x="3564" y="1883"/>
                </a:lnTo>
                <a:lnTo>
                  <a:pt x="3563" y="1880"/>
                </a:lnTo>
                <a:lnTo>
                  <a:pt x="3563" y="1877"/>
                </a:lnTo>
                <a:lnTo>
                  <a:pt x="3564" y="1873"/>
                </a:lnTo>
                <a:lnTo>
                  <a:pt x="3566" y="1870"/>
                </a:lnTo>
                <a:lnTo>
                  <a:pt x="3568" y="1867"/>
                </a:lnTo>
                <a:lnTo>
                  <a:pt x="3571" y="1865"/>
                </a:lnTo>
                <a:close/>
                <a:moveTo>
                  <a:pt x="2784" y="2297"/>
                </a:moveTo>
                <a:lnTo>
                  <a:pt x="2786" y="2296"/>
                </a:lnTo>
                <a:lnTo>
                  <a:pt x="2788" y="2295"/>
                </a:lnTo>
                <a:lnTo>
                  <a:pt x="2791" y="2295"/>
                </a:lnTo>
                <a:lnTo>
                  <a:pt x="2793" y="2295"/>
                </a:lnTo>
                <a:lnTo>
                  <a:pt x="2796" y="2295"/>
                </a:lnTo>
                <a:lnTo>
                  <a:pt x="2799" y="2297"/>
                </a:lnTo>
                <a:lnTo>
                  <a:pt x="2801" y="2298"/>
                </a:lnTo>
                <a:lnTo>
                  <a:pt x="2803" y="2301"/>
                </a:lnTo>
                <a:lnTo>
                  <a:pt x="2804" y="2302"/>
                </a:lnTo>
                <a:lnTo>
                  <a:pt x="2805" y="2303"/>
                </a:lnTo>
                <a:lnTo>
                  <a:pt x="2806" y="2306"/>
                </a:lnTo>
                <a:lnTo>
                  <a:pt x="2806" y="2309"/>
                </a:lnTo>
                <a:lnTo>
                  <a:pt x="2806" y="2312"/>
                </a:lnTo>
                <a:lnTo>
                  <a:pt x="2806" y="2315"/>
                </a:lnTo>
                <a:lnTo>
                  <a:pt x="2804" y="2318"/>
                </a:lnTo>
                <a:lnTo>
                  <a:pt x="2802" y="2321"/>
                </a:lnTo>
                <a:lnTo>
                  <a:pt x="2799" y="2323"/>
                </a:lnTo>
                <a:lnTo>
                  <a:pt x="2797" y="2324"/>
                </a:lnTo>
                <a:lnTo>
                  <a:pt x="2794" y="2325"/>
                </a:lnTo>
                <a:lnTo>
                  <a:pt x="2792" y="2325"/>
                </a:lnTo>
                <a:lnTo>
                  <a:pt x="2789" y="2325"/>
                </a:lnTo>
                <a:lnTo>
                  <a:pt x="2786" y="2324"/>
                </a:lnTo>
                <a:lnTo>
                  <a:pt x="2784" y="2323"/>
                </a:lnTo>
                <a:lnTo>
                  <a:pt x="2781" y="2321"/>
                </a:lnTo>
                <a:lnTo>
                  <a:pt x="2779" y="2319"/>
                </a:lnTo>
                <a:lnTo>
                  <a:pt x="2778" y="2318"/>
                </a:lnTo>
                <a:lnTo>
                  <a:pt x="2778" y="2317"/>
                </a:lnTo>
                <a:lnTo>
                  <a:pt x="2777" y="2314"/>
                </a:lnTo>
                <a:lnTo>
                  <a:pt x="2776" y="2311"/>
                </a:lnTo>
                <a:lnTo>
                  <a:pt x="2776" y="2308"/>
                </a:lnTo>
                <a:lnTo>
                  <a:pt x="2777" y="2305"/>
                </a:lnTo>
                <a:lnTo>
                  <a:pt x="2779" y="2301"/>
                </a:lnTo>
                <a:lnTo>
                  <a:pt x="2781" y="2299"/>
                </a:lnTo>
                <a:lnTo>
                  <a:pt x="2784" y="2297"/>
                </a:lnTo>
                <a:close/>
                <a:moveTo>
                  <a:pt x="3427" y="1859"/>
                </a:moveTo>
                <a:lnTo>
                  <a:pt x="3431" y="1858"/>
                </a:lnTo>
                <a:lnTo>
                  <a:pt x="3434" y="1857"/>
                </a:lnTo>
                <a:lnTo>
                  <a:pt x="3437" y="1858"/>
                </a:lnTo>
                <a:lnTo>
                  <a:pt x="3440" y="1858"/>
                </a:lnTo>
                <a:lnTo>
                  <a:pt x="3443" y="1860"/>
                </a:lnTo>
                <a:lnTo>
                  <a:pt x="3445" y="1862"/>
                </a:lnTo>
                <a:lnTo>
                  <a:pt x="3447" y="1864"/>
                </a:lnTo>
                <a:lnTo>
                  <a:pt x="3449" y="1866"/>
                </a:lnTo>
                <a:lnTo>
                  <a:pt x="3450" y="1869"/>
                </a:lnTo>
                <a:lnTo>
                  <a:pt x="3450" y="1872"/>
                </a:lnTo>
                <a:lnTo>
                  <a:pt x="3449" y="1876"/>
                </a:lnTo>
                <a:lnTo>
                  <a:pt x="3448" y="1880"/>
                </a:lnTo>
                <a:lnTo>
                  <a:pt x="3445" y="1883"/>
                </a:lnTo>
                <a:lnTo>
                  <a:pt x="3442" y="1886"/>
                </a:lnTo>
                <a:lnTo>
                  <a:pt x="3439" y="1887"/>
                </a:lnTo>
                <a:lnTo>
                  <a:pt x="3435" y="1888"/>
                </a:lnTo>
                <a:lnTo>
                  <a:pt x="3432" y="1888"/>
                </a:lnTo>
                <a:lnTo>
                  <a:pt x="3429" y="1887"/>
                </a:lnTo>
                <a:lnTo>
                  <a:pt x="3426" y="1885"/>
                </a:lnTo>
                <a:lnTo>
                  <a:pt x="3424" y="1884"/>
                </a:lnTo>
                <a:lnTo>
                  <a:pt x="3422" y="1881"/>
                </a:lnTo>
                <a:lnTo>
                  <a:pt x="3421" y="1879"/>
                </a:lnTo>
                <a:lnTo>
                  <a:pt x="3420" y="1876"/>
                </a:lnTo>
                <a:lnTo>
                  <a:pt x="3419" y="1873"/>
                </a:lnTo>
                <a:lnTo>
                  <a:pt x="3420" y="1869"/>
                </a:lnTo>
                <a:lnTo>
                  <a:pt x="3421" y="1865"/>
                </a:lnTo>
                <a:lnTo>
                  <a:pt x="3424" y="1862"/>
                </a:lnTo>
                <a:lnTo>
                  <a:pt x="3427" y="1859"/>
                </a:lnTo>
                <a:close/>
                <a:moveTo>
                  <a:pt x="2815" y="2157"/>
                </a:moveTo>
                <a:lnTo>
                  <a:pt x="2818" y="2156"/>
                </a:lnTo>
                <a:lnTo>
                  <a:pt x="2822" y="2155"/>
                </a:lnTo>
                <a:lnTo>
                  <a:pt x="2825" y="2155"/>
                </a:lnTo>
                <a:lnTo>
                  <a:pt x="2828" y="2156"/>
                </a:lnTo>
                <a:lnTo>
                  <a:pt x="2830" y="2157"/>
                </a:lnTo>
                <a:lnTo>
                  <a:pt x="2831" y="2157"/>
                </a:lnTo>
                <a:lnTo>
                  <a:pt x="2833" y="2159"/>
                </a:lnTo>
                <a:lnTo>
                  <a:pt x="2835" y="2161"/>
                </a:lnTo>
                <a:lnTo>
                  <a:pt x="2837" y="2164"/>
                </a:lnTo>
                <a:lnTo>
                  <a:pt x="2838" y="2167"/>
                </a:lnTo>
                <a:lnTo>
                  <a:pt x="2838" y="2170"/>
                </a:lnTo>
                <a:lnTo>
                  <a:pt x="2838" y="2173"/>
                </a:lnTo>
                <a:lnTo>
                  <a:pt x="2837" y="2176"/>
                </a:lnTo>
                <a:lnTo>
                  <a:pt x="2836" y="2178"/>
                </a:lnTo>
                <a:lnTo>
                  <a:pt x="2834" y="2180"/>
                </a:lnTo>
                <a:lnTo>
                  <a:pt x="2833" y="2182"/>
                </a:lnTo>
                <a:lnTo>
                  <a:pt x="2831" y="2183"/>
                </a:lnTo>
                <a:lnTo>
                  <a:pt x="2827" y="2185"/>
                </a:lnTo>
                <a:lnTo>
                  <a:pt x="2824" y="2185"/>
                </a:lnTo>
                <a:lnTo>
                  <a:pt x="2821" y="2185"/>
                </a:lnTo>
                <a:lnTo>
                  <a:pt x="2817" y="2184"/>
                </a:lnTo>
                <a:lnTo>
                  <a:pt x="2816" y="2184"/>
                </a:lnTo>
                <a:lnTo>
                  <a:pt x="2815" y="2183"/>
                </a:lnTo>
                <a:lnTo>
                  <a:pt x="2812" y="2181"/>
                </a:lnTo>
                <a:lnTo>
                  <a:pt x="2810" y="2179"/>
                </a:lnTo>
                <a:lnTo>
                  <a:pt x="2809" y="2176"/>
                </a:lnTo>
                <a:lnTo>
                  <a:pt x="2808" y="2174"/>
                </a:lnTo>
                <a:lnTo>
                  <a:pt x="2808" y="2171"/>
                </a:lnTo>
                <a:lnTo>
                  <a:pt x="2808" y="2168"/>
                </a:lnTo>
                <a:lnTo>
                  <a:pt x="2809" y="2165"/>
                </a:lnTo>
                <a:lnTo>
                  <a:pt x="2810" y="2162"/>
                </a:lnTo>
                <a:lnTo>
                  <a:pt x="2811" y="2160"/>
                </a:lnTo>
                <a:lnTo>
                  <a:pt x="2813" y="2158"/>
                </a:lnTo>
                <a:lnTo>
                  <a:pt x="2815" y="2157"/>
                </a:lnTo>
                <a:close/>
                <a:moveTo>
                  <a:pt x="3284" y="1872"/>
                </a:moveTo>
                <a:lnTo>
                  <a:pt x="3286" y="1871"/>
                </a:lnTo>
                <a:lnTo>
                  <a:pt x="3289" y="1870"/>
                </a:lnTo>
                <a:lnTo>
                  <a:pt x="3292" y="1870"/>
                </a:lnTo>
                <a:lnTo>
                  <a:pt x="3295" y="1870"/>
                </a:lnTo>
                <a:lnTo>
                  <a:pt x="3298" y="1871"/>
                </a:lnTo>
                <a:lnTo>
                  <a:pt x="3300" y="1873"/>
                </a:lnTo>
                <a:lnTo>
                  <a:pt x="3303" y="1875"/>
                </a:lnTo>
                <a:lnTo>
                  <a:pt x="3304" y="1877"/>
                </a:lnTo>
                <a:lnTo>
                  <a:pt x="3306" y="1880"/>
                </a:lnTo>
                <a:lnTo>
                  <a:pt x="3307" y="1883"/>
                </a:lnTo>
                <a:lnTo>
                  <a:pt x="3307" y="1887"/>
                </a:lnTo>
                <a:lnTo>
                  <a:pt x="3305" y="1892"/>
                </a:lnTo>
                <a:lnTo>
                  <a:pt x="3303" y="1895"/>
                </a:lnTo>
                <a:lnTo>
                  <a:pt x="3299" y="1898"/>
                </a:lnTo>
                <a:lnTo>
                  <a:pt x="3297" y="1899"/>
                </a:lnTo>
                <a:lnTo>
                  <a:pt x="3294" y="1900"/>
                </a:lnTo>
                <a:lnTo>
                  <a:pt x="3291" y="1900"/>
                </a:lnTo>
                <a:lnTo>
                  <a:pt x="3288" y="1900"/>
                </a:lnTo>
                <a:lnTo>
                  <a:pt x="3285" y="1899"/>
                </a:lnTo>
                <a:lnTo>
                  <a:pt x="3283" y="1897"/>
                </a:lnTo>
                <a:lnTo>
                  <a:pt x="3280" y="1895"/>
                </a:lnTo>
                <a:lnTo>
                  <a:pt x="3279" y="1893"/>
                </a:lnTo>
                <a:lnTo>
                  <a:pt x="3277" y="1890"/>
                </a:lnTo>
                <a:lnTo>
                  <a:pt x="3276" y="1887"/>
                </a:lnTo>
                <a:lnTo>
                  <a:pt x="3276" y="1883"/>
                </a:lnTo>
                <a:lnTo>
                  <a:pt x="3278" y="1878"/>
                </a:lnTo>
                <a:lnTo>
                  <a:pt x="3280" y="1875"/>
                </a:lnTo>
                <a:lnTo>
                  <a:pt x="3284" y="1872"/>
                </a:lnTo>
                <a:close/>
                <a:moveTo>
                  <a:pt x="3144" y="1905"/>
                </a:moveTo>
                <a:lnTo>
                  <a:pt x="3147" y="1903"/>
                </a:lnTo>
                <a:lnTo>
                  <a:pt x="3150" y="1903"/>
                </a:lnTo>
                <a:lnTo>
                  <a:pt x="3153" y="1903"/>
                </a:lnTo>
                <a:lnTo>
                  <a:pt x="3156" y="1903"/>
                </a:lnTo>
                <a:lnTo>
                  <a:pt x="3159" y="1904"/>
                </a:lnTo>
                <a:lnTo>
                  <a:pt x="3161" y="1906"/>
                </a:lnTo>
                <a:lnTo>
                  <a:pt x="3163" y="1908"/>
                </a:lnTo>
                <a:lnTo>
                  <a:pt x="3165" y="1910"/>
                </a:lnTo>
                <a:lnTo>
                  <a:pt x="3166" y="1913"/>
                </a:lnTo>
                <a:lnTo>
                  <a:pt x="3167" y="1918"/>
                </a:lnTo>
                <a:lnTo>
                  <a:pt x="3166" y="1921"/>
                </a:lnTo>
                <a:lnTo>
                  <a:pt x="3166" y="1923"/>
                </a:lnTo>
                <a:lnTo>
                  <a:pt x="3165" y="1926"/>
                </a:lnTo>
                <a:lnTo>
                  <a:pt x="3163" y="1928"/>
                </a:lnTo>
                <a:lnTo>
                  <a:pt x="3161" y="1929"/>
                </a:lnTo>
                <a:lnTo>
                  <a:pt x="3159" y="1931"/>
                </a:lnTo>
                <a:lnTo>
                  <a:pt x="3156" y="1932"/>
                </a:lnTo>
                <a:lnTo>
                  <a:pt x="3153" y="1933"/>
                </a:lnTo>
                <a:lnTo>
                  <a:pt x="3150" y="1933"/>
                </a:lnTo>
                <a:lnTo>
                  <a:pt x="3147" y="1932"/>
                </a:lnTo>
                <a:lnTo>
                  <a:pt x="3144" y="1931"/>
                </a:lnTo>
                <a:lnTo>
                  <a:pt x="3142" y="1930"/>
                </a:lnTo>
                <a:lnTo>
                  <a:pt x="3140" y="1928"/>
                </a:lnTo>
                <a:lnTo>
                  <a:pt x="3138" y="1925"/>
                </a:lnTo>
                <a:lnTo>
                  <a:pt x="3137" y="1922"/>
                </a:lnTo>
                <a:lnTo>
                  <a:pt x="3136" y="1917"/>
                </a:lnTo>
                <a:lnTo>
                  <a:pt x="3137" y="1914"/>
                </a:lnTo>
                <a:lnTo>
                  <a:pt x="3137" y="1912"/>
                </a:lnTo>
                <a:lnTo>
                  <a:pt x="3139" y="1910"/>
                </a:lnTo>
                <a:lnTo>
                  <a:pt x="3140" y="1908"/>
                </a:lnTo>
                <a:lnTo>
                  <a:pt x="3142" y="1906"/>
                </a:lnTo>
                <a:lnTo>
                  <a:pt x="3144" y="1905"/>
                </a:lnTo>
                <a:close/>
                <a:moveTo>
                  <a:pt x="2892" y="2038"/>
                </a:moveTo>
                <a:lnTo>
                  <a:pt x="2895" y="2037"/>
                </a:lnTo>
                <a:lnTo>
                  <a:pt x="2897" y="2036"/>
                </a:lnTo>
                <a:lnTo>
                  <a:pt x="2902" y="2036"/>
                </a:lnTo>
                <a:lnTo>
                  <a:pt x="2907" y="2037"/>
                </a:lnTo>
                <a:lnTo>
                  <a:pt x="2909" y="2038"/>
                </a:lnTo>
                <a:lnTo>
                  <a:pt x="2911" y="2040"/>
                </a:lnTo>
                <a:lnTo>
                  <a:pt x="2913" y="2042"/>
                </a:lnTo>
                <a:lnTo>
                  <a:pt x="2914" y="2045"/>
                </a:lnTo>
                <a:lnTo>
                  <a:pt x="2915" y="2048"/>
                </a:lnTo>
                <a:lnTo>
                  <a:pt x="2915" y="2051"/>
                </a:lnTo>
                <a:lnTo>
                  <a:pt x="2915" y="2054"/>
                </a:lnTo>
                <a:lnTo>
                  <a:pt x="2914" y="2057"/>
                </a:lnTo>
                <a:lnTo>
                  <a:pt x="2913" y="2059"/>
                </a:lnTo>
                <a:lnTo>
                  <a:pt x="2911" y="2062"/>
                </a:lnTo>
                <a:lnTo>
                  <a:pt x="2908" y="2064"/>
                </a:lnTo>
                <a:lnTo>
                  <a:pt x="2905" y="2065"/>
                </a:lnTo>
                <a:lnTo>
                  <a:pt x="2903" y="2066"/>
                </a:lnTo>
                <a:lnTo>
                  <a:pt x="2898" y="2066"/>
                </a:lnTo>
                <a:lnTo>
                  <a:pt x="2896" y="2065"/>
                </a:lnTo>
                <a:lnTo>
                  <a:pt x="2893" y="2064"/>
                </a:lnTo>
                <a:lnTo>
                  <a:pt x="2891" y="2063"/>
                </a:lnTo>
                <a:lnTo>
                  <a:pt x="2889" y="2062"/>
                </a:lnTo>
                <a:lnTo>
                  <a:pt x="2887" y="2059"/>
                </a:lnTo>
                <a:lnTo>
                  <a:pt x="2886" y="2056"/>
                </a:lnTo>
                <a:lnTo>
                  <a:pt x="2885" y="2054"/>
                </a:lnTo>
                <a:lnTo>
                  <a:pt x="2885" y="2051"/>
                </a:lnTo>
                <a:lnTo>
                  <a:pt x="2885" y="2048"/>
                </a:lnTo>
                <a:lnTo>
                  <a:pt x="2886" y="2045"/>
                </a:lnTo>
                <a:lnTo>
                  <a:pt x="2887" y="2042"/>
                </a:lnTo>
                <a:lnTo>
                  <a:pt x="2889" y="2040"/>
                </a:lnTo>
                <a:lnTo>
                  <a:pt x="2892" y="2038"/>
                </a:lnTo>
                <a:close/>
                <a:moveTo>
                  <a:pt x="3010" y="1957"/>
                </a:moveTo>
                <a:lnTo>
                  <a:pt x="3013" y="1956"/>
                </a:lnTo>
                <a:lnTo>
                  <a:pt x="3016" y="1955"/>
                </a:lnTo>
                <a:lnTo>
                  <a:pt x="3020" y="1955"/>
                </a:lnTo>
                <a:lnTo>
                  <a:pt x="3023" y="1956"/>
                </a:lnTo>
                <a:lnTo>
                  <a:pt x="3025" y="1957"/>
                </a:lnTo>
                <a:lnTo>
                  <a:pt x="3028" y="1958"/>
                </a:lnTo>
                <a:lnTo>
                  <a:pt x="3029" y="1960"/>
                </a:lnTo>
                <a:lnTo>
                  <a:pt x="3030" y="1961"/>
                </a:lnTo>
                <a:lnTo>
                  <a:pt x="3031" y="1963"/>
                </a:lnTo>
                <a:lnTo>
                  <a:pt x="3032" y="1966"/>
                </a:lnTo>
                <a:lnTo>
                  <a:pt x="3033" y="1969"/>
                </a:lnTo>
                <a:lnTo>
                  <a:pt x="3033" y="1972"/>
                </a:lnTo>
                <a:lnTo>
                  <a:pt x="3032" y="1974"/>
                </a:lnTo>
                <a:lnTo>
                  <a:pt x="3031" y="1977"/>
                </a:lnTo>
                <a:lnTo>
                  <a:pt x="3030" y="1979"/>
                </a:lnTo>
                <a:lnTo>
                  <a:pt x="3028" y="1981"/>
                </a:lnTo>
                <a:lnTo>
                  <a:pt x="3025" y="1983"/>
                </a:lnTo>
                <a:lnTo>
                  <a:pt x="3022" y="1984"/>
                </a:lnTo>
                <a:lnTo>
                  <a:pt x="3019" y="1985"/>
                </a:lnTo>
                <a:lnTo>
                  <a:pt x="3016" y="1985"/>
                </a:lnTo>
                <a:lnTo>
                  <a:pt x="3013" y="1984"/>
                </a:lnTo>
                <a:lnTo>
                  <a:pt x="3010" y="1983"/>
                </a:lnTo>
                <a:lnTo>
                  <a:pt x="3008" y="1981"/>
                </a:lnTo>
                <a:lnTo>
                  <a:pt x="3006" y="1979"/>
                </a:lnTo>
                <a:lnTo>
                  <a:pt x="3004" y="1977"/>
                </a:lnTo>
                <a:lnTo>
                  <a:pt x="3003" y="1974"/>
                </a:lnTo>
                <a:lnTo>
                  <a:pt x="3002" y="1971"/>
                </a:lnTo>
                <a:lnTo>
                  <a:pt x="3003" y="1968"/>
                </a:lnTo>
                <a:lnTo>
                  <a:pt x="3003" y="1965"/>
                </a:lnTo>
                <a:lnTo>
                  <a:pt x="3004" y="1963"/>
                </a:lnTo>
                <a:lnTo>
                  <a:pt x="3006" y="1961"/>
                </a:lnTo>
                <a:lnTo>
                  <a:pt x="3008" y="1958"/>
                </a:lnTo>
                <a:lnTo>
                  <a:pt x="3010" y="1957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reeform 6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8557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Pattern 2" preserve="1" userDrawn="1">
  <p:cSld name="slide_70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2AE4CD2-FF2B-481A-BD1B-6461D82DC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4" y="836613"/>
            <a:ext cx="5329236" cy="3168650"/>
          </a:xfrm>
        </p:spPr>
        <p:txBody>
          <a:bodyPr anchor="t" anchorCtr="0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E51D44E-6286-4907-8B09-0DDC2EDE3A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2" y="4205353"/>
            <a:ext cx="5329238" cy="64804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sp>
        <p:nvSpPr>
          <p:cNvPr id="16" name="Freeform 7"/>
          <p:cNvSpPr>
            <a:spLocks noChangeAspect="1" noEditPoints="1"/>
          </p:cNvSpPr>
          <p:nvPr userDrawn="1"/>
        </p:nvSpPr>
        <p:spPr bwMode="auto">
          <a:xfrm>
            <a:off x="761996" y="5589240"/>
            <a:ext cx="1831656" cy="432048"/>
          </a:xfrm>
          <a:custGeom>
            <a:avLst/>
            <a:gdLst>
              <a:gd name="T0" fmla="*/ 11392 w 14503"/>
              <a:gd name="T1" fmla="*/ 2705 h 3419"/>
              <a:gd name="T2" fmla="*/ 10843 w 14503"/>
              <a:gd name="T3" fmla="*/ 2592 h 3419"/>
              <a:gd name="T4" fmla="*/ 9707 w 14503"/>
              <a:gd name="T5" fmla="*/ 2691 h 3419"/>
              <a:gd name="T6" fmla="*/ 9202 w 14503"/>
              <a:gd name="T7" fmla="*/ 2718 h 3419"/>
              <a:gd name="T8" fmla="*/ 9399 w 14503"/>
              <a:gd name="T9" fmla="*/ 2534 h 3419"/>
              <a:gd name="T10" fmla="*/ 9385 w 14503"/>
              <a:gd name="T11" fmla="*/ 2134 h 3419"/>
              <a:gd name="T12" fmla="*/ 9247 w 14503"/>
              <a:gd name="T13" fmla="*/ 2352 h 3419"/>
              <a:gd name="T14" fmla="*/ 8533 w 14503"/>
              <a:gd name="T15" fmla="*/ 2712 h 3419"/>
              <a:gd name="T16" fmla="*/ 8908 w 14503"/>
              <a:gd name="T17" fmla="*/ 2713 h 3419"/>
              <a:gd name="T18" fmla="*/ 7197 w 14503"/>
              <a:gd name="T19" fmla="*/ 2618 h 3419"/>
              <a:gd name="T20" fmla="*/ 7359 w 14503"/>
              <a:gd name="T21" fmla="*/ 2469 h 3419"/>
              <a:gd name="T22" fmla="*/ 7656 w 14503"/>
              <a:gd name="T23" fmla="*/ 2305 h 3419"/>
              <a:gd name="T24" fmla="*/ 7633 w 14503"/>
              <a:gd name="T25" fmla="*/ 2433 h 3419"/>
              <a:gd name="T26" fmla="*/ 6915 w 14503"/>
              <a:gd name="T27" fmla="*/ 2263 h 3419"/>
              <a:gd name="T28" fmla="*/ 6831 w 14503"/>
              <a:gd name="T29" fmla="*/ 2727 h 3419"/>
              <a:gd name="T30" fmla="*/ 6860 w 14503"/>
              <a:gd name="T31" fmla="*/ 2119 h 3419"/>
              <a:gd name="T32" fmla="*/ 14342 w 14503"/>
              <a:gd name="T33" fmla="*/ 1111 h 3419"/>
              <a:gd name="T34" fmla="*/ 14370 w 14503"/>
              <a:gd name="T35" fmla="*/ 961 h 3419"/>
              <a:gd name="T36" fmla="*/ 13472 w 14503"/>
              <a:gd name="T37" fmla="*/ 1376 h 3419"/>
              <a:gd name="T38" fmla="*/ 13655 w 14503"/>
              <a:gd name="T39" fmla="*/ 1536 h 3419"/>
              <a:gd name="T40" fmla="*/ 13703 w 14503"/>
              <a:gd name="T41" fmla="*/ 1130 h 3419"/>
              <a:gd name="T42" fmla="*/ 13709 w 14503"/>
              <a:gd name="T43" fmla="*/ 966 h 3419"/>
              <a:gd name="T44" fmla="*/ 12952 w 14503"/>
              <a:gd name="T45" fmla="*/ 1081 h 3419"/>
              <a:gd name="T46" fmla="*/ 12525 w 14503"/>
              <a:gd name="T47" fmla="*/ 1043 h 3419"/>
              <a:gd name="T48" fmla="*/ 13193 w 14503"/>
              <a:gd name="T49" fmla="*/ 1038 h 3419"/>
              <a:gd name="T50" fmla="*/ 11928 w 14503"/>
              <a:gd name="T51" fmla="*/ 1448 h 3419"/>
              <a:gd name="T52" fmla="*/ 11865 w 14503"/>
              <a:gd name="T53" fmla="*/ 1553 h 3419"/>
              <a:gd name="T54" fmla="*/ 12022 w 14503"/>
              <a:gd name="T55" fmla="*/ 1060 h 3419"/>
              <a:gd name="T56" fmla="*/ 12198 w 14503"/>
              <a:gd name="T57" fmla="*/ 1040 h 3419"/>
              <a:gd name="T58" fmla="*/ 11580 w 14503"/>
              <a:gd name="T59" fmla="*/ 1397 h 3419"/>
              <a:gd name="T60" fmla="*/ 10924 w 14503"/>
              <a:gd name="T61" fmla="*/ 1300 h 3419"/>
              <a:gd name="T62" fmla="*/ 10999 w 14503"/>
              <a:gd name="T63" fmla="*/ 1557 h 3419"/>
              <a:gd name="T64" fmla="*/ 11144 w 14503"/>
              <a:gd name="T65" fmla="*/ 967 h 3419"/>
              <a:gd name="T66" fmla="*/ 10313 w 14503"/>
              <a:gd name="T67" fmla="*/ 1372 h 3419"/>
              <a:gd name="T68" fmla="*/ 10421 w 14503"/>
              <a:gd name="T69" fmla="*/ 1561 h 3419"/>
              <a:gd name="T70" fmla="*/ 10514 w 14503"/>
              <a:gd name="T71" fmla="*/ 967 h 3419"/>
              <a:gd name="T72" fmla="*/ 9776 w 14503"/>
              <a:gd name="T73" fmla="*/ 1082 h 3419"/>
              <a:gd name="T74" fmla="*/ 9989 w 14503"/>
              <a:gd name="T75" fmla="*/ 1025 h 3419"/>
              <a:gd name="T76" fmla="*/ 8701 w 14503"/>
              <a:gd name="T77" fmla="*/ 1199 h 3419"/>
              <a:gd name="T78" fmla="*/ 9009 w 14503"/>
              <a:gd name="T79" fmla="*/ 1500 h 3419"/>
              <a:gd name="T80" fmla="*/ 8681 w 14503"/>
              <a:gd name="T81" fmla="*/ 995 h 3419"/>
              <a:gd name="T82" fmla="*/ 7671 w 14503"/>
              <a:gd name="T83" fmla="*/ 1547 h 3419"/>
              <a:gd name="T84" fmla="*/ 7517 w 14503"/>
              <a:gd name="T85" fmla="*/ 974 h 3419"/>
              <a:gd name="T86" fmla="*/ 6773 w 14503"/>
              <a:gd name="T87" fmla="*/ 1549 h 3419"/>
              <a:gd name="T88" fmla="*/ 6490 w 14503"/>
              <a:gd name="T89" fmla="*/ 1200 h 3419"/>
              <a:gd name="T90" fmla="*/ 11483 w 14503"/>
              <a:gd name="T91" fmla="*/ 2275 h 3419"/>
              <a:gd name="T92" fmla="*/ 11930 w 14503"/>
              <a:gd name="T93" fmla="*/ 2637 h 3419"/>
              <a:gd name="T94" fmla="*/ 11807 w 14503"/>
              <a:gd name="T95" fmla="*/ 2576 h 3419"/>
              <a:gd name="T96" fmla="*/ 3702 w 14503"/>
              <a:gd name="T97" fmla="*/ 2179 h 3419"/>
              <a:gd name="T98" fmla="*/ 5043 w 14503"/>
              <a:gd name="T99" fmla="*/ 96 h 3419"/>
              <a:gd name="T100" fmla="*/ 4150 w 14503"/>
              <a:gd name="T101" fmla="*/ 1837 h 3419"/>
              <a:gd name="T102" fmla="*/ 1316 w 14503"/>
              <a:gd name="T103" fmla="*/ 3417 h 3419"/>
              <a:gd name="T104" fmla="*/ 16 w 14503"/>
              <a:gd name="T105" fmla="*/ 2039 h 3419"/>
              <a:gd name="T106" fmla="*/ 1177 w 14503"/>
              <a:gd name="T107" fmla="*/ 38 h 3419"/>
              <a:gd name="T108" fmla="*/ 2300 w 14503"/>
              <a:gd name="T109" fmla="*/ 878 h 3419"/>
              <a:gd name="T110" fmla="*/ 988 w 14503"/>
              <a:gd name="T111" fmla="*/ 2066 h 3419"/>
              <a:gd name="T112" fmla="*/ 1544 w 14503"/>
              <a:gd name="T113" fmla="*/ 1314 h 3419"/>
              <a:gd name="T114" fmla="*/ 1318 w 14503"/>
              <a:gd name="T115" fmla="*/ 478 h 3419"/>
              <a:gd name="T116" fmla="*/ 552 w 14503"/>
              <a:gd name="T117" fmla="*/ 2103 h 3419"/>
              <a:gd name="T118" fmla="*/ 1821 w 14503"/>
              <a:gd name="T119" fmla="*/ 2775 h 3419"/>
              <a:gd name="T120" fmla="*/ 2969 w 14503"/>
              <a:gd name="T121" fmla="*/ 185 h 3419"/>
              <a:gd name="T122" fmla="*/ 3355 w 14503"/>
              <a:gd name="T123" fmla="*/ 1462 h 3419"/>
              <a:gd name="T124" fmla="*/ 1720 w 14503"/>
              <a:gd name="T125" fmla="*/ 3383 h 34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503" h="3419">
                <a:moveTo>
                  <a:pt x="11272" y="2721"/>
                </a:moveTo>
                <a:lnTo>
                  <a:pt x="11231" y="2717"/>
                </a:lnTo>
                <a:lnTo>
                  <a:pt x="11196" y="2709"/>
                </a:lnTo>
                <a:lnTo>
                  <a:pt x="11180" y="2702"/>
                </a:lnTo>
                <a:lnTo>
                  <a:pt x="11166" y="2693"/>
                </a:lnTo>
                <a:lnTo>
                  <a:pt x="11153" y="2684"/>
                </a:lnTo>
                <a:lnTo>
                  <a:pt x="11141" y="2674"/>
                </a:lnTo>
                <a:lnTo>
                  <a:pt x="11131" y="2661"/>
                </a:lnTo>
                <a:lnTo>
                  <a:pt x="11122" y="2648"/>
                </a:lnTo>
                <a:lnTo>
                  <a:pt x="11108" y="2617"/>
                </a:lnTo>
                <a:lnTo>
                  <a:pt x="11100" y="2581"/>
                </a:lnTo>
                <a:lnTo>
                  <a:pt x="11098" y="2563"/>
                </a:lnTo>
                <a:lnTo>
                  <a:pt x="11097" y="2542"/>
                </a:lnTo>
                <a:lnTo>
                  <a:pt x="11097" y="2247"/>
                </a:lnTo>
                <a:lnTo>
                  <a:pt x="10992" y="2247"/>
                </a:lnTo>
                <a:lnTo>
                  <a:pt x="10992" y="2132"/>
                </a:lnTo>
                <a:lnTo>
                  <a:pt x="11097" y="2132"/>
                </a:lnTo>
                <a:lnTo>
                  <a:pt x="11097" y="1985"/>
                </a:lnTo>
                <a:lnTo>
                  <a:pt x="11236" y="1950"/>
                </a:lnTo>
                <a:lnTo>
                  <a:pt x="11236" y="2132"/>
                </a:lnTo>
                <a:lnTo>
                  <a:pt x="11383" y="2132"/>
                </a:lnTo>
                <a:lnTo>
                  <a:pt x="11383" y="2247"/>
                </a:lnTo>
                <a:lnTo>
                  <a:pt x="11236" y="2247"/>
                </a:lnTo>
                <a:lnTo>
                  <a:pt x="11236" y="2530"/>
                </a:lnTo>
                <a:lnTo>
                  <a:pt x="11237" y="2546"/>
                </a:lnTo>
                <a:lnTo>
                  <a:pt x="11241" y="2559"/>
                </a:lnTo>
                <a:lnTo>
                  <a:pt x="11245" y="2569"/>
                </a:lnTo>
                <a:lnTo>
                  <a:pt x="11253" y="2578"/>
                </a:lnTo>
                <a:lnTo>
                  <a:pt x="11261" y="2585"/>
                </a:lnTo>
                <a:lnTo>
                  <a:pt x="11272" y="2590"/>
                </a:lnTo>
                <a:lnTo>
                  <a:pt x="11286" y="2592"/>
                </a:lnTo>
                <a:lnTo>
                  <a:pt x="11302" y="2593"/>
                </a:lnTo>
                <a:lnTo>
                  <a:pt x="11343" y="2592"/>
                </a:lnTo>
                <a:lnTo>
                  <a:pt x="11392" y="2588"/>
                </a:lnTo>
                <a:lnTo>
                  <a:pt x="11392" y="2705"/>
                </a:lnTo>
                <a:lnTo>
                  <a:pt x="11362" y="2712"/>
                </a:lnTo>
                <a:lnTo>
                  <a:pt x="11333" y="2716"/>
                </a:lnTo>
                <a:lnTo>
                  <a:pt x="11303" y="2720"/>
                </a:lnTo>
                <a:lnTo>
                  <a:pt x="11272" y="2721"/>
                </a:lnTo>
                <a:close/>
                <a:moveTo>
                  <a:pt x="10830" y="2721"/>
                </a:moveTo>
                <a:lnTo>
                  <a:pt x="10789" y="2717"/>
                </a:lnTo>
                <a:lnTo>
                  <a:pt x="10753" y="2709"/>
                </a:lnTo>
                <a:lnTo>
                  <a:pt x="10738" y="2702"/>
                </a:lnTo>
                <a:lnTo>
                  <a:pt x="10722" y="2693"/>
                </a:lnTo>
                <a:lnTo>
                  <a:pt x="10710" y="2684"/>
                </a:lnTo>
                <a:lnTo>
                  <a:pt x="10698" y="2674"/>
                </a:lnTo>
                <a:lnTo>
                  <a:pt x="10688" y="2661"/>
                </a:lnTo>
                <a:lnTo>
                  <a:pt x="10679" y="2648"/>
                </a:lnTo>
                <a:lnTo>
                  <a:pt x="10666" y="2617"/>
                </a:lnTo>
                <a:lnTo>
                  <a:pt x="10657" y="2581"/>
                </a:lnTo>
                <a:lnTo>
                  <a:pt x="10655" y="2563"/>
                </a:lnTo>
                <a:lnTo>
                  <a:pt x="10655" y="2542"/>
                </a:lnTo>
                <a:lnTo>
                  <a:pt x="10655" y="2247"/>
                </a:lnTo>
                <a:lnTo>
                  <a:pt x="10549" y="2247"/>
                </a:lnTo>
                <a:lnTo>
                  <a:pt x="10549" y="2132"/>
                </a:lnTo>
                <a:lnTo>
                  <a:pt x="10655" y="2132"/>
                </a:lnTo>
                <a:lnTo>
                  <a:pt x="10655" y="1985"/>
                </a:lnTo>
                <a:lnTo>
                  <a:pt x="10794" y="1950"/>
                </a:lnTo>
                <a:lnTo>
                  <a:pt x="10794" y="2132"/>
                </a:lnTo>
                <a:lnTo>
                  <a:pt x="10940" y="2132"/>
                </a:lnTo>
                <a:lnTo>
                  <a:pt x="10940" y="2247"/>
                </a:lnTo>
                <a:lnTo>
                  <a:pt x="10794" y="2247"/>
                </a:lnTo>
                <a:lnTo>
                  <a:pt x="10794" y="2530"/>
                </a:lnTo>
                <a:lnTo>
                  <a:pt x="10795" y="2546"/>
                </a:lnTo>
                <a:lnTo>
                  <a:pt x="10798" y="2559"/>
                </a:lnTo>
                <a:lnTo>
                  <a:pt x="10803" y="2569"/>
                </a:lnTo>
                <a:lnTo>
                  <a:pt x="10809" y="2578"/>
                </a:lnTo>
                <a:lnTo>
                  <a:pt x="10819" y="2585"/>
                </a:lnTo>
                <a:lnTo>
                  <a:pt x="10830" y="2590"/>
                </a:lnTo>
                <a:lnTo>
                  <a:pt x="10843" y="2592"/>
                </a:lnTo>
                <a:lnTo>
                  <a:pt x="10859" y="2593"/>
                </a:lnTo>
                <a:lnTo>
                  <a:pt x="10901" y="2592"/>
                </a:lnTo>
                <a:lnTo>
                  <a:pt x="10949" y="2588"/>
                </a:lnTo>
                <a:lnTo>
                  <a:pt x="10949" y="2705"/>
                </a:lnTo>
                <a:lnTo>
                  <a:pt x="10920" y="2712"/>
                </a:lnTo>
                <a:lnTo>
                  <a:pt x="10891" y="2716"/>
                </a:lnTo>
                <a:lnTo>
                  <a:pt x="10860" y="2720"/>
                </a:lnTo>
                <a:lnTo>
                  <a:pt x="10830" y="2721"/>
                </a:lnTo>
                <a:close/>
                <a:moveTo>
                  <a:pt x="10307" y="2713"/>
                </a:moveTo>
                <a:lnTo>
                  <a:pt x="10307" y="2132"/>
                </a:lnTo>
                <a:lnTo>
                  <a:pt x="10450" y="2132"/>
                </a:lnTo>
                <a:lnTo>
                  <a:pt x="10450" y="2713"/>
                </a:lnTo>
                <a:lnTo>
                  <a:pt x="10307" y="2713"/>
                </a:lnTo>
                <a:close/>
                <a:moveTo>
                  <a:pt x="10303" y="2052"/>
                </a:moveTo>
                <a:lnTo>
                  <a:pt x="10303" y="1908"/>
                </a:lnTo>
                <a:lnTo>
                  <a:pt x="10453" y="1908"/>
                </a:lnTo>
                <a:lnTo>
                  <a:pt x="10453" y="2052"/>
                </a:lnTo>
                <a:lnTo>
                  <a:pt x="10303" y="2052"/>
                </a:lnTo>
                <a:close/>
                <a:moveTo>
                  <a:pt x="9992" y="2713"/>
                </a:moveTo>
                <a:lnTo>
                  <a:pt x="9992" y="2132"/>
                </a:lnTo>
                <a:lnTo>
                  <a:pt x="10133" y="2132"/>
                </a:lnTo>
                <a:lnTo>
                  <a:pt x="10133" y="2713"/>
                </a:lnTo>
                <a:lnTo>
                  <a:pt x="9992" y="2713"/>
                </a:lnTo>
                <a:close/>
                <a:moveTo>
                  <a:pt x="9988" y="2052"/>
                </a:moveTo>
                <a:lnTo>
                  <a:pt x="9988" y="1908"/>
                </a:lnTo>
                <a:lnTo>
                  <a:pt x="10137" y="1908"/>
                </a:lnTo>
                <a:lnTo>
                  <a:pt x="10137" y="2052"/>
                </a:lnTo>
                <a:lnTo>
                  <a:pt x="9988" y="2052"/>
                </a:lnTo>
                <a:close/>
                <a:moveTo>
                  <a:pt x="9812" y="2720"/>
                </a:moveTo>
                <a:lnTo>
                  <a:pt x="9777" y="2717"/>
                </a:lnTo>
                <a:lnTo>
                  <a:pt x="9762" y="2715"/>
                </a:lnTo>
                <a:lnTo>
                  <a:pt x="9747" y="2711"/>
                </a:lnTo>
                <a:lnTo>
                  <a:pt x="9732" y="2705"/>
                </a:lnTo>
                <a:lnTo>
                  <a:pt x="9719" y="2699"/>
                </a:lnTo>
                <a:lnTo>
                  <a:pt x="9707" y="2691"/>
                </a:lnTo>
                <a:lnTo>
                  <a:pt x="9697" y="2683"/>
                </a:lnTo>
                <a:lnTo>
                  <a:pt x="9687" y="2673"/>
                </a:lnTo>
                <a:lnTo>
                  <a:pt x="9678" y="2662"/>
                </a:lnTo>
                <a:lnTo>
                  <a:pt x="9671" y="2649"/>
                </a:lnTo>
                <a:lnTo>
                  <a:pt x="9665" y="2635"/>
                </a:lnTo>
                <a:lnTo>
                  <a:pt x="9656" y="2602"/>
                </a:lnTo>
                <a:lnTo>
                  <a:pt x="9654" y="2584"/>
                </a:lnTo>
                <a:lnTo>
                  <a:pt x="9653" y="2563"/>
                </a:lnTo>
                <a:lnTo>
                  <a:pt x="9653" y="1906"/>
                </a:lnTo>
                <a:lnTo>
                  <a:pt x="9793" y="1906"/>
                </a:lnTo>
                <a:lnTo>
                  <a:pt x="9793" y="2540"/>
                </a:lnTo>
                <a:lnTo>
                  <a:pt x="9794" y="2552"/>
                </a:lnTo>
                <a:lnTo>
                  <a:pt x="9796" y="2563"/>
                </a:lnTo>
                <a:lnTo>
                  <a:pt x="9799" y="2573"/>
                </a:lnTo>
                <a:lnTo>
                  <a:pt x="9803" y="2580"/>
                </a:lnTo>
                <a:lnTo>
                  <a:pt x="9811" y="2587"/>
                </a:lnTo>
                <a:lnTo>
                  <a:pt x="9820" y="2591"/>
                </a:lnTo>
                <a:lnTo>
                  <a:pt x="9834" y="2594"/>
                </a:lnTo>
                <a:lnTo>
                  <a:pt x="9850" y="2596"/>
                </a:lnTo>
                <a:lnTo>
                  <a:pt x="9873" y="2594"/>
                </a:lnTo>
                <a:lnTo>
                  <a:pt x="9873" y="2712"/>
                </a:lnTo>
                <a:lnTo>
                  <a:pt x="9842" y="2717"/>
                </a:lnTo>
                <a:lnTo>
                  <a:pt x="9812" y="2720"/>
                </a:lnTo>
                <a:close/>
                <a:moveTo>
                  <a:pt x="9479" y="2661"/>
                </a:moveTo>
                <a:lnTo>
                  <a:pt x="9461" y="2677"/>
                </a:lnTo>
                <a:lnTo>
                  <a:pt x="9439" y="2691"/>
                </a:lnTo>
                <a:lnTo>
                  <a:pt x="9416" y="2702"/>
                </a:lnTo>
                <a:lnTo>
                  <a:pt x="9392" y="2712"/>
                </a:lnTo>
                <a:lnTo>
                  <a:pt x="9366" y="2718"/>
                </a:lnTo>
                <a:lnTo>
                  <a:pt x="9338" y="2724"/>
                </a:lnTo>
                <a:lnTo>
                  <a:pt x="9310" y="2726"/>
                </a:lnTo>
                <a:lnTo>
                  <a:pt x="9280" y="2727"/>
                </a:lnTo>
                <a:lnTo>
                  <a:pt x="9253" y="2726"/>
                </a:lnTo>
                <a:lnTo>
                  <a:pt x="9227" y="2724"/>
                </a:lnTo>
                <a:lnTo>
                  <a:pt x="9202" y="2718"/>
                </a:lnTo>
                <a:lnTo>
                  <a:pt x="9177" y="2711"/>
                </a:lnTo>
                <a:lnTo>
                  <a:pt x="9154" y="2702"/>
                </a:lnTo>
                <a:lnTo>
                  <a:pt x="9133" y="2690"/>
                </a:lnTo>
                <a:lnTo>
                  <a:pt x="9112" y="2676"/>
                </a:lnTo>
                <a:lnTo>
                  <a:pt x="9102" y="2668"/>
                </a:lnTo>
                <a:lnTo>
                  <a:pt x="9094" y="2661"/>
                </a:lnTo>
                <a:lnTo>
                  <a:pt x="9082" y="2648"/>
                </a:lnTo>
                <a:lnTo>
                  <a:pt x="9070" y="2634"/>
                </a:lnTo>
                <a:lnTo>
                  <a:pt x="9059" y="2618"/>
                </a:lnTo>
                <a:lnTo>
                  <a:pt x="9050" y="2601"/>
                </a:lnTo>
                <a:lnTo>
                  <a:pt x="9037" y="2565"/>
                </a:lnTo>
                <a:lnTo>
                  <a:pt x="9033" y="2546"/>
                </a:lnTo>
                <a:lnTo>
                  <a:pt x="9032" y="2526"/>
                </a:lnTo>
                <a:lnTo>
                  <a:pt x="9162" y="2526"/>
                </a:lnTo>
                <a:lnTo>
                  <a:pt x="9165" y="2544"/>
                </a:lnTo>
                <a:lnTo>
                  <a:pt x="9167" y="2554"/>
                </a:lnTo>
                <a:lnTo>
                  <a:pt x="9172" y="2564"/>
                </a:lnTo>
                <a:lnTo>
                  <a:pt x="9182" y="2580"/>
                </a:lnTo>
                <a:lnTo>
                  <a:pt x="9187" y="2588"/>
                </a:lnTo>
                <a:lnTo>
                  <a:pt x="9194" y="2593"/>
                </a:lnTo>
                <a:lnTo>
                  <a:pt x="9211" y="2605"/>
                </a:lnTo>
                <a:lnTo>
                  <a:pt x="9232" y="2613"/>
                </a:lnTo>
                <a:lnTo>
                  <a:pt x="9254" y="2617"/>
                </a:lnTo>
                <a:lnTo>
                  <a:pt x="9282" y="2619"/>
                </a:lnTo>
                <a:lnTo>
                  <a:pt x="9320" y="2616"/>
                </a:lnTo>
                <a:lnTo>
                  <a:pt x="9340" y="2613"/>
                </a:lnTo>
                <a:lnTo>
                  <a:pt x="9359" y="2606"/>
                </a:lnTo>
                <a:lnTo>
                  <a:pt x="9367" y="2602"/>
                </a:lnTo>
                <a:lnTo>
                  <a:pt x="9375" y="2597"/>
                </a:lnTo>
                <a:lnTo>
                  <a:pt x="9382" y="2591"/>
                </a:lnTo>
                <a:lnTo>
                  <a:pt x="9388" y="2584"/>
                </a:lnTo>
                <a:lnTo>
                  <a:pt x="9397" y="2567"/>
                </a:lnTo>
                <a:lnTo>
                  <a:pt x="9399" y="2556"/>
                </a:lnTo>
                <a:lnTo>
                  <a:pt x="9400" y="2546"/>
                </a:lnTo>
                <a:lnTo>
                  <a:pt x="9399" y="2534"/>
                </a:lnTo>
                <a:lnTo>
                  <a:pt x="9396" y="2523"/>
                </a:lnTo>
                <a:lnTo>
                  <a:pt x="9391" y="2513"/>
                </a:lnTo>
                <a:lnTo>
                  <a:pt x="9385" y="2504"/>
                </a:lnTo>
                <a:lnTo>
                  <a:pt x="9376" y="2498"/>
                </a:lnTo>
                <a:lnTo>
                  <a:pt x="9366" y="2491"/>
                </a:lnTo>
                <a:lnTo>
                  <a:pt x="9342" y="2485"/>
                </a:lnTo>
                <a:lnTo>
                  <a:pt x="9302" y="2479"/>
                </a:lnTo>
                <a:lnTo>
                  <a:pt x="9262" y="2474"/>
                </a:lnTo>
                <a:lnTo>
                  <a:pt x="9221" y="2469"/>
                </a:lnTo>
                <a:lnTo>
                  <a:pt x="9182" y="2462"/>
                </a:lnTo>
                <a:lnTo>
                  <a:pt x="9153" y="2453"/>
                </a:lnTo>
                <a:lnTo>
                  <a:pt x="9127" y="2441"/>
                </a:lnTo>
                <a:lnTo>
                  <a:pt x="9104" y="2425"/>
                </a:lnTo>
                <a:lnTo>
                  <a:pt x="9085" y="2405"/>
                </a:lnTo>
                <a:lnTo>
                  <a:pt x="9070" y="2383"/>
                </a:lnTo>
                <a:lnTo>
                  <a:pt x="9059" y="2359"/>
                </a:lnTo>
                <a:lnTo>
                  <a:pt x="9051" y="2333"/>
                </a:lnTo>
                <a:lnTo>
                  <a:pt x="9049" y="2306"/>
                </a:lnTo>
                <a:lnTo>
                  <a:pt x="9050" y="2286"/>
                </a:lnTo>
                <a:lnTo>
                  <a:pt x="9053" y="2265"/>
                </a:lnTo>
                <a:lnTo>
                  <a:pt x="9059" y="2247"/>
                </a:lnTo>
                <a:lnTo>
                  <a:pt x="9065" y="2230"/>
                </a:lnTo>
                <a:lnTo>
                  <a:pt x="9084" y="2201"/>
                </a:lnTo>
                <a:lnTo>
                  <a:pt x="9108" y="2176"/>
                </a:lnTo>
                <a:lnTo>
                  <a:pt x="9144" y="2152"/>
                </a:lnTo>
                <a:lnTo>
                  <a:pt x="9163" y="2141"/>
                </a:lnTo>
                <a:lnTo>
                  <a:pt x="9185" y="2133"/>
                </a:lnTo>
                <a:lnTo>
                  <a:pt x="9208" y="2127"/>
                </a:lnTo>
                <a:lnTo>
                  <a:pt x="9232" y="2121"/>
                </a:lnTo>
                <a:lnTo>
                  <a:pt x="9258" y="2119"/>
                </a:lnTo>
                <a:lnTo>
                  <a:pt x="9284" y="2118"/>
                </a:lnTo>
                <a:lnTo>
                  <a:pt x="9310" y="2119"/>
                </a:lnTo>
                <a:lnTo>
                  <a:pt x="9336" y="2122"/>
                </a:lnTo>
                <a:lnTo>
                  <a:pt x="9361" y="2128"/>
                </a:lnTo>
                <a:lnTo>
                  <a:pt x="9385" y="2134"/>
                </a:lnTo>
                <a:lnTo>
                  <a:pt x="9408" y="2144"/>
                </a:lnTo>
                <a:lnTo>
                  <a:pt x="9429" y="2156"/>
                </a:lnTo>
                <a:lnTo>
                  <a:pt x="9449" y="2170"/>
                </a:lnTo>
                <a:lnTo>
                  <a:pt x="9466" y="2185"/>
                </a:lnTo>
                <a:lnTo>
                  <a:pt x="9477" y="2199"/>
                </a:lnTo>
                <a:lnTo>
                  <a:pt x="9487" y="2213"/>
                </a:lnTo>
                <a:lnTo>
                  <a:pt x="9503" y="2242"/>
                </a:lnTo>
                <a:lnTo>
                  <a:pt x="9514" y="2274"/>
                </a:lnTo>
                <a:lnTo>
                  <a:pt x="9517" y="2305"/>
                </a:lnTo>
                <a:lnTo>
                  <a:pt x="9385" y="2305"/>
                </a:lnTo>
                <a:lnTo>
                  <a:pt x="9383" y="2290"/>
                </a:lnTo>
                <a:lnTo>
                  <a:pt x="9378" y="2275"/>
                </a:lnTo>
                <a:lnTo>
                  <a:pt x="9371" y="2263"/>
                </a:lnTo>
                <a:lnTo>
                  <a:pt x="9361" y="2251"/>
                </a:lnTo>
                <a:lnTo>
                  <a:pt x="9346" y="2240"/>
                </a:lnTo>
                <a:lnTo>
                  <a:pt x="9327" y="2231"/>
                </a:lnTo>
                <a:lnTo>
                  <a:pt x="9307" y="2226"/>
                </a:lnTo>
                <a:lnTo>
                  <a:pt x="9285" y="2224"/>
                </a:lnTo>
                <a:lnTo>
                  <a:pt x="9255" y="2225"/>
                </a:lnTo>
                <a:lnTo>
                  <a:pt x="9240" y="2228"/>
                </a:lnTo>
                <a:lnTo>
                  <a:pt x="9225" y="2233"/>
                </a:lnTo>
                <a:lnTo>
                  <a:pt x="9216" y="2238"/>
                </a:lnTo>
                <a:lnTo>
                  <a:pt x="9208" y="2242"/>
                </a:lnTo>
                <a:lnTo>
                  <a:pt x="9194" y="2256"/>
                </a:lnTo>
                <a:lnTo>
                  <a:pt x="9188" y="2264"/>
                </a:lnTo>
                <a:lnTo>
                  <a:pt x="9184" y="2274"/>
                </a:lnTo>
                <a:lnTo>
                  <a:pt x="9182" y="2283"/>
                </a:lnTo>
                <a:lnTo>
                  <a:pt x="9181" y="2294"/>
                </a:lnTo>
                <a:lnTo>
                  <a:pt x="9182" y="2308"/>
                </a:lnTo>
                <a:lnTo>
                  <a:pt x="9186" y="2320"/>
                </a:lnTo>
                <a:lnTo>
                  <a:pt x="9194" y="2330"/>
                </a:lnTo>
                <a:lnTo>
                  <a:pt x="9202" y="2337"/>
                </a:lnTo>
                <a:lnTo>
                  <a:pt x="9212" y="2343"/>
                </a:lnTo>
                <a:lnTo>
                  <a:pt x="9224" y="2348"/>
                </a:lnTo>
                <a:lnTo>
                  <a:pt x="9247" y="2352"/>
                </a:lnTo>
                <a:lnTo>
                  <a:pt x="9308" y="2359"/>
                </a:lnTo>
                <a:lnTo>
                  <a:pt x="9371" y="2369"/>
                </a:lnTo>
                <a:lnTo>
                  <a:pt x="9404" y="2377"/>
                </a:lnTo>
                <a:lnTo>
                  <a:pt x="9420" y="2381"/>
                </a:lnTo>
                <a:lnTo>
                  <a:pt x="9435" y="2388"/>
                </a:lnTo>
                <a:lnTo>
                  <a:pt x="9461" y="2403"/>
                </a:lnTo>
                <a:lnTo>
                  <a:pt x="9474" y="2413"/>
                </a:lnTo>
                <a:lnTo>
                  <a:pt x="9485" y="2423"/>
                </a:lnTo>
                <a:lnTo>
                  <a:pt x="9495" y="2433"/>
                </a:lnTo>
                <a:lnTo>
                  <a:pt x="9503" y="2444"/>
                </a:lnTo>
                <a:lnTo>
                  <a:pt x="9517" y="2470"/>
                </a:lnTo>
                <a:lnTo>
                  <a:pt x="9523" y="2486"/>
                </a:lnTo>
                <a:lnTo>
                  <a:pt x="9526" y="2501"/>
                </a:lnTo>
                <a:lnTo>
                  <a:pt x="9529" y="2534"/>
                </a:lnTo>
                <a:lnTo>
                  <a:pt x="9528" y="2553"/>
                </a:lnTo>
                <a:lnTo>
                  <a:pt x="9526" y="2573"/>
                </a:lnTo>
                <a:lnTo>
                  <a:pt x="9522" y="2590"/>
                </a:lnTo>
                <a:lnTo>
                  <a:pt x="9515" y="2606"/>
                </a:lnTo>
                <a:lnTo>
                  <a:pt x="9509" y="2622"/>
                </a:lnTo>
                <a:lnTo>
                  <a:pt x="9500" y="2636"/>
                </a:lnTo>
                <a:lnTo>
                  <a:pt x="9479" y="2661"/>
                </a:lnTo>
                <a:close/>
                <a:moveTo>
                  <a:pt x="8793" y="2713"/>
                </a:moveTo>
                <a:lnTo>
                  <a:pt x="8782" y="2637"/>
                </a:lnTo>
                <a:lnTo>
                  <a:pt x="8770" y="2658"/>
                </a:lnTo>
                <a:lnTo>
                  <a:pt x="8755" y="2675"/>
                </a:lnTo>
                <a:lnTo>
                  <a:pt x="8737" y="2690"/>
                </a:lnTo>
                <a:lnTo>
                  <a:pt x="8717" y="2703"/>
                </a:lnTo>
                <a:lnTo>
                  <a:pt x="8694" y="2714"/>
                </a:lnTo>
                <a:lnTo>
                  <a:pt x="8669" y="2722"/>
                </a:lnTo>
                <a:lnTo>
                  <a:pt x="8643" y="2726"/>
                </a:lnTo>
                <a:lnTo>
                  <a:pt x="8615" y="2727"/>
                </a:lnTo>
                <a:lnTo>
                  <a:pt x="8594" y="2726"/>
                </a:lnTo>
                <a:lnTo>
                  <a:pt x="8572" y="2724"/>
                </a:lnTo>
                <a:lnTo>
                  <a:pt x="8551" y="2718"/>
                </a:lnTo>
                <a:lnTo>
                  <a:pt x="8533" y="2712"/>
                </a:lnTo>
                <a:lnTo>
                  <a:pt x="8514" y="2704"/>
                </a:lnTo>
                <a:lnTo>
                  <a:pt x="8498" y="2695"/>
                </a:lnTo>
                <a:lnTo>
                  <a:pt x="8483" y="2683"/>
                </a:lnTo>
                <a:lnTo>
                  <a:pt x="8469" y="2671"/>
                </a:lnTo>
                <a:lnTo>
                  <a:pt x="8457" y="2655"/>
                </a:lnTo>
                <a:lnTo>
                  <a:pt x="8446" y="2640"/>
                </a:lnTo>
                <a:lnTo>
                  <a:pt x="8430" y="2604"/>
                </a:lnTo>
                <a:lnTo>
                  <a:pt x="8419" y="2564"/>
                </a:lnTo>
                <a:lnTo>
                  <a:pt x="8417" y="2542"/>
                </a:lnTo>
                <a:lnTo>
                  <a:pt x="8416" y="2519"/>
                </a:lnTo>
                <a:lnTo>
                  <a:pt x="8416" y="2132"/>
                </a:lnTo>
                <a:lnTo>
                  <a:pt x="8555" y="2132"/>
                </a:lnTo>
                <a:lnTo>
                  <a:pt x="8555" y="2489"/>
                </a:lnTo>
                <a:lnTo>
                  <a:pt x="8556" y="2513"/>
                </a:lnTo>
                <a:lnTo>
                  <a:pt x="8560" y="2535"/>
                </a:lnTo>
                <a:lnTo>
                  <a:pt x="8567" y="2553"/>
                </a:lnTo>
                <a:lnTo>
                  <a:pt x="8577" y="2569"/>
                </a:lnTo>
                <a:lnTo>
                  <a:pt x="8590" y="2582"/>
                </a:lnTo>
                <a:lnTo>
                  <a:pt x="8608" y="2591"/>
                </a:lnTo>
                <a:lnTo>
                  <a:pt x="8630" y="2597"/>
                </a:lnTo>
                <a:lnTo>
                  <a:pt x="8655" y="2599"/>
                </a:lnTo>
                <a:lnTo>
                  <a:pt x="8677" y="2597"/>
                </a:lnTo>
                <a:lnTo>
                  <a:pt x="8697" y="2591"/>
                </a:lnTo>
                <a:lnTo>
                  <a:pt x="8713" y="2581"/>
                </a:lnTo>
                <a:lnTo>
                  <a:pt x="8726" y="2571"/>
                </a:lnTo>
                <a:lnTo>
                  <a:pt x="8738" y="2557"/>
                </a:lnTo>
                <a:lnTo>
                  <a:pt x="8747" y="2543"/>
                </a:lnTo>
                <a:lnTo>
                  <a:pt x="8755" y="2527"/>
                </a:lnTo>
                <a:lnTo>
                  <a:pt x="8760" y="2511"/>
                </a:lnTo>
                <a:lnTo>
                  <a:pt x="8764" y="2493"/>
                </a:lnTo>
                <a:lnTo>
                  <a:pt x="8767" y="2475"/>
                </a:lnTo>
                <a:lnTo>
                  <a:pt x="8769" y="2439"/>
                </a:lnTo>
                <a:lnTo>
                  <a:pt x="8769" y="2132"/>
                </a:lnTo>
                <a:lnTo>
                  <a:pt x="8908" y="2132"/>
                </a:lnTo>
                <a:lnTo>
                  <a:pt x="8908" y="2713"/>
                </a:lnTo>
                <a:lnTo>
                  <a:pt x="8793" y="2713"/>
                </a:lnTo>
                <a:close/>
                <a:moveTo>
                  <a:pt x="8190" y="2713"/>
                </a:moveTo>
                <a:lnTo>
                  <a:pt x="8028" y="2460"/>
                </a:lnTo>
                <a:lnTo>
                  <a:pt x="7934" y="2560"/>
                </a:lnTo>
                <a:lnTo>
                  <a:pt x="7934" y="2713"/>
                </a:lnTo>
                <a:lnTo>
                  <a:pt x="7795" y="2713"/>
                </a:lnTo>
                <a:lnTo>
                  <a:pt x="7795" y="1907"/>
                </a:lnTo>
                <a:lnTo>
                  <a:pt x="7934" y="1907"/>
                </a:lnTo>
                <a:lnTo>
                  <a:pt x="7934" y="2368"/>
                </a:lnTo>
                <a:lnTo>
                  <a:pt x="8155" y="2132"/>
                </a:lnTo>
                <a:lnTo>
                  <a:pt x="8330" y="2132"/>
                </a:lnTo>
                <a:lnTo>
                  <a:pt x="8122" y="2357"/>
                </a:lnTo>
                <a:lnTo>
                  <a:pt x="8351" y="2713"/>
                </a:lnTo>
                <a:lnTo>
                  <a:pt x="8190" y="2713"/>
                </a:lnTo>
                <a:close/>
                <a:moveTo>
                  <a:pt x="7618" y="2661"/>
                </a:moveTo>
                <a:lnTo>
                  <a:pt x="7600" y="2677"/>
                </a:lnTo>
                <a:lnTo>
                  <a:pt x="7578" y="2691"/>
                </a:lnTo>
                <a:lnTo>
                  <a:pt x="7555" y="2702"/>
                </a:lnTo>
                <a:lnTo>
                  <a:pt x="7531" y="2712"/>
                </a:lnTo>
                <a:lnTo>
                  <a:pt x="7505" y="2718"/>
                </a:lnTo>
                <a:lnTo>
                  <a:pt x="7477" y="2724"/>
                </a:lnTo>
                <a:lnTo>
                  <a:pt x="7448" y="2726"/>
                </a:lnTo>
                <a:lnTo>
                  <a:pt x="7419" y="2727"/>
                </a:lnTo>
                <a:lnTo>
                  <a:pt x="7392" y="2726"/>
                </a:lnTo>
                <a:lnTo>
                  <a:pt x="7366" y="2724"/>
                </a:lnTo>
                <a:lnTo>
                  <a:pt x="7340" y="2718"/>
                </a:lnTo>
                <a:lnTo>
                  <a:pt x="7316" y="2711"/>
                </a:lnTo>
                <a:lnTo>
                  <a:pt x="7293" y="2702"/>
                </a:lnTo>
                <a:lnTo>
                  <a:pt x="7271" y="2690"/>
                </a:lnTo>
                <a:lnTo>
                  <a:pt x="7251" y="2676"/>
                </a:lnTo>
                <a:lnTo>
                  <a:pt x="7241" y="2668"/>
                </a:lnTo>
                <a:lnTo>
                  <a:pt x="7232" y="2661"/>
                </a:lnTo>
                <a:lnTo>
                  <a:pt x="7219" y="2648"/>
                </a:lnTo>
                <a:lnTo>
                  <a:pt x="7208" y="2634"/>
                </a:lnTo>
                <a:lnTo>
                  <a:pt x="7197" y="2618"/>
                </a:lnTo>
                <a:lnTo>
                  <a:pt x="7189" y="2601"/>
                </a:lnTo>
                <a:lnTo>
                  <a:pt x="7176" y="2565"/>
                </a:lnTo>
                <a:lnTo>
                  <a:pt x="7171" y="2546"/>
                </a:lnTo>
                <a:lnTo>
                  <a:pt x="7170" y="2526"/>
                </a:lnTo>
                <a:lnTo>
                  <a:pt x="7301" y="2526"/>
                </a:lnTo>
                <a:lnTo>
                  <a:pt x="7304" y="2544"/>
                </a:lnTo>
                <a:lnTo>
                  <a:pt x="7306" y="2554"/>
                </a:lnTo>
                <a:lnTo>
                  <a:pt x="7311" y="2564"/>
                </a:lnTo>
                <a:lnTo>
                  <a:pt x="7320" y="2580"/>
                </a:lnTo>
                <a:lnTo>
                  <a:pt x="7326" y="2588"/>
                </a:lnTo>
                <a:lnTo>
                  <a:pt x="7332" y="2593"/>
                </a:lnTo>
                <a:lnTo>
                  <a:pt x="7350" y="2605"/>
                </a:lnTo>
                <a:lnTo>
                  <a:pt x="7370" y="2613"/>
                </a:lnTo>
                <a:lnTo>
                  <a:pt x="7393" y="2617"/>
                </a:lnTo>
                <a:lnTo>
                  <a:pt x="7420" y="2619"/>
                </a:lnTo>
                <a:lnTo>
                  <a:pt x="7458" y="2616"/>
                </a:lnTo>
                <a:lnTo>
                  <a:pt x="7479" y="2613"/>
                </a:lnTo>
                <a:lnTo>
                  <a:pt x="7497" y="2606"/>
                </a:lnTo>
                <a:lnTo>
                  <a:pt x="7506" y="2602"/>
                </a:lnTo>
                <a:lnTo>
                  <a:pt x="7514" y="2597"/>
                </a:lnTo>
                <a:lnTo>
                  <a:pt x="7520" y="2591"/>
                </a:lnTo>
                <a:lnTo>
                  <a:pt x="7527" y="2584"/>
                </a:lnTo>
                <a:lnTo>
                  <a:pt x="7535" y="2567"/>
                </a:lnTo>
                <a:lnTo>
                  <a:pt x="7538" y="2556"/>
                </a:lnTo>
                <a:lnTo>
                  <a:pt x="7539" y="2546"/>
                </a:lnTo>
                <a:lnTo>
                  <a:pt x="7538" y="2534"/>
                </a:lnTo>
                <a:lnTo>
                  <a:pt x="7534" y="2523"/>
                </a:lnTo>
                <a:lnTo>
                  <a:pt x="7530" y="2513"/>
                </a:lnTo>
                <a:lnTo>
                  <a:pt x="7523" y="2504"/>
                </a:lnTo>
                <a:lnTo>
                  <a:pt x="7515" y="2498"/>
                </a:lnTo>
                <a:lnTo>
                  <a:pt x="7505" y="2491"/>
                </a:lnTo>
                <a:lnTo>
                  <a:pt x="7481" y="2485"/>
                </a:lnTo>
                <a:lnTo>
                  <a:pt x="7441" y="2479"/>
                </a:lnTo>
                <a:lnTo>
                  <a:pt x="7401" y="2474"/>
                </a:lnTo>
                <a:lnTo>
                  <a:pt x="7359" y="2469"/>
                </a:lnTo>
                <a:lnTo>
                  <a:pt x="7320" y="2462"/>
                </a:lnTo>
                <a:lnTo>
                  <a:pt x="7292" y="2453"/>
                </a:lnTo>
                <a:lnTo>
                  <a:pt x="7266" y="2441"/>
                </a:lnTo>
                <a:lnTo>
                  <a:pt x="7243" y="2425"/>
                </a:lnTo>
                <a:lnTo>
                  <a:pt x="7224" y="2405"/>
                </a:lnTo>
                <a:lnTo>
                  <a:pt x="7208" y="2383"/>
                </a:lnTo>
                <a:lnTo>
                  <a:pt x="7197" y="2359"/>
                </a:lnTo>
                <a:lnTo>
                  <a:pt x="7190" y="2333"/>
                </a:lnTo>
                <a:lnTo>
                  <a:pt x="7188" y="2306"/>
                </a:lnTo>
                <a:lnTo>
                  <a:pt x="7189" y="2286"/>
                </a:lnTo>
                <a:lnTo>
                  <a:pt x="7192" y="2265"/>
                </a:lnTo>
                <a:lnTo>
                  <a:pt x="7197" y="2247"/>
                </a:lnTo>
                <a:lnTo>
                  <a:pt x="7204" y="2230"/>
                </a:lnTo>
                <a:lnTo>
                  <a:pt x="7222" y="2201"/>
                </a:lnTo>
                <a:lnTo>
                  <a:pt x="7246" y="2176"/>
                </a:lnTo>
                <a:lnTo>
                  <a:pt x="7281" y="2152"/>
                </a:lnTo>
                <a:lnTo>
                  <a:pt x="7302" y="2141"/>
                </a:lnTo>
                <a:lnTo>
                  <a:pt x="7324" y="2133"/>
                </a:lnTo>
                <a:lnTo>
                  <a:pt x="7346" y="2127"/>
                </a:lnTo>
                <a:lnTo>
                  <a:pt x="7370" y="2121"/>
                </a:lnTo>
                <a:lnTo>
                  <a:pt x="7396" y="2119"/>
                </a:lnTo>
                <a:lnTo>
                  <a:pt x="7422" y="2118"/>
                </a:lnTo>
                <a:lnTo>
                  <a:pt x="7448" y="2119"/>
                </a:lnTo>
                <a:lnTo>
                  <a:pt x="7475" y="2122"/>
                </a:lnTo>
                <a:lnTo>
                  <a:pt x="7500" y="2128"/>
                </a:lnTo>
                <a:lnTo>
                  <a:pt x="7523" y="2134"/>
                </a:lnTo>
                <a:lnTo>
                  <a:pt x="7546" y="2144"/>
                </a:lnTo>
                <a:lnTo>
                  <a:pt x="7568" y="2156"/>
                </a:lnTo>
                <a:lnTo>
                  <a:pt x="7588" y="2170"/>
                </a:lnTo>
                <a:lnTo>
                  <a:pt x="7605" y="2185"/>
                </a:lnTo>
                <a:lnTo>
                  <a:pt x="7626" y="2213"/>
                </a:lnTo>
                <a:lnTo>
                  <a:pt x="7642" y="2242"/>
                </a:lnTo>
                <a:lnTo>
                  <a:pt x="7647" y="2258"/>
                </a:lnTo>
                <a:lnTo>
                  <a:pt x="7652" y="2274"/>
                </a:lnTo>
                <a:lnTo>
                  <a:pt x="7656" y="2305"/>
                </a:lnTo>
                <a:lnTo>
                  <a:pt x="7523" y="2305"/>
                </a:lnTo>
                <a:lnTo>
                  <a:pt x="7521" y="2290"/>
                </a:lnTo>
                <a:lnTo>
                  <a:pt x="7516" y="2275"/>
                </a:lnTo>
                <a:lnTo>
                  <a:pt x="7509" y="2263"/>
                </a:lnTo>
                <a:lnTo>
                  <a:pt x="7500" y="2251"/>
                </a:lnTo>
                <a:lnTo>
                  <a:pt x="7484" y="2240"/>
                </a:lnTo>
                <a:lnTo>
                  <a:pt x="7466" y="2231"/>
                </a:lnTo>
                <a:lnTo>
                  <a:pt x="7445" y="2226"/>
                </a:lnTo>
                <a:lnTo>
                  <a:pt x="7424" y="2224"/>
                </a:lnTo>
                <a:lnTo>
                  <a:pt x="7394" y="2225"/>
                </a:lnTo>
                <a:lnTo>
                  <a:pt x="7379" y="2228"/>
                </a:lnTo>
                <a:lnTo>
                  <a:pt x="7364" y="2233"/>
                </a:lnTo>
                <a:lnTo>
                  <a:pt x="7355" y="2238"/>
                </a:lnTo>
                <a:lnTo>
                  <a:pt x="7346" y="2242"/>
                </a:lnTo>
                <a:lnTo>
                  <a:pt x="7332" y="2256"/>
                </a:lnTo>
                <a:lnTo>
                  <a:pt x="7327" y="2264"/>
                </a:lnTo>
                <a:lnTo>
                  <a:pt x="7322" y="2274"/>
                </a:lnTo>
                <a:lnTo>
                  <a:pt x="7320" y="2283"/>
                </a:lnTo>
                <a:lnTo>
                  <a:pt x="7319" y="2294"/>
                </a:lnTo>
                <a:lnTo>
                  <a:pt x="7320" y="2308"/>
                </a:lnTo>
                <a:lnTo>
                  <a:pt x="7325" y="2320"/>
                </a:lnTo>
                <a:lnTo>
                  <a:pt x="7332" y="2330"/>
                </a:lnTo>
                <a:lnTo>
                  <a:pt x="7341" y="2337"/>
                </a:lnTo>
                <a:lnTo>
                  <a:pt x="7351" y="2343"/>
                </a:lnTo>
                <a:lnTo>
                  <a:pt x="7363" y="2348"/>
                </a:lnTo>
                <a:lnTo>
                  <a:pt x="7385" y="2352"/>
                </a:lnTo>
                <a:lnTo>
                  <a:pt x="7446" y="2359"/>
                </a:lnTo>
                <a:lnTo>
                  <a:pt x="7509" y="2369"/>
                </a:lnTo>
                <a:lnTo>
                  <a:pt x="7543" y="2377"/>
                </a:lnTo>
                <a:lnTo>
                  <a:pt x="7558" y="2381"/>
                </a:lnTo>
                <a:lnTo>
                  <a:pt x="7573" y="2388"/>
                </a:lnTo>
                <a:lnTo>
                  <a:pt x="7600" y="2403"/>
                </a:lnTo>
                <a:lnTo>
                  <a:pt x="7613" y="2413"/>
                </a:lnTo>
                <a:lnTo>
                  <a:pt x="7623" y="2423"/>
                </a:lnTo>
                <a:lnTo>
                  <a:pt x="7633" y="2433"/>
                </a:lnTo>
                <a:lnTo>
                  <a:pt x="7642" y="2444"/>
                </a:lnTo>
                <a:lnTo>
                  <a:pt x="7656" y="2470"/>
                </a:lnTo>
                <a:lnTo>
                  <a:pt x="7661" y="2486"/>
                </a:lnTo>
                <a:lnTo>
                  <a:pt x="7665" y="2501"/>
                </a:lnTo>
                <a:lnTo>
                  <a:pt x="7668" y="2534"/>
                </a:lnTo>
                <a:lnTo>
                  <a:pt x="7667" y="2553"/>
                </a:lnTo>
                <a:lnTo>
                  <a:pt x="7665" y="2573"/>
                </a:lnTo>
                <a:lnTo>
                  <a:pt x="7660" y="2590"/>
                </a:lnTo>
                <a:lnTo>
                  <a:pt x="7654" y="2606"/>
                </a:lnTo>
                <a:lnTo>
                  <a:pt x="7647" y="2622"/>
                </a:lnTo>
                <a:lnTo>
                  <a:pt x="7639" y="2636"/>
                </a:lnTo>
                <a:lnTo>
                  <a:pt x="7618" y="2661"/>
                </a:lnTo>
                <a:close/>
                <a:moveTo>
                  <a:pt x="6915" y="2263"/>
                </a:moveTo>
                <a:lnTo>
                  <a:pt x="6907" y="2256"/>
                </a:lnTo>
                <a:lnTo>
                  <a:pt x="6899" y="2250"/>
                </a:lnTo>
                <a:lnTo>
                  <a:pt x="6879" y="2239"/>
                </a:lnTo>
                <a:lnTo>
                  <a:pt x="6867" y="2234"/>
                </a:lnTo>
                <a:lnTo>
                  <a:pt x="6855" y="2232"/>
                </a:lnTo>
                <a:lnTo>
                  <a:pt x="6827" y="2229"/>
                </a:lnTo>
                <a:lnTo>
                  <a:pt x="6797" y="2232"/>
                </a:lnTo>
                <a:lnTo>
                  <a:pt x="6770" y="2242"/>
                </a:lnTo>
                <a:lnTo>
                  <a:pt x="6748" y="2256"/>
                </a:lnTo>
                <a:lnTo>
                  <a:pt x="6738" y="2265"/>
                </a:lnTo>
                <a:lnTo>
                  <a:pt x="6730" y="2275"/>
                </a:lnTo>
                <a:lnTo>
                  <a:pt x="6717" y="2294"/>
                </a:lnTo>
                <a:lnTo>
                  <a:pt x="6707" y="2315"/>
                </a:lnTo>
                <a:lnTo>
                  <a:pt x="6702" y="2338"/>
                </a:lnTo>
                <a:lnTo>
                  <a:pt x="6700" y="2365"/>
                </a:lnTo>
                <a:lnTo>
                  <a:pt x="6951" y="2365"/>
                </a:lnTo>
                <a:lnTo>
                  <a:pt x="6950" y="2349"/>
                </a:lnTo>
                <a:lnTo>
                  <a:pt x="6948" y="2333"/>
                </a:lnTo>
                <a:lnTo>
                  <a:pt x="6941" y="2306"/>
                </a:lnTo>
                <a:lnTo>
                  <a:pt x="6930" y="2283"/>
                </a:lnTo>
                <a:lnTo>
                  <a:pt x="6924" y="2272"/>
                </a:lnTo>
                <a:lnTo>
                  <a:pt x="6915" y="2263"/>
                </a:lnTo>
                <a:close/>
                <a:moveTo>
                  <a:pt x="7089" y="2466"/>
                </a:moveTo>
                <a:lnTo>
                  <a:pt x="6701" y="2466"/>
                </a:lnTo>
                <a:lnTo>
                  <a:pt x="6702" y="2482"/>
                </a:lnTo>
                <a:lnTo>
                  <a:pt x="6703" y="2499"/>
                </a:lnTo>
                <a:lnTo>
                  <a:pt x="6712" y="2530"/>
                </a:lnTo>
                <a:lnTo>
                  <a:pt x="6717" y="2544"/>
                </a:lnTo>
                <a:lnTo>
                  <a:pt x="6725" y="2557"/>
                </a:lnTo>
                <a:lnTo>
                  <a:pt x="6734" y="2569"/>
                </a:lnTo>
                <a:lnTo>
                  <a:pt x="6743" y="2580"/>
                </a:lnTo>
                <a:lnTo>
                  <a:pt x="6760" y="2593"/>
                </a:lnTo>
                <a:lnTo>
                  <a:pt x="6780" y="2605"/>
                </a:lnTo>
                <a:lnTo>
                  <a:pt x="6803" y="2613"/>
                </a:lnTo>
                <a:lnTo>
                  <a:pt x="6829" y="2616"/>
                </a:lnTo>
                <a:lnTo>
                  <a:pt x="6856" y="2614"/>
                </a:lnTo>
                <a:lnTo>
                  <a:pt x="6879" y="2610"/>
                </a:lnTo>
                <a:lnTo>
                  <a:pt x="6898" y="2601"/>
                </a:lnTo>
                <a:lnTo>
                  <a:pt x="6914" y="2588"/>
                </a:lnTo>
                <a:lnTo>
                  <a:pt x="6923" y="2578"/>
                </a:lnTo>
                <a:lnTo>
                  <a:pt x="6930" y="2566"/>
                </a:lnTo>
                <a:lnTo>
                  <a:pt x="6937" y="2554"/>
                </a:lnTo>
                <a:lnTo>
                  <a:pt x="6942" y="2539"/>
                </a:lnTo>
                <a:lnTo>
                  <a:pt x="7076" y="2539"/>
                </a:lnTo>
                <a:lnTo>
                  <a:pt x="7070" y="2566"/>
                </a:lnTo>
                <a:lnTo>
                  <a:pt x="7065" y="2580"/>
                </a:lnTo>
                <a:lnTo>
                  <a:pt x="7058" y="2596"/>
                </a:lnTo>
                <a:lnTo>
                  <a:pt x="7043" y="2623"/>
                </a:lnTo>
                <a:lnTo>
                  <a:pt x="7027" y="2646"/>
                </a:lnTo>
                <a:lnTo>
                  <a:pt x="7007" y="2666"/>
                </a:lnTo>
                <a:lnTo>
                  <a:pt x="6986" y="2684"/>
                </a:lnTo>
                <a:lnTo>
                  <a:pt x="6963" y="2698"/>
                </a:lnTo>
                <a:lnTo>
                  <a:pt x="6939" y="2709"/>
                </a:lnTo>
                <a:lnTo>
                  <a:pt x="6913" y="2717"/>
                </a:lnTo>
                <a:lnTo>
                  <a:pt x="6887" y="2723"/>
                </a:lnTo>
                <a:lnTo>
                  <a:pt x="6860" y="2726"/>
                </a:lnTo>
                <a:lnTo>
                  <a:pt x="6831" y="2727"/>
                </a:lnTo>
                <a:lnTo>
                  <a:pt x="6803" y="2726"/>
                </a:lnTo>
                <a:lnTo>
                  <a:pt x="6776" y="2723"/>
                </a:lnTo>
                <a:lnTo>
                  <a:pt x="6763" y="2720"/>
                </a:lnTo>
                <a:lnTo>
                  <a:pt x="6751" y="2716"/>
                </a:lnTo>
                <a:lnTo>
                  <a:pt x="6728" y="2708"/>
                </a:lnTo>
                <a:lnTo>
                  <a:pt x="6705" y="2698"/>
                </a:lnTo>
                <a:lnTo>
                  <a:pt x="6686" y="2686"/>
                </a:lnTo>
                <a:lnTo>
                  <a:pt x="6666" y="2672"/>
                </a:lnTo>
                <a:lnTo>
                  <a:pt x="6649" y="2656"/>
                </a:lnTo>
                <a:lnTo>
                  <a:pt x="6628" y="2634"/>
                </a:lnTo>
                <a:lnTo>
                  <a:pt x="6611" y="2610"/>
                </a:lnTo>
                <a:lnTo>
                  <a:pt x="6596" y="2584"/>
                </a:lnTo>
                <a:lnTo>
                  <a:pt x="6582" y="2554"/>
                </a:lnTo>
                <a:lnTo>
                  <a:pt x="6577" y="2540"/>
                </a:lnTo>
                <a:lnTo>
                  <a:pt x="6573" y="2524"/>
                </a:lnTo>
                <a:lnTo>
                  <a:pt x="6565" y="2492"/>
                </a:lnTo>
                <a:lnTo>
                  <a:pt x="6561" y="2458"/>
                </a:lnTo>
                <a:lnTo>
                  <a:pt x="6560" y="2424"/>
                </a:lnTo>
                <a:lnTo>
                  <a:pt x="6561" y="2390"/>
                </a:lnTo>
                <a:lnTo>
                  <a:pt x="6565" y="2356"/>
                </a:lnTo>
                <a:lnTo>
                  <a:pt x="6572" y="2325"/>
                </a:lnTo>
                <a:lnTo>
                  <a:pt x="6580" y="2294"/>
                </a:lnTo>
                <a:lnTo>
                  <a:pt x="6592" y="2266"/>
                </a:lnTo>
                <a:lnTo>
                  <a:pt x="6606" y="2239"/>
                </a:lnTo>
                <a:lnTo>
                  <a:pt x="6624" y="2214"/>
                </a:lnTo>
                <a:lnTo>
                  <a:pt x="6643" y="2192"/>
                </a:lnTo>
                <a:lnTo>
                  <a:pt x="6661" y="2176"/>
                </a:lnTo>
                <a:lnTo>
                  <a:pt x="6679" y="2162"/>
                </a:lnTo>
                <a:lnTo>
                  <a:pt x="6700" y="2148"/>
                </a:lnTo>
                <a:lnTo>
                  <a:pt x="6723" y="2138"/>
                </a:lnTo>
                <a:lnTo>
                  <a:pt x="6747" y="2129"/>
                </a:lnTo>
                <a:lnTo>
                  <a:pt x="6772" y="2123"/>
                </a:lnTo>
                <a:lnTo>
                  <a:pt x="6800" y="2119"/>
                </a:lnTo>
                <a:lnTo>
                  <a:pt x="6828" y="2118"/>
                </a:lnTo>
                <a:lnTo>
                  <a:pt x="6860" y="2119"/>
                </a:lnTo>
                <a:lnTo>
                  <a:pt x="6891" y="2125"/>
                </a:lnTo>
                <a:lnTo>
                  <a:pt x="6920" y="2132"/>
                </a:lnTo>
                <a:lnTo>
                  <a:pt x="6949" y="2144"/>
                </a:lnTo>
                <a:lnTo>
                  <a:pt x="6975" y="2159"/>
                </a:lnTo>
                <a:lnTo>
                  <a:pt x="6999" y="2178"/>
                </a:lnTo>
                <a:lnTo>
                  <a:pt x="7020" y="2200"/>
                </a:lnTo>
                <a:lnTo>
                  <a:pt x="7040" y="2225"/>
                </a:lnTo>
                <a:lnTo>
                  <a:pt x="7055" y="2249"/>
                </a:lnTo>
                <a:lnTo>
                  <a:pt x="7066" y="2274"/>
                </a:lnTo>
                <a:lnTo>
                  <a:pt x="7082" y="2323"/>
                </a:lnTo>
                <a:lnTo>
                  <a:pt x="7087" y="2348"/>
                </a:lnTo>
                <a:lnTo>
                  <a:pt x="7090" y="2374"/>
                </a:lnTo>
                <a:lnTo>
                  <a:pt x="7090" y="2427"/>
                </a:lnTo>
                <a:lnTo>
                  <a:pt x="7089" y="2466"/>
                </a:lnTo>
                <a:close/>
                <a:moveTo>
                  <a:pt x="6372" y="2713"/>
                </a:moveTo>
                <a:lnTo>
                  <a:pt x="6209" y="2460"/>
                </a:lnTo>
                <a:lnTo>
                  <a:pt x="6116" y="2560"/>
                </a:lnTo>
                <a:lnTo>
                  <a:pt x="6116" y="2713"/>
                </a:lnTo>
                <a:lnTo>
                  <a:pt x="5977" y="2713"/>
                </a:lnTo>
                <a:lnTo>
                  <a:pt x="5977" y="1907"/>
                </a:lnTo>
                <a:lnTo>
                  <a:pt x="6116" y="1907"/>
                </a:lnTo>
                <a:lnTo>
                  <a:pt x="6116" y="2368"/>
                </a:lnTo>
                <a:lnTo>
                  <a:pt x="6336" y="2132"/>
                </a:lnTo>
                <a:lnTo>
                  <a:pt x="6511" y="2132"/>
                </a:lnTo>
                <a:lnTo>
                  <a:pt x="6303" y="2357"/>
                </a:lnTo>
                <a:lnTo>
                  <a:pt x="6534" y="2713"/>
                </a:lnTo>
                <a:lnTo>
                  <a:pt x="6372" y="2713"/>
                </a:lnTo>
                <a:close/>
                <a:moveTo>
                  <a:pt x="14362" y="1547"/>
                </a:moveTo>
                <a:lnTo>
                  <a:pt x="14362" y="1191"/>
                </a:lnTo>
                <a:lnTo>
                  <a:pt x="14361" y="1166"/>
                </a:lnTo>
                <a:lnTo>
                  <a:pt x="14358" y="1146"/>
                </a:lnTo>
                <a:lnTo>
                  <a:pt x="14355" y="1136"/>
                </a:lnTo>
                <a:lnTo>
                  <a:pt x="14352" y="1126"/>
                </a:lnTo>
                <a:lnTo>
                  <a:pt x="14347" y="1118"/>
                </a:lnTo>
                <a:lnTo>
                  <a:pt x="14342" y="1111"/>
                </a:lnTo>
                <a:lnTo>
                  <a:pt x="14336" y="1104"/>
                </a:lnTo>
                <a:lnTo>
                  <a:pt x="14330" y="1098"/>
                </a:lnTo>
                <a:lnTo>
                  <a:pt x="14312" y="1089"/>
                </a:lnTo>
                <a:lnTo>
                  <a:pt x="14292" y="1084"/>
                </a:lnTo>
                <a:lnTo>
                  <a:pt x="14267" y="1081"/>
                </a:lnTo>
                <a:lnTo>
                  <a:pt x="14249" y="1082"/>
                </a:lnTo>
                <a:lnTo>
                  <a:pt x="14233" y="1087"/>
                </a:lnTo>
                <a:lnTo>
                  <a:pt x="14218" y="1093"/>
                </a:lnTo>
                <a:lnTo>
                  <a:pt x="14205" y="1102"/>
                </a:lnTo>
                <a:lnTo>
                  <a:pt x="14194" y="1113"/>
                </a:lnTo>
                <a:lnTo>
                  <a:pt x="14183" y="1126"/>
                </a:lnTo>
                <a:lnTo>
                  <a:pt x="14174" y="1140"/>
                </a:lnTo>
                <a:lnTo>
                  <a:pt x="14167" y="1155"/>
                </a:lnTo>
                <a:lnTo>
                  <a:pt x="14159" y="1173"/>
                </a:lnTo>
                <a:lnTo>
                  <a:pt x="14155" y="1192"/>
                </a:lnTo>
                <a:lnTo>
                  <a:pt x="14152" y="1212"/>
                </a:lnTo>
                <a:lnTo>
                  <a:pt x="14149" y="1231"/>
                </a:lnTo>
                <a:lnTo>
                  <a:pt x="14147" y="1272"/>
                </a:lnTo>
                <a:lnTo>
                  <a:pt x="14147" y="1311"/>
                </a:lnTo>
                <a:lnTo>
                  <a:pt x="14147" y="1547"/>
                </a:lnTo>
                <a:lnTo>
                  <a:pt x="14008" y="1547"/>
                </a:lnTo>
                <a:lnTo>
                  <a:pt x="14008" y="966"/>
                </a:lnTo>
                <a:lnTo>
                  <a:pt x="14126" y="966"/>
                </a:lnTo>
                <a:lnTo>
                  <a:pt x="14135" y="1041"/>
                </a:lnTo>
                <a:lnTo>
                  <a:pt x="14149" y="1019"/>
                </a:lnTo>
                <a:lnTo>
                  <a:pt x="14167" y="1001"/>
                </a:lnTo>
                <a:lnTo>
                  <a:pt x="14186" y="986"/>
                </a:lnTo>
                <a:lnTo>
                  <a:pt x="14208" y="974"/>
                </a:lnTo>
                <a:lnTo>
                  <a:pt x="14231" y="964"/>
                </a:lnTo>
                <a:lnTo>
                  <a:pt x="14256" y="957"/>
                </a:lnTo>
                <a:lnTo>
                  <a:pt x="14281" y="953"/>
                </a:lnTo>
                <a:lnTo>
                  <a:pt x="14306" y="952"/>
                </a:lnTo>
                <a:lnTo>
                  <a:pt x="14329" y="953"/>
                </a:lnTo>
                <a:lnTo>
                  <a:pt x="14349" y="956"/>
                </a:lnTo>
                <a:lnTo>
                  <a:pt x="14370" y="961"/>
                </a:lnTo>
                <a:lnTo>
                  <a:pt x="14388" y="967"/>
                </a:lnTo>
                <a:lnTo>
                  <a:pt x="14406" y="976"/>
                </a:lnTo>
                <a:lnTo>
                  <a:pt x="14422" y="986"/>
                </a:lnTo>
                <a:lnTo>
                  <a:pt x="14437" y="998"/>
                </a:lnTo>
                <a:lnTo>
                  <a:pt x="14450" y="1011"/>
                </a:lnTo>
                <a:lnTo>
                  <a:pt x="14462" y="1025"/>
                </a:lnTo>
                <a:lnTo>
                  <a:pt x="14472" y="1041"/>
                </a:lnTo>
                <a:lnTo>
                  <a:pt x="14482" y="1059"/>
                </a:lnTo>
                <a:lnTo>
                  <a:pt x="14488" y="1076"/>
                </a:lnTo>
                <a:lnTo>
                  <a:pt x="14495" y="1095"/>
                </a:lnTo>
                <a:lnTo>
                  <a:pt x="14498" y="1116"/>
                </a:lnTo>
                <a:lnTo>
                  <a:pt x="14501" y="1138"/>
                </a:lnTo>
                <a:lnTo>
                  <a:pt x="14503" y="1160"/>
                </a:lnTo>
                <a:lnTo>
                  <a:pt x="14503" y="1547"/>
                </a:lnTo>
                <a:lnTo>
                  <a:pt x="14362" y="1547"/>
                </a:lnTo>
                <a:close/>
                <a:moveTo>
                  <a:pt x="13660" y="876"/>
                </a:moveTo>
                <a:lnTo>
                  <a:pt x="13660" y="741"/>
                </a:lnTo>
                <a:lnTo>
                  <a:pt x="13791" y="741"/>
                </a:lnTo>
                <a:lnTo>
                  <a:pt x="13791" y="876"/>
                </a:lnTo>
                <a:lnTo>
                  <a:pt x="13660" y="876"/>
                </a:lnTo>
                <a:close/>
                <a:moveTo>
                  <a:pt x="13430" y="876"/>
                </a:moveTo>
                <a:lnTo>
                  <a:pt x="13430" y="741"/>
                </a:lnTo>
                <a:lnTo>
                  <a:pt x="13561" y="741"/>
                </a:lnTo>
                <a:lnTo>
                  <a:pt x="13561" y="876"/>
                </a:lnTo>
                <a:lnTo>
                  <a:pt x="13430" y="876"/>
                </a:lnTo>
                <a:close/>
                <a:moveTo>
                  <a:pt x="13704" y="1289"/>
                </a:moveTo>
                <a:lnTo>
                  <a:pt x="13556" y="1300"/>
                </a:lnTo>
                <a:lnTo>
                  <a:pt x="13541" y="1302"/>
                </a:lnTo>
                <a:lnTo>
                  <a:pt x="13526" y="1307"/>
                </a:lnTo>
                <a:lnTo>
                  <a:pt x="13512" y="1313"/>
                </a:lnTo>
                <a:lnTo>
                  <a:pt x="13499" y="1322"/>
                </a:lnTo>
                <a:lnTo>
                  <a:pt x="13488" y="1333"/>
                </a:lnTo>
                <a:lnTo>
                  <a:pt x="13480" y="1345"/>
                </a:lnTo>
                <a:lnTo>
                  <a:pt x="13475" y="1360"/>
                </a:lnTo>
                <a:lnTo>
                  <a:pt x="13472" y="1376"/>
                </a:lnTo>
                <a:lnTo>
                  <a:pt x="13475" y="1392"/>
                </a:lnTo>
                <a:lnTo>
                  <a:pt x="13479" y="1407"/>
                </a:lnTo>
                <a:lnTo>
                  <a:pt x="13488" y="1419"/>
                </a:lnTo>
                <a:lnTo>
                  <a:pt x="13497" y="1429"/>
                </a:lnTo>
                <a:lnTo>
                  <a:pt x="13509" y="1438"/>
                </a:lnTo>
                <a:lnTo>
                  <a:pt x="13524" y="1444"/>
                </a:lnTo>
                <a:lnTo>
                  <a:pt x="13539" y="1448"/>
                </a:lnTo>
                <a:lnTo>
                  <a:pt x="13555" y="1449"/>
                </a:lnTo>
                <a:lnTo>
                  <a:pt x="13587" y="1447"/>
                </a:lnTo>
                <a:lnTo>
                  <a:pt x="13601" y="1444"/>
                </a:lnTo>
                <a:lnTo>
                  <a:pt x="13615" y="1440"/>
                </a:lnTo>
                <a:lnTo>
                  <a:pt x="13640" y="1429"/>
                </a:lnTo>
                <a:lnTo>
                  <a:pt x="13652" y="1423"/>
                </a:lnTo>
                <a:lnTo>
                  <a:pt x="13662" y="1414"/>
                </a:lnTo>
                <a:lnTo>
                  <a:pt x="13680" y="1396"/>
                </a:lnTo>
                <a:lnTo>
                  <a:pt x="13687" y="1385"/>
                </a:lnTo>
                <a:lnTo>
                  <a:pt x="13693" y="1373"/>
                </a:lnTo>
                <a:lnTo>
                  <a:pt x="13697" y="1360"/>
                </a:lnTo>
                <a:lnTo>
                  <a:pt x="13701" y="1347"/>
                </a:lnTo>
                <a:lnTo>
                  <a:pt x="13703" y="1332"/>
                </a:lnTo>
                <a:lnTo>
                  <a:pt x="13704" y="1316"/>
                </a:lnTo>
                <a:lnTo>
                  <a:pt x="13704" y="1289"/>
                </a:lnTo>
                <a:close/>
                <a:moveTo>
                  <a:pt x="13820" y="1556"/>
                </a:moveTo>
                <a:lnTo>
                  <a:pt x="13800" y="1555"/>
                </a:lnTo>
                <a:lnTo>
                  <a:pt x="13780" y="1549"/>
                </a:lnTo>
                <a:lnTo>
                  <a:pt x="13765" y="1541"/>
                </a:lnTo>
                <a:lnTo>
                  <a:pt x="13751" y="1532"/>
                </a:lnTo>
                <a:lnTo>
                  <a:pt x="13740" y="1520"/>
                </a:lnTo>
                <a:lnTo>
                  <a:pt x="13731" y="1506"/>
                </a:lnTo>
                <a:lnTo>
                  <a:pt x="13726" y="1490"/>
                </a:lnTo>
                <a:lnTo>
                  <a:pt x="13722" y="1474"/>
                </a:lnTo>
                <a:lnTo>
                  <a:pt x="13710" y="1491"/>
                </a:lnTo>
                <a:lnTo>
                  <a:pt x="13695" y="1508"/>
                </a:lnTo>
                <a:lnTo>
                  <a:pt x="13677" y="1523"/>
                </a:lnTo>
                <a:lnTo>
                  <a:pt x="13655" y="1536"/>
                </a:lnTo>
                <a:lnTo>
                  <a:pt x="13631" y="1547"/>
                </a:lnTo>
                <a:lnTo>
                  <a:pt x="13605" y="1555"/>
                </a:lnTo>
                <a:lnTo>
                  <a:pt x="13577" y="1560"/>
                </a:lnTo>
                <a:lnTo>
                  <a:pt x="13546" y="1561"/>
                </a:lnTo>
                <a:lnTo>
                  <a:pt x="13521" y="1561"/>
                </a:lnTo>
                <a:lnTo>
                  <a:pt x="13497" y="1558"/>
                </a:lnTo>
                <a:lnTo>
                  <a:pt x="13476" y="1553"/>
                </a:lnTo>
                <a:lnTo>
                  <a:pt x="13455" y="1547"/>
                </a:lnTo>
                <a:lnTo>
                  <a:pt x="13437" y="1538"/>
                </a:lnTo>
                <a:lnTo>
                  <a:pt x="13419" y="1530"/>
                </a:lnTo>
                <a:lnTo>
                  <a:pt x="13403" y="1519"/>
                </a:lnTo>
                <a:lnTo>
                  <a:pt x="13390" y="1507"/>
                </a:lnTo>
                <a:lnTo>
                  <a:pt x="13377" y="1493"/>
                </a:lnTo>
                <a:lnTo>
                  <a:pt x="13366" y="1478"/>
                </a:lnTo>
                <a:lnTo>
                  <a:pt x="13357" y="1464"/>
                </a:lnTo>
                <a:lnTo>
                  <a:pt x="13350" y="1448"/>
                </a:lnTo>
                <a:lnTo>
                  <a:pt x="13344" y="1432"/>
                </a:lnTo>
                <a:lnTo>
                  <a:pt x="13340" y="1414"/>
                </a:lnTo>
                <a:lnTo>
                  <a:pt x="13337" y="1379"/>
                </a:lnTo>
                <a:lnTo>
                  <a:pt x="13338" y="1360"/>
                </a:lnTo>
                <a:lnTo>
                  <a:pt x="13340" y="1340"/>
                </a:lnTo>
                <a:lnTo>
                  <a:pt x="13345" y="1323"/>
                </a:lnTo>
                <a:lnTo>
                  <a:pt x="13352" y="1305"/>
                </a:lnTo>
                <a:lnTo>
                  <a:pt x="13359" y="1290"/>
                </a:lnTo>
                <a:lnTo>
                  <a:pt x="13369" y="1275"/>
                </a:lnTo>
                <a:lnTo>
                  <a:pt x="13381" y="1262"/>
                </a:lnTo>
                <a:lnTo>
                  <a:pt x="13393" y="1250"/>
                </a:lnTo>
                <a:lnTo>
                  <a:pt x="13423" y="1229"/>
                </a:lnTo>
                <a:lnTo>
                  <a:pt x="13439" y="1221"/>
                </a:lnTo>
                <a:lnTo>
                  <a:pt x="13455" y="1214"/>
                </a:lnTo>
                <a:lnTo>
                  <a:pt x="13493" y="1203"/>
                </a:lnTo>
                <a:lnTo>
                  <a:pt x="13533" y="1198"/>
                </a:lnTo>
                <a:lnTo>
                  <a:pt x="13704" y="1186"/>
                </a:lnTo>
                <a:lnTo>
                  <a:pt x="13704" y="1150"/>
                </a:lnTo>
                <a:lnTo>
                  <a:pt x="13703" y="1130"/>
                </a:lnTo>
                <a:lnTo>
                  <a:pt x="13700" y="1112"/>
                </a:lnTo>
                <a:lnTo>
                  <a:pt x="13693" y="1097"/>
                </a:lnTo>
                <a:lnTo>
                  <a:pt x="13684" y="1084"/>
                </a:lnTo>
                <a:lnTo>
                  <a:pt x="13678" y="1078"/>
                </a:lnTo>
                <a:lnTo>
                  <a:pt x="13671" y="1073"/>
                </a:lnTo>
                <a:lnTo>
                  <a:pt x="13654" y="1065"/>
                </a:lnTo>
                <a:lnTo>
                  <a:pt x="13632" y="1060"/>
                </a:lnTo>
                <a:lnTo>
                  <a:pt x="13605" y="1059"/>
                </a:lnTo>
                <a:lnTo>
                  <a:pt x="13582" y="1060"/>
                </a:lnTo>
                <a:lnTo>
                  <a:pt x="13562" y="1063"/>
                </a:lnTo>
                <a:lnTo>
                  <a:pt x="13544" y="1070"/>
                </a:lnTo>
                <a:lnTo>
                  <a:pt x="13529" y="1079"/>
                </a:lnTo>
                <a:lnTo>
                  <a:pt x="13517" y="1091"/>
                </a:lnTo>
                <a:lnTo>
                  <a:pt x="13508" y="1105"/>
                </a:lnTo>
                <a:lnTo>
                  <a:pt x="13502" y="1122"/>
                </a:lnTo>
                <a:lnTo>
                  <a:pt x="13500" y="1140"/>
                </a:lnTo>
                <a:lnTo>
                  <a:pt x="13365" y="1140"/>
                </a:lnTo>
                <a:lnTo>
                  <a:pt x="13367" y="1117"/>
                </a:lnTo>
                <a:lnTo>
                  <a:pt x="13371" y="1095"/>
                </a:lnTo>
                <a:lnTo>
                  <a:pt x="13378" y="1075"/>
                </a:lnTo>
                <a:lnTo>
                  <a:pt x="13387" y="1056"/>
                </a:lnTo>
                <a:lnTo>
                  <a:pt x="13398" y="1039"/>
                </a:lnTo>
                <a:lnTo>
                  <a:pt x="13409" y="1024"/>
                </a:lnTo>
                <a:lnTo>
                  <a:pt x="13424" y="1010"/>
                </a:lnTo>
                <a:lnTo>
                  <a:pt x="13439" y="998"/>
                </a:lnTo>
                <a:lnTo>
                  <a:pt x="13456" y="987"/>
                </a:lnTo>
                <a:lnTo>
                  <a:pt x="13475" y="977"/>
                </a:lnTo>
                <a:lnTo>
                  <a:pt x="13494" y="969"/>
                </a:lnTo>
                <a:lnTo>
                  <a:pt x="13514" y="963"/>
                </a:lnTo>
                <a:lnTo>
                  <a:pt x="13558" y="955"/>
                </a:lnTo>
                <a:lnTo>
                  <a:pt x="13605" y="952"/>
                </a:lnTo>
                <a:lnTo>
                  <a:pt x="13642" y="953"/>
                </a:lnTo>
                <a:lnTo>
                  <a:pt x="13677" y="958"/>
                </a:lnTo>
                <a:lnTo>
                  <a:pt x="13693" y="962"/>
                </a:lnTo>
                <a:lnTo>
                  <a:pt x="13709" y="966"/>
                </a:lnTo>
                <a:lnTo>
                  <a:pt x="13739" y="978"/>
                </a:lnTo>
                <a:lnTo>
                  <a:pt x="13753" y="986"/>
                </a:lnTo>
                <a:lnTo>
                  <a:pt x="13766" y="994"/>
                </a:lnTo>
                <a:lnTo>
                  <a:pt x="13778" y="1004"/>
                </a:lnTo>
                <a:lnTo>
                  <a:pt x="13789" y="1015"/>
                </a:lnTo>
                <a:lnTo>
                  <a:pt x="13798" y="1027"/>
                </a:lnTo>
                <a:lnTo>
                  <a:pt x="13808" y="1040"/>
                </a:lnTo>
                <a:lnTo>
                  <a:pt x="13822" y="1070"/>
                </a:lnTo>
                <a:lnTo>
                  <a:pt x="13831" y="1099"/>
                </a:lnTo>
                <a:lnTo>
                  <a:pt x="13836" y="1128"/>
                </a:lnTo>
                <a:lnTo>
                  <a:pt x="13840" y="1188"/>
                </a:lnTo>
                <a:lnTo>
                  <a:pt x="13840" y="1403"/>
                </a:lnTo>
                <a:lnTo>
                  <a:pt x="13841" y="1420"/>
                </a:lnTo>
                <a:lnTo>
                  <a:pt x="13847" y="1432"/>
                </a:lnTo>
                <a:lnTo>
                  <a:pt x="13852" y="1435"/>
                </a:lnTo>
                <a:lnTo>
                  <a:pt x="13857" y="1438"/>
                </a:lnTo>
                <a:lnTo>
                  <a:pt x="13872" y="1440"/>
                </a:lnTo>
                <a:lnTo>
                  <a:pt x="13890" y="1438"/>
                </a:lnTo>
                <a:lnTo>
                  <a:pt x="13890" y="1540"/>
                </a:lnTo>
                <a:lnTo>
                  <a:pt x="13859" y="1552"/>
                </a:lnTo>
                <a:lnTo>
                  <a:pt x="13842" y="1555"/>
                </a:lnTo>
                <a:lnTo>
                  <a:pt x="13820" y="1556"/>
                </a:lnTo>
                <a:close/>
                <a:moveTo>
                  <a:pt x="13081" y="1547"/>
                </a:moveTo>
                <a:lnTo>
                  <a:pt x="13081" y="1187"/>
                </a:lnTo>
                <a:lnTo>
                  <a:pt x="13080" y="1161"/>
                </a:lnTo>
                <a:lnTo>
                  <a:pt x="13077" y="1139"/>
                </a:lnTo>
                <a:lnTo>
                  <a:pt x="13072" y="1119"/>
                </a:lnTo>
                <a:lnTo>
                  <a:pt x="13063" y="1103"/>
                </a:lnTo>
                <a:lnTo>
                  <a:pt x="13051" y="1090"/>
                </a:lnTo>
                <a:lnTo>
                  <a:pt x="13036" y="1081"/>
                </a:lnTo>
                <a:lnTo>
                  <a:pt x="13016" y="1076"/>
                </a:lnTo>
                <a:lnTo>
                  <a:pt x="12992" y="1074"/>
                </a:lnTo>
                <a:lnTo>
                  <a:pt x="12978" y="1075"/>
                </a:lnTo>
                <a:lnTo>
                  <a:pt x="12965" y="1077"/>
                </a:lnTo>
                <a:lnTo>
                  <a:pt x="12952" y="1081"/>
                </a:lnTo>
                <a:lnTo>
                  <a:pt x="12941" y="1088"/>
                </a:lnTo>
                <a:lnTo>
                  <a:pt x="12930" y="1095"/>
                </a:lnTo>
                <a:lnTo>
                  <a:pt x="12922" y="1104"/>
                </a:lnTo>
                <a:lnTo>
                  <a:pt x="12905" y="1125"/>
                </a:lnTo>
                <a:lnTo>
                  <a:pt x="12893" y="1149"/>
                </a:lnTo>
                <a:lnTo>
                  <a:pt x="12885" y="1175"/>
                </a:lnTo>
                <a:lnTo>
                  <a:pt x="12880" y="1202"/>
                </a:lnTo>
                <a:lnTo>
                  <a:pt x="12878" y="1230"/>
                </a:lnTo>
                <a:lnTo>
                  <a:pt x="12878" y="1547"/>
                </a:lnTo>
                <a:lnTo>
                  <a:pt x="12740" y="1547"/>
                </a:lnTo>
                <a:lnTo>
                  <a:pt x="12740" y="1187"/>
                </a:lnTo>
                <a:lnTo>
                  <a:pt x="12739" y="1161"/>
                </a:lnTo>
                <a:lnTo>
                  <a:pt x="12736" y="1139"/>
                </a:lnTo>
                <a:lnTo>
                  <a:pt x="12730" y="1119"/>
                </a:lnTo>
                <a:lnTo>
                  <a:pt x="12722" y="1103"/>
                </a:lnTo>
                <a:lnTo>
                  <a:pt x="12710" y="1090"/>
                </a:lnTo>
                <a:lnTo>
                  <a:pt x="12695" y="1081"/>
                </a:lnTo>
                <a:lnTo>
                  <a:pt x="12675" y="1076"/>
                </a:lnTo>
                <a:lnTo>
                  <a:pt x="12651" y="1074"/>
                </a:lnTo>
                <a:lnTo>
                  <a:pt x="12637" y="1075"/>
                </a:lnTo>
                <a:lnTo>
                  <a:pt x="12623" y="1077"/>
                </a:lnTo>
                <a:lnTo>
                  <a:pt x="12611" y="1081"/>
                </a:lnTo>
                <a:lnTo>
                  <a:pt x="12600" y="1088"/>
                </a:lnTo>
                <a:lnTo>
                  <a:pt x="12589" y="1095"/>
                </a:lnTo>
                <a:lnTo>
                  <a:pt x="12579" y="1104"/>
                </a:lnTo>
                <a:lnTo>
                  <a:pt x="12564" y="1125"/>
                </a:lnTo>
                <a:lnTo>
                  <a:pt x="12551" y="1149"/>
                </a:lnTo>
                <a:lnTo>
                  <a:pt x="12542" y="1175"/>
                </a:lnTo>
                <a:lnTo>
                  <a:pt x="12538" y="1202"/>
                </a:lnTo>
                <a:lnTo>
                  <a:pt x="12536" y="1230"/>
                </a:lnTo>
                <a:lnTo>
                  <a:pt x="12536" y="1547"/>
                </a:lnTo>
                <a:lnTo>
                  <a:pt x="12398" y="1547"/>
                </a:lnTo>
                <a:lnTo>
                  <a:pt x="12398" y="966"/>
                </a:lnTo>
                <a:lnTo>
                  <a:pt x="12514" y="966"/>
                </a:lnTo>
                <a:lnTo>
                  <a:pt x="12525" y="1043"/>
                </a:lnTo>
                <a:lnTo>
                  <a:pt x="12538" y="1024"/>
                </a:lnTo>
                <a:lnTo>
                  <a:pt x="12553" y="1006"/>
                </a:lnTo>
                <a:lnTo>
                  <a:pt x="12571" y="991"/>
                </a:lnTo>
                <a:lnTo>
                  <a:pt x="12590" y="978"/>
                </a:lnTo>
                <a:lnTo>
                  <a:pt x="12612" y="967"/>
                </a:lnTo>
                <a:lnTo>
                  <a:pt x="12636" y="958"/>
                </a:lnTo>
                <a:lnTo>
                  <a:pt x="12662" y="954"/>
                </a:lnTo>
                <a:lnTo>
                  <a:pt x="12690" y="952"/>
                </a:lnTo>
                <a:lnTo>
                  <a:pt x="12719" y="954"/>
                </a:lnTo>
                <a:lnTo>
                  <a:pt x="12747" y="958"/>
                </a:lnTo>
                <a:lnTo>
                  <a:pt x="12771" y="966"/>
                </a:lnTo>
                <a:lnTo>
                  <a:pt x="12792" y="977"/>
                </a:lnTo>
                <a:lnTo>
                  <a:pt x="12812" y="991"/>
                </a:lnTo>
                <a:lnTo>
                  <a:pt x="12829" y="1007"/>
                </a:lnTo>
                <a:lnTo>
                  <a:pt x="12844" y="1026"/>
                </a:lnTo>
                <a:lnTo>
                  <a:pt x="12856" y="1047"/>
                </a:lnTo>
                <a:lnTo>
                  <a:pt x="12871" y="1026"/>
                </a:lnTo>
                <a:lnTo>
                  <a:pt x="12887" y="1006"/>
                </a:lnTo>
                <a:lnTo>
                  <a:pt x="12906" y="990"/>
                </a:lnTo>
                <a:lnTo>
                  <a:pt x="12916" y="983"/>
                </a:lnTo>
                <a:lnTo>
                  <a:pt x="12927" y="977"/>
                </a:lnTo>
                <a:lnTo>
                  <a:pt x="12951" y="966"/>
                </a:lnTo>
                <a:lnTo>
                  <a:pt x="12976" y="958"/>
                </a:lnTo>
                <a:lnTo>
                  <a:pt x="13003" y="953"/>
                </a:lnTo>
                <a:lnTo>
                  <a:pt x="13031" y="952"/>
                </a:lnTo>
                <a:lnTo>
                  <a:pt x="13054" y="953"/>
                </a:lnTo>
                <a:lnTo>
                  <a:pt x="13075" y="955"/>
                </a:lnTo>
                <a:lnTo>
                  <a:pt x="13094" y="961"/>
                </a:lnTo>
                <a:lnTo>
                  <a:pt x="13113" y="967"/>
                </a:lnTo>
                <a:lnTo>
                  <a:pt x="13130" y="975"/>
                </a:lnTo>
                <a:lnTo>
                  <a:pt x="13145" y="985"/>
                </a:lnTo>
                <a:lnTo>
                  <a:pt x="13160" y="995"/>
                </a:lnTo>
                <a:lnTo>
                  <a:pt x="13172" y="1008"/>
                </a:lnTo>
                <a:lnTo>
                  <a:pt x="13183" y="1023"/>
                </a:lnTo>
                <a:lnTo>
                  <a:pt x="13193" y="1038"/>
                </a:lnTo>
                <a:lnTo>
                  <a:pt x="13207" y="1073"/>
                </a:lnTo>
                <a:lnTo>
                  <a:pt x="13213" y="1091"/>
                </a:lnTo>
                <a:lnTo>
                  <a:pt x="13215" y="1102"/>
                </a:lnTo>
                <a:lnTo>
                  <a:pt x="13217" y="1112"/>
                </a:lnTo>
                <a:lnTo>
                  <a:pt x="13219" y="1132"/>
                </a:lnTo>
                <a:lnTo>
                  <a:pt x="13219" y="1155"/>
                </a:lnTo>
                <a:lnTo>
                  <a:pt x="13219" y="1547"/>
                </a:lnTo>
                <a:lnTo>
                  <a:pt x="13081" y="1547"/>
                </a:lnTo>
                <a:close/>
                <a:moveTo>
                  <a:pt x="12050" y="876"/>
                </a:moveTo>
                <a:lnTo>
                  <a:pt x="12050" y="741"/>
                </a:lnTo>
                <a:lnTo>
                  <a:pt x="12181" y="741"/>
                </a:lnTo>
                <a:lnTo>
                  <a:pt x="12181" y="876"/>
                </a:lnTo>
                <a:lnTo>
                  <a:pt x="12050" y="876"/>
                </a:lnTo>
                <a:close/>
                <a:moveTo>
                  <a:pt x="11820" y="876"/>
                </a:moveTo>
                <a:lnTo>
                  <a:pt x="11820" y="741"/>
                </a:lnTo>
                <a:lnTo>
                  <a:pt x="11950" y="741"/>
                </a:lnTo>
                <a:lnTo>
                  <a:pt x="11950" y="876"/>
                </a:lnTo>
                <a:lnTo>
                  <a:pt x="11820" y="876"/>
                </a:lnTo>
                <a:close/>
                <a:moveTo>
                  <a:pt x="12094" y="1289"/>
                </a:moveTo>
                <a:lnTo>
                  <a:pt x="11946" y="1300"/>
                </a:lnTo>
                <a:lnTo>
                  <a:pt x="11931" y="1302"/>
                </a:lnTo>
                <a:lnTo>
                  <a:pt x="11915" y="1307"/>
                </a:lnTo>
                <a:lnTo>
                  <a:pt x="11901" y="1313"/>
                </a:lnTo>
                <a:lnTo>
                  <a:pt x="11888" y="1322"/>
                </a:lnTo>
                <a:lnTo>
                  <a:pt x="11877" y="1333"/>
                </a:lnTo>
                <a:lnTo>
                  <a:pt x="11870" y="1345"/>
                </a:lnTo>
                <a:lnTo>
                  <a:pt x="11864" y="1360"/>
                </a:lnTo>
                <a:lnTo>
                  <a:pt x="11862" y="1376"/>
                </a:lnTo>
                <a:lnTo>
                  <a:pt x="11864" y="1392"/>
                </a:lnTo>
                <a:lnTo>
                  <a:pt x="11869" y="1407"/>
                </a:lnTo>
                <a:lnTo>
                  <a:pt x="11877" y="1419"/>
                </a:lnTo>
                <a:lnTo>
                  <a:pt x="11887" y="1429"/>
                </a:lnTo>
                <a:lnTo>
                  <a:pt x="11900" y="1438"/>
                </a:lnTo>
                <a:lnTo>
                  <a:pt x="11913" y="1444"/>
                </a:lnTo>
                <a:lnTo>
                  <a:pt x="11928" y="1448"/>
                </a:lnTo>
                <a:lnTo>
                  <a:pt x="11945" y="1449"/>
                </a:lnTo>
                <a:lnTo>
                  <a:pt x="11976" y="1447"/>
                </a:lnTo>
                <a:lnTo>
                  <a:pt x="11990" y="1444"/>
                </a:lnTo>
                <a:lnTo>
                  <a:pt x="12005" y="1440"/>
                </a:lnTo>
                <a:lnTo>
                  <a:pt x="12031" y="1429"/>
                </a:lnTo>
                <a:lnTo>
                  <a:pt x="12041" y="1423"/>
                </a:lnTo>
                <a:lnTo>
                  <a:pt x="12051" y="1414"/>
                </a:lnTo>
                <a:lnTo>
                  <a:pt x="12070" y="1396"/>
                </a:lnTo>
                <a:lnTo>
                  <a:pt x="12076" y="1385"/>
                </a:lnTo>
                <a:lnTo>
                  <a:pt x="12083" y="1373"/>
                </a:lnTo>
                <a:lnTo>
                  <a:pt x="12087" y="1360"/>
                </a:lnTo>
                <a:lnTo>
                  <a:pt x="12090" y="1347"/>
                </a:lnTo>
                <a:lnTo>
                  <a:pt x="12093" y="1332"/>
                </a:lnTo>
                <a:lnTo>
                  <a:pt x="12094" y="1316"/>
                </a:lnTo>
                <a:lnTo>
                  <a:pt x="12094" y="1289"/>
                </a:lnTo>
                <a:close/>
                <a:moveTo>
                  <a:pt x="12210" y="1556"/>
                </a:moveTo>
                <a:lnTo>
                  <a:pt x="12189" y="1555"/>
                </a:lnTo>
                <a:lnTo>
                  <a:pt x="12171" y="1549"/>
                </a:lnTo>
                <a:lnTo>
                  <a:pt x="12154" y="1541"/>
                </a:lnTo>
                <a:lnTo>
                  <a:pt x="12140" y="1532"/>
                </a:lnTo>
                <a:lnTo>
                  <a:pt x="12129" y="1520"/>
                </a:lnTo>
                <a:lnTo>
                  <a:pt x="12121" y="1506"/>
                </a:lnTo>
                <a:lnTo>
                  <a:pt x="12115" y="1490"/>
                </a:lnTo>
                <a:lnTo>
                  <a:pt x="12112" y="1474"/>
                </a:lnTo>
                <a:lnTo>
                  <a:pt x="12100" y="1491"/>
                </a:lnTo>
                <a:lnTo>
                  <a:pt x="12085" y="1508"/>
                </a:lnTo>
                <a:lnTo>
                  <a:pt x="12066" y="1523"/>
                </a:lnTo>
                <a:lnTo>
                  <a:pt x="12045" y="1536"/>
                </a:lnTo>
                <a:lnTo>
                  <a:pt x="12021" y="1547"/>
                </a:lnTo>
                <a:lnTo>
                  <a:pt x="11995" y="1555"/>
                </a:lnTo>
                <a:lnTo>
                  <a:pt x="11966" y="1560"/>
                </a:lnTo>
                <a:lnTo>
                  <a:pt x="11936" y="1561"/>
                </a:lnTo>
                <a:lnTo>
                  <a:pt x="11911" y="1561"/>
                </a:lnTo>
                <a:lnTo>
                  <a:pt x="11887" y="1558"/>
                </a:lnTo>
                <a:lnTo>
                  <a:pt x="11865" y="1553"/>
                </a:lnTo>
                <a:lnTo>
                  <a:pt x="11845" y="1547"/>
                </a:lnTo>
                <a:lnTo>
                  <a:pt x="11826" y="1538"/>
                </a:lnTo>
                <a:lnTo>
                  <a:pt x="11809" y="1530"/>
                </a:lnTo>
                <a:lnTo>
                  <a:pt x="11794" y="1519"/>
                </a:lnTo>
                <a:lnTo>
                  <a:pt x="11780" y="1507"/>
                </a:lnTo>
                <a:lnTo>
                  <a:pt x="11767" y="1493"/>
                </a:lnTo>
                <a:lnTo>
                  <a:pt x="11756" y="1478"/>
                </a:lnTo>
                <a:lnTo>
                  <a:pt x="11747" y="1464"/>
                </a:lnTo>
                <a:lnTo>
                  <a:pt x="11739" y="1448"/>
                </a:lnTo>
                <a:lnTo>
                  <a:pt x="11734" y="1432"/>
                </a:lnTo>
                <a:lnTo>
                  <a:pt x="11730" y="1414"/>
                </a:lnTo>
                <a:lnTo>
                  <a:pt x="11726" y="1379"/>
                </a:lnTo>
                <a:lnTo>
                  <a:pt x="11727" y="1360"/>
                </a:lnTo>
                <a:lnTo>
                  <a:pt x="11731" y="1340"/>
                </a:lnTo>
                <a:lnTo>
                  <a:pt x="11735" y="1323"/>
                </a:lnTo>
                <a:lnTo>
                  <a:pt x="11742" y="1305"/>
                </a:lnTo>
                <a:lnTo>
                  <a:pt x="11749" y="1290"/>
                </a:lnTo>
                <a:lnTo>
                  <a:pt x="11759" y="1275"/>
                </a:lnTo>
                <a:lnTo>
                  <a:pt x="11771" y="1262"/>
                </a:lnTo>
                <a:lnTo>
                  <a:pt x="11783" y="1250"/>
                </a:lnTo>
                <a:lnTo>
                  <a:pt x="11812" y="1229"/>
                </a:lnTo>
                <a:lnTo>
                  <a:pt x="11828" y="1221"/>
                </a:lnTo>
                <a:lnTo>
                  <a:pt x="11846" y="1214"/>
                </a:lnTo>
                <a:lnTo>
                  <a:pt x="11883" y="1203"/>
                </a:lnTo>
                <a:lnTo>
                  <a:pt x="11923" y="1198"/>
                </a:lnTo>
                <a:lnTo>
                  <a:pt x="12094" y="1186"/>
                </a:lnTo>
                <a:lnTo>
                  <a:pt x="12094" y="1150"/>
                </a:lnTo>
                <a:lnTo>
                  <a:pt x="12093" y="1130"/>
                </a:lnTo>
                <a:lnTo>
                  <a:pt x="12089" y="1112"/>
                </a:lnTo>
                <a:lnTo>
                  <a:pt x="12083" y="1097"/>
                </a:lnTo>
                <a:lnTo>
                  <a:pt x="12074" y="1084"/>
                </a:lnTo>
                <a:lnTo>
                  <a:pt x="12068" y="1078"/>
                </a:lnTo>
                <a:lnTo>
                  <a:pt x="12061" y="1073"/>
                </a:lnTo>
                <a:lnTo>
                  <a:pt x="12044" y="1065"/>
                </a:lnTo>
                <a:lnTo>
                  <a:pt x="12022" y="1060"/>
                </a:lnTo>
                <a:lnTo>
                  <a:pt x="11995" y="1059"/>
                </a:lnTo>
                <a:lnTo>
                  <a:pt x="11972" y="1060"/>
                </a:lnTo>
                <a:lnTo>
                  <a:pt x="11951" y="1063"/>
                </a:lnTo>
                <a:lnTo>
                  <a:pt x="11934" y="1070"/>
                </a:lnTo>
                <a:lnTo>
                  <a:pt x="11919" y="1079"/>
                </a:lnTo>
                <a:lnTo>
                  <a:pt x="11907" y="1091"/>
                </a:lnTo>
                <a:lnTo>
                  <a:pt x="11898" y="1105"/>
                </a:lnTo>
                <a:lnTo>
                  <a:pt x="11892" y="1122"/>
                </a:lnTo>
                <a:lnTo>
                  <a:pt x="11889" y="1140"/>
                </a:lnTo>
                <a:lnTo>
                  <a:pt x="11755" y="1140"/>
                </a:lnTo>
                <a:lnTo>
                  <a:pt x="11757" y="1117"/>
                </a:lnTo>
                <a:lnTo>
                  <a:pt x="11761" y="1095"/>
                </a:lnTo>
                <a:lnTo>
                  <a:pt x="11769" y="1075"/>
                </a:lnTo>
                <a:lnTo>
                  <a:pt x="11777" y="1056"/>
                </a:lnTo>
                <a:lnTo>
                  <a:pt x="11787" y="1039"/>
                </a:lnTo>
                <a:lnTo>
                  <a:pt x="11800" y="1024"/>
                </a:lnTo>
                <a:lnTo>
                  <a:pt x="11813" y="1010"/>
                </a:lnTo>
                <a:lnTo>
                  <a:pt x="11830" y="998"/>
                </a:lnTo>
                <a:lnTo>
                  <a:pt x="11846" y="987"/>
                </a:lnTo>
                <a:lnTo>
                  <a:pt x="11864" y="977"/>
                </a:lnTo>
                <a:lnTo>
                  <a:pt x="11884" y="969"/>
                </a:lnTo>
                <a:lnTo>
                  <a:pt x="11903" y="963"/>
                </a:lnTo>
                <a:lnTo>
                  <a:pt x="11948" y="955"/>
                </a:lnTo>
                <a:lnTo>
                  <a:pt x="11995" y="952"/>
                </a:lnTo>
                <a:lnTo>
                  <a:pt x="12032" y="953"/>
                </a:lnTo>
                <a:lnTo>
                  <a:pt x="12066" y="958"/>
                </a:lnTo>
                <a:lnTo>
                  <a:pt x="12083" y="962"/>
                </a:lnTo>
                <a:lnTo>
                  <a:pt x="12099" y="966"/>
                </a:lnTo>
                <a:lnTo>
                  <a:pt x="12128" y="978"/>
                </a:lnTo>
                <a:lnTo>
                  <a:pt x="12143" y="986"/>
                </a:lnTo>
                <a:lnTo>
                  <a:pt x="12156" y="994"/>
                </a:lnTo>
                <a:lnTo>
                  <a:pt x="12168" y="1004"/>
                </a:lnTo>
                <a:lnTo>
                  <a:pt x="12178" y="1015"/>
                </a:lnTo>
                <a:lnTo>
                  <a:pt x="12188" y="1027"/>
                </a:lnTo>
                <a:lnTo>
                  <a:pt x="12198" y="1040"/>
                </a:lnTo>
                <a:lnTo>
                  <a:pt x="12213" y="1070"/>
                </a:lnTo>
                <a:lnTo>
                  <a:pt x="12222" y="1099"/>
                </a:lnTo>
                <a:lnTo>
                  <a:pt x="12226" y="1128"/>
                </a:lnTo>
                <a:lnTo>
                  <a:pt x="12229" y="1188"/>
                </a:lnTo>
                <a:lnTo>
                  <a:pt x="12229" y="1403"/>
                </a:lnTo>
                <a:lnTo>
                  <a:pt x="12232" y="1420"/>
                </a:lnTo>
                <a:lnTo>
                  <a:pt x="12237" y="1432"/>
                </a:lnTo>
                <a:lnTo>
                  <a:pt x="12241" y="1435"/>
                </a:lnTo>
                <a:lnTo>
                  <a:pt x="12247" y="1438"/>
                </a:lnTo>
                <a:lnTo>
                  <a:pt x="12262" y="1440"/>
                </a:lnTo>
                <a:lnTo>
                  <a:pt x="12279" y="1438"/>
                </a:lnTo>
                <a:lnTo>
                  <a:pt x="12279" y="1540"/>
                </a:lnTo>
                <a:lnTo>
                  <a:pt x="12249" y="1552"/>
                </a:lnTo>
                <a:lnTo>
                  <a:pt x="12232" y="1555"/>
                </a:lnTo>
                <a:lnTo>
                  <a:pt x="12210" y="1556"/>
                </a:lnTo>
                <a:close/>
                <a:moveTo>
                  <a:pt x="11596" y="1553"/>
                </a:moveTo>
                <a:lnTo>
                  <a:pt x="11562" y="1551"/>
                </a:lnTo>
                <a:lnTo>
                  <a:pt x="11546" y="1549"/>
                </a:lnTo>
                <a:lnTo>
                  <a:pt x="11531" y="1545"/>
                </a:lnTo>
                <a:lnTo>
                  <a:pt x="11517" y="1539"/>
                </a:lnTo>
                <a:lnTo>
                  <a:pt x="11504" y="1534"/>
                </a:lnTo>
                <a:lnTo>
                  <a:pt x="11492" y="1526"/>
                </a:lnTo>
                <a:lnTo>
                  <a:pt x="11481" y="1518"/>
                </a:lnTo>
                <a:lnTo>
                  <a:pt x="11471" y="1507"/>
                </a:lnTo>
                <a:lnTo>
                  <a:pt x="11462" y="1496"/>
                </a:lnTo>
                <a:lnTo>
                  <a:pt x="11455" y="1483"/>
                </a:lnTo>
                <a:lnTo>
                  <a:pt x="11449" y="1469"/>
                </a:lnTo>
                <a:lnTo>
                  <a:pt x="11441" y="1436"/>
                </a:lnTo>
                <a:lnTo>
                  <a:pt x="11438" y="1417"/>
                </a:lnTo>
                <a:lnTo>
                  <a:pt x="11437" y="1398"/>
                </a:lnTo>
                <a:lnTo>
                  <a:pt x="11437" y="740"/>
                </a:lnTo>
                <a:lnTo>
                  <a:pt x="11577" y="740"/>
                </a:lnTo>
                <a:lnTo>
                  <a:pt x="11577" y="1374"/>
                </a:lnTo>
                <a:lnTo>
                  <a:pt x="11579" y="1386"/>
                </a:lnTo>
                <a:lnTo>
                  <a:pt x="11580" y="1397"/>
                </a:lnTo>
                <a:lnTo>
                  <a:pt x="11583" y="1407"/>
                </a:lnTo>
                <a:lnTo>
                  <a:pt x="11588" y="1414"/>
                </a:lnTo>
                <a:lnTo>
                  <a:pt x="11595" y="1421"/>
                </a:lnTo>
                <a:lnTo>
                  <a:pt x="11605" y="1426"/>
                </a:lnTo>
                <a:lnTo>
                  <a:pt x="11618" y="1428"/>
                </a:lnTo>
                <a:lnTo>
                  <a:pt x="11634" y="1429"/>
                </a:lnTo>
                <a:lnTo>
                  <a:pt x="11657" y="1428"/>
                </a:lnTo>
                <a:lnTo>
                  <a:pt x="11657" y="1546"/>
                </a:lnTo>
                <a:lnTo>
                  <a:pt x="11626" y="1552"/>
                </a:lnTo>
                <a:lnTo>
                  <a:pt x="11596" y="1553"/>
                </a:lnTo>
                <a:close/>
                <a:moveTo>
                  <a:pt x="11139" y="1097"/>
                </a:moveTo>
                <a:lnTo>
                  <a:pt x="11131" y="1090"/>
                </a:lnTo>
                <a:lnTo>
                  <a:pt x="11122" y="1084"/>
                </a:lnTo>
                <a:lnTo>
                  <a:pt x="11103" y="1073"/>
                </a:lnTo>
                <a:lnTo>
                  <a:pt x="11091" y="1069"/>
                </a:lnTo>
                <a:lnTo>
                  <a:pt x="11079" y="1066"/>
                </a:lnTo>
                <a:lnTo>
                  <a:pt x="11051" y="1064"/>
                </a:lnTo>
                <a:lnTo>
                  <a:pt x="11020" y="1067"/>
                </a:lnTo>
                <a:lnTo>
                  <a:pt x="10994" y="1076"/>
                </a:lnTo>
                <a:lnTo>
                  <a:pt x="10971" y="1090"/>
                </a:lnTo>
                <a:lnTo>
                  <a:pt x="10961" y="1099"/>
                </a:lnTo>
                <a:lnTo>
                  <a:pt x="10954" y="1109"/>
                </a:lnTo>
                <a:lnTo>
                  <a:pt x="10941" y="1128"/>
                </a:lnTo>
                <a:lnTo>
                  <a:pt x="10931" y="1149"/>
                </a:lnTo>
                <a:lnTo>
                  <a:pt x="10926" y="1172"/>
                </a:lnTo>
                <a:lnTo>
                  <a:pt x="10923" y="1199"/>
                </a:lnTo>
                <a:lnTo>
                  <a:pt x="11174" y="1199"/>
                </a:lnTo>
                <a:lnTo>
                  <a:pt x="11173" y="1183"/>
                </a:lnTo>
                <a:lnTo>
                  <a:pt x="11171" y="1168"/>
                </a:lnTo>
                <a:lnTo>
                  <a:pt x="11165" y="1141"/>
                </a:lnTo>
                <a:lnTo>
                  <a:pt x="11154" y="1117"/>
                </a:lnTo>
                <a:lnTo>
                  <a:pt x="11146" y="1106"/>
                </a:lnTo>
                <a:lnTo>
                  <a:pt x="11139" y="1097"/>
                </a:lnTo>
                <a:close/>
                <a:moveTo>
                  <a:pt x="11312" y="1300"/>
                </a:moveTo>
                <a:lnTo>
                  <a:pt x="10924" y="1300"/>
                </a:lnTo>
                <a:lnTo>
                  <a:pt x="10924" y="1317"/>
                </a:lnTo>
                <a:lnTo>
                  <a:pt x="10927" y="1333"/>
                </a:lnTo>
                <a:lnTo>
                  <a:pt x="10935" y="1364"/>
                </a:lnTo>
                <a:lnTo>
                  <a:pt x="10941" y="1378"/>
                </a:lnTo>
                <a:lnTo>
                  <a:pt x="10948" y="1391"/>
                </a:lnTo>
                <a:lnTo>
                  <a:pt x="10957" y="1403"/>
                </a:lnTo>
                <a:lnTo>
                  <a:pt x="10967" y="1414"/>
                </a:lnTo>
                <a:lnTo>
                  <a:pt x="10983" y="1427"/>
                </a:lnTo>
                <a:lnTo>
                  <a:pt x="11003" y="1439"/>
                </a:lnTo>
                <a:lnTo>
                  <a:pt x="11027" y="1447"/>
                </a:lnTo>
                <a:lnTo>
                  <a:pt x="11053" y="1450"/>
                </a:lnTo>
                <a:lnTo>
                  <a:pt x="11080" y="1448"/>
                </a:lnTo>
                <a:lnTo>
                  <a:pt x="11103" y="1444"/>
                </a:lnTo>
                <a:lnTo>
                  <a:pt x="11121" y="1435"/>
                </a:lnTo>
                <a:lnTo>
                  <a:pt x="11137" y="1422"/>
                </a:lnTo>
                <a:lnTo>
                  <a:pt x="11146" y="1412"/>
                </a:lnTo>
                <a:lnTo>
                  <a:pt x="11154" y="1401"/>
                </a:lnTo>
                <a:lnTo>
                  <a:pt x="11160" y="1388"/>
                </a:lnTo>
                <a:lnTo>
                  <a:pt x="11166" y="1373"/>
                </a:lnTo>
                <a:lnTo>
                  <a:pt x="11299" y="1373"/>
                </a:lnTo>
                <a:lnTo>
                  <a:pt x="11293" y="1400"/>
                </a:lnTo>
                <a:lnTo>
                  <a:pt x="11288" y="1415"/>
                </a:lnTo>
                <a:lnTo>
                  <a:pt x="11282" y="1429"/>
                </a:lnTo>
                <a:lnTo>
                  <a:pt x="11267" y="1457"/>
                </a:lnTo>
                <a:lnTo>
                  <a:pt x="11250" y="1481"/>
                </a:lnTo>
                <a:lnTo>
                  <a:pt x="11231" y="1500"/>
                </a:lnTo>
                <a:lnTo>
                  <a:pt x="11209" y="1518"/>
                </a:lnTo>
                <a:lnTo>
                  <a:pt x="11186" y="1532"/>
                </a:lnTo>
                <a:lnTo>
                  <a:pt x="11161" y="1543"/>
                </a:lnTo>
                <a:lnTo>
                  <a:pt x="11136" y="1551"/>
                </a:lnTo>
                <a:lnTo>
                  <a:pt x="11109" y="1557"/>
                </a:lnTo>
                <a:lnTo>
                  <a:pt x="11082" y="1560"/>
                </a:lnTo>
                <a:lnTo>
                  <a:pt x="11055" y="1561"/>
                </a:lnTo>
                <a:lnTo>
                  <a:pt x="11027" y="1560"/>
                </a:lnTo>
                <a:lnTo>
                  <a:pt x="10999" y="1557"/>
                </a:lnTo>
                <a:lnTo>
                  <a:pt x="10986" y="1553"/>
                </a:lnTo>
                <a:lnTo>
                  <a:pt x="10974" y="1550"/>
                </a:lnTo>
                <a:lnTo>
                  <a:pt x="10951" y="1543"/>
                </a:lnTo>
                <a:lnTo>
                  <a:pt x="10929" y="1532"/>
                </a:lnTo>
                <a:lnTo>
                  <a:pt x="10909" y="1520"/>
                </a:lnTo>
                <a:lnTo>
                  <a:pt x="10890" y="1506"/>
                </a:lnTo>
                <a:lnTo>
                  <a:pt x="10872" y="1490"/>
                </a:lnTo>
                <a:lnTo>
                  <a:pt x="10852" y="1468"/>
                </a:lnTo>
                <a:lnTo>
                  <a:pt x="10833" y="1444"/>
                </a:lnTo>
                <a:lnTo>
                  <a:pt x="10818" y="1417"/>
                </a:lnTo>
                <a:lnTo>
                  <a:pt x="10806" y="1388"/>
                </a:lnTo>
                <a:lnTo>
                  <a:pt x="10801" y="1374"/>
                </a:lnTo>
                <a:lnTo>
                  <a:pt x="10796" y="1359"/>
                </a:lnTo>
                <a:lnTo>
                  <a:pt x="10789" y="1326"/>
                </a:lnTo>
                <a:lnTo>
                  <a:pt x="10784" y="1292"/>
                </a:lnTo>
                <a:lnTo>
                  <a:pt x="10783" y="1258"/>
                </a:lnTo>
                <a:lnTo>
                  <a:pt x="10784" y="1224"/>
                </a:lnTo>
                <a:lnTo>
                  <a:pt x="10788" y="1190"/>
                </a:lnTo>
                <a:lnTo>
                  <a:pt x="10794" y="1159"/>
                </a:lnTo>
                <a:lnTo>
                  <a:pt x="10804" y="1128"/>
                </a:lnTo>
                <a:lnTo>
                  <a:pt x="10816" y="1100"/>
                </a:lnTo>
                <a:lnTo>
                  <a:pt x="10830" y="1073"/>
                </a:lnTo>
                <a:lnTo>
                  <a:pt x="10847" y="1048"/>
                </a:lnTo>
                <a:lnTo>
                  <a:pt x="10867" y="1026"/>
                </a:lnTo>
                <a:lnTo>
                  <a:pt x="10883" y="1010"/>
                </a:lnTo>
                <a:lnTo>
                  <a:pt x="10903" y="995"/>
                </a:lnTo>
                <a:lnTo>
                  <a:pt x="10923" y="982"/>
                </a:lnTo>
                <a:lnTo>
                  <a:pt x="10946" y="971"/>
                </a:lnTo>
                <a:lnTo>
                  <a:pt x="10970" y="964"/>
                </a:lnTo>
                <a:lnTo>
                  <a:pt x="10995" y="957"/>
                </a:lnTo>
                <a:lnTo>
                  <a:pt x="11022" y="953"/>
                </a:lnTo>
                <a:lnTo>
                  <a:pt x="11052" y="952"/>
                </a:lnTo>
                <a:lnTo>
                  <a:pt x="11083" y="954"/>
                </a:lnTo>
                <a:lnTo>
                  <a:pt x="11115" y="958"/>
                </a:lnTo>
                <a:lnTo>
                  <a:pt x="11144" y="967"/>
                </a:lnTo>
                <a:lnTo>
                  <a:pt x="11172" y="978"/>
                </a:lnTo>
                <a:lnTo>
                  <a:pt x="11198" y="993"/>
                </a:lnTo>
                <a:lnTo>
                  <a:pt x="11222" y="1012"/>
                </a:lnTo>
                <a:lnTo>
                  <a:pt x="11244" y="1033"/>
                </a:lnTo>
                <a:lnTo>
                  <a:pt x="11263" y="1060"/>
                </a:lnTo>
                <a:lnTo>
                  <a:pt x="11278" y="1084"/>
                </a:lnTo>
                <a:lnTo>
                  <a:pt x="11290" y="1107"/>
                </a:lnTo>
                <a:lnTo>
                  <a:pt x="11306" y="1156"/>
                </a:lnTo>
                <a:lnTo>
                  <a:pt x="11310" y="1183"/>
                </a:lnTo>
                <a:lnTo>
                  <a:pt x="11312" y="1208"/>
                </a:lnTo>
                <a:lnTo>
                  <a:pt x="11313" y="1261"/>
                </a:lnTo>
                <a:lnTo>
                  <a:pt x="11312" y="1300"/>
                </a:lnTo>
                <a:close/>
                <a:moveTo>
                  <a:pt x="10509" y="1111"/>
                </a:moveTo>
                <a:lnTo>
                  <a:pt x="10502" y="1103"/>
                </a:lnTo>
                <a:lnTo>
                  <a:pt x="10493" y="1097"/>
                </a:lnTo>
                <a:lnTo>
                  <a:pt x="10472" y="1085"/>
                </a:lnTo>
                <a:lnTo>
                  <a:pt x="10462" y="1080"/>
                </a:lnTo>
                <a:lnTo>
                  <a:pt x="10449" y="1077"/>
                </a:lnTo>
                <a:lnTo>
                  <a:pt x="10421" y="1074"/>
                </a:lnTo>
                <a:lnTo>
                  <a:pt x="10394" y="1077"/>
                </a:lnTo>
                <a:lnTo>
                  <a:pt x="10370" y="1085"/>
                </a:lnTo>
                <a:lnTo>
                  <a:pt x="10350" y="1097"/>
                </a:lnTo>
                <a:lnTo>
                  <a:pt x="10341" y="1103"/>
                </a:lnTo>
                <a:lnTo>
                  <a:pt x="10333" y="1111"/>
                </a:lnTo>
                <a:lnTo>
                  <a:pt x="10322" y="1125"/>
                </a:lnTo>
                <a:lnTo>
                  <a:pt x="10313" y="1141"/>
                </a:lnTo>
                <a:lnTo>
                  <a:pt x="10306" y="1159"/>
                </a:lnTo>
                <a:lnTo>
                  <a:pt x="10301" y="1177"/>
                </a:lnTo>
                <a:lnTo>
                  <a:pt x="10294" y="1216"/>
                </a:lnTo>
                <a:lnTo>
                  <a:pt x="10292" y="1256"/>
                </a:lnTo>
                <a:lnTo>
                  <a:pt x="10292" y="1277"/>
                </a:lnTo>
                <a:lnTo>
                  <a:pt x="10294" y="1298"/>
                </a:lnTo>
                <a:lnTo>
                  <a:pt x="10301" y="1337"/>
                </a:lnTo>
                <a:lnTo>
                  <a:pt x="10306" y="1355"/>
                </a:lnTo>
                <a:lnTo>
                  <a:pt x="10313" y="1372"/>
                </a:lnTo>
                <a:lnTo>
                  <a:pt x="10322" y="1388"/>
                </a:lnTo>
                <a:lnTo>
                  <a:pt x="10333" y="1403"/>
                </a:lnTo>
                <a:lnTo>
                  <a:pt x="10341" y="1410"/>
                </a:lnTo>
                <a:lnTo>
                  <a:pt x="10350" y="1417"/>
                </a:lnTo>
                <a:lnTo>
                  <a:pt x="10370" y="1429"/>
                </a:lnTo>
                <a:lnTo>
                  <a:pt x="10382" y="1434"/>
                </a:lnTo>
                <a:lnTo>
                  <a:pt x="10394" y="1437"/>
                </a:lnTo>
                <a:lnTo>
                  <a:pt x="10421" y="1440"/>
                </a:lnTo>
                <a:lnTo>
                  <a:pt x="10449" y="1437"/>
                </a:lnTo>
                <a:lnTo>
                  <a:pt x="10472" y="1429"/>
                </a:lnTo>
                <a:lnTo>
                  <a:pt x="10493" y="1417"/>
                </a:lnTo>
                <a:lnTo>
                  <a:pt x="10502" y="1410"/>
                </a:lnTo>
                <a:lnTo>
                  <a:pt x="10509" y="1403"/>
                </a:lnTo>
                <a:lnTo>
                  <a:pt x="10521" y="1388"/>
                </a:lnTo>
                <a:lnTo>
                  <a:pt x="10530" y="1372"/>
                </a:lnTo>
                <a:lnTo>
                  <a:pt x="10538" y="1355"/>
                </a:lnTo>
                <a:lnTo>
                  <a:pt x="10543" y="1337"/>
                </a:lnTo>
                <a:lnTo>
                  <a:pt x="10550" y="1298"/>
                </a:lnTo>
                <a:lnTo>
                  <a:pt x="10551" y="1256"/>
                </a:lnTo>
                <a:lnTo>
                  <a:pt x="10551" y="1236"/>
                </a:lnTo>
                <a:lnTo>
                  <a:pt x="10550" y="1216"/>
                </a:lnTo>
                <a:lnTo>
                  <a:pt x="10543" y="1177"/>
                </a:lnTo>
                <a:lnTo>
                  <a:pt x="10538" y="1159"/>
                </a:lnTo>
                <a:lnTo>
                  <a:pt x="10530" y="1141"/>
                </a:lnTo>
                <a:lnTo>
                  <a:pt x="10521" y="1125"/>
                </a:lnTo>
                <a:lnTo>
                  <a:pt x="10509" y="1111"/>
                </a:lnTo>
                <a:close/>
                <a:moveTo>
                  <a:pt x="10625" y="1471"/>
                </a:moveTo>
                <a:lnTo>
                  <a:pt x="10608" y="1489"/>
                </a:lnTo>
                <a:lnTo>
                  <a:pt x="10589" y="1506"/>
                </a:lnTo>
                <a:lnTo>
                  <a:pt x="10566" y="1521"/>
                </a:lnTo>
                <a:lnTo>
                  <a:pt x="10541" y="1535"/>
                </a:lnTo>
                <a:lnTo>
                  <a:pt x="10514" y="1546"/>
                </a:lnTo>
                <a:lnTo>
                  <a:pt x="10484" y="1555"/>
                </a:lnTo>
                <a:lnTo>
                  <a:pt x="10454" y="1560"/>
                </a:lnTo>
                <a:lnTo>
                  <a:pt x="10421" y="1561"/>
                </a:lnTo>
                <a:lnTo>
                  <a:pt x="10389" y="1560"/>
                </a:lnTo>
                <a:lnTo>
                  <a:pt x="10358" y="1555"/>
                </a:lnTo>
                <a:lnTo>
                  <a:pt x="10329" y="1546"/>
                </a:lnTo>
                <a:lnTo>
                  <a:pt x="10302" y="1535"/>
                </a:lnTo>
                <a:lnTo>
                  <a:pt x="10277" y="1521"/>
                </a:lnTo>
                <a:lnTo>
                  <a:pt x="10255" y="1506"/>
                </a:lnTo>
                <a:lnTo>
                  <a:pt x="10236" y="1489"/>
                </a:lnTo>
                <a:lnTo>
                  <a:pt x="10227" y="1481"/>
                </a:lnTo>
                <a:lnTo>
                  <a:pt x="10218" y="1471"/>
                </a:lnTo>
                <a:lnTo>
                  <a:pt x="10190" y="1428"/>
                </a:lnTo>
                <a:lnTo>
                  <a:pt x="10178" y="1406"/>
                </a:lnTo>
                <a:lnTo>
                  <a:pt x="10168" y="1380"/>
                </a:lnTo>
                <a:lnTo>
                  <a:pt x="10161" y="1353"/>
                </a:lnTo>
                <a:lnTo>
                  <a:pt x="10155" y="1324"/>
                </a:lnTo>
                <a:lnTo>
                  <a:pt x="10152" y="1292"/>
                </a:lnTo>
                <a:lnTo>
                  <a:pt x="10151" y="1256"/>
                </a:lnTo>
                <a:lnTo>
                  <a:pt x="10152" y="1222"/>
                </a:lnTo>
                <a:lnTo>
                  <a:pt x="10155" y="1189"/>
                </a:lnTo>
                <a:lnTo>
                  <a:pt x="10161" y="1160"/>
                </a:lnTo>
                <a:lnTo>
                  <a:pt x="10168" y="1134"/>
                </a:lnTo>
                <a:lnTo>
                  <a:pt x="10178" y="1109"/>
                </a:lnTo>
                <a:lnTo>
                  <a:pt x="10190" y="1085"/>
                </a:lnTo>
                <a:lnTo>
                  <a:pt x="10203" y="1063"/>
                </a:lnTo>
                <a:lnTo>
                  <a:pt x="10218" y="1042"/>
                </a:lnTo>
                <a:lnTo>
                  <a:pt x="10236" y="1025"/>
                </a:lnTo>
                <a:lnTo>
                  <a:pt x="10255" y="1007"/>
                </a:lnTo>
                <a:lnTo>
                  <a:pt x="10277" y="992"/>
                </a:lnTo>
                <a:lnTo>
                  <a:pt x="10302" y="979"/>
                </a:lnTo>
                <a:lnTo>
                  <a:pt x="10329" y="967"/>
                </a:lnTo>
                <a:lnTo>
                  <a:pt x="10358" y="960"/>
                </a:lnTo>
                <a:lnTo>
                  <a:pt x="10389" y="954"/>
                </a:lnTo>
                <a:lnTo>
                  <a:pt x="10421" y="952"/>
                </a:lnTo>
                <a:lnTo>
                  <a:pt x="10454" y="954"/>
                </a:lnTo>
                <a:lnTo>
                  <a:pt x="10484" y="960"/>
                </a:lnTo>
                <a:lnTo>
                  <a:pt x="10514" y="967"/>
                </a:lnTo>
                <a:lnTo>
                  <a:pt x="10541" y="979"/>
                </a:lnTo>
                <a:lnTo>
                  <a:pt x="10566" y="992"/>
                </a:lnTo>
                <a:lnTo>
                  <a:pt x="10589" y="1007"/>
                </a:lnTo>
                <a:lnTo>
                  <a:pt x="10608" y="1025"/>
                </a:lnTo>
                <a:lnTo>
                  <a:pt x="10617" y="1033"/>
                </a:lnTo>
                <a:lnTo>
                  <a:pt x="10625" y="1042"/>
                </a:lnTo>
                <a:lnTo>
                  <a:pt x="10654" y="1085"/>
                </a:lnTo>
                <a:lnTo>
                  <a:pt x="10665" y="1109"/>
                </a:lnTo>
                <a:lnTo>
                  <a:pt x="10675" y="1134"/>
                </a:lnTo>
                <a:lnTo>
                  <a:pt x="10682" y="1160"/>
                </a:lnTo>
                <a:lnTo>
                  <a:pt x="10688" y="1189"/>
                </a:lnTo>
                <a:lnTo>
                  <a:pt x="10692" y="1222"/>
                </a:lnTo>
                <a:lnTo>
                  <a:pt x="10693" y="1256"/>
                </a:lnTo>
                <a:lnTo>
                  <a:pt x="10692" y="1292"/>
                </a:lnTo>
                <a:lnTo>
                  <a:pt x="10688" y="1324"/>
                </a:lnTo>
                <a:lnTo>
                  <a:pt x="10682" y="1353"/>
                </a:lnTo>
                <a:lnTo>
                  <a:pt x="10675" y="1380"/>
                </a:lnTo>
                <a:lnTo>
                  <a:pt x="10665" y="1406"/>
                </a:lnTo>
                <a:lnTo>
                  <a:pt x="10654" y="1428"/>
                </a:lnTo>
                <a:lnTo>
                  <a:pt x="10640" y="1450"/>
                </a:lnTo>
                <a:lnTo>
                  <a:pt x="10625" y="1471"/>
                </a:lnTo>
                <a:close/>
                <a:moveTo>
                  <a:pt x="9890" y="1547"/>
                </a:moveTo>
                <a:lnTo>
                  <a:pt x="9890" y="1191"/>
                </a:lnTo>
                <a:lnTo>
                  <a:pt x="9889" y="1166"/>
                </a:lnTo>
                <a:lnTo>
                  <a:pt x="9885" y="1146"/>
                </a:lnTo>
                <a:lnTo>
                  <a:pt x="9882" y="1136"/>
                </a:lnTo>
                <a:lnTo>
                  <a:pt x="9879" y="1126"/>
                </a:lnTo>
                <a:lnTo>
                  <a:pt x="9875" y="1118"/>
                </a:lnTo>
                <a:lnTo>
                  <a:pt x="9869" y="1111"/>
                </a:lnTo>
                <a:lnTo>
                  <a:pt x="9863" y="1104"/>
                </a:lnTo>
                <a:lnTo>
                  <a:pt x="9856" y="1098"/>
                </a:lnTo>
                <a:lnTo>
                  <a:pt x="9840" y="1089"/>
                </a:lnTo>
                <a:lnTo>
                  <a:pt x="9819" y="1084"/>
                </a:lnTo>
                <a:lnTo>
                  <a:pt x="9793" y="1081"/>
                </a:lnTo>
                <a:lnTo>
                  <a:pt x="9776" y="1082"/>
                </a:lnTo>
                <a:lnTo>
                  <a:pt x="9760" y="1087"/>
                </a:lnTo>
                <a:lnTo>
                  <a:pt x="9746" y="1093"/>
                </a:lnTo>
                <a:lnTo>
                  <a:pt x="9732" y="1102"/>
                </a:lnTo>
                <a:lnTo>
                  <a:pt x="9721" y="1113"/>
                </a:lnTo>
                <a:lnTo>
                  <a:pt x="9710" y="1126"/>
                </a:lnTo>
                <a:lnTo>
                  <a:pt x="9701" y="1140"/>
                </a:lnTo>
                <a:lnTo>
                  <a:pt x="9693" y="1155"/>
                </a:lnTo>
                <a:lnTo>
                  <a:pt x="9687" y="1173"/>
                </a:lnTo>
                <a:lnTo>
                  <a:pt x="9681" y="1192"/>
                </a:lnTo>
                <a:lnTo>
                  <a:pt x="9678" y="1212"/>
                </a:lnTo>
                <a:lnTo>
                  <a:pt x="9676" y="1231"/>
                </a:lnTo>
                <a:lnTo>
                  <a:pt x="9675" y="1272"/>
                </a:lnTo>
                <a:lnTo>
                  <a:pt x="9674" y="1311"/>
                </a:lnTo>
                <a:lnTo>
                  <a:pt x="9674" y="1547"/>
                </a:lnTo>
                <a:lnTo>
                  <a:pt x="9535" y="1547"/>
                </a:lnTo>
                <a:lnTo>
                  <a:pt x="9535" y="966"/>
                </a:lnTo>
                <a:lnTo>
                  <a:pt x="9652" y="966"/>
                </a:lnTo>
                <a:lnTo>
                  <a:pt x="9662" y="1041"/>
                </a:lnTo>
                <a:lnTo>
                  <a:pt x="9677" y="1019"/>
                </a:lnTo>
                <a:lnTo>
                  <a:pt x="9693" y="1001"/>
                </a:lnTo>
                <a:lnTo>
                  <a:pt x="9714" y="986"/>
                </a:lnTo>
                <a:lnTo>
                  <a:pt x="9736" y="974"/>
                </a:lnTo>
                <a:lnTo>
                  <a:pt x="9759" y="964"/>
                </a:lnTo>
                <a:lnTo>
                  <a:pt x="9782" y="957"/>
                </a:lnTo>
                <a:lnTo>
                  <a:pt x="9807" y="953"/>
                </a:lnTo>
                <a:lnTo>
                  <a:pt x="9832" y="952"/>
                </a:lnTo>
                <a:lnTo>
                  <a:pt x="9855" y="953"/>
                </a:lnTo>
                <a:lnTo>
                  <a:pt x="9877" y="956"/>
                </a:lnTo>
                <a:lnTo>
                  <a:pt x="9897" y="961"/>
                </a:lnTo>
                <a:lnTo>
                  <a:pt x="9916" y="967"/>
                </a:lnTo>
                <a:lnTo>
                  <a:pt x="9934" y="976"/>
                </a:lnTo>
                <a:lnTo>
                  <a:pt x="9949" y="986"/>
                </a:lnTo>
                <a:lnTo>
                  <a:pt x="9964" y="998"/>
                </a:lnTo>
                <a:lnTo>
                  <a:pt x="9977" y="1011"/>
                </a:lnTo>
                <a:lnTo>
                  <a:pt x="9989" y="1025"/>
                </a:lnTo>
                <a:lnTo>
                  <a:pt x="10000" y="1041"/>
                </a:lnTo>
                <a:lnTo>
                  <a:pt x="10008" y="1059"/>
                </a:lnTo>
                <a:lnTo>
                  <a:pt x="10016" y="1076"/>
                </a:lnTo>
                <a:lnTo>
                  <a:pt x="10022" y="1095"/>
                </a:lnTo>
                <a:lnTo>
                  <a:pt x="10026" y="1116"/>
                </a:lnTo>
                <a:lnTo>
                  <a:pt x="10028" y="1138"/>
                </a:lnTo>
                <a:lnTo>
                  <a:pt x="10029" y="1160"/>
                </a:lnTo>
                <a:lnTo>
                  <a:pt x="10029" y="1547"/>
                </a:lnTo>
                <a:lnTo>
                  <a:pt x="9890" y="1547"/>
                </a:lnTo>
                <a:close/>
                <a:moveTo>
                  <a:pt x="9222" y="1547"/>
                </a:moveTo>
                <a:lnTo>
                  <a:pt x="9222" y="966"/>
                </a:lnTo>
                <a:lnTo>
                  <a:pt x="9363" y="966"/>
                </a:lnTo>
                <a:lnTo>
                  <a:pt x="9363" y="1547"/>
                </a:lnTo>
                <a:lnTo>
                  <a:pt x="9222" y="1547"/>
                </a:lnTo>
                <a:close/>
                <a:moveTo>
                  <a:pt x="9217" y="886"/>
                </a:moveTo>
                <a:lnTo>
                  <a:pt x="9217" y="742"/>
                </a:lnTo>
                <a:lnTo>
                  <a:pt x="9366" y="742"/>
                </a:lnTo>
                <a:lnTo>
                  <a:pt x="9366" y="886"/>
                </a:lnTo>
                <a:lnTo>
                  <a:pt x="9217" y="886"/>
                </a:lnTo>
                <a:close/>
                <a:moveTo>
                  <a:pt x="8918" y="1097"/>
                </a:moveTo>
                <a:lnTo>
                  <a:pt x="8910" y="1090"/>
                </a:lnTo>
                <a:lnTo>
                  <a:pt x="8901" y="1084"/>
                </a:lnTo>
                <a:lnTo>
                  <a:pt x="8881" y="1073"/>
                </a:lnTo>
                <a:lnTo>
                  <a:pt x="8870" y="1069"/>
                </a:lnTo>
                <a:lnTo>
                  <a:pt x="8857" y="1066"/>
                </a:lnTo>
                <a:lnTo>
                  <a:pt x="8830" y="1064"/>
                </a:lnTo>
                <a:lnTo>
                  <a:pt x="8799" y="1067"/>
                </a:lnTo>
                <a:lnTo>
                  <a:pt x="8772" y="1076"/>
                </a:lnTo>
                <a:lnTo>
                  <a:pt x="8749" y="1090"/>
                </a:lnTo>
                <a:lnTo>
                  <a:pt x="8740" y="1099"/>
                </a:lnTo>
                <a:lnTo>
                  <a:pt x="8732" y="1109"/>
                </a:lnTo>
                <a:lnTo>
                  <a:pt x="8719" y="1128"/>
                </a:lnTo>
                <a:lnTo>
                  <a:pt x="8710" y="1149"/>
                </a:lnTo>
                <a:lnTo>
                  <a:pt x="8705" y="1172"/>
                </a:lnTo>
                <a:lnTo>
                  <a:pt x="8701" y="1199"/>
                </a:lnTo>
                <a:lnTo>
                  <a:pt x="8952" y="1199"/>
                </a:lnTo>
                <a:lnTo>
                  <a:pt x="8952" y="1183"/>
                </a:lnTo>
                <a:lnTo>
                  <a:pt x="8950" y="1168"/>
                </a:lnTo>
                <a:lnTo>
                  <a:pt x="8943" y="1141"/>
                </a:lnTo>
                <a:lnTo>
                  <a:pt x="8932" y="1117"/>
                </a:lnTo>
                <a:lnTo>
                  <a:pt x="8925" y="1106"/>
                </a:lnTo>
                <a:lnTo>
                  <a:pt x="8918" y="1097"/>
                </a:lnTo>
                <a:close/>
                <a:moveTo>
                  <a:pt x="9091" y="1300"/>
                </a:moveTo>
                <a:lnTo>
                  <a:pt x="8703" y="1300"/>
                </a:lnTo>
                <a:lnTo>
                  <a:pt x="8703" y="1317"/>
                </a:lnTo>
                <a:lnTo>
                  <a:pt x="8706" y="1333"/>
                </a:lnTo>
                <a:lnTo>
                  <a:pt x="8713" y="1364"/>
                </a:lnTo>
                <a:lnTo>
                  <a:pt x="8720" y="1378"/>
                </a:lnTo>
                <a:lnTo>
                  <a:pt x="8726" y="1391"/>
                </a:lnTo>
                <a:lnTo>
                  <a:pt x="8735" y="1403"/>
                </a:lnTo>
                <a:lnTo>
                  <a:pt x="8746" y="1414"/>
                </a:lnTo>
                <a:lnTo>
                  <a:pt x="8762" y="1427"/>
                </a:lnTo>
                <a:lnTo>
                  <a:pt x="8782" y="1439"/>
                </a:lnTo>
                <a:lnTo>
                  <a:pt x="8805" y="1447"/>
                </a:lnTo>
                <a:lnTo>
                  <a:pt x="8832" y="1450"/>
                </a:lnTo>
                <a:lnTo>
                  <a:pt x="8859" y="1448"/>
                </a:lnTo>
                <a:lnTo>
                  <a:pt x="8881" y="1444"/>
                </a:lnTo>
                <a:lnTo>
                  <a:pt x="8900" y="1435"/>
                </a:lnTo>
                <a:lnTo>
                  <a:pt x="8916" y="1422"/>
                </a:lnTo>
                <a:lnTo>
                  <a:pt x="8925" y="1412"/>
                </a:lnTo>
                <a:lnTo>
                  <a:pt x="8933" y="1401"/>
                </a:lnTo>
                <a:lnTo>
                  <a:pt x="8939" y="1388"/>
                </a:lnTo>
                <a:lnTo>
                  <a:pt x="8944" y="1373"/>
                </a:lnTo>
                <a:lnTo>
                  <a:pt x="9077" y="1373"/>
                </a:lnTo>
                <a:lnTo>
                  <a:pt x="9072" y="1400"/>
                </a:lnTo>
                <a:lnTo>
                  <a:pt x="9066" y="1415"/>
                </a:lnTo>
                <a:lnTo>
                  <a:pt x="9060" y="1429"/>
                </a:lnTo>
                <a:lnTo>
                  <a:pt x="9046" y="1457"/>
                </a:lnTo>
                <a:lnTo>
                  <a:pt x="9028" y="1481"/>
                </a:lnTo>
                <a:lnTo>
                  <a:pt x="9009" y="1500"/>
                </a:lnTo>
                <a:lnTo>
                  <a:pt x="8988" y="1518"/>
                </a:lnTo>
                <a:lnTo>
                  <a:pt x="8964" y="1532"/>
                </a:lnTo>
                <a:lnTo>
                  <a:pt x="8940" y="1543"/>
                </a:lnTo>
                <a:lnTo>
                  <a:pt x="8914" y="1551"/>
                </a:lnTo>
                <a:lnTo>
                  <a:pt x="8888" y="1557"/>
                </a:lnTo>
                <a:lnTo>
                  <a:pt x="8861" y="1560"/>
                </a:lnTo>
                <a:lnTo>
                  <a:pt x="8834" y="1561"/>
                </a:lnTo>
                <a:lnTo>
                  <a:pt x="8805" y="1560"/>
                </a:lnTo>
                <a:lnTo>
                  <a:pt x="8777" y="1557"/>
                </a:lnTo>
                <a:lnTo>
                  <a:pt x="8765" y="1553"/>
                </a:lnTo>
                <a:lnTo>
                  <a:pt x="8752" y="1550"/>
                </a:lnTo>
                <a:lnTo>
                  <a:pt x="8730" y="1543"/>
                </a:lnTo>
                <a:lnTo>
                  <a:pt x="8708" y="1532"/>
                </a:lnTo>
                <a:lnTo>
                  <a:pt x="8687" y="1520"/>
                </a:lnTo>
                <a:lnTo>
                  <a:pt x="8669" y="1506"/>
                </a:lnTo>
                <a:lnTo>
                  <a:pt x="8650" y="1490"/>
                </a:lnTo>
                <a:lnTo>
                  <a:pt x="8630" y="1468"/>
                </a:lnTo>
                <a:lnTo>
                  <a:pt x="8612" y="1444"/>
                </a:lnTo>
                <a:lnTo>
                  <a:pt x="8597" y="1417"/>
                </a:lnTo>
                <a:lnTo>
                  <a:pt x="8584" y="1388"/>
                </a:lnTo>
                <a:lnTo>
                  <a:pt x="8579" y="1374"/>
                </a:lnTo>
                <a:lnTo>
                  <a:pt x="8574" y="1359"/>
                </a:lnTo>
                <a:lnTo>
                  <a:pt x="8567" y="1326"/>
                </a:lnTo>
                <a:lnTo>
                  <a:pt x="8562" y="1292"/>
                </a:lnTo>
                <a:lnTo>
                  <a:pt x="8561" y="1258"/>
                </a:lnTo>
                <a:lnTo>
                  <a:pt x="8562" y="1224"/>
                </a:lnTo>
                <a:lnTo>
                  <a:pt x="8567" y="1190"/>
                </a:lnTo>
                <a:lnTo>
                  <a:pt x="8573" y="1159"/>
                </a:lnTo>
                <a:lnTo>
                  <a:pt x="8582" y="1128"/>
                </a:lnTo>
                <a:lnTo>
                  <a:pt x="8594" y="1100"/>
                </a:lnTo>
                <a:lnTo>
                  <a:pt x="8608" y="1073"/>
                </a:lnTo>
                <a:lnTo>
                  <a:pt x="8625" y="1048"/>
                </a:lnTo>
                <a:lnTo>
                  <a:pt x="8645" y="1026"/>
                </a:lnTo>
                <a:lnTo>
                  <a:pt x="8662" y="1010"/>
                </a:lnTo>
                <a:lnTo>
                  <a:pt x="8681" y="995"/>
                </a:lnTo>
                <a:lnTo>
                  <a:pt x="8701" y="982"/>
                </a:lnTo>
                <a:lnTo>
                  <a:pt x="8724" y="971"/>
                </a:lnTo>
                <a:lnTo>
                  <a:pt x="8748" y="964"/>
                </a:lnTo>
                <a:lnTo>
                  <a:pt x="8774" y="957"/>
                </a:lnTo>
                <a:lnTo>
                  <a:pt x="8801" y="953"/>
                </a:lnTo>
                <a:lnTo>
                  <a:pt x="8831" y="952"/>
                </a:lnTo>
                <a:lnTo>
                  <a:pt x="8862" y="954"/>
                </a:lnTo>
                <a:lnTo>
                  <a:pt x="8893" y="958"/>
                </a:lnTo>
                <a:lnTo>
                  <a:pt x="8922" y="967"/>
                </a:lnTo>
                <a:lnTo>
                  <a:pt x="8950" y="978"/>
                </a:lnTo>
                <a:lnTo>
                  <a:pt x="8976" y="993"/>
                </a:lnTo>
                <a:lnTo>
                  <a:pt x="9001" y="1012"/>
                </a:lnTo>
                <a:lnTo>
                  <a:pt x="9023" y="1033"/>
                </a:lnTo>
                <a:lnTo>
                  <a:pt x="9043" y="1060"/>
                </a:lnTo>
                <a:lnTo>
                  <a:pt x="9057" y="1084"/>
                </a:lnTo>
                <a:lnTo>
                  <a:pt x="9069" y="1107"/>
                </a:lnTo>
                <a:lnTo>
                  <a:pt x="9084" y="1156"/>
                </a:lnTo>
                <a:lnTo>
                  <a:pt x="9088" y="1183"/>
                </a:lnTo>
                <a:lnTo>
                  <a:pt x="9091" y="1208"/>
                </a:lnTo>
                <a:lnTo>
                  <a:pt x="9092" y="1261"/>
                </a:lnTo>
                <a:lnTo>
                  <a:pt x="9091" y="1300"/>
                </a:lnTo>
                <a:close/>
                <a:moveTo>
                  <a:pt x="8368" y="1547"/>
                </a:moveTo>
                <a:lnTo>
                  <a:pt x="8205" y="1293"/>
                </a:lnTo>
                <a:lnTo>
                  <a:pt x="8112" y="1395"/>
                </a:lnTo>
                <a:lnTo>
                  <a:pt x="8112" y="1547"/>
                </a:lnTo>
                <a:lnTo>
                  <a:pt x="7972" y="1547"/>
                </a:lnTo>
                <a:lnTo>
                  <a:pt x="7972" y="741"/>
                </a:lnTo>
                <a:lnTo>
                  <a:pt x="8112" y="741"/>
                </a:lnTo>
                <a:lnTo>
                  <a:pt x="8112" y="1202"/>
                </a:lnTo>
                <a:lnTo>
                  <a:pt x="8332" y="966"/>
                </a:lnTo>
                <a:lnTo>
                  <a:pt x="8507" y="966"/>
                </a:lnTo>
                <a:lnTo>
                  <a:pt x="8299" y="1191"/>
                </a:lnTo>
                <a:lnTo>
                  <a:pt x="8529" y="1547"/>
                </a:lnTo>
                <a:lnTo>
                  <a:pt x="8368" y="1547"/>
                </a:lnTo>
                <a:close/>
                <a:moveTo>
                  <a:pt x="7671" y="1547"/>
                </a:moveTo>
                <a:lnTo>
                  <a:pt x="7671" y="1191"/>
                </a:lnTo>
                <a:lnTo>
                  <a:pt x="7670" y="1166"/>
                </a:lnTo>
                <a:lnTo>
                  <a:pt x="7667" y="1146"/>
                </a:lnTo>
                <a:lnTo>
                  <a:pt x="7664" y="1136"/>
                </a:lnTo>
                <a:lnTo>
                  <a:pt x="7660" y="1126"/>
                </a:lnTo>
                <a:lnTo>
                  <a:pt x="7656" y="1118"/>
                </a:lnTo>
                <a:lnTo>
                  <a:pt x="7651" y="1111"/>
                </a:lnTo>
                <a:lnTo>
                  <a:pt x="7645" y="1104"/>
                </a:lnTo>
                <a:lnTo>
                  <a:pt x="7639" y="1098"/>
                </a:lnTo>
                <a:lnTo>
                  <a:pt x="7621" y="1089"/>
                </a:lnTo>
                <a:lnTo>
                  <a:pt x="7601" y="1084"/>
                </a:lnTo>
                <a:lnTo>
                  <a:pt x="7576" y="1081"/>
                </a:lnTo>
                <a:lnTo>
                  <a:pt x="7558" y="1082"/>
                </a:lnTo>
                <a:lnTo>
                  <a:pt x="7542" y="1087"/>
                </a:lnTo>
                <a:lnTo>
                  <a:pt x="7527" y="1093"/>
                </a:lnTo>
                <a:lnTo>
                  <a:pt x="7514" y="1102"/>
                </a:lnTo>
                <a:lnTo>
                  <a:pt x="7502" y="1113"/>
                </a:lnTo>
                <a:lnTo>
                  <a:pt x="7492" y="1126"/>
                </a:lnTo>
                <a:lnTo>
                  <a:pt x="7483" y="1140"/>
                </a:lnTo>
                <a:lnTo>
                  <a:pt x="7475" y="1155"/>
                </a:lnTo>
                <a:lnTo>
                  <a:pt x="7468" y="1173"/>
                </a:lnTo>
                <a:lnTo>
                  <a:pt x="7464" y="1192"/>
                </a:lnTo>
                <a:lnTo>
                  <a:pt x="7460" y="1212"/>
                </a:lnTo>
                <a:lnTo>
                  <a:pt x="7458" y="1231"/>
                </a:lnTo>
                <a:lnTo>
                  <a:pt x="7456" y="1272"/>
                </a:lnTo>
                <a:lnTo>
                  <a:pt x="7456" y="1311"/>
                </a:lnTo>
                <a:lnTo>
                  <a:pt x="7456" y="1547"/>
                </a:lnTo>
                <a:lnTo>
                  <a:pt x="7317" y="1547"/>
                </a:lnTo>
                <a:lnTo>
                  <a:pt x="7317" y="966"/>
                </a:lnTo>
                <a:lnTo>
                  <a:pt x="7434" y="966"/>
                </a:lnTo>
                <a:lnTo>
                  <a:pt x="7444" y="1041"/>
                </a:lnTo>
                <a:lnTo>
                  <a:pt x="7458" y="1019"/>
                </a:lnTo>
                <a:lnTo>
                  <a:pt x="7476" y="1001"/>
                </a:lnTo>
                <a:lnTo>
                  <a:pt x="7495" y="986"/>
                </a:lnTo>
                <a:lnTo>
                  <a:pt x="7517" y="974"/>
                </a:lnTo>
                <a:lnTo>
                  <a:pt x="7540" y="964"/>
                </a:lnTo>
                <a:lnTo>
                  <a:pt x="7565" y="957"/>
                </a:lnTo>
                <a:lnTo>
                  <a:pt x="7590" y="953"/>
                </a:lnTo>
                <a:lnTo>
                  <a:pt x="7615" y="952"/>
                </a:lnTo>
                <a:lnTo>
                  <a:pt x="7638" y="953"/>
                </a:lnTo>
                <a:lnTo>
                  <a:pt x="7658" y="956"/>
                </a:lnTo>
                <a:lnTo>
                  <a:pt x="7679" y="961"/>
                </a:lnTo>
                <a:lnTo>
                  <a:pt x="7697" y="967"/>
                </a:lnTo>
                <a:lnTo>
                  <a:pt x="7715" y="976"/>
                </a:lnTo>
                <a:lnTo>
                  <a:pt x="7731" y="986"/>
                </a:lnTo>
                <a:lnTo>
                  <a:pt x="7746" y="998"/>
                </a:lnTo>
                <a:lnTo>
                  <a:pt x="7759" y="1011"/>
                </a:lnTo>
                <a:lnTo>
                  <a:pt x="7771" y="1025"/>
                </a:lnTo>
                <a:lnTo>
                  <a:pt x="7781" y="1041"/>
                </a:lnTo>
                <a:lnTo>
                  <a:pt x="7790" y="1059"/>
                </a:lnTo>
                <a:lnTo>
                  <a:pt x="7797" y="1076"/>
                </a:lnTo>
                <a:lnTo>
                  <a:pt x="7804" y="1095"/>
                </a:lnTo>
                <a:lnTo>
                  <a:pt x="7807" y="1116"/>
                </a:lnTo>
                <a:lnTo>
                  <a:pt x="7810" y="1138"/>
                </a:lnTo>
                <a:lnTo>
                  <a:pt x="7810" y="1160"/>
                </a:lnTo>
                <a:lnTo>
                  <a:pt x="7810" y="1547"/>
                </a:lnTo>
                <a:lnTo>
                  <a:pt x="7671" y="1547"/>
                </a:lnTo>
                <a:close/>
                <a:moveTo>
                  <a:pt x="7012" y="1547"/>
                </a:moveTo>
                <a:lnTo>
                  <a:pt x="7012" y="966"/>
                </a:lnTo>
                <a:lnTo>
                  <a:pt x="7153" y="966"/>
                </a:lnTo>
                <a:lnTo>
                  <a:pt x="7153" y="1547"/>
                </a:lnTo>
                <a:lnTo>
                  <a:pt x="7012" y="1547"/>
                </a:lnTo>
                <a:close/>
                <a:moveTo>
                  <a:pt x="7006" y="886"/>
                </a:moveTo>
                <a:lnTo>
                  <a:pt x="7006" y="742"/>
                </a:lnTo>
                <a:lnTo>
                  <a:pt x="7156" y="742"/>
                </a:lnTo>
                <a:lnTo>
                  <a:pt x="7156" y="886"/>
                </a:lnTo>
                <a:lnTo>
                  <a:pt x="7006" y="886"/>
                </a:lnTo>
                <a:close/>
                <a:moveTo>
                  <a:pt x="6823" y="1553"/>
                </a:moveTo>
                <a:lnTo>
                  <a:pt x="6789" y="1551"/>
                </a:lnTo>
                <a:lnTo>
                  <a:pt x="6773" y="1549"/>
                </a:lnTo>
                <a:lnTo>
                  <a:pt x="6757" y="1545"/>
                </a:lnTo>
                <a:lnTo>
                  <a:pt x="6744" y="1539"/>
                </a:lnTo>
                <a:lnTo>
                  <a:pt x="6731" y="1534"/>
                </a:lnTo>
                <a:lnTo>
                  <a:pt x="6719" y="1526"/>
                </a:lnTo>
                <a:lnTo>
                  <a:pt x="6707" y="1518"/>
                </a:lnTo>
                <a:lnTo>
                  <a:pt x="6698" y="1507"/>
                </a:lnTo>
                <a:lnTo>
                  <a:pt x="6689" y="1496"/>
                </a:lnTo>
                <a:lnTo>
                  <a:pt x="6682" y="1483"/>
                </a:lnTo>
                <a:lnTo>
                  <a:pt x="6676" y="1469"/>
                </a:lnTo>
                <a:lnTo>
                  <a:pt x="6667" y="1436"/>
                </a:lnTo>
                <a:lnTo>
                  <a:pt x="6665" y="1417"/>
                </a:lnTo>
                <a:lnTo>
                  <a:pt x="6664" y="1398"/>
                </a:lnTo>
                <a:lnTo>
                  <a:pt x="6664" y="740"/>
                </a:lnTo>
                <a:lnTo>
                  <a:pt x="6805" y="740"/>
                </a:lnTo>
                <a:lnTo>
                  <a:pt x="6805" y="1374"/>
                </a:lnTo>
                <a:lnTo>
                  <a:pt x="6805" y="1386"/>
                </a:lnTo>
                <a:lnTo>
                  <a:pt x="6806" y="1397"/>
                </a:lnTo>
                <a:lnTo>
                  <a:pt x="6810" y="1407"/>
                </a:lnTo>
                <a:lnTo>
                  <a:pt x="6815" y="1414"/>
                </a:lnTo>
                <a:lnTo>
                  <a:pt x="6822" y="1421"/>
                </a:lnTo>
                <a:lnTo>
                  <a:pt x="6831" y="1426"/>
                </a:lnTo>
                <a:lnTo>
                  <a:pt x="6844" y="1428"/>
                </a:lnTo>
                <a:lnTo>
                  <a:pt x="6861" y="1429"/>
                </a:lnTo>
                <a:lnTo>
                  <a:pt x="6885" y="1428"/>
                </a:lnTo>
                <a:lnTo>
                  <a:pt x="6885" y="1546"/>
                </a:lnTo>
                <a:lnTo>
                  <a:pt x="6853" y="1552"/>
                </a:lnTo>
                <a:lnTo>
                  <a:pt x="6823" y="1553"/>
                </a:lnTo>
                <a:close/>
                <a:moveTo>
                  <a:pt x="5977" y="1547"/>
                </a:moveTo>
                <a:lnTo>
                  <a:pt x="5977" y="755"/>
                </a:lnTo>
                <a:lnTo>
                  <a:pt x="6540" y="755"/>
                </a:lnTo>
                <a:lnTo>
                  <a:pt x="6540" y="886"/>
                </a:lnTo>
                <a:lnTo>
                  <a:pt x="6121" y="886"/>
                </a:lnTo>
                <a:lnTo>
                  <a:pt x="6121" y="1070"/>
                </a:lnTo>
                <a:lnTo>
                  <a:pt x="6490" y="1070"/>
                </a:lnTo>
                <a:lnTo>
                  <a:pt x="6490" y="1200"/>
                </a:lnTo>
                <a:lnTo>
                  <a:pt x="6121" y="1200"/>
                </a:lnTo>
                <a:lnTo>
                  <a:pt x="6121" y="1416"/>
                </a:lnTo>
                <a:lnTo>
                  <a:pt x="6540" y="1416"/>
                </a:lnTo>
                <a:lnTo>
                  <a:pt x="6540" y="1547"/>
                </a:lnTo>
                <a:lnTo>
                  <a:pt x="5977" y="1547"/>
                </a:lnTo>
                <a:close/>
                <a:moveTo>
                  <a:pt x="11930" y="2637"/>
                </a:moveTo>
                <a:lnTo>
                  <a:pt x="11913" y="2655"/>
                </a:lnTo>
                <a:lnTo>
                  <a:pt x="11894" y="2672"/>
                </a:lnTo>
                <a:lnTo>
                  <a:pt x="11871" y="2687"/>
                </a:lnTo>
                <a:lnTo>
                  <a:pt x="11846" y="2701"/>
                </a:lnTo>
                <a:lnTo>
                  <a:pt x="11819" y="2712"/>
                </a:lnTo>
                <a:lnTo>
                  <a:pt x="11789" y="2721"/>
                </a:lnTo>
                <a:lnTo>
                  <a:pt x="11759" y="2726"/>
                </a:lnTo>
                <a:lnTo>
                  <a:pt x="11726" y="2727"/>
                </a:lnTo>
                <a:lnTo>
                  <a:pt x="11694" y="2726"/>
                </a:lnTo>
                <a:lnTo>
                  <a:pt x="11663" y="2721"/>
                </a:lnTo>
                <a:lnTo>
                  <a:pt x="11634" y="2712"/>
                </a:lnTo>
                <a:lnTo>
                  <a:pt x="11607" y="2701"/>
                </a:lnTo>
                <a:lnTo>
                  <a:pt x="11582" y="2687"/>
                </a:lnTo>
                <a:lnTo>
                  <a:pt x="11560" y="2672"/>
                </a:lnTo>
                <a:lnTo>
                  <a:pt x="11541" y="2655"/>
                </a:lnTo>
                <a:lnTo>
                  <a:pt x="11532" y="2647"/>
                </a:lnTo>
                <a:lnTo>
                  <a:pt x="11523" y="2637"/>
                </a:lnTo>
                <a:lnTo>
                  <a:pt x="11495" y="2594"/>
                </a:lnTo>
                <a:lnTo>
                  <a:pt x="11483" y="2572"/>
                </a:lnTo>
                <a:lnTo>
                  <a:pt x="11473" y="2547"/>
                </a:lnTo>
                <a:lnTo>
                  <a:pt x="11466" y="2519"/>
                </a:lnTo>
                <a:lnTo>
                  <a:pt x="11460" y="2490"/>
                </a:lnTo>
                <a:lnTo>
                  <a:pt x="11457" y="2457"/>
                </a:lnTo>
                <a:lnTo>
                  <a:pt x="11456" y="2423"/>
                </a:lnTo>
                <a:lnTo>
                  <a:pt x="11457" y="2388"/>
                </a:lnTo>
                <a:lnTo>
                  <a:pt x="11460" y="2355"/>
                </a:lnTo>
                <a:lnTo>
                  <a:pt x="11466" y="2326"/>
                </a:lnTo>
                <a:lnTo>
                  <a:pt x="11473" y="2300"/>
                </a:lnTo>
                <a:lnTo>
                  <a:pt x="11483" y="2275"/>
                </a:lnTo>
                <a:lnTo>
                  <a:pt x="11495" y="2251"/>
                </a:lnTo>
                <a:lnTo>
                  <a:pt x="11508" y="2229"/>
                </a:lnTo>
                <a:lnTo>
                  <a:pt x="11523" y="2208"/>
                </a:lnTo>
                <a:lnTo>
                  <a:pt x="11541" y="2190"/>
                </a:lnTo>
                <a:lnTo>
                  <a:pt x="11560" y="2173"/>
                </a:lnTo>
                <a:lnTo>
                  <a:pt x="11582" y="2158"/>
                </a:lnTo>
                <a:lnTo>
                  <a:pt x="11607" y="2144"/>
                </a:lnTo>
                <a:lnTo>
                  <a:pt x="11634" y="2133"/>
                </a:lnTo>
                <a:lnTo>
                  <a:pt x="11663" y="2125"/>
                </a:lnTo>
                <a:lnTo>
                  <a:pt x="11694" y="2120"/>
                </a:lnTo>
                <a:lnTo>
                  <a:pt x="11726" y="2118"/>
                </a:lnTo>
                <a:lnTo>
                  <a:pt x="11759" y="2120"/>
                </a:lnTo>
                <a:lnTo>
                  <a:pt x="11789" y="2125"/>
                </a:lnTo>
                <a:lnTo>
                  <a:pt x="11819" y="2133"/>
                </a:lnTo>
                <a:lnTo>
                  <a:pt x="11846" y="2144"/>
                </a:lnTo>
                <a:lnTo>
                  <a:pt x="11871" y="2158"/>
                </a:lnTo>
                <a:lnTo>
                  <a:pt x="11894" y="2173"/>
                </a:lnTo>
                <a:lnTo>
                  <a:pt x="11913" y="2190"/>
                </a:lnTo>
                <a:lnTo>
                  <a:pt x="11922" y="2200"/>
                </a:lnTo>
                <a:lnTo>
                  <a:pt x="11930" y="2208"/>
                </a:lnTo>
                <a:lnTo>
                  <a:pt x="11959" y="2251"/>
                </a:lnTo>
                <a:lnTo>
                  <a:pt x="11970" y="2275"/>
                </a:lnTo>
                <a:lnTo>
                  <a:pt x="11980" y="2300"/>
                </a:lnTo>
                <a:lnTo>
                  <a:pt x="11987" y="2326"/>
                </a:lnTo>
                <a:lnTo>
                  <a:pt x="11993" y="2355"/>
                </a:lnTo>
                <a:lnTo>
                  <a:pt x="11996" y="2388"/>
                </a:lnTo>
                <a:lnTo>
                  <a:pt x="11997" y="2423"/>
                </a:lnTo>
                <a:lnTo>
                  <a:pt x="11996" y="2457"/>
                </a:lnTo>
                <a:lnTo>
                  <a:pt x="11993" y="2490"/>
                </a:lnTo>
                <a:lnTo>
                  <a:pt x="11987" y="2519"/>
                </a:lnTo>
                <a:lnTo>
                  <a:pt x="11980" y="2547"/>
                </a:lnTo>
                <a:lnTo>
                  <a:pt x="11970" y="2572"/>
                </a:lnTo>
                <a:lnTo>
                  <a:pt x="11959" y="2594"/>
                </a:lnTo>
                <a:lnTo>
                  <a:pt x="11945" y="2616"/>
                </a:lnTo>
                <a:lnTo>
                  <a:pt x="11930" y="2637"/>
                </a:lnTo>
                <a:close/>
                <a:moveTo>
                  <a:pt x="11814" y="2277"/>
                </a:moveTo>
                <a:lnTo>
                  <a:pt x="11807" y="2269"/>
                </a:lnTo>
                <a:lnTo>
                  <a:pt x="11798" y="2263"/>
                </a:lnTo>
                <a:lnTo>
                  <a:pt x="11777" y="2251"/>
                </a:lnTo>
                <a:lnTo>
                  <a:pt x="11765" y="2246"/>
                </a:lnTo>
                <a:lnTo>
                  <a:pt x="11754" y="2242"/>
                </a:lnTo>
                <a:lnTo>
                  <a:pt x="11726" y="2240"/>
                </a:lnTo>
                <a:lnTo>
                  <a:pt x="11699" y="2242"/>
                </a:lnTo>
                <a:lnTo>
                  <a:pt x="11675" y="2251"/>
                </a:lnTo>
                <a:lnTo>
                  <a:pt x="11655" y="2263"/>
                </a:lnTo>
                <a:lnTo>
                  <a:pt x="11646" y="2269"/>
                </a:lnTo>
                <a:lnTo>
                  <a:pt x="11638" y="2277"/>
                </a:lnTo>
                <a:lnTo>
                  <a:pt x="11627" y="2291"/>
                </a:lnTo>
                <a:lnTo>
                  <a:pt x="11618" y="2307"/>
                </a:lnTo>
                <a:lnTo>
                  <a:pt x="11610" y="2325"/>
                </a:lnTo>
                <a:lnTo>
                  <a:pt x="11605" y="2343"/>
                </a:lnTo>
                <a:lnTo>
                  <a:pt x="11599" y="2382"/>
                </a:lnTo>
                <a:lnTo>
                  <a:pt x="11597" y="2423"/>
                </a:lnTo>
                <a:lnTo>
                  <a:pt x="11597" y="2443"/>
                </a:lnTo>
                <a:lnTo>
                  <a:pt x="11599" y="2464"/>
                </a:lnTo>
                <a:lnTo>
                  <a:pt x="11605" y="2502"/>
                </a:lnTo>
                <a:lnTo>
                  <a:pt x="11610" y="2520"/>
                </a:lnTo>
                <a:lnTo>
                  <a:pt x="11618" y="2538"/>
                </a:lnTo>
                <a:lnTo>
                  <a:pt x="11627" y="2554"/>
                </a:lnTo>
                <a:lnTo>
                  <a:pt x="11638" y="2569"/>
                </a:lnTo>
                <a:lnTo>
                  <a:pt x="11646" y="2576"/>
                </a:lnTo>
                <a:lnTo>
                  <a:pt x="11655" y="2584"/>
                </a:lnTo>
                <a:lnTo>
                  <a:pt x="11675" y="2594"/>
                </a:lnTo>
                <a:lnTo>
                  <a:pt x="11687" y="2600"/>
                </a:lnTo>
                <a:lnTo>
                  <a:pt x="11699" y="2603"/>
                </a:lnTo>
                <a:lnTo>
                  <a:pt x="11726" y="2605"/>
                </a:lnTo>
                <a:lnTo>
                  <a:pt x="11754" y="2603"/>
                </a:lnTo>
                <a:lnTo>
                  <a:pt x="11777" y="2594"/>
                </a:lnTo>
                <a:lnTo>
                  <a:pt x="11798" y="2584"/>
                </a:lnTo>
                <a:lnTo>
                  <a:pt x="11807" y="2576"/>
                </a:lnTo>
                <a:lnTo>
                  <a:pt x="11814" y="2569"/>
                </a:lnTo>
                <a:lnTo>
                  <a:pt x="11826" y="2554"/>
                </a:lnTo>
                <a:lnTo>
                  <a:pt x="11835" y="2538"/>
                </a:lnTo>
                <a:lnTo>
                  <a:pt x="11843" y="2520"/>
                </a:lnTo>
                <a:lnTo>
                  <a:pt x="11848" y="2502"/>
                </a:lnTo>
                <a:lnTo>
                  <a:pt x="11855" y="2464"/>
                </a:lnTo>
                <a:lnTo>
                  <a:pt x="11856" y="2423"/>
                </a:lnTo>
                <a:lnTo>
                  <a:pt x="11856" y="2402"/>
                </a:lnTo>
                <a:lnTo>
                  <a:pt x="11855" y="2382"/>
                </a:lnTo>
                <a:lnTo>
                  <a:pt x="11848" y="2343"/>
                </a:lnTo>
                <a:lnTo>
                  <a:pt x="11843" y="2325"/>
                </a:lnTo>
                <a:lnTo>
                  <a:pt x="11835" y="2307"/>
                </a:lnTo>
                <a:lnTo>
                  <a:pt x="11826" y="2291"/>
                </a:lnTo>
                <a:lnTo>
                  <a:pt x="11814" y="2277"/>
                </a:lnTo>
                <a:close/>
                <a:moveTo>
                  <a:pt x="4921" y="3366"/>
                </a:moveTo>
                <a:lnTo>
                  <a:pt x="4904" y="3364"/>
                </a:lnTo>
                <a:lnTo>
                  <a:pt x="4884" y="3357"/>
                </a:lnTo>
                <a:lnTo>
                  <a:pt x="4860" y="3346"/>
                </a:lnTo>
                <a:lnTo>
                  <a:pt x="4834" y="3332"/>
                </a:lnTo>
                <a:lnTo>
                  <a:pt x="4776" y="3293"/>
                </a:lnTo>
                <a:lnTo>
                  <a:pt x="4743" y="3269"/>
                </a:lnTo>
                <a:lnTo>
                  <a:pt x="4708" y="3241"/>
                </a:lnTo>
                <a:lnTo>
                  <a:pt x="4652" y="3194"/>
                </a:lnTo>
                <a:lnTo>
                  <a:pt x="4590" y="3139"/>
                </a:lnTo>
                <a:lnTo>
                  <a:pt x="4451" y="3010"/>
                </a:lnTo>
                <a:lnTo>
                  <a:pt x="4299" y="2862"/>
                </a:lnTo>
                <a:lnTo>
                  <a:pt x="4144" y="2704"/>
                </a:lnTo>
                <a:lnTo>
                  <a:pt x="3998" y="2546"/>
                </a:lnTo>
                <a:lnTo>
                  <a:pt x="3929" y="2469"/>
                </a:lnTo>
                <a:lnTo>
                  <a:pt x="3866" y="2395"/>
                </a:lnTo>
                <a:lnTo>
                  <a:pt x="3808" y="2326"/>
                </a:lnTo>
                <a:lnTo>
                  <a:pt x="3783" y="2293"/>
                </a:lnTo>
                <a:lnTo>
                  <a:pt x="3760" y="2262"/>
                </a:lnTo>
                <a:lnTo>
                  <a:pt x="3719" y="2204"/>
                </a:lnTo>
                <a:lnTo>
                  <a:pt x="3702" y="2179"/>
                </a:lnTo>
                <a:lnTo>
                  <a:pt x="3688" y="2155"/>
                </a:lnTo>
                <a:lnTo>
                  <a:pt x="3640" y="2059"/>
                </a:lnTo>
                <a:lnTo>
                  <a:pt x="3622" y="2014"/>
                </a:lnTo>
                <a:lnTo>
                  <a:pt x="3605" y="1968"/>
                </a:lnTo>
                <a:lnTo>
                  <a:pt x="3592" y="1923"/>
                </a:lnTo>
                <a:lnTo>
                  <a:pt x="3582" y="1879"/>
                </a:lnTo>
                <a:lnTo>
                  <a:pt x="3577" y="1833"/>
                </a:lnTo>
                <a:lnTo>
                  <a:pt x="3575" y="1786"/>
                </a:lnTo>
                <a:lnTo>
                  <a:pt x="3578" y="1735"/>
                </a:lnTo>
                <a:lnTo>
                  <a:pt x="3586" y="1682"/>
                </a:lnTo>
                <a:lnTo>
                  <a:pt x="3599" y="1627"/>
                </a:lnTo>
                <a:lnTo>
                  <a:pt x="3607" y="1599"/>
                </a:lnTo>
                <a:lnTo>
                  <a:pt x="3617" y="1572"/>
                </a:lnTo>
                <a:lnTo>
                  <a:pt x="3641" y="1514"/>
                </a:lnTo>
                <a:lnTo>
                  <a:pt x="3670" y="1454"/>
                </a:lnTo>
                <a:lnTo>
                  <a:pt x="3706" y="1394"/>
                </a:lnTo>
                <a:lnTo>
                  <a:pt x="3726" y="1362"/>
                </a:lnTo>
                <a:lnTo>
                  <a:pt x="3748" y="1329"/>
                </a:lnTo>
                <a:lnTo>
                  <a:pt x="3781" y="1283"/>
                </a:lnTo>
                <a:lnTo>
                  <a:pt x="3824" y="1228"/>
                </a:lnTo>
                <a:lnTo>
                  <a:pt x="3929" y="1101"/>
                </a:lnTo>
                <a:lnTo>
                  <a:pt x="4057" y="952"/>
                </a:lnTo>
                <a:lnTo>
                  <a:pt x="4203" y="787"/>
                </a:lnTo>
                <a:lnTo>
                  <a:pt x="4526" y="423"/>
                </a:lnTo>
                <a:lnTo>
                  <a:pt x="4690" y="234"/>
                </a:lnTo>
                <a:lnTo>
                  <a:pt x="4850" y="47"/>
                </a:lnTo>
                <a:lnTo>
                  <a:pt x="4860" y="45"/>
                </a:lnTo>
                <a:lnTo>
                  <a:pt x="4872" y="43"/>
                </a:lnTo>
                <a:lnTo>
                  <a:pt x="4892" y="41"/>
                </a:lnTo>
                <a:lnTo>
                  <a:pt x="4925" y="45"/>
                </a:lnTo>
                <a:lnTo>
                  <a:pt x="4944" y="49"/>
                </a:lnTo>
                <a:lnTo>
                  <a:pt x="4962" y="56"/>
                </a:lnTo>
                <a:lnTo>
                  <a:pt x="4983" y="63"/>
                </a:lnTo>
                <a:lnTo>
                  <a:pt x="5003" y="73"/>
                </a:lnTo>
                <a:lnTo>
                  <a:pt x="5043" y="96"/>
                </a:lnTo>
                <a:lnTo>
                  <a:pt x="5082" y="125"/>
                </a:lnTo>
                <a:lnTo>
                  <a:pt x="5100" y="142"/>
                </a:lnTo>
                <a:lnTo>
                  <a:pt x="5119" y="159"/>
                </a:lnTo>
                <a:lnTo>
                  <a:pt x="5135" y="178"/>
                </a:lnTo>
                <a:lnTo>
                  <a:pt x="5150" y="199"/>
                </a:lnTo>
                <a:lnTo>
                  <a:pt x="5165" y="221"/>
                </a:lnTo>
                <a:lnTo>
                  <a:pt x="5176" y="244"/>
                </a:lnTo>
                <a:lnTo>
                  <a:pt x="5184" y="266"/>
                </a:lnTo>
                <a:lnTo>
                  <a:pt x="5190" y="287"/>
                </a:lnTo>
                <a:lnTo>
                  <a:pt x="5193" y="310"/>
                </a:lnTo>
                <a:lnTo>
                  <a:pt x="5194" y="332"/>
                </a:lnTo>
                <a:lnTo>
                  <a:pt x="5193" y="357"/>
                </a:lnTo>
                <a:lnTo>
                  <a:pt x="5188" y="382"/>
                </a:lnTo>
                <a:lnTo>
                  <a:pt x="5182" y="407"/>
                </a:lnTo>
                <a:lnTo>
                  <a:pt x="5172" y="432"/>
                </a:lnTo>
                <a:lnTo>
                  <a:pt x="5161" y="458"/>
                </a:lnTo>
                <a:lnTo>
                  <a:pt x="5146" y="484"/>
                </a:lnTo>
                <a:lnTo>
                  <a:pt x="5130" y="511"/>
                </a:lnTo>
                <a:lnTo>
                  <a:pt x="5111" y="540"/>
                </a:lnTo>
                <a:lnTo>
                  <a:pt x="5078" y="584"/>
                </a:lnTo>
                <a:lnTo>
                  <a:pt x="5034" y="636"/>
                </a:lnTo>
                <a:lnTo>
                  <a:pt x="4927" y="763"/>
                </a:lnTo>
                <a:lnTo>
                  <a:pt x="4657" y="1067"/>
                </a:lnTo>
                <a:lnTo>
                  <a:pt x="4384" y="1378"/>
                </a:lnTo>
                <a:lnTo>
                  <a:pt x="4270" y="1512"/>
                </a:lnTo>
                <a:lnTo>
                  <a:pt x="4187" y="1621"/>
                </a:lnTo>
                <a:lnTo>
                  <a:pt x="4163" y="1655"/>
                </a:lnTo>
                <a:lnTo>
                  <a:pt x="4146" y="1688"/>
                </a:lnTo>
                <a:lnTo>
                  <a:pt x="4140" y="1706"/>
                </a:lnTo>
                <a:lnTo>
                  <a:pt x="4137" y="1722"/>
                </a:lnTo>
                <a:lnTo>
                  <a:pt x="4133" y="1739"/>
                </a:lnTo>
                <a:lnTo>
                  <a:pt x="4132" y="1757"/>
                </a:lnTo>
                <a:lnTo>
                  <a:pt x="4133" y="1778"/>
                </a:lnTo>
                <a:lnTo>
                  <a:pt x="4137" y="1797"/>
                </a:lnTo>
                <a:lnTo>
                  <a:pt x="4150" y="1837"/>
                </a:lnTo>
                <a:lnTo>
                  <a:pt x="4159" y="1858"/>
                </a:lnTo>
                <a:lnTo>
                  <a:pt x="4170" y="1880"/>
                </a:lnTo>
                <a:lnTo>
                  <a:pt x="4197" y="1923"/>
                </a:lnTo>
                <a:lnTo>
                  <a:pt x="4266" y="2007"/>
                </a:lnTo>
                <a:lnTo>
                  <a:pt x="4362" y="2117"/>
                </a:lnTo>
                <a:lnTo>
                  <a:pt x="4481" y="2245"/>
                </a:lnTo>
                <a:lnTo>
                  <a:pt x="4617" y="2388"/>
                </a:lnTo>
                <a:lnTo>
                  <a:pt x="4762" y="2537"/>
                </a:lnTo>
                <a:lnTo>
                  <a:pt x="4912" y="2688"/>
                </a:lnTo>
                <a:lnTo>
                  <a:pt x="5060" y="2834"/>
                </a:lnTo>
                <a:lnTo>
                  <a:pt x="5200" y="2968"/>
                </a:lnTo>
                <a:lnTo>
                  <a:pt x="5217" y="2986"/>
                </a:lnTo>
                <a:lnTo>
                  <a:pt x="5223" y="2995"/>
                </a:lnTo>
                <a:lnTo>
                  <a:pt x="5230" y="3005"/>
                </a:lnTo>
                <a:lnTo>
                  <a:pt x="5238" y="3026"/>
                </a:lnTo>
                <a:lnTo>
                  <a:pt x="5241" y="3038"/>
                </a:lnTo>
                <a:lnTo>
                  <a:pt x="5242" y="3051"/>
                </a:lnTo>
                <a:lnTo>
                  <a:pt x="5239" y="3076"/>
                </a:lnTo>
                <a:lnTo>
                  <a:pt x="5234" y="3102"/>
                </a:lnTo>
                <a:lnTo>
                  <a:pt x="5224" y="3129"/>
                </a:lnTo>
                <a:lnTo>
                  <a:pt x="5211" y="3156"/>
                </a:lnTo>
                <a:lnTo>
                  <a:pt x="5196" y="3182"/>
                </a:lnTo>
                <a:lnTo>
                  <a:pt x="5178" y="3208"/>
                </a:lnTo>
                <a:lnTo>
                  <a:pt x="5157" y="3233"/>
                </a:lnTo>
                <a:lnTo>
                  <a:pt x="5135" y="3257"/>
                </a:lnTo>
                <a:lnTo>
                  <a:pt x="5110" y="3280"/>
                </a:lnTo>
                <a:lnTo>
                  <a:pt x="5085" y="3300"/>
                </a:lnTo>
                <a:lnTo>
                  <a:pt x="5059" y="3319"/>
                </a:lnTo>
                <a:lnTo>
                  <a:pt x="5032" y="3335"/>
                </a:lnTo>
                <a:lnTo>
                  <a:pt x="5004" y="3347"/>
                </a:lnTo>
                <a:lnTo>
                  <a:pt x="4975" y="3357"/>
                </a:lnTo>
                <a:lnTo>
                  <a:pt x="4948" y="3364"/>
                </a:lnTo>
                <a:lnTo>
                  <a:pt x="4921" y="3366"/>
                </a:lnTo>
                <a:close/>
                <a:moveTo>
                  <a:pt x="1388" y="3419"/>
                </a:moveTo>
                <a:lnTo>
                  <a:pt x="1316" y="3417"/>
                </a:lnTo>
                <a:lnTo>
                  <a:pt x="1246" y="3410"/>
                </a:lnTo>
                <a:lnTo>
                  <a:pt x="1177" y="3401"/>
                </a:lnTo>
                <a:lnTo>
                  <a:pt x="1108" y="3386"/>
                </a:lnTo>
                <a:lnTo>
                  <a:pt x="1075" y="3378"/>
                </a:lnTo>
                <a:lnTo>
                  <a:pt x="1041" y="3368"/>
                </a:lnTo>
                <a:lnTo>
                  <a:pt x="976" y="3347"/>
                </a:lnTo>
                <a:lnTo>
                  <a:pt x="911" y="3321"/>
                </a:lnTo>
                <a:lnTo>
                  <a:pt x="879" y="3307"/>
                </a:lnTo>
                <a:lnTo>
                  <a:pt x="848" y="3293"/>
                </a:lnTo>
                <a:lnTo>
                  <a:pt x="787" y="3260"/>
                </a:lnTo>
                <a:lnTo>
                  <a:pt x="756" y="3243"/>
                </a:lnTo>
                <a:lnTo>
                  <a:pt x="727" y="3224"/>
                </a:lnTo>
                <a:lnTo>
                  <a:pt x="698" y="3206"/>
                </a:lnTo>
                <a:lnTo>
                  <a:pt x="668" y="3185"/>
                </a:lnTo>
                <a:lnTo>
                  <a:pt x="640" y="3164"/>
                </a:lnTo>
                <a:lnTo>
                  <a:pt x="613" y="3144"/>
                </a:lnTo>
                <a:lnTo>
                  <a:pt x="557" y="3098"/>
                </a:lnTo>
                <a:lnTo>
                  <a:pt x="505" y="3050"/>
                </a:lnTo>
                <a:lnTo>
                  <a:pt x="455" y="2999"/>
                </a:lnTo>
                <a:lnTo>
                  <a:pt x="406" y="2946"/>
                </a:lnTo>
                <a:lnTo>
                  <a:pt x="384" y="2918"/>
                </a:lnTo>
                <a:lnTo>
                  <a:pt x="361" y="2889"/>
                </a:lnTo>
                <a:lnTo>
                  <a:pt x="317" y="2831"/>
                </a:lnTo>
                <a:lnTo>
                  <a:pt x="276" y="2769"/>
                </a:lnTo>
                <a:lnTo>
                  <a:pt x="237" y="2704"/>
                </a:lnTo>
                <a:lnTo>
                  <a:pt x="218" y="2672"/>
                </a:lnTo>
                <a:lnTo>
                  <a:pt x="201" y="2639"/>
                </a:lnTo>
                <a:lnTo>
                  <a:pt x="167" y="2571"/>
                </a:lnTo>
                <a:lnTo>
                  <a:pt x="137" y="2500"/>
                </a:lnTo>
                <a:lnTo>
                  <a:pt x="110" y="2427"/>
                </a:lnTo>
                <a:lnTo>
                  <a:pt x="85" y="2353"/>
                </a:lnTo>
                <a:lnTo>
                  <a:pt x="63" y="2277"/>
                </a:lnTo>
                <a:lnTo>
                  <a:pt x="43" y="2199"/>
                </a:lnTo>
                <a:lnTo>
                  <a:pt x="28" y="2119"/>
                </a:lnTo>
                <a:lnTo>
                  <a:pt x="16" y="2039"/>
                </a:lnTo>
                <a:lnTo>
                  <a:pt x="8" y="1956"/>
                </a:lnTo>
                <a:lnTo>
                  <a:pt x="2" y="1872"/>
                </a:lnTo>
                <a:lnTo>
                  <a:pt x="0" y="1786"/>
                </a:lnTo>
                <a:lnTo>
                  <a:pt x="2" y="1699"/>
                </a:lnTo>
                <a:lnTo>
                  <a:pt x="8" y="1613"/>
                </a:lnTo>
                <a:lnTo>
                  <a:pt x="16" y="1527"/>
                </a:lnTo>
                <a:lnTo>
                  <a:pt x="29" y="1442"/>
                </a:lnTo>
                <a:lnTo>
                  <a:pt x="37" y="1400"/>
                </a:lnTo>
                <a:lnTo>
                  <a:pt x="46" y="1359"/>
                </a:lnTo>
                <a:lnTo>
                  <a:pt x="65" y="1276"/>
                </a:lnTo>
                <a:lnTo>
                  <a:pt x="89" y="1194"/>
                </a:lnTo>
                <a:lnTo>
                  <a:pt x="115" y="1114"/>
                </a:lnTo>
                <a:lnTo>
                  <a:pt x="145" y="1036"/>
                </a:lnTo>
                <a:lnTo>
                  <a:pt x="160" y="998"/>
                </a:lnTo>
                <a:lnTo>
                  <a:pt x="176" y="960"/>
                </a:lnTo>
                <a:lnTo>
                  <a:pt x="212" y="884"/>
                </a:lnTo>
                <a:lnTo>
                  <a:pt x="250" y="812"/>
                </a:lnTo>
                <a:lnTo>
                  <a:pt x="291" y="741"/>
                </a:lnTo>
                <a:lnTo>
                  <a:pt x="335" y="672"/>
                </a:lnTo>
                <a:lnTo>
                  <a:pt x="380" y="607"/>
                </a:lnTo>
                <a:lnTo>
                  <a:pt x="429" y="544"/>
                </a:lnTo>
                <a:lnTo>
                  <a:pt x="480" y="483"/>
                </a:lnTo>
                <a:lnTo>
                  <a:pt x="534" y="425"/>
                </a:lnTo>
                <a:lnTo>
                  <a:pt x="589" y="371"/>
                </a:lnTo>
                <a:lnTo>
                  <a:pt x="648" y="320"/>
                </a:lnTo>
                <a:lnTo>
                  <a:pt x="707" y="271"/>
                </a:lnTo>
                <a:lnTo>
                  <a:pt x="769" y="226"/>
                </a:lnTo>
                <a:lnTo>
                  <a:pt x="832" y="185"/>
                </a:lnTo>
                <a:lnTo>
                  <a:pt x="865" y="167"/>
                </a:lnTo>
                <a:lnTo>
                  <a:pt x="898" y="148"/>
                </a:lnTo>
                <a:lnTo>
                  <a:pt x="965" y="114"/>
                </a:lnTo>
                <a:lnTo>
                  <a:pt x="1034" y="85"/>
                </a:lnTo>
                <a:lnTo>
                  <a:pt x="1104" y="60"/>
                </a:lnTo>
                <a:lnTo>
                  <a:pt x="1140" y="48"/>
                </a:lnTo>
                <a:lnTo>
                  <a:pt x="1177" y="38"/>
                </a:lnTo>
                <a:lnTo>
                  <a:pt x="1250" y="22"/>
                </a:lnTo>
                <a:lnTo>
                  <a:pt x="1325" y="10"/>
                </a:lnTo>
                <a:lnTo>
                  <a:pt x="1400" y="2"/>
                </a:lnTo>
                <a:lnTo>
                  <a:pt x="1438" y="0"/>
                </a:lnTo>
                <a:lnTo>
                  <a:pt x="1477" y="0"/>
                </a:lnTo>
                <a:lnTo>
                  <a:pt x="1524" y="1"/>
                </a:lnTo>
                <a:lnTo>
                  <a:pt x="1571" y="4"/>
                </a:lnTo>
                <a:lnTo>
                  <a:pt x="1616" y="10"/>
                </a:lnTo>
                <a:lnTo>
                  <a:pt x="1660" y="17"/>
                </a:lnTo>
                <a:lnTo>
                  <a:pt x="1703" y="27"/>
                </a:lnTo>
                <a:lnTo>
                  <a:pt x="1744" y="38"/>
                </a:lnTo>
                <a:lnTo>
                  <a:pt x="1823" y="68"/>
                </a:lnTo>
                <a:lnTo>
                  <a:pt x="1860" y="84"/>
                </a:lnTo>
                <a:lnTo>
                  <a:pt x="1896" y="103"/>
                </a:lnTo>
                <a:lnTo>
                  <a:pt x="1931" y="124"/>
                </a:lnTo>
                <a:lnTo>
                  <a:pt x="1963" y="147"/>
                </a:lnTo>
                <a:lnTo>
                  <a:pt x="1996" y="171"/>
                </a:lnTo>
                <a:lnTo>
                  <a:pt x="2025" y="196"/>
                </a:lnTo>
                <a:lnTo>
                  <a:pt x="2055" y="223"/>
                </a:lnTo>
                <a:lnTo>
                  <a:pt x="2082" y="252"/>
                </a:lnTo>
                <a:lnTo>
                  <a:pt x="2108" y="283"/>
                </a:lnTo>
                <a:lnTo>
                  <a:pt x="2132" y="314"/>
                </a:lnTo>
                <a:lnTo>
                  <a:pt x="2155" y="347"/>
                </a:lnTo>
                <a:lnTo>
                  <a:pt x="2175" y="381"/>
                </a:lnTo>
                <a:lnTo>
                  <a:pt x="2213" y="454"/>
                </a:lnTo>
                <a:lnTo>
                  <a:pt x="2230" y="492"/>
                </a:lnTo>
                <a:lnTo>
                  <a:pt x="2245" y="531"/>
                </a:lnTo>
                <a:lnTo>
                  <a:pt x="2258" y="571"/>
                </a:lnTo>
                <a:lnTo>
                  <a:pt x="2269" y="613"/>
                </a:lnTo>
                <a:lnTo>
                  <a:pt x="2279" y="655"/>
                </a:lnTo>
                <a:lnTo>
                  <a:pt x="2286" y="697"/>
                </a:lnTo>
                <a:lnTo>
                  <a:pt x="2293" y="742"/>
                </a:lnTo>
                <a:lnTo>
                  <a:pt x="2297" y="787"/>
                </a:lnTo>
                <a:lnTo>
                  <a:pt x="2299" y="832"/>
                </a:lnTo>
                <a:lnTo>
                  <a:pt x="2300" y="878"/>
                </a:lnTo>
                <a:lnTo>
                  <a:pt x="2299" y="937"/>
                </a:lnTo>
                <a:lnTo>
                  <a:pt x="2294" y="994"/>
                </a:lnTo>
                <a:lnTo>
                  <a:pt x="2284" y="1052"/>
                </a:lnTo>
                <a:lnTo>
                  <a:pt x="2272" y="1109"/>
                </a:lnTo>
                <a:lnTo>
                  <a:pt x="2256" y="1165"/>
                </a:lnTo>
                <a:lnTo>
                  <a:pt x="2237" y="1219"/>
                </a:lnTo>
                <a:lnTo>
                  <a:pt x="2216" y="1274"/>
                </a:lnTo>
                <a:lnTo>
                  <a:pt x="2191" y="1328"/>
                </a:lnTo>
                <a:lnTo>
                  <a:pt x="2163" y="1380"/>
                </a:lnTo>
                <a:lnTo>
                  <a:pt x="2133" y="1432"/>
                </a:lnTo>
                <a:lnTo>
                  <a:pt x="2100" y="1482"/>
                </a:lnTo>
                <a:lnTo>
                  <a:pt x="2066" y="1530"/>
                </a:lnTo>
                <a:lnTo>
                  <a:pt x="2028" y="1577"/>
                </a:lnTo>
                <a:lnTo>
                  <a:pt x="1988" y="1623"/>
                </a:lnTo>
                <a:lnTo>
                  <a:pt x="1946" y="1667"/>
                </a:lnTo>
                <a:lnTo>
                  <a:pt x="1903" y="1709"/>
                </a:lnTo>
                <a:lnTo>
                  <a:pt x="1857" y="1749"/>
                </a:lnTo>
                <a:lnTo>
                  <a:pt x="1810" y="1787"/>
                </a:lnTo>
                <a:lnTo>
                  <a:pt x="1761" y="1824"/>
                </a:lnTo>
                <a:lnTo>
                  <a:pt x="1711" y="1858"/>
                </a:lnTo>
                <a:lnTo>
                  <a:pt x="1659" y="1891"/>
                </a:lnTo>
                <a:lnTo>
                  <a:pt x="1633" y="1906"/>
                </a:lnTo>
                <a:lnTo>
                  <a:pt x="1606" y="1920"/>
                </a:lnTo>
                <a:lnTo>
                  <a:pt x="1553" y="1948"/>
                </a:lnTo>
                <a:lnTo>
                  <a:pt x="1497" y="1972"/>
                </a:lnTo>
                <a:lnTo>
                  <a:pt x="1442" y="1995"/>
                </a:lnTo>
                <a:lnTo>
                  <a:pt x="1385" y="2015"/>
                </a:lnTo>
                <a:lnTo>
                  <a:pt x="1328" y="2032"/>
                </a:lnTo>
                <a:lnTo>
                  <a:pt x="1270" y="2046"/>
                </a:lnTo>
                <a:lnTo>
                  <a:pt x="1213" y="2057"/>
                </a:lnTo>
                <a:lnTo>
                  <a:pt x="1154" y="2065"/>
                </a:lnTo>
                <a:lnTo>
                  <a:pt x="1096" y="2070"/>
                </a:lnTo>
                <a:lnTo>
                  <a:pt x="1038" y="2071"/>
                </a:lnTo>
                <a:lnTo>
                  <a:pt x="1013" y="2070"/>
                </a:lnTo>
                <a:lnTo>
                  <a:pt x="988" y="2066"/>
                </a:lnTo>
                <a:lnTo>
                  <a:pt x="965" y="2058"/>
                </a:lnTo>
                <a:lnTo>
                  <a:pt x="942" y="2048"/>
                </a:lnTo>
                <a:lnTo>
                  <a:pt x="920" y="2036"/>
                </a:lnTo>
                <a:lnTo>
                  <a:pt x="901" y="2022"/>
                </a:lnTo>
                <a:lnTo>
                  <a:pt x="882" y="2005"/>
                </a:lnTo>
                <a:lnTo>
                  <a:pt x="865" y="1986"/>
                </a:lnTo>
                <a:lnTo>
                  <a:pt x="850" y="1966"/>
                </a:lnTo>
                <a:lnTo>
                  <a:pt x="836" y="1943"/>
                </a:lnTo>
                <a:lnTo>
                  <a:pt x="824" y="1919"/>
                </a:lnTo>
                <a:lnTo>
                  <a:pt x="814" y="1894"/>
                </a:lnTo>
                <a:lnTo>
                  <a:pt x="805" y="1867"/>
                </a:lnTo>
                <a:lnTo>
                  <a:pt x="800" y="1840"/>
                </a:lnTo>
                <a:lnTo>
                  <a:pt x="795" y="1810"/>
                </a:lnTo>
                <a:lnTo>
                  <a:pt x="794" y="1781"/>
                </a:lnTo>
                <a:lnTo>
                  <a:pt x="798" y="1729"/>
                </a:lnTo>
                <a:lnTo>
                  <a:pt x="803" y="1705"/>
                </a:lnTo>
                <a:lnTo>
                  <a:pt x="810" y="1683"/>
                </a:lnTo>
                <a:lnTo>
                  <a:pt x="818" y="1663"/>
                </a:lnTo>
                <a:lnTo>
                  <a:pt x="829" y="1646"/>
                </a:lnTo>
                <a:lnTo>
                  <a:pt x="843" y="1631"/>
                </a:lnTo>
                <a:lnTo>
                  <a:pt x="859" y="1621"/>
                </a:lnTo>
                <a:lnTo>
                  <a:pt x="911" y="1612"/>
                </a:lnTo>
                <a:lnTo>
                  <a:pt x="962" y="1602"/>
                </a:lnTo>
                <a:lnTo>
                  <a:pt x="1011" y="1590"/>
                </a:lnTo>
                <a:lnTo>
                  <a:pt x="1059" y="1577"/>
                </a:lnTo>
                <a:lnTo>
                  <a:pt x="1106" y="1562"/>
                </a:lnTo>
                <a:lnTo>
                  <a:pt x="1153" y="1546"/>
                </a:lnTo>
                <a:lnTo>
                  <a:pt x="1197" y="1528"/>
                </a:lnTo>
                <a:lnTo>
                  <a:pt x="1242" y="1509"/>
                </a:lnTo>
                <a:lnTo>
                  <a:pt x="1284" y="1488"/>
                </a:lnTo>
                <a:lnTo>
                  <a:pt x="1326" y="1466"/>
                </a:lnTo>
                <a:lnTo>
                  <a:pt x="1404" y="1420"/>
                </a:lnTo>
                <a:lnTo>
                  <a:pt x="1477" y="1369"/>
                </a:lnTo>
                <a:lnTo>
                  <a:pt x="1511" y="1341"/>
                </a:lnTo>
                <a:lnTo>
                  <a:pt x="1544" y="1314"/>
                </a:lnTo>
                <a:lnTo>
                  <a:pt x="1574" y="1286"/>
                </a:lnTo>
                <a:lnTo>
                  <a:pt x="1604" y="1256"/>
                </a:lnTo>
                <a:lnTo>
                  <a:pt x="1632" y="1226"/>
                </a:lnTo>
                <a:lnTo>
                  <a:pt x="1658" y="1196"/>
                </a:lnTo>
                <a:lnTo>
                  <a:pt x="1682" y="1164"/>
                </a:lnTo>
                <a:lnTo>
                  <a:pt x="1704" y="1132"/>
                </a:lnTo>
                <a:lnTo>
                  <a:pt x="1724" y="1101"/>
                </a:lnTo>
                <a:lnTo>
                  <a:pt x="1743" y="1068"/>
                </a:lnTo>
                <a:lnTo>
                  <a:pt x="1759" y="1036"/>
                </a:lnTo>
                <a:lnTo>
                  <a:pt x="1773" y="1003"/>
                </a:lnTo>
                <a:lnTo>
                  <a:pt x="1796" y="938"/>
                </a:lnTo>
                <a:lnTo>
                  <a:pt x="1804" y="905"/>
                </a:lnTo>
                <a:lnTo>
                  <a:pt x="1810" y="872"/>
                </a:lnTo>
                <a:lnTo>
                  <a:pt x="1814" y="840"/>
                </a:lnTo>
                <a:lnTo>
                  <a:pt x="1815" y="807"/>
                </a:lnTo>
                <a:lnTo>
                  <a:pt x="1812" y="768"/>
                </a:lnTo>
                <a:lnTo>
                  <a:pt x="1808" y="731"/>
                </a:lnTo>
                <a:lnTo>
                  <a:pt x="1799" y="696"/>
                </a:lnTo>
                <a:lnTo>
                  <a:pt x="1789" y="664"/>
                </a:lnTo>
                <a:lnTo>
                  <a:pt x="1774" y="633"/>
                </a:lnTo>
                <a:lnTo>
                  <a:pt x="1757" y="605"/>
                </a:lnTo>
                <a:lnTo>
                  <a:pt x="1737" y="579"/>
                </a:lnTo>
                <a:lnTo>
                  <a:pt x="1715" y="555"/>
                </a:lnTo>
                <a:lnTo>
                  <a:pt x="1689" y="534"/>
                </a:lnTo>
                <a:lnTo>
                  <a:pt x="1660" y="516"/>
                </a:lnTo>
                <a:lnTo>
                  <a:pt x="1630" y="499"/>
                </a:lnTo>
                <a:lnTo>
                  <a:pt x="1597" y="486"/>
                </a:lnTo>
                <a:lnTo>
                  <a:pt x="1579" y="481"/>
                </a:lnTo>
                <a:lnTo>
                  <a:pt x="1561" y="477"/>
                </a:lnTo>
                <a:lnTo>
                  <a:pt x="1523" y="469"/>
                </a:lnTo>
                <a:lnTo>
                  <a:pt x="1483" y="465"/>
                </a:lnTo>
                <a:lnTo>
                  <a:pt x="1441" y="462"/>
                </a:lnTo>
                <a:lnTo>
                  <a:pt x="1401" y="465"/>
                </a:lnTo>
                <a:lnTo>
                  <a:pt x="1359" y="470"/>
                </a:lnTo>
                <a:lnTo>
                  <a:pt x="1318" y="478"/>
                </a:lnTo>
                <a:lnTo>
                  <a:pt x="1277" y="490"/>
                </a:lnTo>
                <a:lnTo>
                  <a:pt x="1235" y="504"/>
                </a:lnTo>
                <a:lnTo>
                  <a:pt x="1195" y="522"/>
                </a:lnTo>
                <a:lnTo>
                  <a:pt x="1154" y="543"/>
                </a:lnTo>
                <a:lnTo>
                  <a:pt x="1114" y="566"/>
                </a:lnTo>
                <a:lnTo>
                  <a:pt x="1074" y="592"/>
                </a:lnTo>
                <a:lnTo>
                  <a:pt x="1034" y="621"/>
                </a:lnTo>
                <a:lnTo>
                  <a:pt x="995" y="653"/>
                </a:lnTo>
                <a:lnTo>
                  <a:pt x="958" y="686"/>
                </a:lnTo>
                <a:lnTo>
                  <a:pt x="921" y="722"/>
                </a:lnTo>
                <a:lnTo>
                  <a:pt x="884" y="762"/>
                </a:lnTo>
                <a:lnTo>
                  <a:pt x="850" y="803"/>
                </a:lnTo>
                <a:lnTo>
                  <a:pt x="816" y="845"/>
                </a:lnTo>
                <a:lnTo>
                  <a:pt x="752" y="939"/>
                </a:lnTo>
                <a:lnTo>
                  <a:pt x="723" y="988"/>
                </a:lnTo>
                <a:lnTo>
                  <a:pt x="694" y="1039"/>
                </a:lnTo>
                <a:lnTo>
                  <a:pt x="681" y="1065"/>
                </a:lnTo>
                <a:lnTo>
                  <a:pt x="668" y="1091"/>
                </a:lnTo>
                <a:lnTo>
                  <a:pt x="643" y="1146"/>
                </a:lnTo>
                <a:lnTo>
                  <a:pt x="620" y="1202"/>
                </a:lnTo>
                <a:lnTo>
                  <a:pt x="600" y="1260"/>
                </a:lnTo>
                <a:lnTo>
                  <a:pt x="580" y="1318"/>
                </a:lnTo>
                <a:lnTo>
                  <a:pt x="564" y="1378"/>
                </a:lnTo>
                <a:lnTo>
                  <a:pt x="550" y="1440"/>
                </a:lnTo>
                <a:lnTo>
                  <a:pt x="538" y="1502"/>
                </a:lnTo>
                <a:lnTo>
                  <a:pt x="528" y="1567"/>
                </a:lnTo>
                <a:lnTo>
                  <a:pt x="522" y="1631"/>
                </a:lnTo>
                <a:lnTo>
                  <a:pt x="517" y="1696"/>
                </a:lnTo>
                <a:lnTo>
                  <a:pt x="516" y="1763"/>
                </a:lnTo>
                <a:lnTo>
                  <a:pt x="517" y="1822"/>
                </a:lnTo>
                <a:lnTo>
                  <a:pt x="519" y="1881"/>
                </a:lnTo>
                <a:lnTo>
                  <a:pt x="525" y="1939"/>
                </a:lnTo>
                <a:lnTo>
                  <a:pt x="532" y="1994"/>
                </a:lnTo>
                <a:lnTo>
                  <a:pt x="541" y="2049"/>
                </a:lnTo>
                <a:lnTo>
                  <a:pt x="552" y="2103"/>
                </a:lnTo>
                <a:lnTo>
                  <a:pt x="564" y="2155"/>
                </a:lnTo>
                <a:lnTo>
                  <a:pt x="579" y="2206"/>
                </a:lnTo>
                <a:lnTo>
                  <a:pt x="595" y="2255"/>
                </a:lnTo>
                <a:lnTo>
                  <a:pt x="614" y="2303"/>
                </a:lnTo>
                <a:lnTo>
                  <a:pt x="633" y="2350"/>
                </a:lnTo>
                <a:lnTo>
                  <a:pt x="655" y="2394"/>
                </a:lnTo>
                <a:lnTo>
                  <a:pt x="678" y="2437"/>
                </a:lnTo>
                <a:lnTo>
                  <a:pt x="703" y="2478"/>
                </a:lnTo>
                <a:lnTo>
                  <a:pt x="730" y="2517"/>
                </a:lnTo>
                <a:lnTo>
                  <a:pt x="758" y="2555"/>
                </a:lnTo>
                <a:lnTo>
                  <a:pt x="788" y="2591"/>
                </a:lnTo>
                <a:lnTo>
                  <a:pt x="819" y="2625"/>
                </a:lnTo>
                <a:lnTo>
                  <a:pt x="852" y="2656"/>
                </a:lnTo>
                <a:lnTo>
                  <a:pt x="887" y="2687"/>
                </a:lnTo>
                <a:lnTo>
                  <a:pt x="923" y="2714"/>
                </a:lnTo>
                <a:lnTo>
                  <a:pt x="959" y="2740"/>
                </a:lnTo>
                <a:lnTo>
                  <a:pt x="999" y="2763"/>
                </a:lnTo>
                <a:lnTo>
                  <a:pt x="1039" y="2785"/>
                </a:lnTo>
                <a:lnTo>
                  <a:pt x="1080" y="2803"/>
                </a:lnTo>
                <a:lnTo>
                  <a:pt x="1122" y="2820"/>
                </a:lnTo>
                <a:lnTo>
                  <a:pt x="1167" y="2834"/>
                </a:lnTo>
                <a:lnTo>
                  <a:pt x="1213" y="2846"/>
                </a:lnTo>
                <a:lnTo>
                  <a:pt x="1258" y="2856"/>
                </a:lnTo>
                <a:lnTo>
                  <a:pt x="1306" y="2862"/>
                </a:lnTo>
                <a:lnTo>
                  <a:pt x="1355" y="2865"/>
                </a:lnTo>
                <a:lnTo>
                  <a:pt x="1405" y="2867"/>
                </a:lnTo>
                <a:lnTo>
                  <a:pt x="1454" y="2865"/>
                </a:lnTo>
                <a:lnTo>
                  <a:pt x="1503" y="2862"/>
                </a:lnTo>
                <a:lnTo>
                  <a:pt x="1551" y="2857"/>
                </a:lnTo>
                <a:lnTo>
                  <a:pt x="1597" y="2848"/>
                </a:lnTo>
                <a:lnTo>
                  <a:pt x="1644" y="2838"/>
                </a:lnTo>
                <a:lnTo>
                  <a:pt x="1690" y="2825"/>
                </a:lnTo>
                <a:lnTo>
                  <a:pt x="1734" y="2811"/>
                </a:lnTo>
                <a:lnTo>
                  <a:pt x="1779" y="2794"/>
                </a:lnTo>
                <a:lnTo>
                  <a:pt x="1821" y="2775"/>
                </a:lnTo>
                <a:lnTo>
                  <a:pt x="1865" y="2754"/>
                </a:lnTo>
                <a:lnTo>
                  <a:pt x="1906" y="2732"/>
                </a:lnTo>
                <a:lnTo>
                  <a:pt x="1947" y="2708"/>
                </a:lnTo>
                <a:lnTo>
                  <a:pt x="1987" y="2681"/>
                </a:lnTo>
                <a:lnTo>
                  <a:pt x="2028" y="2653"/>
                </a:lnTo>
                <a:lnTo>
                  <a:pt x="2066" y="2624"/>
                </a:lnTo>
                <a:lnTo>
                  <a:pt x="2105" y="2592"/>
                </a:lnTo>
                <a:lnTo>
                  <a:pt x="2142" y="2560"/>
                </a:lnTo>
                <a:lnTo>
                  <a:pt x="2179" y="2525"/>
                </a:lnTo>
                <a:lnTo>
                  <a:pt x="2249" y="2452"/>
                </a:lnTo>
                <a:lnTo>
                  <a:pt x="2283" y="2413"/>
                </a:lnTo>
                <a:lnTo>
                  <a:pt x="2317" y="2374"/>
                </a:lnTo>
                <a:lnTo>
                  <a:pt x="2381" y="2290"/>
                </a:lnTo>
                <a:lnTo>
                  <a:pt x="2443" y="2201"/>
                </a:lnTo>
                <a:lnTo>
                  <a:pt x="2501" y="2108"/>
                </a:lnTo>
                <a:lnTo>
                  <a:pt x="2556" y="2011"/>
                </a:lnTo>
                <a:lnTo>
                  <a:pt x="2608" y="1912"/>
                </a:lnTo>
                <a:lnTo>
                  <a:pt x="2656" y="1809"/>
                </a:lnTo>
                <a:lnTo>
                  <a:pt x="2701" y="1704"/>
                </a:lnTo>
                <a:lnTo>
                  <a:pt x="2743" y="1596"/>
                </a:lnTo>
                <a:lnTo>
                  <a:pt x="2781" y="1487"/>
                </a:lnTo>
                <a:lnTo>
                  <a:pt x="2815" y="1376"/>
                </a:lnTo>
                <a:lnTo>
                  <a:pt x="2847" y="1265"/>
                </a:lnTo>
                <a:lnTo>
                  <a:pt x="2875" y="1153"/>
                </a:lnTo>
                <a:lnTo>
                  <a:pt x="2888" y="1098"/>
                </a:lnTo>
                <a:lnTo>
                  <a:pt x="2899" y="1041"/>
                </a:lnTo>
                <a:lnTo>
                  <a:pt x="2921" y="930"/>
                </a:lnTo>
                <a:lnTo>
                  <a:pt x="2938" y="819"/>
                </a:lnTo>
                <a:lnTo>
                  <a:pt x="2951" y="709"/>
                </a:lnTo>
                <a:lnTo>
                  <a:pt x="2961" y="602"/>
                </a:lnTo>
                <a:lnTo>
                  <a:pt x="2967" y="496"/>
                </a:lnTo>
                <a:lnTo>
                  <a:pt x="2971" y="393"/>
                </a:lnTo>
                <a:lnTo>
                  <a:pt x="2970" y="293"/>
                </a:lnTo>
                <a:lnTo>
                  <a:pt x="2964" y="196"/>
                </a:lnTo>
                <a:lnTo>
                  <a:pt x="2969" y="185"/>
                </a:lnTo>
                <a:lnTo>
                  <a:pt x="2974" y="174"/>
                </a:lnTo>
                <a:lnTo>
                  <a:pt x="2989" y="153"/>
                </a:lnTo>
                <a:lnTo>
                  <a:pt x="3010" y="134"/>
                </a:lnTo>
                <a:lnTo>
                  <a:pt x="3035" y="118"/>
                </a:lnTo>
                <a:lnTo>
                  <a:pt x="3064" y="103"/>
                </a:lnTo>
                <a:lnTo>
                  <a:pt x="3097" y="93"/>
                </a:lnTo>
                <a:lnTo>
                  <a:pt x="3134" y="85"/>
                </a:lnTo>
                <a:lnTo>
                  <a:pt x="3172" y="83"/>
                </a:lnTo>
                <a:lnTo>
                  <a:pt x="3206" y="84"/>
                </a:lnTo>
                <a:lnTo>
                  <a:pt x="3238" y="88"/>
                </a:lnTo>
                <a:lnTo>
                  <a:pt x="3270" y="94"/>
                </a:lnTo>
                <a:lnTo>
                  <a:pt x="3299" y="102"/>
                </a:lnTo>
                <a:lnTo>
                  <a:pt x="3326" y="114"/>
                </a:lnTo>
                <a:lnTo>
                  <a:pt x="3352" y="130"/>
                </a:lnTo>
                <a:lnTo>
                  <a:pt x="3376" y="147"/>
                </a:lnTo>
                <a:lnTo>
                  <a:pt x="3398" y="169"/>
                </a:lnTo>
                <a:lnTo>
                  <a:pt x="3418" y="194"/>
                </a:lnTo>
                <a:lnTo>
                  <a:pt x="3436" y="222"/>
                </a:lnTo>
                <a:lnTo>
                  <a:pt x="3451" y="255"/>
                </a:lnTo>
                <a:lnTo>
                  <a:pt x="3463" y="291"/>
                </a:lnTo>
                <a:lnTo>
                  <a:pt x="3468" y="311"/>
                </a:lnTo>
                <a:lnTo>
                  <a:pt x="3473" y="332"/>
                </a:lnTo>
                <a:lnTo>
                  <a:pt x="3480" y="376"/>
                </a:lnTo>
                <a:lnTo>
                  <a:pt x="3485" y="427"/>
                </a:lnTo>
                <a:lnTo>
                  <a:pt x="3487" y="481"/>
                </a:lnTo>
                <a:lnTo>
                  <a:pt x="3481" y="626"/>
                </a:lnTo>
                <a:lnTo>
                  <a:pt x="3473" y="769"/>
                </a:lnTo>
                <a:lnTo>
                  <a:pt x="3459" y="912"/>
                </a:lnTo>
                <a:lnTo>
                  <a:pt x="3439" y="1052"/>
                </a:lnTo>
                <a:lnTo>
                  <a:pt x="3428" y="1122"/>
                </a:lnTo>
                <a:lnTo>
                  <a:pt x="3416" y="1190"/>
                </a:lnTo>
                <a:lnTo>
                  <a:pt x="3402" y="1259"/>
                </a:lnTo>
                <a:lnTo>
                  <a:pt x="3388" y="1327"/>
                </a:lnTo>
                <a:lnTo>
                  <a:pt x="3373" y="1395"/>
                </a:lnTo>
                <a:lnTo>
                  <a:pt x="3355" y="1462"/>
                </a:lnTo>
                <a:lnTo>
                  <a:pt x="3319" y="1594"/>
                </a:lnTo>
                <a:lnTo>
                  <a:pt x="3278" y="1722"/>
                </a:lnTo>
                <a:lnTo>
                  <a:pt x="3234" y="1848"/>
                </a:lnTo>
                <a:lnTo>
                  <a:pt x="3210" y="1910"/>
                </a:lnTo>
                <a:lnTo>
                  <a:pt x="3185" y="1971"/>
                </a:lnTo>
                <a:lnTo>
                  <a:pt x="3133" y="2091"/>
                </a:lnTo>
                <a:lnTo>
                  <a:pt x="3076" y="2207"/>
                </a:lnTo>
                <a:lnTo>
                  <a:pt x="3046" y="2264"/>
                </a:lnTo>
                <a:lnTo>
                  <a:pt x="3015" y="2319"/>
                </a:lnTo>
                <a:lnTo>
                  <a:pt x="2951" y="2427"/>
                </a:lnTo>
                <a:lnTo>
                  <a:pt x="2884" y="2531"/>
                </a:lnTo>
                <a:lnTo>
                  <a:pt x="2813" y="2630"/>
                </a:lnTo>
                <a:lnTo>
                  <a:pt x="2776" y="2678"/>
                </a:lnTo>
                <a:lnTo>
                  <a:pt x="2738" y="2724"/>
                </a:lnTo>
                <a:lnTo>
                  <a:pt x="2700" y="2770"/>
                </a:lnTo>
                <a:lnTo>
                  <a:pt x="2661" y="2814"/>
                </a:lnTo>
                <a:lnTo>
                  <a:pt x="2621" y="2857"/>
                </a:lnTo>
                <a:lnTo>
                  <a:pt x="2580" y="2898"/>
                </a:lnTo>
                <a:lnTo>
                  <a:pt x="2538" y="2938"/>
                </a:lnTo>
                <a:lnTo>
                  <a:pt x="2496" y="2976"/>
                </a:lnTo>
                <a:lnTo>
                  <a:pt x="2452" y="3013"/>
                </a:lnTo>
                <a:lnTo>
                  <a:pt x="2408" y="3049"/>
                </a:lnTo>
                <a:lnTo>
                  <a:pt x="2318" y="3117"/>
                </a:lnTo>
                <a:lnTo>
                  <a:pt x="2272" y="3148"/>
                </a:lnTo>
                <a:lnTo>
                  <a:pt x="2225" y="3178"/>
                </a:lnTo>
                <a:lnTo>
                  <a:pt x="2178" y="3206"/>
                </a:lnTo>
                <a:lnTo>
                  <a:pt x="2129" y="3233"/>
                </a:lnTo>
                <a:lnTo>
                  <a:pt x="2080" y="3257"/>
                </a:lnTo>
                <a:lnTo>
                  <a:pt x="2031" y="3281"/>
                </a:lnTo>
                <a:lnTo>
                  <a:pt x="1980" y="3303"/>
                </a:lnTo>
                <a:lnTo>
                  <a:pt x="1930" y="3322"/>
                </a:lnTo>
                <a:lnTo>
                  <a:pt x="1878" y="3340"/>
                </a:lnTo>
                <a:lnTo>
                  <a:pt x="1825" y="3356"/>
                </a:lnTo>
                <a:lnTo>
                  <a:pt x="1773" y="3371"/>
                </a:lnTo>
                <a:lnTo>
                  <a:pt x="1720" y="3383"/>
                </a:lnTo>
                <a:lnTo>
                  <a:pt x="1666" y="3394"/>
                </a:lnTo>
                <a:lnTo>
                  <a:pt x="1611" y="3403"/>
                </a:lnTo>
                <a:lnTo>
                  <a:pt x="1556" y="3410"/>
                </a:lnTo>
                <a:lnTo>
                  <a:pt x="1501" y="3415"/>
                </a:lnTo>
                <a:lnTo>
                  <a:pt x="1444" y="3418"/>
                </a:lnTo>
                <a:lnTo>
                  <a:pt x="1388" y="34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9" name="Freeform 8"/>
          <p:cNvSpPr>
            <a:spLocks noEditPoints="1"/>
          </p:cNvSpPr>
          <p:nvPr userDrawn="1"/>
        </p:nvSpPr>
        <p:spPr bwMode="auto">
          <a:xfrm>
            <a:off x="6465888" y="0"/>
            <a:ext cx="5735637" cy="6021388"/>
          </a:xfrm>
          <a:custGeom>
            <a:avLst/>
            <a:gdLst>
              <a:gd name="T0" fmla="*/ 2538 w 3613"/>
              <a:gd name="T1" fmla="*/ 301 h 3793"/>
              <a:gd name="T2" fmla="*/ 2221 w 3613"/>
              <a:gd name="T3" fmla="*/ 184 h 3793"/>
              <a:gd name="T4" fmla="*/ 2944 w 3613"/>
              <a:gd name="T5" fmla="*/ 282 h 3793"/>
              <a:gd name="T6" fmla="*/ 1224 w 3613"/>
              <a:gd name="T7" fmla="*/ 358 h 3793"/>
              <a:gd name="T8" fmla="*/ 1799 w 3613"/>
              <a:gd name="T9" fmla="*/ 4 h 3793"/>
              <a:gd name="T10" fmla="*/ 197 w 3613"/>
              <a:gd name="T11" fmla="*/ 23 h 3793"/>
              <a:gd name="T12" fmla="*/ 3397 w 3613"/>
              <a:gd name="T13" fmla="*/ 23 h 3793"/>
              <a:gd name="T14" fmla="*/ 1621 w 3613"/>
              <a:gd name="T15" fmla="*/ 900 h 3793"/>
              <a:gd name="T16" fmla="*/ 1696 w 3613"/>
              <a:gd name="T17" fmla="*/ 1573 h 3793"/>
              <a:gd name="T18" fmla="*/ 271 w 3613"/>
              <a:gd name="T19" fmla="*/ 311 h 3793"/>
              <a:gd name="T20" fmla="*/ 425 w 3613"/>
              <a:gd name="T21" fmla="*/ 779 h 3793"/>
              <a:gd name="T22" fmla="*/ 400 w 3613"/>
              <a:gd name="T23" fmla="*/ 2087 h 3793"/>
              <a:gd name="T24" fmla="*/ 2813 w 3613"/>
              <a:gd name="T25" fmla="*/ 984 h 3793"/>
              <a:gd name="T26" fmla="*/ 2538 w 3613"/>
              <a:gd name="T27" fmla="*/ 1990 h 3793"/>
              <a:gd name="T28" fmla="*/ 2356 w 3613"/>
              <a:gd name="T29" fmla="*/ 802 h 3793"/>
              <a:gd name="T30" fmla="*/ 2129 w 3613"/>
              <a:gd name="T31" fmla="*/ 2011 h 3793"/>
              <a:gd name="T32" fmla="*/ 898 w 3613"/>
              <a:gd name="T33" fmla="*/ 895 h 3793"/>
              <a:gd name="T34" fmla="*/ 760 w 3613"/>
              <a:gd name="T35" fmla="*/ 2062 h 3793"/>
              <a:gd name="T36" fmla="*/ 3122 w 3613"/>
              <a:gd name="T37" fmla="*/ 944 h 3793"/>
              <a:gd name="T38" fmla="*/ 3057 w 3613"/>
              <a:gd name="T39" fmla="*/ 1937 h 3793"/>
              <a:gd name="T40" fmla="*/ 1306 w 3613"/>
              <a:gd name="T41" fmla="*/ 775 h 3793"/>
              <a:gd name="T42" fmla="*/ 1109 w 3613"/>
              <a:gd name="T43" fmla="*/ 2038 h 3793"/>
              <a:gd name="T44" fmla="*/ 3505 w 3613"/>
              <a:gd name="T45" fmla="*/ 950 h 3793"/>
              <a:gd name="T46" fmla="*/ 3427 w 3613"/>
              <a:gd name="T47" fmla="*/ 2076 h 3793"/>
              <a:gd name="T48" fmla="*/ 1880 w 3613"/>
              <a:gd name="T49" fmla="*/ 1079 h 3793"/>
              <a:gd name="T50" fmla="*/ 1960 w 3613"/>
              <a:gd name="T51" fmla="*/ 1662 h 3793"/>
              <a:gd name="T52" fmla="*/ 392 w 3613"/>
              <a:gd name="T53" fmla="*/ 1137 h 3793"/>
              <a:gd name="T54" fmla="*/ 523 w 3613"/>
              <a:gd name="T55" fmla="*/ 1825 h 3793"/>
              <a:gd name="T56" fmla="*/ 2739 w 3613"/>
              <a:gd name="T57" fmla="*/ 1285 h 3793"/>
              <a:gd name="T58" fmla="*/ 2699 w 3613"/>
              <a:gd name="T59" fmla="*/ 1761 h 3793"/>
              <a:gd name="T60" fmla="*/ 2261 w 3613"/>
              <a:gd name="T61" fmla="*/ 603 h 3793"/>
              <a:gd name="T62" fmla="*/ 2335 w 3613"/>
              <a:gd name="T63" fmla="*/ 1276 h 3793"/>
              <a:gd name="T64" fmla="*/ 991 w 3613"/>
              <a:gd name="T65" fmla="*/ 506 h 3793"/>
              <a:gd name="T66" fmla="*/ 1065 w 3613"/>
              <a:gd name="T67" fmla="*/ 1075 h 3793"/>
              <a:gd name="T68" fmla="*/ 3141 w 3613"/>
              <a:gd name="T69" fmla="*/ 525 h 3793"/>
              <a:gd name="T70" fmla="*/ 3279 w 3613"/>
              <a:gd name="T71" fmla="*/ 1213 h 3793"/>
              <a:gd name="T72" fmla="*/ 1344 w 3613"/>
              <a:gd name="T73" fmla="*/ 686 h 3793"/>
              <a:gd name="T74" fmla="*/ 1323 w 3613"/>
              <a:gd name="T75" fmla="*/ 1194 h 3793"/>
              <a:gd name="T76" fmla="*/ 1562 w 3613"/>
              <a:gd name="T77" fmla="*/ 1780 h 3793"/>
              <a:gd name="T78" fmla="*/ 1884 w 3613"/>
              <a:gd name="T79" fmla="*/ 2701 h 3793"/>
              <a:gd name="T80" fmla="*/ 1820 w 3613"/>
              <a:gd name="T81" fmla="*/ 3763 h 3793"/>
              <a:gd name="T82" fmla="*/ 2525 w 3613"/>
              <a:gd name="T83" fmla="*/ 3321 h 3793"/>
              <a:gd name="T84" fmla="*/ 2792 w 3613"/>
              <a:gd name="T85" fmla="*/ 3757 h 3793"/>
              <a:gd name="T86" fmla="*/ 2085 w 3613"/>
              <a:gd name="T87" fmla="*/ 3162 h 3793"/>
              <a:gd name="T88" fmla="*/ 771 w 3613"/>
              <a:gd name="T89" fmla="*/ 2559 h 3793"/>
              <a:gd name="T90" fmla="*/ 1003 w 3613"/>
              <a:gd name="T91" fmla="*/ 3313 h 3793"/>
              <a:gd name="T92" fmla="*/ 3027 w 3613"/>
              <a:gd name="T93" fmla="*/ 3150 h 3793"/>
              <a:gd name="T94" fmla="*/ 1221 w 3613"/>
              <a:gd name="T95" fmla="*/ 2595 h 3793"/>
              <a:gd name="T96" fmla="*/ 1342 w 3613"/>
              <a:gd name="T97" fmla="*/ 3234 h 3793"/>
              <a:gd name="T98" fmla="*/ 3508 w 3613"/>
              <a:gd name="T99" fmla="*/ 3171 h 3793"/>
              <a:gd name="T100" fmla="*/ 1969 w 3613"/>
              <a:gd name="T101" fmla="*/ 2299 h 3793"/>
              <a:gd name="T102" fmla="*/ 1795 w 3613"/>
              <a:gd name="T103" fmla="*/ 3429 h 3793"/>
              <a:gd name="T104" fmla="*/ 572 w 3613"/>
              <a:gd name="T105" fmla="*/ 2311 h 3793"/>
              <a:gd name="T106" fmla="*/ 2712 w 3613"/>
              <a:gd name="T107" fmla="*/ 2297 h 3793"/>
              <a:gd name="T108" fmla="*/ 2951 w 3613"/>
              <a:gd name="T109" fmla="*/ 2910 h 3793"/>
              <a:gd name="T110" fmla="*/ 2316 w 3613"/>
              <a:gd name="T111" fmla="*/ 2299 h 3793"/>
              <a:gd name="T112" fmla="*/ 2436 w 3613"/>
              <a:gd name="T113" fmla="*/ 2938 h 3793"/>
              <a:gd name="T114" fmla="*/ 927 w 3613"/>
              <a:gd name="T115" fmla="*/ 2362 h 3793"/>
              <a:gd name="T116" fmla="*/ 1012 w 3613"/>
              <a:gd name="T117" fmla="*/ 3010 h 3793"/>
              <a:gd name="T118" fmla="*/ 3228 w 3613"/>
              <a:gd name="T119" fmla="*/ 2415 h 3793"/>
              <a:gd name="T120" fmla="*/ 3448 w 3613"/>
              <a:gd name="T121" fmla="*/ 3039 h 3793"/>
              <a:gd name="T122" fmla="*/ 1338 w 3613"/>
              <a:gd name="T123" fmla="*/ 2290 h 3793"/>
              <a:gd name="T124" fmla="*/ 1594 w 3613"/>
              <a:gd name="T125" fmla="*/ 2891 h 37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613" h="3793">
                <a:moveTo>
                  <a:pt x="3613" y="3619"/>
                </a:moveTo>
                <a:lnTo>
                  <a:pt x="3603" y="3613"/>
                </a:lnTo>
                <a:lnTo>
                  <a:pt x="3594" y="3603"/>
                </a:lnTo>
                <a:lnTo>
                  <a:pt x="3588" y="3594"/>
                </a:lnTo>
                <a:lnTo>
                  <a:pt x="3582" y="3581"/>
                </a:lnTo>
                <a:lnTo>
                  <a:pt x="3579" y="3577"/>
                </a:lnTo>
                <a:lnTo>
                  <a:pt x="3577" y="3571"/>
                </a:lnTo>
                <a:lnTo>
                  <a:pt x="3573" y="3558"/>
                </a:lnTo>
                <a:lnTo>
                  <a:pt x="3571" y="3543"/>
                </a:lnTo>
                <a:lnTo>
                  <a:pt x="3569" y="3528"/>
                </a:lnTo>
                <a:lnTo>
                  <a:pt x="3571" y="3516"/>
                </a:lnTo>
                <a:lnTo>
                  <a:pt x="3573" y="3501"/>
                </a:lnTo>
                <a:lnTo>
                  <a:pt x="3577" y="3488"/>
                </a:lnTo>
                <a:lnTo>
                  <a:pt x="3582" y="3476"/>
                </a:lnTo>
                <a:lnTo>
                  <a:pt x="3588" y="3463"/>
                </a:lnTo>
                <a:lnTo>
                  <a:pt x="3594" y="3452"/>
                </a:lnTo>
                <a:lnTo>
                  <a:pt x="3603" y="3442"/>
                </a:lnTo>
                <a:lnTo>
                  <a:pt x="3613" y="3433"/>
                </a:lnTo>
                <a:lnTo>
                  <a:pt x="3613" y="3486"/>
                </a:lnTo>
                <a:lnTo>
                  <a:pt x="3609" y="3495"/>
                </a:lnTo>
                <a:lnTo>
                  <a:pt x="3607" y="3505"/>
                </a:lnTo>
                <a:lnTo>
                  <a:pt x="3605" y="3516"/>
                </a:lnTo>
                <a:lnTo>
                  <a:pt x="3603" y="3528"/>
                </a:lnTo>
                <a:lnTo>
                  <a:pt x="3605" y="3539"/>
                </a:lnTo>
                <a:lnTo>
                  <a:pt x="3607" y="3550"/>
                </a:lnTo>
                <a:lnTo>
                  <a:pt x="3609" y="3560"/>
                </a:lnTo>
                <a:lnTo>
                  <a:pt x="3613" y="3569"/>
                </a:lnTo>
                <a:lnTo>
                  <a:pt x="3613" y="3619"/>
                </a:lnTo>
                <a:close/>
                <a:moveTo>
                  <a:pt x="1653" y="398"/>
                </a:moveTo>
                <a:lnTo>
                  <a:pt x="1645" y="398"/>
                </a:lnTo>
                <a:lnTo>
                  <a:pt x="1636" y="396"/>
                </a:lnTo>
                <a:lnTo>
                  <a:pt x="1628" y="394"/>
                </a:lnTo>
                <a:lnTo>
                  <a:pt x="1619" y="392"/>
                </a:lnTo>
                <a:lnTo>
                  <a:pt x="1611" y="385"/>
                </a:lnTo>
                <a:lnTo>
                  <a:pt x="1602" y="381"/>
                </a:lnTo>
                <a:lnTo>
                  <a:pt x="1596" y="375"/>
                </a:lnTo>
                <a:lnTo>
                  <a:pt x="1590" y="368"/>
                </a:lnTo>
                <a:lnTo>
                  <a:pt x="1583" y="360"/>
                </a:lnTo>
                <a:lnTo>
                  <a:pt x="1579" y="351"/>
                </a:lnTo>
                <a:lnTo>
                  <a:pt x="1571" y="334"/>
                </a:lnTo>
                <a:lnTo>
                  <a:pt x="1569" y="324"/>
                </a:lnTo>
                <a:lnTo>
                  <a:pt x="1564" y="313"/>
                </a:lnTo>
                <a:lnTo>
                  <a:pt x="1564" y="303"/>
                </a:lnTo>
                <a:lnTo>
                  <a:pt x="1564" y="292"/>
                </a:lnTo>
                <a:lnTo>
                  <a:pt x="1564" y="282"/>
                </a:lnTo>
                <a:lnTo>
                  <a:pt x="1564" y="271"/>
                </a:lnTo>
                <a:lnTo>
                  <a:pt x="1569" y="260"/>
                </a:lnTo>
                <a:lnTo>
                  <a:pt x="1571" y="250"/>
                </a:lnTo>
                <a:lnTo>
                  <a:pt x="1575" y="239"/>
                </a:lnTo>
                <a:lnTo>
                  <a:pt x="1579" y="229"/>
                </a:lnTo>
                <a:lnTo>
                  <a:pt x="1585" y="220"/>
                </a:lnTo>
                <a:lnTo>
                  <a:pt x="1592" y="212"/>
                </a:lnTo>
                <a:lnTo>
                  <a:pt x="1598" y="203"/>
                </a:lnTo>
                <a:lnTo>
                  <a:pt x="1607" y="197"/>
                </a:lnTo>
                <a:lnTo>
                  <a:pt x="1613" y="190"/>
                </a:lnTo>
                <a:lnTo>
                  <a:pt x="1621" y="186"/>
                </a:lnTo>
                <a:lnTo>
                  <a:pt x="1630" y="182"/>
                </a:lnTo>
                <a:lnTo>
                  <a:pt x="1641" y="180"/>
                </a:lnTo>
                <a:lnTo>
                  <a:pt x="1649" y="178"/>
                </a:lnTo>
                <a:lnTo>
                  <a:pt x="1660" y="176"/>
                </a:lnTo>
                <a:lnTo>
                  <a:pt x="1672" y="178"/>
                </a:lnTo>
                <a:lnTo>
                  <a:pt x="1676" y="180"/>
                </a:lnTo>
                <a:lnTo>
                  <a:pt x="1683" y="180"/>
                </a:lnTo>
                <a:lnTo>
                  <a:pt x="1691" y="186"/>
                </a:lnTo>
                <a:lnTo>
                  <a:pt x="1700" y="193"/>
                </a:lnTo>
                <a:lnTo>
                  <a:pt x="1706" y="201"/>
                </a:lnTo>
                <a:lnTo>
                  <a:pt x="1710" y="212"/>
                </a:lnTo>
                <a:lnTo>
                  <a:pt x="1712" y="222"/>
                </a:lnTo>
                <a:lnTo>
                  <a:pt x="1715" y="233"/>
                </a:lnTo>
                <a:lnTo>
                  <a:pt x="1712" y="241"/>
                </a:lnTo>
                <a:lnTo>
                  <a:pt x="1712" y="248"/>
                </a:lnTo>
                <a:lnTo>
                  <a:pt x="1710" y="256"/>
                </a:lnTo>
                <a:lnTo>
                  <a:pt x="1706" y="262"/>
                </a:lnTo>
                <a:lnTo>
                  <a:pt x="1702" y="269"/>
                </a:lnTo>
                <a:lnTo>
                  <a:pt x="1698" y="275"/>
                </a:lnTo>
                <a:lnTo>
                  <a:pt x="1687" y="288"/>
                </a:lnTo>
                <a:lnTo>
                  <a:pt x="1681" y="292"/>
                </a:lnTo>
                <a:lnTo>
                  <a:pt x="1674" y="296"/>
                </a:lnTo>
                <a:lnTo>
                  <a:pt x="1662" y="305"/>
                </a:lnTo>
                <a:lnTo>
                  <a:pt x="1653" y="307"/>
                </a:lnTo>
                <a:lnTo>
                  <a:pt x="1647" y="309"/>
                </a:lnTo>
                <a:lnTo>
                  <a:pt x="1632" y="311"/>
                </a:lnTo>
                <a:lnTo>
                  <a:pt x="1626" y="309"/>
                </a:lnTo>
                <a:lnTo>
                  <a:pt x="1621" y="307"/>
                </a:lnTo>
                <a:lnTo>
                  <a:pt x="1619" y="305"/>
                </a:lnTo>
                <a:lnTo>
                  <a:pt x="1617" y="303"/>
                </a:lnTo>
                <a:lnTo>
                  <a:pt x="1617" y="301"/>
                </a:lnTo>
                <a:lnTo>
                  <a:pt x="1615" y="292"/>
                </a:lnTo>
                <a:lnTo>
                  <a:pt x="1617" y="286"/>
                </a:lnTo>
                <a:lnTo>
                  <a:pt x="1617" y="284"/>
                </a:lnTo>
                <a:lnTo>
                  <a:pt x="1619" y="282"/>
                </a:lnTo>
                <a:lnTo>
                  <a:pt x="1632" y="279"/>
                </a:lnTo>
                <a:lnTo>
                  <a:pt x="1645" y="275"/>
                </a:lnTo>
                <a:lnTo>
                  <a:pt x="1655" y="269"/>
                </a:lnTo>
                <a:lnTo>
                  <a:pt x="1664" y="262"/>
                </a:lnTo>
                <a:lnTo>
                  <a:pt x="1672" y="254"/>
                </a:lnTo>
                <a:lnTo>
                  <a:pt x="1674" y="250"/>
                </a:lnTo>
                <a:lnTo>
                  <a:pt x="1676" y="246"/>
                </a:lnTo>
                <a:lnTo>
                  <a:pt x="1681" y="237"/>
                </a:lnTo>
                <a:lnTo>
                  <a:pt x="1683" y="229"/>
                </a:lnTo>
                <a:lnTo>
                  <a:pt x="1681" y="224"/>
                </a:lnTo>
                <a:lnTo>
                  <a:pt x="1681" y="220"/>
                </a:lnTo>
                <a:lnTo>
                  <a:pt x="1679" y="216"/>
                </a:lnTo>
                <a:lnTo>
                  <a:pt x="1674" y="212"/>
                </a:lnTo>
                <a:lnTo>
                  <a:pt x="1672" y="210"/>
                </a:lnTo>
                <a:lnTo>
                  <a:pt x="1668" y="207"/>
                </a:lnTo>
                <a:lnTo>
                  <a:pt x="1657" y="207"/>
                </a:lnTo>
                <a:lnTo>
                  <a:pt x="1647" y="207"/>
                </a:lnTo>
                <a:lnTo>
                  <a:pt x="1641" y="210"/>
                </a:lnTo>
                <a:lnTo>
                  <a:pt x="1636" y="214"/>
                </a:lnTo>
                <a:lnTo>
                  <a:pt x="1630" y="216"/>
                </a:lnTo>
                <a:lnTo>
                  <a:pt x="1626" y="220"/>
                </a:lnTo>
                <a:lnTo>
                  <a:pt x="1617" y="231"/>
                </a:lnTo>
                <a:lnTo>
                  <a:pt x="1613" y="237"/>
                </a:lnTo>
                <a:lnTo>
                  <a:pt x="1609" y="243"/>
                </a:lnTo>
                <a:lnTo>
                  <a:pt x="1602" y="258"/>
                </a:lnTo>
                <a:lnTo>
                  <a:pt x="1598" y="275"/>
                </a:lnTo>
                <a:lnTo>
                  <a:pt x="1598" y="282"/>
                </a:lnTo>
                <a:lnTo>
                  <a:pt x="1596" y="292"/>
                </a:lnTo>
                <a:lnTo>
                  <a:pt x="1598" y="307"/>
                </a:lnTo>
                <a:lnTo>
                  <a:pt x="1600" y="313"/>
                </a:lnTo>
                <a:lnTo>
                  <a:pt x="1600" y="320"/>
                </a:lnTo>
                <a:lnTo>
                  <a:pt x="1607" y="332"/>
                </a:lnTo>
                <a:lnTo>
                  <a:pt x="1613" y="343"/>
                </a:lnTo>
                <a:lnTo>
                  <a:pt x="1621" y="351"/>
                </a:lnTo>
                <a:lnTo>
                  <a:pt x="1626" y="356"/>
                </a:lnTo>
                <a:lnTo>
                  <a:pt x="1632" y="358"/>
                </a:lnTo>
                <a:lnTo>
                  <a:pt x="1643" y="362"/>
                </a:lnTo>
                <a:lnTo>
                  <a:pt x="1649" y="362"/>
                </a:lnTo>
                <a:lnTo>
                  <a:pt x="1655" y="362"/>
                </a:lnTo>
                <a:lnTo>
                  <a:pt x="1668" y="362"/>
                </a:lnTo>
                <a:lnTo>
                  <a:pt x="1679" y="358"/>
                </a:lnTo>
                <a:lnTo>
                  <a:pt x="1685" y="356"/>
                </a:lnTo>
                <a:lnTo>
                  <a:pt x="1691" y="353"/>
                </a:lnTo>
                <a:lnTo>
                  <a:pt x="1700" y="345"/>
                </a:lnTo>
                <a:lnTo>
                  <a:pt x="1710" y="337"/>
                </a:lnTo>
                <a:lnTo>
                  <a:pt x="1719" y="326"/>
                </a:lnTo>
                <a:lnTo>
                  <a:pt x="1727" y="313"/>
                </a:lnTo>
                <a:lnTo>
                  <a:pt x="1734" y="301"/>
                </a:lnTo>
                <a:lnTo>
                  <a:pt x="1740" y="288"/>
                </a:lnTo>
                <a:lnTo>
                  <a:pt x="1744" y="273"/>
                </a:lnTo>
                <a:lnTo>
                  <a:pt x="1748" y="258"/>
                </a:lnTo>
                <a:lnTo>
                  <a:pt x="1753" y="243"/>
                </a:lnTo>
                <a:lnTo>
                  <a:pt x="1755" y="231"/>
                </a:lnTo>
                <a:lnTo>
                  <a:pt x="1757" y="216"/>
                </a:lnTo>
                <a:lnTo>
                  <a:pt x="1757" y="201"/>
                </a:lnTo>
                <a:lnTo>
                  <a:pt x="1757" y="188"/>
                </a:lnTo>
                <a:lnTo>
                  <a:pt x="1759" y="186"/>
                </a:lnTo>
                <a:lnTo>
                  <a:pt x="1761" y="184"/>
                </a:lnTo>
                <a:lnTo>
                  <a:pt x="1765" y="182"/>
                </a:lnTo>
                <a:lnTo>
                  <a:pt x="1770" y="182"/>
                </a:lnTo>
                <a:lnTo>
                  <a:pt x="1778" y="184"/>
                </a:lnTo>
                <a:lnTo>
                  <a:pt x="1782" y="184"/>
                </a:lnTo>
                <a:lnTo>
                  <a:pt x="1784" y="188"/>
                </a:lnTo>
                <a:lnTo>
                  <a:pt x="1789" y="195"/>
                </a:lnTo>
                <a:lnTo>
                  <a:pt x="1791" y="201"/>
                </a:lnTo>
                <a:lnTo>
                  <a:pt x="1791" y="207"/>
                </a:lnTo>
                <a:lnTo>
                  <a:pt x="1791" y="226"/>
                </a:lnTo>
                <a:lnTo>
                  <a:pt x="1789" y="246"/>
                </a:lnTo>
                <a:lnTo>
                  <a:pt x="1784" y="262"/>
                </a:lnTo>
                <a:lnTo>
                  <a:pt x="1780" y="279"/>
                </a:lnTo>
                <a:lnTo>
                  <a:pt x="1774" y="296"/>
                </a:lnTo>
                <a:lnTo>
                  <a:pt x="1768" y="313"/>
                </a:lnTo>
                <a:lnTo>
                  <a:pt x="1761" y="328"/>
                </a:lnTo>
                <a:lnTo>
                  <a:pt x="1751" y="341"/>
                </a:lnTo>
                <a:lnTo>
                  <a:pt x="1742" y="353"/>
                </a:lnTo>
                <a:lnTo>
                  <a:pt x="1738" y="360"/>
                </a:lnTo>
                <a:lnTo>
                  <a:pt x="1732" y="364"/>
                </a:lnTo>
                <a:lnTo>
                  <a:pt x="1721" y="375"/>
                </a:lnTo>
                <a:lnTo>
                  <a:pt x="1708" y="383"/>
                </a:lnTo>
                <a:lnTo>
                  <a:pt x="1696" y="389"/>
                </a:lnTo>
                <a:lnTo>
                  <a:pt x="1683" y="394"/>
                </a:lnTo>
                <a:lnTo>
                  <a:pt x="1668" y="398"/>
                </a:lnTo>
                <a:lnTo>
                  <a:pt x="1653" y="398"/>
                </a:lnTo>
                <a:close/>
                <a:moveTo>
                  <a:pt x="1884" y="396"/>
                </a:moveTo>
                <a:lnTo>
                  <a:pt x="1880" y="394"/>
                </a:lnTo>
                <a:lnTo>
                  <a:pt x="1871" y="387"/>
                </a:lnTo>
                <a:lnTo>
                  <a:pt x="1854" y="373"/>
                </a:lnTo>
                <a:lnTo>
                  <a:pt x="1833" y="351"/>
                </a:lnTo>
                <a:lnTo>
                  <a:pt x="1816" y="332"/>
                </a:lnTo>
                <a:lnTo>
                  <a:pt x="1808" y="324"/>
                </a:lnTo>
                <a:lnTo>
                  <a:pt x="1804" y="317"/>
                </a:lnTo>
                <a:lnTo>
                  <a:pt x="1799" y="305"/>
                </a:lnTo>
                <a:lnTo>
                  <a:pt x="1797" y="298"/>
                </a:lnTo>
                <a:lnTo>
                  <a:pt x="1797" y="292"/>
                </a:lnTo>
                <a:lnTo>
                  <a:pt x="1797" y="286"/>
                </a:lnTo>
                <a:lnTo>
                  <a:pt x="1799" y="279"/>
                </a:lnTo>
                <a:lnTo>
                  <a:pt x="1804" y="271"/>
                </a:lnTo>
                <a:lnTo>
                  <a:pt x="1808" y="262"/>
                </a:lnTo>
                <a:lnTo>
                  <a:pt x="1820" y="248"/>
                </a:lnTo>
                <a:lnTo>
                  <a:pt x="1837" y="229"/>
                </a:lnTo>
                <a:lnTo>
                  <a:pt x="1880" y="180"/>
                </a:lnTo>
                <a:lnTo>
                  <a:pt x="1886" y="180"/>
                </a:lnTo>
                <a:lnTo>
                  <a:pt x="1892" y="182"/>
                </a:lnTo>
                <a:lnTo>
                  <a:pt x="1897" y="186"/>
                </a:lnTo>
                <a:lnTo>
                  <a:pt x="1901" y="193"/>
                </a:lnTo>
                <a:lnTo>
                  <a:pt x="1903" y="199"/>
                </a:lnTo>
                <a:lnTo>
                  <a:pt x="1901" y="205"/>
                </a:lnTo>
                <a:lnTo>
                  <a:pt x="1899" y="207"/>
                </a:lnTo>
                <a:lnTo>
                  <a:pt x="1897" y="212"/>
                </a:lnTo>
                <a:lnTo>
                  <a:pt x="1867" y="246"/>
                </a:lnTo>
                <a:lnTo>
                  <a:pt x="1850" y="267"/>
                </a:lnTo>
                <a:lnTo>
                  <a:pt x="1837" y="282"/>
                </a:lnTo>
                <a:lnTo>
                  <a:pt x="1833" y="286"/>
                </a:lnTo>
                <a:lnTo>
                  <a:pt x="1833" y="290"/>
                </a:lnTo>
                <a:lnTo>
                  <a:pt x="1835" y="296"/>
                </a:lnTo>
                <a:lnTo>
                  <a:pt x="1837" y="301"/>
                </a:lnTo>
                <a:lnTo>
                  <a:pt x="1848" y="313"/>
                </a:lnTo>
                <a:lnTo>
                  <a:pt x="1865" y="332"/>
                </a:lnTo>
                <a:lnTo>
                  <a:pt x="1884" y="351"/>
                </a:lnTo>
                <a:lnTo>
                  <a:pt x="1903" y="370"/>
                </a:lnTo>
                <a:lnTo>
                  <a:pt x="1905" y="373"/>
                </a:lnTo>
                <a:lnTo>
                  <a:pt x="1905" y="375"/>
                </a:lnTo>
                <a:lnTo>
                  <a:pt x="1905" y="379"/>
                </a:lnTo>
                <a:lnTo>
                  <a:pt x="1903" y="381"/>
                </a:lnTo>
                <a:lnTo>
                  <a:pt x="1899" y="387"/>
                </a:lnTo>
                <a:lnTo>
                  <a:pt x="1892" y="394"/>
                </a:lnTo>
                <a:lnTo>
                  <a:pt x="1888" y="396"/>
                </a:lnTo>
                <a:lnTo>
                  <a:pt x="1884" y="396"/>
                </a:lnTo>
                <a:close/>
                <a:moveTo>
                  <a:pt x="2576" y="398"/>
                </a:moveTo>
                <a:lnTo>
                  <a:pt x="2566" y="398"/>
                </a:lnTo>
                <a:lnTo>
                  <a:pt x="2557" y="396"/>
                </a:lnTo>
                <a:lnTo>
                  <a:pt x="2549" y="394"/>
                </a:lnTo>
                <a:lnTo>
                  <a:pt x="2540" y="392"/>
                </a:lnTo>
                <a:lnTo>
                  <a:pt x="2532" y="385"/>
                </a:lnTo>
                <a:lnTo>
                  <a:pt x="2525" y="381"/>
                </a:lnTo>
                <a:lnTo>
                  <a:pt x="2517" y="375"/>
                </a:lnTo>
                <a:lnTo>
                  <a:pt x="2511" y="368"/>
                </a:lnTo>
                <a:lnTo>
                  <a:pt x="2506" y="360"/>
                </a:lnTo>
                <a:lnTo>
                  <a:pt x="2500" y="351"/>
                </a:lnTo>
                <a:lnTo>
                  <a:pt x="2491" y="334"/>
                </a:lnTo>
                <a:lnTo>
                  <a:pt x="2489" y="324"/>
                </a:lnTo>
                <a:lnTo>
                  <a:pt x="2487" y="313"/>
                </a:lnTo>
                <a:lnTo>
                  <a:pt x="2485" y="303"/>
                </a:lnTo>
                <a:lnTo>
                  <a:pt x="2485" y="292"/>
                </a:lnTo>
                <a:lnTo>
                  <a:pt x="2485" y="282"/>
                </a:lnTo>
                <a:lnTo>
                  <a:pt x="2487" y="271"/>
                </a:lnTo>
                <a:lnTo>
                  <a:pt x="2489" y="260"/>
                </a:lnTo>
                <a:lnTo>
                  <a:pt x="2491" y="250"/>
                </a:lnTo>
                <a:lnTo>
                  <a:pt x="2496" y="239"/>
                </a:lnTo>
                <a:lnTo>
                  <a:pt x="2502" y="229"/>
                </a:lnTo>
                <a:lnTo>
                  <a:pt x="2506" y="220"/>
                </a:lnTo>
                <a:lnTo>
                  <a:pt x="2513" y="212"/>
                </a:lnTo>
                <a:lnTo>
                  <a:pt x="2519" y="203"/>
                </a:lnTo>
                <a:lnTo>
                  <a:pt x="2527" y="197"/>
                </a:lnTo>
                <a:lnTo>
                  <a:pt x="2536" y="190"/>
                </a:lnTo>
                <a:lnTo>
                  <a:pt x="2544" y="186"/>
                </a:lnTo>
                <a:lnTo>
                  <a:pt x="2553" y="182"/>
                </a:lnTo>
                <a:lnTo>
                  <a:pt x="2561" y="180"/>
                </a:lnTo>
                <a:lnTo>
                  <a:pt x="2572" y="178"/>
                </a:lnTo>
                <a:lnTo>
                  <a:pt x="2580" y="176"/>
                </a:lnTo>
                <a:lnTo>
                  <a:pt x="2593" y="178"/>
                </a:lnTo>
                <a:lnTo>
                  <a:pt x="2599" y="180"/>
                </a:lnTo>
                <a:lnTo>
                  <a:pt x="2604" y="180"/>
                </a:lnTo>
                <a:lnTo>
                  <a:pt x="2612" y="186"/>
                </a:lnTo>
                <a:lnTo>
                  <a:pt x="2621" y="193"/>
                </a:lnTo>
                <a:lnTo>
                  <a:pt x="2627" y="201"/>
                </a:lnTo>
                <a:lnTo>
                  <a:pt x="2631" y="212"/>
                </a:lnTo>
                <a:lnTo>
                  <a:pt x="2633" y="222"/>
                </a:lnTo>
                <a:lnTo>
                  <a:pt x="2635" y="233"/>
                </a:lnTo>
                <a:lnTo>
                  <a:pt x="2635" y="241"/>
                </a:lnTo>
                <a:lnTo>
                  <a:pt x="2633" y="248"/>
                </a:lnTo>
                <a:lnTo>
                  <a:pt x="2631" y="256"/>
                </a:lnTo>
                <a:lnTo>
                  <a:pt x="2627" y="262"/>
                </a:lnTo>
                <a:lnTo>
                  <a:pt x="2625" y="269"/>
                </a:lnTo>
                <a:lnTo>
                  <a:pt x="2621" y="275"/>
                </a:lnTo>
                <a:lnTo>
                  <a:pt x="2610" y="288"/>
                </a:lnTo>
                <a:lnTo>
                  <a:pt x="2604" y="292"/>
                </a:lnTo>
                <a:lnTo>
                  <a:pt x="2597" y="296"/>
                </a:lnTo>
                <a:lnTo>
                  <a:pt x="2582" y="305"/>
                </a:lnTo>
                <a:lnTo>
                  <a:pt x="2576" y="307"/>
                </a:lnTo>
                <a:lnTo>
                  <a:pt x="2568" y="309"/>
                </a:lnTo>
                <a:lnTo>
                  <a:pt x="2553" y="311"/>
                </a:lnTo>
                <a:lnTo>
                  <a:pt x="2546" y="309"/>
                </a:lnTo>
                <a:lnTo>
                  <a:pt x="2544" y="307"/>
                </a:lnTo>
                <a:lnTo>
                  <a:pt x="2542" y="305"/>
                </a:lnTo>
                <a:lnTo>
                  <a:pt x="2540" y="303"/>
                </a:lnTo>
                <a:lnTo>
                  <a:pt x="2538" y="301"/>
                </a:lnTo>
                <a:lnTo>
                  <a:pt x="2536" y="292"/>
                </a:lnTo>
                <a:lnTo>
                  <a:pt x="2538" y="286"/>
                </a:lnTo>
                <a:lnTo>
                  <a:pt x="2538" y="284"/>
                </a:lnTo>
                <a:lnTo>
                  <a:pt x="2540" y="282"/>
                </a:lnTo>
                <a:lnTo>
                  <a:pt x="2555" y="279"/>
                </a:lnTo>
                <a:lnTo>
                  <a:pt x="2566" y="275"/>
                </a:lnTo>
                <a:lnTo>
                  <a:pt x="2576" y="269"/>
                </a:lnTo>
                <a:lnTo>
                  <a:pt x="2587" y="262"/>
                </a:lnTo>
                <a:lnTo>
                  <a:pt x="2593" y="254"/>
                </a:lnTo>
                <a:lnTo>
                  <a:pt x="2595" y="250"/>
                </a:lnTo>
                <a:lnTo>
                  <a:pt x="2599" y="246"/>
                </a:lnTo>
                <a:lnTo>
                  <a:pt x="2602" y="237"/>
                </a:lnTo>
                <a:lnTo>
                  <a:pt x="2604" y="229"/>
                </a:lnTo>
                <a:lnTo>
                  <a:pt x="2604" y="224"/>
                </a:lnTo>
                <a:lnTo>
                  <a:pt x="2602" y="220"/>
                </a:lnTo>
                <a:lnTo>
                  <a:pt x="2599" y="216"/>
                </a:lnTo>
                <a:lnTo>
                  <a:pt x="2597" y="212"/>
                </a:lnTo>
                <a:lnTo>
                  <a:pt x="2593" y="210"/>
                </a:lnTo>
                <a:lnTo>
                  <a:pt x="2589" y="207"/>
                </a:lnTo>
                <a:lnTo>
                  <a:pt x="2578" y="207"/>
                </a:lnTo>
                <a:lnTo>
                  <a:pt x="2568" y="207"/>
                </a:lnTo>
                <a:lnTo>
                  <a:pt x="2563" y="210"/>
                </a:lnTo>
                <a:lnTo>
                  <a:pt x="2557" y="214"/>
                </a:lnTo>
                <a:lnTo>
                  <a:pt x="2553" y="216"/>
                </a:lnTo>
                <a:lnTo>
                  <a:pt x="2546" y="220"/>
                </a:lnTo>
                <a:lnTo>
                  <a:pt x="2538" y="231"/>
                </a:lnTo>
                <a:lnTo>
                  <a:pt x="2534" y="237"/>
                </a:lnTo>
                <a:lnTo>
                  <a:pt x="2530" y="243"/>
                </a:lnTo>
                <a:lnTo>
                  <a:pt x="2523" y="258"/>
                </a:lnTo>
                <a:lnTo>
                  <a:pt x="2519" y="275"/>
                </a:lnTo>
                <a:lnTo>
                  <a:pt x="2519" y="282"/>
                </a:lnTo>
                <a:lnTo>
                  <a:pt x="2519" y="292"/>
                </a:lnTo>
                <a:lnTo>
                  <a:pt x="2519" y="307"/>
                </a:lnTo>
                <a:lnTo>
                  <a:pt x="2521" y="313"/>
                </a:lnTo>
                <a:lnTo>
                  <a:pt x="2523" y="320"/>
                </a:lnTo>
                <a:lnTo>
                  <a:pt x="2527" y="332"/>
                </a:lnTo>
                <a:lnTo>
                  <a:pt x="2534" y="343"/>
                </a:lnTo>
                <a:lnTo>
                  <a:pt x="2542" y="351"/>
                </a:lnTo>
                <a:lnTo>
                  <a:pt x="2549" y="356"/>
                </a:lnTo>
                <a:lnTo>
                  <a:pt x="2553" y="358"/>
                </a:lnTo>
                <a:lnTo>
                  <a:pt x="2563" y="362"/>
                </a:lnTo>
                <a:lnTo>
                  <a:pt x="2570" y="362"/>
                </a:lnTo>
                <a:lnTo>
                  <a:pt x="2576" y="362"/>
                </a:lnTo>
                <a:lnTo>
                  <a:pt x="2589" y="362"/>
                </a:lnTo>
                <a:lnTo>
                  <a:pt x="2602" y="358"/>
                </a:lnTo>
                <a:lnTo>
                  <a:pt x="2606" y="356"/>
                </a:lnTo>
                <a:lnTo>
                  <a:pt x="2612" y="353"/>
                </a:lnTo>
                <a:lnTo>
                  <a:pt x="2623" y="345"/>
                </a:lnTo>
                <a:lnTo>
                  <a:pt x="2631" y="337"/>
                </a:lnTo>
                <a:lnTo>
                  <a:pt x="2640" y="326"/>
                </a:lnTo>
                <a:lnTo>
                  <a:pt x="2648" y="313"/>
                </a:lnTo>
                <a:lnTo>
                  <a:pt x="2654" y="301"/>
                </a:lnTo>
                <a:lnTo>
                  <a:pt x="2661" y="288"/>
                </a:lnTo>
                <a:lnTo>
                  <a:pt x="2667" y="273"/>
                </a:lnTo>
                <a:lnTo>
                  <a:pt x="2671" y="258"/>
                </a:lnTo>
                <a:lnTo>
                  <a:pt x="2673" y="243"/>
                </a:lnTo>
                <a:lnTo>
                  <a:pt x="2676" y="231"/>
                </a:lnTo>
                <a:lnTo>
                  <a:pt x="2678" y="216"/>
                </a:lnTo>
                <a:lnTo>
                  <a:pt x="2678" y="201"/>
                </a:lnTo>
                <a:lnTo>
                  <a:pt x="2678" y="188"/>
                </a:lnTo>
                <a:lnTo>
                  <a:pt x="2680" y="186"/>
                </a:lnTo>
                <a:lnTo>
                  <a:pt x="2682" y="184"/>
                </a:lnTo>
                <a:lnTo>
                  <a:pt x="2686" y="182"/>
                </a:lnTo>
                <a:lnTo>
                  <a:pt x="2693" y="182"/>
                </a:lnTo>
                <a:lnTo>
                  <a:pt x="2701" y="184"/>
                </a:lnTo>
                <a:lnTo>
                  <a:pt x="2703" y="184"/>
                </a:lnTo>
                <a:lnTo>
                  <a:pt x="2707" y="188"/>
                </a:lnTo>
                <a:lnTo>
                  <a:pt x="2712" y="195"/>
                </a:lnTo>
                <a:lnTo>
                  <a:pt x="2712" y="201"/>
                </a:lnTo>
                <a:lnTo>
                  <a:pt x="2712" y="207"/>
                </a:lnTo>
                <a:lnTo>
                  <a:pt x="2712" y="226"/>
                </a:lnTo>
                <a:lnTo>
                  <a:pt x="2709" y="246"/>
                </a:lnTo>
                <a:lnTo>
                  <a:pt x="2705" y="262"/>
                </a:lnTo>
                <a:lnTo>
                  <a:pt x="2701" y="279"/>
                </a:lnTo>
                <a:lnTo>
                  <a:pt x="2697" y="296"/>
                </a:lnTo>
                <a:lnTo>
                  <a:pt x="2688" y="313"/>
                </a:lnTo>
                <a:lnTo>
                  <a:pt x="2682" y="328"/>
                </a:lnTo>
                <a:lnTo>
                  <a:pt x="2673" y="341"/>
                </a:lnTo>
                <a:lnTo>
                  <a:pt x="2663" y="353"/>
                </a:lnTo>
                <a:lnTo>
                  <a:pt x="2659" y="360"/>
                </a:lnTo>
                <a:lnTo>
                  <a:pt x="2652" y="364"/>
                </a:lnTo>
                <a:lnTo>
                  <a:pt x="2642" y="375"/>
                </a:lnTo>
                <a:lnTo>
                  <a:pt x="2631" y="383"/>
                </a:lnTo>
                <a:lnTo>
                  <a:pt x="2618" y="389"/>
                </a:lnTo>
                <a:lnTo>
                  <a:pt x="2604" y="394"/>
                </a:lnTo>
                <a:lnTo>
                  <a:pt x="2591" y="398"/>
                </a:lnTo>
                <a:lnTo>
                  <a:pt x="2576" y="398"/>
                </a:lnTo>
                <a:close/>
                <a:moveTo>
                  <a:pt x="2807" y="396"/>
                </a:moveTo>
                <a:lnTo>
                  <a:pt x="2801" y="394"/>
                </a:lnTo>
                <a:lnTo>
                  <a:pt x="2792" y="387"/>
                </a:lnTo>
                <a:lnTo>
                  <a:pt x="2775" y="373"/>
                </a:lnTo>
                <a:lnTo>
                  <a:pt x="2756" y="351"/>
                </a:lnTo>
                <a:lnTo>
                  <a:pt x="2737" y="332"/>
                </a:lnTo>
                <a:lnTo>
                  <a:pt x="2731" y="324"/>
                </a:lnTo>
                <a:lnTo>
                  <a:pt x="2726" y="317"/>
                </a:lnTo>
                <a:lnTo>
                  <a:pt x="2720" y="305"/>
                </a:lnTo>
                <a:lnTo>
                  <a:pt x="2718" y="298"/>
                </a:lnTo>
                <a:lnTo>
                  <a:pt x="2718" y="292"/>
                </a:lnTo>
                <a:lnTo>
                  <a:pt x="2718" y="286"/>
                </a:lnTo>
                <a:lnTo>
                  <a:pt x="2720" y="279"/>
                </a:lnTo>
                <a:lnTo>
                  <a:pt x="2724" y="271"/>
                </a:lnTo>
                <a:lnTo>
                  <a:pt x="2729" y="262"/>
                </a:lnTo>
                <a:lnTo>
                  <a:pt x="2741" y="248"/>
                </a:lnTo>
                <a:lnTo>
                  <a:pt x="2758" y="229"/>
                </a:lnTo>
                <a:lnTo>
                  <a:pt x="2801" y="180"/>
                </a:lnTo>
                <a:lnTo>
                  <a:pt x="2807" y="180"/>
                </a:lnTo>
                <a:lnTo>
                  <a:pt x="2813" y="182"/>
                </a:lnTo>
                <a:lnTo>
                  <a:pt x="2820" y="186"/>
                </a:lnTo>
                <a:lnTo>
                  <a:pt x="2822" y="193"/>
                </a:lnTo>
                <a:lnTo>
                  <a:pt x="2824" y="199"/>
                </a:lnTo>
                <a:lnTo>
                  <a:pt x="2822" y="205"/>
                </a:lnTo>
                <a:lnTo>
                  <a:pt x="2822" y="207"/>
                </a:lnTo>
                <a:lnTo>
                  <a:pt x="2817" y="212"/>
                </a:lnTo>
                <a:lnTo>
                  <a:pt x="2788" y="246"/>
                </a:lnTo>
                <a:lnTo>
                  <a:pt x="2771" y="267"/>
                </a:lnTo>
                <a:lnTo>
                  <a:pt x="2758" y="282"/>
                </a:lnTo>
                <a:lnTo>
                  <a:pt x="2756" y="286"/>
                </a:lnTo>
                <a:lnTo>
                  <a:pt x="2754" y="290"/>
                </a:lnTo>
                <a:lnTo>
                  <a:pt x="2756" y="296"/>
                </a:lnTo>
                <a:lnTo>
                  <a:pt x="2758" y="301"/>
                </a:lnTo>
                <a:lnTo>
                  <a:pt x="2769" y="313"/>
                </a:lnTo>
                <a:lnTo>
                  <a:pt x="2786" y="332"/>
                </a:lnTo>
                <a:lnTo>
                  <a:pt x="2805" y="351"/>
                </a:lnTo>
                <a:lnTo>
                  <a:pt x="2824" y="370"/>
                </a:lnTo>
                <a:lnTo>
                  <a:pt x="2826" y="373"/>
                </a:lnTo>
                <a:lnTo>
                  <a:pt x="2828" y="375"/>
                </a:lnTo>
                <a:lnTo>
                  <a:pt x="2826" y="379"/>
                </a:lnTo>
                <a:lnTo>
                  <a:pt x="2826" y="381"/>
                </a:lnTo>
                <a:lnTo>
                  <a:pt x="2820" y="387"/>
                </a:lnTo>
                <a:lnTo>
                  <a:pt x="2813" y="394"/>
                </a:lnTo>
                <a:lnTo>
                  <a:pt x="2809" y="396"/>
                </a:lnTo>
                <a:lnTo>
                  <a:pt x="2807" y="396"/>
                </a:lnTo>
                <a:close/>
                <a:moveTo>
                  <a:pt x="32" y="210"/>
                </a:moveTo>
                <a:lnTo>
                  <a:pt x="57" y="180"/>
                </a:lnTo>
                <a:lnTo>
                  <a:pt x="64" y="180"/>
                </a:lnTo>
                <a:lnTo>
                  <a:pt x="70" y="182"/>
                </a:lnTo>
                <a:lnTo>
                  <a:pt x="74" y="186"/>
                </a:lnTo>
                <a:lnTo>
                  <a:pt x="78" y="193"/>
                </a:lnTo>
                <a:lnTo>
                  <a:pt x="80" y="199"/>
                </a:lnTo>
                <a:lnTo>
                  <a:pt x="78" y="205"/>
                </a:lnTo>
                <a:lnTo>
                  <a:pt x="76" y="207"/>
                </a:lnTo>
                <a:lnTo>
                  <a:pt x="74" y="212"/>
                </a:lnTo>
                <a:lnTo>
                  <a:pt x="59" y="231"/>
                </a:lnTo>
                <a:lnTo>
                  <a:pt x="38" y="254"/>
                </a:lnTo>
                <a:lnTo>
                  <a:pt x="32" y="210"/>
                </a:lnTo>
                <a:close/>
                <a:moveTo>
                  <a:pt x="61" y="396"/>
                </a:moveTo>
                <a:lnTo>
                  <a:pt x="57" y="394"/>
                </a:lnTo>
                <a:lnTo>
                  <a:pt x="51" y="339"/>
                </a:lnTo>
                <a:lnTo>
                  <a:pt x="80" y="370"/>
                </a:lnTo>
                <a:lnTo>
                  <a:pt x="83" y="373"/>
                </a:lnTo>
                <a:lnTo>
                  <a:pt x="83" y="375"/>
                </a:lnTo>
                <a:lnTo>
                  <a:pt x="83" y="379"/>
                </a:lnTo>
                <a:lnTo>
                  <a:pt x="80" y="381"/>
                </a:lnTo>
                <a:lnTo>
                  <a:pt x="76" y="387"/>
                </a:lnTo>
                <a:lnTo>
                  <a:pt x="70" y="394"/>
                </a:lnTo>
                <a:lnTo>
                  <a:pt x="66" y="396"/>
                </a:lnTo>
                <a:lnTo>
                  <a:pt x="61" y="396"/>
                </a:lnTo>
                <a:close/>
                <a:moveTo>
                  <a:pt x="2113" y="398"/>
                </a:moveTo>
                <a:lnTo>
                  <a:pt x="2104" y="398"/>
                </a:lnTo>
                <a:lnTo>
                  <a:pt x="2093" y="396"/>
                </a:lnTo>
                <a:lnTo>
                  <a:pt x="2085" y="394"/>
                </a:lnTo>
                <a:lnTo>
                  <a:pt x="2077" y="392"/>
                </a:lnTo>
                <a:lnTo>
                  <a:pt x="2070" y="385"/>
                </a:lnTo>
                <a:lnTo>
                  <a:pt x="2062" y="381"/>
                </a:lnTo>
                <a:lnTo>
                  <a:pt x="2055" y="375"/>
                </a:lnTo>
                <a:lnTo>
                  <a:pt x="2049" y="368"/>
                </a:lnTo>
                <a:lnTo>
                  <a:pt x="2043" y="360"/>
                </a:lnTo>
                <a:lnTo>
                  <a:pt x="2038" y="351"/>
                </a:lnTo>
                <a:lnTo>
                  <a:pt x="2030" y="334"/>
                </a:lnTo>
                <a:lnTo>
                  <a:pt x="2026" y="324"/>
                </a:lnTo>
                <a:lnTo>
                  <a:pt x="2024" y="313"/>
                </a:lnTo>
                <a:lnTo>
                  <a:pt x="2022" y="303"/>
                </a:lnTo>
                <a:lnTo>
                  <a:pt x="2022" y="292"/>
                </a:lnTo>
                <a:lnTo>
                  <a:pt x="2022" y="282"/>
                </a:lnTo>
                <a:lnTo>
                  <a:pt x="2024" y="271"/>
                </a:lnTo>
                <a:lnTo>
                  <a:pt x="2026" y="260"/>
                </a:lnTo>
                <a:lnTo>
                  <a:pt x="2030" y="250"/>
                </a:lnTo>
                <a:lnTo>
                  <a:pt x="2034" y="239"/>
                </a:lnTo>
                <a:lnTo>
                  <a:pt x="2038" y="229"/>
                </a:lnTo>
                <a:lnTo>
                  <a:pt x="2045" y="220"/>
                </a:lnTo>
                <a:lnTo>
                  <a:pt x="2049" y="212"/>
                </a:lnTo>
                <a:lnTo>
                  <a:pt x="2058" y="203"/>
                </a:lnTo>
                <a:lnTo>
                  <a:pt x="2064" y="197"/>
                </a:lnTo>
                <a:lnTo>
                  <a:pt x="2072" y="190"/>
                </a:lnTo>
                <a:lnTo>
                  <a:pt x="2081" y="186"/>
                </a:lnTo>
                <a:lnTo>
                  <a:pt x="2089" y="182"/>
                </a:lnTo>
                <a:lnTo>
                  <a:pt x="2100" y="180"/>
                </a:lnTo>
                <a:lnTo>
                  <a:pt x="2108" y="178"/>
                </a:lnTo>
                <a:lnTo>
                  <a:pt x="2119" y="176"/>
                </a:lnTo>
                <a:lnTo>
                  <a:pt x="2129" y="178"/>
                </a:lnTo>
                <a:lnTo>
                  <a:pt x="2136" y="180"/>
                </a:lnTo>
                <a:lnTo>
                  <a:pt x="2140" y="180"/>
                </a:lnTo>
                <a:lnTo>
                  <a:pt x="2151" y="186"/>
                </a:lnTo>
                <a:lnTo>
                  <a:pt x="2157" y="193"/>
                </a:lnTo>
                <a:lnTo>
                  <a:pt x="2163" y="201"/>
                </a:lnTo>
                <a:lnTo>
                  <a:pt x="2168" y="212"/>
                </a:lnTo>
                <a:lnTo>
                  <a:pt x="2172" y="222"/>
                </a:lnTo>
                <a:lnTo>
                  <a:pt x="2172" y="233"/>
                </a:lnTo>
                <a:lnTo>
                  <a:pt x="2172" y="241"/>
                </a:lnTo>
                <a:lnTo>
                  <a:pt x="2170" y="248"/>
                </a:lnTo>
                <a:lnTo>
                  <a:pt x="2168" y="256"/>
                </a:lnTo>
                <a:lnTo>
                  <a:pt x="2165" y="262"/>
                </a:lnTo>
                <a:lnTo>
                  <a:pt x="2161" y="269"/>
                </a:lnTo>
                <a:lnTo>
                  <a:pt x="2157" y="275"/>
                </a:lnTo>
                <a:lnTo>
                  <a:pt x="2146" y="288"/>
                </a:lnTo>
                <a:lnTo>
                  <a:pt x="2140" y="292"/>
                </a:lnTo>
                <a:lnTo>
                  <a:pt x="2134" y="296"/>
                </a:lnTo>
                <a:lnTo>
                  <a:pt x="2119" y="305"/>
                </a:lnTo>
                <a:lnTo>
                  <a:pt x="2113" y="307"/>
                </a:lnTo>
                <a:lnTo>
                  <a:pt x="2104" y="309"/>
                </a:lnTo>
                <a:lnTo>
                  <a:pt x="2089" y="311"/>
                </a:lnTo>
                <a:lnTo>
                  <a:pt x="2083" y="309"/>
                </a:lnTo>
                <a:lnTo>
                  <a:pt x="2081" y="307"/>
                </a:lnTo>
                <a:lnTo>
                  <a:pt x="2079" y="305"/>
                </a:lnTo>
                <a:lnTo>
                  <a:pt x="2077" y="303"/>
                </a:lnTo>
                <a:lnTo>
                  <a:pt x="2074" y="301"/>
                </a:lnTo>
                <a:lnTo>
                  <a:pt x="2074" y="292"/>
                </a:lnTo>
                <a:lnTo>
                  <a:pt x="2074" y="286"/>
                </a:lnTo>
                <a:lnTo>
                  <a:pt x="2077" y="284"/>
                </a:lnTo>
                <a:lnTo>
                  <a:pt x="2079" y="282"/>
                </a:lnTo>
                <a:lnTo>
                  <a:pt x="2091" y="279"/>
                </a:lnTo>
                <a:lnTo>
                  <a:pt x="2104" y="275"/>
                </a:lnTo>
                <a:lnTo>
                  <a:pt x="2115" y="269"/>
                </a:lnTo>
                <a:lnTo>
                  <a:pt x="2123" y="262"/>
                </a:lnTo>
                <a:lnTo>
                  <a:pt x="2129" y="254"/>
                </a:lnTo>
                <a:lnTo>
                  <a:pt x="2134" y="250"/>
                </a:lnTo>
                <a:lnTo>
                  <a:pt x="2136" y="246"/>
                </a:lnTo>
                <a:lnTo>
                  <a:pt x="2140" y="237"/>
                </a:lnTo>
                <a:lnTo>
                  <a:pt x="2140" y="229"/>
                </a:lnTo>
                <a:lnTo>
                  <a:pt x="2140" y="224"/>
                </a:lnTo>
                <a:lnTo>
                  <a:pt x="2138" y="220"/>
                </a:lnTo>
                <a:lnTo>
                  <a:pt x="2136" y="216"/>
                </a:lnTo>
                <a:lnTo>
                  <a:pt x="2134" y="212"/>
                </a:lnTo>
                <a:lnTo>
                  <a:pt x="2129" y="210"/>
                </a:lnTo>
                <a:lnTo>
                  <a:pt x="2125" y="207"/>
                </a:lnTo>
                <a:lnTo>
                  <a:pt x="2117" y="207"/>
                </a:lnTo>
                <a:lnTo>
                  <a:pt x="2106" y="207"/>
                </a:lnTo>
                <a:lnTo>
                  <a:pt x="2100" y="210"/>
                </a:lnTo>
                <a:lnTo>
                  <a:pt x="2096" y="214"/>
                </a:lnTo>
                <a:lnTo>
                  <a:pt x="2089" y="216"/>
                </a:lnTo>
                <a:lnTo>
                  <a:pt x="2085" y="220"/>
                </a:lnTo>
                <a:lnTo>
                  <a:pt x="2074" y="231"/>
                </a:lnTo>
                <a:lnTo>
                  <a:pt x="2070" y="237"/>
                </a:lnTo>
                <a:lnTo>
                  <a:pt x="2068" y="243"/>
                </a:lnTo>
                <a:lnTo>
                  <a:pt x="2062" y="258"/>
                </a:lnTo>
                <a:lnTo>
                  <a:pt x="2058" y="275"/>
                </a:lnTo>
                <a:lnTo>
                  <a:pt x="2055" y="282"/>
                </a:lnTo>
                <a:lnTo>
                  <a:pt x="2055" y="292"/>
                </a:lnTo>
                <a:lnTo>
                  <a:pt x="2058" y="307"/>
                </a:lnTo>
                <a:lnTo>
                  <a:pt x="2058" y="313"/>
                </a:lnTo>
                <a:lnTo>
                  <a:pt x="2060" y="320"/>
                </a:lnTo>
                <a:lnTo>
                  <a:pt x="2064" y="332"/>
                </a:lnTo>
                <a:lnTo>
                  <a:pt x="2072" y="343"/>
                </a:lnTo>
                <a:lnTo>
                  <a:pt x="2081" y="351"/>
                </a:lnTo>
                <a:lnTo>
                  <a:pt x="2085" y="356"/>
                </a:lnTo>
                <a:lnTo>
                  <a:pt x="2089" y="358"/>
                </a:lnTo>
                <a:lnTo>
                  <a:pt x="2102" y="362"/>
                </a:lnTo>
                <a:lnTo>
                  <a:pt x="2108" y="362"/>
                </a:lnTo>
                <a:lnTo>
                  <a:pt x="2115" y="362"/>
                </a:lnTo>
                <a:lnTo>
                  <a:pt x="2125" y="362"/>
                </a:lnTo>
                <a:lnTo>
                  <a:pt x="2138" y="358"/>
                </a:lnTo>
                <a:lnTo>
                  <a:pt x="2144" y="356"/>
                </a:lnTo>
                <a:lnTo>
                  <a:pt x="2149" y="353"/>
                </a:lnTo>
                <a:lnTo>
                  <a:pt x="2159" y="345"/>
                </a:lnTo>
                <a:lnTo>
                  <a:pt x="2170" y="337"/>
                </a:lnTo>
                <a:lnTo>
                  <a:pt x="2178" y="326"/>
                </a:lnTo>
                <a:lnTo>
                  <a:pt x="2185" y="313"/>
                </a:lnTo>
                <a:lnTo>
                  <a:pt x="2193" y="301"/>
                </a:lnTo>
                <a:lnTo>
                  <a:pt x="2199" y="288"/>
                </a:lnTo>
                <a:lnTo>
                  <a:pt x="2204" y="273"/>
                </a:lnTo>
                <a:lnTo>
                  <a:pt x="2208" y="258"/>
                </a:lnTo>
                <a:lnTo>
                  <a:pt x="2212" y="243"/>
                </a:lnTo>
                <a:lnTo>
                  <a:pt x="2214" y="231"/>
                </a:lnTo>
                <a:lnTo>
                  <a:pt x="2216" y="216"/>
                </a:lnTo>
                <a:lnTo>
                  <a:pt x="2216" y="201"/>
                </a:lnTo>
                <a:lnTo>
                  <a:pt x="2216" y="188"/>
                </a:lnTo>
                <a:lnTo>
                  <a:pt x="2216" y="186"/>
                </a:lnTo>
                <a:lnTo>
                  <a:pt x="2221" y="184"/>
                </a:lnTo>
                <a:lnTo>
                  <a:pt x="2225" y="182"/>
                </a:lnTo>
                <a:lnTo>
                  <a:pt x="2229" y="182"/>
                </a:lnTo>
                <a:lnTo>
                  <a:pt x="2237" y="184"/>
                </a:lnTo>
                <a:lnTo>
                  <a:pt x="2242" y="184"/>
                </a:lnTo>
                <a:lnTo>
                  <a:pt x="2244" y="188"/>
                </a:lnTo>
                <a:lnTo>
                  <a:pt x="2248" y="195"/>
                </a:lnTo>
                <a:lnTo>
                  <a:pt x="2250" y="201"/>
                </a:lnTo>
                <a:lnTo>
                  <a:pt x="2250" y="207"/>
                </a:lnTo>
                <a:lnTo>
                  <a:pt x="2248" y="226"/>
                </a:lnTo>
                <a:lnTo>
                  <a:pt x="2246" y="246"/>
                </a:lnTo>
                <a:lnTo>
                  <a:pt x="2244" y="262"/>
                </a:lnTo>
                <a:lnTo>
                  <a:pt x="2240" y="279"/>
                </a:lnTo>
                <a:lnTo>
                  <a:pt x="2233" y="296"/>
                </a:lnTo>
                <a:lnTo>
                  <a:pt x="2227" y="313"/>
                </a:lnTo>
                <a:lnTo>
                  <a:pt x="2218" y="328"/>
                </a:lnTo>
                <a:lnTo>
                  <a:pt x="2210" y="341"/>
                </a:lnTo>
                <a:lnTo>
                  <a:pt x="2201" y="353"/>
                </a:lnTo>
                <a:lnTo>
                  <a:pt x="2195" y="360"/>
                </a:lnTo>
                <a:lnTo>
                  <a:pt x="2191" y="364"/>
                </a:lnTo>
                <a:lnTo>
                  <a:pt x="2178" y="375"/>
                </a:lnTo>
                <a:lnTo>
                  <a:pt x="2168" y="383"/>
                </a:lnTo>
                <a:lnTo>
                  <a:pt x="2155" y="389"/>
                </a:lnTo>
                <a:lnTo>
                  <a:pt x="2142" y="394"/>
                </a:lnTo>
                <a:lnTo>
                  <a:pt x="2127" y="398"/>
                </a:lnTo>
                <a:lnTo>
                  <a:pt x="2113" y="398"/>
                </a:lnTo>
                <a:close/>
                <a:moveTo>
                  <a:pt x="2343" y="396"/>
                </a:moveTo>
                <a:lnTo>
                  <a:pt x="2337" y="394"/>
                </a:lnTo>
                <a:lnTo>
                  <a:pt x="2328" y="387"/>
                </a:lnTo>
                <a:lnTo>
                  <a:pt x="2312" y="373"/>
                </a:lnTo>
                <a:lnTo>
                  <a:pt x="2292" y="351"/>
                </a:lnTo>
                <a:lnTo>
                  <a:pt x="2273" y="332"/>
                </a:lnTo>
                <a:lnTo>
                  <a:pt x="2267" y="324"/>
                </a:lnTo>
                <a:lnTo>
                  <a:pt x="2263" y="317"/>
                </a:lnTo>
                <a:lnTo>
                  <a:pt x="2256" y="305"/>
                </a:lnTo>
                <a:lnTo>
                  <a:pt x="2256" y="298"/>
                </a:lnTo>
                <a:lnTo>
                  <a:pt x="2254" y="292"/>
                </a:lnTo>
                <a:lnTo>
                  <a:pt x="2256" y="286"/>
                </a:lnTo>
                <a:lnTo>
                  <a:pt x="2259" y="279"/>
                </a:lnTo>
                <a:lnTo>
                  <a:pt x="2261" y="271"/>
                </a:lnTo>
                <a:lnTo>
                  <a:pt x="2267" y="262"/>
                </a:lnTo>
                <a:lnTo>
                  <a:pt x="2278" y="248"/>
                </a:lnTo>
                <a:lnTo>
                  <a:pt x="2297" y="229"/>
                </a:lnTo>
                <a:lnTo>
                  <a:pt x="2339" y="180"/>
                </a:lnTo>
                <a:lnTo>
                  <a:pt x="2345" y="180"/>
                </a:lnTo>
                <a:lnTo>
                  <a:pt x="2352" y="182"/>
                </a:lnTo>
                <a:lnTo>
                  <a:pt x="2356" y="186"/>
                </a:lnTo>
                <a:lnTo>
                  <a:pt x="2360" y="193"/>
                </a:lnTo>
                <a:lnTo>
                  <a:pt x="2360" y="199"/>
                </a:lnTo>
                <a:lnTo>
                  <a:pt x="2360" y="205"/>
                </a:lnTo>
                <a:lnTo>
                  <a:pt x="2358" y="207"/>
                </a:lnTo>
                <a:lnTo>
                  <a:pt x="2356" y="212"/>
                </a:lnTo>
                <a:lnTo>
                  <a:pt x="2326" y="246"/>
                </a:lnTo>
                <a:lnTo>
                  <a:pt x="2307" y="267"/>
                </a:lnTo>
                <a:lnTo>
                  <a:pt x="2295" y="282"/>
                </a:lnTo>
                <a:lnTo>
                  <a:pt x="2292" y="286"/>
                </a:lnTo>
                <a:lnTo>
                  <a:pt x="2292" y="290"/>
                </a:lnTo>
                <a:lnTo>
                  <a:pt x="2292" y="296"/>
                </a:lnTo>
                <a:lnTo>
                  <a:pt x="2297" y="301"/>
                </a:lnTo>
                <a:lnTo>
                  <a:pt x="2307" y="313"/>
                </a:lnTo>
                <a:lnTo>
                  <a:pt x="2324" y="332"/>
                </a:lnTo>
                <a:lnTo>
                  <a:pt x="2343" y="351"/>
                </a:lnTo>
                <a:lnTo>
                  <a:pt x="2362" y="370"/>
                </a:lnTo>
                <a:lnTo>
                  <a:pt x="2362" y="373"/>
                </a:lnTo>
                <a:lnTo>
                  <a:pt x="2364" y="375"/>
                </a:lnTo>
                <a:lnTo>
                  <a:pt x="2364" y="379"/>
                </a:lnTo>
                <a:lnTo>
                  <a:pt x="2362" y="381"/>
                </a:lnTo>
                <a:lnTo>
                  <a:pt x="2358" y="387"/>
                </a:lnTo>
                <a:lnTo>
                  <a:pt x="2350" y="394"/>
                </a:lnTo>
                <a:lnTo>
                  <a:pt x="2348" y="396"/>
                </a:lnTo>
                <a:lnTo>
                  <a:pt x="2343" y="396"/>
                </a:lnTo>
                <a:close/>
                <a:moveTo>
                  <a:pt x="754" y="398"/>
                </a:moveTo>
                <a:lnTo>
                  <a:pt x="743" y="398"/>
                </a:lnTo>
                <a:lnTo>
                  <a:pt x="735" y="396"/>
                </a:lnTo>
                <a:lnTo>
                  <a:pt x="726" y="394"/>
                </a:lnTo>
                <a:lnTo>
                  <a:pt x="718" y="392"/>
                </a:lnTo>
                <a:lnTo>
                  <a:pt x="709" y="385"/>
                </a:lnTo>
                <a:lnTo>
                  <a:pt x="703" y="381"/>
                </a:lnTo>
                <a:lnTo>
                  <a:pt x="696" y="375"/>
                </a:lnTo>
                <a:lnTo>
                  <a:pt x="690" y="368"/>
                </a:lnTo>
                <a:lnTo>
                  <a:pt x="684" y="360"/>
                </a:lnTo>
                <a:lnTo>
                  <a:pt x="677" y="351"/>
                </a:lnTo>
                <a:lnTo>
                  <a:pt x="669" y="334"/>
                </a:lnTo>
                <a:lnTo>
                  <a:pt x="667" y="324"/>
                </a:lnTo>
                <a:lnTo>
                  <a:pt x="665" y="313"/>
                </a:lnTo>
                <a:lnTo>
                  <a:pt x="663" y="303"/>
                </a:lnTo>
                <a:lnTo>
                  <a:pt x="663" y="292"/>
                </a:lnTo>
                <a:lnTo>
                  <a:pt x="663" y="282"/>
                </a:lnTo>
                <a:lnTo>
                  <a:pt x="665" y="271"/>
                </a:lnTo>
                <a:lnTo>
                  <a:pt x="667" y="260"/>
                </a:lnTo>
                <a:lnTo>
                  <a:pt x="671" y="250"/>
                </a:lnTo>
                <a:lnTo>
                  <a:pt x="673" y="239"/>
                </a:lnTo>
                <a:lnTo>
                  <a:pt x="679" y="229"/>
                </a:lnTo>
                <a:lnTo>
                  <a:pt x="684" y="220"/>
                </a:lnTo>
                <a:lnTo>
                  <a:pt x="690" y="212"/>
                </a:lnTo>
                <a:lnTo>
                  <a:pt x="696" y="203"/>
                </a:lnTo>
                <a:lnTo>
                  <a:pt x="705" y="197"/>
                </a:lnTo>
                <a:lnTo>
                  <a:pt x="713" y="190"/>
                </a:lnTo>
                <a:lnTo>
                  <a:pt x="722" y="186"/>
                </a:lnTo>
                <a:lnTo>
                  <a:pt x="730" y="182"/>
                </a:lnTo>
                <a:lnTo>
                  <a:pt x="739" y="180"/>
                </a:lnTo>
                <a:lnTo>
                  <a:pt x="749" y="178"/>
                </a:lnTo>
                <a:lnTo>
                  <a:pt x="760" y="176"/>
                </a:lnTo>
                <a:lnTo>
                  <a:pt x="771" y="178"/>
                </a:lnTo>
                <a:lnTo>
                  <a:pt x="777" y="180"/>
                </a:lnTo>
                <a:lnTo>
                  <a:pt x="781" y="180"/>
                </a:lnTo>
                <a:lnTo>
                  <a:pt x="792" y="186"/>
                </a:lnTo>
                <a:lnTo>
                  <a:pt x="798" y="193"/>
                </a:lnTo>
                <a:lnTo>
                  <a:pt x="804" y="201"/>
                </a:lnTo>
                <a:lnTo>
                  <a:pt x="809" y="212"/>
                </a:lnTo>
                <a:lnTo>
                  <a:pt x="813" y="222"/>
                </a:lnTo>
                <a:lnTo>
                  <a:pt x="813" y="233"/>
                </a:lnTo>
                <a:lnTo>
                  <a:pt x="813" y="241"/>
                </a:lnTo>
                <a:lnTo>
                  <a:pt x="811" y="248"/>
                </a:lnTo>
                <a:lnTo>
                  <a:pt x="809" y="256"/>
                </a:lnTo>
                <a:lnTo>
                  <a:pt x="806" y="262"/>
                </a:lnTo>
                <a:lnTo>
                  <a:pt x="802" y="269"/>
                </a:lnTo>
                <a:lnTo>
                  <a:pt x="798" y="275"/>
                </a:lnTo>
                <a:lnTo>
                  <a:pt x="787" y="288"/>
                </a:lnTo>
                <a:lnTo>
                  <a:pt x="781" y="292"/>
                </a:lnTo>
                <a:lnTo>
                  <a:pt x="775" y="296"/>
                </a:lnTo>
                <a:lnTo>
                  <a:pt x="760" y="305"/>
                </a:lnTo>
                <a:lnTo>
                  <a:pt x="754" y="307"/>
                </a:lnTo>
                <a:lnTo>
                  <a:pt x="745" y="309"/>
                </a:lnTo>
                <a:lnTo>
                  <a:pt x="730" y="311"/>
                </a:lnTo>
                <a:lnTo>
                  <a:pt x="724" y="309"/>
                </a:lnTo>
                <a:lnTo>
                  <a:pt x="722" y="307"/>
                </a:lnTo>
                <a:lnTo>
                  <a:pt x="720" y="305"/>
                </a:lnTo>
                <a:lnTo>
                  <a:pt x="718" y="303"/>
                </a:lnTo>
                <a:lnTo>
                  <a:pt x="715" y="301"/>
                </a:lnTo>
                <a:lnTo>
                  <a:pt x="715" y="292"/>
                </a:lnTo>
                <a:lnTo>
                  <a:pt x="715" y="286"/>
                </a:lnTo>
                <a:lnTo>
                  <a:pt x="718" y="284"/>
                </a:lnTo>
                <a:lnTo>
                  <a:pt x="720" y="282"/>
                </a:lnTo>
                <a:lnTo>
                  <a:pt x="732" y="279"/>
                </a:lnTo>
                <a:lnTo>
                  <a:pt x="743" y="275"/>
                </a:lnTo>
                <a:lnTo>
                  <a:pt x="754" y="269"/>
                </a:lnTo>
                <a:lnTo>
                  <a:pt x="764" y="262"/>
                </a:lnTo>
                <a:lnTo>
                  <a:pt x="771" y="254"/>
                </a:lnTo>
                <a:lnTo>
                  <a:pt x="775" y="250"/>
                </a:lnTo>
                <a:lnTo>
                  <a:pt x="777" y="246"/>
                </a:lnTo>
                <a:lnTo>
                  <a:pt x="779" y="237"/>
                </a:lnTo>
                <a:lnTo>
                  <a:pt x="781" y="229"/>
                </a:lnTo>
                <a:lnTo>
                  <a:pt x="781" y="224"/>
                </a:lnTo>
                <a:lnTo>
                  <a:pt x="779" y="220"/>
                </a:lnTo>
                <a:lnTo>
                  <a:pt x="777" y="216"/>
                </a:lnTo>
                <a:lnTo>
                  <a:pt x="775" y="212"/>
                </a:lnTo>
                <a:lnTo>
                  <a:pt x="771" y="210"/>
                </a:lnTo>
                <a:lnTo>
                  <a:pt x="766" y="207"/>
                </a:lnTo>
                <a:lnTo>
                  <a:pt x="756" y="207"/>
                </a:lnTo>
                <a:lnTo>
                  <a:pt x="745" y="207"/>
                </a:lnTo>
                <a:lnTo>
                  <a:pt x="741" y="210"/>
                </a:lnTo>
                <a:lnTo>
                  <a:pt x="735" y="214"/>
                </a:lnTo>
                <a:lnTo>
                  <a:pt x="730" y="216"/>
                </a:lnTo>
                <a:lnTo>
                  <a:pt x="726" y="220"/>
                </a:lnTo>
                <a:lnTo>
                  <a:pt x="715" y="231"/>
                </a:lnTo>
                <a:lnTo>
                  <a:pt x="711" y="237"/>
                </a:lnTo>
                <a:lnTo>
                  <a:pt x="707" y="243"/>
                </a:lnTo>
                <a:lnTo>
                  <a:pt x="703" y="258"/>
                </a:lnTo>
                <a:lnTo>
                  <a:pt x="699" y="275"/>
                </a:lnTo>
                <a:lnTo>
                  <a:pt x="696" y="282"/>
                </a:lnTo>
                <a:lnTo>
                  <a:pt x="696" y="292"/>
                </a:lnTo>
                <a:lnTo>
                  <a:pt x="696" y="307"/>
                </a:lnTo>
                <a:lnTo>
                  <a:pt x="699" y="313"/>
                </a:lnTo>
                <a:lnTo>
                  <a:pt x="701" y="320"/>
                </a:lnTo>
                <a:lnTo>
                  <a:pt x="705" y="332"/>
                </a:lnTo>
                <a:lnTo>
                  <a:pt x="711" y="343"/>
                </a:lnTo>
                <a:lnTo>
                  <a:pt x="720" y="351"/>
                </a:lnTo>
                <a:lnTo>
                  <a:pt x="726" y="356"/>
                </a:lnTo>
                <a:lnTo>
                  <a:pt x="730" y="358"/>
                </a:lnTo>
                <a:lnTo>
                  <a:pt x="741" y="362"/>
                </a:lnTo>
                <a:lnTo>
                  <a:pt x="747" y="362"/>
                </a:lnTo>
                <a:lnTo>
                  <a:pt x="754" y="362"/>
                </a:lnTo>
                <a:lnTo>
                  <a:pt x="766" y="362"/>
                </a:lnTo>
                <a:lnTo>
                  <a:pt x="779" y="358"/>
                </a:lnTo>
                <a:lnTo>
                  <a:pt x="785" y="356"/>
                </a:lnTo>
                <a:lnTo>
                  <a:pt x="790" y="353"/>
                </a:lnTo>
                <a:lnTo>
                  <a:pt x="800" y="345"/>
                </a:lnTo>
                <a:lnTo>
                  <a:pt x="809" y="337"/>
                </a:lnTo>
                <a:lnTo>
                  <a:pt x="817" y="326"/>
                </a:lnTo>
                <a:lnTo>
                  <a:pt x="826" y="313"/>
                </a:lnTo>
                <a:lnTo>
                  <a:pt x="832" y="301"/>
                </a:lnTo>
                <a:lnTo>
                  <a:pt x="838" y="288"/>
                </a:lnTo>
                <a:lnTo>
                  <a:pt x="845" y="273"/>
                </a:lnTo>
                <a:lnTo>
                  <a:pt x="849" y="258"/>
                </a:lnTo>
                <a:lnTo>
                  <a:pt x="851" y="243"/>
                </a:lnTo>
                <a:lnTo>
                  <a:pt x="855" y="231"/>
                </a:lnTo>
                <a:lnTo>
                  <a:pt x="855" y="216"/>
                </a:lnTo>
                <a:lnTo>
                  <a:pt x="857" y="201"/>
                </a:lnTo>
                <a:lnTo>
                  <a:pt x="855" y="188"/>
                </a:lnTo>
                <a:lnTo>
                  <a:pt x="857" y="186"/>
                </a:lnTo>
                <a:lnTo>
                  <a:pt x="862" y="184"/>
                </a:lnTo>
                <a:lnTo>
                  <a:pt x="866" y="182"/>
                </a:lnTo>
                <a:lnTo>
                  <a:pt x="870" y="182"/>
                </a:lnTo>
                <a:lnTo>
                  <a:pt x="878" y="184"/>
                </a:lnTo>
                <a:lnTo>
                  <a:pt x="881" y="184"/>
                </a:lnTo>
                <a:lnTo>
                  <a:pt x="885" y="188"/>
                </a:lnTo>
                <a:lnTo>
                  <a:pt x="889" y="195"/>
                </a:lnTo>
                <a:lnTo>
                  <a:pt x="889" y="201"/>
                </a:lnTo>
                <a:lnTo>
                  <a:pt x="891" y="207"/>
                </a:lnTo>
                <a:lnTo>
                  <a:pt x="889" y="226"/>
                </a:lnTo>
                <a:lnTo>
                  <a:pt x="887" y="246"/>
                </a:lnTo>
                <a:lnTo>
                  <a:pt x="883" y="262"/>
                </a:lnTo>
                <a:lnTo>
                  <a:pt x="878" y="279"/>
                </a:lnTo>
                <a:lnTo>
                  <a:pt x="874" y="296"/>
                </a:lnTo>
                <a:lnTo>
                  <a:pt x="868" y="313"/>
                </a:lnTo>
                <a:lnTo>
                  <a:pt x="859" y="328"/>
                </a:lnTo>
                <a:lnTo>
                  <a:pt x="851" y="341"/>
                </a:lnTo>
                <a:lnTo>
                  <a:pt x="840" y="353"/>
                </a:lnTo>
                <a:lnTo>
                  <a:pt x="836" y="360"/>
                </a:lnTo>
                <a:lnTo>
                  <a:pt x="832" y="364"/>
                </a:lnTo>
                <a:lnTo>
                  <a:pt x="819" y="375"/>
                </a:lnTo>
                <a:lnTo>
                  <a:pt x="809" y="383"/>
                </a:lnTo>
                <a:lnTo>
                  <a:pt x="796" y="389"/>
                </a:lnTo>
                <a:lnTo>
                  <a:pt x="781" y="394"/>
                </a:lnTo>
                <a:lnTo>
                  <a:pt x="768" y="398"/>
                </a:lnTo>
                <a:lnTo>
                  <a:pt x="754" y="398"/>
                </a:lnTo>
                <a:close/>
                <a:moveTo>
                  <a:pt x="984" y="396"/>
                </a:moveTo>
                <a:lnTo>
                  <a:pt x="978" y="394"/>
                </a:lnTo>
                <a:lnTo>
                  <a:pt x="969" y="387"/>
                </a:lnTo>
                <a:lnTo>
                  <a:pt x="953" y="373"/>
                </a:lnTo>
                <a:lnTo>
                  <a:pt x="934" y="351"/>
                </a:lnTo>
                <a:lnTo>
                  <a:pt x="914" y="332"/>
                </a:lnTo>
                <a:lnTo>
                  <a:pt x="908" y="324"/>
                </a:lnTo>
                <a:lnTo>
                  <a:pt x="904" y="317"/>
                </a:lnTo>
                <a:lnTo>
                  <a:pt x="898" y="305"/>
                </a:lnTo>
                <a:lnTo>
                  <a:pt x="895" y="298"/>
                </a:lnTo>
                <a:lnTo>
                  <a:pt x="895" y="292"/>
                </a:lnTo>
                <a:lnTo>
                  <a:pt x="898" y="286"/>
                </a:lnTo>
                <a:lnTo>
                  <a:pt x="900" y="279"/>
                </a:lnTo>
                <a:lnTo>
                  <a:pt x="902" y="271"/>
                </a:lnTo>
                <a:lnTo>
                  <a:pt x="908" y="262"/>
                </a:lnTo>
                <a:lnTo>
                  <a:pt x="919" y="248"/>
                </a:lnTo>
                <a:lnTo>
                  <a:pt x="938" y="229"/>
                </a:lnTo>
                <a:lnTo>
                  <a:pt x="980" y="180"/>
                </a:lnTo>
                <a:lnTo>
                  <a:pt x="984" y="180"/>
                </a:lnTo>
                <a:lnTo>
                  <a:pt x="991" y="182"/>
                </a:lnTo>
                <a:lnTo>
                  <a:pt x="997" y="186"/>
                </a:lnTo>
                <a:lnTo>
                  <a:pt x="1001" y="193"/>
                </a:lnTo>
                <a:lnTo>
                  <a:pt x="1001" y="199"/>
                </a:lnTo>
                <a:lnTo>
                  <a:pt x="999" y="205"/>
                </a:lnTo>
                <a:lnTo>
                  <a:pt x="999" y="207"/>
                </a:lnTo>
                <a:lnTo>
                  <a:pt x="997" y="212"/>
                </a:lnTo>
                <a:lnTo>
                  <a:pt x="967" y="246"/>
                </a:lnTo>
                <a:lnTo>
                  <a:pt x="948" y="267"/>
                </a:lnTo>
                <a:lnTo>
                  <a:pt x="936" y="282"/>
                </a:lnTo>
                <a:lnTo>
                  <a:pt x="934" y="286"/>
                </a:lnTo>
                <a:lnTo>
                  <a:pt x="931" y="290"/>
                </a:lnTo>
                <a:lnTo>
                  <a:pt x="934" y="296"/>
                </a:lnTo>
                <a:lnTo>
                  <a:pt x="936" y="301"/>
                </a:lnTo>
                <a:lnTo>
                  <a:pt x="948" y="313"/>
                </a:lnTo>
                <a:lnTo>
                  <a:pt x="963" y="332"/>
                </a:lnTo>
                <a:lnTo>
                  <a:pt x="982" y="351"/>
                </a:lnTo>
                <a:lnTo>
                  <a:pt x="1001" y="370"/>
                </a:lnTo>
                <a:lnTo>
                  <a:pt x="1003" y="373"/>
                </a:lnTo>
                <a:lnTo>
                  <a:pt x="1005" y="375"/>
                </a:lnTo>
                <a:lnTo>
                  <a:pt x="1003" y="379"/>
                </a:lnTo>
                <a:lnTo>
                  <a:pt x="1003" y="381"/>
                </a:lnTo>
                <a:lnTo>
                  <a:pt x="997" y="387"/>
                </a:lnTo>
                <a:lnTo>
                  <a:pt x="991" y="394"/>
                </a:lnTo>
                <a:lnTo>
                  <a:pt x="986" y="396"/>
                </a:lnTo>
                <a:lnTo>
                  <a:pt x="984" y="396"/>
                </a:lnTo>
                <a:close/>
                <a:moveTo>
                  <a:pt x="3033" y="398"/>
                </a:moveTo>
                <a:lnTo>
                  <a:pt x="3025" y="398"/>
                </a:lnTo>
                <a:lnTo>
                  <a:pt x="3016" y="396"/>
                </a:lnTo>
                <a:lnTo>
                  <a:pt x="3008" y="394"/>
                </a:lnTo>
                <a:lnTo>
                  <a:pt x="2999" y="392"/>
                </a:lnTo>
                <a:lnTo>
                  <a:pt x="2991" y="385"/>
                </a:lnTo>
                <a:lnTo>
                  <a:pt x="2983" y="381"/>
                </a:lnTo>
                <a:lnTo>
                  <a:pt x="2976" y="375"/>
                </a:lnTo>
                <a:lnTo>
                  <a:pt x="2970" y="368"/>
                </a:lnTo>
                <a:lnTo>
                  <a:pt x="2963" y="360"/>
                </a:lnTo>
                <a:lnTo>
                  <a:pt x="2959" y="351"/>
                </a:lnTo>
                <a:lnTo>
                  <a:pt x="2951" y="334"/>
                </a:lnTo>
                <a:lnTo>
                  <a:pt x="2947" y="324"/>
                </a:lnTo>
                <a:lnTo>
                  <a:pt x="2944" y="313"/>
                </a:lnTo>
                <a:lnTo>
                  <a:pt x="2944" y="303"/>
                </a:lnTo>
                <a:lnTo>
                  <a:pt x="2944" y="292"/>
                </a:lnTo>
                <a:lnTo>
                  <a:pt x="2944" y="282"/>
                </a:lnTo>
                <a:lnTo>
                  <a:pt x="2944" y="271"/>
                </a:lnTo>
                <a:lnTo>
                  <a:pt x="2949" y="260"/>
                </a:lnTo>
                <a:lnTo>
                  <a:pt x="2951" y="250"/>
                </a:lnTo>
                <a:lnTo>
                  <a:pt x="2955" y="239"/>
                </a:lnTo>
                <a:lnTo>
                  <a:pt x="2959" y="229"/>
                </a:lnTo>
                <a:lnTo>
                  <a:pt x="2966" y="220"/>
                </a:lnTo>
                <a:lnTo>
                  <a:pt x="2972" y="212"/>
                </a:lnTo>
                <a:lnTo>
                  <a:pt x="2978" y="203"/>
                </a:lnTo>
                <a:lnTo>
                  <a:pt x="2987" y="197"/>
                </a:lnTo>
                <a:lnTo>
                  <a:pt x="2993" y="190"/>
                </a:lnTo>
                <a:lnTo>
                  <a:pt x="3002" y="186"/>
                </a:lnTo>
                <a:lnTo>
                  <a:pt x="3010" y="182"/>
                </a:lnTo>
                <a:lnTo>
                  <a:pt x="3021" y="180"/>
                </a:lnTo>
                <a:lnTo>
                  <a:pt x="3029" y="178"/>
                </a:lnTo>
                <a:lnTo>
                  <a:pt x="3040" y="176"/>
                </a:lnTo>
                <a:lnTo>
                  <a:pt x="3052" y="178"/>
                </a:lnTo>
                <a:lnTo>
                  <a:pt x="3057" y="180"/>
                </a:lnTo>
                <a:lnTo>
                  <a:pt x="3063" y="180"/>
                </a:lnTo>
                <a:lnTo>
                  <a:pt x="3071" y="186"/>
                </a:lnTo>
                <a:lnTo>
                  <a:pt x="3080" y="193"/>
                </a:lnTo>
                <a:lnTo>
                  <a:pt x="3086" y="201"/>
                </a:lnTo>
                <a:lnTo>
                  <a:pt x="3091" y="212"/>
                </a:lnTo>
                <a:lnTo>
                  <a:pt x="3093" y="222"/>
                </a:lnTo>
                <a:lnTo>
                  <a:pt x="3093" y="233"/>
                </a:lnTo>
                <a:lnTo>
                  <a:pt x="3093" y="241"/>
                </a:lnTo>
                <a:lnTo>
                  <a:pt x="3093" y="248"/>
                </a:lnTo>
                <a:lnTo>
                  <a:pt x="3091" y="256"/>
                </a:lnTo>
                <a:lnTo>
                  <a:pt x="3086" y="262"/>
                </a:lnTo>
                <a:lnTo>
                  <a:pt x="3082" y="269"/>
                </a:lnTo>
                <a:lnTo>
                  <a:pt x="3078" y="275"/>
                </a:lnTo>
                <a:lnTo>
                  <a:pt x="3067" y="288"/>
                </a:lnTo>
                <a:lnTo>
                  <a:pt x="3061" y="292"/>
                </a:lnTo>
                <a:lnTo>
                  <a:pt x="3055" y="296"/>
                </a:lnTo>
                <a:lnTo>
                  <a:pt x="3042" y="305"/>
                </a:lnTo>
                <a:lnTo>
                  <a:pt x="3033" y="307"/>
                </a:lnTo>
                <a:lnTo>
                  <a:pt x="3027" y="309"/>
                </a:lnTo>
                <a:lnTo>
                  <a:pt x="3012" y="311"/>
                </a:lnTo>
                <a:lnTo>
                  <a:pt x="3006" y="309"/>
                </a:lnTo>
                <a:lnTo>
                  <a:pt x="3002" y="307"/>
                </a:lnTo>
                <a:lnTo>
                  <a:pt x="2999" y="305"/>
                </a:lnTo>
                <a:lnTo>
                  <a:pt x="2997" y="303"/>
                </a:lnTo>
                <a:lnTo>
                  <a:pt x="2997" y="301"/>
                </a:lnTo>
                <a:lnTo>
                  <a:pt x="2995" y="292"/>
                </a:lnTo>
                <a:lnTo>
                  <a:pt x="2997" y="286"/>
                </a:lnTo>
                <a:lnTo>
                  <a:pt x="2997" y="284"/>
                </a:lnTo>
                <a:lnTo>
                  <a:pt x="2999" y="282"/>
                </a:lnTo>
                <a:lnTo>
                  <a:pt x="3012" y="279"/>
                </a:lnTo>
                <a:lnTo>
                  <a:pt x="3025" y="275"/>
                </a:lnTo>
                <a:lnTo>
                  <a:pt x="3035" y="269"/>
                </a:lnTo>
                <a:lnTo>
                  <a:pt x="3044" y="262"/>
                </a:lnTo>
                <a:lnTo>
                  <a:pt x="3052" y="254"/>
                </a:lnTo>
                <a:lnTo>
                  <a:pt x="3055" y="250"/>
                </a:lnTo>
                <a:lnTo>
                  <a:pt x="3057" y="246"/>
                </a:lnTo>
                <a:lnTo>
                  <a:pt x="3061" y="237"/>
                </a:lnTo>
                <a:lnTo>
                  <a:pt x="3063" y="229"/>
                </a:lnTo>
                <a:lnTo>
                  <a:pt x="3061" y="224"/>
                </a:lnTo>
                <a:lnTo>
                  <a:pt x="3061" y="220"/>
                </a:lnTo>
                <a:lnTo>
                  <a:pt x="3059" y="216"/>
                </a:lnTo>
                <a:lnTo>
                  <a:pt x="3055" y="212"/>
                </a:lnTo>
                <a:lnTo>
                  <a:pt x="3052" y="210"/>
                </a:lnTo>
                <a:lnTo>
                  <a:pt x="3048" y="207"/>
                </a:lnTo>
                <a:lnTo>
                  <a:pt x="3038" y="207"/>
                </a:lnTo>
                <a:lnTo>
                  <a:pt x="3027" y="207"/>
                </a:lnTo>
                <a:lnTo>
                  <a:pt x="3021" y="210"/>
                </a:lnTo>
                <a:lnTo>
                  <a:pt x="3016" y="214"/>
                </a:lnTo>
                <a:lnTo>
                  <a:pt x="3010" y="216"/>
                </a:lnTo>
                <a:lnTo>
                  <a:pt x="3006" y="220"/>
                </a:lnTo>
                <a:lnTo>
                  <a:pt x="2997" y="231"/>
                </a:lnTo>
                <a:lnTo>
                  <a:pt x="2993" y="237"/>
                </a:lnTo>
                <a:lnTo>
                  <a:pt x="2989" y="243"/>
                </a:lnTo>
                <a:lnTo>
                  <a:pt x="2983" y="258"/>
                </a:lnTo>
                <a:lnTo>
                  <a:pt x="2978" y="275"/>
                </a:lnTo>
                <a:lnTo>
                  <a:pt x="2978" y="282"/>
                </a:lnTo>
                <a:lnTo>
                  <a:pt x="2976" y="292"/>
                </a:lnTo>
                <a:lnTo>
                  <a:pt x="2978" y="307"/>
                </a:lnTo>
                <a:lnTo>
                  <a:pt x="2980" y="313"/>
                </a:lnTo>
                <a:lnTo>
                  <a:pt x="2980" y="320"/>
                </a:lnTo>
                <a:lnTo>
                  <a:pt x="2987" y="332"/>
                </a:lnTo>
                <a:lnTo>
                  <a:pt x="2993" y="343"/>
                </a:lnTo>
                <a:lnTo>
                  <a:pt x="3002" y="351"/>
                </a:lnTo>
                <a:lnTo>
                  <a:pt x="3006" y="356"/>
                </a:lnTo>
                <a:lnTo>
                  <a:pt x="3012" y="358"/>
                </a:lnTo>
                <a:lnTo>
                  <a:pt x="3023" y="362"/>
                </a:lnTo>
                <a:lnTo>
                  <a:pt x="3029" y="362"/>
                </a:lnTo>
                <a:lnTo>
                  <a:pt x="3035" y="362"/>
                </a:lnTo>
                <a:lnTo>
                  <a:pt x="3048" y="362"/>
                </a:lnTo>
                <a:lnTo>
                  <a:pt x="3059" y="358"/>
                </a:lnTo>
                <a:lnTo>
                  <a:pt x="3065" y="356"/>
                </a:lnTo>
                <a:lnTo>
                  <a:pt x="3071" y="353"/>
                </a:lnTo>
                <a:lnTo>
                  <a:pt x="3080" y="345"/>
                </a:lnTo>
                <a:lnTo>
                  <a:pt x="3091" y="337"/>
                </a:lnTo>
                <a:lnTo>
                  <a:pt x="3099" y="326"/>
                </a:lnTo>
                <a:lnTo>
                  <a:pt x="3107" y="313"/>
                </a:lnTo>
                <a:lnTo>
                  <a:pt x="3114" y="301"/>
                </a:lnTo>
                <a:lnTo>
                  <a:pt x="3120" y="288"/>
                </a:lnTo>
                <a:lnTo>
                  <a:pt x="3124" y="273"/>
                </a:lnTo>
                <a:lnTo>
                  <a:pt x="3129" y="258"/>
                </a:lnTo>
                <a:lnTo>
                  <a:pt x="3133" y="243"/>
                </a:lnTo>
                <a:lnTo>
                  <a:pt x="3135" y="231"/>
                </a:lnTo>
                <a:lnTo>
                  <a:pt x="3137" y="216"/>
                </a:lnTo>
                <a:lnTo>
                  <a:pt x="3137" y="201"/>
                </a:lnTo>
                <a:lnTo>
                  <a:pt x="3137" y="188"/>
                </a:lnTo>
                <a:lnTo>
                  <a:pt x="3139" y="186"/>
                </a:lnTo>
                <a:lnTo>
                  <a:pt x="3141" y="184"/>
                </a:lnTo>
                <a:lnTo>
                  <a:pt x="3146" y="182"/>
                </a:lnTo>
                <a:lnTo>
                  <a:pt x="3150" y="182"/>
                </a:lnTo>
                <a:lnTo>
                  <a:pt x="3158" y="184"/>
                </a:lnTo>
                <a:lnTo>
                  <a:pt x="3162" y="184"/>
                </a:lnTo>
                <a:lnTo>
                  <a:pt x="3165" y="188"/>
                </a:lnTo>
                <a:lnTo>
                  <a:pt x="3169" y="195"/>
                </a:lnTo>
                <a:lnTo>
                  <a:pt x="3171" y="201"/>
                </a:lnTo>
                <a:lnTo>
                  <a:pt x="3171" y="207"/>
                </a:lnTo>
                <a:lnTo>
                  <a:pt x="3171" y="226"/>
                </a:lnTo>
                <a:lnTo>
                  <a:pt x="3169" y="246"/>
                </a:lnTo>
                <a:lnTo>
                  <a:pt x="3165" y="262"/>
                </a:lnTo>
                <a:lnTo>
                  <a:pt x="3160" y="279"/>
                </a:lnTo>
                <a:lnTo>
                  <a:pt x="3154" y="296"/>
                </a:lnTo>
                <a:lnTo>
                  <a:pt x="3148" y="313"/>
                </a:lnTo>
                <a:lnTo>
                  <a:pt x="3141" y="328"/>
                </a:lnTo>
                <a:lnTo>
                  <a:pt x="3131" y="341"/>
                </a:lnTo>
                <a:lnTo>
                  <a:pt x="3122" y="353"/>
                </a:lnTo>
                <a:lnTo>
                  <a:pt x="3118" y="360"/>
                </a:lnTo>
                <a:lnTo>
                  <a:pt x="3112" y="364"/>
                </a:lnTo>
                <a:lnTo>
                  <a:pt x="3101" y="375"/>
                </a:lnTo>
                <a:lnTo>
                  <a:pt x="3088" y="383"/>
                </a:lnTo>
                <a:lnTo>
                  <a:pt x="3076" y="389"/>
                </a:lnTo>
                <a:lnTo>
                  <a:pt x="3063" y="394"/>
                </a:lnTo>
                <a:lnTo>
                  <a:pt x="3048" y="398"/>
                </a:lnTo>
                <a:lnTo>
                  <a:pt x="3033" y="398"/>
                </a:lnTo>
                <a:close/>
                <a:moveTo>
                  <a:pt x="3264" y="396"/>
                </a:moveTo>
                <a:lnTo>
                  <a:pt x="3260" y="394"/>
                </a:lnTo>
                <a:lnTo>
                  <a:pt x="3251" y="387"/>
                </a:lnTo>
                <a:lnTo>
                  <a:pt x="3234" y="373"/>
                </a:lnTo>
                <a:lnTo>
                  <a:pt x="3213" y="351"/>
                </a:lnTo>
                <a:lnTo>
                  <a:pt x="3196" y="332"/>
                </a:lnTo>
                <a:lnTo>
                  <a:pt x="3188" y="324"/>
                </a:lnTo>
                <a:lnTo>
                  <a:pt x="3184" y="317"/>
                </a:lnTo>
                <a:lnTo>
                  <a:pt x="3179" y="305"/>
                </a:lnTo>
                <a:lnTo>
                  <a:pt x="3177" y="298"/>
                </a:lnTo>
                <a:lnTo>
                  <a:pt x="3177" y="292"/>
                </a:lnTo>
                <a:lnTo>
                  <a:pt x="3177" y="286"/>
                </a:lnTo>
                <a:lnTo>
                  <a:pt x="3179" y="279"/>
                </a:lnTo>
                <a:lnTo>
                  <a:pt x="3184" y="271"/>
                </a:lnTo>
                <a:lnTo>
                  <a:pt x="3188" y="262"/>
                </a:lnTo>
                <a:lnTo>
                  <a:pt x="3201" y="248"/>
                </a:lnTo>
                <a:lnTo>
                  <a:pt x="3218" y="229"/>
                </a:lnTo>
                <a:lnTo>
                  <a:pt x="3260" y="180"/>
                </a:lnTo>
                <a:lnTo>
                  <a:pt x="3266" y="180"/>
                </a:lnTo>
                <a:lnTo>
                  <a:pt x="3273" y="182"/>
                </a:lnTo>
                <a:lnTo>
                  <a:pt x="3277" y="186"/>
                </a:lnTo>
                <a:lnTo>
                  <a:pt x="3281" y="193"/>
                </a:lnTo>
                <a:lnTo>
                  <a:pt x="3283" y="199"/>
                </a:lnTo>
                <a:lnTo>
                  <a:pt x="3281" y="205"/>
                </a:lnTo>
                <a:lnTo>
                  <a:pt x="3279" y="207"/>
                </a:lnTo>
                <a:lnTo>
                  <a:pt x="3277" y="212"/>
                </a:lnTo>
                <a:lnTo>
                  <a:pt x="3247" y="246"/>
                </a:lnTo>
                <a:lnTo>
                  <a:pt x="3230" y="267"/>
                </a:lnTo>
                <a:lnTo>
                  <a:pt x="3218" y="282"/>
                </a:lnTo>
                <a:lnTo>
                  <a:pt x="3213" y="286"/>
                </a:lnTo>
                <a:lnTo>
                  <a:pt x="3213" y="290"/>
                </a:lnTo>
                <a:lnTo>
                  <a:pt x="3215" y="296"/>
                </a:lnTo>
                <a:lnTo>
                  <a:pt x="3218" y="301"/>
                </a:lnTo>
                <a:lnTo>
                  <a:pt x="3228" y="313"/>
                </a:lnTo>
                <a:lnTo>
                  <a:pt x="3245" y="332"/>
                </a:lnTo>
                <a:lnTo>
                  <a:pt x="3264" y="351"/>
                </a:lnTo>
                <a:lnTo>
                  <a:pt x="3283" y="370"/>
                </a:lnTo>
                <a:lnTo>
                  <a:pt x="3285" y="373"/>
                </a:lnTo>
                <a:lnTo>
                  <a:pt x="3285" y="375"/>
                </a:lnTo>
                <a:lnTo>
                  <a:pt x="3285" y="379"/>
                </a:lnTo>
                <a:lnTo>
                  <a:pt x="3283" y="381"/>
                </a:lnTo>
                <a:lnTo>
                  <a:pt x="3279" y="387"/>
                </a:lnTo>
                <a:lnTo>
                  <a:pt x="3273" y="394"/>
                </a:lnTo>
                <a:lnTo>
                  <a:pt x="3268" y="396"/>
                </a:lnTo>
                <a:lnTo>
                  <a:pt x="3264" y="396"/>
                </a:lnTo>
                <a:close/>
                <a:moveTo>
                  <a:pt x="1198" y="398"/>
                </a:moveTo>
                <a:lnTo>
                  <a:pt x="1190" y="398"/>
                </a:lnTo>
                <a:lnTo>
                  <a:pt x="1181" y="396"/>
                </a:lnTo>
                <a:lnTo>
                  <a:pt x="1173" y="394"/>
                </a:lnTo>
                <a:lnTo>
                  <a:pt x="1164" y="392"/>
                </a:lnTo>
                <a:lnTo>
                  <a:pt x="1156" y="385"/>
                </a:lnTo>
                <a:lnTo>
                  <a:pt x="1147" y="381"/>
                </a:lnTo>
                <a:lnTo>
                  <a:pt x="1141" y="375"/>
                </a:lnTo>
                <a:lnTo>
                  <a:pt x="1135" y="368"/>
                </a:lnTo>
                <a:lnTo>
                  <a:pt x="1128" y="360"/>
                </a:lnTo>
                <a:lnTo>
                  <a:pt x="1124" y="351"/>
                </a:lnTo>
                <a:lnTo>
                  <a:pt x="1116" y="334"/>
                </a:lnTo>
                <a:lnTo>
                  <a:pt x="1111" y="324"/>
                </a:lnTo>
                <a:lnTo>
                  <a:pt x="1109" y="313"/>
                </a:lnTo>
                <a:lnTo>
                  <a:pt x="1109" y="303"/>
                </a:lnTo>
                <a:lnTo>
                  <a:pt x="1109" y="292"/>
                </a:lnTo>
                <a:lnTo>
                  <a:pt x="1109" y="282"/>
                </a:lnTo>
                <a:lnTo>
                  <a:pt x="1109" y="271"/>
                </a:lnTo>
                <a:lnTo>
                  <a:pt x="1113" y="260"/>
                </a:lnTo>
                <a:lnTo>
                  <a:pt x="1116" y="250"/>
                </a:lnTo>
                <a:lnTo>
                  <a:pt x="1120" y="239"/>
                </a:lnTo>
                <a:lnTo>
                  <a:pt x="1124" y="229"/>
                </a:lnTo>
                <a:lnTo>
                  <a:pt x="1130" y="220"/>
                </a:lnTo>
                <a:lnTo>
                  <a:pt x="1137" y="212"/>
                </a:lnTo>
                <a:lnTo>
                  <a:pt x="1143" y="203"/>
                </a:lnTo>
                <a:lnTo>
                  <a:pt x="1149" y="197"/>
                </a:lnTo>
                <a:lnTo>
                  <a:pt x="1158" y="190"/>
                </a:lnTo>
                <a:lnTo>
                  <a:pt x="1166" y="186"/>
                </a:lnTo>
                <a:lnTo>
                  <a:pt x="1175" y="182"/>
                </a:lnTo>
                <a:lnTo>
                  <a:pt x="1185" y="180"/>
                </a:lnTo>
                <a:lnTo>
                  <a:pt x="1194" y="178"/>
                </a:lnTo>
                <a:lnTo>
                  <a:pt x="1204" y="176"/>
                </a:lnTo>
                <a:lnTo>
                  <a:pt x="1217" y="178"/>
                </a:lnTo>
                <a:lnTo>
                  <a:pt x="1221" y="180"/>
                </a:lnTo>
                <a:lnTo>
                  <a:pt x="1228" y="180"/>
                </a:lnTo>
                <a:lnTo>
                  <a:pt x="1236" y="186"/>
                </a:lnTo>
                <a:lnTo>
                  <a:pt x="1245" y="193"/>
                </a:lnTo>
                <a:lnTo>
                  <a:pt x="1251" y="201"/>
                </a:lnTo>
                <a:lnTo>
                  <a:pt x="1255" y="212"/>
                </a:lnTo>
                <a:lnTo>
                  <a:pt x="1257" y="222"/>
                </a:lnTo>
                <a:lnTo>
                  <a:pt x="1257" y="233"/>
                </a:lnTo>
                <a:lnTo>
                  <a:pt x="1257" y="241"/>
                </a:lnTo>
                <a:lnTo>
                  <a:pt x="1257" y="248"/>
                </a:lnTo>
                <a:lnTo>
                  <a:pt x="1253" y="256"/>
                </a:lnTo>
                <a:lnTo>
                  <a:pt x="1251" y="262"/>
                </a:lnTo>
                <a:lnTo>
                  <a:pt x="1247" y="269"/>
                </a:lnTo>
                <a:lnTo>
                  <a:pt x="1243" y="275"/>
                </a:lnTo>
                <a:lnTo>
                  <a:pt x="1232" y="288"/>
                </a:lnTo>
                <a:lnTo>
                  <a:pt x="1226" y="292"/>
                </a:lnTo>
                <a:lnTo>
                  <a:pt x="1219" y="296"/>
                </a:lnTo>
                <a:lnTo>
                  <a:pt x="1207" y="305"/>
                </a:lnTo>
                <a:lnTo>
                  <a:pt x="1198" y="307"/>
                </a:lnTo>
                <a:lnTo>
                  <a:pt x="1192" y="309"/>
                </a:lnTo>
                <a:lnTo>
                  <a:pt x="1177" y="311"/>
                </a:lnTo>
                <a:lnTo>
                  <a:pt x="1171" y="309"/>
                </a:lnTo>
                <a:lnTo>
                  <a:pt x="1166" y="307"/>
                </a:lnTo>
                <a:lnTo>
                  <a:pt x="1164" y="305"/>
                </a:lnTo>
                <a:lnTo>
                  <a:pt x="1162" y="303"/>
                </a:lnTo>
                <a:lnTo>
                  <a:pt x="1162" y="301"/>
                </a:lnTo>
                <a:lnTo>
                  <a:pt x="1160" y="292"/>
                </a:lnTo>
                <a:lnTo>
                  <a:pt x="1160" y="286"/>
                </a:lnTo>
                <a:lnTo>
                  <a:pt x="1162" y="284"/>
                </a:lnTo>
                <a:lnTo>
                  <a:pt x="1164" y="282"/>
                </a:lnTo>
                <a:lnTo>
                  <a:pt x="1177" y="279"/>
                </a:lnTo>
                <a:lnTo>
                  <a:pt x="1190" y="275"/>
                </a:lnTo>
                <a:lnTo>
                  <a:pt x="1200" y="269"/>
                </a:lnTo>
                <a:lnTo>
                  <a:pt x="1209" y="262"/>
                </a:lnTo>
                <a:lnTo>
                  <a:pt x="1217" y="254"/>
                </a:lnTo>
                <a:lnTo>
                  <a:pt x="1219" y="250"/>
                </a:lnTo>
                <a:lnTo>
                  <a:pt x="1221" y="246"/>
                </a:lnTo>
                <a:lnTo>
                  <a:pt x="1226" y="237"/>
                </a:lnTo>
                <a:lnTo>
                  <a:pt x="1226" y="229"/>
                </a:lnTo>
                <a:lnTo>
                  <a:pt x="1226" y="224"/>
                </a:lnTo>
                <a:lnTo>
                  <a:pt x="1226" y="220"/>
                </a:lnTo>
                <a:lnTo>
                  <a:pt x="1224" y="216"/>
                </a:lnTo>
                <a:lnTo>
                  <a:pt x="1219" y="212"/>
                </a:lnTo>
                <a:lnTo>
                  <a:pt x="1217" y="210"/>
                </a:lnTo>
                <a:lnTo>
                  <a:pt x="1213" y="207"/>
                </a:lnTo>
                <a:lnTo>
                  <a:pt x="1202" y="207"/>
                </a:lnTo>
                <a:lnTo>
                  <a:pt x="1192" y="207"/>
                </a:lnTo>
                <a:lnTo>
                  <a:pt x="1185" y="210"/>
                </a:lnTo>
                <a:lnTo>
                  <a:pt x="1181" y="214"/>
                </a:lnTo>
                <a:lnTo>
                  <a:pt x="1175" y="216"/>
                </a:lnTo>
                <a:lnTo>
                  <a:pt x="1171" y="220"/>
                </a:lnTo>
                <a:lnTo>
                  <a:pt x="1162" y="231"/>
                </a:lnTo>
                <a:lnTo>
                  <a:pt x="1158" y="237"/>
                </a:lnTo>
                <a:lnTo>
                  <a:pt x="1154" y="243"/>
                </a:lnTo>
                <a:lnTo>
                  <a:pt x="1147" y="258"/>
                </a:lnTo>
                <a:lnTo>
                  <a:pt x="1143" y="275"/>
                </a:lnTo>
                <a:lnTo>
                  <a:pt x="1143" y="282"/>
                </a:lnTo>
                <a:lnTo>
                  <a:pt x="1141" y="292"/>
                </a:lnTo>
                <a:lnTo>
                  <a:pt x="1143" y="307"/>
                </a:lnTo>
                <a:lnTo>
                  <a:pt x="1145" y="313"/>
                </a:lnTo>
                <a:lnTo>
                  <a:pt x="1145" y="320"/>
                </a:lnTo>
                <a:lnTo>
                  <a:pt x="1152" y="332"/>
                </a:lnTo>
                <a:lnTo>
                  <a:pt x="1158" y="343"/>
                </a:lnTo>
                <a:lnTo>
                  <a:pt x="1166" y="351"/>
                </a:lnTo>
                <a:lnTo>
                  <a:pt x="1171" y="356"/>
                </a:lnTo>
                <a:lnTo>
                  <a:pt x="1177" y="358"/>
                </a:lnTo>
                <a:lnTo>
                  <a:pt x="1188" y="362"/>
                </a:lnTo>
                <a:lnTo>
                  <a:pt x="1194" y="362"/>
                </a:lnTo>
                <a:lnTo>
                  <a:pt x="1200" y="362"/>
                </a:lnTo>
                <a:lnTo>
                  <a:pt x="1213" y="362"/>
                </a:lnTo>
                <a:lnTo>
                  <a:pt x="1224" y="358"/>
                </a:lnTo>
                <a:lnTo>
                  <a:pt x="1230" y="356"/>
                </a:lnTo>
                <a:lnTo>
                  <a:pt x="1236" y="353"/>
                </a:lnTo>
                <a:lnTo>
                  <a:pt x="1245" y="345"/>
                </a:lnTo>
                <a:lnTo>
                  <a:pt x="1255" y="337"/>
                </a:lnTo>
                <a:lnTo>
                  <a:pt x="1264" y="326"/>
                </a:lnTo>
                <a:lnTo>
                  <a:pt x="1272" y="313"/>
                </a:lnTo>
                <a:lnTo>
                  <a:pt x="1279" y="301"/>
                </a:lnTo>
                <a:lnTo>
                  <a:pt x="1285" y="288"/>
                </a:lnTo>
                <a:lnTo>
                  <a:pt x="1289" y="273"/>
                </a:lnTo>
                <a:lnTo>
                  <a:pt x="1293" y="258"/>
                </a:lnTo>
                <a:lnTo>
                  <a:pt x="1298" y="243"/>
                </a:lnTo>
                <a:lnTo>
                  <a:pt x="1300" y="231"/>
                </a:lnTo>
                <a:lnTo>
                  <a:pt x="1302" y="216"/>
                </a:lnTo>
                <a:lnTo>
                  <a:pt x="1302" y="201"/>
                </a:lnTo>
                <a:lnTo>
                  <a:pt x="1302" y="188"/>
                </a:lnTo>
                <a:lnTo>
                  <a:pt x="1304" y="186"/>
                </a:lnTo>
                <a:lnTo>
                  <a:pt x="1306" y="184"/>
                </a:lnTo>
                <a:lnTo>
                  <a:pt x="1310" y="182"/>
                </a:lnTo>
                <a:lnTo>
                  <a:pt x="1315" y="182"/>
                </a:lnTo>
                <a:lnTo>
                  <a:pt x="1323" y="184"/>
                </a:lnTo>
                <a:lnTo>
                  <a:pt x="1327" y="184"/>
                </a:lnTo>
                <a:lnTo>
                  <a:pt x="1329" y="188"/>
                </a:lnTo>
                <a:lnTo>
                  <a:pt x="1334" y="195"/>
                </a:lnTo>
                <a:lnTo>
                  <a:pt x="1336" y="201"/>
                </a:lnTo>
                <a:lnTo>
                  <a:pt x="1336" y="207"/>
                </a:lnTo>
                <a:lnTo>
                  <a:pt x="1336" y="226"/>
                </a:lnTo>
                <a:lnTo>
                  <a:pt x="1334" y="246"/>
                </a:lnTo>
                <a:lnTo>
                  <a:pt x="1329" y="262"/>
                </a:lnTo>
                <a:lnTo>
                  <a:pt x="1325" y="279"/>
                </a:lnTo>
                <a:lnTo>
                  <a:pt x="1319" y="296"/>
                </a:lnTo>
                <a:lnTo>
                  <a:pt x="1312" y="313"/>
                </a:lnTo>
                <a:lnTo>
                  <a:pt x="1304" y="328"/>
                </a:lnTo>
                <a:lnTo>
                  <a:pt x="1295" y="341"/>
                </a:lnTo>
                <a:lnTo>
                  <a:pt x="1287" y="353"/>
                </a:lnTo>
                <a:lnTo>
                  <a:pt x="1283" y="360"/>
                </a:lnTo>
                <a:lnTo>
                  <a:pt x="1276" y="364"/>
                </a:lnTo>
                <a:lnTo>
                  <a:pt x="1266" y="375"/>
                </a:lnTo>
                <a:lnTo>
                  <a:pt x="1253" y="383"/>
                </a:lnTo>
                <a:lnTo>
                  <a:pt x="1240" y="389"/>
                </a:lnTo>
                <a:lnTo>
                  <a:pt x="1228" y="394"/>
                </a:lnTo>
                <a:lnTo>
                  <a:pt x="1213" y="398"/>
                </a:lnTo>
                <a:lnTo>
                  <a:pt x="1198" y="398"/>
                </a:lnTo>
                <a:close/>
                <a:moveTo>
                  <a:pt x="1429" y="396"/>
                </a:moveTo>
                <a:lnTo>
                  <a:pt x="1425" y="394"/>
                </a:lnTo>
                <a:lnTo>
                  <a:pt x="1416" y="387"/>
                </a:lnTo>
                <a:lnTo>
                  <a:pt x="1399" y="373"/>
                </a:lnTo>
                <a:lnTo>
                  <a:pt x="1378" y="351"/>
                </a:lnTo>
                <a:lnTo>
                  <a:pt x="1361" y="332"/>
                </a:lnTo>
                <a:lnTo>
                  <a:pt x="1353" y="324"/>
                </a:lnTo>
                <a:lnTo>
                  <a:pt x="1348" y="317"/>
                </a:lnTo>
                <a:lnTo>
                  <a:pt x="1344" y="305"/>
                </a:lnTo>
                <a:lnTo>
                  <a:pt x="1342" y="298"/>
                </a:lnTo>
                <a:lnTo>
                  <a:pt x="1342" y="292"/>
                </a:lnTo>
                <a:lnTo>
                  <a:pt x="1342" y="286"/>
                </a:lnTo>
                <a:lnTo>
                  <a:pt x="1344" y="279"/>
                </a:lnTo>
                <a:lnTo>
                  <a:pt x="1348" y="271"/>
                </a:lnTo>
                <a:lnTo>
                  <a:pt x="1353" y="262"/>
                </a:lnTo>
                <a:lnTo>
                  <a:pt x="1365" y="248"/>
                </a:lnTo>
                <a:lnTo>
                  <a:pt x="1382" y="229"/>
                </a:lnTo>
                <a:lnTo>
                  <a:pt x="1425" y="180"/>
                </a:lnTo>
                <a:lnTo>
                  <a:pt x="1431" y="180"/>
                </a:lnTo>
                <a:lnTo>
                  <a:pt x="1437" y="182"/>
                </a:lnTo>
                <a:lnTo>
                  <a:pt x="1442" y="186"/>
                </a:lnTo>
                <a:lnTo>
                  <a:pt x="1446" y="193"/>
                </a:lnTo>
                <a:lnTo>
                  <a:pt x="1448" y="199"/>
                </a:lnTo>
                <a:lnTo>
                  <a:pt x="1446" y="205"/>
                </a:lnTo>
                <a:lnTo>
                  <a:pt x="1444" y="207"/>
                </a:lnTo>
                <a:lnTo>
                  <a:pt x="1442" y="212"/>
                </a:lnTo>
                <a:lnTo>
                  <a:pt x="1412" y="246"/>
                </a:lnTo>
                <a:lnTo>
                  <a:pt x="1395" y="267"/>
                </a:lnTo>
                <a:lnTo>
                  <a:pt x="1382" y="282"/>
                </a:lnTo>
                <a:lnTo>
                  <a:pt x="1378" y="286"/>
                </a:lnTo>
                <a:lnTo>
                  <a:pt x="1378" y="290"/>
                </a:lnTo>
                <a:lnTo>
                  <a:pt x="1378" y="296"/>
                </a:lnTo>
                <a:lnTo>
                  <a:pt x="1382" y="301"/>
                </a:lnTo>
                <a:lnTo>
                  <a:pt x="1393" y="313"/>
                </a:lnTo>
                <a:lnTo>
                  <a:pt x="1410" y="332"/>
                </a:lnTo>
                <a:lnTo>
                  <a:pt x="1429" y="351"/>
                </a:lnTo>
                <a:lnTo>
                  <a:pt x="1448" y="370"/>
                </a:lnTo>
                <a:lnTo>
                  <a:pt x="1450" y="373"/>
                </a:lnTo>
                <a:lnTo>
                  <a:pt x="1450" y="375"/>
                </a:lnTo>
                <a:lnTo>
                  <a:pt x="1450" y="379"/>
                </a:lnTo>
                <a:lnTo>
                  <a:pt x="1448" y="381"/>
                </a:lnTo>
                <a:lnTo>
                  <a:pt x="1444" y="387"/>
                </a:lnTo>
                <a:lnTo>
                  <a:pt x="1437" y="394"/>
                </a:lnTo>
                <a:lnTo>
                  <a:pt x="1433" y="396"/>
                </a:lnTo>
                <a:lnTo>
                  <a:pt x="1429" y="396"/>
                </a:lnTo>
                <a:close/>
                <a:moveTo>
                  <a:pt x="3480" y="398"/>
                </a:moveTo>
                <a:lnTo>
                  <a:pt x="3469" y="398"/>
                </a:lnTo>
                <a:lnTo>
                  <a:pt x="3461" y="396"/>
                </a:lnTo>
                <a:lnTo>
                  <a:pt x="3452" y="394"/>
                </a:lnTo>
                <a:lnTo>
                  <a:pt x="3444" y="392"/>
                </a:lnTo>
                <a:lnTo>
                  <a:pt x="3436" y="385"/>
                </a:lnTo>
                <a:lnTo>
                  <a:pt x="3429" y="381"/>
                </a:lnTo>
                <a:lnTo>
                  <a:pt x="3423" y="375"/>
                </a:lnTo>
                <a:lnTo>
                  <a:pt x="3416" y="368"/>
                </a:lnTo>
                <a:lnTo>
                  <a:pt x="3410" y="360"/>
                </a:lnTo>
                <a:lnTo>
                  <a:pt x="3404" y="351"/>
                </a:lnTo>
                <a:lnTo>
                  <a:pt x="3395" y="334"/>
                </a:lnTo>
                <a:lnTo>
                  <a:pt x="3393" y="324"/>
                </a:lnTo>
                <a:lnTo>
                  <a:pt x="3391" y="313"/>
                </a:lnTo>
                <a:lnTo>
                  <a:pt x="3389" y="303"/>
                </a:lnTo>
                <a:lnTo>
                  <a:pt x="3389" y="292"/>
                </a:lnTo>
                <a:lnTo>
                  <a:pt x="3389" y="282"/>
                </a:lnTo>
                <a:lnTo>
                  <a:pt x="3391" y="271"/>
                </a:lnTo>
                <a:lnTo>
                  <a:pt x="3393" y="260"/>
                </a:lnTo>
                <a:lnTo>
                  <a:pt x="3397" y="250"/>
                </a:lnTo>
                <a:lnTo>
                  <a:pt x="3400" y="239"/>
                </a:lnTo>
                <a:lnTo>
                  <a:pt x="3406" y="229"/>
                </a:lnTo>
                <a:lnTo>
                  <a:pt x="3410" y="220"/>
                </a:lnTo>
                <a:lnTo>
                  <a:pt x="3416" y="212"/>
                </a:lnTo>
                <a:lnTo>
                  <a:pt x="3425" y="203"/>
                </a:lnTo>
                <a:lnTo>
                  <a:pt x="3431" y="197"/>
                </a:lnTo>
                <a:lnTo>
                  <a:pt x="3440" y="190"/>
                </a:lnTo>
                <a:lnTo>
                  <a:pt x="3448" y="186"/>
                </a:lnTo>
                <a:lnTo>
                  <a:pt x="3457" y="182"/>
                </a:lnTo>
                <a:lnTo>
                  <a:pt x="3465" y="180"/>
                </a:lnTo>
                <a:lnTo>
                  <a:pt x="3476" y="178"/>
                </a:lnTo>
                <a:lnTo>
                  <a:pt x="3486" y="176"/>
                </a:lnTo>
                <a:lnTo>
                  <a:pt x="3497" y="178"/>
                </a:lnTo>
                <a:lnTo>
                  <a:pt x="3503" y="180"/>
                </a:lnTo>
                <a:lnTo>
                  <a:pt x="3508" y="180"/>
                </a:lnTo>
                <a:lnTo>
                  <a:pt x="3518" y="186"/>
                </a:lnTo>
                <a:lnTo>
                  <a:pt x="3524" y="193"/>
                </a:lnTo>
                <a:lnTo>
                  <a:pt x="3531" y="201"/>
                </a:lnTo>
                <a:lnTo>
                  <a:pt x="3535" y="212"/>
                </a:lnTo>
                <a:lnTo>
                  <a:pt x="3539" y="222"/>
                </a:lnTo>
                <a:lnTo>
                  <a:pt x="3539" y="233"/>
                </a:lnTo>
                <a:lnTo>
                  <a:pt x="3539" y="241"/>
                </a:lnTo>
                <a:lnTo>
                  <a:pt x="3537" y="248"/>
                </a:lnTo>
                <a:lnTo>
                  <a:pt x="3535" y="256"/>
                </a:lnTo>
                <a:lnTo>
                  <a:pt x="3533" y="262"/>
                </a:lnTo>
                <a:lnTo>
                  <a:pt x="3529" y="269"/>
                </a:lnTo>
                <a:lnTo>
                  <a:pt x="3524" y="275"/>
                </a:lnTo>
                <a:lnTo>
                  <a:pt x="3514" y="288"/>
                </a:lnTo>
                <a:lnTo>
                  <a:pt x="3508" y="292"/>
                </a:lnTo>
                <a:lnTo>
                  <a:pt x="3501" y="296"/>
                </a:lnTo>
                <a:lnTo>
                  <a:pt x="3486" y="305"/>
                </a:lnTo>
                <a:lnTo>
                  <a:pt x="3480" y="307"/>
                </a:lnTo>
                <a:lnTo>
                  <a:pt x="3472" y="309"/>
                </a:lnTo>
                <a:lnTo>
                  <a:pt x="3457" y="311"/>
                </a:lnTo>
                <a:lnTo>
                  <a:pt x="3450" y="309"/>
                </a:lnTo>
                <a:lnTo>
                  <a:pt x="3448" y="307"/>
                </a:lnTo>
                <a:lnTo>
                  <a:pt x="3446" y="305"/>
                </a:lnTo>
                <a:lnTo>
                  <a:pt x="3444" y="303"/>
                </a:lnTo>
                <a:lnTo>
                  <a:pt x="3442" y="301"/>
                </a:lnTo>
                <a:lnTo>
                  <a:pt x="3442" y="292"/>
                </a:lnTo>
                <a:lnTo>
                  <a:pt x="3442" y="286"/>
                </a:lnTo>
                <a:lnTo>
                  <a:pt x="3444" y="284"/>
                </a:lnTo>
                <a:lnTo>
                  <a:pt x="3446" y="282"/>
                </a:lnTo>
                <a:lnTo>
                  <a:pt x="3459" y="279"/>
                </a:lnTo>
                <a:lnTo>
                  <a:pt x="3469" y="275"/>
                </a:lnTo>
                <a:lnTo>
                  <a:pt x="3480" y="269"/>
                </a:lnTo>
                <a:lnTo>
                  <a:pt x="3491" y="262"/>
                </a:lnTo>
                <a:lnTo>
                  <a:pt x="3497" y="254"/>
                </a:lnTo>
                <a:lnTo>
                  <a:pt x="3501" y="250"/>
                </a:lnTo>
                <a:lnTo>
                  <a:pt x="3503" y="246"/>
                </a:lnTo>
                <a:lnTo>
                  <a:pt x="3505" y="237"/>
                </a:lnTo>
                <a:lnTo>
                  <a:pt x="3508" y="229"/>
                </a:lnTo>
                <a:lnTo>
                  <a:pt x="3508" y="224"/>
                </a:lnTo>
                <a:lnTo>
                  <a:pt x="3505" y="220"/>
                </a:lnTo>
                <a:lnTo>
                  <a:pt x="3503" y="216"/>
                </a:lnTo>
                <a:lnTo>
                  <a:pt x="3501" y="212"/>
                </a:lnTo>
                <a:lnTo>
                  <a:pt x="3497" y="210"/>
                </a:lnTo>
                <a:lnTo>
                  <a:pt x="3493" y="207"/>
                </a:lnTo>
                <a:lnTo>
                  <a:pt x="3482" y="207"/>
                </a:lnTo>
                <a:lnTo>
                  <a:pt x="3472" y="207"/>
                </a:lnTo>
                <a:lnTo>
                  <a:pt x="3467" y="210"/>
                </a:lnTo>
                <a:lnTo>
                  <a:pt x="3461" y="214"/>
                </a:lnTo>
                <a:lnTo>
                  <a:pt x="3457" y="216"/>
                </a:lnTo>
                <a:lnTo>
                  <a:pt x="3452" y="220"/>
                </a:lnTo>
                <a:lnTo>
                  <a:pt x="3442" y="231"/>
                </a:lnTo>
                <a:lnTo>
                  <a:pt x="3438" y="237"/>
                </a:lnTo>
                <a:lnTo>
                  <a:pt x="3433" y="243"/>
                </a:lnTo>
                <a:lnTo>
                  <a:pt x="3429" y="258"/>
                </a:lnTo>
                <a:lnTo>
                  <a:pt x="3425" y="275"/>
                </a:lnTo>
                <a:lnTo>
                  <a:pt x="3423" y="282"/>
                </a:lnTo>
                <a:lnTo>
                  <a:pt x="3423" y="292"/>
                </a:lnTo>
                <a:lnTo>
                  <a:pt x="3423" y="307"/>
                </a:lnTo>
                <a:lnTo>
                  <a:pt x="3425" y="313"/>
                </a:lnTo>
                <a:lnTo>
                  <a:pt x="3427" y="320"/>
                </a:lnTo>
                <a:lnTo>
                  <a:pt x="3431" y="332"/>
                </a:lnTo>
                <a:lnTo>
                  <a:pt x="3438" y="343"/>
                </a:lnTo>
                <a:lnTo>
                  <a:pt x="3446" y="351"/>
                </a:lnTo>
                <a:lnTo>
                  <a:pt x="3452" y="356"/>
                </a:lnTo>
                <a:lnTo>
                  <a:pt x="3457" y="358"/>
                </a:lnTo>
                <a:lnTo>
                  <a:pt x="3467" y="362"/>
                </a:lnTo>
                <a:lnTo>
                  <a:pt x="3474" y="362"/>
                </a:lnTo>
                <a:lnTo>
                  <a:pt x="3480" y="362"/>
                </a:lnTo>
                <a:lnTo>
                  <a:pt x="3493" y="362"/>
                </a:lnTo>
                <a:lnTo>
                  <a:pt x="3505" y="358"/>
                </a:lnTo>
                <a:lnTo>
                  <a:pt x="3512" y="356"/>
                </a:lnTo>
                <a:lnTo>
                  <a:pt x="3516" y="353"/>
                </a:lnTo>
                <a:lnTo>
                  <a:pt x="3527" y="345"/>
                </a:lnTo>
                <a:lnTo>
                  <a:pt x="3535" y="337"/>
                </a:lnTo>
                <a:lnTo>
                  <a:pt x="3543" y="326"/>
                </a:lnTo>
                <a:lnTo>
                  <a:pt x="3552" y="313"/>
                </a:lnTo>
                <a:lnTo>
                  <a:pt x="3558" y="301"/>
                </a:lnTo>
                <a:lnTo>
                  <a:pt x="3565" y="288"/>
                </a:lnTo>
                <a:lnTo>
                  <a:pt x="3571" y="273"/>
                </a:lnTo>
                <a:lnTo>
                  <a:pt x="3575" y="258"/>
                </a:lnTo>
                <a:lnTo>
                  <a:pt x="3577" y="243"/>
                </a:lnTo>
                <a:lnTo>
                  <a:pt x="3582" y="231"/>
                </a:lnTo>
                <a:lnTo>
                  <a:pt x="3582" y="216"/>
                </a:lnTo>
                <a:lnTo>
                  <a:pt x="3584" y="201"/>
                </a:lnTo>
                <a:lnTo>
                  <a:pt x="3582" y="188"/>
                </a:lnTo>
                <a:lnTo>
                  <a:pt x="3584" y="186"/>
                </a:lnTo>
                <a:lnTo>
                  <a:pt x="3588" y="184"/>
                </a:lnTo>
                <a:lnTo>
                  <a:pt x="3592" y="182"/>
                </a:lnTo>
                <a:lnTo>
                  <a:pt x="3596" y="182"/>
                </a:lnTo>
                <a:lnTo>
                  <a:pt x="3601" y="182"/>
                </a:lnTo>
                <a:lnTo>
                  <a:pt x="3605" y="184"/>
                </a:lnTo>
                <a:lnTo>
                  <a:pt x="3609" y="186"/>
                </a:lnTo>
                <a:lnTo>
                  <a:pt x="3613" y="190"/>
                </a:lnTo>
                <a:lnTo>
                  <a:pt x="3613" y="250"/>
                </a:lnTo>
                <a:lnTo>
                  <a:pt x="3609" y="265"/>
                </a:lnTo>
                <a:lnTo>
                  <a:pt x="3605" y="279"/>
                </a:lnTo>
                <a:lnTo>
                  <a:pt x="3601" y="294"/>
                </a:lnTo>
                <a:lnTo>
                  <a:pt x="3596" y="307"/>
                </a:lnTo>
                <a:lnTo>
                  <a:pt x="3590" y="320"/>
                </a:lnTo>
                <a:lnTo>
                  <a:pt x="3582" y="332"/>
                </a:lnTo>
                <a:lnTo>
                  <a:pt x="3575" y="345"/>
                </a:lnTo>
                <a:lnTo>
                  <a:pt x="3567" y="356"/>
                </a:lnTo>
                <a:lnTo>
                  <a:pt x="3558" y="364"/>
                </a:lnTo>
                <a:lnTo>
                  <a:pt x="3548" y="373"/>
                </a:lnTo>
                <a:lnTo>
                  <a:pt x="3537" y="381"/>
                </a:lnTo>
                <a:lnTo>
                  <a:pt x="3527" y="387"/>
                </a:lnTo>
                <a:lnTo>
                  <a:pt x="3516" y="392"/>
                </a:lnTo>
                <a:lnTo>
                  <a:pt x="3505" y="396"/>
                </a:lnTo>
                <a:lnTo>
                  <a:pt x="3493" y="398"/>
                </a:lnTo>
                <a:lnTo>
                  <a:pt x="3480" y="398"/>
                </a:lnTo>
                <a:close/>
                <a:moveTo>
                  <a:pt x="1979" y="0"/>
                </a:moveTo>
                <a:lnTo>
                  <a:pt x="2019" y="0"/>
                </a:lnTo>
                <a:lnTo>
                  <a:pt x="2015" y="8"/>
                </a:lnTo>
                <a:lnTo>
                  <a:pt x="2015" y="11"/>
                </a:lnTo>
                <a:lnTo>
                  <a:pt x="2013" y="13"/>
                </a:lnTo>
                <a:lnTo>
                  <a:pt x="2015" y="17"/>
                </a:lnTo>
                <a:lnTo>
                  <a:pt x="2017" y="23"/>
                </a:lnTo>
                <a:lnTo>
                  <a:pt x="2028" y="36"/>
                </a:lnTo>
                <a:lnTo>
                  <a:pt x="2045" y="53"/>
                </a:lnTo>
                <a:lnTo>
                  <a:pt x="2064" y="72"/>
                </a:lnTo>
                <a:lnTo>
                  <a:pt x="2083" y="91"/>
                </a:lnTo>
                <a:lnTo>
                  <a:pt x="2085" y="93"/>
                </a:lnTo>
                <a:lnTo>
                  <a:pt x="2087" y="97"/>
                </a:lnTo>
                <a:lnTo>
                  <a:pt x="2085" y="99"/>
                </a:lnTo>
                <a:lnTo>
                  <a:pt x="2085" y="104"/>
                </a:lnTo>
                <a:lnTo>
                  <a:pt x="2079" y="110"/>
                </a:lnTo>
                <a:lnTo>
                  <a:pt x="2072" y="114"/>
                </a:lnTo>
                <a:lnTo>
                  <a:pt x="2068" y="116"/>
                </a:lnTo>
                <a:lnTo>
                  <a:pt x="2066" y="116"/>
                </a:lnTo>
                <a:lnTo>
                  <a:pt x="2060" y="114"/>
                </a:lnTo>
                <a:lnTo>
                  <a:pt x="2051" y="108"/>
                </a:lnTo>
                <a:lnTo>
                  <a:pt x="2034" y="93"/>
                </a:lnTo>
                <a:lnTo>
                  <a:pt x="2015" y="74"/>
                </a:lnTo>
                <a:lnTo>
                  <a:pt x="1996" y="53"/>
                </a:lnTo>
                <a:lnTo>
                  <a:pt x="1990" y="44"/>
                </a:lnTo>
                <a:lnTo>
                  <a:pt x="1986" y="38"/>
                </a:lnTo>
                <a:lnTo>
                  <a:pt x="1979" y="25"/>
                </a:lnTo>
                <a:lnTo>
                  <a:pt x="1977" y="21"/>
                </a:lnTo>
                <a:lnTo>
                  <a:pt x="1977" y="15"/>
                </a:lnTo>
                <a:lnTo>
                  <a:pt x="1979" y="8"/>
                </a:lnTo>
                <a:lnTo>
                  <a:pt x="1979" y="0"/>
                </a:lnTo>
                <a:close/>
                <a:moveTo>
                  <a:pt x="1875" y="0"/>
                </a:moveTo>
                <a:lnTo>
                  <a:pt x="1863" y="13"/>
                </a:lnTo>
                <a:lnTo>
                  <a:pt x="1856" y="19"/>
                </a:lnTo>
                <a:lnTo>
                  <a:pt x="1848" y="23"/>
                </a:lnTo>
                <a:lnTo>
                  <a:pt x="1839" y="28"/>
                </a:lnTo>
                <a:lnTo>
                  <a:pt x="1831" y="30"/>
                </a:lnTo>
                <a:lnTo>
                  <a:pt x="1820" y="32"/>
                </a:lnTo>
                <a:lnTo>
                  <a:pt x="1812" y="32"/>
                </a:lnTo>
                <a:lnTo>
                  <a:pt x="1806" y="32"/>
                </a:lnTo>
                <a:lnTo>
                  <a:pt x="1804" y="30"/>
                </a:lnTo>
                <a:lnTo>
                  <a:pt x="1801" y="28"/>
                </a:lnTo>
                <a:lnTo>
                  <a:pt x="1799" y="25"/>
                </a:lnTo>
                <a:lnTo>
                  <a:pt x="1797" y="21"/>
                </a:lnTo>
                <a:lnTo>
                  <a:pt x="1797" y="15"/>
                </a:lnTo>
                <a:lnTo>
                  <a:pt x="1797" y="6"/>
                </a:lnTo>
                <a:lnTo>
                  <a:pt x="1799" y="4"/>
                </a:lnTo>
                <a:lnTo>
                  <a:pt x="1801" y="4"/>
                </a:lnTo>
                <a:lnTo>
                  <a:pt x="1814" y="0"/>
                </a:lnTo>
                <a:lnTo>
                  <a:pt x="1875" y="0"/>
                </a:lnTo>
                <a:close/>
                <a:moveTo>
                  <a:pt x="1835" y="121"/>
                </a:moveTo>
                <a:lnTo>
                  <a:pt x="1825" y="121"/>
                </a:lnTo>
                <a:lnTo>
                  <a:pt x="1816" y="119"/>
                </a:lnTo>
                <a:lnTo>
                  <a:pt x="1808" y="116"/>
                </a:lnTo>
                <a:lnTo>
                  <a:pt x="1799" y="112"/>
                </a:lnTo>
                <a:lnTo>
                  <a:pt x="1791" y="108"/>
                </a:lnTo>
                <a:lnTo>
                  <a:pt x="1784" y="102"/>
                </a:lnTo>
                <a:lnTo>
                  <a:pt x="1778" y="97"/>
                </a:lnTo>
                <a:lnTo>
                  <a:pt x="1772" y="89"/>
                </a:lnTo>
                <a:lnTo>
                  <a:pt x="1765" y="83"/>
                </a:lnTo>
                <a:lnTo>
                  <a:pt x="1759" y="74"/>
                </a:lnTo>
                <a:lnTo>
                  <a:pt x="1751" y="55"/>
                </a:lnTo>
                <a:lnTo>
                  <a:pt x="1748" y="47"/>
                </a:lnTo>
                <a:lnTo>
                  <a:pt x="1746" y="36"/>
                </a:lnTo>
                <a:lnTo>
                  <a:pt x="1744" y="25"/>
                </a:lnTo>
                <a:lnTo>
                  <a:pt x="1744" y="15"/>
                </a:lnTo>
                <a:lnTo>
                  <a:pt x="1744" y="0"/>
                </a:lnTo>
                <a:lnTo>
                  <a:pt x="1778" y="0"/>
                </a:lnTo>
                <a:lnTo>
                  <a:pt x="1778" y="13"/>
                </a:lnTo>
                <a:lnTo>
                  <a:pt x="1778" y="28"/>
                </a:lnTo>
                <a:lnTo>
                  <a:pt x="1780" y="34"/>
                </a:lnTo>
                <a:lnTo>
                  <a:pt x="1782" y="42"/>
                </a:lnTo>
                <a:lnTo>
                  <a:pt x="1787" y="53"/>
                </a:lnTo>
                <a:lnTo>
                  <a:pt x="1793" y="63"/>
                </a:lnTo>
                <a:lnTo>
                  <a:pt x="1801" y="72"/>
                </a:lnTo>
                <a:lnTo>
                  <a:pt x="1808" y="76"/>
                </a:lnTo>
                <a:lnTo>
                  <a:pt x="1812" y="78"/>
                </a:lnTo>
                <a:lnTo>
                  <a:pt x="1823" y="83"/>
                </a:lnTo>
                <a:lnTo>
                  <a:pt x="1829" y="85"/>
                </a:lnTo>
                <a:lnTo>
                  <a:pt x="1835" y="85"/>
                </a:lnTo>
                <a:lnTo>
                  <a:pt x="1850" y="83"/>
                </a:lnTo>
                <a:lnTo>
                  <a:pt x="1859" y="80"/>
                </a:lnTo>
                <a:lnTo>
                  <a:pt x="1865" y="78"/>
                </a:lnTo>
                <a:lnTo>
                  <a:pt x="1878" y="70"/>
                </a:lnTo>
                <a:lnTo>
                  <a:pt x="1884" y="66"/>
                </a:lnTo>
                <a:lnTo>
                  <a:pt x="1888" y="59"/>
                </a:lnTo>
                <a:lnTo>
                  <a:pt x="1895" y="53"/>
                </a:lnTo>
                <a:lnTo>
                  <a:pt x="1899" y="47"/>
                </a:lnTo>
                <a:lnTo>
                  <a:pt x="1909" y="32"/>
                </a:lnTo>
                <a:lnTo>
                  <a:pt x="1918" y="17"/>
                </a:lnTo>
                <a:lnTo>
                  <a:pt x="1924" y="0"/>
                </a:lnTo>
                <a:lnTo>
                  <a:pt x="1960" y="0"/>
                </a:lnTo>
                <a:lnTo>
                  <a:pt x="1952" y="25"/>
                </a:lnTo>
                <a:lnTo>
                  <a:pt x="1947" y="38"/>
                </a:lnTo>
                <a:lnTo>
                  <a:pt x="1941" y="49"/>
                </a:lnTo>
                <a:lnTo>
                  <a:pt x="1928" y="68"/>
                </a:lnTo>
                <a:lnTo>
                  <a:pt x="1920" y="78"/>
                </a:lnTo>
                <a:lnTo>
                  <a:pt x="1914" y="87"/>
                </a:lnTo>
                <a:lnTo>
                  <a:pt x="1905" y="93"/>
                </a:lnTo>
                <a:lnTo>
                  <a:pt x="1897" y="99"/>
                </a:lnTo>
                <a:lnTo>
                  <a:pt x="1886" y="106"/>
                </a:lnTo>
                <a:lnTo>
                  <a:pt x="1878" y="112"/>
                </a:lnTo>
                <a:lnTo>
                  <a:pt x="1867" y="114"/>
                </a:lnTo>
                <a:lnTo>
                  <a:pt x="1856" y="119"/>
                </a:lnTo>
                <a:lnTo>
                  <a:pt x="1846" y="121"/>
                </a:lnTo>
                <a:lnTo>
                  <a:pt x="1835" y="121"/>
                </a:lnTo>
                <a:close/>
                <a:moveTo>
                  <a:pt x="620" y="0"/>
                </a:moveTo>
                <a:lnTo>
                  <a:pt x="660" y="0"/>
                </a:lnTo>
                <a:lnTo>
                  <a:pt x="656" y="8"/>
                </a:lnTo>
                <a:lnTo>
                  <a:pt x="654" y="11"/>
                </a:lnTo>
                <a:lnTo>
                  <a:pt x="654" y="13"/>
                </a:lnTo>
                <a:lnTo>
                  <a:pt x="656" y="17"/>
                </a:lnTo>
                <a:lnTo>
                  <a:pt x="658" y="23"/>
                </a:lnTo>
                <a:lnTo>
                  <a:pt x="669" y="36"/>
                </a:lnTo>
                <a:lnTo>
                  <a:pt x="686" y="53"/>
                </a:lnTo>
                <a:lnTo>
                  <a:pt x="705" y="72"/>
                </a:lnTo>
                <a:lnTo>
                  <a:pt x="724" y="91"/>
                </a:lnTo>
                <a:lnTo>
                  <a:pt x="726" y="93"/>
                </a:lnTo>
                <a:lnTo>
                  <a:pt x="726" y="97"/>
                </a:lnTo>
                <a:lnTo>
                  <a:pt x="726" y="99"/>
                </a:lnTo>
                <a:lnTo>
                  <a:pt x="724" y="104"/>
                </a:lnTo>
                <a:lnTo>
                  <a:pt x="720" y="110"/>
                </a:lnTo>
                <a:lnTo>
                  <a:pt x="713" y="114"/>
                </a:lnTo>
                <a:lnTo>
                  <a:pt x="709" y="116"/>
                </a:lnTo>
                <a:lnTo>
                  <a:pt x="707" y="116"/>
                </a:lnTo>
                <a:lnTo>
                  <a:pt x="701" y="114"/>
                </a:lnTo>
                <a:lnTo>
                  <a:pt x="692" y="108"/>
                </a:lnTo>
                <a:lnTo>
                  <a:pt x="675" y="93"/>
                </a:lnTo>
                <a:lnTo>
                  <a:pt x="656" y="74"/>
                </a:lnTo>
                <a:lnTo>
                  <a:pt x="637" y="53"/>
                </a:lnTo>
                <a:lnTo>
                  <a:pt x="631" y="44"/>
                </a:lnTo>
                <a:lnTo>
                  <a:pt x="624" y="38"/>
                </a:lnTo>
                <a:lnTo>
                  <a:pt x="620" y="25"/>
                </a:lnTo>
                <a:lnTo>
                  <a:pt x="618" y="21"/>
                </a:lnTo>
                <a:lnTo>
                  <a:pt x="618" y="15"/>
                </a:lnTo>
                <a:lnTo>
                  <a:pt x="618" y="8"/>
                </a:lnTo>
                <a:lnTo>
                  <a:pt x="620" y="0"/>
                </a:lnTo>
                <a:close/>
                <a:moveTo>
                  <a:pt x="516" y="0"/>
                </a:moveTo>
                <a:lnTo>
                  <a:pt x="504" y="13"/>
                </a:lnTo>
                <a:lnTo>
                  <a:pt x="495" y="19"/>
                </a:lnTo>
                <a:lnTo>
                  <a:pt x="487" y="23"/>
                </a:lnTo>
                <a:lnTo>
                  <a:pt x="478" y="28"/>
                </a:lnTo>
                <a:lnTo>
                  <a:pt x="470" y="30"/>
                </a:lnTo>
                <a:lnTo>
                  <a:pt x="461" y="32"/>
                </a:lnTo>
                <a:lnTo>
                  <a:pt x="453" y="32"/>
                </a:lnTo>
                <a:lnTo>
                  <a:pt x="447" y="32"/>
                </a:lnTo>
                <a:lnTo>
                  <a:pt x="445" y="30"/>
                </a:lnTo>
                <a:lnTo>
                  <a:pt x="440" y="28"/>
                </a:lnTo>
                <a:lnTo>
                  <a:pt x="440" y="25"/>
                </a:lnTo>
                <a:lnTo>
                  <a:pt x="438" y="21"/>
                </a:lnTo>
                <a:lnTo>
                  <a:pt x="436" y="15"/>
                </a:lnTo>
                <a:lnTo>
                  <a:pt x="438" y="6"/>
                </a:lnTo>
                <a:lnTo>
                  <a:pt x="438" y="4"/>
                </a:lnTo>
                <a:lnTo>
                  <a:pt x="440" y="4"/>
                </a:lnTo>
                <a:lnTo>
                  <a:pt x="453" y="0"/>
                </a:lnTo>
                <a:lnTo>
                  <a:pt x="516" y="0"/>
                </a:lnTo>
                <a:close/>
                <a:moveTo>
                  <a:pt x="476" y="121"/>
                </a:moveTo>
                <a:lnTo>
                  <a:pt x="466" y="121"/>
                </a:lnTo>
                <a:lnTo>
                  <a:pt x="457" y="119"/>
                </a:lnTo>
                <a:lnTo>
                  <a:pt x="449" y="116"/>
                </a:lnTo>
                <a:lnTo>
                  <a:pt x="440" y="112"/>
                </a:lnTo>
                <a:lnTo>
                  <a:pt x="432" y="108"/>
                </a:lnTo>
                <a:lnTo>
                  <a:pt x="425" y="102"/>
                </a:lnTo>
                <a:lnTo>
                  <a:pt x="417" y="97"/>
                </a:lnTo>
                <a:lnTo>
                  <a:pt x="411" y="89"/>
                </a:lnTo>
                <a:lnTo>
                  <a:pt x="406" y="83"/>
                </a:lnTo>
                <a:lnTo>
                  <a:pt x="400" y="74"/>
                </a:lnTo>
                <a:lnTo>
                  <a:pt x="392" y="55"/>
                </a:lnTo>
                <a:lnTo>
                  <a:pt x="389" y="47"/>
                </a:lnTo>
                <a:lnTo>
                  <a:pt x="387" y="36"/>
                </a:lnTo>
                <a:lnTo>
                  <a:pt x="385" y="25"/>
                </a:lnTo>
                <a:lnTo>
                  <a:pt x="385" y="15"/>
                </a:lnTo>
                <a:lnTo>
                  <a:pt x="385" y="0"/>
                </a:lnTo>
                <a:lnTo>
                  <a:pt x="419" y="0"/>
                </a:lnTo>
                <a:lnTo>
                  <a:pt x="419" y="13"/>
                </a:lnTo>
                <a:lnTo>
                  <a:pt x="419" y="28"/>
                </a:lnTo>
                <a:lnTo>
                  <a:pt x="421" y="34"/>
                </a:lnTo>
                <a:lnTo>
                  <a:pt x="423" y="42"/>
                </a:lnTo>
                <a:lnTo>
                  <a:pt x="428" y="53"/>
                </a:lnTo>
                <a:lnTo>
                  <a:pt x="434" y="63"/>
                </a:lnTo>
                <a:lnTo>
                  <a:pt x="442" y="72"/>
                </a:lnTo>
                <a:lnTo>
                  <a:pt x="447" y="76"/>
                </a:lnTo>
                <a:lnTo>
                  <a:pt x="453" y="78"/>
                </a:lnTo>
                <a:lnTo>
                  <a:pt x="464" y="83"/>
                </a:lnTo>
                <a:lnTo>
                  <a:pt x="470" y="85"/>
                </a:lnTo>
                <a:lnTo>
                  <a:pt x="476" y="85"/>
                </a:lnTo>
                <a:lnTo>
                  <a:pt x="491" y="83"/>
                </a:lnTo>
                <a:lnTo>
                  <a:pt x="500" y="80"/>
                </a:lnTo>
                <a:lnTo>
                  <a:pt x="506" y="78"/>
                </a:lnTo>
                <a:lnTo>
                  <a:pt x="519" y="70"/>
                </a:lnTo>
                <a:lnTo>
                  <a:pt x="525" y="66"/>
                </a:lnTo>
                <a:lnTo>
                  <a:pt x="529" y="59"/>
                </a:lnTo>
                <a:lnTo>
                  <a:pt x="536" y="53"/>
                </a:lnTo>
                <a:lnTo>
                  <a:pt x="540" y="47"/>
                </a:lnTo>
                <a:lnTo>
                  <a:pt x="550" y="32"/>
                </a:lnTo>
                <a:lnTo>
                  <a:pt x="557" y="17"/>
                </a:lnTo>
                <a:lnTo>
                  <a:pt x="565" y="0"/>
                </a:lnTo>
                <a:lnTo>
                  <a:pt x="601" y="0"/>
                </a:lnTo>
                <a:lnTo>
                  <a:pt x="593" y="25"/>
                </a:lnTo>
                <a:lnTo>
                  <a:pt x="588" y="38"/>
                </a:lnTo>
                <a:lnTo>
                  <a:pt x="582" y="49"/>
                </a:lnTo>
                <a:lnTo>
                  <a:pt x="569" y="68"/>
                </a:lnTo>
                <a:lnTo>
                  <a:pt x="561" y="78"/>
                </a:lnTo>
                <a:lnTo>
                  <a:pt x="552" y="87"/>
                </a:lnTo>
                <a:lnTo>
                  <a:pt x="546" y="93"/>
                </a:lnTo>
                <a:lnTo>
                  <a:pt x="536" y="99"/>
                </a:lnTo>
                <a:lnTo>
                  <a:pt x="527" y="106"/>
                </a:lnTo>
                <a:lnTo>
                  <a:pt x="516" y="112"/>
                </a:lnTo>
                <a:lnTo>
                  <a:pt x="508" y="114"/>
                </a:lnTo>
                <a:lnTo>
                  <a:pt x="497" y="119"/>
                </a:lnTo>
                <a:lnTo>
                  <a:pt x="487" y="121"/>
                </a:lnTo>
                <a:lnTo>
                  <a:pt x="476" y="121"/>
                </a:lnTo>
                <a:close/>
                <a:moveTo>
                  <a:pt x="2902" y="0"/>
                </a:moveTo>
                <a:lnTo>
                  <a:pt x="2940" y="0"/>
                </a:lnTo>
                <a:lnTo>
                  <a:pt x="2936" y="8"/>
                </a:lnTo>
                <a:lnTo>
                  <a:pt x="2936" y="11"/>
                </a:lnTo>
                <a:lnTo>
                  <a:pt x="2936" y="13"/>
                </a:lnTo>
                <a:lnTo>
                  <a:pt x="2936" y="17"/>
                </a:lnTo>
                <a:lnTo>
                  <a:pt x="2940" y="23"/>
                </a:lnTo>
                <a:lnTo>
                  <a:pt x="2951" y="36"/>
                </a:lnTo>
                <a:lnTo>
                  <a:pt x="2968" y="53"/>
                </a:lnTo>
                <a:lnTo>
                  <a:pt x="2987" y="72"/>
                </a:lnTo>
                <a:lnTo>
                  <a:pt x="3006" y="91"/>
                </a:lnTo>
                <a:lnTo>
                  <a:pt x="3008" y="93"/>
                </a:lnTo>
                <a:lnTo>
                  <a:pt x="3008" y="97"/>
                </a:lnTo>
                <a:lnTo>
                  <a:pt x="3008" y="99"/>
                </a:lnTo>
                <a:lnTo>
                  <a:pt x="3006" y="104"/>
                </a:lnTo>
                <a:lnTo>
                  <a:pt x="3002" y="110"/>
                </a:lnTo>
                <a:lnTo>
                  <a:pt x="2993" y="114"/>
                </a:lnTo>
                <a:lnTo>
                  <a:pt x="2991" y="116"/>
                </a:lnTo>
                <a:lnTo>
                  <a:pt x="2987" y="116"/>
                </a:lnTo>
                <a:lnTo>
                  <a:pt x="2980" y="114"/>
                </a:lnTo>
                <a:lnTo>
                  <a:pt x="2972" y="108"/>
                </a:lnTo>
                <a:lnTo>
                  <a:pt x="2957" y="93"/>
                </a:lnTo>
                <a:lnTo>
                  <a:pt x="2936" y="74"/>
                </a:lnTo>
                <a:lnTo>
                  <a:pt x="2919" y="53"/>
                </a:lnTo>
                <a:lnTo>
                  <a:pt x="2911" y="44"/>
                </a:lnTo>
                <a:lnTo>
                  <a:pt x="2906" y="38"/>
                </a:lnTo>
                <a:lnTo>
                  <a:pt x="2900" y="25"/>
                </a:lnTo>
                <a:lnTo>
                  <a:pt x="2900" y="21"/>
                </a:lnTo>
                <a:lnTo>
                  <a:pt x="2900" y="15"/>
                </a:lnTo>
                <a:lnTo>
                  <a:pt x="2900" y="8"/>
                </a:lnTo>
                <a:lnTo>
                  <a:pt x="2902" y="0"/>
                </a:lnTo>
                <a:close/>
                <a:moveTo>
                  <a:pt x="2798" y="0"/>
                </a:moveTo>
                <a:lnTo>
                  <a:pt x="2784" y="13"/>
                </a:lnTo>
                <a:lnTo>
                  <a:pt x="2777" y="19"/>
                </a:lnTo>
                <a:lnTo>
                  <a:pt x="2769" y="23"/>
                </a:lnTo>
                <a:lnTo>
                  <a:pt x="2760" y="28"/>
                </a:lnTo>
                <a:lnTo>
                  <a:pt x="2752" y="30"/>
                </a:lnTo>
                <a:lnTo>
                  <a:pt x="2743" y="32"/>
                </a:lnTo>
                <a:lnTo>
                  <a:pt x="2733" y="32"/>
                </a:lnTo>
                <a:lnTo>
                  <a:pt x="2726" y="32"/>
                </a:lnTo>
                <a:lnTo>
                  <a:pt x="2724" y="30"/>
                </a:lnTo>
                <a:lnTo>
                  <a:pt x="2722" y="28"/>
                </a:lnTo>
                <a:lnTo>
                  <a:pt x="2720" y="25"/>
                </a:lnTo>
                <a:lnTo>
                  <a:pt x="2718" y="21"/>
                </a:lnTo>
                <a:lnTo>
                  <a:pt x="2718" y="15"/>
                </a:lnTo>
                <a:lnTo>
                  <a:pt x="2718" y="6"/>
                </a:lnTo>
                <a:lnTo>
                  <a:pt x="2720" y="4"/>
                </a:lnTo>
                <a:lnTo>
                  <a:pt x="2722" y="4"/>
                </a:lnTo>
                <a:lnTo>
                  <a:pt x="2735" y="0"/>
                </a:lnTo>
                <a:lnTo>
                  <a:pt x="2798" y="0"/>
                </a:lnTo>
                <a:close/>
                <a:moveTo>
                  <a:pt x="2756" y="121"/>
                </a:moveTo>
                <a:lnTo>
                  <a:pt x="2748" y="121"/>
                </a:lnTo>
                <a:lnTo>
                  <a:pt x="2739" y="119"/>
                </a:lnTo>
                <a:lnTo>
                  <a:pt x="2729" y="116"/>
                </a:lnTo>
                <a:lnTo>
                  <a:pt x="2720" y="112"/>
                </a:lnTo>
                <a:lnTo>
                  <a:pt x="2714" y="108"/>
                </a:lnTo>
                <a:lnTo>
                  <a:pt x="2705" y="102"/>
                </a:lnTo>
                <a:lnTo>
                  <a:pt x="2699" y="97"/>
                </a:lnTo>
                <a:lnTo>
                  <a:pt x="2693" y="89"/>
                </a:lnTo>
                <a:lnTo>
                  <a:pt x="2686" y="83"/>
                </a:lnTo>
                <a:lnTo>
                  <a:pt x="2682" y="74"/>
                </a:lnTo>
                <a:lnTo>
                  <a:pt x="2673" y="55"/>
                </a:lnTo>
                <a:lnTo>
                  <a:pt x="2669" y="47"/>
                </a:lnTo>
                <a:lnTo>
                  <a:pt x="2667" y="36"/>
                </a:lnTo>
                <a:lnTo>
                  <a:pt x="2667" y="25"/>
                </a:lnTo>
                <a:lnTo>
                  <a:pt x="2665" y="15"/>
                </a:lnTo>
                <a:lnTo>
                  <a:pt x="2667" y="0"/>
                </a:lnTo>
                <a:lnTo>
                  <a:pt x="2701" y="0"/>
                </a:lnTo>
                <a:lnTo>
                  <a:pt x="2699" y="13"/>
                </a:lnTo>
                <a:lnTo>
                  <a:pt x="2701" y="28"/>
                </a:lnTo>
                <a:lnTo>
                  <a:pt x="2701" y="34"/>
                </a:lnTo>
                <a:lnTo>
                  <a:pt x="2703" y="42"/>
                </a:lnTo>
                <a:lnTo>
                  <a:pt x="2709" y="53"/>
                </a:lnTo>
                <a:lnTo>
                  <a:pt x="2716" y="63"/>
                </a:lnTo>
                <a:lnTo>
                  <a:pt x="2724" y="72"/>
                </a:lnTo>
                <a:lnTo>
                  <a:pt x="2729" y="76"/>
                </a:lnTo>
                <a:lnTo>
                  <a:pt x="2733" y="78"/>
                </a:lnTo>
                <a:lnTo>
                  <a:pt x="2745" y="83"/>
                </a:lnTo>
                <a:lnTo>
                  <a:pt x="2752" y="85"/>
                </a:lnTo>
                <a:lnTo>
                  <a:pt x="2758" y="85"/>
                </a:lnTo>
                <a:lnTo>
                  <a:pt x="2773" y="83"/>
                </a:lnTo>
                <a:lnTo>
                  <a:pt x="2779" y="80"/>
                </a:lnTo>
                <a:lnTo>
                  <a:pt x="2786" y="78"/>
                </a:lnTo>
                <a:lnTo>
                  <a:pt x="2798" y="70"/>
                </a:lnTo>
                <a:lnTo>
                  <a:pt x="2805" y="66"/>
                </a:lnTo>
                <a:lnTo>
                  <a:pt x="2811" y="59"/>
                </a:lnTo>
                <a:lnTo>
                  <a:pt x="2815" y="53"/>
                </a:lnTo>
                <a:lnTo>
                  <a:pt x="2822" y="47"/>
                </a:lnTo>
                <a:lnTo>
                  <a:pt x="2830" y="32"/>
                </a:lnTo>
                <a:lnTo>
                  <a:pt x="2839" y="17"/>
                </a:lnTo>
                <a:lnTo>
                  <a:pt x="2845" y="0"/>
                </a:lnTo>
                <a:lnTo>
                  <a:pt x="2883" y="0"/>
                </a:lnTo>
                <a:lnTo>
                  <a:pt x="2875" y="25"/>
                </a:lnTo>
                <a:lnTo>
                  <a:pt x="2868" y="38"/>
                </a:lnTo>
                <a:lnTo>
                  <a:pt x="2862" y="49"/>
                </a:lnTo>
                <a:lnTo>
                  <a:pt x="2849" y="68"/>
                </a:lnTo>
                <a:lnTo>
                  <a:pt x="2843" y="78"/>
                </a:lnTo>
                <a:lnTo>
                  <a:pt x="2834" y="87"/>
                </a:lnTo>
                <a:lnTo>
                  <a:pt x="2826" y="93"/>
                </a:lnTo>
                <a:lnTo>
                  <a:pt x="2817" y="99"/>
                </a:lnTo>
                <a:lnTo>
                  <a:pt x="2809" y="106"/>
                </a:lnTo>
                <a:lnTo>
                  <a:pt x="2798" y="112"/>
                </a:lnTo>
                <a:lnTo>
                  <a:pt x="2788" y="114"/>
                </a:lnTo>
                <a:lnTo>
                  <a:pt x="2777" y="119"/>
                </a:lnTo>
                <a:lnTo>
                  <a:pt x="2767" y="121"/>
                </a:lnTo>
                <a:lnTo>
                  <a:pt x="2756" y="121"/>
                </a:lnTo>
                <a:close/>
                <a:moveTo>
                  <a:pt x="159" y="0"/>
                </a:moveTo>
                <a:lnTo>
                  <a:pt x="197" y="0"/>
                </a:lnTo>
                <a:lnTo>
                  <a:pt x="193" y="8"/>
                </a:lnTo>
                <a:lnTo>
                  <a:pt x="193" y="11"/>
                </a:lnTo>
                <a:lnTo>
                  <a:pt x="193" y="13"/>
                </a:lnTo>
                <a:lnTo>
                  <a:pt x="193" y="17"/>
                </a:lnTo>
                <a:lnTo>
                  <a:pt x="197" y="23"/>
                </a:lnTo>
                <a:lnTo>
                  <a:pt x="207" y="36"/>
                </a:lnTo>
                <a:lnTo>
                  <a:pt x="222" y="53"/>
                </a:lnTo>
                <a:lnTo>
                  <a:pt x="243" y="72"/>
                </a:lnTo>
                <a:lnTo>
                  <a:pt x="260" y="91"/>
                </a:lnTo>
                <a:lnTo>
                  <a:pt x="262" y="93"/>
                </a:lnTo>
                <a:lnTo>
                  <a:pt x="265" y="97"/>
                </a:lnTo>
                <a:lnTo>
                  <a:pt x="262" y="99"/>
                </a:lnTo>
                <a:lnTo>
                  <a:pt x="262" y="104"/>
                </a:lnTo>
                <a:lnTo>
                  <a:pt x="256" y="110"/>
                </a:lnTo>
                <a:lnTo>
                  <a:pt x="250" y="114"/>
                </a:lnTo>
                <a:lnTo>
                  <a:pt x="248" y="116"/>
                </a:lnTo>
                <a:lnTo>
                  <a:pt x="243" y="116"/>
                </a:lnTo>
                <a:lnTo>
                  <a:pt x="237" y="114"/>
                </a:lnTo>
                <a:lnTo>
                  <a:pt x="229" y="108"/>
                </a:lnTo>
                <a:lnTo>
                  <a:pt x="212" y="93"/>
                </a:lnTo>
                <a:lnTo>
                  <a:pt x="193" y="74"/>
                </a:lnTo>
                <a:lnTo>
                  <a:pt x="174" y="53"/>
                </a:lnTo>
                <a:lnTo>
                  <a:pt x="167" y="44"/>
                </a:lnTo>
                <a:lnTo>
                  <a:pt x="163" y="38"/>
                </a:lnTo>
                <a:lnTo>
                  <a:pt x="157" y="25"/>
                </a:lnTo>
                <a:lnTo>
                  <a:pt x="157" y="21"/>
                </a:lnTo>
                <a:lnTo>
                  <a:pt x="155" y="15"/>
                </a:lnTo>
                <a:lnTo>
                  <a:pt x="157" y="8"/>
                </a:lnTo>
                <a:lnTo>
                  <a:pt x="159" y="0"/>
                </a:lnTo>
                <a:close/>
                <a:moveTo>
                  <a:pt x="13" y="85"/>
                </a:moveTo>
                <a:lnTo>
                  <a:pt x="28" y="83"/>
                </a:lnTo>
                <a:lnTo>
                  <a:pt x="42" y="78"/>
                </a:lnTo>
                <a:lnTo>
                  <a:pt x="49" y="74"/>
                </a:lnTo>
                <a:lnTo>
                  <a:pt x="55" y="70"/>
                </a:lnTo>
                <a:lnTo>
                  <a:pt x="61" y="66"/>
                </a:lnTo>
                <a:lnTo>
                  <a:pt x="66" y="59"/>
                </a:lnTo>
                <a:lnTo>
                  <a:pt x="72" y="53"/>
                </a:lnTo>
                <a:lnTo>
                  <a:pt x="76" y="47"/>
                </a:lnTo>
                <a:lnTo>
                  <a:pt x="87" y="32"/>
                </a:lnTo>
                <a:lnTo>
                  <a:pt x="95" y="17"/>
                </a:lnTo>
                <a:lnTo>
                  <a:pt x="102" y="0"/>
                </a:lnTo>
                <a:lnTo>
                  <a:pt x="140" y="0"/>
                </a:lnTo>
                <a:lnTo>
                  <a:pt x="131" y="25"/>
                </a:lnTo>
                <a:lnTo>
                  <a:pt x="121" y="47"/>
                </a:lnTo>
                <a:lnTo>
                  <a:pt x="114" y="57"/>
                </a:lnTo>
                <a:lnTo>
                  <a:pt x="108" y="68"/>
                </a:lnTo>
                <a:lnTo>
                  <a:pt x="99" y="76"/>
                </a:lnTo>
                <a:lnTo>
                  <a:pt x="93" y="85"/>
                </a:lnTo>
                <a:lnTo>
                  <a:pt x="85" y="91"/>
                </a:lnTo>
                <a:lnTo>
                  <a:pt x="76" y="99"/>
                </a:lnTo>
                <a:lnTo>
                  <a:pt x="68" y="104"/>
                </a:lnTo>
                <a:lnTo>
                  <a:pt x="57" y="110"/>
                </a:lnTo>
                <a:lnTo>
                  <a:pt x="49" y="114"/>
                </a:lnTo>
                <a:lnTo>
                  <a:pt x="38" y="116"/>
                </a:lnTo>
                <a:lnTo>
                  <a:pt x="17" y="121"/>
                </a:lnTo>
                <a:lnTo>
                  <a:pt x="13" y="85"/>
                </a:lnTo>
                <a:close/>
                <a:moveTo>
                  <a:pt x="55" y="0"/>
                </a:moveTo>
                <a:lnTo>
                  <a:pt x="44" y="11"/>
                </a:lnTo>
                <a:lnTo>
                  <a:pt x="32" y="19"/>
                </a:lnTo>
                <a:lnTo>
                  <a:pt x="19" y="28"/>
                </a:lnTo>
                <a:lnTo>
                  <a:pt x="13" y="30"/>
                </a:lnTo>
                <a:lnTo>
                  <a:pt x="4" y="32"/>
                </a:lnTo>
                <a:lnTo>
                  <a:pt x="0" y="0"/>
                </a:lnTo>
                <a:lnTo>
                  <a:pt x="55" y="0"/>
                </a:lnTo>
                <a:close/>
                <a:moveTo>
                  <a:pt x="2439" y="0"/>
                </a:moveTo>
                <a:lnTo>
                  <a:pt x="2479" y="0"/>
                </a:lnTo>
                <a:lnTo>
                  <a:pt x="2475" y="8"/>
                </a:lnTo>
                <a:lnTo>
                  <a:pt x="2472" y="11"/>
                </a:lnTo>
                <a:lnTo>
                  <a:pt x="2472" y="13"/>
                </a:lnTo>
                <a:lnTo>
                  <a:pt x="2475" y="17"/>
                </a:lnTo>
                <a:lnTo>
                  <a:pt x="2477" y="23"/>
                </a:lnTo>
                <a:lnTo>
                  <a:pt x="2487" y="36"/>
                </a:lnTo>
                <a:lnTo>
                  <a:pt x="2504" y="53"/>
                </a:lnTo>
                <a:lnTo>
                  <a:pt x="2523" y="72"/>
                </a:lnTo>
                <a:lnTo>
                  <a:pt x="2542" y="91"/>
                </a:lnTo>
                <a:lnTo>
                  <a:pt x="2544" y="93"/>
                </a:lnTo>
                <a:lnTo>
                  <a:pt x="2544" y="97"/>
                </a:lnTo>
                <a:lnTo>
                  <a:pt x="2544" y="99"/>
                </a:lnTo>
                <a:lnTo>
                  <a:pt x="2542" y="104"/>
                </a:lnTo>
                <a:lnTo>
                  <a:pt x="2538" y="110"/>
                </a:lnTo>
                <a:lnTo>
                  <a:pt x="2532" y="114"/>
                </a:lnTo>
                <a:lnTo>
                  <a:pt x="2527" y="116"/>
                </a:lnTo>
                <a:lnTo>
                  <a:pt x="2523" y="116"/>
                </a:lnTo>
                <a:lnTo>
                  <a:pt x="2519" y="114"/>
                </a:lnTo>
                <a:lnTo>
                  <a:pt x="2511" y="108"/>
                </a:lnTo>
                <a:lnTo>
                  <a:pt x="2494" y="93"/>
                </a:lnTo>
                <a:lnTo>
                  <a:pt x="2472" y="74"/>
                </a:lnTo>
                <a:lnTo>
                  <a:pt x="2455" y="53"/>
                </a:lnTo>
                <a:lnTo>
                  <a:pt x="2449" y="44"/>
                </a:lnTo>
                <a:lnTo>
                  <a:pt x="2443" y="38"/>
                </a:lnTo>
                <a:lnTo>
                  <a:pt x="2439" y="25"/>
                </a:lnTo>
                <a:lnTo>
                  <a:pt x="2436" y="21"/>
                </a:lnTo>
                <a:lnTo>
                  <a:pt x="2436" y="15"/>
                </a:lnTo>
                <a:lnTo>
                  <a:pt x="2436" y="8"/>
                </a:lnTo>
                <a:lnTo>
                  <a:pt x="2439" y="0"/>
                </a:lnTo>
                <a:close/>
                <a:moveTo>
                  <a:pt x="2335" y="0"/>
                </a:moveTo>
                <a:lnTo>
                  <a:pt x="2322" y="13"/>
                </a:lnTo>
                <a:lnTo>
                  <a:pt x="2314" y="19"/>
                </a:lnTo>
                <a:lnTo>
                  <a:pt x="2305" y="23"/>
                </a:lnTo>
                <a:lnTo>
                  <a:pt x="2297" y="28"/>
                </a:lnTo>
                <a:lnTo>
                  <a:pt x="2288" y="30"/>
                </a:lnTo>
                <a:lnTo>
                  <a:pt x="2280" y="32"/>
                </a:lnTo>
                <a:lnTo>
                  <a:pt x="2271" y="32"/>
                </a:lnTo>
                <a:lnTo>
                  <a:pt x="2265" y="32"/>
                </a:lnTo>
                <a:lnTo>
                  <a:pt x="2261" y="30"/>
                </a:lnTo>
                <a:lnTo>
                  <a:pt x="2259" y="28"/>
                </a:lnTo>
                <a:lnTo>
                  <a:pt x="2256" y="25"/>
                </a:lnTo>
                <a:lnTo>
                  <a:pt x="2256" y="21"/>
                </a:lnTo>
                <a:lnTo>
                  <a:pt x="2254" y="15"/>
                </a:lnTo>
                <a:lnTo>
                  <a:pt x="2256" y="6"/>
                </a:lnTo>
                <a:lnTo>
                  <a:pt x="2256" y="4"/>
                </a:lnTo>
                <a:lnTo>
                  <a:pt x="2259" y="4"/>
                </a:lnTo>
                <a:lnTo>
                  <a:pt x="2271" y="0"/>
                </a:lnTo>
                <a:lnTo>
                  <a:pt x="2335" y="0"/>
                </a:lnTo>
                <a:close/>
                <a:moveTo>
                  <a:pt x="2292" y="121"/>
                </a:moveTo>
                <a:lnTo>
                  <a:pt x="2284" y="121"/>
                </a:lnTo>
                <a:lnTo>
                  <a:pt x="2276" y="119"/>
                </a:lnTo>
                <a:lnTo>
                  <a:pt x="2267" y="116"/>
                </a:lnTo>
                <a:lnTo>
                  <a:pt x="2259" y="112"/>
                </a:lnTo>
                <a:lnTo>
                  <a:pt x="2250" y="108"/>
                </a:lnTo>
                <a:lnTo>
                  <a:pt x="2244" y="102"/>
                </a:lnTo>
                <a:lnTo>
                  <a:pt x="2235" y="97"/>
                </a:lnTo>
                <a:lnTo>
                  <a:pt x="2229" y="89"/>
                </a:lnTo>
                <a:lnTo>
                  <a:pt x="2223" y="83"/>
                </a:lnTo>
                <a:lnTo>
                  <a:pt x="2218" y="74"/>
                </a:lnTo>
                <a:lnTo>
                  <a:pt x="2210" y="55"/>
                </a:lnTo>
                <a:lnTo>
                  <a:pt x="2208" y="47"/>
                </a:lnTo>
                <a:lnTo>
                  <a:pt x="2206" y="36"/>
                </a:lnTo>
                <a:lnTo>
                  <a:pt x="2204" y="25"/>
                </a:lnTo>
                <a:lnTo>
                  <a:pt x="2204" y="15"/>
                </a:lnTo>
                <a:lnTo>
                  <a:pt x="2204" y="0"/>
                </a:lnTo>
                <a:lnTo>
                  <a:pt x="2237" y="0"/>
                </a:lnTo>
                <a:lnTo>
                  <a:pt x="2237" y="13"/>
                </a:lnTo>
                <a:lnTo>
                  <a:pt x="2237" y="28"/>
                </a:lnTo>
                <a:lnTo>
                  <a:pt x="2240" y="34"/>
                </a:lnTo>
                <a:lnTo>
                  <a:pt x="2242" y="42"/>
                </a:lnTo>
                <a:lnTo>
                  <a:pt x="2246" y="53"/>
                </a:lnTo>
                <a:lnTo>
                  <a:pt x="2252" y="63"/>
                </a:lnTo>
                <a:lnTo>
                  <a:pt x="2261" y="72"/>
                </a:lnTo>
                <a:lnTo>
                  <a:pt x="2265" y="76"/>
                </a:lnTo>
                <a:lnTo>
                  <a:pt x="2271" y="78"/>
                </a:lnTo>
                <a:lnTo>
                  <a:pt x="2282" y="83"/>
                </a:lnTo>
                <a:lnTo>
                  <a:pt x="2288" y="85"/>
                </a:lnTo>
                <a:lnTo>
                  <a:pt x="2295" y="85"/>
                </a:lnTo>
                <a:lnTo>
                  <a:pt x="2309" y="83"/>
                </a:lnTo>
                <a:lnTo>
                  <a:pt x="2316" y="80"/>
                </a:lnTo>
                <a:lnTo>
                  <a:pt x="2324" y="78"/>
                </a:lnTo>
                <a:lnTo>
                  <a:pt x="2337" y="70"/>
                </a:lnTo>
                <a:lnTo>
                  <a:pt x="2341" y="66"/>
                </a:lnTo>
                <a:lnTo>
                  <a:pt x="2348" y="59"/>
                </a:lnTo>
                <a:lnTo>
                  <a:pt x="2354" y="53"/>
                </a:lnTo>
                <a:lnTo>
                  <a:pt x="2358" y="47"/>
                </a:lnTo>
                <a:lnTo>
                  <a:pt x="2367" y="32"/>
                </a:lnTo>
                <a:lnTo>
                  <a:pt x="2375" y="17"/>
                </a:lnTo>
                <a:lnTo>
                  <a:pt x="2381" y="0"/>
                </a:lnTo>
                <a:lnTo>
                  <a:pt x="2419" y="0"/>
                </a:lnTo>
                <a:lnTo>
                  <a:pt x="2411" y="25"/>
                </a:lnTo>
                <a:lnTo>
                  <a:pt x="2407" y="38"/>
                </a:lnTo>
                <a:lnTo>
                  <a:pt x="2400" y="49"/>
                </a:lnTo>
                <a:lnTo>
                  <a:pt x="2388" y="68"/>
                </a:lnTo>
                <a:lnTo>
                  <a:pt x="2379" y="78"/>
                </a:lnTo>
                <a:lnTo>
                  <a:pt x="2371" y="87"/>
                </a:lnTo>
                <a:lnTo>
                  <a:pt x="2362" y="93"/>
                </a:lnTo>
                <a:lnTo>
                  <a:pt x="2354" y="99"/>
                </a:lnTo>
                <a:lnTo>
                  <a:pt x="2345" y="106"/>
                </a:lnTo>
                <a:lnTo>
                  <a:pt x="2335" y="112"/>
                </a:lnTo>
                <a:lnTo>
                  <a:pt x="2326" y="114"/>
                </a:lnTo>
                <a:lnTo>
                  <a:pt x="2316" y="119"/>
                </a:lnTo>
                <a:lnTo>
                  <a:pt x="2305" y="121"/>
                </a:lnTo>
                <a:lnTo>
                  <a:pt x="2292" y="121"/>
                </a:lnTo>
                <a:close/>
                <a:moveTo>
                  <a:pt x="1080" y="0"/>
                </a:moveTo>
                <a:lnTo>
                  <a:pt x="1118" y="0"/>
                </a:lnTo>
                <a:lnTo>
                  <a:pt x="1113" y="8"/>
                </a:lnTo>
                <a:lnTo>
                  <a:pt x="1113" y="11"/>
                </a:lnTo>
                <a:lnTo>
                  <a:pt x="1113" y="13"/>
                </a:lnTo>
                <a:lnTo>
                  <a:pt x="1113" y="17"/>
                </a:lnTo>
                <a:lnTo>
                  <a:pt x="1118" y="23"/>
                </a:lnTo>
                <a:lnTo>
                  <a:pt x="1128" y="36"/>
                </a:lnTo>
                <a:lnTo>
                  <a:pt x="1145" y="53"/>
                </a:lnTo>
                <a:lnTo>
                  <a:pt x="1164" y="72"/>
                </a:lnTo>
                <a:lnTo>
                  <a:pt x="1183" y="91"/>
                </a:lnTo>
                <a:lnTo>
                  <a:pt x="1185" y="93"/>
                </a:lnTo>
                <a:lnTo>
                  <a:pt x="1185" y="97"/>
                </a:lnTo>
                <a:lnTo>
                  <a:pt x="1185" y="99"/>
                </a:lnTo>
                <a:lnTo>
                  <a:pt x="1183" y="104"/>
                </a:lnTo>
                <a:lnTo>
                  <a:pt x="1179" y="110"/>
                </a:lnTo>
                <a:lnTo>
                  <a:pt x="1173" y="114"/>
                </a:lnTo>
                <a:lnTo>
                  <a:pt x="1168" y="116"/>
                </a:lnTo>
                <a:lnTo>
                  <a:pt x="1164" y="116"/>
                </a:lnTo>
                <a:lnTo>
                  <a:pt x="1160" y="114"/>
                </a:lnTo>
                <a:lnTo>
                  <a:pt x="1152" y="108"/>
                </a:lnTo>
                <a:lnTo>
                  <a:pt x="1135" y="93"/>
                </a:lnTo>
                <a:lnTo>
                  <a:pt x="1113" y="74"/>
                </a:lnTo>
                <a:lnTo>
                  <a:pt x="1096" y="53"/>
                </a:lnTo>
                <a:lnTo>
                  <a:pt x="1088" y="44"/>
                </a:lnTo>
                <a:lnTo>
                  <a:pt x="1084" y="38"/>
                </a:lnTo>
                <a:lnTo>
                  <a:pt x="1080" y="25"/>
                </a:lnTo>
                <a:lnTo>
                  <a:pt x="1077" y="21"/>
                </a:lnTo>
                <a:lnTo>
                  <a:pt x="1077" y="15"/>
                </a:lnTo>
                <a:lnTo>
                  <a:pt x="1077" y="8"/>
                </a:lnTo>
                <a:lnTo>
                  <a:pt x="1080" y="0"/>
                </a:lnTo>
                <a:close/>
                <a:moveTo>
                  <a:pt x="976" y="0"/>
                </a:moveTo>
                <a:lnTo>
                  <a:pt x="963" y="13"/>
                </a:lnTo>
                <a:lnTo>
                  <a:pt x="955" y="19"/>
                </a:lnTo>
                <a:lnTo>
                  <a:pt x="946" y="23"/>
                </a:lnTo>
                <a:lnTo>
                  <a:pt x="938" y="28"/>
                </a:lnTo>
                <a:lnTo>
                  <a:pt x="929" y="30"/>
                </a:lnTo>
                <a:lnTo>
                  <a:pt x="921" y="32"/>
                </a:lnTo>
                <a:lnTo>
                  <a:pt x="910" y="32"/>
                </a:lnTo>
                <a:lnTo>
                  <a:pt x="906" y="32"/>
                </a:lnTo>
                <a:lnTo>
                  <a:pt x="902" y="30"/>
                </a:lnTo>
                <a:lnTo>
                  <a:pt x="900" y="28"/>
                </a:lnTo>
                <a:lnTo>
                  <a:pt x="898" y="25"/>
                </a:lnTo>
                <a:lnTo>
                  <a:pt x="898" y="21"/>
                </a:lnTo>
                <a:lnTo>
                  <a:pt x="895" y="15"/>
                </a:lnTo>
                <a:lnTo>
                  <a:pt x="895" y="6"/>
                </a:lnTo>
                <a:lnTo>
                  <a:pt x="898" y="4"/>
                </a:lnTo>
                <a:lnTo>
                  <a:pt x="900" y="4"/>
                </a:lnTo>
                <a:lnTo>
                  <a:pt x="912" y="0"/>
                </a:lnTo>
                <a:lnTo>
                  <a:pt x="976" y="0"/>
                </a:lnTo>
                <a:close/>
                <a:moveTo>
                  <a:pt x="934" y="121"/>
                </a:moveTo>
                <a:lnTo>
                  <a:pt x="925" y="121"/>
                </a:lnTo>
                <a:lnTo>
                  <a:pt x="917" y="119"/>
                </a:lnTo>
                <a:lnTo>
                  <a:pt x="908" y="116"/>
                </a:lnTo>
                <a:lnTo>
                  <a:pt x="900" y="112"/>
                </a:lnTo>
                <a:lnTo>
                  <a:pt x="891" y="108"/>
                </a:lnTo>
                <a:lnTo>
                  <a:pt x="883" y="102"/>
                </a:lnTo>
                <a:lnTo>
                  <a:pt x="876" y="97"/>
                </a:lnTo>
                <a:lnTo>
                  <a:pt x="870" y="89"/>
                </a:lnTo>
                <a:lnTo>
                  <a:pt x="864" y="83"/>
                </a:lnTo>
                <a:lnTo>
                  <a:pt x="859" y="74"/>
                </a:lnTo>
                <a:lnTo>
                  <a:pt x="851" y="55"/>
                </a:lnTo>
                <a:lnTo>
                  <a:pt x="847" y="47"/>
                </a:lnTo>
                <a:lnTo>
                  <a:pt x="845" y="36"/>
                </a:lnTo>
                <a:lnTo>
                  <a:pt x="845" y="25"/>
                </a:lnTo>
                <a:lnTo>
                  <a:pt x="842" y="15"/>
                </a:lnTo>
                <a:lnTo>
                  <a:pt x="845" y="0"/>
                </a:lnTo>
                <a:lnTo>
                  <a:pt x="878" y="0"/>
                </a:lnTo>
                <a:lnTo>
                  <a:pt x="876" y="13"/>
                </a:lnTo>
                <a:lnTo>
                  <a:pt x="878" y="28"/>
                </a:lnTo>
                <a:lnTo>
                  <a:pt x="878" y="34"/>
                </a:lnTo>
                <a:lnTo>
                  <a:pt x="881" y="42"/>
                </a:lnTo>
                <a:lnTo>
                  <a:pt x="887" y="53"/>
                </a:lnTo>
                <a:lnTo>
                  <a:pt x="893" y="63"/>
                </a:lnTo>
                <a:lnTo>
                  <a:pt x="902" y="72"/>
                </a:lnTo>
                <a:lnTo>
                  <a:pt x="906" y="76"/>
                </a:lnTo>
                <a:lnTo>
                  <a:pt x="910" y="78"/>
                </a:lnTo>
                <a:lnTo>
                  <a:pt x="923" y="83"/>
                </a:lnTo>
                <a:lnTo>
                  <a:pt x="929" y="85"/>
                </a:lnTo>
                <a:lnTo>
                  <a:pt x="936" y="85"/>
                </a:lnTo>
                <a:lnTo>
                  <a:pt x="950" y="83"/>
                </a:lnTo>
                <a:lnTo>
                  <a:pt x="957" y="80"/>
                </a:lnTo>
                <a:lnTo>
                  <a:pt x="963" y="78"/>
                </a:lnTo>
                <a:lnTo>
                  <a:pt x="976" y="70"/>
                </a:lnTo>
                <a:lnTo>
                  <a:pt x="982" y="66"/>
                </a:lnTo>
                <a:lnTo>
                  <a:pt x="989" y="59"/>
                </a:lnTo>
                <a:lnTo>
                  <a:pt x="993" y="53"/>
                </a:lnTo>
                <a:lnTo>
                  <a:pt x="999" y="47"/>
                </a:lnTo>
                <a:lnTo>
                  <a:pt x="1008" y="32"/>
                </a:lnTo>
                <a:lnTo>
                  <a:pt x="1016" y="17"/>
                </a:lnTo>
                <a:lnTo>
                  <a:pt x="1022" y="0"/>
                </a:lnTo>
                <a:lnTo>
                  <a:pt x="1061" y="0"/>
                </a:lnTo>
                <a:lnTo>
                  <a:pt x="1052" y="25"/>
                </a:lnTo>
                <a:lnTo>
                  <a:pt x="1046" y="38"/>
                </a:lnTo>
                <a:lnTo>
                  <a:pt x="1041" y="49"/>
                </a:lnTo>
                <a:lnTo>
                  <a:pt x="1027" y="68"/>
                </a:lnTo>
                <a:lnTo>
                  <a:pt x="1020" y="78"/>
                </a:lnTo>
                <a:lnTo>
                  <a:pt x="1012" y="87"/>
                </a:lnTo>
                <a:lnTo>
                  <a:pt x="1003" y="93"/>
                </a:lnTo>
                <a:lnTo>
                  <a:pt x="995" y="99"/>
                </a:lnTo>
                <a:lnTo>
                  <a:pt x="986" y="106"/>
                </a:lnTo>
                <a:lnTo>
                  <a:pt x="976" y="112"/>
                </a:lnTo>
                <a:lnTo>
                  <a:pt x="965" y="114"/>
                </a:lnTo>
                <a:lnTo>
                  <a:pt x="957" y="119"/>
                </a:lnTo>
                <a:lnTo>
                  <a:pt x="944" y="121"/>
                </a:lnTo>
                <a:lnTo>
                  <a:pt x="934" y="121"/>
                </a:lnTo>
                <a:close/>
                <a:moveTo>
                  <a:pt x="3359" y="0"/>
                </a:moveTo>
                <a:lnTo>
                  <a:pt x="3400" y="0"/>
                </a:lnTo>
                <a:lnTo>
                  <a:pt x="3395" y="8"/>
                </a:lnTo>
                <a:lnTo>
                  <a:pt x="3395" y="11"/>
                </a:lnTo>
                <a:lnTo>
                  <a:pt x="3393" y="13"/>
                </a:lnTo>
                <a:lnTo>
                  <a:pt x="3395" y="17"/>
                </a:lnTo>
                <a:lnTo>
                  <a:pt x="3397" y="23"/>
                </a:lnTo>
                <a:lnTo>
                  <a:pt x="3408" y="36"/>
                </a:lnTo>
                <a:lnTo>
                  <a:pt x="3425" y="53"/>
                </a:lnTo>
                <a:lnTo>
                  <a:pt x="3444" y="72"/>
                </a:lnTo>
                <a:lnTo>
                  <a:pt x="3463" y="91"/>
                </a:lnTo>
                <a:lnTo>
                  <a:pt x="3465" y="93"/>
                </a:lnTo>
                <a:lnTo>
                  <a:pt x="3467" y="97"/>
                </a:lnTo>
                <a:lnTo>
                  <a:pt x="3465" y="99"/>
                </a:lnTo>
                <a:lnTo>
                  <a:pt x="3465" y="104"/>
                </a:lnTo>
                <a:lnTo>
                  <a:pt x="3459" y="110"/>
                </a:lnTo>
                <a:lnTo>
                  <a:pt x="3452" y="114"/>
                </a:lnTo>
                <a:lnTo>
                  <a:pt x="3448" y="116"/>
                </a:lnTo>
                <a:lnTo>
                  <a:pt x="3446" y="116"/>
                </a:lnTo>
                <a:lnTo>
                  <a:pt x="3440" y="114"/>
                </a:lnTo>
                <a:lnTo>
                  <a:pt x="3431" y="108"/>
                </a:lnTo>
                <a:lnTo>
                  <a:pt x="3414" y="93"/>
                </a:lnTo>
                <a:lnTo>
                  <a:pt x="3395" y="74"/>
                </a:lnTo>
                <a:lnTo>
                  <a:pt x="3376" y="53"/>
                </a:lnTo>
                <a:lnTo>
                  <a:pt x="3370" y="44"/>
                </a:lnTo>
                <a:lnTo>
                  <a:pt x="3366" y="38"/>
                </a:lnTo>
                <a:lnTo>
                  <a:pt x="3359" y="25"/>
                </a:lnTo>
                <a:lnTo>
                  <a:pt x="3357" y="21"/>
                </a:lnTo>
                <a:lnTo>
                  <a:pt x="3357" y="15"/>
                </a:lnTo>
                <a:lnTo>
                  <a:pt x="3359" y="8"/>
                </a:lnTo>
                <a:lnTo>
                  <a:pt x="3359" y="0"/>
                </a:lnTo>
                <a:close/>
                <a:moveTo>
                  <a:pt x="3256" y="0"/>
                </a:moveTo>
                <a:lnTo>
                  <a:pt x="3243" y="13"/>
                </a:lnTo>
                <a:lnTo>
                  <a:pt x="3237" y="19"/>
                </a:lnTo>
                <a:lnTo>
                  <a:pt x="3228" y="23"/>
                </a:lnTo>
                <a:lnTo>
                  <a:pt x="3220" y="28"/>
                </a:lnTo>
                <a:lnTo>
                  <a:pt x="3209" y="30"/>
                </a:lnTo>
                <a:lnTo>
                  <a:pt x="3201" y="32"/>
                </a:lnTo>
                <a:lnTo>
                  <a:pt x="3192" y="32"/>
                </a:lnTo>
                <a:lnTo>
                  <a:pt x="3186" y="32"/>
                </a:lnTo>
                <a:lnTo>
                  <a:pt x="3184" y="30"/>
                </a:lnTo>
                <a:lnTo>
                  <a:pt x="3182" y="28"/>
                </a:lnTo>
                <a:lnTo>
                  <a:pt x="3179" y="25"/>
                </a:lnTo>
                <a:lnTo>
                  <a:pt x="3177" y="21"/>
                </a:lnTo>
                <a:lnTo>
                  <a:pt x="3175" y="15"/>
                </a:lnTo>
                <a:lnTo>
                  <a:pt x="3177" y="6"/>
                </a:lnTo>
                <a:lnTo>
                  <a:pt x="3179" y="4"/>
                </a:lnTo>
                <a:lnTo>
                  <a:pt x="3182" y="4"/>
                </a:lnTo>
                <a:lnTo>
                  <a:pt x="3194" y="0"/>
                </a:lnTo>
                <a:lnTo>
                  <a:pt x="3256" y="0"/>
                </a:lnTo>
                <a:close/>
                <a:moveTo>
                  <a:pt x="3215" y="121"/>
                </a:moveTo>
                <a:lnTo>
                  <a:pt x="3205" y="121"/>
                </a:lnTo>
                <a:lnTo>
                  <a:pt x="3196" y="119"/>
                </a:lnTo>
                <a:lnTo>
                  <a:pt x="3188" y="116"/>
                </a:lnTo>
                <a:lnTo>
                  <a:pt x="3179" y="112"/>
                </a:lnTo>
                <a:lnTo>
                  <a:pt x="3171" y="108"/>
                </a:lnTo>
                <a:lnTo>
                  <a:pt x="3165" y="102"/>
                </a:lnTo>
                <a:lnTo>
                  <a:pt x="3158" y="97"/>
                </a:lnTo>
                <a:lnTo>
                  <a:pt x="3152" y="89"/>
                </a:lnTo>
                <a:lnTo>
                  <a:pt x="3146" y="83"/>
                </a:lnTo>
                <a:lnTo>
                  <a:pt x="3139" y="74"/>
                </a:lnTo>
                <a:lnTo>
                  <a:pt x="3131" y="55"/>
                </a:lnTo>
                <a:lnTo>
                  <a:pt x="3129" y="47"/>
                </a:lnTo>
                <a:lnTo>
                  <a:pt x="3126" y="36"/>
                </a:lnTo>
                <a:lnTo>
                  <a:pt x="3124" y="25"/>
                </a:lnTo>
                <a:lnTo>
                  <a:pt x="3124" y="15"/>
                </a:lnTo>
                <a:lnTo>
                  <a:pt x="3124" y="0"/>
                </a:lnTo>
                <a:lnTo>
                  <a:pt x="3158" y="0"/>
                </a:lnTo>
                <a:lnTo>
                  <a:pt x="3158" y="13"/>
                </a:lnTo>
                <a:lnTo>
                  <a:pt x="3158" y="28"/>
                </a:lnTo>
                <a:lnTo>
                  <a:pt x="3160" y="34"/>
                </a:lnTo>
                <a:lnTo>
                  <a:pt x="3162" y="42"/>
                </a:lnTo>
                <a:lnTo>
                  <a:pt x="3167" y="53"/>
                </a:lnTo>
                <a:lnTo>
                  <a:pt x="3173" y="63"/>
                </a:lnTo>
                <a:lnTo>
                  <a:pt x="3182" y="72"/>
                </a:lnTo>
                <a:lnTo>
                  <a:pt x="3188" y="76"/>
                </a:lnTo>
                <a:lnTo>
                  <a:pt x="3192" y="78"/>
                </a:lnTo>
                <a:lnTo>
                  <a:pt x="3203" y="83"/>
                </a:lnTo>
                <a:lnTo>
                  <a:pt x="3209" y="85"/>
                </a:lnTo>
                <a:lnTo>
                  <a:pt x="3215" y="85"/>
                </a:lnTo>
                <a:lnTo>
                  <a:pt x="3230" y="83"/>
                </a:lnTo>
                <a:lnTo>
                  <a:pt x="3239" y="80"/>
                </a:lnTo>
                <a:lnTo>
                  <a:pt x="3245" y="78"/>
                </a:lnTo>
                <a:lnTo>
                  <a:pt x="3258" y="70"/>
                </a:lnTo>
                <a:lnTo>
                  <a:pt x="3264" y="66"/>
                </a:lnTo>
                <a:lnTo>
                  <a:pt x="3268" y="59"/>
                </a:lnTo>
                <a:lnTo>
                  <a:pt x="3275" y="53"/>
                </a:lnTo>
                <a:lnTo>
                  <a:pt x="3279" y="47"/>
                </a:lnTo>
                <a:lnTo>
                  <a:pt x="3289" y="32"/>
                </a:lnTo>
                <a:lnTo>
                  <a:pt x="3298" y="17"/>
                </a:lnTo>
                <a:lnTo>
                  <a:pt x="3304" y="0"/>
                </a:lnTo>
                <a:lnTo>
                  <a:pt x="3340" y="0"/>
                </a:lnTo>
                <a:lnTo>
                  <a:pt x="3332" y="25"/>
                </a:lnTo>
                <a:lnTo>
                  <a:pt x="3328" y="38"/>
                </a:lnTo>
                <a:lnTo>
                  <a:pt x="3321" y="49"/>
                </a:lnTo>
                <a:lnTo>
                  <a:pt x="3309" y="68"/>
                </a:lnTo>
                <a:lnTo>
                  <a:pt x="3300" y="78"/>
                </a:lnTo>
                <a:lnTo>
                  <a:pt x="3294" y="87"/>
                </a:lnTo>
                <a:lnTo>
                  <a:pt x="3285" y="93"/>
                </a:lnTo>
                <a:lnTo>
                  <a:pt x="3277" y="99"/>
                </a:lnTo>
                <a:lnTo>
                  <a:pt x="3266" y="106"/>
                </a:lnTo>
                <a:lnTo>
                  <a:pt x="3258" y="112"/>
                </a:lnTo>
                <a:lnTo>
                  <a:pt x="3247" y="114"/>
                </a:lnTo>
                <a:lnTo>
                  <a:pt x="3237" y="119"/>
                </a:lnTo>
                <a:lnTo>
                  <a:pt x="3226" y="121"/>
                </a:lnTo>
                <a:lnTo>
                  <a:pt x="3215" y="121"/>
                </a:lnTo>
                <a:close/>
                <a:moveTo>
                  <a:pt x="1524" y="0"/>
                </a:moveTo>
                <a:lnTo>
                  <a:pt x="1564" y="0"/>
                </a:lnTo>
                <a:lnTo>
                  <a:pt x="1560" y="8"/>
                </a:lnTo>
                <a:lnTo>
                  <a:pt x="1558" y="11"/>
                </a:lnTo>
                <a:lnTo>
                  <a:pt x="1558" y="13"/>
                </a:lnTo>
                <a:lnTo>
                  <a:pt x="1560" y="17"/>
                </a:lnTo>
                <a:lnTo>
                  <a:pt x="1562" y="23"/>
                </a:lnTo>
                <a:lnTo>
                  <a:pt x="1573" y="36"/>
                </a:lnTo>
                <a:lnTo>
                  <a:pt x="1590" y="53"/>
                </a:lnTo>
                <a:lnTo>
                  <a:pt x="1609" y="72"/>
                </a:lnTo>
                <a:lnTo>
                  <a:pt x="1628" y="91"/>
                </a:lnTo>
                <a:lnTo>
                  <a:pt x="1630" y="93"/>
                </a:lnTo>
                <a:lnTo>
                  <a:pt x="1632" y="97"/>
                </a:lnTo>
                <a:lnTo>
                  <a:pt x="1630" y="99"/>
                </a:lnTo>
                <a:lnTo>
                  <a:pt x="1630" y="104"/>
                </a:lnTo>
                <a:lnTo>
                  <a:pt x="1624" y="110"/>
                </a:lnTo>
                <a:lnTo>
                  <a:pt x="1617" y="114"/>
                </a:lnTo>
                <a:lnTo>
                  <a:pt x="1613" y="116"/>
                </a:lnTo>
                <a:lnTo>
                  <a:pt x="1611" y="116"/>
                </a:lnTo>
                <a:lnTo>
                  <a:pt x="1605" y="114"/>
                </a:lnTo>
                <a:lnTo>
                  <a:pt x="1596" y="108"/>
                </a:lnTo>
                <a:lnTo>
                  <a:pt x="1579" y="93"/>
                </a:lnTo>
                <a:lnTo>
                  <a:pt x="1560" y="74"/>
                </a:lnTo>
                <a:lnTo>
                  <a:pt x="1541" y="53"/>
                </a:lnTo>
                <a:lnTo>
                  <a:pt x="1535" y="44"/>
                </a:lnTo>
                <a:lnTo>
                  <a:pt x="1530" y="38"/>
                </a:lnTo>
                <a:lnTo>
                  <a:pt x="1524" y="25"/>
                </a:lnTo>
                <a:lnTo>
                  <a:pt x="1522" y="21"/>
                </a:lnTo>
                <a:lnTo>
                  <a:pt x="1522" y="15"/>
                </a:lnTo>
                <a:lnTo>
                  <a:pt x="1522" y="8"/>
                </a:lnTo>
                <a:lnTo>
                  <a:pt x="1524" y="0"/>
                </a:lnTo>
                <a:close/>
                <a:moveTo>
                  <a:pt x="1420" y="0"/>
                </a:moveTo>
                <a:lnTo>
                  <a:pt x="1408" y="13"/>
                </a:lnTo>
                <a:lnTo>
                  <a:pt x="1399" y="19"/>
                </a:lnTo>
                <a:lnTo>
                  <a:pt x="1393" y="23"/>
                </a:lnTo>
                <a:lnTo>
                  <a:pt x="1384" y="28"/>
                </a:lnTo>
                <a:lnTo>
                  <a:pt x="1374" y="30"/>
                </a:lnTo>
                <a:lnTo>
                  <a:pt x="1365" y="32"/>
                </a:lnTo>
                <a:lnTo>
                  <a:pt x="1357" y="32"/>
                </a:lnTo>
                <a:lnTo>
                  <a:pt x="1351" y="32"/>
                </a:lnTo>
                <a:lnTo>
                  <a:pt x="1348" y="30"/>
                </a:lnTo>
                <a:lnTo>
                  <a:pt x="1346" y="28"/>
                </a:lnTo>
                <a:lnTo>
                  <a:pt x="1344" y="25"/>
                </a:lnTo>
                <a:lnTo>
                  <a:pt x="1342" y="21"/>
                </a:lnTo>
                <a:lnTo>
                  <a:pt x="1340" y="15"/>
                </a:lnTo>
                <a:lnTo>
                  <a:pt x="1342" y="6"/>
                </a:lnTo>
                <a:lnTo>
                  <a:pt x="1344" y="4"/>
                </a:lnTo>
                <a:lnTo>
                  <a:pt x="1359" y="0"/>
                </a:lnTo>
                <a:lnTo>
                  <a:pt x="1420" y="0"/>
                </a:lnTo>
                <a:close/>
                <a:moveTo>
                  <a:pt x="1380" y="121"/>
                </a:moveTo>
                <a:lnTo>
                  <a:pt x="1370" y="121"/>
                </a:lnTo>
                <a:lnTo>
                  <a:pt x="1361" y="119"/>
                </a:lnTo>
                <a:lnTo>
                  <a:pt x="1353" y="116"/>
                </a:lnTo>
                <a:lnTo>
                  <a:pt x="1344" y="112"/>
                </a:lnTo>
                <a:lnTo>
                  <a:pt x="1336" y="108"/>
                </a:lnTo>
                <a:lnTo>
                  <a:pt x="1329" y="102"/>
                </a:lnTo>
                <a:lnTo>
                  <a:pt x="1323" y="97"/>
                </a:lnTo>
                <a:lnTo>
                  <a:pt x="1315" y="89"/>
                </a:lnTo>
                <a:lnTo>
                  <a:pt x="1310" y="83"/>
                </a:lnTo>
                <a:lnTo>
                  <a:pt x="1304" y="74"/>
                </a:lnTo>
                <a:lnTo>
                  <a:pt x="1295" y="55"/>
                </a:lnTo>
                <a:lnTo>
                  <a:pt x="1293" y="47"/>
                </a:lnTo>
                <a:lnTo>
                  <a:pt x="1291" y="36"/>
                </a:lnTo>
                <a:lnTo>
                  <a:pt x="1289" y="25"/>
                </a:lnTo>
                <a:lnTo>
                  <a:pt x="1289" y="15"/>
                </a:lnTo>
                <a:lnTo>
                  <a:pt x="1289" y="0"/>
                </a:lnTo>
                <a:lnTo>
                  <a:pt x="1323" y="0"/>
                </a:lnTo>
                <a:lnTo>
                  <a:pt x="1323" y="13"/>
                </a:lnTo>
                <a:lnTo>
                  <a:pt x="1323" y="28"/>
                </a:lnTo>
                <a:lnTo>
                  <a:pt x="1325" y="34"/>
                </a:lnTo>
                <a:lnTo>
                  <a:pt x="1327" y="42"/>
                </a:lnTo>
                <a:lnTo>
                  <a:pt x="1331" y="53"/>
                </a:lnTo>
                <a:lnTo>
                  <a:pt x="1338" y="63"/>
                </a:lnTo>
                <a:lnTo>
                  <a:pt x="1346" y="72"/>
                </a:lnTo>
                <a:lnTo>
                  <a:pt x="1353" y="76"/>
                </a:lnTo>
                <a:lnTo>
                  <a:pt x="1357" y="78"/>
                </a:lnTo>
                <a:lnTo>
                  <a:pt x="1367" y="83"/>
                </a:lnTo>
                <a:lnTo>
                  <a:pt x="1374" y="85"/>
                </a:lnTo>
                <a:lnTo>
                  <a:pt x="1380" y="85"/>
                </a:lnTo>
                <a:lnTo>
                  <a:pt x="1395" y="83"/>
                </a:lnTo>
                <a:lnTo>
                  <a:pt x="1403" y="80"/>
                </a:lnTo>
                <a:lnTo>
                  <a:pt x="1410" y="78"/>
                </a:lnTo>
                <a:lnTo>
                  <a:pt x="1422" y="70"/>
                </a:lnTo>
                <a:lnTo>
                  <a:pt x="1429" y="66"/>
                </a:lnTo>
                <a:lnTo>
                  <a:pt x="1433" y="59"/>
                </a:lnTo>
                <a:lnTo>
                  <a:pt x="1439" y="53"/>
                </a:lnTo>
                <a:lnTo>
                  <a:pt x="1444" y="47"/>
                </a:lnTo>
                <a:lnTo>
                  <a:pt x="1454" y="32"/>
                </a:lnTo>
                <a:lnTo>
                  <a:pt x="1461" y="17"/>
                </a:lnTo>
                <a:lnTo>
                  <a:pt x="1469" y="0"/>
                </a:lnTo>
                <a:lnTo>
                  <a:pt x="1505" y="0"/>
                </a:lnTo>
                <a:lnTo>
                  <a:pt x="1497" y="25"/>
                </a:lnTo>
                <a:lnTo>
                  <a:pt x="1492" y="38"/>
                </a:lnTo>
                <a:lnTo>
                  <a:pt x="1486" y="49"/>
                </a:lnTo>
                <a:lnTo>
                  <a:pt x="1473" y="68"/>
                </a:lnTo>
                <a:lnTo>
                  <a:pt x="1465" y="78"/>
                </a:lnTo>
                <a:lnTo>
                  <a:pt x="1458" y="87"/>
                </a:lnTo>
                <a:lnTo>
                  <a:pt x="1450" y="93"/>
                </a:lnTo>
                <a:lnTo>
                  <a:pt x="1442" y="99"/>
                </a:lnTo>
                <a:lnTo>
                  <a:pt x="1431" y="106"/>
                </a:lnTo>
                <a:lnTo>
                  <a:pt x="1422" y="112"/>
                </a:lnTo>
                <a:lnTo>
                  <a:pt x="1412" y="114"/>
                </a:lnTo>
                <a:lnTo>
                  <a:pt x="1401" y="119"/>
                </a:lnTo>
                <a:lnTo>
                  <a:pt x="1391" y="121"/>
                </a:lnTo>
                <a:lnTo>
                  <a:pt x="1380" y="121"/>
                </a:lnTo>
                <a:close/>
                <a:moveTo>
                  <a:pt x="3613" y="104"/>
                </a:moveTo>
                <a:lnTo>
                  <a:pt x="3603" y="97"/>
                </a:lnTo>
                <a:lnTo>
                  <a:pt x="3594" y="89"/>
                </a:lnTo>
                <a:lnTo>
                  <a:pt x="3588" y="78"/>
                </a:lnTo>
                <a:lnTo>
                  <a:pt x="3582" y="68"/>
                </a:lnTo>
                <a:lnTo>
                  <a:pt x="3579" y="61"/>
                </a:lnTo>
                <a:lnTo>
                  <a:pt x="3577" y="55"/>
                </a:lnTo>
                <a:lnTo>
                  <a:pt x="3573" y="42"/>
                </a:lnTo>
                <a:lnTo>
                  <a:pt x="3571" y="28"/>
                </a:lnTo>
                <a:lnTo>
                  <a:pt x="3569" y="15"/>
                </a:lnTo>
                <a:lnTo>
                  <a:pt x="3571" y="0"/>
                </a:lnTo>
                <a:lnTo>
                  <a:pt x="3605" y="0"/>
                </a:lnTo>
                <a:lnTo>
                  <a:pt x="3603" y="13"/>
                </a:lnTo>
                <a:lnTo>
                  <a:pt x="3605" y="23"/>
                </a:lnTo>
                <a:lnTo>
                  <a:pt x="3607" y="34"/>
                </a:lnTo>
                <a:lnTo>
                  <a:pt x="3609" y="44"/>
                </a:lnTo>
                <a:lnTo>
                  <a:pt x="3613" y="53"/>
                </a:lnTo>
                <a:lnTo>
                  <a:pt x="3613" y="104"/>
                </a:lnTo>
                <a:close/>
                <a:moveTo>
                  <a:pt x="1653" y="991"/>
                </a:moveTo>
                <a:lnTo>
                  <a:pt x="1645" y="991"/>
                </a:lnTo>
                <a:lnTo>
                  <a:pt x="1636" y="988"/>
                </a:lnTo>
                <a:lnTo>
                  <a:pt x="1628" y="986"/>
                </a:lnTo>
                <a:lnTo>
                  <a:pt x="1619" y="982"/>
                </a:lnTo>
                <a:lnTo>
                  <a:pt x="1611" y="978"/>
                </a:lnTo>
                <a:lnTo>
                  <a:pt x="1602" y="972"/>
                </a:lnTo>
                <a:lnTo>
                  <a:pt x="1596" y="965"/>
                </a:lnTo>
                <a:lnTo>
                  <a:pt x="1590" y="959"/>
                </a:lnTo>
                <a:lnTo>
                  <a:pt x="1583" y="952"/>
                </a:lnTo>
                <a:lnTo>
                  <a:pt x="1579" y="944"/>
                </a:lnTo>
                <a:lnTo>
                  <a:pt x="1571" y="925"/>
                </a:lnTo>
                <a:lnTo>
                  <a:pt x="1569" y="917"/>
                </a:lnTo>
                <a:lnTo>
                  <a:pt x="1564" y="906"/>
                </a:lnTo>
                <a:lnTo>
                  <a:pt x="1564" y="895"/>
                </a:lnTo>
                <a:lnTo>
                  <a:pt x="1564" y="885"/>
                </a:lnTo>
                <a:lnTo>
                  <a:pt x="1564" y="872"/>
                </a:lnTo>
                <a:lnTo>
                  <a:pt x="1564" y="861"/>
                </a:lnTo>
                <a:lnTo>
                  <a:pt x="1569" y="851"/>
                </a:lnTo>
                <a:lnTo>
                  <a:pt x="1571" y="840"/>
                </a:lnTo>
                <a:lnTo>
                  <a:pt x="1575" y="830"/>
                </a:lnTo>
                <a:lnTo>
                  <a:pt x="1579" y="821"/>
                </a:lnTo>
                <a:lnTo>
                  <a:pt x="1585" y="811"/>
                </a:lnTo>
                <a:lnTo>
                  <a:pt x="1592" y="802"/>
                </a:lnTo>
                <a:lnTo>
                  <a:pt x="1598" y="796"/>
                </a:lnTo>
                <a:lnTo>
                  <a:pt x="1607" y="790"/>
                </a:lnTo>
                <a:lnTo>
                  <a:pt x="1613" y="783"/>
                </a:lnTo>
                <a:lnTo>
                  <a:pt x="1621" y="777"/>
                </a:lnTo>
                <a:lnTo>
                  <a:pt x="1630" y="773"/>
                </a:lnTo>
                <a:lnTo>
                  <a:pt x="1641" y="770"/>
                </a:lnTo>
                <a:lnTo>
                  <a:pt x="1649" y="768"/>
                </a:lnTo>
                <a:lnTo>
                  <a:pt x="1660" y="768"/>
                </a:lnTo>
                <a:lnTo>
                  <a:pt x="1672" y="768"/>
                </a:lnTo>
                <a:lnTo>
                  <a:pt x="1676" y="770"/>
                </a:lnTo>
                <a:lnTo>
                  <a:pt x="1683" y="773"/>
                </a:lnTo>
                <a:lnTo>
                  <a:pt x="1691" y="777"/>
                </a:lnTo>
                <a:lnTo>
                  <a:pt x="1700" y="785"/>
                </a:lnTo>
                <a:lnTo>
                  <a:pt x="1706" y="792"/>
                </a:lnTo>
                <a:lnTo>
                  <a:pt x="1710" y="802"/>
                </a:lnTo>
                <a:lnTo>
                  <a:pt x="1712" y="813"/>
                </a:lnTo>
                <a:lnTo>
                  <a:pt x="1715" y="825"/>
                </a:lnTo>
                <a:lnTo>
                  <a:pt x="1712" y="832"/>
                </a:lnTo>
                <a:lnTo>
                  <a:pt x="1712" y="840"/>
                </a:lnTo>
                <a:lnTo>
                  <a:pt x="1710" y="847"/>
                </a:lnTo>
                <a:lnTo>
                  <a:pt x="1706" y="855"/>
                </a:lnTo>
                <a:lnTo>
                  <a:pt x="1702" y="861"/>
                </a:lnTo>
                <a:lnTo>
                  <a:pt x="1698" y="868"/>
                </a:lnTo>
                <a:lnTo>
                  <a:pt x="1687" y="878"/>
                </a:lnTo>
                <a:lnTo>
                  <a:pt x="1681" y="885"/>
                </a:lnTo>
                <a:lnTo>
                  <a:pt x="1674" y="889"/>
                </a:lnTo>
                <a:lnTo>
                  <a:pt x="1662" y="895"/>
                </a:lnTo>
                <a:lnTo>
                  <a:pt x="1653" y="900"/>
                </a:lnTo>
                <a:lnTo>
                  <a:pt x="1647" y="902"/>
                </a:lnTo>
                <a:lnTo>
                  <a:pt x="1632" y="902"/>
                </a:lnTo>
                <a:lnTo>
                  <a:pt x="1626" y="902"/>
                </a:lnTo>
                <a:lnTo>
                  <a:pt x="1621" y="900"/>
                </a:lnTo>
                <a:lnTo>
                  <a:pt x="1619" y="897"/>
                </a:lnTo>
                <a:lnTo>
                  <a:pt x="1617" y="893"/>
                </a:lnTo>
                <a:lnTo>
                  <a:pt x="1617" y="891"/>
                </a:lnTo>
                <a:lnTo>
                  <a:pt x="1615" y="883"/>
                </a:lnTo>
                <a:lnTo>
                  <a:pt x="1617" y="876"/>
                </a:lnTo>
                <a:lnTo>
                  <a:pt x="1617" y="874"/>
                </a:lnTo>
                <a:lnTo>
                  <a:pt x="1619" y="874"/>
                </a:lnTo>
                <a:lnTo>
                  <a:pt x="1632" y="870"/>
                </a:lnTo>
                <a:lnTo>
                  <a:pt x="1645" y="866"/>
                </a:lnTo>
                <a:lnTo>
                  <a:pt x="1655" y="859"/>
                </a:lnTo>
                <a:lnTo>
                  <a:pt x="1664" y="853"/>
                </a:lnTo>
                <a:lnTo>
                  <a:pt x="1672" y="845"/>
                </a:lnTo>
                <a:lnTo>
                  <a:pt x="1674" y="842"/>
                </a:lnTo>
                <a:lnTo>
                  <a:pt x="1676" y="838"/>
                </a:lnTo>
                <a:lnTo>
                  <a:pt x="1681" y="830"/>
                </a:lnTo>
                <a:lnTo>
                  <a:pt x="1683" y="821"/>
                </a:lnTo>
                <a:lnTo>
                  <a:pt x="1681" y="815"/>
                </a:lnTo>
                <a:lnTo>
                  <a:pt x="1681" y="811"/>
                </a:lnTo>
                <a:lnTo>
                  <a:pt x="1679" y="806"/>
                </a:lnTo>
                <a:lnTo>
                  <a:pt x="1674" y="804"/>
                </a:lnTo>
                <a:lnTo>
                  <a:pt x="1672" y="802"/>
                </a:lnTo>
                <a:lnTo>
                  <a:pt x="1668" y="800"/>
                </a:lnTo>
                <a:lnTo>
                  <a:pt x="1657" y="798"/>
                </a:lnTo>
                <a:lnTo>
                  <a:pt x="1647" y="800"/>
                </a:lnTo>
                <a:lnTo>
                  <a:pt x="1641" y="802"/>
                </a:lnTo>
                <a:lnTo>
                  <a:pt x="1636" y="804"/>
                </a:lnTo>
                <a:lnTo>
                  <a:pt x="1630" y="809"/>
                </a:lnTo>
                <a:lnTo>
                  <a:pt x="1626" y="813"/>
                </a:lnTo>
                <a:lnTo>
                  <a:pt x="1617" y="823"/>
                </a:lnTo>
                <a:lnTo>
                  <a:pt x="1613" y="830"/>
                </a:lnTo>
                <a:lnTo>
                  <a:pt x="1609" y="836"/>
                </a:lnTo>
                <a:lnTo>
                  <a:pt x="1602" y="849"/>
                </a:lnTo>
                <a:lnTo>
                  <a:pt x="1598" y="866"/>
                </a:lnTo>
                <a:lnTo>
                  <a:pt x="1598" y="874"/>
                </a:lnTo>
                <a:lnTo>
                  <a:pt x="1596" y="883"/>
                </a:lnTo>
                <a:lnTo>
                  <a:pt x="1598" y="897"/>
                </a:lnTo>
                <a:lnTo>
                  <a:pt x="1600" y="904"/>
                </a:lnTo>
                <a:lnTo>
                  <a:pt x="1600" y="912"/>
                </a:lnTo>
                <a:lnTo>
                  <a:pt x="1607" y="923"/>
                </a:lnTo>
                <a:lnTo>
                  <a:pt x="1613" y="933"/>
                </a:lnTo>
                <a:lnTo>
                  <a:pt x="1621" y="942"/>
                </a:lnTo>
                <a:lnTo>
                  <a:pt x="1626" y="946"/>
                </a:lnTo>
                <a:lnTo>
                  <a:pt x="1632" y="948"/>
                </a:lnTo>
                <a:lnTo>
                  <a:pt x="1643" y="952"/>
                </a:lnTo>
                <a:lnTo>
                  <a:pt x="1649" y="955"/>
                </a:lnTo>
                <a:lnTo>
                  <a:pt x="1655" y="955"/>
                </a:lnTo>
                <a:lnTo>
                  <a:pt x="1668" y="952"/>
                </a:lnTo>
                <a:lnTo>
                  <a:pt x="1679" y="950"/>
                </a:lnTo>
                <a:lnTo>
                  <a:pt x="1685" y="946"/>
                </a:lnTo>
                <a:lnTo>
                  <a:pt x="1691" y="944"/>
                </a:lnTo>
                <a:lnTo>
                  <a:pt x="1700" y="936"/>
                </a:lnTo>
                <a:lnTo>
                  <a:pt x="1710" y="927"/>
                </a:lnTo>
                <a:lnTo>
                  <a:pt x="1719" y="917"/>
                </a:lnTo>
                <a:lnTo>
                  <a:pt x="1727" y="906"/>
                </a:lnTo>
                <a:lnTo>
                  <a:pt x="1734" y="893"/>
                </a:lnTo>
                <a:lnTo>
                  <a:pt x="1740" y="878"/>
                </a:lnTo>
                <a:lnTo>
                  <a:pt x="1744" y="864"/>
                </a:lnTo>
                <a:lnTo>
                  <a:pt x="1748" y="851"/>
                </a:lnTo>
                <a:lnTo>
                  <a:pt x="1753" y="836"/>
                </a:lnTo>
                <a:lnTo>
                  <a:pt x="1755" y="821"/>
                </a:lnTo>
                <a:lnTo>
                  <a:pt x="1757" y="806"/>
                </a:lnTo>
                <a:lnTo>
                  <a:pt x="1757" y="794"/>
                </a:lnTo>
                <a:lnTo>
                  <a:pt x="1757" y="781"/>
                </a:lnTo>
                <a:lnTo>
                  <a:pt x="1759" y="777"/>
                </a:lnTo>
                <a:lnTo>
                  <a:pt x="1761" y="775"/>
                </a:lnTo>
                <a:lnTo>
                  <a:pt x="1765" y="775"/>
                </a:lnTo>
                <a:lnTo>
                  <a:pt x="1770" y="773"/>
                </a:lnTo>
                <a:lnTo>
                  <a:pt x="1778" y="775"/>
                </a:lnTo>
                <a:lnTo>
                  <a:pt x="1782" y="777"/>
                </a:lnTo>
                <a:lnTo>
                  <a:pt x="1784" y="779"/>
                </a:lnTo>
                <a:lnTo>
                  <a:pt x="1789" y="787"/>
                </a:lnTo>
                <a:lnTo>
                  <a:pt x="1791" y="792"/>
                </a:lnTo>
                <a:lnTo>
                  <a:pt x="1791" y="800"/>
                </a:lnTo>
                <a:lnTo>
                  <a:pt x="1791" y="817"/>
                </a:lnTo>
                <a:lnTo>
                  <a:pt x="1789" y="836"/>
                </a:lnTo>
                <a:lnTo>
                  <a:pt x="1784" y="855"/>
                </a:lnTo>
                <a:lnTo>
                  <a:pt x="1780" y="872"/>
                </a:lnTo>
                <a:lnTo>
                  <a:pt x="1774" y="889"/>
                </a:lnTo>
                <a:lnTo>
                  <a:pt x="1768" y="904"/>
                </a:lnTo>
                <a:lnTo>
                  <a:pt x="1761" y="919"/>
                </a:lnTo>
                <a:lnTo>
                  <a:pt x="1751" y="933"/>
                </a:lnTo>
                <a:lnTo>
                  <a:pt x="1742" y="944"/>
                </a:lnTo>
                <a:lnTo>
                  <a:pt x="1738" y="950"/>
                </a:lnTo>
                <a:lnTo>
                  <a:pt x="1732" y="957"/>
                </a:lnTo>
                <a:lnTo>
                  <a:pt x="1721" y="965"/>
                </a:lnTo>
                <a:lnTo>
                  <a:pt x="1708" y="974"/>
                </a:lnTo>
                <a:lnTo>
                  <a:pt x="1696" y="982"/>
                </a:lnTo>
                <a:lnTo>
                  <a:pt x="1683" y="986"/>
                </a:lnTo>
                <a:lnTo>
                  <a:pt x="1668" y="988"/>
                </a:lnTo>
                <a:lnTo>
                  <a:pt x="1653" y="991"/>
                </a:lnTo>
                <a:close/>
                <a:moveTo>
                  <a:pt x="1884" y="986"/>
                </a:moveTo>
                <a:lnTo>
                  <a:pt x="1880" y="984"/>
                </a:lnTo>
                <a:lnTo>
                  <a:pt x="1871" y="978"/>
                </a:lnTo>
                <a:lnTo>
                  <a:pt x="1854" y="963"/>
                </a:lnTo>
                <a:lnTo>
                  <a:pt x="1833" y="944"/>
                </a:lnTo>
                <a:lnTo>
                  <a:pt x="1816" y="923"/>
                </a:lnTo>
                <a:lnTo>
                  <a:pt x="1808" y="914"/>
                </a:lnTo>
                <a:lnTo>
                  <a:pt x="1804" y="908"/>
                </a:lnTo>
                <a:lnTo>
                  <a:pt x="1799" y="895"/>
                </a:lnTo>
                <a:lnTo>
                  <a:pt x="1797" y="889"/>
                </a:lnTo>
                <a:lnTo>
                  <a:pt x="1797" y="885"/>
                </a:lnTo>
                <a:lnTo>
                  <a:pt x="1797" y="876"/>
                </a:lnTo>
                <a:lnTo>
                  <a:pt x="1799" y="870"/>
                </a:lnTo>
                <a:lnTo>
                  <a:pt x="1804" y="861"/>
                </a:lnTo>
                <a:lnTo>
                  <a:pt x="1808" y="855"/>
                </a:lnTo>
                <a:lnTo>
                  <a:pt x="1820" y="840"/>
                </a:lnTo>
                <a:lnTo>
                  <a:pt x="1837" y="819"/>
                </a:lnTo>
                <a:lnTo>
                  <a:pt x="1880" y="770"/>
                </a:lnTo>
                <a:lnTo>
                  <a:pt x="1886" y="773"/>
                </a:lnTo>
                <a:lnTo>
                  <a:pt x="1892" y="775"/>
                </a:lnTo>
                <a:lnTo>
                  <a:pt x="1897" y="779"/>
                </a:lnTo>
                <a:lnTo>
                  <a:pt x="1901" y="783"/>
                </a:lnTo>
                <a:lnTo>
                  <a:pt x="1903" y="790"/>
                </a:lnTo>
                <a:lnTo>
                  <a:pt x="1901" y="796"/>
                </a:lnTo>
                <a:lnTo>
                  <a:pt x="1899" y="800"/>
                </a:lnTo>
                <a:lnTo>
                  <a:pt x="1897" y="802"/>
                </a:lnTo>
                <a:lnTo>
                  <a:pt x="1867" y="838"/>
                </a:lnTo>
                <a:lnTo>
                  <a:pt x="1850" y="857"/>
                </a:lnTo>
                <a:lnTo>
                  <a:pt x="1837" y="874"/>
                </a:lnTo>
                <a:lnTo>
                  <a:pt x="1833" y="878"/>
                </a:lnTo>
                <a:lnTo>
                  <a:pt x="1833" y="883"/>
                </a:lnTo>
                <a:lnTo>
                  <a:pt x="1835" y="887"/>
                </a:lnTo>
                <a:lnTo>
                  <a:pt x="1837" y="893"/>
                </a:lnTo>
                <a:lnTo>
                  <a:pt x="1848" y="906"/>
                </a:lnTo>
                <a:lnTo>
                  <a:pt x="1865" y="923"/>
                </a:lnTo>
                <a:lnTo>
                  <a:pt x="1884" y="942"/>
                </a:lnTo>
                <a:lnTo>
                  <a:pt x="1903" y="961"/>
                </a:lnTo>
                <a:lnTo>
                  <a:pt x="1905" y="963"/>
                </a:lnTo>
                <a:lnTo>
                  <a:pt x="1905" y="967"/>
                </a:lnTo>
                <a:lnTo>
                  <a:pt x="1905" y="969"/>
                </a:lnTo>
                <a:lnTo>
                  <a:pt x="1903" y="974"/>
                </a:lnTo>
                <a:lnTo>
                  <a:pt x="1899" y="980"/>
                </a:lnTo>
                <a:lnTo>
                  <a:pt x="1892" y="984"/>
                </a:lnTo>
                <a:lnTo>
                  <a:pt x="1888" y="986"/>
                </a:lnTo>
                <a:lnTo>
                  <a:pt x="1884" y="986"/>
                </a:lnTo>
                <a:close/>
                <a:moveTo>
                  <a:pt x="1653" y="1581"/>
                </a:moveTo>
                <a:lnTo>
                  <a:pt x="1645" y="1581"/>
                </a:lnTo>
                <a:lnTo>
                  <a:pt x="1636" y="1579"/>
                </a:lnTo>
                <a:lnTo>
                  <a:pt x="1628" y="1577"/>
                </a:lnTo>
                <a:lnTo>
                  <a:pt x="1619" y="1573"/>
                </a:lnTo>
                <a:lnTo>
                  <a:pt x="1611" y="1568"/>
                </a:lnTo>
                <a:lnTo>
                  <a:pt x="1602" y="1564"/>
                </a:lnTo>
                <a:lnTo>
                  <a:pt x="1596" y="1558"/>
                </a:lnTo>
                <a:lnTo>
                  <a:pt x="1590" y="1551"/>
                </a:lnTo>
                <a:lnTo>
                  <a:pt x="1583" y="1543"/>
                </a:lnTo>
                <a:lnTo>
                  <a:pt x="1579" y="1535"/>
                </a:lnTo>
                <a:lnTo>
                  <a:pt x="1571" y="1518"/>
                </a:lnTo>
                <a:lnTo>
                  <a:pt x="1569" y="1507"/>
                </a:lnTo>
                <a:lnTo>
                  <a:pt x="1564" y="1496"/>
                </a:lnTo>
                <a:lnTo>
                  <a:pt x="1564" y="1486"/>
                </a:lnTo>
                <a:lnTo>
                  <a:pt x="1564" y="1475"/>
                </a:lnTo>
                <a:lnTo>
                  <a:pt x="1564" y="1465"/>
                </a:lnTo>
                <a:lnTo>
                  <a:pt x="1564" y="1454"/>
                </a:lnTo>
                <a:lnTo>
                  <a:pt x="1569" y="1444"/>
                </a:lnTo>
                <a:lnTo>
                  <a:pt x="1571" y="1433"/>
                </a:lnTo>
                <a:lnTo>
                  <a:pt x="1575" y="1422"/>
                </a:lnTo>
                <a:lnTo>
                  <a:pt x="1579" y="1412"/>
                </a:lnTo>
                <a:lnTo>
                  <a:pt x="1585" y="1403"/>
                </a:lnTo>
                <a:lnTo>
                  <a:pt x="1592" y="1395"/>
                </a:lnTo>
                <a:lnTo>
                  <a:pt x="1598" y="1386"/>
                </a:lnTo>
                <a:lnTo>
                  <a:pt x="1607" y="1380"/>
                </a:lnTo>
                <a:lnTo>
                  <a:pt x="1613" y="1374"/>
                </a:lnTo>
                <a:lnTo>
                  <a:pt x="1621" y="1369"/>
                </a:lnTo>
                <a:lnTo>
                  <a:pt x="1630" y="1365"/>
                </a:lnTo>
                <a:lnTo>
                  <a:pt x="1641" y="1361"/>
                </a:lnTo>
                <a:lnTo>
                  <a:pt x="1649" y="1361"/>
                </a:lnTo>
                <a:lnTo>
                  <a:pt x="1660" y="1359"/>
                </a:lnTo>
                <a:lnTo>
                  <a:pt x="1672" y="1361"/>
                </a:lnTo>
                <a:lnTo>
                  <a:pt x="1676" y="1361"/>
                </a:lnTo>
                <a:lnTo>
                  <a:pt x="1683" y="1363"/>
                </a:lnTo>
                <a:lnTo>
                  <a:pt x="1691" y="1369"/>
                </a:lnTo>
                <a:lnTo>
                  <a:pt x="1700" y="1376"/>
                </a:lnTo>
                <a:lnTo>
                  <a:pt x="1706" y="1384"/>
                </a:lnTo>
                <a:lnTo>
                  <a:pt x="1710" y="1395"/>
                </a:lnTo>
                <a:lnTo>
                  <a:pt x="1712" y="1405"/>
                </a:lnTo>
                <a:lnTo>
                  <a:pt x="1715" y="1416"/>
                </a:lnTo>
                <a:lnTo>
                  <a:pt x="1712" y="1424"/>
                </a:lnTo>
                <a:lnTo>
                  <a:pt x="1712" y="1431"/>
                </a:lnTo>
                <a:lnTo>
                  <a:pt x="1710" y="1439"/>
                </a:lnTo>
                <a:lnTo>
                  <a:pt x="1706" y="1446"/>
                </a:lnTo>
                <a:lnTo>
                  <a:pt x="1702" y="1452"/>
                </a:lnTo>
                <a:lnTo>
                  <a:pt x="1698" y="1458"/>
                </a:lnTo>
                <a:lnTo>
                  <a:pt x="1687" y="1471"/>
                </a:lnTo>
                <a:lnTo>
                  <a:pt x="1681" y="1475"/>
                </a:lnTo>
                <a:lnTo>
                  <a:pt x="1674" y="1480"/>
                </a:lnTo>
                <a:lnTo>
                  <a:pt x="1662" y="1488"/>
                </a:lnTo>
                <a:lnTo>
                  <a:pt x="1653" y="1490"/>
                </a:lnTo>
                <a:lnTo>
                  <a:pt x="1647" y="1492"/>
                </a:lnTo>
                <a:lnTo>
                  <a:pt x="1632" y="1494"/>
                </a:lnTo>
                <a:lnTo>
                  <a:pt x="1626" y="1492"/>
                </a:lnTo>
                <a:lnTo>
                  <a:pt x="1621" y="1490"/>
                </a:lnTo>
                <a:lnTo>
                  <a:pt x="1619" y="1488"/>
                </a:lnTo>
                <a:lnTo>
                  <a:pt x="1617" y="1486"/>
                </a:lnTo>
                <a:lnTo>
                  <a:pt x="1617" y="1482"/>
                </a:lnTo>
                <a:lnTo>
                  <a:pt x="1615" y="1475"/>
                </a:lnTo>
                <a:lnTo>
                  <a:pt x="1617" y="1469"/>
                </a:lnTo>
                <a:lnTo>
                  <a:pt x="1617" y="1467"/>
                </a:lnTo>
                <a:lnTo>
                  <a:pt x="1619" y="1465"/>
                </a:lnTo>
                <a:lnTo>
                  <a:pt x="1632" y="1463"/>
                </a:lnTo>
                <a:lnTo>
                  <a:pt x="1645" y="1458"/>
                </a:lnTo>
                <a:lnTo>
                  <a:pt x="1655" y="1452"/>
                </a:lnTo>
                <a:lnTo>
                  <a:pt x="1664" y="1446"/>
                </a:lnTo>
                <a:lnTo>
                  <a:pt x="1672" y="1437"/>
                </a:lnTo>
                <a:lnTo>
                  <a:pt x="1674" y="1433"/>
                </a:lnTo>
                <a:lnTo>
                  <a:pt x="1676" y="1429"/>
                </a:lnTo>
                <a:lnTo>
                  <a:pt x="1681" y="1420"/>
                </a:lnTo>
                <a:lnTo>
                  <a:pt x="1683" y="1412"/>
                </a:lnTo>
                <a:lnTo>
                  <a:pt x="1681" y="1408"/>
                </a:lnTo>
                <a:lnTo>
                  <a:pt x="1681" y="1403"/>
                </a:lnTo>
                <a:lnTo>
                  <a:pt x="1679" y="1399"/>
                </a:lnTo>
                <a:lnTo>
                  <a:pt x="1674" y="1395"/>
                </a:lnTo>
                <a:lnTo>
                  <a:pt x="1672" y="1393"/>
                </a:lnTo>
                <a:lnTo>
                  <a:pt x="1668" y="1391"/>
                </a:lnTo>
                <a:lnTo>
                  <a:pt x="1657" y="1391"/>
                </a:lnTo>
                <a:lnTo>
                  <a:pt x="1647" y="1391"/>
                </a:lnTo>
                <a:lnTo>
                  <a:pt x="1641" y="1393"/>
                </a:lnTo>
                <a:lnTo>
                  <a:pt x="1636" y="1397"/>
                </a:lnTo>
                <a:lnTo>
                  <a:pt x="1630" y="1399"/>
                </a:lnTo>
                <a:lnTo>
                  <a:pt x="1626" y="1403"/>
                </a:lnTo>
                <a:lnTo>
                  <a:pt x="1617" y="1414"/>
                </a:lnTo>
                <a:lnTo>
                  <a:pt x="1613" y="1420"/>
                </a:lnTo>
                <a:lnTo>
                  <a:pt x="1609" y="1427"/>
                </a:lnTo>
                <a:lnTo>
                  <a:pt x="1602" y="1441"/>
                </a:lnTo>
                <a:lnTo>
                  <a:pt x="1598" y="1456"/>
                </a:lnTo>
                <a:lnTo>
                  <a:pt x="1598" y="1465"/>
                </a:lnTo>
                <a:lnTo>
                  <a:pt x="1596" y="1473"/>
                </a:lnTo>
                <a:lnTo>
                  <a:pt x="1598" y="1490"/>
                </a:lnTo>
                <a:lnTo>
                  <a:pt x="1600" y="1496"/>
                </a:lnTo>
                <a:lnTo>
                  <a:pt x="1600" y="1503"/>
                </a:lnTo>
                <a:lnTo>
                  <a:pt x="1607" y="1516"/>
                </a:lnTo>
                <a:lnTo>
                  <a:pt x="1613" y="1526"/>
                </a:lnTo>
                <a:lnTo>
                  <a:pt x="1621" y="1535"/>
                </a:lnTo>
                <a:lnTo>
                  <a:pt x="1626" y="1537"/>
                </a:lnTo>
                <a:lnTo>
                  <a:pt x="1632" y="1541"/>
                </a:lnTo>
                <a:lnTo>
                  <a:pt x="1643" y="1545"/>
                </a:lnTo>
                <a:lnTo>
                  <a:pt x="1649" y="1545"/>
                </a:lnTo>
                <a:lnTo>
                  <a:pt x="1655" y="1545"/>
                </a:lnTo>
                <a:lnTo>
                  <a:pt x="1668" y="1545"/>
                </a:lnTo>
                <a:lnTo>
                  <a:pt x="1679" y="1541"/>
                </a:lnTo>
                <a:lnTo>
                  <a:pt x="1685" y="1539"/>
                </a:lnTo>
                <a:lnTo>
                  <a:pt x="1691" y="1535"/>
                </a:lnTo>
                <a:lnTo>
                  <a:pt x="1700" y="1528"/>
                </a:lnTo>
                <a:lnTo>
                  <a:pt x="1710" y="1520"/>
                </a:lnTo>
                <a:lnTo>
                  <a:pt x="1719" y="1509"/>
                </a:lnTo>
                <a:lnTo>
                  <a:pt x="1727" y="1496"/>
                </a:lnTo>
                <a:lnTo>
                  <a:pt x="1734" y="1484"/>
                </a:lnTo>
                <a:lnTo>
                  <a:pt x="1740" y="1471"/>
                </a:lnTo>
                <a:lnTo>
                  <a:pt x="1744" y="1456"/>
                </a:lnTo>
                <a:lnTo>
                  <a:pt x="1748" y="1441"/>
                </a:lnTo>
                <a:lnTo>
                  <a:pt x="1753" y="1427"/>
                </a:lnTo>
                <a:lnTo>
                  <a:pt x="1755" y="1412"/>
                </a:lnTo>
                <a:lnTo>
                  <a:pt x="1757" y="1399"/>
                </a:lnTo>
                <a:lnTo>
                  <a:pt x="1757" y="1384"/>
                </a:lnTo>
                <a:lnTo>
                  <a:pt x="1757" y="1372"/>
                </a:lnTo>
                <a:lnTo>
                  <a:pt x="1759" y="1369"/>
                </a:lnTo>
                <a:lnTo>
                  <a:pt x="1761" y="1367"/>
                </a:lnTo>
                <a:lnTo>
                  <a:pt x="1765" y="1365"/>
                </a:lnTo>
                <a:lnTo>
                  <a:pt x="1770" y="1365"/>
                </a:lnTo>
                <a:lnTo>
                  <a:pt x="1778" y="1365"/>
                </a:lnTo>
                <a:lnTo>
                  <a:pt x="1782" y="1367"/>
                </a:lnTo>
                <a:lnTo>
                  <a:pt x="1784" y="1369"/>
                </a:lnTo>
                <a:lnTo>
                  <a:pt x="1789" y="1378"/>
                </a:lnTo>
                <a:lnTo>
                  <a:pt x="1791" y="1384"/>
                </a:lnTo>
                <a:lnTo>
                  <a:pt x="1791" y="1391"/>
                </a:lnTo>
                <a:lnTo>
                  <a:pt x="1791" y="1410"/>
                </a:lnTo>
                <a:lnTo>
                  <a:pt x="1789" y="1429"/>
                </a:lnTo>
                <a:lnTo>
                  <a:pt x="1784" y="1446"/>
                </a:lnTo>
                <a:lnTo>
                  <a:pt x="1780" y="1463"/>
                </a:lnTo>
                <a:lnTo>
                  <a:pt x="1774" y="1480"/>
                </a:lnTo>
                <a:lnTo>
                  <a:pt x="1768" y="1496"/>
                </a:lnTo>
                <a:lnTo>
                  <a:pt x="1761" y="1511"/>
                </a:lnTo>
                <a:lnTo>
                  <a:pt x="1751" y="1524"/>
                </a:lnTo>
                <a:lnTo>
                  <a:pt x="1742" y="1537"/>
                </a:lnTo>
                <a:lnTo>
                  <a:pt x="1738" y="1543"/>
                </a:lnTo>
                <a:lnTo>
                  <a:pt x="1732" y="1547"/>
                </a:lnTo>
                <a:lnTo>
                  <a:pt x="1721" y="1558"/>
                </a:lnTo>
                <a:lnTo>
                  <a:pt x="1708" y="1566"/>
                </a:lnTo>
                <a:lnTo>
                  <a:pt x="1696" y="1573"/>
                </a:lnTo>
                <a:lnTo>
                  <a:pt x="1683" y="1577"/>
                </a:lnTo>
                <a:lnTo>
                  <a:pt x="1668" y="1581"/>
                </a:lnTo>
                <a:lnTo>
                  <a:pt x="1653" y="1581"/>
                </a:lnTo>
                <a:close/>
                <a:moveTo>
                  <a:pt x="1884" y="1579"/>
                </a:moveTo>
                <a:lnTo>
                  <a:pt x="1880" y="1577"/>
                </a:lnTo>
                <a:lnTo>
                  <a:pt x="1871" y="1571"/>
                </a:lnTo>
                <a:lnTo>
                  <a:pt x="1854" y="1556"/>
                </a:lnTo>
                <a:lnTo>
                  <a:pt x="1833" y="1535"/>
                </a:lnTo>
                <a:lnTo>
                  <a:pt x="1816" y="1516"/>
                </a:lnTo>
                <a:lnTo>
                  <a:pt x="1808" y="1507"/>
                </a:lnTo>
                <a:lnTo>
                  <a:pt x="1804" y="1501"/>
                </a:lnTo>
                <a:lnTo>
                  <a:pt x="1799" y="1488"/>
                </a:lnTo>
                <a:lnTo>
                  <a:pt x="1797" y="1482"/>
                </a:lnTo>
                <a:lnTo>
                  <a:pt x="1797" y="1475"/>
                </a:lnTo>
                <a:lnTo>
                  <a:pt x="1797" y="1469"/>
                </a:lnTo>
                <a:lnTo>
                  <a:pt x="1799" y="1463"/>
                </a:lnTo>
                <a:lnTo>
                  <a:pt x="1804" y="1454"/>
                </a:lnTo>
                <a:lnTo>
                  <a:pt x="1808" y="1446"/>
                </a:lnTo>
                <a:lnTo>
                  <a:pt x="1820" y="1431"/>
                </a:lnTo>
                <a:lnTo>
                  <a:pt x="1837" y="1410"/>
                </a:lnTo>
                <a:lnTo>
                  <a:pt x="1880" y="1363"/>
                </a:lnTo>
                <a:lnTo>
                  <a:pt x="1886" y="1363"/>
                </a:lnTo>
                <a:lnTo>
                  <a:pt x="1892" y="1365"/>
                </a:lnTo>
                <a:lnTo>
                  <a:pt x="1897" y="1369"/>
                </a:lnTo>
                <a:lnTo>
                  <a:pt x="1901" y="1376"/>
                </a:lnTo>
                <a:lnTo>
                  <a:pt x="1903" y="1382"/>
                </a:lnTo>
                <a:lnTo>
                  <a:pt x="1901" y="1389"/>
                </a:lnTo>
                <a:lnTo>
                  <a:pt x="1899" y="1391"/>
                </a:lnTo>
                <a:lnTo>
                  <a:pt x="1897" y="1395"/>
                </a:lnTo>
                <a:lnTo>
                  <a:pt x="1867" y="1429"/>
                </a:lnTo>
                <a:lnTo>
                  <a:pt x="1850" y="1450"/>
                </a:lnTo>
                <a:lnTo>
                  <a:pt x="1837" y="1465"/>
                </a:lnTo>
                <a:lnTo>
                  <a:pt x="1833" y="1469"/>
                </a:lnTo>
                <a:lnTo>
                  <a:pt x="1833" y="1473"/>
                </a:lnTo>
                <a:lnTo>
                  <a:pt x="1835" y="1480"/>
                </a:lnTo>
                <a:lnTo>
                  <a:pt x="1837" y="1484"/>
                </a:lnTo>
                <a:lnTo>
                  <a:pt x="1848" y="1496"/>
                </a:lnTo>
                <a:lnTo>
                  <a:pt x="1865" y="1516"/>
                </a:lnTo>
                <a:lnTo>
                  <a:pt x="1884" y="1535"/>
                </a:lnTo>
                <a:lnTo>
                  <a:pt x="1903" y="1551"/>
                </a:lnTo>
                <a:lnTo>
                  <a:pt x="1905" y="1556"/>
                </a:lnTo>
                <a:lnTo>
                  <a:pt x="1905" y="1558"/>
                </a:lnTo>
                <a:lnTo>
                  <a:pt x="1905" y="1562"/>
                </a:lnTo>
                <a:lnTo>
                  <a:pt x="1903" y="1564"/>
                </a:lnTo>
                <a:lnTo>
                  <a:pt x="1899" y="1571"/>
                </a:lnTo>
                <a:lnTo>
                  <a:pt x="1892" y="1577"/>
                </a:lnTo>
                <a:lnTo>
                  <a:pt x="1888" y="1577"/>
                </a:lnTo>
                <a:lnTo>
                  <a:pt x="1884" y="1579"/>
                </a:lnTo>
                <a:close/>
                <a:moveTo>
                  <a:pt x="1653" y="2157"/>
                </a:moveTo>
                <a:lnTo>
                  <a:pt x="1645" y="2155"/>
                </a:lnTo>
                <a:lnTo>
                  <a:pt x="1636" y="2155"/>
                </a:lnTo>
                <a:lnTo>
                  <a:pt x="1628" y="2150"/>
                </a:lnTo>
                <a:lnTo>
                  <a:pt x="1619" y="2148"/>
                </a:lnTo>
                <a:lnTo>
                  <a:pt x="1611" y="2144"/>
                </a:lnTo>
                <a:lnTo>
                  <a:pt x="1602" y="2138"/>
                </a:lnTo>
                <a:lnTo>
                  <a:pt x="1596" y="2131"/>
                </a:lnTo>
                <a:lnTo>
                  <a:pt x="1590" y="2125"/>
                </a:lnTo>
                <a:lnTo>
                  <a:pt x="1583" y="2119"/>
                </a:lnTo>
                <a:lnTo>
                  <a:pt x="1579" y="2110"/>
                </a:lnTo>
                <a:lnTo>
                  <a:pt x="1571" y="2091"/>
                </a:lnTo>
                <a:lnTo>
                  <a:pt x="1569" y="2083"/>
                </a:lnTo>
                <a:lnTo>
                  <a:pt x="1564" y="2072"/>
                </a:lnTo>
                <a:lnTo>
                  <a:pt x="1564" y="2062"/>
                </a:lnTo>
                <a:lnTo>
                  <a:pt x="1564" y="2051"/>
                </a:lnTo>
                <a:lnTo>
                  <a:pt x="1564" y="2038"/>
                </a:lnTo>
                <a:lnTo>
                  <a:pt x="1564" y="2028"/>
                </a:lnTo>
                <a:lnTo>
                  <a:pt x="1569" y="2017"/>
                </a:lnTo>
                <a:lnTo>
                  <a:pt x="1571" y="2007"/>
                </a:lnTo>
                <a:lnTo>
                  <a:pt x="1575" y="1996"/>
                </a:lnTo>
                <a:lnTo>
                  <a:pt x="1579" y="1988"/>
                </a:lnTo>
                <a:lnTo>
                  <a:pt x="1585" y="1977"/>
                </a:lnTo>
                <a:lnTo>
                  <a:pt x="1592" y="1968"/>
                </a:lnTo>
                <a:lnTo>
                  <a:pt x="1598" y="1962"/>
                </a:lnTo>
                <a:lnTo>
                  <a:pt x="1607" y="1954"/>
                </a:lnTo>
                <a:lnTo>
                  <a:pt x="1613" y="1949"/>
                </a:lnTo>
                <a:lnTo>
                  <a:pt x="1621" y="1943"/>
                </a:lnTo>
                <a:lnTo>
                  <a:pt x="1630" y="1939"/>
                </a:lnTo>
                <a:lnTo>
                  <a:pt x="1641" y="1937"/>
                </a:lnTo>
                <a:lnTo>
                  <a:pt x="1649" y="1935"/>
                </a:lnTo>
                <a:lnTo>
                  <a:pt x="1660" y="1935"/>
                </a:lnTo>
                <a:lnTo>
                  <a:pt x="1672" y="1935"/>
                </a:lnTo>
                <a:lnTo>
                  <a:pt x="1676" y="1937"/>
                </a:lnTo>
                <a:lnTo>
                  <a:pt x="1683" y="1939"/>
                </a:lnTo>
                <a:lnTo>
                  <a:pt x="1691" y="1943"/>
                </a:lnTo>
                <a:lnTo>
                  <a:pt x="1700" y="1949"/>
                </a:lnTo>
                <a:lnTo>
                  <a:pt x="1706" y="1958"/>
                </a:lnTo>
                <a:lnTo>
                  <a:pt x="1710" y="1968"/>
                </a:lnTo>
                <a:lnTo>
                  <a:pt x="1712" y="1979"/>
                </a:lnTo>
                <a:lnTo>
                  <a:pt x="1715" y="1992"/>
                </a:lnTo>
                <a:lnTo>
                  <a:pt x="1712" y="1998"/>
                </a:lnTo>
                <a:lnTo>
                  <a:pt x="1712" y="2007"/>
                </a:lnTo>
                <a:lnTo>
                  <a:pt x="1710" y="2013"/>
                </a:lnTo>
                <a:lnTo>
                  <a:pt x="1706" y="2019"/>
                </a:lnTo>
                <a:lnTo>
                  <a:pt x="1702" y="2028"/>
                </a:lnTo>
                <a:lnTo>
                  <a:pt x="1698" y="2034"/>
                </a:lnTo>
                <a:lnTo>
                  <a:pt x="1687" y="2045"/>
                </a:lnTo>
                <a:lnTo>
                  <a:pt x="1681" y="2051"/>
                </a:lnTo>
                <a:lnTo>
                  <a:pt x="1674" y="2055"/>
                </a:lnTo>
                <a:lnTo>
                  <a:pt x="1662" y="2062"/>
                </a:lnTo>
                <a:lnTo>
                  <a:pt x="1653" y="2066"/>
                </a:lnTo>
                <a:lnTo>
                  <a:pt x="1647" y="2068"/>
                </a:lnTo>
                <a:lnTo>
                  <a:pt x="1632" y="2068"/>
                </a:lnTo>
                <a:lnTo>
                  <a:pt x="1626" y="2068"/>
                </a:lnTo>
                <a:lnTo>
                  <a:pt x="1621" y="2066"/>
                </a:lnTo>
                <a:lnTo>
                  <a:pt x="1619" y="2064"/>
                </a:lnTo>
                <a:lnTo>
                  <a:pt x="1617" y="2059"/>
                </a:lnTo>
                <a:lnTo>
                  <a:pt x="1617" y="2057"/>
                </a:lnTo>
                <a:lnTo>
                  <a:pt x="1615" y="2049"/>
                </a:lnTo>
                <a:lnTo>
                  <a:pt x="1617" y="2043"/>
                </a:lnTo>
                <a:lnTo>
                  <a:pt x="1617" y="2040"/>
                </a:lnTo>
                <a:lnTo>
                  <a:pt x="1619" y="2038"/>
                </a:lnTo>
                <a:lnTo>
                  <a:pt x="1632" y="2036"/>
                </a:lnTo>
                <a:lnTo>
                  <a:pt x="1645" y="2032"/>
                </a:lnTo>
                <a:lnTo>
                  <a:pt x="1655" y="2026"/>
                </a:lnTo>
                <a:lnTo>
                  <a:pt x="1664" y="2019"/>
                </a:lnTo>
                <a:lnTo>
                  <a:pt x="1672" y="2011"/>
                </a:lnTo>
                <a:lnTo>
                  <a:pt x="1674" y="2007"/>
                </a:lnTo>
                <a:lnTo>
                  <a:pt x="1676" y="2002"/>
                </a:lnTo>
                <a:lnTo>
                  <a:pt x="1681" y="1994"/>
                </a:lnTo>
                <a:lnTo>
                  <a:pt x="1683" y="1985"/>
                </a:lnTo>
                <a:lnTo>
                  <a:pt x="1681" y="1981"/>
                </a:lnTo>
                <a:lnTo>
                  <a:pt x="1681" y="1977"/>
                </a:lnTo>
                <a:lnTo>
                  <a:pt x="1679" y="1973"/>
                </a:lnTo>
                <a:lnTo>
                  <a:pt x="1674" y="1971"/>
                </a:lnTo>
                <a:lnTo>
                  <a:pt x="1672" y="1966"/>
                </a:lnTo>
                <a:lnTo>
                  <a:pt x="1668" y="1966"/>
                </a:lnTo>
                <a:lnTo>
                  <a:pt x="1657" y="1964"/>
                </a:lnTo>
                <a:lnTo>
                  <a:pt x="1647" y="1966"/>
                </a:lnTo>
                <a:lnTo>
                  <a:pt x="1641" y="1968"/>
                </a:lnTo>
                <a:lnTo>
                  <a:pt x="1636" y="1971"/>
                </a:lnTo>
                <a:lnTo>
                  <a:pt x="1630" y="1975"/>
                </a:lnTo>
                <a:lnTo>
                  <a:pt x="1626" y="1979"/>
                </a:lnTo>
                <a:lnTo>
                  <a:pt x="1617" y="1990"/>
                </a:lnTo>
                <a:lnTo>
                  <a:pt x="1613" y="1994"/>
                </a:lnTo>
                <a:lnTo>
                  <a:pt x="1609" y="2002"/>
                </a:lnTo>
                <a:lnTo>
                  <a:pt x="1602" y="2015"/>
                </a:lnTo>
                <a:lnTo>
                  <a:pt x="1598" y="2032"/>
                </a:lnTo>
                <a:lnTo>
                  <a:pt x="1598" y="2040"/>
                </a:lnTo>
                <a:lnTo>
                  <a:pt x="1596" y="2049"/>
                </a:lnTo>
                <a:lnTo>
                  <a:pt x="1598" y="2064"/>
                </a:lnTo>
                <a:lnTo>
                  <a:pt x="1600" y="2070"/>
                </a:lnTo>
                <a:lnTo>
                  <a:pt x="1600" y="2076"/>
                </a:lnTo>
                <a:lnTo>
                  <a:pt x="1607" y="2089"/>
                </a:lnTo>
                <a:lnTo>
                  <a:pt x="1613" y="2100"/>
                </a:lnTo>
                <a:lnTo>
                  <a:pt x="1621" y="2108"/>
                </a:lnTo>
                <a:lnTo>
                  <a:pt x="1626" y="2112"/>
                </a:lnTo>
                <a:lnTo>
                  <a:pt x="1632" y="2115"/>
                </a:lnTo>
                <a:lnTo>
                  <a:pt x="1643" y="2119"/>
                </a:lnTo>
                <a:lnTo>
                  <a:pt x="1649" y="2121"/>
                </a:lnTo>
                <a:lnTo>
                  <a:pt x="1655" y="2121"/>
                </a:lnTo>
                <a:lnTo>
                  <a:pt x="1668" y="2119"/>
                </a:lnTo>
                <a:lnTo>
                  <a:pt x="1679" y="2115"/>
                </a:lnTo>
                <a:lnTo>
                  <a:pt x="1685" y="2112"/>
                </a:lnTo>
                <a:lnTo>
                  <a:pt x="1691" y="2110"/>
                </a:lnTo>
                <a:lnTo>
                  <a:pt x="1700" y="2102"/>
                </a:lnTo>
                <a:lnTo>
                  <a:pt x="1710" y="2093"/>
                </a:lnTo>
                <a:lnTo>
                  <a:pt x="1719" y="2083"/>
                </a:lnTo>
                <a:lnTo>
                  <a:pt x="1727" y="2070"/>
                </a:lnTo>
                <a:lnTo>
                  <a:pt x="1734" y="2057"/>
                </a:lnTo>
                <a:lnTo>
                  <a:pt x="1740" y="2045"/>
                </a:lnTo>
                <a:lnTo>
                  <a:pt x="1744" y="2030"/>
                </a:lnTo>
                <a:lnTo>
                  <a:pt x="1748" y="2017"/>
                </a:lnTo>
                <a:lnTo>
                  <a:pt x="1753" y="2002"/>
                </a:lnTo>
                <a:lnTo>
                  <a:pt x="1755" y="1988"/>
                </a:lnTo>
                <a:lnTo>
                  <a:pt x="1757" y="1973"/>
                </a:lnTo>
                <a:lnTo>
                  <a:pt x="1757" y="1960"/>
                </a:lnTo>
                <a:lnTo>
                  <a:pt x="1757" y="1947"/>
                </a:lnTo>
                <a:lnTo>
                  <a:pt x="1759" y="1943"/>
                </a:lnTo>
                <a:lnTo>
                  <a:pt x="1761" y="1941"/>
                </a:lnTo>
                <a:lnTo>
                  <a:pt x="1765" y="1939"/>
                </a:lnTo>
                <a:lnTo>
                  <a:pt x="1770" y="1939"/>
                </a:lnTo>
                <a:lnTo>
                  <a:pt x="1778" y="1941"/>
                </a:lnTo>
                <a:lnTo>
                  <a:pt x="1782" y="1943"/>
                </a:lnTo>
                <a:lnTo>
                  <a:pt x="1784" y="1945"/>
                </a:lnTo>
                <a:lnTo>
                  <a:pt x="1789" y="1954"/>
                </a:lnTo>
                <a:lnTo>
                  <a:pt x="1791" y="1958"/>
                </a:lnTo>
                <a:lnTo>
                  <a:pt x="1791" y="1964"/>
                </a:lnTo>
                <a:lnTo>
                  <a:pt x="1791" y="1983"/>
                </a:lnTo>
                <a:lnTo>
                  <a:pt x="1789" y="2002"/>
                </a:lnTo>
                <a:lnTo>
                  <a:pt x="1784" y="2019"/>
                </a:lnTo>
                <a:lnTo>
                  <a:pt x="1780" y="2038"/>
                </a:lnTo>
                <a:lnTo>
                  <a:pt x="1774" y="2053"/>
                </a:lnTo>
                <a:lnTo>
                  <a:pt x="1768" y="2070"/>
                </a:lnTo>
                <a:lnTo>
                  <a:pt x="1761" y="2085"/>
                </a:lnTo>
                <a:lnTo>
                  <a:pt x="1751" y="2098"/>
                </a:lnTo>
                <a:lnTo>
                  <a:pt x="1742" y="2110"/>
                </a:lnTo>
                <a:lnTo>
                  <a:pt x="1738" y="2117"/>
                </a:lnTo>
                <a:lnTo>
                  <a:pt x="1732" y="2123"/>
                </a:lnTo>
                <a:lnTo>
                  <a:pt x="1721" y="2131"/>
                </a:lnTo>
                <a:lnTo>
                  <a:pt x="1708" y="2140"/>
                </a:lnTo>
                <a:lnTo>
                  <a:pt x="1696" y="2146"/>
                </a:lnTo>
                <a:lnTo>
                  <a:pt x="1683" y="2153"/>
                </a:lnTo>
                <a:lnTo>
                  <a:pt x="1668" y="2155"/>
                </a:lnTo>
                <a:lnTo>
                  <a:pt x="1653" y="2157"/>
                </a:lnTo>
                <a:close/>
                <a:moveTo>
                  <a:pt x="1884" y="2153"/>
                </a:moveTo>
                <a:lnTo>
                  <a:pt x="1880" y="2150"/>
                </a:lnTo>
                <a:lnTo>
                  <a:pt x="1871" y="2144"/>
                </a:lnTo>
                <a:lnTo>
                  <a:pt x="1854" y="2129"/>
                </a:lnTo>
                <a:lnTo>
                  <a:pt x="1833" y="2110"/>
                </a:lnTo>
                <a:lnTo>
                  <a:pt x="1816" y="2089"/>
                </a:lnTo>
                <a:lnTo>
                  <a:pt x="1808" y="2081"/>
                </a:lnTo>
                <a:lnTo>
                  <a:pt x="1804" y="2074"/>
                </a:lnTo>
                <a:lnTo>
                  <a:pt x="1799" y="2062"/>
                </a:lnTo>
                <a:lnTo>
                  <a:pt x="1797" y="2055"/>
                </a:lnTo>
                <a:lnTo>
                  <a:pt x="1797" y="2051"/>
                </a:lnTo>
                <a:lnTo>
                  <a:pt x="1797" y="2043"/>
                </a:lnTo>
                <a:lnTo>
                  <a:pt x="1799" y="2036"/>
                </a:lnTo>
                <a:lnTo>
                  <a:pt x="1804" y="2028"/>
                </a:lnTo>
                <a:lnTo>
                  <a:pt x="1808" y="2019"/>
                </a:lnTo>
                <a:lnTo>
                  <a:pt x="1820" y="2004"/>
                </a:lnTo>
                <a:lnTo>
                  <a:pt x="1837" y="1985"/>
                </a:lnTo>
                <a:lnTo>
                  <a:pt x="1880" y="1937"/>
                </a:lnTo>
                <a:lnTo>
                  <a:pt x="1886" y="1937"/>
                </a:lnTo>
                <a:lnTo>
                  <a:pt x="1892" y="1941"/>
                </a:lnTo>
                <a:lnTo>
                  <a:pt x="1897" y="1945"/>
                </a:lnTo>
                <a:lnTo>
                  <a:pt x="1901" y="1949"/>
                </a:lnTo>
                <a:lnTo>
                  <a:pt x="1903" y="1956"/>
                </a:lnTo>
                <a:lnTo>
                  <a:pt x="1901" y="1962"/>
                </a:lnTo>
                <a:lnTo>
                  <a:pt x="1899" y="1966"/>
                </a:lnTo>
                <a:lnTo>
                  <a:pt x="1897" y="1968"/>
                </a:lnTo>
                <a:lnTo>
                  <a:pt x="1867" y="2002"/>
                </a:lnTo>
                <a:lnTo>
                  <a:pt x="1850" y="2023"/>
                </a:lnTo>
                <a:lnTo>
                  <a:pt x="1837" y="2038"/>
                </a:lnTo>
                <a:lnTo>
                  <a:pt x="1833" y="2045"/>
                </a:lnTo>
                <a:lnTo>
                  <a:pt x="1833" y="2049"/>
                </a:lnTo>
                <a:lnTo>
                  <a:pt x="1835" y="2053"/>
                </a:lnTo>
                <a:lnTo>
                  <a:pt x="1837" y="2059"/>
                </a:lnTo>
                <a:lnTo>
                  <a:pt x="1848" y="2072"/>
                </a:lnTo>
                <a:lnTo>
                  <a:pt x="1865" y="2089"/>
                </a:lnTo>
                <a:lnTo>
                  <a:pt x="1884" y="2108"/>
                </a:lnTo>
                <a:lnTo>
                  <a:pt x="1903" y="2127"/>
                </a:lnTo>
                <a:lnTo>
                  <a:pt x="1905" y="2129"/>
                </a:lnTo>
                <a:lnTo>
                  <a:pt x="1905" y="2131"/>
                </a:lnTo>
                <a:lnTo>
                  <a:pt x="1905" y="2136"/>
                </a:lnTo>
                <a:lnTo>
                  <a:pt x="1903" y="2140"/>
                </a:lnTo>
                <a:lnTo>
                  <a:pt x="1899" y="2146"/>
                </a:lnTo>
                <a:lnTo>
                  <a:pt x="1892" y="2150"/>
                </a:lnTo>
                <a:lnTo>
                  <a:pt x="1888" y="2153"/>
                </a:lnTo>
                <a:lnTo>
                  <a:pt x="1884" y="2153"/>
                </a:lnTo>
                <a:close/>
                <a:moveTo>
                  <a:pt x="203" y="292"/>
                </a:moveTo>
                <a:lnTo>
                  <a:pt x="205" y="282"/>
                </a:lnTo>
                <a:lnTo>
                  <a:pt x="205" y="271"/>
                </a:lnTo>
                <a:lnTo>
                  <a:pt x="207" y="258"/>
                </a:lnTo>
                <a:lnTo>
                  <a:pt x="212" y="250"/>
                </a:lnTo>
                <a:lnTo>
                  <a:pt x="216" y="239"/>
                </a:lnTo>
                <a:lnTo>
                  <a:pt x="220" y="229"/>
                </a:lnTo>
                <a:lnTo>
                  <a:pt x="226" y="220"/>
                </a:lnTo>
                <a:lnTo>
                  <a:pt x="233" y="212"/>
                </a:lnTo>
                <a:lnTo>
                  <a:pt x="239" y="203"/>
                </a:lnTo>
                <a:lnTo>
                  <a:pt x="246" y="197"/>
                </a:lnTo>
                <a:lnTo>
                  <a:pt x="254" y="190"/>
                </a:lnTo>
                <a:lnTo>
                  <a:pt x="262" y="186"/>
                </a:lnTo>
                <a:lnTo>
                  <a:pt x="271" y="182"/>
                </a:lnTo>
                <a:lnTo>
                  <a:pt x="282" y="178"/>
                </a:lnTo>
                <a:lnTo>
                  <a:pt x="290" y="178"/>
                </a:lnTo>
                <a:lnTo>
                  <a:pt x="301" y="176"/>
                </a:lnTo>
                <a:lnTo>
                  <a:pt x="313" y="178"/>
                </a:lnTo>
                <a:lnTo>
                  <a:pt x="318" y="178"/>
                </a:lnTo>
                <a:lnTo>
                  <a:pt x="324" y="180"/>
                </a:lnTo>
                <a:lnTo>
                  <a:pt x="332" y="186"/>
                </a:lnTo>
                <a:lnTo>
                  <a:pt x="341" y="193"/>
                </a:lnTo>
                <a:lnTo>
                  <a:pt x="345" y="201"/>
                </a:lnTo>
                <a:lnTo>
                  <a:pt x="351" y="212"/>
                </a:lnTo>
                <a:lnTo>
                  <a:pt x="354" y="222"/>
                </a:lnTo>
                <a:lnTo>
                  <a:pt x="354" y="233"/>
                </a:lnTo>
                <a:lnTo>
                  <a:pt x="354" y="241"/>
                </a:lnTo>
                <a:lnTo>
                  <a:pt x="351" y="248"/>
                </a:lnTo>
                <a:lnTo>
                  <a:pt x="349" y="256"/>
                </a:lnTo>
                <a:lnTo>
                  <a:pt x="347" y="262"/>
                </a:lnTo>
                <a:lnTo>
                  <a:pt x="343" y="269"/>
                </a:lnTo>
                <a:lnTo>
                  <a:pt x="339" y="275"/>
                </a:lnTo>
                <a:lnTo>
                  <a:pt x="328" y="288"/>
                </a:lnTo>
                <a:lnTo>
                  <a:pt x="322" y="292"/>
                </a:lnTo>
                <a:lnTo>
                  <a:pt x="315" y="296"/>
                </a:lnTo>
                <a:lnTo>
                  <a:pt x="303" y="305"/>
                </a:lnTo>
                <a:lnTo>
                  <a:pt x="294" y="307"/>
                </a:lnTo>
                <a:lnTo>
                  <a:pt x="288" y="309"/>
                </a:lnTo>
                <a:lnTo>
                  <a:pt x="271" y="311"/>
                </a:lnTo>
                <a:lnTo>
                  <a:pt x="265" y="309"/>
                </a:lnTo>
                <a:lnTo>
                  <a:pt x="262" y="307"/>
                </a:lnTo>
                <a:lnTo>
                  <a:pt x="260" y="305"/>
                </a:lnTo>
                <a:lnTo>
                  <a:pt x="258" y="303"/>
                </a:lnTo>
                <a:lnTo>
                  <a:pt x="256" y="301"/>
                </a:lnTo>
                <a:lnTo>
                  <a:pt x="256" y="292"/>
                </a:lnTo>
                <a:lnTo>
                  <a:pt x="256" y="286"/>
                </a:lnTo>
                <a:lnTo>
                  <a:pt x="258" y="284"/>
                </a:lnTo>
                <a:lnTo>
                  <a:pt x="260" y="282"/>
                </a:lnTo>
                <a:lnTo>
                  <a:pt x="273" y="279"/>
                </a:lnTo>
                <a:lnTo>
                  <a:pt x="286" y="275"/>
                </a:lnTo>
                <a:lnTo>
                  <a:pt x="296" y="269"/>
                </a:lnTo>
                <a:lnTo>
                  <a:pt x="305" y="262"/>
                </a:lnTo>
                <a:lnTo>
                  <a:pt x="311" y="254"/>
                </a:lnTo>
                <a:lnTo>
                  <a:pt x="318" y="246"/>
                </a:lnTo>
                <a:lnTo>
                  <a:pt x="322" y="237"/>
                </a:lnTo>
                <a:lnTo>
                  <a:pt x="322" y="233"/>
                </a:lnTo>
                <a:lnTo>
                  <a:pt x="322" y="229"/>
                </a:lnTo>
                <a:lnTo>
                  <a:pt x="322" y="224"/>
                </a:lnTo>
                <a:lnTo>
                  <a:pt x="320" y="220"/>
                </a:lnTo>
                <a:lnTo>
                  <a:pt x="320" y="216"/>
                </a:lnTo>
                <a:lnTo>
                  <a:pt x="315" y="212"/>
                </a:lnTo>
                <a:lnTo>
                  <a:pt x="313" y="210"/>
                </a:lnTo>
                <a:lnTo>
                  <a:pt x="309" y="207"/>
                </a:lnTo>
                <a:lnTo>
                  <a:pt x="298" y="207"/>
                </a:lnTo>
                <a:lnTo>
                  <a:pt x="288" y="207"/>
                </a:lnTo>
                <a:lnTo>
                  <a:pt x="277" y="214"/>
                </a:lnTo>
                <a:lnTo>
                  <a:pt x="271" y="216"/>
                </a:lnTo>
                <a:lnTo>
                  <a:pt x="267" y="220"/>
                </a:lnTo>
                <a:lnTo>
                  <a:pt x="262" y="226"/>
                </a:lnTo>
                <a:lnTo>
                  <a:pt x="258" y="231"/>
                </a:lnTo>
                <a:lnTo>
                  <a:pt x="250" y="243"/>
                </a:lnTo>
                <a:lnTo>
                  <a:pt x="243" y="258"/>
                </a:lnTo>
                <a:lnTo>
                  <a:pt x="239" y="273"/>
                </a:lnTo>
                <a:lnTo>
                  <a:pt x="237" y="282"/>
                </a:lnTo>
                <a:lnTo>
                  <a:pt x="237" y="290"/>
                </a:lnTo>
                <a:lnTo>
                  <a:pt x="239" y="307"/>
                </a:lnTo>
                <a:lnTo>
                  <a:pt x="239" y="313"/>
                </a:lnTo>
                <a:lnTo>
                  <a:pt x="241" y="320"/>
                </a:lnTo>
                <a:lnTo>
                  <a:pt x="248" y="332"/>
                </a:lnTo>
                <a:lnTo>
                  <a:pt x="254" y="343"/>
                </a:lnTo>
                <a:lnTo>
                  <a:pt x="262" y="351"/>
                </a:lnTo>
                <a:lnTo>
                  <a:pt x="267" y="353"/>
                </a:lnTo>
                <a:lnTo>
                  <a:pt x="271" y="358"/>
                </a:lnTo>
                <a:lnTo>
                  <a:pt x="277" y="360"/>
                </a:lnTo>
                <a:lnTo>
                  <a:pt x="284" y="362"/>
                </a:lnTo>
                <a:lnTo>
                  <a:pt x="290" y="362"/>
                </a:lnTo>
                <a:lnTo>
                  <a:pt x="296" y="362"/>
                </a:lnTo>
                <a:lnTo>
                  <a:pt x="309" y="362"/>
                </a:lnTo>
                <a:lnTo>
                  <a:pt x="320" y="358"/>
                </a:lnTo>
                <a:lnTo>
                  <a:pt x="326" y="356"/>
                </a:lnTo>
                <a:lnTo>
                  <a:pt x="330" y="351"/>
                </a:lnTo>
                <a:lnTo>
                  <a:pt x="341" y="345"/>
                </a:lnTo>
                <a:lnTo>
                  <a:pt x="351" y="337"/>
                </a:lnTo>
                <a:lnTo>
                  <a:pt x="360" y="326"/>
                </a:lnTo>
                <a:lnTo>
                  <a:pt x="366" y="313"/>
                </a:lnTo>
                <a:lnTo>
                  <a:pt x="375" y="301"/>
                </a:lnTo>
                <a:lnTo>
                  <a:pt x="381" y="288"/>
                </a:lnTo>
                <a:lnTo>
                  <a:pt x="385" y="273"/>
                </a:lnTo>
                <a:lnTo>
                  <a:pt x="389" y="258"/>
                </a:lnTo>
                <a:lnTo>
                  <a:pt x="394" y="243"/>
                </a:lnTo>
                <a:lnTo>
                  <a:pt x="396" y="231"/>
                </a:lnTo>
                <a:lnTo>
                  <a:pt x="398" y="216"/>
                </a:lnTo>
                <a:lnTo>
                  <a:pt x="398" y="201"/>
                </a:lnTo>
                <a:lnTo>
                  <a:pt x="398" y="188"/>
                </a:lnTo>
                <a:lnTo>
                  <a:pt x="400" y="186"/>
                </a:lnTo>
                <a:lnTo>
                  <a:pt x="402" y="184"/>
                </a:lnTo>
                <a:lnTo>
                  <a:pt x="406" y="182"/>
                </a:lnTo>
                <a:lnTo>
                  <a:pt x="411" y="182"/>
                </a:lnTo>
                <a:lnTo>
                  <a:pt x="419" y="182"/>
                </a:lnTo>
                <a:lnTo>
                  <a:pt x="423" y="184"/>
                </a:lnTo>
                <a:lnTo>
                  <a:pt x="425" y="186"/>
                </a:lnTo>
                <a:lnTo>
                  <a:pt x="430" y="195"/>
                </a:lnTo>
                <a:lnTo>
                  <a:pt x="432" y="201"/>
                </a:lnTo>
                <a:lnTo>
                  <a:pt x="432" y="207"/>
                </a:lnTo>
                <a:lnTo>
                  <a:pt x="430" y="226"/>
                </a:lnTo>
                <a:lnTo>
                  <a:pt x="428" y="246"/>
                </a:lnTo>
                <a:lnTo>
                  <a:pt x="425" y="262"/>
                </a:lnTo>
                <a:lnTo>
                  <a:pt x="421" y="279"/>
                </a:lnTo>
                <a:lnTo>
                  <a:pt x="415" y="296"/>
                </a:lnTo>
                <a:lnTo>
                  <a:pt x="409" y="313"/>
                </a:lnTo>
                <a:lnTo>
                  <a:pt x="400" y="328"/>
                </a:lnTo>
                <a:lnTo>
                  <a:pt x="392" y="341"/>
                </a:lnTo>
                <a:lnTo>
                  <a:pt x="383" y="353"/>
                </a:lnTo>
                <a:lnTo>
                  <a:pt x="377" y="360"/>
                </a:lnTo>
                <a:lnTo>
                  <a:pt x="373" y="364"/>
                </a:lnTo>
                <a:lnTo>
                  <a:pt x="362" y="375"/>
                </a:lnTo>
                <a:lnTo>
                  <a:pt x="349" y="383"/>
                </a:lnTo>
                <a:lnTo>
                  <a:pt x="337" y="389"/>
                </a:lnTo>
                <a:lnTo>
                  <a:pt x="324" y="394"/>
                </a:lnTo>
                <a:lnTo>
                  <a:pt x="309" y="398"/>
                </a:lnTo>
                <a:lnTo>
                  <a:pt x="294" y="398"/>
                </a:lnTo>
                <a:lnTo>
                  <a:pt x="286" y="398"/>
                </a:lnTo>
                <a:lnTo>
                  <a:pt x="277" y="396"/>
                </a:lnTo>
                <a:lnTo>
                  <a:pt x="267" y="394"/>
                </a:lnTo>
                <a:lnTo>
                  <a:pt x="260" y="392"/>
                </a:lnTo>
                <a:lnTo>
                  <a:pt x="252" y="385"/>
                </a:lnTo>
                <a:lnTo>
                  <a:pt x="243" y="381"/>
                </a:lnTo>
                <a:lnTo>
                  <a:pt x="237" y="375"/>
                </a:lnTo>
                <a:lnTo>
                  <a:pt x="231" y="368"/>
                </a:lnTo>
                <a:lnTo>
                  <a:pt x="224" y="360"/>
                </a:lnTo>
                <a:lnTo>
                  <a:pt x="220" y="351"/>
                </a:lnTo>
                <a:lnTo>
                  <a:pt x="212" y="334"/>
                </a:lnTo>
                <a:lnTo>
                  <a:pt x="207" y="324"/>
                </a:lnTo>
                <a:lnTo>
                  <a:pt x="205" y="313"/>
                </a:lnTo>
                <a:lnTo>
                  <a:pt x="205" y="303"/>
                </a:lnTo>
                <a:lnTo>
                  <a:pt x="203" y="292"/>
                </a:lnTo>
                <a:close/>
                <a:moveTo>
                  <a:pt x="438" y="292"/>
                </a:moveTo>
                <a:lnTo>
                  <a:pt x="438" y="286"/>
                </a:lnTo>
                <a:lnTo>
                  <a:pt x="440" y="279"/>
                </a:lnTo>
                <a:lnTo>
                  <a:pt x="445" y="271"/>
                </a:lnTo>
                <a:lnTo>
                  <a:pt x="449" y="262"/>
                </a:lnTo>
                <a:lnTo>
                  <a:pt x="459" y="248"/>
                </a:lnTo>
                <a:lnTo>
                  <a:pt x="478" y="226"/>
                </a:lnTo>
                <a:lnTo>
                  <a:pt x="521" y="180"/>
                </a:lnTo>
                <a:lnTo>
                  <a:pt x="527" y="180"/>
                </a:lnTo>
                <a:lnTo>
                  <a:pt x="533" y="182"/>
                </a:lnTo>
                <a:lnTo>
                  <a:pt x="538" y="186"/>
                </a:lnTo>
                <a:lnTo>
                  <a:pt x="542" y="193"/>
                </a:lnTo>
                <a:lnTo>
                  <a:pt x="544" y="197"/>
                </a:lnTo>
                <a:lnTo>
                  <a:pt x="542" y="205"/>
                </a:lnTo>
                <a:lnTo>
                  <a:pt x="540" y="207"/>
                </a:lnTo>
                <a:lnTo>
                  <a:pt x="538" y="212"/>
                </a:lnTo>
                <a:lnTo>
                  <a:pt x="508" y="246"/>
                </a:lnTo>
                <a:lnTo>
                  <a:pt x="491" y="267"/>
                </a:lnTo>
                <a:lnTo>
                  <a:pt x="476" y="282"/>
                </a:lnTo>
                <a:lnTo>
                  <a:pt x="474" y="286"/>
                </a:lnTo>
                <a:lnTo>
                  <a:pt x="474" y="290"/>
                </a:lnTo>
                <a:lnTo>
                  <a:pt x="474" y="296"/>
                </a:lnTo>
                <a:lnTo>
                  <a:pt x="478" y="301"/>
                </a:lnTo>
                <a:lnTo>
                  <a:pt x="489" y="313"/>
                </a:lnTo>
                <a:lnTo>
                  <a:pt x="506" y="332"/>
                </a:lnTo>
                <a:lnTo>
                  <a:pt x="525" y="351"/>
                </a:lnTo>
                <a:lnTo>
                  <a:pt x="544" y="368"/>
                </a:lnTo>
                <a:lnTo>
                  <a:pt x="546" y="373"/>
                </a:lnTo>
                <a:lnTo>
                  <a:pt x="546" y="375"/>
                </a:lnTo>
                <a:lnTo>
                  <a:pt x="546" y="379"/>
                </a:lnTo>
                <a:lnTo>
                  <a:pt x="544" y="381"/>
                </a:lnTo>
                <a:lnTo>
                  <a:pt x="540" y="387"/>
                </a:lnTo>
                <a:lnTo>
                  <a:pt x="531" y="394"/>
                </a:lnTo>
                <a:lnTo>
                  <a:pt x="529" y="396"/>
                </a:lnTo>
                <a:lnTo>
                  <a:pt x="525" y="396"/>
                </a:lnTo>
                <a:lnTo>
                  <a:pt x="519" y="394"/>
                </a:lnTo>
                <a:lnTo>
                  <a:pt x="512" y="387"/>
                </a:lnTo>
                <a:lnTo>
                  <a:pt x="495" y="373"/>
                </a:lnTo>
                <a:lnTo>
                  <a:pt x="474" y="351"/>
                </a:lnTo>
                <a:lnTo>
                  <a:pt x="457" y="332"/>
                </a:lnTo>
                <a:lnTo>
                  <a:pt x="449" y="324"/>
                </a:lnTo>
                <a:lnTo>
                  <a:pt x="445" y="317"/>
                </a:lnTo>
                <a:lnTo>
                  <a:pt x="440" y="305"/>
                </a:lnTo>
                <a:lnTo>
                  <a:pt x="438" y="298"/>
                </a:lnTo>
                <a:lnTo>
                  <a:pt x="438" y="292"/>
                </a:lnTo>
                <a:close/>
                <a:moveTo>
                  <a:pt x="294" y="991"/>
                </a:moveTo>
                <a:lnTo>
                  <a:pt x="286" y="991"/>
                </a:lnTo>
                <a:lnTo>
                  <a:pt x="277" y="988"/>
                </a:lnTo>
                <a:lnTo>
                  <a:pt x="267" y="986"/>
                </a:lnTo>
                <a:lnTo>
                  <a:pt x="260" y="982"/>
                </a:lnTo>
                <a:lnTo>
                  <a:pt x="252" y="978"/>
                </a:lnTo>
                <a:lnTo>
                  <a:pt x="243" y="972"/>
                </a:lnTo>
                <a:lnTo>
                  <a:pt x="237" y="965"/>
                </a:lnTo>
                <a:lnTo>
                  <a:pt x="231" y="959"/>
                </a:lnTo>
                <a:lnTo>
                  <a:pt x="224" y="952"/>
                </a:lnTo>
                <a:lnTo>
                  <a:pt x="220" y="944"/>
                </a:lnTo>
                <a:lnTo>
                  <a:pt x="212" y="925"/>
                </a:lnTo>
                <a:lnTo>
                  <a:pt x="207" y="917"/>
                </a:lnTo>
                <a:lnTo>
                  <a:pt x="205" y="906"/>
                </a:lnTo>
                <a:lnTo>
                  <a:pt x="205" y="895"/>
                </a:lnTo>
                <a:lnTo>
                  <a:pt x="203" y="885"/>
                </a:lnTo>
                <a:lnTo>
                  <a:pt x="205" y="872"/>
                </a:lnTo>
                <a:lnTo>
                  <a:pt x="205" y="861"/>
                </a:lnTo>
                <a:lnTo>
                  <a:pt x="207" y="851"/>
                </a:lnTo>
                <a:lnTo>
                  <a:pt x="212" y="840"/>
                </a:lnTo>
                <a:lnTo>
                  <a:pt x="216" y="830"/>
                </a:lnTo>
                <a:lnTo>
                  <a:pt x="220" y="821"/>
                </a:lnTo>
                <a:lnTo>
                  <a:pt x="226" y="811"/>
                </a:lnTo>
                <a:lnTo>
                  <a:pt x="233" y="802"/>
                </a:lnTo>
                <a:lnTo>
                  <a:pt x="239" y="796"/>
                </a:lnTo>
                <a:lnTo>
                  <a:pt x="246" y="790"/>
                </a:lnTo>
                <a:lnTo>
                  <a:pt x="254" y="783"/>
                </a:lnTo>
                <a:lnTo>
                  <a:pt x="262" y="777"/>
                </a:lnTo>
                <a:lnTo>
                  <a:pt x="271" y="773"/>
                </a:lnTo>
                <a:lnTo>
                  <a:pt x="282" y="770"/>
                </a:lnTo>
                <a:lnTo>
                  <a:pt x="290" y="768"/>
                </a:lnTo>
                <a:lnTo>
                  <a:pt x="301" y="768"/>
                </a:lnTo>
                <a:lnTo>
                  <a:pt x="313" y="768"/>
                </a:lnTo>
                <a:lnTo>
                  <a:pt x="318" y="770"/>
                </a:lnTo>
                <a:lnTo>
                  <a:pt x="324" y="773"/>
                </a:lnTo>
                <a:lnTo>
                  <a:pt x="332" y="777"/>
                </a:lnTo>
                <a:lnTo>
                  <a:pt x="341" y="785"/>
                </a:lnTo>
                <a:lnTo>
                  <a:pt x="345" y="792"/>
                </a:lnTo>
                <a:lnTo>
                  <a:pt x="351" y="802"/>
                </a:lnTo>
                <a:lnTo>
                  <a:pt x="354" y="813"/>
                </a:lnTo>
                <a:lnTo>
                  <a:pt x="354" y="825"/>
                </a:lnTo>
                <a:lnTo>
                  <a:pt x="354" y="832"/>
                </a:lnTo>
                <a:lnTo>
                  <a:pt x="351" y="840"/>
                </a:lnTo>
                <a:lnTo>
                  <a:pt x="349" y="847"/>
                </a:lnTo>
                <a:lnTo>
                  <a:pt x="347" y="855"/>
                </a:lnTo>
                <a:lnTo>
                  <a:pt x="343" y="861"/>
                </a:lnTo>
                <a:lnTo>
                  <a:pt x="339" y="868"/>
                </a:lnTo>
                <a:lnTo>
                  <a:pt x="328" y="878"/>
                </a:lnTo>
                <a:lnTo>
                  <a:pt x="322" y="885"/>
                </a:lnTo>
                <a:lnTo>
                  <a:pt x="315" y="889"/>
                </a:lnTo>
                <a:lnTo>
                  <a:pt x="303" y="895"/>
                </a:lnTo>
                <a:lnTo>
                  <a:pt x="294" y="900"/>
                </a:lnTo>
                <a:lnTo>
                  <a:pt x="288" y="902"/>
                </a:lnTo>
                <a:lnTo>
                  <a:pt x="271" y="902"/>
                </a:lnTo>
                <a:lnTo>
                  <a:pt x="265" y="902"/>
                </a:lnTo>
                <a:lnTo>
                  <a:pt x="262" y="900"/>
                </a:lnTo>
                <a:lnTo>
                  <a:pt x="260" y="897"/>
                </a:lnTo>
                <a:lnTo>
                  <a:pt x="258" y="893"/>
                </a:lnTo>
                <a:lnTo>
                  <a:pt x="256" y="891"/>
                </a:lnTo>
                <a:lnTo>
                  <a:pt x="256" y="883"/>
                </a:lnTo>
                <a:lnTo>
                  <a:pt x="256" y="876"/>
                </a:lnTo>
                <a:lnTo>
                  <a:pt x="258" y="874"/>
                </a:lnTo>
                <a:lnTo>
                  <a:pt x="260" y="874"/>
                </a:lnTo>
                <a:lnTo>
                  <a:pt x="273" y="870"/>
                </a:lnTo>
                <a:lnTo>
                  <a:pt x="286" y="866"/>
                </a:lnTo>
                <a:lnTo>
                  <a:pt x="296" y="859"/>
                </a:lnTo>
                <a:lnTo>
                  <a:pt x="305" y="853"/>
                </a:lnTo>
                <a:lnTo>
                  <a:pt x="311" y="845"/>
                </a:lnTo>
                <a:lnTo>
                  <a:pt x="315" y="842"/>
                </a:lnTo>
                <a:lnTo>
                  <a:pt x="318" y="838"/>
                </a:lnTo>
                <a:lnTo>
                  <a:pt x="322" y="830"/>
                </a:lnTo>
                <a:lnTo>
                  <a:pt x="322" y="821"/>
                </a:lnTo>
                <a:lnTo>
                  <a:pt x="322" y="815"/>
                </a:lnTo>
                <a:lnTo>
                  <a:pt x="322" y="811"/>
                </a:lnTo>
                <a:lnTo>
                  <a:pt x="320" y="806"/>
                </a:lnTo>
                <a:lnTo>
                  <a:pt x="315" y="804"/>
                </a:lnTo>
                <a:lnTo>
                  <a:pt x="313" y="802"/>
                </a:lnTo>
                <a:lnTo>
                  <a:pt x="309" y="800"/>
                </a:lnTo>
                <a:lnTo>
                  <a:pt x="298" y="798"/>
                </a:lnTo>
                <a:lnTo>
                  <a:pt x="288" y="800"/>
                </a:lnTo>
                <a:lnTo>
                  <a:pt x="282" y="802"/>
                </a:lnTo>
                <a:lnTo>
                  <a:pt x="277" y="804"/>
                </a:lnTo>
                <a:lnTo>
                  <a:pt x="271" y="809"/>
                </a:lnTo>
                <a:lnTo>
                  <a:pt x="267" y="813"/>
                </a:lnTo>
                <a:lnTo>
                  <a:pt x="258" y="823"/>
                </a:lnTo>
                <a:lnTo>
                  <a:pt x="254" y="830"/>
                </a:lnTo>
                <a:lnTo>
                  <a:pt x="250" y="836"/>
                </a:lnTo>
                <a:lnTo>
                  <a:pt x="243" y="849"/>
                </a:lnTo>
                <a:lnTo>
                  <a:pt x="239" y="866"/>
                </a:lnTo>
                <a:lnTo>
                  <a:pt x="237" y="874"/>
                </a:lnTo>
                <a:lnTo>
                  <a:pt x="237" y="883"/>
                </a:lnTo>
                <a:lnTo>
                  <a:pt x="239" y="897"/>
                </a:lnTo>
                <a:lnTo>
                  <a:pt x="239" y="904"/>
                </a:lnTo>
                <a:lnTo>
                  <a:pt x="241" y="912"/>
                </a:lnTo>
                <a:lnTo>
                  <a:pt x="248" y="923"/>
                </a:lnTo>
                <a:lnTo>
                  <a:pt x="254" y="933"/>
                </a:lnTo>
                <a:lnTo>
                  <a:pt x="262" y="942"/>
                </a:lnTo>
                <a:lnTo>
                  <a:pt x="267" y="946"/>
                </a:lnTo>
                <a:lnTo>
                  <a:pt x="271" y="948"/>
                </a:lnTo>
                <a:lnTo>
                  <a:pt x="284" y="952"/>
                </a:lnTo>
                <a:lnTo>
                  <a:pt x="290" y="955"/>
                </a:lnTo>
                <a:lnTo>
                  <a:pt x="296" y="955"/>
                </a:lnTo>
                <a:lnTo>
                  <a:pt x="309" y="952"/>
                </a:lnTo>
                <a:lnTo>
                  <a:pt x="320" y="950"/>
                </a:lnTo>
                <a:lnTo>
                  <a:pt x="326" y="946"/>
                </a:lnTo>
                <a:lnTo>
                  <a:pt x="330" y="944"/>
                </a:lnTo>
                <a:lnTo>
                  <a:pt x="341" y="936"/>
                </a:lnTo>
                <a:lnTo>
                  <a:pt x="351" y="927"/>
                </a:lnTo>
                <a:lnTo>
                  <a:pt x="360" y="917"/>
                </a:lnTo>
                <a:lnTo>
                  <a:pt x="366" y="906"/>
                </a:lnTo>
                <a:lnTo>
                  <a:pt x="375" y="893"/>
                </a:lnTo>
                <a:lnTo>
                  <a:pt x="381" y="878"/>
                </a:lnTo>
                <a:lnTo>
                  <a:pt x="385" y="864"/>
                </a:lnTo>
                <a:lnTo>
                  <a:pt x="389" y="851"/>
                </a:lnTo>
                <a:lnTo>
                  <a:pt x="394" y="836"/>
                </a:lnTo>
                <a:lnTo>
                  <a:pt x="396" y="821"/>
                </a:lnTo>
                <a:lnTo>
                  <a:pt x="398" y="806"/>
                </a:lnTo>
                <a:lnTo>
                  <a:pt x="398" y="794"/>
                </a:lnTo>
                <a:lnTo>
                  <a:pt x="398" y="781"/>
                </a:lnTo>
                <a:lnTo>
                  <a:pt x="400" y="777"/>
                </a:lnTo>
                <a:lnTo>
                  <a:pt x="402" y="775"/>
                </a:lnTo>
                <a:lnTo>
                  <a:pt x="406" y="775"/>
                </a:lnTo>
                <a:lnTo>
                  <a:pt x="411" y="773"/>
                </a:lnTo>
                <a:lnTo>
                  <a:pt x="419" y="775"/>
                </a:lnTo>
                <a:lnTo>
                  <a:pt x="423" y="777"/>
                </a:lnTo>
                <a:lnTo>
                  <a:pt x="425" y="779"/>
                </a:lnTo>
                <a:lnTo>
                  <a:pt x="430" y="787"/>
                </a:lnTo>
                <a:lnTo>
                  <a:pt x="432" y="792"/>
                </a:lnTo>
                <a:lnTo>
                  <a:pt x="432" y="800"/>
                </a:lnTo>
                <a:lnTo>
                  <a:pt x="430" y="817"/>
                </a:lnTo>
                <a:lnTo>
                  <a:pt x="428" y="836"/>
                </a:lnTo>
                <a:lnTo>
                  <a:pt x="425" y="855"/>
                </a:lnTo>
                <a:lnTo>
                  <a:pt x="421" y="872"/>
                </a:lnTo>
                <a:lnTo>
                  <a:pt x="415" y="889"/>
                </a:lnTo>
                <a:lnTo>
                  <a:pt x="409" y="904"/>
                </a:lnTo>
                <a:lnTo>
                  <a:pt x="400" y="919"/>
                </a:lnTo>
                <a:lnTo>
                  <a:pt x="392" y="933"/>
                </a:lnTo>
                <a:lnTo>
                  <a:pt x="383" y="944"/>
                </a:lnTo>
                <a:lnTo>
                  <a:pt x="377" y="950"/>
                </a:lnTo>
                <a:lnTo>
                  <a:pt x="373" y="957"/>
                </a:lnTo>
                <a:lnTo>
                  <a:pt x="362" y="965"/>
                </a:lnTo>
                <a:lnTo>
                  <a:pt x="349" y="974"/>
                </a:lnTo>
                <a:lnTo>
                  <a:pt x="337" y="982"/>
                </a:lnTo>
                <a:lnTo>
                  <a:pt x="324" y="986"/>
                </a:lnTo>
                <a:lnTo>
                  <a:pt x="309" y="988"/>
                </a:lnTo>
                <a:lnTo>
                  <a:pt x="294" y="991"/>
                </a:lnTo>
                <a:close/>
                <a:moveTo>
                  <a:pt x="525" y="986"/>
                </a:moveTo>
                <a:lnTo>
                  <a:pt x="519" y="984"/>
                </a:lnTo>
                <a:lnTo>
                  <a:pt x="512" y="978"/>
                </a:lnTo>
                <a:lnTo>
                  <a:pt x="495" y="963"/>
                </a:lnTo>
                <a:lnTo>
                  <a:pt x="474" y="944"/>
                </a:lnTo>
                <a:lnTo>
                  <a:pt x="457" y="923"/>
                </a:lnTo>
                <a:lnTo>
                  <a:pt x="449" y="914"/>
                </a:lnTo>
                <a:lnTo>
                  <a:pt x="445" y="908"/>
                </a:lnTo>
                <a:lnTo>
                  <a:pt x="440" y="895"/>
                </a:lnTo>
                <a:lnTo>
                  <a:pt x="438" y="889"/>
                </a:lnTo>
                <a:lnTo>
                  <a:pt x="438" y="885"/>
                </a:lnTo>
                <a:lnTo>
                  <a:pt x="438" y="876"/>
                </a:lnTo>
                <a:lnTo>
                  <a:pt x="440" y="870"/>
                </a:lnTo>
                <a:lnTo>
                  <a:pt x="445" y="861"/>
                </a:lnTo>
                <a:lnTo>
                  <a:pt x="449" y="855"/>
                </a:lnTo>
                <a:lnTo>
                  <a:pt x="459" y="840"/>
                </a:lnTo>
                <a:lnTo>
                  <a:pt x="478" y="819"/>
                </a:lnTo>
                <a:lnTo>
                  <a:pt x="521" y="770"/>
                </a:lnTo>
                <a:lnTo>
                  <a:pt x="527" y="773"/>
                </a:lnTo>
                <a:lnTo>
                  <a:pt x="533" y="775"/>
                </a:lnTo>
                <a:lnTo>
                  <a:pt x="538" y="779"/>
                </a:lnTo>
                <a:lnTo>
                  <a:pt x="542" y="783"/>
                </a:lnTo>
                <a:lnTo>
                  <a:pt x="544" y="790"/>
                </a:lnTo>
                <a:lnTo>
                  <a:pt x="542" y="796"/>
                </a:lnTo>
                <a:lnTo>
                  <a:pt x="540" y="800"/>
                </a:lnTo>
                <a:lnTo>
                  <a:pt x="538" y="802"/>
                </a:lnTo>
                <a:lnTo>
                  <a:pt x="508" y="838"/>
                </a:lnTo>
                <a:lnTo>
                  <a:pt x="491" y="857"/>
                </a:lnTo>
                <a:lnTo>
                  <a:pt x="476" y="874"/>
                </a:lnTo>
                <a:lnTo>
                  <a:pt x="474" y="878"/>
                </a:lnTo>
                <a:lnTo>
                  <a:pt x="474" y="883"/>
                </a:lnTo>
                <a:lnTo>
                  <a:pt x="474" y="887"/>
                </a:lnTo>
                <a:lnTo>
                  <a:pt x="478" y="893"/>
                </a:lnTo>
                <a:lnTo>
                  <a:pt x="489" y="906"/>
                </a:lnTo>
                <a:lnTo>
                  <a:pt x="506" y="923"/>
                </a:lnTo>
                <a:lnTo>
                  <a:pt x="525" y="942"/>
                </a:lnTo>
                <a:lnTo>
                  <a:pt x="544" y="961"/>
                </a:lnTo>
                <a:lnTo>
                  <a:pt x="546" y="963"/>
                </a:lnTo>
                <a:lnTo>
                  <a:pt x="546" y="967"/>
                </a:lnTo>
                <a:lnTo>
                  <a:pt x="546" y="969"/>
                </a:lnTo>
                <a:lnTo>
                  <a:pt x="544" y="974"/>
                </a:lnTo>
                <a:lnTo>
                  <a:pt x="540" y="980"/>
                </a:lnTo>
                <a:lnTo>
                  <a:pt x="531" y="984"/>
                </a:lnTo>
                <a:lnTo>
                  <a:pt x="529" y="986"/>
                </a:lnTo>
                <a:lnTo>
                  <a:pt x="525" y="986"/>
                </a:lnTo>
                <a:close/>
                <a:moveTo>
                  <a:pt x="294" y="1581"/>
                </a:moveTo>
                <a:lnTo>
                  <a:pt x="286" y="1581"/>
                </a:lnTo>
                <a:lnTo>
                  <a:pt x="275" y="1579"/>
                </a:lnTo>
                <a:lnTo>
                  <a:pt x="267" y="1577"/>
                </a:lnTo>
                <a:lnTo>
                  <a:pt x="258" y="1573"/>
                </a:lnTo>
                <a:lnTo>
                  <a:pt x="250" y="1568"/>
                </a:lnTo>
                <a:lnTo>
                  <a:pt x="241" y="1562"/>
                </a:lnTo>
                <a:lnTo>
                  <a:pt x="235" y="1556"/>
                </a:lnTo>
                <a:lnTo>
                  <a:pt x="229" y="1547"/>
                </a:lnTo>
                <a:lnTo>
                  <a:pt x="220" y="1501"/>
                </a:lnTo>
                <a:lnTo>
                  <a:pt x="212" y="1433"/>
                </a:lnTo>
                <a:lnTo>
                  <a:pt x="214" y="1424"/>
                </a:lnTo>
                <a:lnTo>
                  <a:pt x="218" y="1418"/>
                </a:lnTo>
                <a:lnTo>
                  <a:pt x="226" y="1403"/>
                </a:lnTo>
                <a:lnTo>
                  <a:pt x="235" y="1391"/>
                </a:lnTo>
                <a:lnTo>
                  <a:pt x="241" y="1386"/>
                </a:lnTo>
                <a:lnTo>
                  <a:pt x="246" y="1380"/>
                </a:lnTo>
                <a:lnTo>
                  <a:pt x="258" y="1372"/>
                </a:lnTo>
                <a:lnTo>
                  <a:pt x="265" y="1367"/>
                </a:lnTo>
                <a:lnTo>
                  <a:pt x="271" y="1365"/>
                </a:lnTo>
                <a:lnTo>
                  <a:pt x="286" y="1361"/>
                </a:lnTo>
                <a:lnTo>
                  <a:pt x="301" y="1359"/>
                </a:lnTo>
                <a:lnTo>
                  <a:pt x="313" y="1361"/>
                </a:lnTo>
                <a:lnTo>
                  <a:pt x="318" y="1361"/>
                </a:lnTo>
                <a:lnTo>
                  <a:pt x="324" y="1363"/>
                </a:lnTo>
                <a:lnTo>
                  <a:pt x="332" y="1369"/>
                </a:lnTo>
                <a:lnTo>
                  <a:pt x="341" y="1376"/>
                </a:lnTo>
                <a:lnTo>
                  <a:pt x="345" y="1384"/>
                </a:lnTo>
                <a:lnTo>
                  <a:pt x="351" y="1395"/>
                </a:lnTo>
                <a:lnTo>
                  <a:pt x="354" y="1405"/>
                </a:lnTo>
                <a:lnTo>
                  <a:pt x="354" y="1416"/>
                </a:lnTo>
                <a:lnTo>
                  <a:pt x="354" y="1424"/>
                </a:lnTo>
                <a:lnTo>
                  <a:pt x="351" y="1431"/>
                </a:lnTo>
                <a:lnTo>
                  <a:pt x="349" y="1439"/>
                </a:lnTo>
                <a:lnTo>
                  <a:pt x="347" y="1446"/>
                </a:lnTo>
                <a:lnTo>
                  <a:pt x="343" y="1452"/>
                </a:lnTo>
                <a:lnTo>
                  <a:pt x="339" y="1458"/>
                </a:lnTo>
                <a:lnTo>
                  <a:pt x="328" y="1471"/>
                </a:lnTo>
                <a:lnTo>
                  <a:pt x="322" y="1475"/>
                </a:lnTo>
                <a:lnTo>
                  <a:pt x="315" y="1480"/>
                </a:lnTo>
                <a:lnTo>
                  <a:pt x="303" y="1488"/>
                </a:lnTo>
                <a:lnTo>
                  <a:pt x="294" y="1490"/>
                </a:lnTo>
                <a:lnTo>
                  <a:pt x="288" y="1492"/>
                </a:lnTo>
                <a:lnTo>
                  <a:pt x="271" y="1494"/>
                </a:lnTo>
                <a:lnTo>
                  <a:pt x="265" y="1492"/>
                </a:lnTo>
                <a:lnTo>
                  <a:pt x="262" y="1490"/>
                </a:lnTo>
                <a:lnTo>
                  <a:pt x="260" y="1488"/>
                </a:lnTo>
                <a:lnTo>
                  <a:pt x="258" y="1486"/>
                </a:lnTo>
                <a:lnTo>
                  <a:pt x="256" y="1482"/>
                </a:lnTo>
                <a:lnTo>
                  <a:pt x="256" y="1475"/>
                </a:lnTo>
                <a:lnTo>
                  <a:pt x="256" y="1469"/>
                </a:lnTo>
                <a:lnTo>
                  <a:pt x="258" y="1467"/>
                </a:lnTo>
                <a:lnTo>
                  <a:pt x="260" y="1465"/>
                </a:lnTo>
                <a:lnTo>
                  <a:pt x="273" y="1463"/>
                </a:lnTo>
                <a:lnTo>
                  <a:pt x="286" y="1458"/>
                </a:lnTo>
                <a:lnTo>
                  <a:pt x="296" y="1452"/>
                </a:lnTo>
                <a:lnTo>
                  <a:pt x="305" y="1446"/>
                </a:lnTo>
                <a:lnTo>
                  <a:pt x="311" y="1437"/>
                </a:lnTo>
                <a:lnTo>
                  <a:pt x="315" y="1433"/>
                </a:lnTo>
                <a:lnTo>
                  <a:pt x="318" y="1429"/>
                </a:lnTo>
                <a:lnTo>
                  <a:pt x="322" y="1420"/>
                </a:lnTo>
                <a:lnTo>
                  <a:pt x="322" y="1412"/>
                </a:lnTo>
                <a:lnTo>
                  <a:pt x="322" y="1408"/>
                </a:lnTo>
                <a:lnTo>
                  <a:pt x="322" y="1403"/>
                </a:lnTo>
                <a:lnTo>
                  <a:pt x="320" y="1399"/>
                </a:lnTo>
                <a:lnTo>
                  <a:pt x="315" y="1395"/>
                </a:lnTo>
                <a:lnTo>
                  <a:pt x="313" y="1393"/>
                </a:lnTo>
                <a:lnTo>
                  <a:pt x="309" y="1391"/>
                </a:lnTo>
                <a:lnTo>
                  <a:pt x="298" y="1391"/>
                </a:lnTo>
                <a:lnTo>
                  <a:pt x="288" y="1391"/>
                </a:lnTo>
                <a:lnTo>
                  <a:pt x="282" y="1393"/>
                </a:lnTo>
                <a:lnTo>
                  <a:pt x="277" y="1397"/>
                </a:lnTo>
                <a:lnTo>
                  <a:pt x="271" y="1399"/>
                </a:lnTo>
                <a:lnTo>
                  <a:pt x="267" y="1403"/>
                </a:lnTo>
                <a:lnTo>
                  <a:pt x="258" y="1414"/>
                </a:lnTo>
                <a:lnTo>
                  <a:pt x="254" y="1420"/>
                </a:lnTo>
                <a:lnTo>
                  <a:pt x="250" y="1427"/>
                </a:lnTo>
                <a:lnTo>
                  <a:pt x="243" y="1441"/>
                </a:lnTo>
                <a:lnTo>
                  <a:pt x="239" y="1456"/>
                </a:lnTo>
                <a:lnTo>
                  <a:pt x="237" y="1465"/>
                </a:lnTo>
                <a:lnTo>
                  <a:pt x="237" y="1473"/>
                </a:lnTo>
                <a:lnTo>
                  <a:pt x="239" y="1490"/>
                </a:lnTo>
                <a:lnTo>
                  <a:pt x="239" y="1496"/>
                </a:lnTo>
                <a:lnTo>
                  <a:pt x="241" y="1503"/>
                </a:lnTo>
                <a:lnTo>
                  <a:pt x="248" y="1516"/>
                </a:lnTo>
                <a:lnTo>
                  <a:pt x="254" y="1526"/>
                </a:lnTo>
                <a:lnTo>
                  <a:pt x="262" y="1535"/>
                </a:lnTo>
                <a:lnTo>
                  <a:pt x="267" y="1537"/>
                </a:lnTo>
                <a:lnTo>
                  <a:pt x="271" y="1541"/>
                </a:lnTo>
                <a:lnTo>
                  <a:pt x="284" y="1545"/>
                </a:lnTo>
                <a:lnTo>
                  <a:pt x="290" y="1545"/>
                </a:lnTo>
                <a:lnTo>
                  <a:pt x="296" y="1545"/>
                </a:lnTo>
                <a:lnTo>
                  <a:pt x="309" y="1545"/>
                </a:lnTo>
                <a:lnTo>
                  <a:pt x="320" y="1541"/>
                </a:lnTo>
                <a:lnTo>
                  <a:pt x="326" y="1539"/>
                </a:lnTo>
                <a:lnTo>
                  <a:pt x="330" y="1535"/>
                </a:lnTo>
                <a:lnTo>
                  <a:pt x="341" y="1528"/>
                </a:lnTo>
                <a:lnTo>
                  <a:pt x="351" y="1520"/>
                </a:lnTo>
                <a:lnTo>
                  <a:pt x="360" y="1509"/>
                </a:lnTo>
                <a:lnTo>
                  <a:pt x="366" y="1496"/>
                </a:lnTo>
                <a:lnTo>
                  <a:pt x="375" y="1484"/>
                </a:lnTo>
                <a:lnTo>
                  <a:pt x="381" y="1471"/>
                </a:lnTo>
                <a:lnTo>
                  <a:pt x="385" y="1456"/>
                </a:lnTo>
                <a:lnTo>
                  <a:pt x="389" y="1441"/>
                </a:lnTo>
                <a:lnTo>
                  <a:pt x="394" y="1427"/>
                </a:lnTo>
                <a:lnTo>
                  <a:pt x="396" y="1412"/>
                </a:lnTo>
                <a:lnTo>
                  <a:pt x="398" y="1399"/>
                </a:lnTo>
                <a:lnTo>
                  <a:pt x="398" y="1384"/>
                </a:lnTo>
                <a:lnTo>
                  <a:pt x="398" y="1372"/>
                </a:lnTo>
                <a:lnTo>
                  <a:pt x="400" y="1369"/>
                </a:lnTo>
                <a:lnTo>
                  <a:pt x="402" y="1367"/>
                </a:lnTo>
                <a:lnTo>
                  <a:pt x="406" y="1365"/>
                </a:lnTo>
                <a:lnTo>
                  <a:pt x="411" y="1365"/>
                </a:lnTo>
                <a:lnTo>
                  <a:pt x="419" y="1365"/>
                </a:lnTo>
                <a:lnTo>
                  <a:pt x="423" y="1367"/>
                </a:lnTo>
                <a:lnTo>
                  <a:pt x="425" y="1369"/>
                </a:lnTo>
                <a:lnTo>
                  <a:pt x="430" y="1378"/>
                </a:lnTo>
                <a:lnTo>
                  <a:pt x="432" y="1384"/>
                </a:lnTo>
                <a:lnTo>
                  <a:pt x="432" y="1391"/>
                </a:lnTo>
                <a:lnTo>
                  <a:pt x="430" y="1410"/>
                </a:lnTo>
                <a:lnTo>
                  <a:pt x="428" y="1429"/>
                </a:lnTo>
                <a:lnTo>
                  <a:pt x="425" y="1446"/>
                </a:lnTo>
                <a:lnTo>
                  <a:pt x="421" y="1463"/>
                </a:lnTo>
                <a:lnTo>
                  <a:pt x="415" y="1480"/>
                </a:lnTo>
                <a:lnTo>
                  <a:pt x="409" y="1496"/>
                </a:lnTo>
                <a:lnTo>
                  <a:pt x="400" y="1511"/>
                </a:lnTo>
                <a:lnTo>
                  <a:pt x="392" y="1524"/>
                </a:lnTo>
                <a:lnTo>
                  <a:pt x="383" y="1537"/>
                </a:lnTo>
                <a:lnTo>
                  <a:pt x="377" y="1543"/>
                </a:lnTo>
                <a:lnTo>
                  <a:pt x="373" y="1547"/>
                </a:lnTo>
                <a:lnTo>
                  <a:pt x="362" y="1558"/>
                </a:lnTo>
                <a:lnTo>
                  <a:pt x="349" y="1566"/>
                </a:lnTo>
                <a:lnTo>
                  <a:pt x="337" y="1573"/>
                </a:lnTo>
                <a:lnTo>
                  <a:pt x="324" y="1577"/>
                </a:lnTo>
                <a:lnTo>
                  <a:pt x="309" y="1581"/>
                </a:lnTo>
                <a:lnTo>
                  <a:pt x="294" y="1581"/>
                </a:lnTo>
                <a:close/>
                <a:moveTo>
                  <a:pt x="525" y="1579"/>
                </a:moveTo>
                <a:lnTo>
                  <a:pt x="519" y="1577"/>
                </a:lnTo>
                <a:lnTo>
                  <a:pt x="512" y="1571"/>
                </a:lnTo>
                <a:lnTo>
                  <a:pt x="495" y="1556"/>
                </a:lnTo>
                <a:lnTo>
                  <a:pt x="474" y="1535"/>
                </a:lnTo>
                <a:lnTo>
                  <a:pt x="457" y="1516"/>
                </a:lnTo>
                <a:lnTo>
                  <a:pt x="449" y="1507"/>
                </a:lnTo>
                <a:lnTo>
                  <a:pt x="445" y="1501"/>
                </a:lnTo>
                <a:lnTo>
                  <a:pt x="440" y="1488"/>
                </a:lnTo>
                <a:lnTo>
                  <a:pt x="438" y="1482"/>
                </a:lnTo>
                <a:lnTo>
                  <a:pt x="438" y="1475"/>
                </a:lnTo>
                <a:lnTo>
                  <a:pt x="438" y="1469"/>
                </a:lnTo>
                <a:lnTo>
                  <a:pt x="440" y="1463"/>
                </a:lnTo>
                <a:lnTo>
                  <a:pt x="445" y="1454"/>
                </a:lnTo>
                <a:lnTo>
                  <a:pt x="449" y="1446"/>
                </a:lnTo>
                <a:lnTo>
                  <a:pt x="459" y="1431"/>
                </a:lnTo>
                <a:lnTo>
                  <a:pt x="478" y="1410"/>
                </a:lnTo>
                <a:lnTo>
                  <a:pt x="521" y="1363"/>
                </a:lnTo>
                <a:lnTo>
                  <a:pt x="527" y="1363"/>
                </a:lnTo>
                <a:lnTo>
                  <a:pt x="533" y="1365"/>
                </a:lnTo>
                <a:lnTo>
                  <a:pt x="538" y="1369"/>
                </a:lnTo>
                <a:lnTo>
                  <a:pt x="542" y="1376"/>
                </a:lnTo>
                <a:lnTo>
                  <a:pt x="544" y="1382"/>
                </a:lnTo>
                <a:lnTo>
                  <a:pt x="542" y="1389"/>
                </a:lnTo>
                <a:lnTo>
                  <a:pt x="540" y="1391"/>
                </a:lnTo>
                <a:lnTo>
                  <a:pt x="538" y="1395"/>
                </a:lnTo>
                <a:lnTo>
                  <a:pt x="508" y="1429"/>
                </a:lnTo>
                <a:lnTo>
                  <a:pt x="491" y="1450"/>
                </a:lnTo>
                <a:lnTo>
                  <a:pt x="476" y="1465"/>
                </a:lnTo>
                <a:lnTo>
                  <a:pt x="474" y="1469"/>
                </a:lnTo>
                <a:lnTo>
                  <a:pt x="474" y="1473"/>
                </a:lnTo>
                <a:lnTo>
                  <a:pt x="474" y="1480"/>
                </a:lnTo>
                <a:lnTo>
                  <a:pt x="478" y="1484"/>
                </a:lnTo>
                <a:lnTo>
                  <a:pt x="489" y="1496"/>
                </a:lnTo>
                <a:lnTo>
                  <a:pt x="506" y="1516"/>
                </a:lnTo>
                <a:lnTo>
                  <a:pt x="525" y="1535"/>
                </a:lnTo>
                <a:lnTo>
                  <a:pt x="544" y="1551"/>
                </a:lnTo>
                <a:lnTo>
                  <a:pt x="546" y="1556"/>
                </a:lnTo>
                <a:lnTo>
                  <a:pt x="546" y="1558"/>
                </a:lnTo>
                <a:lnTo>
                  <a:pt x="546" y="1562"/>
                </a:lnTo>
                <a:lnTo>
                  <a:pt x="544" y="1564"/>
                </a:lnTo>
                <a:lnTo>
                  <a:pt x="540" y="1571"/>
                </a:lnTo>
                <a:lnTo>
                  <a:pt x="531" y="1577"/>
                </a:lnTo>
                <a:lnTo>
                  <a:pt x="529" y="1577"/>
                </a:lnTo>
                <a:lnTo>
                  <a:pt x="525" y="1579"/>
                </a:lnTo>
                <a:close/>
                <a:moveTo>
                  <a:pt x="313" y="2119"/>
                </a:moveTo>
                <a:lnTo>
                  <a:pt x="324" y="2115"/>
                </a:lnTo>
                <a:lnTo>
                  <a:pt x="332" y="2108"/>
                </a:lnTo>
                <a:lnTo>
                  <a:pt x="343" y="2102"/>
                </a:lnTo>
                <a:lnTo>
                  <a:pt x="351" y="2093"/>
                </a:lnTo>
                <a:lnTo>
                  <a:pt x="358" y="2083"/>
                </a:lnTo>
                <a:lnTo>
                  <a:pt x="366" y="2072"/>
                </a:lnTo>
                <a:lnTo>
                  <a:pt x="373" y="2062"/>
                </a:lnTo>
                <a:lnTo>
                  <a:pt x="379" y="2049"/>
                </a:lnTo>
                <a:lnTo>
                  <a:pt x="383" y="2036"/>
                </a:lnTo>
                <a:lnTo>
                  <a:pt x="387" y="2023"/>
                </a:lnTo>
                <a:lnTo>
                  <a:pt x="394" y="1996"/>
                </a:lnTo>
                <a:lnTo>
                  <a:pt x="398" y="1971"/>
                </a:lnTo>
                <a:lnTo>
                  <a:pt x="398" y="1947"/>
                </a:lnTo>
                <a:lnTo>
                  <a:pt x="400" y="1943"/>
                </a:lnTo>
                <a:lnTo>
                  <a:pt x="402" y="1941"/>
                </a:lnTo>
                <a:lnTo>
                  <a:pt x="406" y="1939"/>
                </a:lnTo>
                <a:lnTo>
                  <a:pt x="411" y="1939"/>
                </a:lnTo>
                <a:lnTo>
                  <a:pt x="419" y="1941"/>
                </a:lnTo>
                <a:lnTo>
                  <a:pt x="423" y="1943"/>
                </a:lnTo>
                <a:lnTo>
                  <a:pt x="425" y="1945"/>
                </a:lnTo>
                <a:lnTo>
                  <a:pt x="430" y="1954"/>
                </a:lnTo>
                <a:lnTo>
                  <a:pt x="432" y="1958"/>
                </a:lnTo>
                <a:lnTo>
                  <a:pt x="432" y="1964"/>
                </a:lnTo>
                <a:lnTo>
                  <a:pt x="430" y="1981"/>
                </a:lnTo>
                <a:lnTo>
                  <a:pt x="430" y="1998"/>
                </a:lnTo>
                <a:lnTo>
                  <a:pt x="425" y="2015"/>
                </a:lnTo>
                <a:lnTo>
                  <a:pt x="423" y="2030"/>
                </a:lnTo>
                <a:lnTo>
                  <a:pt x="417" y="2047"/>
                </a:lnTo>
                <a:lnTo>
                  <a:pt x="413" y="2059"/>
                </a:lnTo>
                <a:lnTo>
                  <a:pt x="406" y="2074"/>
                </a:lnTo>
                <a:lnTo>
                  <a:pt x="400" y="2087"/>
                </a:lnTo>
                <a:lnTo>
                  <a:pt x="392" y="2100"/>
                </a:lnTo>
                <a:lnTo>
                  <a:pt x="383" y="2110"/>
                </a:lnTo>
                <a:lnTo>
                  <a:pt x="373" y="2121"/>
                </a:lnTo>
                <a:lnTo>
                  <a:pt x="364" y="2129"/>
                </a:lnTo>
                <a:lnTo>
                  <a:pt x="354" y="2138"/>
                </a:lnTo>
                <a:lnTo>
                  <a:pt x="341" y="2144"/>
                </a:lnTo>
                <a:lnTo>
                  <a:pt x="330" y="2150"/>
                </a:lnTo>
                <a:lnTo>
                  <a:pt x="318" y="2153"/>
                </a:lnTo>
                <a:lnTo>
                  <a:pt x="313" y="2119"/>
                </a:lnTo>
                <a:close/>
                <a:moveTo>
                  <a:pt x="286" y="1935"/>
                </a:moveTo>
                <a:lnTo>
                  <a:pt x="301" y="1935"/>
                </a:lnTo>
                <a:lnTo>
                  <a:pt x="313" y="1935"/>
                </a:lnTo>
                <a:lnTo>
                  <a:pt x="318" y="1937"/>
                </a:lnTo>
                <a:lnTo>
                  <a:pt x="324" y="1939"/>
                </a:lnTo>
                <a:lnTo>
                  <a:pt x="332" y="1943"/>
                </a:lnTo>
                <a:lnTo>
                  <a:pt x="341" y="1949"/>
                </a:lnTo>
                <a:lnTo>
                  <a:pt x="345" y="1958"/>
                </a:lnTo>
                <a:lnTo>
                  <a:pt x="351" y="1968"/>
                </a:lnTo>
                <a:lnTo>
                  <a:pt x="354" y="1979"/>
                </a:lnTo>
                <a:lnTo>
                  <a:pt x="354" y="1992"/>
                </a:lnTo>
                <a:lnTo>
                  <a:pt x="354" y="2002"/>
                </a:lnTo>
                <a:lnTo>
                  <a:pt x="351" y="2007"/>
                </a:lnTo>
                <a:lnTo>
                  <a:pt x="349" y="2013"/>
                </a:lnTo>
                <a:lnTo>
                  <a:pt x="347" y="2017"/>
                </a:lnTo>
                <a:lnTo>
                  <a:pt x="345" y="2023"/>
                </a:lnTo>
                <a:lnTo>
                  <a:pt x="339" y="2032"/>
                </a:lnTo>
                <a:lnTo>
                  <a:pt x="332" y="2040"/>
                </a:lnTo>
                <a:lnTo>
                  <a:pt x="324" y="2049"/>
                </a:lnTo>
                <a:lnTo>
                  <a:pt x="313" y="2055"/>
                </a:lnTo>
                <a:lnTo>
                  <a:pt x="305" y="2062"/>
                </a:lnTo>
                <a:lnTo>
                  <a:pt x="298" y="2023"/>
                </a:lnTo>
                <a:lnTo>
                  <a:pt x="309" y="2015"/>
                </a:lnTo>
                <a:lnTo>
                  <a:pt x="315" y="2007"/>
                </a:lnTo>
                <a:lnTo>
                  <a:pt x="322" y="1996"/>
                </a:lnTo>
                <a:lnTo>
                  <a:pt x="322" y="1985"/>
                </a:lnTo>
                <a:lnTo>
                  <a:pt x="322" y="1981"/>
                </a:lnTo>
                <a:lnTo>
                  <a:pt x="322" y="1977"/>
                </a:lnTo>
                <a:lnTo>
                  <a:pt x="320" y="1973"/>
                </a:lnTo>
                <a:lnTo>
                  <a:pt x="315" y="1971"/>
                </a:lnTo>
                <a:lnTo>
                  <a:pt x="313" y="1966"/>
                </a:lnTo>
                <a:lnTo>
                  <a:pt x="309" y="1966"/>
                </a:lnTo>
                <a:lnTo>
                  <a:pt x="298" y="1964"/>
                </a:lnTo>
                <a:lnTo>
                  <a:pt x="290" y="1964"/>
                </a:lnTo>
                <a:lnTo>
                  <a:pt x="286" y="1935"/>
                </a:lnTo>
                <a:close/>
                <a:moveTo>
                  <a:pt x="525" y="2153"/>
                </a:moveTo>
                <a:lnTo>
                  <a:pt x="519" y="2150"/>
                </a:lnTo>
                <a:lnTo>
                  <a:pt x="512" y="2144"/>
                </a:lnTo>
                <a:lnTo>
                  <a:pt x="495" y="2129"/>
                </a:lnTo>
                <a:lnTo>
                  <a:pt x="474" y="2110"/>
                </a:lnTo>
                <a:lnTo>
                  <a:pt x="457" y="2089"/>
                </a:lnTo>
                <a:lnTo>
                  <a:pt x="449" y="2081"/>
                </a:lnTo>
                <a:lnTo>
                  <a:pt x="445" y="2074"/>
                </a:lnTo>
                <a:lnTo>
                  <a:pt x="440" y="2062"/>
                </a:lnTo>
                <a:lnTo>
                  <a:pt x="438" y="2055"/>
                </a:lnTo>
                <a:lnTo>
                  <a:pt x="438" y="2051"/>
                </a:lnTo>
                <a:lnTo>
                  <a:pt x="438" y="2043"/>
                </a:lnTo>
                <a:lnTo>
                  <a:pt x="440" y="2036"/>
                </a:lnTo>
                <a:lnTo>
                  <a:pt x="445" y="2028"/>
                </a:lnTo>
                <a:lnTo>
                  <a:pt x="449" y="2019"/>
                </a:lnTo>
                <a:lnTo>
                  <a:pt x="459" y="2004"/>
                </a:lnTo>
                <a:lnTo>
                  <a:pt x="478" y="1985"/>
                </a:lnTo>
                <a:lnTo>
                  <a:pt x="521" y="1937"/>
                </a:lnTo>
                <a:lnTo>
                  <a:pt x="527" y="1937"/>
                </a:lnTo>
                <a:lnTo>
                  <a:pt x="533" y="1941"/>
                </a:lnTo>
                <a:lnTo>
                  <a:pt x="538" y="1945"/>
                </a:lnTo>
                <a:lnTo>
                  <a:pt x="542" y="1949"/>
                </a:lnTo>
                <a:lnTo>
                  <a:pt x="544" y="1956"/>
                </a:lnTo>
                <a:lnTo>
                  <a:pt x="542" y="1962"/>
                </a:lnTo>
                <a:lnTo>
                  <a:pt x="540" y="1966"/>
                </a:lnTo>
                <a:lnTo>
                  <a:pt x="538" y="1968"/>
                </a:lnTo>
                <a:lnTo>
                  <a:pt x="508" y="2002"/>
                </a:lnTo>
                <a:lnTo>
                  <a:pt x="491" y="2023"/>
                </a:lnTo>
                <a:lnTo>
                  <a:pt x="476" y="2038"/>
                </a:lnTo>
                <a:lnTo>
                  <a:pt x="474" y="2045"/>
                </a:lnTo>
                <a:lnTo>
                  <a:pt x="474" y="2049"/>
                </a:lnTo>
                <a:lnTo>
                  <a:pt x="474" y="2053"/>
                </a:lnTo>
                <a:lnTo>
                  <a:pt x="478" y="2059"/>
                </a:lnTo>
                <a:lnTo>
                  <a:pt x="489" y="2072"/>
                </a:lnTo>
                <a:lnTo>
                  <a:pt x="506" y="2089"/>
                </a:lnTo>
                <a:lnTo>
                  <a:pt x="525" y="2108"/>
                </a:lnTo>
                <a:lnTo>
                  <a:pt x="544" y="2127"/>
                </a:lnTo>
                <a:lnTo>
                  <a:pt x="546" y="2129"/>
                </a:lnTo>
                <a:lnTo>
                  <a:pt x="546" y="2131"/>
                </a:lnTo>
                <a:lnTo>
                  <a:pt x="546" y="2136"/>
                </a:lnTo>
                <a:lnTo>
                  <a:pt x="544" y="2140"/>
                </a:lnTo>
                <a:lnTo>
                  <a:pt x="540" y="2146"/>
                </a:lnTo>
                <a:lnTo>
                  <a:pt x="531" y="2150"/>
                </a:lnTo>
                <a:lnTo>
                  <a:pt x="529" y="2153"/>
                </a:lnTo>
                <a:lnTo>
                  <a:pt x="525" y="2153"/>
                </a:lnTo>
                <a:close/>
                <a:moveTo>
                  <a:pt x="2576" y="991"/>
                </a:moveTo>
                <a:lnTo>
                  <a:pt x="2566" y="991"/>
                </a:lnTo>
                <a:lnTo>
                  <a:pt x="2557" y="988"/>
                </a:lnTo>
                <a:lnTo>
                  <a:pt x="2549" y="986"/>
                </a:lnTo>
                <a:lnTo>
                  <a:pt x="2540" y="982"/>
                </a:lnTo>
                <a:lnTo>
                  <a:pt x="2532" y="978"/>
                </a:lnTo>
                <a:lnTo>
                  <a:pt x="2525" y="972"/>
                </a:lnTo>
                <a:lnTo>
                  <a:pt x="2517" y="965"/>
                </a:lnTo>
                <a:lnTo>
                  <a:pt x="2511" y="959"/>
                </a:lnTo>
                <a:lnTo>
                  <a:pt x="2506" y="952"/>
                </a:lnTo>
                <a:lnTo>
                  <a:pt x="2500" y="944"/>
                </a:lnTo>
                <a:lnTo>
                  <a:pt x="2491" y="925"/>
                </a:lnTo>
                <a:lnTo>
                  <a:pt x="2489" y="917"/>
                </a:lnTo>
                <a:lnTo>
                  <a:pt x="2487" y="906"/>
                </a:lnTo>
                <a:lnTo>
                  <a:pt x="2485" y="895"/>
                </a:lnTo>
                <a:lnTo>
                  <a:pt x="2485" y="885"/>
                </a:lnTo>
                <a:lnTo>
                  <a:pt x="2485" y="872"/>
                </a:lnTo>
                <a:lnTo>
                  <a:pt x="2487" y="861"/>
                </a:lnTo>
                <a:lnTo>
                  <a:pt x="2489" y="851"/>
                </a:lnTo>
                <a:lnTo>
                  <a:pt x="2491" y="840"/>
                </a:lnTo>
                <a:lnTo>
                  <a:pt x="2496" y="830"/>
                </a:lnTo>
                <a:lnTo>
                  <a:pt x="2502" y="821"/>
                </a:lnTo>
                <a:lnTo>
                  <a:pt x="2506" y="811"/>
                </a:lnTo>
                <a:lnTo>
                  <a:pt x="2513" y="802"/>
                </a:lnTo>
                <a:lnTo>
                  <a:pt x="2519" y="796"/>
                </a:lnTo>
                <a:lnTo>
                  <a:pt x="2527" y="790"/>
                </a:lnTo>
                <a:lnTo>
                  <a:pt x="2536" y="783"/>
                </a:lnTo>
                <a:lnTo>
                  <a:pt x="2544" y="777"/>
                </a:lnTo>
                <a:lnTo>
                  <a:pt x="2553" y="773"/>
                </a:lnTo>
                <a:lnTo>
                  <a:pt x="2561" y="770"/>
                </a:lnTo>
                <a:lnTo>
                  <a:pt x="2572" y="768"/>
                </a:lnTo>
                <a:lnTo>
                  <a:pt x="2580" y="768"/>
                </a:lnTo>
                <a:lnTo>
                  <a:pt x="2593" y="768"/>
                </a:lnTo>
                <a:lnTo>
                  <a:pt x="2599" y="770"/>
                </a:lnTo>
                <a:lnTo>
                  <a:pt x="2604" y="773"/>
                </a:lnTo>
                <a:lnTo>
                  <a:pt x="2612" y="777"/>
                </a:lnTo>
                <a:lnTo>
                  <a:pt x="2621" y="785"/>
                </a:lnTo>
                <a:lnTo>
                  <a:pt x="2627" y="792"/>
                </a:lnTo>
                <a:lnTo>
                  <a:pt x="2631" y="802"/>
                </a:lnTo>
                <a:lnTo>
                  <a:pt x="2633" y="813"/>
                </a:lnTo>
                <a:lnTo>
                  <a:pt x="2635" y="825"/>
                </a:lnTo>
                <a:lnTo>
                  <a:pt x="2635" y="832"/>
                </a:lnTo>
                <a:lnTo>
                  <a:pt x="2633" y="840"/>
                </a:lnTo>
                <a:lnTo>
                  <a:pt x="2631" y="847"/>
                </a:lnTo>
                <a:lnTo>
                  <a:pt x="2627" y="855"/>
                </a:lnTo>
                <a:lnTo>
                  <a:pt x="2625" y="861"/>
                </a:lnTo>
                <a:lnTo>
                  <a:pt x="2621" y="868"/>
                </a:lnTo>
                <a:lnTo>
                  <a:pt x="2610" y="878"/>
                </a:lnTo>
                <a:lnTo>
                  <a:pt x="2604" y="885"/>
                </a:lnTo>
                <a:lnTo>
                  <a:pt x="2597" y="889"/>
                </a:lnTo>
                <a:lnTo>
                  <a:pt x="2582" y="895"/>
                </a:lnTo>
                <a:lnTo>
                  <a:pt x="2576" y="900"/>
                </a:lnTo>
                <a:lnTo>
                  <a:pt x="2568" y="902"/>
                </a:lnTo>
                <a:lnTo>
                  <a:pt x="2553" y="902"/>
                </a:lnTo>
                <a:lnTo>
                  <a:pt x="2546" y="902"/>
                </a:lnTo>
                <a:lnTo>
                  <a:pt x="2544" y="900"/>
                </a:lnTo>
                <a:lnTo>
                  <a:pt x="2542" y="897"/>
                </a:lnTo>
                <a:lnTo>
                  <a:pt x="2540" y="893"/>
                </a:lnTo>
                <a:lnTo>
                  <a:pt x="2538" y="891"/>
                </a:lnTo>
                <a:lnTo>
                  <a:pt x="2536" y="883"/>
                </a:lnTo>
                <a:lnTo>
                  <a:pt x="2538" y="876"/>
                </a:lnTo>
                <a:lnTo>
                  <a:pt x="2538" y="874"/>
                </a:lnTo>
                <a:lnTo>
                  <a:pt x="2540" y="874"/>
                </a:lnTo>
                <a:lnTo>
                  <a:pt x="2555" y="870"/>
                </a:lnTo>
                <a:lnTo>
                  <a:pt x="2566" y="866"/>
                </a:lnTo>
                <a:lnTo>
                  <a:pt x="2576" y="859"/>
                </a:lnTo>
                <a:lnTo>
                  <a:pt x="2587" y="853"/>
                </a:lnTo>
                <a:lnTo>
                  <a:pt x="2593" y="845"/>
                </a:lnTo>
                <a:lnTo>
                  <a:pt x="2595" y="842"/>
                </a:lnTo>
                <a:lnTo>
                  <a:pt x="2599" y="838"/>
                </a:lnTo>
                <a:lnTo>
                  <a:pt x="2602" y="830"/>
                </a:lnTo>
                <a:lnTo>
                  <a:pt x="2604" y="821"/>
                </a:lnTo>
                <a:lnTo>
                  <a:pt x="2604" y="815"/>
                </a:lnTo>
                <a:lnTo>
                  <a:pt x="2602" y="811"/>
                </a:lnTo>
                <a:lnTo>
                  <a:pt x="2599" y="806"/>
                </a:lnTo>
                <a:lnTo>
                  <a:pt x="2597" y="804"/>
                </a:lnTo>
                <a:lnTo>
                  <a:pt x="2593" y="802"/>
                </a:lnTo>
                <a:lnTo>
                  <a:pt x="2589" y="800"/>
                </a:lnTo>
                <a:lnTo>
                  <a:pt x="2578" y="798"/>
                </a:lnTo>
                <a:lnTo>
                  <a:pt x="2568" y="800"/>
                </a:lnTo>
                <a:lnTo>
                  <a:pt x="2563" y="802"/>
                </a:lnTo>
                <a:lnTo>
                  <a:pt x="2557" y="804"/>
                </a:lnTo>
                <a:lnTo>
                  <a:pt x="2553" y="809"/>
                </a:lnTo>
                <a:lnTo>
                  <a:pt x="2546" y="813"/>
                </a:lnTo>
                <a:lnTo>
                  <a:pt x="2538" y="823"/>
                </a:lnTo>
                <a:lnTo>
                  <a:pt x="2534" y="830"/>
                </a:lnTo>
                <a:lnTo>
                  <a:pt x="2530" y="836"/>
                </a:lnTo>
                <a:lnTo>
                  <a:pt x="2523" y="849"/>
                </a:lnTo>
                <a:lnTo>
                  <a:pt x="2519" y="866"/>
                </a:lnTo>
                <a:lnTo>
                  <a:pt x="2519" y="874"/>
                </a:lnTo>
                <a:lnTo>
                  <a:pt x="2519" y="883"/>
                </a:lnTo>
                <a:lnTo>
                  <a:pt x="2519" y="897"/>
                </a:lnTo>
                <a:lnTo>
                  <a:pt x="2521" y="904"/>
                </a:lnTo>
                <a:lnTo>
                  <a:pt x="2523" y="912"/>
                </a:lnTo>
                <a:lnTo>
                  <a:pt x="2527" y="923"/>
                </a:lnTo>
                <a:lnTo>
                  <a:pt x="2534" y="933"/>
                </a:lnTo>
                <a:lnTo>
                  <a:pt x="2542" y="942"/>
                </a:lnTo>
                <a:lnTo>
                  <a:pt x="2549" y="946"/>
                </a:lnTo>
                <a:lnTo>
                  <a:pt x="2553" y="948"/>
                </a:lnTo>
                <a:lnTo>
                  <a:pt x="2563" y="952"/>
                </a:lnTo>
                <a:lnTo>
                  <a:pt x="2570" y="955"/>
                </a:lnTo>
                <a:lnTo>
                  <a:pt x="2576" y="955"/>
                </a:lnTo>
                <a:lnTo>
                  <a:pt x="2589" y="952"/>
                </a:lnTo>
                <a:lnTo>
                  <a:pt x="2602" y="950"/>
                </a:lnTo>
                <a:lnTo>
                  <a:pt x="2606" y="946"/>
                </a:lnTo>
                <a:lnTo>
                  <a:pt x="2612" y="944"/>
                </a:lnTo>
                <a:lnTo>
                  <a:pt x="2623" y="936"/>
                </a:lnTo>
                <a:lnTo>
                  <a:pt x="2631" y="927"/>
                </a:lnTo>
                <a:lnTo>
                  <a:pt x="2640" y="917"/>
                </a:lnTo>
                <a:lnTo>
                  <a:pt x="2648" y="906"/>
                </a:lnTo>
                <a:lnTo>
                  <a:pt x="2654" y="893"/>
                </a:lnTo>
                <a:lnTo>
                  <a:pt x="2661" y="878"/>
                </a:lnTo>
                <a:lnTo>
                  <a:pt x="2667" y="864"/>
                </a:lnTo>
                <a:lnTo>
                  <a:pt x="2671" y="851"/>
                </a:lnTo>
                <a:lnTo>
                  <a:pt x="2673" y="836"/>
                </a:lnTo>
                <a:lnTo>
                  <a:pt x="2676" y="821"/>
                </a:lnTo>
                <a:lnTo>
                  <a:pt x="2678" y="806"/>
                </a:lnTo>
                <a:lnTo>
                  <a:pt x="2678" y="794"/>
                </a:lnTo>
                <a:lnTo>
                  <a:pt x="2678" y="781"/>
                </a:lnTo>
                <a:lnTo>
                  <a:pt x="2680" y="777"/>
                </a:lnTo>
                <a:lnTo>
                  <a:pt x="2682" y="775"/>
                </a:lnTo>
                <a:lnTo>
                  <a:pt x="2686" y="775"/>
                </a:lnTo>
                <a:lnTo>
                  <a:pt x="2693" y="773"/>
                </a:lnTo>
                <a:lnTo>
                  <a:pt x="2701" y="775"/>
                </a:lnTo>
                <a:lnTo>
                  <a:pt x="2703" y="777"/>
                </a:lnTo>
                <a:lnTo>
                  <a:pt x="2707" y="779"/>
                </a:lnTo>
                <a:lnTo>
                  <a:pt x="2712" y="787"/>
                </a:lnTo>
                <a:lnTo>
                  <a:pt x="2712" y="792"/>
                </a:lnTo>
                <a:lnTo>
                  <a:pt x="2712" y="800"/>
                </a:lnTo>
                <a:lnTo>
                  <a:pt x="2712" y="817"/>
                </a:lnTo>
                <a:lnTo>
                  <a:pt x="2709" y="836"/>
                </a:lnTo>
                <a:lnTo>
                  <a:pt x="2705" y="855"/>
                </a:lnTo>
                <a:lnTo>
                  <a:pt x="2701" y="872"/>
                </a:lnTo>
                <a:lnTo>
                  <a:pt x="2697" y="889"/>
                </a:lnTo>
                <a:lnTo>
                  <a:pt x="2688" y="904"/>
                </a:lnTo>
                <a:lnTo>
                  <a:pt x="2682" y="919"/>
                </a:lnTo>
                <a:lnTo>
                  <a:pt x="2673" y="933"/>
                </a:lnTo>
                <a:lnTo>
                  <a:pt x="2663" y="944"/>
                </a:lnTo>
                <a:lnTo>
                  <a:pt x="2659" y="950"/>
                </a:lnTo>
                <a:lnTo>
                  <a:pt x="2652" y="957"/>
                </a:lnTo>
                <a:lnTo>
                  <a:pt x="2642" y="965"/>
                </a:lnTo>
                <a:lnTo>
                  <a:pt x="2631" y="974"/>
                </a:lnTo>
                <a:lnTo>
                  <a:pt x="2618" y="982"/>
                </a:lnTo>
                <a:lnTo>
                  <a:pt x="2604" y="986"/>
                </a:lnTo>
                <a:lnTo>
                  <a:pt x="2591" y="988"/>
                </a:lnTo>
                <a:lnTo>
                  <a:pt x="2576" y="991"/>
                </a:lnTo>
                <a:close/>
                <a:moveTo>
                  <a:pt x="2807" y="986"/>
                </a:moveTo>
                <a:lnTo>
                  <a:pt x="2801" y="984"/>
                </a:lnTo>
                <a:lnTo>
                  <a:pt x="2792" y="978"/>
                </a:lnTo>
                <a:lnTo>
                  <a:pt x="2775" y="963"/>
                </a:lnTo>
                <a:lnTo>
                  <a:pt x="2756" y="944"/>
                </a:lnTo>
                <a:lnTo>
                  <a:pt x="2737" y="923"/>
                </a:lnTo>
                <a:lnTo>
                  <a:pt x="2731" y="914"/>
                </a:lnTo>
                <a:lnTo>
                  <a:pt x="2726" y="908"/>
                </a:lnTo>
                <a:lnTo>
                  <a:pt x="2720" y="895"/>
                </a:lnTo>
                <a:lnTo>
                  <a:pt x="2718" y="889"/>
                </a:lnTo>
                <a:lnTo>
                  <a:pt x="2718" y="885"/>
                </a:lnTo>
                <a:lnTo>
                  <a:pt x="2718" y="876"/>
                </a:lnTo>
                <a:lnTo>
                  <a:pt x="2720" y="870"/>
                </a:lnTo>
                <a:lnTo>
                  <a:pt x="2724" y="861"/>
                </a:lnTo>
                <a:lnTo>
                  <a:pt x="2729" y="855"/>
                </a:lnTo>
                <a:lnTo>
                  <a:pt x="2741" y="840"/>
                </a:lnTo>
                <a:lnTo>
                  <a:pt x="2758" y="819"/>
                </a:lnTo>
                <a:lnTo>
                  <a:pt x="2801" y="770"/>
                </a:lnTo>
                <a:lnTo>
                  <a:pt x="2807" y="773"/>
                </a:lnTo>
                <a:lnTo>
                  <a:pt x="2813" y="775"/>
                </a:lnTo>
                <a:lnTo>
                  <a:pt x="2820" y="779"/>
                </a:lnTo>
                <a:lnTo>
                  <a:pt x="2822" y="783"/>
                </a:lnTo>
                <a:lnTo>
                  <a:pt x="2824" y="790"/>
                </a:lnTo>
                <a:lnTo>
                  <a:pt x="2822" y="796"/>
                </a:lnTo>
                <a:lnTo>
                  <a:pt x="2822" y="800"/>
                </a:lnTo>
                <a:lnTo>
                  <a:pt x="2817" y="802"/>
                </a:lnTo>
                <a:lnTo>
                  <a:pt x="2788" y="838"/>
                </a:lnTo>
                <a:lnTo>
                  <a:pt x="2771" y="857"/>
                </a:lnTo>
                <a:lnTo>
                  <a:pt x="2758" y="874"/>
                </a:lnTo>
                <a:lnTo>
                  <a:pt x="2756" y="878"/>
                </a:lnTo>
                <a:lnTo>
                  <a:pt x="2754" y="883"/>
                </a:lnTo>
                <a:lnTo>
                  <a:pt x="2756" y="887"/>
                </a:lnTo>
                <a:lnTo>
                  <a:pt x="2758" y="893"/>
                </a:lnTo>
                <a:lnTo>
                  <a:pt x="2769" y="906"/>
                </a:lnTo>
                <a:lnTo>
                  <a:pt x="2786" y="923"/>
                </a:lnTo>
                <a:lnTo>
                  <a:pt x="2805" y="942"/>
                </a:lnTo>
                <a:lnTo>
                  <a:pt x="2824" y="961"/>
                </a:lnTo>
                <a:lnTo>
                  <a:pt x="2826" y="963"/>
                </a:lnTo>
                <a:lnTo>
                  <a:pt x="2828" y="967"/>
                </a:lnTo>
                <a:lnTo>
                  <a:pt x="2826" y="969"/>
                </a:lnTo>
                <a:lnTo>
                  <a:pt x="2826" y="974"/>
                </a:lnTo>
                <a:lnTo>
                  <a:pt x="2820" y="980"/>
                </a:lnTo>
                <a:lnTo>
                  <a:pt x="2813" y="984"/>
                </a:lnTo>
                <a:lnTo>
                  <a:pt x="2809" y="986"/>
                </a:lnTo>
                <a:lnTo>
                  <a:pt x="2807" y="986"/>
                </a:lnTo>
                <a:close/>
                <a:moveTo>
                  <a:pt x="2576" y="1581"/>
                </a:moveTo>
                <a:lnTo>
                  <a:pt x="2566" y="1581"/>
                </a:lnTo>
                <a:lnTo>
                  <a:pt x="2557" y="1579"/>
                </a:lnTo>
                <a:lnTo>
                  <a:pt x="2549" y="1577"/>
                </a:lnTo>
                <a:lnTo>
                  <a:pt x="2540" y="1573"/>
                </a:lnTo>
                <a:lnTo>
                  <a:pt x="2532" y="1568"/>
                </a:lnTo>
                <a:lnTo>
                  <a:pt x="2525" y="1564"/>
                </a:lnTo>
                <a:lnTo>
                  <a:pt x="2517" y="1558"/>
                </a:lnTo>
                <a:lnTo>
                  <a:pt x="2511" y="1551"/>
                </a:lnTo>
                <a:lnTo>
                  <a:pt x="2506" y="1543"/>
                </a:lnTo>
                <a:lnTo>
                  <a:pt x="2500" y="1535"/>
                </a:lnTo>
                <a:lnTo>
                  <a:pt x="2491" y="1518"/>
                </a:lnTo>
                <a:lnTo>
                  <a:pt x="2489" y="1507"/>
                </a:lnTo>
                <a:lnTo>
                  <a:pt x="2487" y="1496"/>
                </a:lnTo>
                <a:lnTo>
                  <a:pt x="2485" y="1486"/>
                </a:lnTo>
                <a:lnTo>
                  <a:pt x="2485" y="1475"/>
                </a:lnTo>
                <a:lnTo>
                  <a:pt x="2485" y="1465"/>
                </a:lnTo>
                <a:lnTo>
                  <a:pt x="2487" y="1454"/>
                </a:lnTo>
                <a:lnTo>
                  <a:pt x="2489" y="1444"/>
                </a:lnTo>
                <a:lnTo>
                  <a:pt x="2491" y="1433"/>
                </a:lnTo>
                <a:lnTo>
                  <a:pt x="2496" y="1422"/>
                </a:lnTo>
                <a:lnTo>
                  <a:pt x="2502" y="1412"/>
                </a:lnTo>
                <a:lnTo>
                  <a:pt x="2506" y="1403"/>
                </a:lnTo>
                <a:lnTo>
                  <a:pt x="2513" y="1395"/>
                </a:lnTo>
                <a:lnTo>
                  <a:pt x="2519" y="1386"/>
                </a:lnTo>
                <a:lnTo>
                  <a:pt x="2527" y="1380"/>
                </a:lnTo>
                <a:lnTo>
                  <a:pt x="2536" y="1374"/>
                </a:lnTo>
                <a:lnTo>
                  <a:pt x="2544" y="1369"/>
                </a:lnTo>
                <a:lnTo>
                  <a:pt x="2553" y="1365"/>
                </a:lnTo>
                <a:lnTo>
                  <a:pt x="2561" y="1361"/>
                </a:lnTo>
                <a:lnTo>
                  <a:pt x="2572" y="1361"/>
                </a:lnTo>
                <a:lnTo>
                  <a:pt x="2580" y="1359"/>
                </a:lnTo>
                <a:lnTo>
                  <a:pt x="2593" y="1361"/>
                </a:lnTo>
                <a:lnTo>
                  <a:pt x="2599" y="1361"/>
                </a:lnTo>
                <a:lnTo>
                  <a:pt x="2604" y="1363"/>
                </a:lnTo>
                <a:lnTo>
                  <a:pt x="2612" y="1369"/>
                </a:lnTo>
                <a:lnTo>
                  <a:pt x="2621" y="1376"/>
                </a:lnTo>
                <a:lnTo>
                  <a:pt x="2627" y="1384"/>
                </a:lnTo>
                <a:lnTo>
                  <a:pt x="2631" y="1395"/>
                </a:lnTo>
                <a:lnTo>
                  <a:pt x="2633" y="1405"/>
                </a:lnTo>
                <a:lnTo>
                  <a:pt x="2635" y="1416"/>
                </a:lnTo>
                <a:lnTo>
                  <a:pt x="2635" y="1424"/>
                </a:lnTo>
                <a:lnTo>
                  <a:pt x="2633" y="1431"/>
                </a:lnTo>
                <a:lnTo>
                  <a:pt x="2631" y="1439"/>
                </a:lnTo>
                <a:lnTo>
                  <a:pt x="2627" y="1446"/>
                </a:lnTo>
                <a:lnTo>
                  <a:pt x="2625" y="1452"/>
                </a:lnTo>
                <a:lnTo>
                  <a:pt x="2621" y="1458"/>
                </a:lnTo>
                <a:lnTo>
                  <a:pt x="2610" y="1471"/>
                </a:lnTo>
                <a:lnTo>
                  <a:pt x="2604" y="1475"/>
                </a:lnTo>
                <a:lnTo>
                  <a:pt x="2597" y="1480"/>
                </a:lnTo>
                <a:lnTo>
                  <a:pt x="2582" y="1488"/>
                </a:lnTo>
                <a:lnTo>
                  <a:pt x="2576" y="1490"/>
                </a:lnTo>
                <a:lnTo>
                  <a:pt x="2568" y="1492"/>
                </a:lnTo>
                <a:lnTo>
                  <a:pt x="2553" y="1494"/>
                </a:lnTo>
                <a:lnTo>
                  <a:pt x="2546" y="1492"/>
                </a:lnTo>
                <a:lnTo>
                  <a:pt x="2544" y="1490"/>
                </a:lnTo>
                <a:lnTo>
                  <a:pt x="2542" y="1488"/>
                </a:lnTo>
                <a:lnTo>
                  <a:pt x="2540" y="1486"/>
                </a:lnTo>
                <a:lnTo>
                  <a:pt x="2538" y="1482"/>
                </a:lnTo>
                <a:lnTo>
                  <a:pt x="2536" y="1475"/>
                </a:lnTo>
                <a:lnTo>
                  <a:pt x="2538" y="1469"/>
                </a:lnTo>
                <a:lnTo>
                  <a:pt x="2538" y="1467"/>
                </a:lnTo>
                <a:lnTo>
                  <a:pt x="2540" y="1465"/>
                </a:lnTo>
                <a:lnTo>
                  <a:pt x="2555" y="1463"/>
                </a:lnTo>
                <a:lnTo>
                  <a:pt x="2566" y="1458"/>
                </a:lnTo>
                <a:lnTo>
                  <a:pt x="2576" y="1452"/>
                </a:lnTo>
                <a:lnTo>
                  <a:pt x="2587" y="1446"/>
                </a:lnTo>
                <a:lnTo>
                  <a:pt x="2593" y="1437"/>
                </a:lnTo>
                <a:lnTo>
                  <a:pt x="2595" y="1433"/>
                </a:lnTo>
                <a:lnTo>
                  <a:pt x="2599" y="1429"/>
                </a:lnTo>
                <a:lnTo>
                  <a:pt x="2602" y="1420"/>
                </a:lnTo>
                <a:lnTo>
                  <a:pt x="2604" y="1412"/>
                </a:lnTo>
                <a:lnTo>
                  <a:pt x="2604" y="1408"/>
                </a:lnTo>
                <a:lnTo>
                  <a:pt x="2602" y="1403"/>
                </a:lnTo>
                <a:lnTo>
                  <a:pt x="2599" y="1399"/>
                </a:lnTo>
                <a:lnTo>
                  <a:pt x="2597" y="1395"/>
                </a:lnTo>
                <a:lnTo>
                  <a:pt x="2593" y="1393"/>
                </a:lnTo>
                <a:lnTo>
                  <a:pt x="2589" y="1391"/>
                </a:lnTo>
                <a:lnTo>
                  <a:pt x="2578" y="1391"/>
                </a:lnTo>
                <a:lnTo>
                  <a:pt x="2568" y="1391"/>
                </a:lnTo>
                <a:lnTo>
                  <a:pt x="2563" y="1393"/>
                </a:lnTo>
                <a:lnTo>
                  <a:pt x="2557" y="1397"/>
                </a:lnTo>
                <a:lnTo>
                  <a:pt x="2553" y="1399"/>
                </a:lnTo>
                <a:lnTo>
                  <a:pt x="2546" y="1403"/>
                </a:lnTo>
                <a:lnTo>
                  <a:pt x="2538" y="1414"/>
                </a:lnTo>
                <a:lnTo>
                  <a:pt x="2534" y="1420"/>
                </a:lnTo>
                <a:lnTo>
                  <a:pt x="2530" y="1427"/>
                </a:lnTo>
                <a:lnTo>
                  <a:pt x="2523" y="1441"/>
                </a:lnTo>
                <a:lnTo>
                  <a:pt x="2519" y="1456"/>
                </a:lnTo>
                <a:lnTo>
                  <a:pt x="2519" y="1465"/>
                </a:lnTo>
                <a:lnTo>
                  <a:pt x="2519" y="1473"/>
                </a:lnTo>
                <a:lnTo>
                  <a:pt x="2519" y="1490"/>
                </a:lnTo>
                <a:lnTo>
                  <a:pt x="2521" y="1496"/>
                </a:lnTo>
                <a:lnTo>
                  <a:pt x="2523" y="1503"/>
                </a:lnTo>
                <a:lnTo>
                  <a:pt x="2527" y="1516"/>
                </a:lnTo>
                <a:lnTo>
                  <a:pt x="2534" y="1526"/>
                </a:lnTo>
                <a:lnTo>
                  <a:pt x="2542" y="1535"/>
                </a:lnTo>
                <a:lnTo>
                  <a:pt x="2549" y="1537"/>
                </a:lnTo>
                <a:lnTo>
                  <a:pt x="2553" y="1541"/>
                </a:lnTo>
                <a:lnTo>
                  <a:pt x="2563" y="1545"/>
                </a:lnTo>
                <a:lnTo>
                  <a:pt x="2570" y="1545"/>
                </a:lnTo>
                <a:lnTo>
                  <a:pt x="2576" y="1545"/>
                </a:lnTo>
                <a:lnTo>
                  <a:pt x="2589" y="1545"/>
                </a:lnTo>
                <a:lnTo>
                  <a:pt x="2602" y="1541"/>
                </a:lnTo>
                <a:lnTo>
                  <a:pt x="2606" y="1539"/>
                </a:lnTo>
                <a:lnTo>
                  <a:pt x="2612" y="1535"/>
                </a:lnTo>
                <a:lnTo>
                  <a:pt x="2623" y="1528"/>
                </a:lnTo>
                <a:lnTo>
                  <a:pt x="2631" y="1520"/>
                </a:lnTo>
                <a:lnTo>
                  <a:pt x="2640" y="1509"/>
                </a:lnTo>
                <a:lnTo>
                  <a:pt x="2648" y="1496"/>
                </a:lnTo>
                <a:lnTo>
                  <a:pt x="2654" y="1484"/>
                </a:lnTo>
                <a:lnTo>
                  <a:pt x="2661" y="1471"/>
                </a:lnTo>
                <a:lnTo>
                  <a:pt x="2667" y="1456"/>
                </a:lnTo>
                <a:lnTo>
                  <a:pt x="2671" y="1441"/>
                </a:lnTo>
                <a:lnTo>
                  <a:pt x="2673" y="1427"/>
                </a:lnTo>
                <a:lnTo>
                  <a:pt x="2676" y="1412"/>
                </a:lnTo>
                <a:lnTo>
                  <a:pt x="2678" y="1399"/>
                </a:lnTo>
                <a:lnTo>
                  <a:pt x="2678" y="1384"/>
                </a:lnTo>
                <a:lnTo>
                  <a:pt x="2678" y="1372"/>
                </a:lnTo>
                <a:lnTo>
                  <a:pt x="2680" y="1369"/>
                </a:lnTo>
                <a:lnTo>
                  <a:pt x="2682" y="1367"/>
                </a:lnTo>
                <a:lnTo>
                  <a:pt x="2686" y="1365"/>
                </a:lnTo>
                <a:lnTo>
                  <a:pt x="2693" y="1365"/>
                </a:lnTo>
                <a:lnTo>
                  <a:pt x="2701" y="1365"/>
                </a:lnTo>
                <a:lnTo>
                  <a:pt x="2703" y="1367"/>
                </a:lnTo>
                <a:lnTo>
                  <a:pt x="2707" y="1369"/>
                </a:lnTo>
                <a:lnTo>
                  <a:pt x="2712" y="1378"/>
                </a:lnTo>
                <a:lnTo>
                  <a:pt x="2712" y="1384"/>
                </a:lnTo>
                <a:lnTo>
                  <a:pt x="2712" y="1391"/>
                </a:lnTo>
                <a:lnTo>
                  <a:pt x="2712" y="1410"/>
                </a:lnTo>
                <a:lnTo>
                  <a:pt x="2709" y="1429"/>
                </a:lnTo>
                <a:lnTo>
                  <a:pt x="2705" y="1446"/>
                </a:lnTo>
                <a:lnTo>
                  <a:pt x="2701" y="1463"/>
                </a:lnTo>
                <a:lnTo>
                  <a:pt x="2697" y="1480"/>
                </a:lnTo>
                <a:lnTo>
                  <a:pt x="2688" y="1496"/>
                </a:lnTo>
                <a:lnTo>
                  <a:pt x="2682" y="1511"/>
                </a:lnTo>
                <a:lnTo>
                  <a:pt x="2673" y="1524"/>
                </a:lnTo>
                <a:lnTo>
                  <a:pt x="2663" y="1537"/>
                </a:lnTo>
                <a:lnTo>
                  <a:pt x="2659" y="1543"/>
                </a:lnTo>
                <a:lnTo>
                  <a:pt x="2652" y="1547"/>
                </a:lnTo>
                <a:lnTo>
                  <a:pt x="2642" y="1558"/>
                </a:lnTo>
                <a:lnTo>
                  <a:pt x="2631" y="1566"/>
                </a:lnTo>
                <a:lnTo>
                  <a:pt x="2618" y="1573"/>
                </a:lnTo>
                <a:lnTo>
                  <a:pt x="2604" y="1577"/>
                </a:lnTo>
                <a:lnTo>
                  <a:pt x="2591" y="1581"/>
                </a:lnTo>
                <a:lnTo>
                  <a:pt x="2576" y="1581"/>
                </a:lnTo>
                <a:close/>
                <a:moveTo>
                  <a:pt x="2807" y="1579"/>
                </a:moveTo>
                <a:lnTo>
                  <a:pt x="2801" y="1577"/>
                </a:lnTo>
                <a:lnTo>
                  <a:pt x="2792" y="1571"/>
                </a:lnTo>
                <a:lnTo>
                  <a:pt x="2775" y="1556"/>
                </a:lnTo>
                <a:lnTo>
                  <a:pt x="2756" y="1535"/>
                </a:lnTo>
                <a:lnTo>
                  <a:pt x="2737" y="1516"/>
                </a:lnTo>
                <a:lnTo>
                  <a:pt x="2731" y="1507"/>
                </a:lnTo>
                <a:lnTo>
                  <a:pt x="2726" y="1501"/>
                </a:lnTo>
                <a:lnTo>
                  <a:pt x="2720" y="1488"/>
                </a:lnTo>
                <a:lnTo>
                  <a:pt x="2718" y="1482"/>
                </a:lnTo>
                <a:lnTo>
                  <a:pt x="2718" y="1475"/>
                </a:lnTo>
                <a:lnTo>
                  <a:pt x="2718" y="1469"/>
                </a:lnTo>
                <a:lnTo>
                  <a:pt x="2720" y="1463"/>
                </a:lnTo>
                <a:lnTo>
                  <a:pt x="2724" y="1454"/>
                </a:lnTo>
                <a:lnTo>
                  <a:pt x="2729" y="1446"/>
                </a:lnTo>
                <a:lnTo>
                  <a:pt x="2741" y="1431"/>
                </a:lnTo>
                <a:lnTo>
                  <a:pt x="2758" y="1410"/>
                </a:lnTo>
                <a:lnTo>
                  <a:pt x="2801" y="1363"/>
                </a:lnTo>
                <a:lnTo>
                  <a:pt x="2807" y="1363"/>
                </a:lnTo>
                <a:lnTo>
                  <a:pt x="2813" y="1365"/>
                </a:lnTo>
                <a:lnTo>
                  <a:pt x="2820" y="1369"/>
                </a:lnTo>
                <a:lnTo>
                  <a:pt x="2822" y="1376"/>
                </a:lnTo>
                <a:lnTo>
                  <a:pt x="2824" y="1382"/>
                </a:lnTo>
                <a:lnTo>
                  <a:pt x="2822" y="1389"/>
                </a:lnTo>
                <a:lnTo>
                  <a:pt x="2822" y="1391"/>
                </a:lnTo>
                <a:lnTo>
                  <a:pt x="2817" y="1395"/>
                </a:lnTo>
                <a:lnTo>
                  <a:pt x="2788" y="1429"/>
                </a:lnTo>
                <a:lnTo>
                  <a:pt x="2771" y="1450"/>
                </a:lnTo>
                <a:lnTo>
                  <a:pt x="2758" y="1465"/>
                </a:lnTo>
                <a:lnTo>
                  <a:pt x="2756" y="1469"/>
                </a:lnTo>
                <a:lnTo>
                  <a:pt x="2754" y="1473"/>
                </a:lnTo>
                <a:lnTo>
                  <a:pt x="2756" y="1480"/>
                </a:lnTo>
                <a:lnTo>
                  <a:pt x="2758" y="1484"/>
                </a:lnTo>
                <a:lnTo>
                  <a:pt x="2769" y="1496"/>
                </a:lnTo>
                <a:lnTo>
                  <a:pt x="2786" y="1516"/>
                </a:lnTo>
                <a:lnTo>
                  <a:pt x="2805" y="1535"/>
                </a:lnTo>
                <a:lnTo>
                  <a:pt x="2824" y="1551"/>
                </a:lnTo>
                <a:lnTo>
                  <a:pt x="2826" y="1556"/>
                </a:lnTo>
                <a:lnTo>
                  <a:pt x="2828" y="1558"/>
                </a:lnTo>
                <a:lnTo>
                  <a:pt x="2826" y="1562"/>
                </a:lnTo>
                <a:lnTo>
                  <a:pt x="2826" y="1564"/>
                </a:lnTo>
                <a:lnTo>
                  <a:pt x="2820" y="1571"/>
                </a:lnTo>
                <a:lnTo>
                  <a:pt x="2813" y="1577"/>
                </a:lnTo>
                <a:lnTo>
                  <a:pt x="2809" y="1577"/>
                </a:lnTo>
                <a:lnTo>
                  <a:pt x="2807" y="1579"/>
                </a:lnTo>
                <a:close/>
                <a:moveTo>
                  <a:pt x="2576" y="2157"/>
                </a:moveTo>
                <a:lnTo>
                  <a:pt x="2566" y="2155"/>
                </a:lnTo>
                <a:lnTo>
                  <a:pt x="2557" y="2155"/>
                </a:lnTo>
                <a:lnTo>
                  <a:pt x="2549" y="2150"/>
                </a:lnTo>
                <a:lnTo>
                  <a:pt x="2540" y="2148"/>
                </a:lnTo>
                <a:lnTo>
                  <a:pt x="2532" y="2144"/>
                </a:lnTo>
                <a:lnTo>
                  <a:pt x="2525" y="2138"/>
                </a:lnTo>
                <a:lnTo>
                  <a:pt x="2517" y="2131"/>
                </a:lnTo>
                <a:lnTo>
                  <a:pt x="2511" y="2125"/>
                </a:lnTo>
                <a:lnTo>
                  <a:pt x="2506" y="2119"/>
                </a:lnTo>
                <a:lnTo>
                  <a:pt x="2500" y="2110"/>
                </a:lnTo>
                <a:lnTo>
                  <a:pt x="2491" y="2091"/>
                </a:lnTo>
                <a:lnTo>
                  <a:pt x="2489" y="2083"/>
                </a:lnTo>
                <a:lnTo>
                  <a:pt x="2487" y="2072"/>
                </a:lnTo>
                <a:lnTo>
                  <a:pt x="2485" y="2062"/>
                </a:lnTo>
                <a:lnTo>
                  <a:pt x="2485" y="2051"/>
                </a:lnTo>
                <a:lnTo>
                  <a:pt x="2485" y="2038"/>
                </a:lnTo>
                <a:lnTo>
                  <a:pt x="2487" y="2028"/>
                </a:lnTo>
                <a:lnTo>
                  <a:pt x="2489" y="2017"/>
                </a:lnTo>
                <a:lnTo>
                  <a:pt x="2491" y="2007"/>
                </a:lnTo>
                <a:lnTo>
                  <a:pt x="2496" y="1996"/>
                </a:lnTo>
                <a:lnTo>
                  <a:pt x="2502" y="1988"/>
                </a:lnTo>
                <a:lnTo>
                  <a:pt x="2506" y="1977"/>
                </a:lnTo>
                <a:lnTo>
                  <a:pt x="2513" y="1968"/>
                </a:lnTo>
                <a:lnTo>
                  <a:pt x="2519" y="1962"/>
                </a:lnTo>
                <a:lnTo>
                  <a:pt x="2527" y="1954"/>
                </a:lnTo>
                <a:lnTo>
                  <a:pt x="2536" y="1949"/>
                </a:lnTo>
                <a:lnTo>
                  <a:pt x="2544" y="1943"/>
                </a:lnTo>
                <a:lnTo>
                  <a:pt x="2553" y="1939"/>
                </a:lnTo>
                <a:lnTo>
                  <a:pt x="2561" y="1937"/>
                </a:lnTo>
                <a:lnTo>
                  <a:pt x="2572" y="1935"/>
                </a:lnTo>
                <a:lnTo>
                  <a:pt x="2580" y="1935"/>
                </a:lnTo>
                <a:lnTo>
                  <a:pt x="2593" y="1935"/>
                </a:lnTo>
                <a:lnTo>
                  <a:pt x="2599" y="1937"/>
                </a:lnTo>
                <a:lnTo>
                  <a:pt x="2604" y="1939"/>
                </a:lnTo>
                <a:lnTo>
                  <a:pt x="2612" y="1943"/>
                </a:lnTo>
                <a:lnTo>
                  <a:pt x="2621" y="1949"/>
                </a:lnTo>
                <a:lnTo>
                  <a:pt x="2627" y="1958"/>
                </a:lnTo>
                <a:lnTo>
                  <a:pt x="2631" y="1968"/>
                </a:lnTo>
                <a:lnTo>
                  <a:pt x="2633" y="1979"/>
                </a:lnTo>
                <a:lnTo>
                  <a:pt x="2635" y="1992"/>
                </a:lnTo>
                <a:lnTo>
                  <a:pt x="2635" y="1998"/>
                </a:lnTo>
                <a:lnTo>
                  <a:pt x="2633" y="2007"/>
                </a:lnTo>
                <a:lnTo>
                  <a:pt x="2631" y="2013"/>
                </a:lnTo>
                <a:lnTo>
                  <a:pt x="2627" y="2019"/>
                </a:lnTo>
                <a:lnTo>
                  <a:pt x="2625" y="2028"/>
                </a:lnTo>
                <a:lnTo>
                  <a:pt x="2621" y="2034"/>
                </a:lnTo>
                <a:lnTo>
                  <a:pt x="2610" y="2045"/>
                </a:lnTo>
                <a:lnTo>
                  <a:pt x="2604" y="2051"/>
                </a:lnTo>
                <a:lnTo>
                  <a:pt x="2597" y="2055"/>
                </a:lnTo>
                <a:lnTo>
                  <a:pt x="2582" y="2062"/>
                </a:lnTo>
                <a:lnTo>
                  <a:pt x="2576" y="2066"/>
                </a:lnTo>
                <a:lnTo>
                  <a:pt x="2568" y="2068"/>
                </a:lnTo>
                <a:lnTo>
                  <a:pt x="2553" y="2068"/>
                </a:lnTo>
                <a:lnTo>
                  <a:pt x="2546" y="2068"/>
                </a:lnTo>
                <a:lnTo>
                  <a:pt x="2544" y="2066"/>
                </a:lnTo>
                <a:lnTo>
                  <a:pt x="2542" y="2064"/>
                </a:lnTo>
                <a:lnTo>
                  <a:pt x="2540" y="2059"/>
                </a:lnTo>
                <a:lnTo>
                  <a:pt x="2538" y="2057"/>
                </a:lnTo>
                <a:lnTo>
                  <a:pt x="2536" y="2049"/>
                </a:lnTo>
                <a:lnTo>
                  <a:pt x="2538" y="2043"/>
                </a:lnTo>
                <a:lnTo>
                  <a:pt x="2538" y="2040"/>
                </a:lnTo>
                <a:lnTo>
                  <a:pt x="2540" y="2038"/>
                </a:lnTo>
                <a:lnTo>
                  <a:pt x="2555" y="2036"/>
                </a:lnTo>
                <a:lnTo>
                  <a:pt x="2566" y="2032"/>
                </a:lnTo>
                <a:lnTo>
                  <a:pt x="2576" y="2026"/>
                </a:lnTo>
                <a:lnTo>
                  <a:pt x="2587" y="2019"/>
                </a:lnTo>
                <a:lnTo>
                  <a:pt x="2593" y="2011"/>
                </a:lnTo>
                <a:lnTo>
                  <a:pt x="2595" y="2007"/>
                </a:lnTo>
                <a:lnTo>
                  <a:pt x="2599" y="2002"/>
                </a:lnTo>
                <a:lnTo>
                  <a:pt x="2602" y="1994"/>
                </a:lnTo>
                <a:lnTo>
                  <a:pt x="2604" y="1985"/>
                </a:lnTo>
                <a:lnTo>
                  <a:pt x="2604" y="1981"/>
                </a:lnTo>
                <a:lnTo>
                  <a:pt x="2602" y="1977"/>
                </a:lnTo>
                <a:lnTo>
                  <a:pt x="2599" y="1973"/>
                </a:lnTo>
                <a:lnTo>
                  <a:pt x="2597" y="1971"/>
                </a:lnTo>
                <a:lnTo>
                  <a:pt x="2593" y="1966"/>
                </a:lnTo>
                <a:lnTo>
                  <a:pt x="2589" y="1966"/>
                </a:lnTo>
                <a:lnTo>
                  <a:pt x="2578" y="1964"/>
                </a:lnTo>
                <a:lnTo>
                  <a:pt x="2568" y="1966"/>
                </a:lnTo>
                <a:lnTo>
                  <a:pt x="2563" y="1968"/>
                </a:lnTo>
                <a:lnTo>
                  <a:pt x="2557" y="1971"/>
                </a:lnTo>
                <a:lnTo>
                  <a:pt x="2553" y="1975"/>
                </a:lnTo>
                <a:lnTo>
                  <a:pt x="2546" y="1979"/>
                </a:lnTo>
                <a:lnTo>
                  <a:pt x="2538" y="1990"/>
                </a:lnTo>
                <a:lnTo>
                  <a:pt x="2534" y="1994"/>
                </a:lnTo>
                <a:lnTo>
                  <a:pt x="2530" y="2002"/>
                </a:lnTo>
                <a:lnTo>
                  <a:pt x="2523" y="2015"/>
                </a:lnTo>
                <a:lnTo>
                  <a:pt x="2519" y="2032"/>
                </a:lnTo>
                <a:lnTo>
                  <a:pt x="2519" y="2040"/>
                </a:lnTo>
                <a:lnTo>
                  <a:pt x="2519" y="2049"/>
                </a:lnTo>
                <a:lnTo>
                  <a:pt x="2519" y="2064"/>
                </a:lnTo>
                <a:lnTo>
                  <a:pt x="2521" y="2070"/>
                </a:lnTo>
                <a:lnTo>
                  <a:pt x="2523" y="2076"/>
                </a:lnTo>
                <a:lnTo>
                  <a:pt x="2527" y="2089"/>
                </a:lnTo>
                <a:lnTo>
                  <a:pt x="2534" y="2100"/>
                </a:lnTo>
                <a:lnTo>
                  <a:pt x="2542" y="2108"/>
                </a:lnTo>
                <a:lnTo>
                  <a:pt x="2549" y="2112"/>
                </a:lnTo>
                <a:lnTo>
                  <a:pt x="2553" y="2115"/>
                </a:lnTo>
                <a:lnTo>
                  <a:pt x="2563" y="2119"/>
                </a:lnTo>
                <a:lnTo>
                  <a:pt x="2570" y="2121"/>
                </a:lnTo>
                <a:lnTo>
                  <a:pt x="2576" y="2121"/>
                </a:lnTo>
                <a:lnTo>
                  <a:pt x="2589" y="2119"/>
                </a:lnTo>
                <a:lnTo>
                  <a:pt x="2602" y="2115"/>
                </a:lnTo>
                <a:lnTo>
                  <a:pt x="2606" y="2112"/>
                </a:lnTo>
                <a:lnTo>
                  <a:pt x="2612" y="2110"/>
                </a:lnTo>
                <a:lnTo>
                  <a:pt x="2623" y="2102"/>
                </a:lnTo>
                <a:lnTo>
                  <a:pt x="2631" y="2093"/>
                </a:lnTo>
                <a:lnTo>
                  <a:pt x="2640" y="2083"/>
                </a:lnTo>
                <a:lnTo>
                  <a:pt x="2648" y="2070"/>
                </a:lnTo>
                <a:lnTo>
                  <a:pt x="2654" y="2057"/>
                </a:lnTo>
                <a:lnTo>
                  <a:pt x="2661" y="2045"/>
                </a:lnTo>
                <a:lnTo>
                  <a:pt x="2667" y="2030"/>
                </a:lnTo>
                <a:lnTo>
                  <a:pt x="2671" y="2017"/>
                </a:lnTo>
                <a:lnTo>
                  <a:pt x="2673" y="2002"/>
                </a:lnTo>
                <a:lnTo>
                  <a:pt x="2676" y="1988"/>
                </a:lnTo>
                <a:lnTo>
                  <a:pt x="2678" y="1973"/>
                </a:lnTo>
                <a:lnTo>
                  <a:pt x="2678" y="1960"/>
                </a:lnTo>
                <a:lnTo>
                  <a:pt x="2678" y="1947"/>
                </a:lnTo>
                <a:lnTo>
                  <a:pt x="2680" y="1943"/>
                </a:lnTo>
                <a:lnTo>
                  <a:pt x="2682" y="1941"/>
                </a:lnTo>
                <a:lnTo>
                  <a:pt x="2686" y="1939"/>
                </a:lnTo>
                <a:lnTo>
                  <a:pt x="2693" y="1939"/>
                </a:lnTo>
                <a:lnTo>
                  <a:pt x="2701" y="1941"/>
                </a:lnTo>
                <a:lnTo>
                  <a:pt x="2703" y="1943"/>
                </a:lnTo>
                <a:lnTo>
                  <a:pt x="2707" y="1945"/>
                </a:lnTo>
                <a:lnTo>
                  <a:pt x="2712" y="1954"/>
                </a:lnTo>
                <a:lnTo>
                  <a:pt x="2712" y="1958"/>
                </a:lnTo>
                <a:lnTo>
                  <a:pt x="2712" y="1964"/>
                </a:lnTo>
                <a:lnTo>
                  <a:pt x="2712" y="1983"/>
                </a:lnTo>
                <a:lnTo>
                  <a:pt x="2709" y="2002"/>
                </a:lnTo>
                <a:lnTo>
                  <a:pt x="2705" y="2019"/>
                </a:lnTo>
                <a:lnTo>
                  <a:pt x="2701" y="2038"/>
                </a:lnTo>
                <a:lnTo>
                  <a:pt x="2697" y="2053"/>
                </a:lnTo>
                <a:lnTo>
                  <a:pt x="2688" y="2070"/>
                </a:lnTo>
                <a:lnTo>
                  <a:pt x="2682" y="2085"/>
                </a:lnTo>
                <a:lnTo>
                  <a:pt x="2673" y="2098"/>
                </a:lnTo>
                <a:lnTo>
                  <a:pt x="2663" y="2110"/>
                </a:lnTo>
                <a:lnTo>
                  <a:pt x="2659" y="2117"/>
                </a:lnTo>
                <a:lnTo>
                  <a:pt x="2652" y="2123"/>
                </a:lnTo>
                <a:lnTo>
                  <a:pt x="2642" y="2131"/>
                </a:lnTo>
                <a:lnTo>
                  <a:pt x="2631" y="2140"/>
                </a:lnTo>
                <a:lnTo>
                  <a:pt x="2618" y="2146"/>
                </a:lnTo>
                <a:lnTo>
                  <a:pt x="2604" y="2153"/>
                </a:lnTo>
                <a:lnTo>
                  <a:pt x="2591" y="2155"/>
                </a:lnTo>
                <a:lnTo>
                  <a:pt x="2576" y="2157"/>
                </a:lnTo>
                <a:close/>
                <a:moveTo>
                  <a:pt x="2807" y="2153"/>
                </a:moveTo>
                <a:lnTo>
                  <a:pt x="2801" y="2150"/>
                </a:lnTo>
                <a:lnTo>
                  <a:pt x="2792" y="2144"/>
                </a:lnTo>
                <a:lnTo>
                  <a:pt x="2775" y="2129"/>
                </a:lnTo>
                <a:lnTo>
                  <a:pt x="2756" y="2110"/>
                </a:lnTo>
                <a:lnTo>
                  <a:pt x="2737" y="2089"/>
                </a:lnTo>
                <a:lnTo>
                  <a:pt x="2731" y="2081"/>
                </a:lnTo>
                <a:lnTo>
                  <a:pt x="2726" y="2074"/>
                </a:lnTo>
                <a:lnTo>
                  <a:pt x="2720" y="2062"/>
                </a:lnTo>
                <a:lnTo>
                  <a:pt x="2718" y="2055"/>
                </a:lnTo>
                <a:lnTo>
                  <a:pt x="2718" y="2051"/>
                </a:lnTo>
                <a:lnTo>
                  <a:pt x="2718" y="2043"/>
                </a:lnTo>
                <a:lnTo>
                  <a:pt x="2720" y="2036"/>
                </a:lnTo>
                <a:lnTo>
                  <a:pt x="2724" y="2028"/>
                </a:lnTo>
                <a:lnTo>
                  <a:pt x="2729" y="2019"/>
                </a:lnTo>
                <a:lnTo>
                  <a:pt x="2741" y="2004"/>
                </a:lnTo>
                <a:lnTo>
                  <a:pt x="2758" y="1985"/>
                </a:lnTo>
                <a:lnTo>
                  <a:pt x="2801" y="1937"/>
                </a:lnTo>
                <a:lnTo>
                  <a:pt x="2807" y="1937"/>
                </a:lnTo>
                <a:lnTo>
                  <a:pt x="2813" y="1941"/>
                </a:lnTo>
                <a:lnTo>
                  <a:pt x="2820" y="1945"/>
                </a:lnTo>
                <a:lnTo>
                  <a:pt x="2822" y="1949"/>
                </a:lnTo>
                <a:lnTo>
                  <a:pt x="2824" y="1956"/>
                </a:lnTo>
                <a:lnTo>
                  <a:pt x="2822" y="1962"/>
                </a:lnTo>
                <a:lnTo>
                  <a:pt x="2822" y="1966"/>
                </a:lnTo>
                <a:lnTo>
                  <a:pt x="2817" y="1968"/>
                </a:lnTo>
                <a:lnTo>
                  <a:pt x="2788" y="2002"/>
                </a:lnTo>
                <a:lnTo>
                  <a:pt x="2771" y="2023"/>
                </a:lnTo>
                <a:lnTo>
                  <a:pt x="2758" y="2038"/>
                </a:lnTo>
                <a:lnTo>
                  <a:pt x="2756" y="2045"/>
                </a:lnTo>
                <a:lnTo>
                  <a:pt x="2754" y="2049"/>
                </a:lnTo>
                <a:lnTo>
                  <a:pt x="2756" y="2053"/>
                </a:lnTo>
                <a:lnTo>
                  <a:pt x="2758" y="2059"/>
                </a:lnTo>
                <a:lnTo>
                  <a:pt x="2769" y="2072"/>
                </a:lnTo>
                <a:lnTo>
                  <a:pt x="2786" y="2089"/>
                </a:lnTo>
                <a:lnTo>
                  <a:pt x="2805" y="2108"/>
                </a:lnTo>
                <a:lnTo>
                  <a:pt x="2824" y="2127"/>
                </a:lnTo>
                <a:lnTo>
                  <a:pt x="2826" y="2129"/>
                </a:lnTo>
                <a:lnTo>
                  <a:pt x="2828" y="2131"/>
                </a:lnTo>
                <a:lnTo>
                  <a:pt x="2826" y="2136"/>
                </a:lnTo>
                <a:lnTo>
                  <a:pt x="2826" y="2140"/>
                </a:lnTo>
                <a:lnTo>
                  <a:pt x="2820" y="2146"/>
                </a:lnTo>
                <a:lnTo>
                  <a:pt x="2813" y="2150"/>
                </a:lnTo>
                <a:lnTo>
                  <a:pt x="2809" y="2153"/>
                </a:lnTo>
                <a:lnTo>
                  <a:pt x="2807" y="2153"/>
                </a:lnTo>
                <a:close/>
                <a:moveTo>
                  <a:pt x="2113" y="991"/>
                </a:moveTo>
                <a:lnTo>
                  <a:pt x="2104" y="991"/>
                </a:lnTo>
                <a:lnTo>
                  <a:pt x="2093" y="988"/>
                </a:lnTo>
                <a:lnTo>
                  <a:pt x="2085" y="986"/>
                </a:lnTo>
                <a:lnTo>
                  <a:pt x="2077" y="982"/>
                </a:lnTo>
                <a:lnTo>
                  <a:pt x="2070" y="978"/>
                </a:lnTo>
                <a:lnTo>
                  <a:pt x="2062" y="972"/>
                </a:lnTo>
                <a:lnTo>
                  <a:pt x="2055" y="965"/>
                </a:lnTo>
                <a:lnTo>
                  <a:pt x="2049" y="959"/>
                </a:lnTo>
                <a:lnTo>
                  <a:pt x="2043" y="952"/>
                </a:lnTo>
                <a:lnTo>
                  <a:pt x="2038" y="944"/>
                </a:lnTo>
                <a:lnTo>
                  <a:pt x="2030" y="925"/>
                </a:lnTo>
                <a:lnTo>
                  <a:pt x="2026" y="917"/>
                </a:lnTo>
                <a:lnTo>
                  <a:pt x="2024" y="906"/>
                </a:lnTo>
                <a:lnTo>
                  <a:pt x="2022" y="895"/>
                </a:lnTo>
                <a:lnTo>
                  <a:pt x="2022" y="885"/>
                </a:lnTo>
                <a:lnTo>
                  <a:pt x="2022" y="872"/>
                </a:lnTo>
                <a:lnTo>
                  <a:pt x="2024" y="861"/>
                </a:lnTo>
                <a:lnTo>
                  <a:pt x="2026" y="851"/>
                </a:lnTo>
                <a:lnTo>
                  <a:pt x="2030" y="840"/>
                </a:lnTo>
                <a:lnTo>
                  <a:pt x="2034" y="830"/>
                </a:lnTo>
                <a:lnTo>
                  <a:pt x="2038" y="821"/>
                </a:lnTo>
                <a:lnTo>
                  <a:pt x="2045" y="811"/>
                </a:lnTo>
                <a:lnTo>
                  <a:pt x="2049" y="802"/>
                </a:lnTo>
                <a:lnTo>
                  <a:pt x="2058" y="796"/>
                </a:lnTo>
                <a:lnTo>
                  <a:pt x="2064" y="790"/>
                </a:lnTo>
                <a:lnTo>
                  <a:pt x="2072" y="783"/>
                </a:lnTo>
                <a:lnTo>
                  <a:pt x="2081" y="777"/>
                </a:lnTo>
                <a:lnTo>
                  <a:pt x="2089" y="773"/>
                </a:lnTo>
                <a:lnTo>
                  <a:pt x="2100" y="770"/>
                </a:lnTo>
                <a:lnTo>
                  <a:pt x="2108" y="768"/>
                </a:lnTo>
                <a:lnTo>
                  <a:pt x="2119" y="768"/>
                </a:lnTo>
                <a:lnTo>
                  <a:pt x="2129" y="768"/>
                </a:lnTo>
                <a:lnTo>
                  <a:pt x="2136" y="770"/>
                </a:lnTo>
                <a:lnTo>
                  <a:pt x="2140" y="773"/>
                </a:lnTo>
                <a:lnTo>
                  <a:pt x="2151" y="777"/>
                </a:lnTo>
                <a:lnTo>
                  <a:pt x="2157" y="785"/>
                </a:lnTo>
                <a:lnTo>
                  <a:pt x="2163" y="792"/>
                </a:lnTo>
                <a:lnTo>
                  <a:pt x="2168" y="802"/>
                </a:lnTo>
                <a:lnTo>
                  <a:pt x="2172" y="813"/>
                </a:lnTo>
                <a:lnTo>
                  <a:pt x="2172" y="825"/>
                </a:lnTo>
                <a:lnTo>
                  <a:pt x="2172" y="832"/>
                </a:lnTo>
                <a:lnTo>
                  <a:pt x="2170" y="840"/>
                </a:lnTo>
                <a:lnTo>
                  <a:pt x="2168" y="847"/>
                </a:lnTo>
                <a:lnTo>
                  <a:pt x="2165" y="855"/>
                </a:lnTo>
                <a:lnTo>
                  <a:pt x="2161" y="861"/>
                </a:lnTo>
                <a:lnTo>
                  <a:pt x="2157" y="868"/>
                </a:lnTo>
                <a:lnTo>
                  <a:pt x="2146" y="878"/>
                </a:lnTo>
                <a:lnTo>
                  <a:pt x="2140" y="885"/>
                </a:lnTo>
                <a:lnTo>
                  <a:pt x="2134" y="889"/>
                </a:lnTo>
                <a:lnTo>
                  <a:pt x="2119" y="895"/>
                </a:lnTo>
                <a:lnTo>
                  <a:pt x="2113" y="900"/>
                </a:lnTo>
                <a:lnTo>
                  <a:pt x="2104" y="902"/>
                </a:lnTo>
                <a:lnTo>
                  <a:pt x="2089" y="902"/>
                </a:lnTo>
                <a:lnTo>
                  <a:pt x="2083" y="902"/>
                </a:lnTo>
                <a:lnTo>
                  <a:pt x="2081" y="900"/>
                </a:lnTo>
                <a:lnTo>
                  <a:pt x="2079" y="897"/>
                </a:lnTo>
                <a:lnTo>
                  <a:pt x="2077" y="893"/>
                </a:lnTo>
                <a:lnTo>
                  <a:pt x="2074" y="891"/>
                </a:lnTo>
                <a:lnTo>
                  <a:pt x="2074" y="883"/>
                </a:lnTo>
                <a:lnTo>
                  <a:pt x="2074" y="876"/>
                </a:lnTo>
                <a:lnTo>
                  <a:pt x="2077" y="874"/>
                </a:lnTo>
                <a:lnTo>
                  <a:pt x="2079" y="874"/>
                </a:lnTo>
                <a:lnTo>
                  <a:pt x="2091" y="870"/>
                </a:lnTo>
                <a:lnTo>
                  <a:pt x="2104" y="866"/>
                </a:lnTo>
                <a:lnTo>
                  <a:pt x="2115" y="859"/>
                </a:lnTo>
                <a:lnTo>
                  <a:pt x="2123" y="853"/>
                </a:lnTo>
                <a:lnTo>
                  <a:pt x="2129" y="845"/>
                </a:lnTo>
                <a:lnTo>
                  <a:pt x="2134" y="842"/>
                </a:lnTo>
                <a:lnTo>
                  <a:pt x="2136" y="838"/>
                </a:lnTo>
                <a:lnTo>
                  <a:pt x="2140" y="830"/>
                </a:lnTo>
                <a:lnTo>
                  <a:pt x="2140" y="821"/>
                </a:lnTo>
                <a:lnTo>
                  <a:pt x="2140" y="815"/>
                </a:lnTo>
                <a:lnTo>
                  <a:pt x="2138" y="811"/>
                </a:lnTo>
                <a:lnTo>
                  <a:pt x="2136" y="806"/>
                </a:lnTo>
                <a:lnTo>
                  <a:pt x="2134" y="804"/>
                </a:lnTo>
                <a:lnTo>
                  <a:pt x="2129" y="802"/>
                </a:lnTo>
                <a:lnTo>
                  <a:pt x="2125" y="800"/>
                </a:lnTo>
                <a:lnTo>
                  <a:pt x="2117" y="798"/>
                </a:lnTo>
                <a:lnTo>
                  <a:pt x="2106" y="800"/>
                </a:lnTo>
                <a:lnTo>
                  <a:pt x="2100" y="802"/>
                </a:lnTo>
                <a:lnTo>
                  <a:pt x="2096" y="804"/>
                </a:lnTo>
                <a:lnTo>
                  <a:pt x="2089" y="809"/>
                </a:lnTo>
                <a:lnTo>
                  <a:pt x="2085" y="813"/>
                </a:lnTo>
                <a:lnTo>
                  <a:pt x="2074" y="823"/>
                </a:lnTo>
                <a:lnTo>
                  <a:pt x="2070" y="830"/>
                </a:lnTo>
                <a:lnTo>
                  <a:pt x="2068" y="836"/>
                </a:lnTo>
                <a:lnTo>
                  <a:pt x="2062" y="849"/>
                </a:lnTo>
                <a:lnTo>
                  <a:pt x="2058" y="866"/>
                </a:lnTo>
                <a:lnTo>
                  <a:pt x="2055" y="874"/>
                </a:lnTo>
                <a:lnTo>
                  <a:pt x="2055" y="883"/>
                </a:lnTo>
                <a:lnTo>
                  <a:pt x="2058" y="897"/>
                </a:lnTo>
                <a:lnTo>
                  <a:pt x="2058" y="904"/>
                </a:lnTo>
                <a:lnTo>
                  <a:pt x="2060" y="912"/>
                </a:lnTo>
                <a:lnTo>
                  <a:pt x="2064" y="923"/>
                </a:lnTo>
                <a:lnTo>
                  <a:pt x="2072" y="933"/>
                </a:lnTo>
                <a:lnTo>
                  <a:pt x="2081" y="942"/>
                </a:lnTo>
                <a:lnTo>
                  <a:pt x="2085" y="946"/>
                </a:lnTo>
                <a:lnTo>
                  <a:pt x="2089" y="948"/>
                </a:lnTo>
                <a:lnTo>
                  <a:pt x="2102" y="952"/>
                </a:lnTo>
                <a:lnTo>
                  <a:pt x="2108" y="955"/>
                </a:lnTo>
                <a:lnTo>
                  <a:pt x="2115" y="955"/>
                </a:lnTo>
                <a:lnTo>
                  <a:pt x="2125" y="952"/>
                </a:lnTo>
                <a:lnTo>
                  <a:pt x="2138" y="950"/>
                </a:lnTo>
                <a:lnTo>
                  <a:pt x="2144" y="946"/>
                </a:lnTo>
                <a:lnTo>
                  <a:pt x="2149" y="944"/>
                </a:lnTo>
                <a:lnTo>
                  <a:pt x="2159" y="936"/>
                </a:lnTo>
                <a:lnTo>
                  <a:pt x="2170" y="927"/>
                </a:lnTo>
                <a:lnTo>
                  <a:pt x="2178" y="917"/>
                </a:lnTo>
                <a:lnTo>
                  <a:pt x="2185" y="906"/>
                </a:lnTo>
                <a:lnTo>
                  <a:pt x="2193" y="893"/>
                </a:lnTo>
                <a:lnTo>
                  <a:pt x="2199" y="878"/>
                </a:lnTo>
                <a:lnTo>
                  <a:pt x="2204" y="864"/>
                </a:lnTo>
                <a:lnTo>
                  <a:pt x="2208" y="851"/>
                </a:lnTo>
                <a:lnTo>
                  <a:pt x="2212" y="836"/>
                </a:lnTo>
                <a:lnTo>
                  <a:pt x="2214" y="821"/>
                </a:lnTo>
                <a:lnTo>
                  <a:pt x="2216" y="806"/>
                </a:lnTo>
                <a:lnTo>
                  <a:pt x="2216" y="794"/>
                </a:lnTo>
                <a:lnTo>
                  <a:pt x="2216" y="781"/>
                </a:lnTo>
                <a:lnTo>
                  <a:pt x="2216" y="777"/>
                </a:lnTo>
                <a:lnTo>
                  <a:pt x="2221" y="775"/>
                </a:lnTo>
                <a:lnTo>
                  <a:pt x="2225" y="775"/>
                </a:lnTo>
                <a:lnTo>
                  <a:pt x="2229" y="773"/>
                </a:lnTo>
                <a:lnTo>
                  <a:pt x="2237" y="775"/>
                </a:lnTo>
                <a:lnTo>
                  <a:pt x="2242" y="777"/>
                </a:lnTo>
                <a:lnTo>
                  <a:pt x="2244" y="779"/>
                </a:lnTo>
                <a:lnTo>
                  <a:pt x="2248" y="787"/>
                </a:lnTo>
                <a:lnTo>
                  <a:pt x="2250" y="792"/>
                </a:lnTo>
                <a:lnTo>
                  <a:pt x="2250" y="800"/>
                </a:lnTo>
                <a:lnTo>
                  <a:pt x="2248" y="817"/>
                </a:lnTo>
                <a:lnTo>
                  <a:pt x="2246" y="836"/>
                </a:lnTo>
                <a:lnTo>
                  <a:pt x="2244" y="855"/>
                </a:lnTo>
                <a:lnTo>
                  <a:pt x="2240" y="872"/>
                </a:lnTo>
                <a:lnTo>
                  <a:pt x="2233" y="889"/>
                </a:lnTo>
                <a:lnTo>
                  <a:pt x="2227" y="904"/>
                </a:lnTo>
                <a:lnTo>
                  <a:pt x="2218" y="919"/>
                </a:lnTo>
                <a:lnTo>
                  <a:pt x="2210" y="933"/>
                </a:lnTo>
                <a:lnTo>
                  <a:pt x="2201" y="944"/>
                </a:lnTo>
                <a:lnTo>
                  <a:pt x="2195" y="950"/>
                </a:lnTo>
                <a:lnTo>
                  <a:pt x="2191" y="957"/>
                </a:lnTo>
                <a:lnTo>
                  <a:pt x="2178" y="965"/>
                </a:lnTo>
                <a:lnTo>
                  <a:pt x="2168" y="974"/>
                </a:lnTo>
                <a:lnTo>
                  <a:pt x="2155" y="982"/>
                </a:lnTo>
                <a:lnTo>
                  <a:pt x="2142" y="986"/>
                </a:lnTo>
                <a:lnTo>
                  <a:pt x="2127" y="988"/>
                </a:lnTo>
                <a:lnTo>
                  <a:pt x="2113" y="991"/>
                </a:lnTo>
                <a:close/>
                <a:moveTo>
                  <a:pt x="2343" y="986"/>
                </a:moveTo>
                <a:lnTo>
                  <a:pt x="2337" y="984"/>
                </a:lnTo>
                <a:lnTo>
                  <a:pt x="2328" y="978"/>
                </a:lnTo>
                <a:lnTo>
                  <a:pt x="2312" y="963"/>
                </a:lnTo>
                <a:lnTo>
                  <a:pt x="2292" y="944"/>
                </a:lnTo>
                <a:lnTo>
                  <a:pt x="2273" y="923"/>
                </a:lnTo>
                <a:lnTo>
                  <a:pt x="2267" y="914"/>
                </a:lnTo>
                <a:lnTo>
                  <a:pt x="2263" y="908"/>
                </a:lnTo>
                <a:lnTo>
                  <a:pt x="2256" y="895"/>
                </a:lnTo>
                <a:lnTo>
                  <a:pt x="2256" y="889"/>
                </a:lnTo>
                <a:lnTo>
                  <a:pt x="2254" y="885"/>
                </a:lnTo>
                <a:lnTo>
                  <a:pt x="2256" y="876"/>
                </a:lnTo>
                <a:lnTo>
                  <a:pt x="2259" y="870"/>
                </a:lnTo>
                <a:lnTo>
                  <a:pt x="2261" y="861"/>
                </a:lnTo>
                <a:lnTo>
                  <a:pt x="2267" y="855"/>
                </a:lnTo>
                <a:lnTo>
                  <a:pt x="2278" y="840"/>
                </a:lnTo>
                <a:lnTo>
                  <a:pt x="2297" y="819"/>
                </a:lnTo>
                <a:lnTo>
                  <a:pt x="2339" y="770"/>
                </a:lnTo>
                <a:lnTo>
                  <a:pt x="2345" y="773"/>
                </a:lnTo>
                <a:lnTo>
                  <a:pt x="2352" y="775"/>
                </a:lnTo>
                <a:lnTo>
                  <a:pt x="2356" y="779"/>
                </a:lnTo>
                <a:lnTo>
                  <a:pt x="2360" y="783"/>
                </a:lnTo>
                <a:lnTo>
                  <a:pt x="2360" y="790"/>
                </a:lnTo>
                <a:lnTo>
                  <a:pt x="2360" y="796"/>
                </a:lnTo>
                <a:lnTo>
                  <a:pt x="2358" y="800"/>
                </a:lnTo>
                <a:lnTo>
                  <a:pt x="2356" y="802"/>
                </a:lnTo>
                <a:lnTo>
                  <a:pt x="2326" y="838"/>
                </a:lnTo>
                <a:lnTo>
                  <a:pt x="2307" y="857"/>
                </a:lnTo>
                <a:lnTo>
                  <a:pt x="2295" y="874"/>
                </a:lnTo>
                <a:lnTo>
                  <a:pt x="2292" y="878"/>
                </a:lnTo>
                <a:lnTo>
                  <a:pt x="2292" y="883"/>
                </a:lnTo>
                <a:lnTo>
                  <a:pt x="2292" y="887"/>
                </a:lnTo>
                <a:lnTo>
                  <a:pt x="2297" y="893"/>
                </a:lnTo>
                <a:lnTo>
                  <a:pt x="2307" y="906"/>
                </a:lnTo>
                <a:lnTo>
                  <a:pt x="2324" y="923"/>
                </a:lnTo>
                <a:lnTo>
                  <a:pt x="2343" y="942"/>
                </a:lnTo>
                <a:lnTo>
                  <a:pt x="2362" y="961"/>
                </a:lnTo>
                <a:lnTo>
                  <a:pt x="2362" y="963"/>
                </a:lnTo>
                <a:lnTo>
                  <a:pt x="2364" y="967"/>
                </a:lnTo>
                <a:lnTo>
                  <a:pt x="2364" y="969"/>
                </a:lnTo>
                <a:lnTo>
                  <a:pt x="2362" y="974"/>
                </a:lnTo>
                <a:lnTo>
                  <a:pt x="2358" y="980"/>
                </a:lnTo>
                <a:lnTo>
                  <a:pt x="2350" y="984"/>
                </a:lnTo>
                <a:lnTo>
                  <a:pt x="2348" y="986"/>
                </a:lnTo>
                <a:lnTo>
                  <a:pt x="2343" y="986"/>
                </a:lnTo>
                <a:close/>
                <a:moveTo>
                  <a:pt x="2113" y="1581"/>
                </a:moveTo>
                <a:lnTo>
                  <a:pt x="2104" y="1581"/>
                </a:lnTo>
                <a:lnTo>
                  <a:pt x="2093" y="1579"/>
                </a:lnTo>
                <a:lnTo>
                  <a:pt x="2085" y="1577"/>
                </a:lnTo>
                <a:lnTo>
                  <a:pt x="2077" y="1573"/>
                </a:lnTo>
                <a:lnTo>
                  <a:pt x="2070" y="1568"/>
                </a:lnTo>
                <a:lnTo>
                  <a:pt x="2062" y="1564"/>
                </a:lnTo>
                <a:lnTo>
                  <a:pt x="2055" y="1558"/>
                </a:lnTo>
                <a:lnTo>
                  <a:pt x="2049" y="1551"/>
                </a:lnTo>
                <a:lnTo>
                  <a:pt x="2043" y="1543"/>
                </a:lnTo>
                <a:lnTo>
                  <a:pt x="2038" y="1535"/>
                </a:lnTo>
                <a:lnTo>
                  <a:pt x="2030" y="1518"/>
                </a:lnTo>
                <a:lnTo>
                  <a:pt x="2026" y="1507"/>
                </a:lnTo>
                <a:lnTo>
                  <a:pt x="2024" y="1496"/>
                </a:lnTo>
                <a:lnTo>
                  <a:pt x="2022" y="1486"/>
                </a:lnTo>
                <a:lnTo>
                  <a:pt x="2022" y="1475"/>
                </a:lnTo>
                <a:lnTo>
                  <a:pt x="2022" y="1465"/>
                </a:lnTo>
                <a:lnTo>
                  <a:pt x="2024" y="1454"/>
                </a:lnTo>
                <a:lnTo>
                  <a:pt x="2026" y="1444"/>
                </a:lnTo>
                <a:lnTo>
                  <a:pt x="2030" y="1433"/>
                </a:lnTo>
                <a:lnTo>
                  <a:pt x="2034" y="1422"/>
                </a:lnTo>
                <a:lnTo>
                  <a:pt x="2038" y="1412"/>
                </a:lnTo>
                <a:lnTo>
                  <a:pt x="2045" y="1403"/>
                </a:lnTo>
                <a:lnTo>
                  <a:pt x="2049" y="1395"/>
                </a:lnTo>
                <a:lnTo>
                  <a:pt x="2058" y="1386"/>
                </a:lnTo>
                <a:lnTo>
                  <a:pt x="2064" y="1380"/>
                </a:lnTo>
                <a:lnTo>
                  <a:pt x="2072" y="1374"/>
                </a:lnTo>
                <a:lnTo>
                  <a:pt x="2081" y="1369"/>
                </a:lnTo>
                <a:lnTo>
                  <a:pt x="2089" y="1365"/>
                </a:lnTo>
                <a:lnTo>
                  <a:pt x="2100" y="1361"/>
                </a:lnTo>
                <a:lnTo>
                  <a:pt x="2108" y="1361"/>
                </a:lnTo>
                <a:lnTo>
                  <a:pt x="2119" y="1359"/>
                </a:lnTo>
                <a:lnTo>
                  <a:pt x="2129" y="1361"/>
                </a:lnTo>
                <a:lnTo>
                  <a:pt x="2136" y="1361"/>
                </a:lnTo>
                <a:lnTo>
                  <a:pt x="2140" y="1363"/>
                </a:lnTo>
                <a:lnTo>
                  <a:pt x="2151" y="1369"/>
                </a:lnTo>
                <a:lnTo>
                  <a:pt x="2157" y="1376"/>
                </a:lnTo>
                <a:lnTo>
                  <a:pt x="2163" y="1384"/>
                </a:lnTo>
                <a:lnTo>
                  <a:pt x="2168" y="1395"/>
                </a:lnTo>
                <a:lnTo>
                  <a:pt x="2172" y="1405"/>
                </a:lnTo>
                <a:lnTo>
                  <a:pt x="2172" y="1416"/>
                </a:lnTo>
                <a:lnTo>
                  <a:pt x="2172" y="1424"/>
                </a:lnTo>
                <a:lnTo>
                  <a:pt x="2170" y="1431"/>
                </a:lnTo>
                <a:lnTo>
                  <a:pt x="2168" y="1439"/>
                </a:lnTo>
                <a:lnTo>
                  <a:pt x="2165" y="1446"/>
                </a:lnTo>
                <a:lnTo>
                  <a:pt x="2161" y="1452"/>
                </a:lnTo>
                <a:lnTo>
                  <a:pt x="2157" y="1458"/>
                </a:lnTo>
                <a:lnTo>
                  <a:pt x="2146" y="1471"/>
                </a:lnTo>
                <a:lnTo>
                  <a:pt x="2140" y="1475"/>
                </a:lnTo>
                <a:lnTo>
                  <a:pt x="2134" y="1480"/>
                </a:lnTo>
                <a:lnTo>
                  <a:pt x="2119" y="1488"/>
                </a:lnTo>
                <a:lnTo>
                  <a:pt x="2113" y="1490"/>
                </a:lnTo>
                <a:lnTo>
                  <a:pt x="2104" y="1492"/>
                </a:lnTo>
                <a:lnTo>
                  <a:pt x="2089" y="1494"/>
                </a:lnTo>
                <a:lnTo>
                  <a:pt x="2083" y="1492"/>
                </a:lnTo>
                <a:lnTo>
                  <a:pt x="2081" y="1490"/>
                </a:lnTo>
                <a:lnTo>
                  <a:pt x="2079" y="1488"/>
                </a:lnTo>
                <a:lnTo>
                  <a:pt x="2077" y="1486"/>
                </a:lnTo>
                <a:lnTo>
                  <a:pt x="2074" y="1482"/>
                </a:lnTo>
                <a:lnTo>
                  <a:pt x="2074" y="1475"/>
                </a:lnTo>
                <a:lnTo>
                  <a:pt x="2074" y="1469"/>
                </a:lnTo>
                <a:lnTo>
                  <a:pt x="2077" y="1467"/>
                </a:lnTo>
                <a:lnTo>
                  <a:pt x="2079" y="1465"/>
                </a:lnTo>
                <a:lnTo>
                  <a:pt x="2091" y="1463"/>
                </a:lnTo>
                <a:lnTo>
                  <a:pt x="2104" y="1458"/>
                </a:lnTo>
                <a:lnTo>
                  <a:pt x="2115" y="1452"/>
                </a:lnTo>
                <a:lnTo>
                  <a:pt x="2123" y="1446"/>
                </a:lnTo>
                <a:lnTo>
                  <a:pt x="2129" y="1437"/>
                </a:lnTo>
                <a:lnTo>
                  <a:pt x="2134" y="1433"/>
                </a:lnTo>
                <a:lnTo>
                  <a:pt x="2136" y="1429"/>
                </a:lnTo>
                <a:lnTo>
                  <a:pt x="2140" y="1420"/>
                </a:lnTo>
                <a:lnTo>
                  <a:pt x="2140" y="1412"/>
                </a:lnTo>
                <a:lnTo>
                  <a:pt x="2140" y="1408"/>
                </a:lnTo>
                <a:lnTo>
                  <a:pt x="2138" y="1403"/>
                </a:lnTo>
                <a:lnTo>
                  <a:pt x="2136" y="1399"/>
                </a:lnTo>
                <a:lnTo>
                  <a:pt x="2134" y="1395"/>
                </a:lnTo>
                <a:lnTo>
                  <a:pt x="2129" y="1393"/>
                </a:lnTo>
                <a:lnTo>
                  <a:pt x="2125" y="1391"/>
                </a:lnTo>
                <a:lnTo>
                  <a:pt x="2117" y="1391"/>
                </a:lnTo>
                <a:lnTo>
                  <a:pt x="2106" y="1391"/>
                </a:lnTo>
                <a:lnTo>
                  <a:pt x="2100" y="1393"/>
                </a:lnTo>
                <a:lnTo>
                  <a:pt x="2096" y="1397"/>
                </a:lnTo>
                <a:lnTo>
                  <a:pt x="2089" y="1399"/>
                </a:lnTo>
                <a:lnTo>
                  <a:pt x="2085" y="1403"/>
                </a:lnTo>
                <a:lnTo>
                  <a:pt x="2074" y="1414"/>
                </a:lnTo>
                <a:lnTo>
                  <a:pt x="2070" y="1420"/>
                </a:lnTo>
                <a:lnTo>
                  <a:pt x="2068" y="1427"/>
                </a:lnTo>
                <a:lnTo>
                  <a:pt x="2062" y="1441"/>
                </a:lnTo>
                <a:lnTo>
                  <a:pt x="2058" y="1456"/>
                </a:lnTo>
                <a:lnTo>
                  <a:pt x="2055" y="1465"/>
                </a:lnTo>
                <a:lnTo>
                  <a:pt x="2055" y="1473"/>
                </a:lnTo>
                <a:lnTo>
                  <a:pt x="2058" y="1490"/>
                </a:lnTo>
                <a:lnTo>
                  <a:pt x="2058" y="1496"/>
                </a:lnTo>
                <a:lnTo>
                  <a:pt x="2060" y="1503"/>
                </a:lnTo>
                <a:lnTo>
                  <a:pt x="2064" y="1516"/>
                </a:lnTo>
                <a:lnTo>
                  <a:pt x="2072" y="1526"/>
                </a:lnTo>
                <a:lnTo>
                  <a:pt x="2081" y="1535"/>
                </a:lnTo>
                <a:lnTo>
                  <a:pt x="2085" y="1537"/>
                </a:lnTo>
                <a:lnTo>
                  <a:pt x="2089" y="1541"/>
                </a:lnTo>
                <a:lnTo>
                  <a:pt x="2102" y="1545"/>
                </a:lnTo>
                <a:lnTo>
                  <a:pt x="2108" y="1545"/>
                </a:lnTo>
                <a:lnTo>
                  <a:pt x="2115" y="1545"/>
                </a:lnTo>
                <a:lnTo>
                  <a:pt x="2125" y="1545"/>
                </a:lnTo>
                <a:lnTo>
                  <a:pt x="2138" y="1541"/>
                </a:lnTo>
                <a:lnTo>
                  <a:pt x="2144" y="1539"/>
                </a:lnTo>
                <a:lnTo>
                  <a:pt x="2149" y="1535"/>
                </a:lnTo>
                <a:lnTo>
                  <a:pt x="2159" y="1528"/>
                </a:lnTo>
                <a:lnTo>
                  <a:pt x="2170" y="1520"/>
                </a:lnTo>
                <a:lnTo>
                  <a:pt x="2178" y="1509"/>
                </a:lnTo>
                <a:lnTo>
                  <a:pt x="2185" y="1496"/>
                </a:lnTo>
                <a:lnTo>
                  <a:pt x="2193" y="1484"/>
                </a:lnTo>
                <a:lnTo>
                  <a:pt x="2199" y="1471"/>
                </a:lnTo>
                <a:lnTo>
                  <a:pt x="2204" y="1456"/>
                </a:lnTo>
                <a:lnTo>
                  <a:pt x="2208" y="1441"/>
                </a:lnTo>
                <a:lnTo>
                  <a:pt x="2212" y="1427"/>
                </a:lnTo>
                <a:lnTo>
                  <a:pt x="2214" y="1412"/>
                </a:lnTo>
                <a:lnTo>
                  <a:pt x="2216" y="1399"/>
                </a:lnTo>
                <a:lnTo>
                  <a:pt x="2216" y="1384"/>
                </a:lnTo>
                <a:lnTo>
                  <a:pt x="2216" y="1372"/>
                </a:lnTo>
                <a:lnTo>
                  <a:pt x="2216" y="1369"/>
                </a:lnTo>
                <a:lnTo>
                  <a:pt x="2221" y="1367"/>
                </a:lnTo>
                <a:lnTo>
                  <a:pt x="2225" y="1365"/>
                </a:lnTo>
                <a:lnTo>
                  <a:pt x="2229" y="1365"/>
                </a:lnTo>
                <a:lnTo>
                  <a:pt x="2237" y="1365"/>
                </a:lnTo>
                <a:lnTo>
                  <a:pt x="2242" y="1367"/>
                </a:lnTo>
                <a:lnTo>
                  <a:pt x="2244" y="1369"/>
                </a:lnTo>
                <a:lnTo>
                  <a:pt x="2248" y="1378"/>
                </a:lnTo>
                <a:lnTo>
                  <a:pt x="2250" y="1384"/>
                </a:lnTo>
                <a:lnTo>
                  <a:pt x="2250" y="1391"/>
                </a:lnTo>
                <a:lnTo>
                  <a:pt x="2248" y="1410"/>
                </a:lnTo>
                <a:lnTo>
                  <a:pt x="2246" y="1429"/>
                </a:lnTo>
                <a:lnTo>
                  <a:pt x="2244" y="1446"/>
                </a:lnTo>
                <a:lnTo>
                  <a:pt x="2240" y="1463"/>
                </a:lnTo>
                <a:lnTo>
                  <a:pt x="2233" y="1480"/>
                </a:lnTo>
                <a:lnTo>
                  <a:pt x="2227" y="1496"/>
                </a:lnTo>
                <a:lnTo>
                  <a:pt x="2218" y="1511"/>
                </a:lnTo>
                <a:lnTo>
                  <a:pt x="2210" y="1524"/>
                </a:lnTo>
                <a:lnTo>
                  <a:pt x="2201" y="1537"/>
                </a:lnTo>
                <a:lnTo>
                  <a:pt x="2195" y="1543"/>
                </a:lnTo>
                <a:lnTo>
                  <a:pt x="2191" y="1547"/>
                </a:lnTo>
                <a:lnTo>
                  <a:pt x="2178" y="1558"/>
                </a:lnTo>
                <a:lnTo>
                  <a:pt x="2168" y="1566"/>
                </a:lnTo>
                <a:lnTo>
                  <a:pt x="2155" y="1573"/>
                </a:lnTo>
                <a:lnTo>
                  <a:pt x="2142" y="1577"/>
                </a:lnTo>
                <a:lnTo>
                  <a:pt x="2127" y="1581"/>
                </a:lnTo>
                <a:lnTo>
                  <a:pt x="2113" y="1581"/>
                </a:lnTo>
                <a:close/>
                <a:moveTo>
                  <a:pt x="2343" y="1579"/>
                </a:moveTo>
                <a:lnTo>
                  <a:pt x="2337" y="1577"/>
                </a:lnTo>
                <a:lnTo>
                  <a:pt x="2328" y="1571"/>
                </a:lnTo>
                <a:lnTo>
                  <a:pt x="2312" y="1556"/>
                </a:lnTo>
                <a:lnTo>
                  <a:pt x="2292" y="1535"/>
                </a:lnTo>
                <a:lnTo>
                  <a:pt x="2273" y="1516"/>
                </a:lnTo>
                <a:lnTo>
                  <a:pt x="2267" y="1507"/>
                </a:lnTo>
                <a:lnTo>
                  <a:pt x="2263" y="1501"/>
                </a:lnTo>
                <a:lnTo>
                  <a:pt x="2256" y="1488"/>
                </a:lnTo>
                <a:lnTo>
                  <a:pt x="2256" y="1482"/>
                </a:lnTo>
                <a:lnTo>
                  <a:pt x="2254" y="1475"/>
                </a:lnTo>
                <a:lnTo>
                  <a:pt x="2256" y="1469"/>
                </a:lnTo>
                <a:lnTo>
                  <a:pt x="2259" y="1463"/>
                </a:lnTo>
                <a:lnTo>
                  <a:pt x="2261" y="1454"/>
                </a:lnTo>
                <a:lnTo>
                  <a:pt x="2267" y="1446"/>
                </a:lnTo>
                <a:lnTo>
                  <a:pt x="2278" y="1431"/>
                </a:lnTo>
                <a:lnTo>
                  <a:pt x="2297" y="1410"/>
                </a:lnTo>
                <a:lnTo>
                  <a:pt x="2339" y="1363"/>
                </a:lnTo>
                <a:lnTo>
                  <a:pt x="2345" y="1363"/>
                </a:lnTo>
                <a:lnTo>
                  <a:pt x="2352" y="1365"/>
                </a:lnTo>
                <a:lnTo>
                  <a:pt x="2356" y="1369"/>
                </a:lnTo>
                <a:lnTo>
                  <a:pt x="2360" y="1376"/>
                </a:lnTo>
                <a:lnTo>
                  <a:pt x="2360" y="1382"/>
                </a:lnTo>
                <a:lnTo>
                  <a:pt x="2360" y="1389"/>
                </a:lnTo>
                <a:lnTo>
                  <a:pt x="2358" y="1391"/>
                </a:lnTo>
                <a:lnTo>
                  <a:pt x="2356" y="1395"/>
                </a:lnTo>
                <a:lnTo>
                  <a:pt x="2326" y="1429"/>
                </a:lnTo>
                <a:lnTo>
                  <a:pt x="2307" y="1450"/>
                </a:lnTo>
                <a:lnTo>
                  <a:pt x="2295" y="1465"/>
                </a:lnTo>
                <a:lnTo>
                  <a:pt x="2292" y="1469"/>
                </a:lnTo>
                <a:lnTo>
                  <a:pt x="2292" y="1473"/>
                </a:lnTo>
                <a:lnTo>
                  <a:pt x="2292" y="1480"/>
                </a:lnTo>
                <a:lnTo>
                  <a:pt x="2297" y="1484"/>
                </a:lnTo>
                <a:lnTo>
                  <a:pt x="2307" y="1496"/>
                </a:lnTo>
                <a:lnTo>
                  <a:pt x="2324" y="1516"/>
                </a:lnTo>
                <a:lnTo>
                  <a:pt x="2343" y="1535"/>
                </a:lnTo>
                <a:lnTo>
                  <a:pt x="2362" y="1551"/>
                </a:lnTo>
                <a:lnTo>
                  <a:pt x="2362" y="1556"/>
                </a:lnTo>
                <a:lnTo>
                  <a:pt x="2364" y="1558"/>
                </a:lnTo>
                <a:lnTo>
                  <a:pt x="2364" y="1562"/>
                </a:lnTo>
                <a:lnTo>
                  <a:pt x="2362" y="1564"/>
                </a:lnTo>
                <a:lnTo>
                  <a:pt x="2358" y="1571"/>
                </a:lnTo>
                <a:lnTo>
                  <a:pt x="2350" y="1577"/>
                </a:lnTo>
                <a:lnTo>
                  <a:pt x="2348" y="1577"/>
                </a:lnTo>
                <a:lnTo>
                  <a:pt x="2343" y="1579"/>
                </a:lnTo>
                <a:close/>
                <a:moveTo>
                  <a:pt x="2113" y="2157"/>
                </a:moveTo>
                <a:lnTo>
                  <a:pt x="2104" y="2155"/>
                </a:lnTo>
                <a:lnTo>
                  <a:pt x="2093" y="2155"/>
                </a:lnTo>
                <a:lnTo>
                  <a:pt x="2085" y="2150"/>
                </a:lnTo>
                <a:lnTo>
                  <a:pt x="2077" y="2148"/>
                </a:lnTo>
                <a:lnTo>
                  <a:pt x="2070" y="2144"/>
                </a:lnTo>
                <a:lnTo>
                  <a:pt x="2062" y="2138"/>
                </a:lnTo>
                <a:lnTo>
                  <a:pt x="2055" y="2131"/>
                </a:lnTo>
                <a:lnTo>
                  <a:pt x="2049" y="2125"/>
                </a:lnTo>
                <a:lnTo>
                  <a:pt x="2043" y="2119"/>
                </a:lnTo>
                <a:lnTo>
                  <a:pt x="2038" y="2110"/>
                </a:lnTo>
                <a:lnTo>
                  <a:pt x="2030" y="2091"/>
                </a:lnTo>
                <a:lnTo>
                  <a:pt x="2026" y="2083"/>
                </a:lnTo>
                <a:lnTo>
                  <a:pt x="2024" y="2072"/>
                </a:lnTo>
                <a:lnTo>
                  <a:pt x="2022" y="2062"/>
                </a:lnTo>
                <a:lnTo>
                  <a:pt x="2022" y="2051"/>
                </a:lnTo>
                <a:lnTo>
                  <a:pt x="2022" y="2038"/>
                </a:lnTo>
                <a:lnTo>
                  <a:pt x="2024" y="2028"/>
                </a:lnTo>
                <a:lnTo>
                  <a:pt x="2026" y="2017"/>
                </a:lnTo>
                <a:lnTo>
                  <a:pt x="2030" y="2007"/>
                </a:lnTo>
                <a:lnTo>
                  <a:pt x="2034" y="1996"/>
                </a:lnTo>
                <a:lnTo>
                  <a:pt x="2038" y="1988"/>
                </a:lnTo>
                <a:lnTo>
                  <a:pt x="2045" y="1977"/>
                </a:lnTo>
                <a:lnTo>
                  <a:pt x="2049" y="1968"/>
                </a:lnTo>
                <a:lnTo>
                  <a:pt x="2058" y="1962"/>
                </a:lnTo>
                <a:lnTo>
                  <a:pt x="2064" y="1954"/>
                </a:lnTo>
                <a:lnTo>
                  <a:pt x="2072" y="1949"/>
                </a:lnTo>
                <a:lnTo>
                  <a:pt x="2081" y="1943"/>
                </a:lnTo>
                <a:lnTo>
                  <a:pt x="2089" y="1939"/>
                </a:lnTo>
                <a:lnTo>
                  <a:pt x="2100" y="1937"/>
                </a:lnTo>
                <a:lnTo>
                  <a:pt x="2108" y="1935"/>
                </a:lnTo>
                <a:lnTo>
                  <a:pt x="2119" y="1935"/>
                </a:lnTo>
                <a:lnTo>
                  <a:pt x="2129" y="1935"/>
                </a:lnTo>
                <a:lnTo>
                  <a:pt x="2136" y="1937"/>
                </a:lnTo>
                <a:lnTo>
                  <a:pt x="2140" y="1939"/>
                </a:lnTo>
                <a:lnTo>
                  <a:pt x="2151" y="1943"/>
                </a:lnTo>
                <a:lnTo>
                  <a:pt x="2157" y="1949"/>
                </a:lnTo>
                <a:lnTo>
                  <a:pt x="2163" y="1958"/>
                </a:lnTo>
                <a:lnTo>
                  <a:pt x="2168" y="1968"/>
                </a:lnTo>
                <a:lnTo>
                  <a:pt x="2172" y="1979"/>
                </a:lnTo>
                <a:lnTo>
                  <a:pt x="2172" y="1992"/>
                </a:lnTo>
                <a:lnTo>
                  <a:pt x="2172" y="1998"/>
                </a:lnTo>
                <a:lnTo>
                  <a:pt x="2170" y="2007"/>
                </a:lnTo>
                <a:lnTo>
                  <a:pt x="2168" y="2013"/>
                </a:lnTo>
                <a:lnTo>
                  <a:pt x="2165" y="2019"/>
                </a:lnTo>
                <a:lnTo>
                  <a:pt x="2161" y="2028"/>
                </a:lnTo>
                <a:lnTo>
                  <a:pt x="2157" y="2034"/>
                </a:lnTo>
                <a:lnTo>
                  <a:pt x="2146" y="2045"/>
                </a:lnTo>
                <a:lnTo>
                  <a:pt x="2140" y="2051"/>
                </a:lnTo>
                <a:lnTo>
                  <a:pt x="2134" y="2055"/>
                </a:lnTo>
                <a:lnTo>
                  <a:pt x="2119" y="2062"/>
                </a:lnTo>
                <a:lnTo>
                  <a:pt x="2113" y="2066"/>
                </a:lnTo>
                <a:lnTo>
                  <a:pt x="2104" y="2068"/>
                </a:lnTo>
                <a:lnTo>
                  <a:pt x="2089" y="2068"/>
                </a:lnTo>
                <a:lnTo>
                  <a:pt x="2083" y="2068"/>
                </a:lnTo>
                <a:lnTo>
                  <a:pt x="2081" y="2066"/>
                </a:lnTo>
                <a:lnTo>
                  <a:pt x="2079" y="2064"/>
                </a:lnTo>
                <a:lnTo>
                  <a:pt x="2077" y="2059"/>
                </a:lnTo>
                <a:lnTo>
                  <a:pt x="2074" y="2057"/>
                </a:lnTo>
                <a:lnTo>
                  <a:pt x="2074" y="2049"/>
                </a:lnTo>
                <a:lnTo>
                  <a:pt x="2074" y="2043"/>
                </a:lnTo>
                <a:lnTo>
                  <a:pt x="2077" y="2040"/>
                </a:lnTo>
                <a:lnTo>
                  <a:pt x="2079" y="2038"/>
                </a:lnTo>
                <a:lnTo>
                  <a:pt x="2091" y="2036"/>
                </a:lnTo>
                <a:lnTo>
                  <a:pt x="2104" y="2032"/>
                </a:lnTo>
                <a:lnTo>
                  <a:pt x="2115" y="2026"/>
                </a:lnTo>
                <a:lnTo>
                  <a:pt x="2123" y="2019"/>
                </a:lnTo>
                <a:lnTo>
                  <a:pt x="2129" y="2011"/>
                </a:lnTo>
                <a:lnTo>
                  <a:pt x="2134" y="2007"/>
                </a:lnTo>
                <a:lnTo>
                  <a:pt x="2136" y="2002"/>
                </a:lnTo>
                <a:lnTo>
                  <a:pt x="2140" y="1994"/>
                </a:lnTo>
                <a:lnTo>
                  <a:pt x="2140" y="1985"/>
                </a:lnTo>
                <a:lnTo>
                  <a:pt x="2140" y="1981"/>
                </a:lnTo>
                <a:lnTo>
                  <a:pt x="2138" y="1977"/>
                </a:lnTo>
                <a:lnTo>
                  <a:pt x="2136" y="1973"/>
                </a:lnTo>
                <a:lnTo>
                  <a:pt x="2134" y="1971"/>
                </a:lnTo>
                <a:lnTo>
                  <a:pt x="2129" y="1966"/>
                </a:lnTo>
                <a:lnTo>
                  <a:pt x="2125" y="1966"/>
                </a:lnTo>
                <a:lnTo>
                  <a:pt x="2117" y="1964"/>
                </a:lnTo>
                <a:lnTo>
                  <a:pt x="2106" y="1966"/>
                </a:lnTo>
                <a:lnTo>
                  <a:pt x="2100" y="1968"/>
                </a:lnTo>
                <a:lnTo>
                  <a:pt x="2096" y="1971"/>
                </a:lnTo>
                <a:lnTo>
                  <a:pt x="2089" y="1975"/>
                </a:lnTo>
                <a:lnTo>
                  <a:pt x="2085" y="1979"/>
                </a:lnTo>
                <a:lnTo>
                  <a:pt x="2074" y="1990"/>
                </a:lnTo>
                <a:lnTo>
                  <a:pt x="2070" y="1994"/>
                </a:lnTo>
                <a:lnTo>
                  <a:pt x="2068" y="2002"/>
                </a:lnTo>
                <a:lnTo>
                  <a:pt x="2062" y="2015"/>
                </a:lnTo>
                <a:lnTo>
                  <a:pt x="2058" y="2032"/>
                </a:lnTo>
                <a:lnTo>
                  <a:pt x="2055" y="2040"/>
                </a:lnTo>
                <a:lnTo>
                  <a:pt x="2055" y="2049"/>
                </a:lnTo>
                <a:lnTo>
                  <a:pt x="2058" y="2064"/>
                </a:lnTo>
                <a:lnTo>
                  <a:pt x="2058" y="2070"/>
                </a:lnTo>
                <a:lnTo>
                  <a:pt x="2060" y="2076"/>
                </a:lnTo>
                <a:lnTo>
                  <a:pt x="2064" y="2089"/>
                </a:lnTo>
                <a:lnTo>
                  <a:pt x="2072" y="2100"/>
                </a:lnTo>
                <a:lnTo>
                  <a:pt x="2081" y="2108"/>
                </a:lnTo>
                <a:lnTo>
                  <a:pt x="2085" y="2112"/>
                </a:lnTo>
                <a:lnTo>
                  <a:pt x="2089" y="2115"/>
                </a:lnTo>
                <a:lnTo>
                  <a:pt x="2102" y="2119"/>
                </a:lnTo>
                <a:lnTo>
                  <a:pt x="2108" y="2121"/>
                </a:lnTo>
                <a:lnTo>
                  <a:pt x="2115" y="2121"/>
                </a:lnTo>
                <a:lnTo>
                  <a:pt x="2125" y="2119"/>
                </a:lnTo>
                <a:lnTo>
                  <a:pt x="2138" y="2115"/>
                </a:lnTo>
                <a:lnTo>
                  <a:pt x="2144" y="2112"/>
                </a:lnTo>
                <a:lnTo>
                  <a:pt x="2149" y="2110"/>
                </a:lnTo>
                <a:lnTo>
                  <a:pt x="2159" y="2102"/>
                </a:lnTo>
                <a:lnTo>
                  <a:pt x="2170" y="2093"/>
                </a:lnTo>
                <a:lnTo>
                  <a:pt x="2178" y="2083"/>
                </a:lnTo>
                <a:lnTo>
                  <a:pt x="2185" y="2070"/>
                </a:lnTo>
                <a:lnTo>
                  <a:pt x="2193" y="2057"/>
                </a:lnTo>
                <a:lnTo>
                  <a:pt x="2199" y="2045"/>
                </a:lnTo>
                <a:lnTo>
                  <a:pt x="2204" y="2030"/>
                </a:lnTo>
                <a:lnTo>
                  <a:pt x="2208" y="2017"/>
                </a:lnTo>
                <a:lnTo>
                  <a:pt x="2212" y="2002"/>
                </a:lnTo>
                <a:lnTo>
                  <a:pt x="2214" y="1988"/>
                </a:lnTo>
                <a:lnTo>
                  <a:pt x="2216" y="1973"/>
                </a:lnTo>
                <a:lnTo>
                  <a:pt x="2216" y="1960"/>
                </a:lnTo>
                <a:lnTo>
                  <a:pt x="2216" y="1947"/>
                </a:lnTo>
                <a:lnTo>
                  <a:pt x="2216" y="1943"/>
                </a:lnTo>
                <a:lnTo>
                  <a:pt x="2221" y="1941"/>
                </a:lnTo>
                <a:lnTo>
                  <a:pt x="2225" y="1939"/>
                </a:lnTo>
                <a:lnTo>
                  <a:pt x="2229" y="1939"/>
                </a:lnTo>
                <a:lnTo>
                  <a:pt x="2237" y="1941"/>
                </a:lnTo>
                <a:lnTo>
                  <a:pt x="2242" y="1943"/>
                </a:lnTo>
                <a:lnTo>
                  <a:pt x="2244" y="1945"/>
                </a:lnTo>
                <a:lnTo>
                  <a:pt x="2248" y="1954"/>
                </a:lnTo>
                <a:lnTo>
                  <a:pt x="2250" y="1958"/>
                </a:lnTo>
                <a:lnTo>
                  <a:pt x="2250" y="1964"/>
                </a:lnTo>
                <a:lnTo>
                  <a:pt x="2248" y="1983"/>
                </a:lnTo>
                <a:lnTo>
                  <a:pt x="2246" y="2002"/>
                </a:lnTo>
                <a:lnTo>
                  <a:pt x="2244" y="2019"/>
                </a:lnTo>
                <a:lnTo>
                  <a:pt x="2240" y="2038"/>
                </a:lnTo>
                <a:lnTo>
                  <a:pt x="2233" y="2053"/>
                </a:lnTo>
                <a:lnTo>
                  <a:pt x="2227" y="2070"/>
                </a:lnTo>
                <a:lnTo>
                  <a:pt x="2218" y="2085"/>
                </a:lnTo>
                <a:lnTo>
                  <a:pt x="2210" y="2098"/>
                </a:lnTo>
                <a:lnTo>
                  <a:pt x="2201" y="2110"/>
                </a:lnTo>
                <a:lnTo>
                  <a:pt x="2195" y="2117"/>
                </a:lnTo>
                <a:lnTo>
                  <a:pt x="2191" y="2123"/>
                </a:lnTo>
                <a:lnTo>
                  <a:pt x="2178" y="2131"/>
                </a:lnTo>
                <a:lnTo>
                  <a:pt x="2168" y="2140"/>
                </a:lnTo>
                <a:lnTo>
                  <a:pt x="2155" y="2146"/>
                </a:lnTo>
                <a:lnTo>
                  <a:pt x="2142" y="2153"/>
                </a:lnTo>
                <a:lnTo>
                  <a:pt x="2127" y="2155"/>
                </a:lnTo>
                <a:lnTo>
                  <a:pt x="2113" y="2157"/>
                </a:lnTo>
                <a:close/>
                <a:moveTo>
                  <a:pt x="2343" y="2153"/>
                </a:moveTo>
                <a:lnTo>
                  <a:pt x="2337" y="2150"/>
                </a:lnTo>
                <a:lnTo>
                  <a:pt x="2328" y="2144"/>
                </a:lnTo>
                <a:lnTo>
                  <a:pt x="2312" y="2129"/>
                </a:lnTo>
                <a:lnTo>
                  <a:pt x="2292" y="2110"/>
                </a:lnTo>
                <a:lnTo>
                  <a:pt x="2273" y="2089"/>
                </a:lnTo>
                <a:lnTo>
                  <a:pt x="2267" y="2081"/>
                </a:lnTo>
                <a:lnTo>
                  <a:pt x="2263" y="2074"/>
                </a:lnTo>
                <a:lnTo>
                  <a:pt x="2256" y="2062"/>
                </a:lnTo>
                <a:lnTo>
                  <a:pt x="2256" y="2055"/>
                </a:lnTo>
                <a:lnTo>
                  <a:pt x="2254" y="2051"/>
                </a:lnTo>
                <a:lnTo>
                  <a:pt x="2256" y="2043"/>
                </a:lnTo>
                <a:lnTo>
                  <a:pt x="2259" y="2036"/>
                </a:lnTo>
                <a:lnTo>
                  <a:pt x="2261" y="2028"/>
                </a:lnTo>
                <a:lnTo>
                  <a:pt x="2267" y="2019"/>
                </a:lnTo>
                <a:lnTo>
                  <a:pt x="2278" y="2004"/>
                </a:lnTo>
                <a:lnTo>
                  <a:pt x="2297" y="1985"/>
                </a:lnTo>
                <a:lnTo>
                  <a:pt x="2339" y="1937"/>
                </a:lnTo>
                <a:lnTo>
                  <a:pt x="2345" y="1937"/>
                </a:lnTo>
                <a:lnTo>
                  <a:pt x="2352" y="1941"/>
                </a:lnTo>
                <a:lnTo>
                  <a:pt x="2356" y="1945"/>
                </a:lnTo>
                <a:lnTo>
                  <a:pt x="2360" y="1949"/>
                </a:lnTo>
                <a:lnTo>
                  <a:pt x="2360" y="1956"/>
                </a:lnTo>
                <a:lnTo>
                  <a:pt x="2360" y="1962"/>
                </a:lnTo>
                <a:lnTo>
                  <a:pt x="2358" y="1966"/>
                </a:lnTo>
                <a:lnTo>
                  <a:pt x="2356" y="1968"/>
                </a:lnTo>
                <a:lnTo>
                  <a:pt x="2326" y="2002"/>
                </a:lnTo>
                <a:lnTo>
                  <a:pt x="2307" y="2023"/>
                </a:lnTo>
                <a:lnTo>
                  <a:pt x="2295" y="2038"/>
                </a:lnTo>
                <a:lnTo>
                  <a:pt x="2292" y="2045"/>
                </a:lnTo>
                <a:lnTo>
                  <a:pt x="2292" y="2049"/>
                </a:lnTo>
                <a:lnTo>
                  <a:pt x="2292" y="2053"/>
                </a:lnTo>
                <a:lnTo>
                  <a:pt x="2297" y="2059"/>
                </a:lnTo>
                <a:lnTo>
                  <a:pt x="2307" y="2072"/>
                </a:lnTo>
                <a:lnTo>
                  <a:pt x="2324" y="2089"/>
                </a:lnTo>
                <a:lnTo>
                  <a:pt x="2343" y="2108"/>
                </a:lnTo>
                <a:lnTo>
                  <a:pt x="2362" y="2127"/>
                </a:lnTo>
                <a:lnTo>
                  <a:pt x="2362" y="2129"/>
                </a:lnTo>
                <a:lnTo>
                  <a:pt x="2364" y="2131"/>
                </a:lnTo>
                <a:lnTo>
                  <a:pt x="2364" y="2136"/>
                </a:lnTo>
                <a:lnTo>
                  <a:pt x="2362" y="2140"/>
                </a:lnTo>
                <a:lnTo>
                  <a:pt x="2358" y="2146"/>
                </a:lnTo>
                <a:lnTo>
                  <a:pt x="2350" y="2150"/>
                </a:lnTo>
                <a:lnTo>
                  <a:pt x="2348" y="2153"/>
                </a:lnTo>
                <a:lnTo>
                  <a:pt x="2343" y="2153"/>
                </a:lnTo>
                <a:close/>
                <a:moveTo>
                  <a:pt x="754" y="991"/>
                </a:moveTo>
                <a:lnTo>
                  <a:pt x="743" y="991"/>
                </a:lnTo>
                <a:lnTo>
                  <a:pt x="735" y="988"/>
                </a:lnTo>
                <a:lnTo>
                  <a:pt x="726" y="986"/>
                </a:lnTo>
                <a:lnTo>
                  <a:pt x="718" y="982"/>
                </a:lnTo>
                <a:lnTo>
                  <a:pt x="709" y="978"/>
                </a:lnTo>
                <a:lnTo>
                  <a:pt x="703" y="972"/>
                </a:lnTo>
                <a:lnTo>
                  <a:pt x="696" y="965"/>
                </a:lnTo>
                <a:lnTo>
                  <a:pt x="690" y="959"/>
                </a:lnTo>
                <a:lnTo>
                  <a:pt x="684" y="952"/>
                </a:lnTo>
                <a:lnTo>
                  <a:pt x="677" y="944"/>
                </a:lnTo>
                <a:lnTo>
                  <a:pt x="669" y="925"/>
                </a:lnTo>
                <a:lnTo>
                  <a:pt x="667" y="917"/>
                </a:lnTo>
                <a:lnTo>
                  <a:pt x="665" y="906"/>
                </a:lnTo>
                <a:lnTo>
                  <a:pt x="663" y="895"/>
                </a:lnTo>
                <a:lnTo>
                  <a:pt x="663" y="885"/>
                </a:lnTo>
                <a:lnTo>
                  <a:pt x="663" y="872"/>
                </a:lnTo>
                <a:lnTo>
                  <a:pt x="665" y="861"/>
                </a:lnTo>
                <a:lnTo>
                  <a:pt x="667" y="851"/>
                </a:lnTo>
                <a:lnTo>
                  <a:pt x="671" y="840"/>
                </a:lnTo>
                <a:lnTo>
                  <a:pt x="673" y="830"/>
                </a:lnTo>
                <a:lnTo>
                  <a:pt x="679" y="821"/>
                </a:lnTo>
                <a:lnTo>
                  <a:pt x="684" y="811"/>
                </a:lnTo>
                <a:lnTo>
                  <a:pt x="690" y="802"/>
                </a:lnTo>
                <a:lnTo>
                  <a:pt x="696" y="796"/>
                </a:lnTo>
                <a:lnTo>
                  <a:pt x="705" y="790"/>
                </a:lnTo>
                <a:lnTo>
                  <a:pt x="713" y="783"/>
                </a:lnTo>
                <a:lnTo>
                  <a:pt x="722" y="777"/>
                </a:lnTo>
                <a:lnTo>
                  <a:pt x="730" y="773"/>
                </a:lnTo>
                <a:lnTo>
                  <a:pt x="739" y="770"/>
                </a:lnTo>
                <a:lnTo>
                  <a:pt x="749" y="768"/>
                </a:lnTo>
                <a:lnTo>
                  <a:pt x="760" y="768"/>
                </a:lnTo>
                <a:lnTo>
                  <a:pt x="771" y="768"/>
                </a:lnTo>
                <a:lnTo>
                  <a:pt x="777" y="770"/>
                </a:lnTo>
                <a:lnTo>
                  <a:pt x="781" y="773"/>
                </a:lnTo>
                <a:lnTo>
                  <a:pt x="792" y="777"/>
                </a:lnTo>
                <a:lnTo>
                  <a:pt x="798" y="785"/>
                </a:lnTo>
                <a:lnTo>
                  <a:pt x="804" y="792"/>
                </a:lnTo>
                <a:lnTo>
                  <a:pt x="809" y="802"/>
                </a:lnTo>
                <a:lnTo>
                  <a:pt x="813" y="813"/>
                </a:lnTo>
                <a:lnTo>
                  <a:pt x="813" y="825"/>
                </a:lnTo>
                <a:lnTo>
                  <a:pt x="813" y="832"/>
                </a:lnTo>
                <a:lnTo>
                  <a:pt x="811" y="840"/>
                </a:lnTo>
                <a:lnTo>
                  <a:pt x="809" y="847"/>
                </a:lnTo>
                <a:lnTo>
                  <a:pt x="806" y="855"/>
                </a:lnTo>
                <a:lnTo>
                  <a:pt x="802" y="861"/>
                </a:lnTo>
                <a:lnTo>
                  <a:pt x="798" y="868"/>
                </a:lnTo>
                <a:lnTo>
                  <a:pt x="787" y="878"/>
                </a:lnTo>
                <a:lnTo>
                  <a:pt x="781" y="885"/>
                </a:lnTo>
                <a:lnTo>
                  <a:pt x="775" y="889"/>
                </a:lnTo>
                <a:lnTo>
                  <a:pt x="760" y="895"/>
                </a:lnTo>
                <a:lnTo>
                  <a:pt x="754" y="900"/>
                </a:lnTo>
                <a:lnTo>
                  <a:pt x="745" y="902"/>
                </a:lnTo>
                <a:lnTo>
                  <a:pt x="730" y="902"/>
                </a:lnTo>
                <a:lnTo>
                  <a:pt x="724" y="902"/>
                </a:lnTo>
                <a:lnTo>
                  <a:pt x="722" y="900"/>
                </a:lnTo>
                <a:lnTo>
                  <a:pt x="720" y="897"/>
                </a:lnTo>
                <a:lnTo>
                  <a:pt x="718" y="893"/>
                </a:lnTo>
                <a:lnTo>
                  <a:pt x="715" y="891"/>
                </a:lnTo>
                <a:lnTo>
                  <a:pt x="715" y="883"/>
                </a:lnTo>
                <a:lnTo>
                  <a:pt x="715" y="876"/>
                </a:lnTo>
                <a:lnTo>
                  <a:pt x="718" y="874"/>
                </a:lnTo>
                <a:lnTo>
                  <a:pt x="720" y="874"/>
                </a:lnTo>
                <a:lnTo>
                  <a:pt x="732" y="870"/>
                </a:lnTo>
                <a:lnTo>
                  <a:pt x="743" y="866"/>
                </a:lnTo>
                <a:lnTo>
                  <a:pt x="754" y="859"/>
                </a:lnTo>
                <a:lnTo>
                  <a:pt x="764" y="853"/>
                </a:lnTo>
                <a:lnTo>
                  <a:pt x="771" y="845"/>
                </a:lnTo>
                <a:lnTo>
                  <a:pt x="775" y="842"/>
                </a:lnTo>
                <a:lnTo>
                  <a:pt x="777" y="838"/>
                </a:lnTo>
                <a:lnTo>
                  <a:pt x="779" y="830"/>
                </a:lnTo>
                <a:lnTo>
                  <a:pt x="781" y="821"/>
                </a:lnTo>
                <a:lnTo>
                  <a:pt x="781" y="815"/>
                </a:lnTo>
                <a:lnTo>
                  <a:pt x="779" y="811"/>
                </a:lnTo>
                <a:lnTo>
                  <a:pt x="777" y="806"/>
                </a:lnTo>
                <a:lnTo>
                  <a:pt x="775" y="804"/>
                </a:lnTo>
                <a:lnTo>
                  <a:pt x="771" y="802"/>
                </a:lnTo>
                <a:lnTo>
                  <a:pt x="766" y="800"/>
                </a:lnTo>
                <a:lnTo>
                  <a:pt x="756" y="798"/>
                </a:lnTo>
                <a:lnTo>
                  <a:pt x="745" y="800"/>
                </a:lnTo>
                <a:lnTo>
                  <a:pt x="741" y="802"/>
                </a:lnTo>
                <a:lnTo>
                  <a:pt x="735" y="804"/>
                </a:lnTo>
                <a:lnTo>
                  <a:pt x="730" y="809"/>
                </a:lnTo>
                <a:lnTo>
                  <a:pt x="726" y="813"/>
                </a:lnTo>
                <a:lnTo>
                  <a:pt x="715" y="823"/>
                </a:lnTo>
                <a:lnTo>
                  <a:pt x="711" y="830"/>
                </a:lnTo>
                <a:lnTo>
                  <a:pt x="707" y="836"/>
                </a:lnTo>
                <a:lnTo>
                  <a:pt x="703" y="849"/>
                </a:lnTo>
                <a:lnTo>
                  <a:pt x="699" y="866"/>
                </a:lnTo>
                <a:lnTo>
                  <a:pt x="696" y="874"/>
                </a:lnTo>
                <a:lnTo>
                  <a:pt x="696" y="883"/>
                </a:lnTo>
                <a:lnTo>
                  <a:pt x="696" y="897"/>
                </a:lnTo>
                <a:lnTo>
                  <a:pt x="699" y="904"/>
                </a:lnTo>
                <a:lnTo>
                  <a:pt x="701" y="912"/>
                </a:lnTo>
                <a:lnTo>
                  <a:pt x="705" y="923"/>
                </a:lnTo>
                <a:lnTo>
                  <a:pt x="711" y="933"/>
                </a:lnTo>
                <a:lnTo>
                  <a:pt x="720" y="942"/>
                </a:lnTo>
                <a:lnTo>
                  <a:pt x="726" y="946"/>
                </a:lnTo>
                <a:lnTo>
                  <a:pt x="730" y="948"/>
                </a:lnTo>
                <a:lnTo>
                  <a:pt x="741" y="952"/>
                </a:lnTo>
                <a:lnTo>
                  <a:pt x="747" y="955"/>
                </a:lnTo>
                <a:lnTo>
                  <a:pt x="754" y="955"/>
                </a:lnTo>
                <a:lnTo>
                  <a:pt x="766" y="952"/>
                </a:lnTo>
                <a:lnTo>
                  <a:pt x="779" y="950"/>
                </a:lnTo>
                <a:lnTo>
                  <a:pt x="785" y="946"/>
                </a:lnTo>
                <a:lnTo>
                  <a:pt x="790" y="944"/>
                </a:lnTo>
                <a:lnTo>
                  <a:pt x="800" y="936"/>
                </a:lnTo>
                <a:lnTo>
                  <a:pt x="809" y="927"/>
                </a:lnTo>
                <a:lnTo>
                  <a:pt x="817" y="917"/>
                </a:lnTo>
                <a:lnTo>
                  <a:pt x="826" y="906"/>
                </a:lnTo>
                <a:lnTo>
                  <a:pt x="832" y="893"/>
                </a:lnTo>
                <a:lnTo>
                  <a:pt x="838" y="878"/>
                </a:lnTo>
                <a:lnTo>
                  <a:pt x="845" y="864"/>
                </a:lnTo>
                <a:lnTo>
                  <a:pt x="849" y="851"/>
                </a:lnTo>
                <a:lnTo>
                  <a:pt x="851" y="836"/>
                </a:lnTo>
                <a:lnTo>
                  <a:pt x="855" y="821"/>
                </a:lnTo>
                <a:lnTo>
                  <a:pt x="855" y="806"/>
                </a:lnTo>
                <a:lnTo>
                  <a:pt x="857" y="794"/>
                </a:lnTo>
                <a:lnTo>
                  <a:pt x="855" y="781"/>
                </a:lnTo>
                <a:lnTo>
                  <a:pt x="857" y="777"/>
                </a:lnTo>
                <a:lnTo>
                  <a:pt x="862" y="775"/>
                </a:lnTo>
                <a:lnTo>
                  <a:pt x="866" y="775"/>
                </a:lnTo>
                <a:lnTo>
                  <a:pt x="870" y="773"/>
                </a:lnTo>
                <a:lnTo>
                  <a:pt x="878" y="775"/>
                </a:lnTo>
                <a:lnTo>
                  <a:pt x="881" y="777"/>
                </a:lnTo>
                <a:lnTo>
                  <a:pt x="885" y="779"/>
                </a:lnTo>
                <a:lnTo>
                  <a:pt x="889" y="787"/>
                </a:lnTo>
                <a:lnTo>
                  <a:pt x="889" y="792"/>
                </a:lnTo>
                <a:lnTo>
                  <a:pt x="891" y="800"/>
                </a:lnTo>
                <a:lnTo>
                  <a:pt x="889" y="817"/>
                </a:lnTo>
                <a:lnTo>
                  <a:pt x="887" y="836"/>
                </a:lnTo>
                <a:lnTo>
                  <a:pt x="883" y="855"/>
                </a:lnTo>
                <a:lnTo>
                  <a:pt x="878" y="872"/>
                </a:lnTo>
                <a:lnTo>
                  <a:pt x="874" y="889"/>
                </a:lnTo>
                <a:lnTo>
                  <a:pt x="868" y="904"/>
                </a:lnTo>
                <a:lnTo>
                  <a:pt x="859" y="919"/>
                </a:lnTo>
                <a:lnTo>
                  <a:pt x="851" y="933"/>
                </a:lnTo>
                <a:lnTo>
                  <a:pt x="840" y="944"/>
                </a:lnTo>
                <a:lnTo>
                  <a:pt x="836" y="950"/>
                </a:lnTo>
                <a:lnTo>
                  <a:pt x="832" y="957"/>
                </a:lnTo>
                <a:lnTo>
                  <a:pt x="819" y="965"/>
                </a:lnTo>
                <a:lnTo>
                  <a:pt x="809" y="974"/>
                </a:lnTo>
                <a:lnTo>
                  <a:pt x="796" y="982"/>
                </a:lnTo>
                <a:lnTo>
                  <a:pt x="781" y="986"/>
                </a:lnTo>
                <a:lnTo>
                  <a:pt x="768" y="988"/>
                </a:lnTo>
                <a:lnTo>
                  <a:pt x="754" y="991"/>
                </a:lnTo>
                <a:close/>
                <a:moveTo>
                  <a:pt x="984" y="986"/>
                </a:moveTo>
                <a:lnTo>
                  <a:pt x="978" y="984"/>
                </a:lnTo>
                <a:lnTo>
                  <a:pt x="969" y="978"/>
                </a:lnTo>
                <a:lnTo>
                  <a:pt x="953" y="963"/>
                </a:lnTo>
                <a:lnTo>
                  <a:pt x="934" y="944"/>
                </a:lnTo>
                <a:lnTo>
                  <a:pt x="914" y="923"/>
                </a:lnTo>
                <a:lnTo>
                  <a:pt x="908" y="914"/>
                </a:lnTo>
                <a:lnTo>
                  <a:pt x="904" y="908"/>
                </a:lnTo>
                <a:lnTo>
                  <a:pt x="898" y="895"/>
                </a:lnTo>
                <a:lnTo>
                  <a:pt x="895" y="889"/>
                </a:lnTo>
                <a:lnTo>
                  <a:pt x="895" y="885"/>
                </a:lnTo>
                <a:lnTo>
                  <a:pt x="898" y="876"/>
                </a:lnTo>
                <a:lnTo>
                  <a:pt x="900" y="870"/>
                </a:lnTo>
                <a:lnTo>
                  <a:pt x="902" y="861"/>
                </a:lnTo>
                <a:lnTo>
                  <a:pt x="908" y="855"/>
                </a:lnTo>
                <a:lnTo>
                  <a:pt x="919" y="840"/>
                </a:lnTo>
                <a:lnTo>
                  <a:pt x="938" y="819"/>
                </a:lnTo>
                <a:lnTo>
                  <a:pt x="980" y="770"/>
                </a:lnTo>
                <a:lnTo>
                  <a:pt x="984" y="773"/>
                </a:lnTo>
                <a:lnTo>
                  <a:pt x="991" y="775"/>
                </a:lnTo>
                <a:lnTo>
                  <a:pt x="997" y="779"/>
                </a:lnTo>
                <a:lnTo>
                  <a:pt x="1001" y="783"/>
                </a:lnTo>
                <a:lnTo>
                  <a:pt x="1001" y="790"/>
                </a:lnTo>
                <a:lnTo>
                  <a:pt x="999" y="796"/>
                </a:lnTo>
                <a:lnTo>
                  <a:pt x="999" y="800"/>
                </a:lnTo>
                <a:lnTo>
                  <a:pt x="997" y="802"/>
                </a:lnTo>
                <a:lnTo>
                  <a:pt x="967" y="838"/>
                </a:lnTo>
                <a:lnTo>
                  <a:pt x="948" y="857"/>
                </a:lnTo>
                <a:lnTo>
                  <a:pt x="936" y="874"/>
                </a:lnTo>
                <a:lnTo>
                  <a:pt x="934" y="878"/>
                </a:lnTo>
                <a:lnTo>
                  <a:pt x="931" y="883"/>
                </a:lnTo>
                <a:lnTo>
                  <a:pt x="934" y="887"/>
                </a:lnTo>
                <a:lnTo>
                  <a:pt x="936" y="893"/>
                </a:lnTo>
                <a:lnTo>
                  <a:pt x="948" y="906"/>
                </a:lnTo>
                <a:lnTo>
                  <a:pt x="963" y="923"/>
                </a:lnTo>
                <a:lnTo>
                  <a:pt x="982" y="942"/>
                </a:lnTo>
                <a:lnTo>
                  <a:pt x="1001" y="961"/>
                </a:lnTo>
                <a:lnTo>
                  <a:pt x="1003" y="963"/>
                </a:lnTo>
                <a:lnTo>
                  <a:pt x="1005" y="967"/>
                </a:lnTo>
                <a:lnTo>
                  <a:pt x="1003" y="969"/>
                </a:lnTo>
                <a:lnTo>
                  <a:pt x="1003" y="974"/>
                </a:lnTo>
                <a:lnTo>
                  <a:pt x="997" y="980"/>
                </a:lnTo>
                <a:lnTo>
                  <a:pt x="991" y="984"/>
                </a:lnTo>
                <a:lnTo>
                  <a:pt x="986" y="986"/>
                </a:lnTo>
                <a:lnTo>
                  <a:pt x="984" y="986"/>
                </a:lnTo>
                <a:close/>
                <a:moveTo>
                  <a:pt x="754" y="1581"/>
                </a:moveTo>
                <a:lnTo>
                  <a:pt x="743" y="1581"/>
                </a:lnTo>
                <a:lnTo>
                  <a:pt x="735" y="1579"/>
                </a:lnTo>
                <a:lnTo>
                  <a:pt x="726" y="1577"/>
                </a:lnTo>
                <a:lnTo>
                  <a:pt x="718" y="1573"/>
                </a:lnTo>
                <a:lnTo>
                  <a:pt x="709" y="1568"/>
                </a:lnTo>
                <a:lnTo>
                  <a:pt x="703" y="1564"/>
                </a:lnTo>
                <a:lnTo>
                  <a:pt x="696" y="1558"/>
                </a:lnTo>
                <a:lnTo>
                  <a:pt x="690" y="1551"/>
                </a:lnTo>
                <a:lnTo>
                  <a:pt x="684" y="1543"/>
                </a:lnTo>
                <a:lnTo>
                  <a:pt x="677" y="1535"/>
                </a:lnTo>
                <a:lnTo>
                  <a:pt x="669" y="1518"/>
                </a:lnTo>
                <a:lnTo>
                  <a:pt x="667" y="1507"/>
                </a:lnTo>
                <a:lnTo>
                  <a:pt x="665" y="1496"/>
                </a:lnTo>
                <a:lnTo>
                  <a:pt x="663" y="1486"/>
                </a:lnTo>
                <a:lnTo>
                  <a:pt x="663" y="1475"/>
                </a:lnTo>
                <a:lnTo>
                  <a:pt x="663" y="1465"/>
                </a:lnTo>
                <a:lnTo>
                  <a:pt x="665" y="1454"/>
                </a:lnTo>
                <a:lnTo>
                  <a:pt x="667" y="1444"/>
                </a:lnTo>
                <a:lnTo>
                  <a:pt x="671" y="1433"/>
                </a:lnTo>
                <a:lnTo>
                  <a:pt x="673" y="1422"/>
                </a:lnTo>
                <a:lnTo>
                  <a:pt x="679" y="1412"/>
                </a:lnTo>
                <a:lnTo>
                  <a:pt x="684" y="1403"/>
                </a:lnTo>
                <a:lnTo>
                  <a:pt x="690" y="1395"/>
                </a:lnTo>
                <a:lnTo>
                  <a:pt x="696" y="1386"/>
                </a:lnTo>
                <a:lnTo>
                  <a:pt x="705" y="1380"/>
                </a:lnTo>
                <a:lnTo>
                  <a:pt x="713" y="1374"/>
                </a:lnTo>
                <a:lnTo>
                  <a:pt x="722" y="1369"/>
                </a:lnTo>
                <a:lnTo>
                  <a:pt x="730" y="1365"/>
                </a:lnTo>
                <a:lnTo>
                  <a:pt x="739" y="1361"/>
                </a:lnTo>
                <a:lnTo>
                  <a:pt x="749" y="1361"/>
                </a:lnTo>
                <a:lnTo>
                  <a:pt x="760" y="1359"/>
                </a:lnTo>
                <a:lnTo>
                  <a:pt x="771" y="1361"/>
                </a:lnTo>
                <a:lnTo>
                  <a:pt x="777" y="1361"/>
                </a:lnTo>
                <a:lnTo>
                  <a:pt x="781" y="1363"/>
                </a:lnTo>
                <a:lnTo>
                  <a:pt x="792" y="1369"/>
                </a:lnTo>
                <a:lnTo>
                  <a:pt x="798" y="1376"/>
                </a:lnTo>
                <a:lnTo>
                  <a:pt x="804" y="1384"/>
                </a:lnTo>
                <a:lnTo>
                  <a:pt x="809" y="1395"/>
                </a:lnTo>
                <a:lnTo>
                  <a:pt x="813" y="1405"/>
                </a:lnTo>
                <a:lnTo>
                  <a:pt x="813" y="1416"/>
                </a:lnTo>
                <a:lnTo>
                  <a:pt x="813" y="1424"/>
                </a:lnTo>
                <a:lnTo>
                  <a:pt x="811" y="1431"/>
                </a:lnTo>
                <a:lnTo>
                  <a:pt x="809" y="1439"/>
                </a:lnTo>
                <a:lnTo>
                  <a:pt x="806" y="1446"/>
                </a:lnTo>
                <a:lnTo>
                  <a:pt x="802" y="1452"/>
                </a:lnTo>
                <a:lnTo>
                  <a:pt x="798" y="1458"/>
                </a:lnTo>
                <a:lnTo>
                  <a:pt x="787" y="1471"/>
                </a:lnTo>
                <a:lnTo>
                  <a:pt x="781" y="1475"/>
                </a:lnTo>
                <a:lnTo>
                  <a:pt x="775" y="1480"/>
                </a:lnTo>
                <a:lnTo>
                  <a:pt x="760" y="1488"/>
                </a:lnTo>
                <a:lnTo>
                  <a:pt x="754" y="1490"/>
                </a:lnTo>
                <a:lnTo>
                  <a:pt x="745" y="1492"/>
                </a:lnTo>
                <a:lnTo>
                  <a:pt x="730" y="1494"/>
                </a:lnTo>
                <a:lnTo>
                  <a:pt x="724" y="1492"/>
                </a:lnTo>
                <a:lnTo>
                  <a:pt x="722" y="1490"/>
                </a:lnTo>
                <a:lnTo>
                  <a:pt x="720" y="1488"/>
                </a:lnTo>
                <a:lnTo>
                  <a:pt x="718" y="1486"/>
                </a:lnTo>
                <a:lnTo>
                  <a:pt x="715" y="1482"/>
                </a:lnTo>
                <a:lnTo>
                  <a:pt x="715" y="1475"/>
                </a:lnTo>
                <a:lnTo>
                  <a:pt x="715" y="1469"/>
                </a:lnTo>
                <a:lnTo>
                  <a:pt x="718" y="1467"/>
                </a:lnTo>
                <a:lnTo>
                  <a:pt x="720" y="1465"/>
                </a:lnTo>
                <a:lnTo>
                  <a:pt x="732" y="1463"/>
                </a:lnTo>
                <a:lnTo>
                  <a:pt x="743" y="1458"/>
                </a:lnTo>
                <a:lnTo>
                  <a:pt x="754" y="1452"/>
                </a:lnTo>
                <a:lnTo>
                  <a:pt x="764" y="1446"/>
                </a:lnTo>
                <a:lnTo>
                  <a:pt x="771" y="1437"/>
                </a:lnTo>
                <a:lnTo>
                  <a:pt x="775" y="1433"/>
                </a:lnTo>
                <a:lnTo>
                  <a:pt x="777" y="1429"/>
                </a:lnTo>
                <a:lnTo>
                  <a:pt x="779" y="1420"/>
                </a:lnTo>
                <a:lnTo>
                  <a:pt x="781" y="1412"/>
                </a:lnTo>
                <a:lnTo>
                  <a:pt x="781" y="1408"/>
                </a:lnTo>
                <a:lnTo>
                  <a:pt x="779" y="1403"/>
                </a:lnTo>
                <a:lnTo>
                  <a:pt x="777" y="1399"/>
                </a:lnTo>
                <a:lnTo>
                  <a:pt x="775" y="1395"/>
                </a:lnTo>
                <a:lnTo>
                  <a:pt x="771" y="1393"/>
                </a:lnTo>
                <a:lnTo>
                  <a:pt x="766" y="1391"/>
                </a:lnTo>
                <a:lnTo>
                  <a:pt x="756" y="1391"/>
                </a:lnTo>
                <a:lnTo>
                  <a:pt x="745" y="1391"/>
                </a:lnTo>
                <a:lnTo>
                  <a:pt x="741" y="1393"/>
                </a:lnTo>
                <a:lnTo>
                  <a:pt x="735" y="1397"/>
                </a:lnTo>
                <a:lnTo>
                  <a:pt x="730" y="1399"/>
                </a:lnTo>
                <a:lnTo>
                  <a:pt x="726" y="1403"/>
                </a:lnTo>
                <a:lnTo>
                  <a:pt x="715" y="1414"/>
                </a:lnTo>
                <a:lnTo>
                  <a:pt x="711" y="1420"/>
                </a:lnTo>
                <a:lnTo>
                  <a:pt x="707" y="1427"/>
                </a:lnTo>
                <a:lnTo>
                  <a:pt x="703" y="1441"/>
                </a:lnTo>
                <a:lnTo>
                  <a:pt x="699" y="1456"/>
                </a:lnTo>
                <a:lnTo>
                  <a:pt x="696" y="1465"/>
                </a:lnTo>
                <a:lnTo>
                  <a:pt x="696" y="1473"/>
                </a:lnTo>
                <a:lnTo>
                  <a:pt x="696" y="1490"/>
                </a:lnTo>
                <a:lnTo>
                  <a:pt x="699" y="1496"/>
                </a:lnTo>
                <a:lnTo>
                  <a:pt x="701" y="1503"/>
                </a:lnTo>
                <a:lnTo>
                  <a:pt x="705" y="1516"/>
                </a:lnTo>
                <a:lnTo>
                  <a:pt x="711" y="1526"/>
                </a:lnTo>
                <a:lnTo>
                  <a:pt x="720" y="1535"/>
                </a:lnTo>
                <a:lnTo>
                  <a:pt x="726" y="1537"/>
                </a:lnTo>
                <a:lnTo>
                  <a:pt x="730" y="1541"/>
                </a:lnTo>
                <a:lnTo>
                  <a:pt x="741" y="1545"/>
                </a:lnTo>
                <a:lnTo>
                  <a:pt x="747" y="1545"/>
                </a:lnTo>
                <a:lnTo>
                  <a:pt x="754" y="1545"/>
                </a:lnTo>
                <a:lnTo>
                  <a:pt x="766" y="1545"/>
                </a:lnTo>
                <a:lnTo>
                  <a:pt x="779" y="1541"/>
                </a:lnTo>
                <a:lnTo>
                  <a:pt x="785" y="1539"/>
                </a:lnTo>
                <a:lnTo>
                  <a:pt x="790" y="1535"/>
                </a:lnTo>
                <a:lnTo>
                  <a:pt x="800" y="1528"/>
                </a:lnTo>
                <a:lnTo>
                  <a:pt x="809" y="1520"/>
                </a:lnTo>
                <a:lnTo>
                  <a:pt x="817" y="1509"/>
                </a:lnTo>
                <a:lnTo>
                  <a:pt x="826" y="1496"/>
                </a:lnTo>
                <a:lnTo>
                  <a:pt x="832" y="1484"/>
                </a:lnTo>
                <a:lnTo>
                  <a:pt x="838" y="1471"/>
                </a:lnTo>
                <a:lnTo>
                  <a:pt x="845" y="1456"/>
                </a:lnTo>
                <a:lnTo>
                  <a:pt x="849" y="1441"/>
                </a:lnTo>
                <a:lnTo>
                  <a:pt x="851" y="1427"/>
                </a:lnTo>
                <a:lnTo>
                  <a:pt x="855" y="1412"/>
                </a:lnTo>
                <a:lnTo>
                  <a:pt x="855" y="1399"/>
                </a:lnTo>
                <a:lnTo>
                  <a:pt x="857" y="1384"/>
                </a:lnTo>
                <a:lnTo>
                  <a:pt x="855" y="1372"/>
                </a:lnTo>
                <a:lnTo>
                  <a:pt x="857" y="1369"/>
                </a:lnTo>
                <a:lnTo>
                  <a:pt x="862" y="1367"/>
                </a:lnTo>
                <a:lnTo>
                  <a:pt x="866" y="1365"/>
                </a:lnTo>
                <a:lnTo>
                  <a:pt x="870" y="1365"/>
                </a:lnTo>
                <a:lnTo>
                  <a:pt x="878" y="1365"/>
                </a:lnTo>
                <a:lnTo>
                  <a:pt x="881" y="1367"/>
                </a:lnTo>
                <a:lnTo>
                  <a:pt x="885" y="1369"/>
                </a:lnTo>
                <a:lnTo>
                  <a:pt x="889" y="1378"/>
                </a:lnTo>
                <a:lnTo>
                  <a:pt x="889" y="1384"/>
                </a:lnTo>
                <a:lnTo>
                  <a:pt x="891" y="1391"/>
                </a:lnTo>
                <a:lnTo>
                  <a:pt x="889" y="1410"/>
                </a:lnTo>
                <a:lnTo>
                  <a:pt x="887" y="1429"/>
                </a:lnTo>
                <a:lnTo>
                  <a:pt x="883" y="1446"/>
                </a:lnTo>
                <a:lnTo>
                  <a:pt x="878" y="1463"/>
                </a:lnTo>
                <a:lnTo>
                  <a:pt x="874" y="1480"/>
                </a:lnTo>
                <a:lnTo>
                  <a:pt x="868" y="1496"/>
                </a:lnTo>
                <a:lnTo>
                  <a:pt x="859" y="1511"/>
                </a:lnTo>
                <a:lnTo>
                  <a:pt x="851" y="1524"/>
                </a:lnTo>
                <a:lnTo>
                  <a:pt x="840" y="1537"/>
                </a:lnTo>
                <a:lnTo>
                  <a:pt x="836" y="1543"/>
                </a:lnTo>
                <a:lnTo>
                  <a:pt x="832" y="1547"/>
                </a:lnTo>
                <a:lnTo>
                  <a:pt x="819" y="1558"/>
                </a:lnTo>
                <a:lnTo>
                  <a:pt x="809" y="1566"/>
                </a:lnTo>
                <a:lnTo>
                  <a:pt x="796" y="1573"/>
                </a:lnTo>
                <a:lnTo>
                  <a:pt x="781" y="1577"/>
                </a:lnTo>
                <a:lnTo>
                  <a:pt x="768" y="1581"/>
                </a:lnTo>
                <a:lnTo>
                  <a:pt x="754" y="1581"/>
                </a:lnTo>
                <a:close/>
                <a:moveTo>
                  <a:pt x="984" y="1579"/>
                </a:moveTo>
                <a:lnTo>
                  <a:pt x="978" y="1577"/>
                </a:lnTo>
                <a:lnTo>
                  <a:pt x="969" y="1571"/>
                </a:lnTo>
                <a:lnTo>
                  <a:pt x="953" y="1556"/>
                </a:lnTo>
                <a:lnTo>
                  <a:pt x="934" y="1535"/>
                </a:lnTo>
                <a:lnTo>
                  <a:pt x="914" y="1516"/>
                </a:lnTo>
                <a:lnTo>
                  <a:pt x="908" y="1507"/>
                </a:lnTo>
                <a:lnTo>
                  <a:pt x="904" y="1501"/>
                </a:lnTo>
                <a:lnTo>
                  <a:pt x="898" y="1488"/>
                </a:lnTo>
                <a:lnTo>
                  <a:pt x="895" y="1482"/>
                </a:lnTo>
                <a:lnTo>
                  <a:pt x="895" y="1475"/>
                </a:lnTo>
                <a:lnTo>
                  <a:pt x="898" y="1469"/>
                </a:lnTo>
                <a:lnTo>
                  <a:pt x="900" y="1463"/>
                </a:lnTo>
                <a:lnTo>
                  <a:pt x="902" y="1454"/>
                </a:lnTo>
                <a:lnTo>
                  <a:pt x="908" y="1446"/>
                </a:lnTo>
                <a:lnTo>
                  <a:pt x="919" y="1431"/>
                </a:lnTo>
                <a:lnTo>
                  <a:pt x="938" y="1410"/>
                </a:lnTo>
                <a:lnTo>
                  <a:pt x="980" y="1363"/>
                </a:lnTo>
                <a:lnTo>
                  <a:pt x="984" y="1363"/>
                </a:lnTo>
                <a:lnTo>
                  <a:pt x="991" y="1365"/>
                </a:lnTo>
                <a:lnTo>
                  <a:pt x="997" y="1369"/>
                </a:lnTo>
                <a:lnTo>
                  <a:pt x="1001" y="1376"/>
                </a:lnTo>
                <a:lnTo>
                  <a:pt x="1001" y="1382"/>
                </a:lnTo>
                <a:lnTo>
                  <a:pt x="999" y="1389"/>
                </a:lnTo>
                <a:lnTo>
                  <a:pt x="999" y="1391"/>
                </a:lnTo>
                <a:lnTo>
                  <a:pt x="997" y="1395"/>
                </a:lnTo>
                <a:lnTo>
                  <a:pt x="967" y="1429"/>
                </a:lnTo>
                <a:lnTo>
                  <a:pt x="948" y="1450"/>
                </a:lnTo>
                <a:lnTo>
                  <a:pt x="936" y="1465"/>
                </a:lnTo>
                <a:lnTo>
                  <a:pt x="934" y="1469"/>
                </a:lnTo>
                <a:lnTo>
                  <a:pt x="931" y="1473"/>
                </a:lnTo>
                <a:lnTo>
                  <a:pt x="934" y="1480"/>
                </a:lnTo>
                <a:lnTo>
                  <a:pt x="936" y="1484"/>
                </a:lnTo>
                <a:lnTo>
                  <a:pt x="948" y="1496"/>
                </a:lnTo>
                <a:lnTo>
                  <a:pt x="963" y="1516"/>
                </a:lnTo>
                <a:lnTo>
                  <a:pt x="982" y="1535"/>
                </a:lnTo>
                <a:lnTo>
                  <a:pt x="1001" y="1551"/>
                </a:lnTo>
                <a:lnTo>
                  <a:pt x="1003" y="1556"/>
                </a:lnTo>
                <a:lnTo>
                  <a:pt x="1005" y="1558"/>
                </a:lnTo>
                <a:lnTo>
                  <a:pt x="1003" y="1562"/>
                </a:lnTo>
                <a:lnTo>
                  <a:pt x="1003" y="1564"/>
                </a:lnTo>
                <a:lnTo>
                  <a:pt x="997" y="1571"/>
                </a:lnTo>
                <a:lnTo>
                  <a:pt x="991" y="1577"/>
                </a:lnTo>
                <a:lnTo>
                  <a:pt x="986" y="1577"/>
                </a:lnTo>
                <a:lnTo>
                  <a:pt x="984" y="1579"/>
                </a:lnTo>
                <a:close/>
                <a:moveTo>
                  <a:pt x="754" y="2157"/>
                </a:moveTo>
                <a:lnTo>
                  <a:pt x="743" y="2155"/>
                </a:lnTo>
                <a:lnTo>
                  <a:pt x="735" y="2155"/>
                </a:lnTo>
                <a:lnTo>
                  <a:pt x="726" y="2150"/>
                </a:lnTo>
                <a:lnTo>
                  <a:pt x="718" y="2148"/>
                </a:lnTo>
                <a:lnTo>
                  <a:pt x="709" y="2144"/>
                </a:lnTo>
                <a:lnTo>
                  <a:pt x="703" y="2138"/>
                </a:lnTo>
                <a:lnTo>
                  <a:pt x="696" y="2131"/>
                </a:lnTo>
                <a:lnTo>
                  <a:pt x="690" y="2125"/>
                </a:lnTo>
                <a:lnTo>
                  <a:pt x="684" y="2119"/>
                </a:lnTo>
                <a:lnTo>
                  <a:pt x="677" y="2110"/>
                </a:lnTo>
                <a:lnTo>
                  <a:pt x="669" y="2091"/>
                </a:lnTo>
                <a:lnTo>
                  <a:pt x="667" y="2083"/>
                </a:lnTo>
                <a:lnTo>
                  <a:pt x="665" y="2072"/>
                </a:lnTo>
                <a:lnTo>
                  <a:pt x="663" y="2062"/>
                </a:lnTo>
                <a:lnTo>
                  <a:pt x="663" y="2051"/>
                </a:lnTo>
                <a:lnTo>
                  <a:pt x="663" y="2038"/>
                </a:lnTo>
                <a:lnTo>
                  <a:pt x="665" y="2028"/>
                </a:lnTo>
                <a:lnTo>
                  <a:pt x="667" y="2017"/>
                </a:lnTo>
                <a:lnTo>
                  <a:pt x="671" y="2007"/>
                </a:lnTo>
                <a:lnTo>
                  <a:pt x="673" y="1996"/>
                </a:lnTo>
                <a:lnTo>
                  <a:pt x="679" y="1988"/>
                </a:lnTo>
                <a:lnTo>
                  <a:pt x="684" y="1977"/>
                </a:lnTo>
                <a:lnTo>
                  <a:pt x="690" y="1968"/>
                </a:lnTo>
                <a:lnTo>
                  <a:pt x="696" y="1962"/>
                </a:lnTo>
                <a:lnTo>
                  <a:pt x="705" y="1954"/>
                </a:lnTo>
                <a:lnTo>
                  <a:pt x="713" y="1949"/>
                </a:lnTo>
                <a:lnTo>
                  <a:pt x="722" y="1943"/>
                </a:lnTo>
                <a:lnTo>
                  <a:pt x="730" y="1939"/>
                </a:lnTo>
                <a:lnTo>
                  <a:pt x="739" y="1937"/>
                </a:lnTo>
                <a:lnTo>
                  <a:pt x="749" y="1935"/>
                </a:lnTo>
                <a:lnTo>
                  <a:pt x="760" y="1935"/>
                </a:lnTo>
                <a:lnTo>
                  <a:pt x="771" y="1935"/>
                </a:lnTo>
                <a:lnTo>
                  <a:pt x="777" y="1937"/>
                </a:lnTo>
                <a:lnTo>
                  <a:pt x="781" y="1939"/>
                </a:lnTo>
                <a:lnTo>
                  <a:pt x="792" y="1943"/>
                </a:lnTo>
                <a:lnTo>
                  <a:pt x="798" y="1949"/>
                </a:lnTo>
                <a:lnTo>
                  <a:pt x="804" y="1958"/>
                </a:lnTo>
                <a:lnTo>
                  <a:pt x="809" y="1968"/>
                </a:lnTo>
                <a:lnTo>
                  <a:pt x="813" y="1979"/>
                </a:lnTo>
                <a:lnTo>
                  <a:pt x="813" y="1992"/>
                </a:lnTo>
                <a:lnTo>
                  <a:pt x="813" y="1998"/>
                </a:lnTo>
                <a:lnTo>
                  <a:pt x="811" y="2007"/>
                </a:lnTo>
                <a:lnTo>
                  <a:pt x="809" y="2013"/>
                </a:lnTo>
                <a:lnTo>
                  <a:pt x="806" y="2019"/>
                </a:lnTo>
                <a:lnTo>
                  <a:pt x="802" y="2028"/>
                </a:lnTo>
                <a:lnTo>
                  <a:pt x="798" y="2034"/>
                </a:lnTo>
                <a:lnTo>
                  <a:pt x="787" y="2045"/>
                </a:lnTo>
                <a:lnTo>
                  <a:pt x="781" y="2051"/>
                </a:lnTo>
                <a:lnTo>
                  <a:pt x="775" y="2055"/>
                </a:lnTo>
                <a:lnTo>
                  <a:pt x="760" y="2062"/>
                </a:lnTo>
                <a:lnTo>
                  <a:pt x="754" y="2066"/>
                </a:lnTo>
                <a:lnTo>
                  <a:pt x="745" y="2068"/>
                </a:lnTo>
                <a:lnTo>
                  <a:pt x="730" y="2068"/>
                </a:lnTo>
                <a:lnTo>
                  <a:pt x="724" y="2068"/>
                </a:lnTo>
                <a:lnTo>
                  <a:pt x="722" y="2066"/>
                </a:lnTo>
                <a:lnTo>
                  <a:pt x="720" y="2064"/>
                </a:lnTo>
                <a:lnTo>
                  <a:pt x="718" y="2059"/>
                </a:lnTo>
                <a:lnTo>
                  <a:pt x="715" y="2057"/>
                </a:lnTo>
                <a:lnTo>
                  <a:pt x="715" y="2049"/>
                </a:lnTo>
                <a:lnTo>
                  <a:pt x="715" y="2043"/>
                </a:lnTo>
                <a:lnTo>
                  <a:pt x="718" y="2040"/>
                </a:lnTo>
                <a:lnTo>
                  <a:pt x="720" y="2038"/>
                </a:lnTo>
                <a:lnTo>
                  <a:pt x="732" y="2036"/>
                </a:lnTo>
                <a:lnTo>
                  <a:pt x="743" y="2032"/>
                </a:lnTo>
                <a:lnTo>
                  <a:pt x="754" y="2026"/>
                </a:lnTo>
                <a:lnTo>
                  <a:pt x="764" y="2019"/>
                </a:lnTo>
                <a:lnTo>
                  <a:pt x="771" y="2011"/>
                </a:lnTo>
                <a:lnTo>
                  <a:pt x="775" y="2007"/>
                </a:lnTo>
                <a:lnTo>
                  <a:pt x="777" y="2002"/>
                </a:lnTo>
                <a:lnTo>
                  <a:pt x="779" y="1994"/>
                </a:lnTo>
                <a:lnTo>
                  <a:pt x="781" y="1985"/>
                </a:lnTo>
                <a:lnTo>
                  <a:pt x="781" y="1981"/>
                </a:lnTo>
                <a:lnTo>
                  <a:pt x="779" y="1977"/>
                </a:lnTo>
                <a:lnTo>
                  <a:pt x="777" y="1973"/>
                </a:lnTo>
                <a:lnTo>
                  <a:pt x="775" y="1971"/>
                </a:lnTo>
                <a:lnTo>
                  <a:pt x="771" y="1966"/>
                </a:lnTo>
                <a:lnTo>
                  <a:pt x="766" y="1966"/>
                </a:lnTo>
                <a:lnTo>
                  <a:pt x="756" y="1964"/>
                </a:lnTo>
                <a:lnTo>
                  <a:pt x="745" y="1966"/>
                </a:lnTo>
                <a:lnTo>
                  <a:pt x="741" y="1968"/>
                </a:lnTo>
                <a:lnTo>
                  <a:pt x="735" y="1971"/>
                </a:lnTo>
                <a:lnTo>
                  <a:pt x="730" y="1975"/>
                </a:lnTo>
                <a:lnTo>
                  <a:pt x="726" y="1979"/>
                </a:lnTo>
                <a:lnTo>
                  <a:pt x="715" y="1990"/>
                </a:lnTo>
                <a:lnTo>
                  <a:pt x="711" y="1994"/>
                </a:lnTo>
                <a:lnTo>
                  <a:pt x="707" y="2002"/>
                </a:lnTo>
                <a:lnTo>
                  <a:pt x="703" y="2015"/>
                </a:lnTo>
                <a:lnTo>
                  <a:pt x="699" y="2032"/>
                </a:lnTo>
                <a:lnTo>
                  <a:pt x="696" y="2040"/>
                </a:lnTo>
                <a:lnTo>
                  <a:pt x="696" y="2049"/>
                </a:lnTo>
                <a:lnTo>
                  <a:pt x="696" y="2064"/>
                </a:lnTo>
                <a:lnTo>
                  <a:pt x="699" y="2070"/>
                </a:lnTo>
                <a:lnTo>
                  <a:pt x="701" y="2076"/>
                </a:lnTo>
                <a:lnTo>
                  <a:pt x="705" y="2089"/>
                </a:lnTo>
                <a:lnTo>
                  <a:pt x="711" y="2100"/>
                </a:lnTo>
                <a:lnTo>
                  <a:pt x="720" y="2108"/>
                </a:lnTo>
                <a:lnTo>
                  <a:pt x="726" y="2112"/>
                </a:lnTo>
                <a:lnTo>
                  <a:pt x="730" y="2115"/>
                </a:lnTo>
                <a:lnTo>
                  <a:pt x="741" y="2119"/>
                </a:lnTo>
                <a:lnTo>
                  <a:pt x="747" y="2121"/>
                </a:lnTo>
                <a:lnTo>
                  <a:pt x="754" y="2121"/>
                </a:lnTo>
                <a:lnTo>
                  <a:pt x="766" y="2119"/>
                </a:lnTo>
                <a:lnTo>
                  <a:pt x="779" y="2115"/>
                </a:lnTo>
                <a:lnTo>
                  <a:pt x="785" y="2112"/>
                </a:lnTo>
                <a:lnTo>
                  <a:pt x="790" y="2110"/>
                </a:lnTo>
                <a:lnTo>
                  <a:pt x="800" y="2102"/>
                </a:lnTo>
                <a:lnTo>
                  <a:pt x="809" y="2093"/>
                </a:lnTo>
                <a:lnTo>
                  <a:pt x="817" y="2083"/>
                </a:lnTo>
                <a:lnTo>
                  <a:pt x="826" y="2070"/>
                </a:lnTo>
                <a:lnTo>
                  <a:pt x="832" y="2057"/>
                </a:lnTo>
                <a:lnTo>
                  <a:pt x="838" y="2045"/>
                </a:lnTo>
                <a:lnTo>
                  <a:pt x="845" y="2030"/>
                </a:lnTo>
                <a:lnTo>
                  <a:pt x="849" y="2017"/>
                </a:lnTo>
                <a:lnTo>
                  <a:pt x="851" y="2002"/>
                </a:lnTo>
                <a:lnTo>
                  <a:pt x="855" y="1988"/>
                </a:lnTo>
                <a:lnTo>
                  <a:pt x="855" y="1973"/>
                </a:lnTo>
                <a:lnTo>
                  <a:pt x="857" y="1960"/>
                </a:lnTo>
                <a:lnTo>
                  <a:pt x="855" y="1947"/>
                </a:lnTo>
                <a:lnTo>
                  <a:pt x="857" y="1943"/>
                </a:lnTo>
                <a:lnTo>
                  <a:pt x="862" y="1941"/>
                </a:lnTo>
                <a:lnTo>
                  <a:pt x="866" y="1939"/>
                </a:lnTo>
                <a:lnTo>
                  <a:pt x="870" y="1939"/>
                </a:lnTo>
                <a:lnTo>
                  <a:pt x="878" y="1941"/>
                </a:lnTo>
                <a:lnTo>
                  <a:pt x="881" y="1943"/>
                </a:lnTo>
                <a:lnTo>
                  <a:pt x="885" y="1945"/>
                </a:lnTo>
                <a:lnTo>
                  <a:pt x="889" y="1954"/>
                </a:lnTo>
                <a:lnTo>
                  <a:pt x="889" y="1958"/>
                </a:lnTo>
                <a:lnTo>
                  <a:pt x="891" y="1964"/>
                </a:lnTo>
                <a:lnTo>
                  <a:pt x="889" y="1983"/>
                </a:lnTo>
                <a:lnTo>
                  <a:pt x="887" y="2002"/>
                </a:lnTo>
                <a:lnTo>
                  <a:pt x="883" y="2019"/>
                </a:lnTo>
                <a:lnTo>
                  <a:pt x="878" y="2038"/>
                </a:lnTo>
                <a:lnTo>
                  <a:pt x="874" y="2053"/>
                </a:lnTo>
                <a:lnTo>
                  <a:pt x="868" y="2070"/>
                </a:lnTo>
                <a:lnTo>
                  <a:pt x="859" y="2085"/>
                </a:lnTo>
                <a:lnTo>
                  <a:pt x="851" y="2098"/>
                </a:lnTo>
                <a:lnTo>
                  <a:pt x="840" y="2110"/>
                </a:lnTo>
                <a:lnTo>
                  <a:pt x="836" y="2117"/>
                </a:lnTo>
                <a:lnTo>
                  <a:pt x="832" y="2123"/>
                </a:lnTo>
                <a:lnTo>
                  <a:pt x="819" y="2131"/>
                </a:lnTo>
                <a:lnTo>
                  <a:pt x="809" y="2140"/>
                </a:lnTo>
                <a:lnTo>
                  <a:pt x="796" y="2146"/>
                </a:lnTo>
                <a:lnTo>
                  <a:pt x="781" y="2153"/>
                </a:lnTo>
                <a:lnTo>
                  <a:pt x="768" y="2155"/>
                </a:lnTo>
                <a:lnTo>
                  <a:pt x="754" y="2157"/>
                </a:lnTo>
                <a:close/>
                <a:moveTo>
                  <a:pt x="984" y="2153"/>
                </a:moveTo>
                <a:lnTo>
                  <a:pt x="978" y="2150"/>
                </a:lnTo>
                <a:lnTo>
                  <a:pt x="969" y="2144"/>
                </a:lnTo>
                <a:lnTo>
                  <a:pt x="953" y="2129"/>
                </a:lnTo>
                <a:lnTo>
                  <a:pt x="934" y="2110"/>
                </a:lnTo>
                <a:lnTo>
                  <a:pt x="914" y="2089"/>
                </a:lnTo>
                <a:lnTo>
                  <a:pt x="908" y="2081"/>
                </a:lnTo>
                <a:lnTo>
                  <a:pt x="904" y="2074"/>
                </a:lnTo>
                <a:lnTo>
                  <a:pt x="898" y="2062"/>
                </a:lnTo>
                <a:lnTo>
                  <a:pt x="895" y="2055"/>
                </a:lnTo>
                <a:lnTo>
                  <a:pt x="895" y="2051"/>
                </a:lnTo>
                <a:lnTo>
                  <a:pt x="898" y="2043"/>
                </a:lnTo>
                <a:lnTo>
                  <a:pt x="900" y="2036"/>
                </a:lnTo>
                <a:lnTo>
                  <a:pt x="902" y="2028"/>
                </a:lnTo>
                <a:lnTo>
                  <a:pt x="908" y="2019"/>
                </a:lnTo>
                <a:lnTo>
                  <a:pt x="919" y="2004"/>
                </a:lnTo>
                <a:lnTo>
                  <a:pt x="938" y="1985"/>
                </a:lnTo>
                <a:lnTo>
                  <a:pt x="980" y="1937"/>
                </a:lnTo>
                <a:lnTo>
                  <a:pt x="984" y="1937"/>
                </a:lnTo>
                <a:lnTo>
                  <a:pt x="991" y="1941"/>
                </a:lnTo>
                <a:lnTo>
                  <a:pt x="997" y="1945"/>
                </a:lnTo>
                <a:lnTo>
                  <a:pt x="1001" y="1949"/>
                </a:lnTo>
                <a:lnTo>
                  <a:pt x="1001" y="1956"/>
                </a:lnTo>
                <a:lnTo>
                  <a:pt x="999" y="1962"/>
                </a:lnTo>
                <a:lnTo>
                  <a:pt x="999" y="1966"/>
                </a:lnTo>
                <a:lnTo>
                  <a:pt x="997" y="1968"/>
                </a:lnTo>
                <a:lnTo>
                  <a:pt x="967" y="2002"/>
                </a:lnTo>
                <a:lnTo>
                  <a:pt x="948" y="2023"/>
                </a:lnTo>
                <a:lnTo>
                  <a:pt x="936" y="2038"/>
                </a:lnTo>
                <a:lnTo>
                  <a:pt x="934" y="2045"/>
                </a:lnTo>
                <a:lnTo>
                  <a:pt x="931" y="2049"/>
                </a:lnTo>
                <a:lnTo>
                  <a:pt x="934" y="2053"/>
                </a:lnTo>
                <a:lnTo>
                  <a:pt x="936" y="2059"/>
                </a:lnTo>
                <a:lnTo>
                  <a:pt x="948" y="2072"/>
                </a:lnTo>
                <a:lnTo>
                  <a:pt x="963" y="2089"/>
                </a:lnTo>
                <a:lnTo>
                  <a:pt x="982" y="2108"/>
                </a:lnTo>
                <a:lnTo>
                  <a:pt x="1001" y="2127"/>
                </a:lnTo>
                <a:lnTo>
                  <a:pt x="1003" y="2129"/>
                </a:lnTo>
                <a:lnTo>
                  <a:pt x="1005" y="2131"/>
                </a:lnTo>
                <a:lnTo>
                  <a:pt x="1003" y="2136"/>
                </a:lnTo>
                <a:lnTo>
                  <a:pt x="1003" y="2140"/>
                </a:lnTo>
                <a:lnTo>
                  <a:pt x="997" y="2146"/>
                </a:lnTo>
                <a:lnTo>
                  <a:pt x="991" y="2150"/>
                </a:lnTo>
                <a:lnTo>
                  <a:pt x="986" y="2153"/>
                </a:lnTo>
                <a:lnTo>
                  <a:pt x="984" y="2153"/>
                </a:lnTo>
                <a:close/>
                <a:moveTo>
                  <a:pt x="3033" y="991"/>
                </a:moveTo>
                <a:lnTo>
                  <a:pt x="3025" y="991"/>
                </a:lnTo>
                <a:lnTo>
                  <a:pt x="3016" y="988"/>
                </a:lnTo>
                <a:lnTo>
                  <a:pt x="3008" y="986"/>
                </a:lnTo>
                <a:lnTo>
                  <a:pt x="2999" y="982"/>
                </a:lnTo>
                <a:lnTo>
                  <a:pt x="2991" y="978"/>
                </a:lnTo>
                <a:lnTo>
                  <a:pt x="2983" y="972"/>
                </a:lnTo>
                <a:lnTo>
                  <a:pt x="2976" y="965"/>
                </a:lnTo>
                <a:lnTo>
                  <a:pt x="2970" y="959"/>
                </a:lnTo>
                <a:lnTo>
                  <a:pt x="2963" y="952"/>
                </a:lnTo>
                <a:lnTo>
                  <a:pt x="2959" y="944"/>
                </a:lnTo>
                <a:lnTo>
                  <a:pt x="2951" y="925"/>
                </a:lnTo>
                <a:lnTo>
                  <a:pt x="2947" y="917"/>
                </a:lnTo>
                <a:lnTo>
                  <a:pt x="2944" y="906"/>
                </a:lnTo>
                <a:lnTo>
                  <a:pt x="2944" y="895"/>
                </a:lnTo>
                <a:lnTo>
                  <a:pt x="2944" y="885"/>
                </a:lnTo>
                <a:lnTo>
                  <a:pt x="2944" y="872"/>
                </a:lnTo>
                <a:lnTo>
                  <a:pt x="2944" y="861"/>
                </a:lnTo>
                <a:lnTo>
                  <a:pt x="2949" y="851"/>
                </a:lnTo>
                <a:lnTo>
                  <a:pt x="2951" y="840"/>
                </a:lnTo>
                <a:lnTo>
                  <a:pt x="2955" y="830"/>
                </a:lnTo>
                <a:lnTo>
                  <a:pt x="2959" y="821"/>
                </a:lnTo>
                <a:lnTo>
                  <a:pt x="2966" y="811"/>
                </a:lnTo>
                <a:lnTo>
                  <a:pt x="2972" y="802"/>
                </a:lnTo>
                <a:lnTo>
                  <a:pt x="2978" y="796"/>
                </a:lnTo>
                <a:lnTo>
                  <a:pt x="2987" y="790"/>
                </a:lnTo>
                <a:lnTo>
                  <a:pt x="2993" y="783"/>
                </a:lnTo>
                <a:lnTo>
                  <a:pt x="3002" y="777"/>
                </a:lnTo>
                <a:lnTo>
                  <a:pt x="3010" y="773"/>
                </a:lnTo>
                <a:lnTo>
                  <a:pt x="3021" y="770"/>
                </a:lnTo>
                <a:lnTo>
                  <a:pt x="3029" y="768"/>
                </a:lnTo>
                <a:lnTo>
                  <a:pt x="3040" y="768"/>
                </a:lnTo>
                <a:lnTo>
                  <a:pt x="3052" y="768"/>
                </a:lnTo>
                <a:lnTo>
                  <a:pt x="3057" y="770"/>
                </a:lnTo>
                <a:lnTo>
                  <a:pt x="3063" y="773"/>
                </a:lnTo>
                <a:lnTo>
                  <a:pt x="3071" y="777"/>
                </a:lnTo>
                <a:lnTo>
                  <a:pt x="3080" y="785"/>
                </a:lnTo>
                <a:lnTo>
                  <a:pt x="3086" y="792"/>
                </a:lnTo>
                <a:lnTo>
                  <a:pt x="3091" y="802"/>
                </a:lnTo>
                <a:lnTo>
                  <a:pt x="3093" y="813"/>
                </a:lnTo>
                <a:lnTo>
                  <a:pt x="3093" y="825"/>
                </a:lnTo>
                <a:lnTo>
                  <a:pt x="3093" y="832"/>
                </a:lnTo>
                <a:lnTo>
                  <a:pt x="3093" y="840"/>
                </a:lnTo>
                <a:lnTo>
                  <a:pt x="3091" y="847"/>
                </a:lnTo>
                <a:lnTo>
                  <a:pt x="3086" y="855"/>
                </a:lnTo>
                <a:lnTo>
                  <a:pt x="3082" y="861"/>
                </a:lnTo>
                <a:lnTo>
                  <a:pt x="3078" y="868"/>
                </a:lnTo>
                <a:lnTo>
                  <a:pt x="3067" y="878"/>
                </a:lnTo>
                <a:lnTo>
                  <a:pt x="3061" y="885"/>
                </a:lnTo>
                <a:lnTo>
                  <a:pt x="3055" y="889"/>
                </a:lnTo>
                <a:lnTo>
                  <a:pt x="3042" y="895"/>
                </a:lnTo>
                <a:lnTo>
                  <a:pt x="3033" y="900"/>
                </a:lnTo>
                <a:lnTo>
                  <a:pt x="3027" y="902"/>
                </a:lnTo>
                <a:lnTo>
                  <a:pt x="3012" y="902"/>
                </a:lnTo>
                <a:lnTo>
                  <a:pt x="3006" y="902"/>
                </a:lnTo>
                <a:lnTo>
                  <a:pt x="3002" y="900"/>
                </a:lnTo>
                <a:lnTo>
                  <a:pt x="2999" y="897"/>
                </a:lnTo>
                <a:lnTo>
                  <a:pt x="2997" y="893"/>
                </a:lnTo>
                <a:lnTo>
                  <a:pt x="2997" y="891"/>
                </a:lnTo>
                <a:lnTo>
                  <a:pt x="2995" y="883"/>
                </a:lnTo>
                <a:lnTo>
                  <a:pt x="2997" y="876"/>
                </a:lnTo>
                <a:lnTo>
                  <a:pt x="2997" y="874"/>
                </a:lnTo>
                <a:lnTo>
                  <a:pt x="2999" y="874"/>
                </a:lnTo>
                <a:lnTo>
                  <a:pt x="3012" y="870"/>
                </a:lnTo>
                <a:lnTo>
                  <a:pt x="3025" y="866"/>
                </a:lnTo>
                <a:lnTo>
                  <a:pt x="3035" y="859"/>
                </a:lnTo>
                <a:lnTo>
                  <a:pt x="3044" y="853"/>
                </a:lnTo>
                <a:lnTo>
                  <a:pt x="3052" y="845"/>
                </a:lnTo>
                <a:lnTo>
                  <a:pt x="3055" y="842"/>
                </a:lnTo>
                <a:lnTo>
                  <a:pt x="3057" y="838"/>
                </a:lnTo>
                <a:lnTo>
                  <a:pt x="3061" y="830"/>
                </a:lnTo>
                <a:lnTo>
                  <a:pt x="3063" y="821"/>
                </a:lnTo>
                <a:lnTo>
                  <a:pt x="3061" y="815"/>
                </a:lnTo>
                <a:lnTo>
                  <a:pt x="3061" y="811"/>
                </a:lnTo>
                <a:lnTo>
                  <a:pt x="3059" y="806"/>
                </a:lnTo>
                <a:lnTo>
                  <a:pt x="3055" y="804"/>
                </a:lnTo>
                <a:lnTo>
                  <a:pt x="3052" y="802"/>
                </a:lnTo>
                <a:lnTo>
                  <a:pt x="3048" y="800"/>
                </a:lnTo>
                <a:lnTo>
                  <a:pt x="3038" y="798"/>
                </a:lnTo>
                <a:lnTo>
                  <a:pt x="3027" y="800"/>
                </a:lnTo>
                <a:lnTo>
                  <a:pt x="3021" y="802"/>
                </a:lnTo>
                <a:lnTo>
                  <a:pt x="3016" y="804"/>
                </a:lnTo>
                <a:lnTo>
                  <a:pt x="3010" y="809"/>
                </a:lnTo>
                <a:lnTo>
                  <a:pt x="3006" y="813"/>
                </a:lnTo>
                <a:lnTo>
                  <a:pt x="2997" y="823"/>
                </a:lnTo>
                <a:lnTo>
                  <a:pt x="2993" y="830"/>
                </a:lnTo>
                <a:lnTo>
                  <a:pt x="2989" y="836"/>
                </a:lnTo>
                <a:lnTo>
                  <a:pt x="2983" y="849"/>
                </a:lnTo>
                <a:lnTo>
                  <a:pt x="2978" y="866"/>
                </a:lnTo>
                <a:lnTo>
                  <a:pt x="2978" y="874"/>
                </a:lnTo>
                <a:lnTo>
                  <a:pt x="2976" y="883"/>
                </a:lnTo>
                <a:lnTo>
                  <a:pt x="2978" y="897"/>
                </a:lnTo>
                <a:lnTo>
                  <a:pt x="2980" y="904"/>
                </a:lnTo>
                <a:lnTo>
                  <a:pt x="2980" y="912"/>
                </a:lnTo>
                <a:lnTo>
                  <a:pt x="2987" y="923"/>
                </a:lnTo>
                <a:lnTo>
                  <a:pt x="2993" y="933"/>
                </a:lnTo>
                <a:lnTo>
                  <a:pt x="3002" y="942"/>
                </a:lnTo>
                <a:lnTo>
                  <a:pt x="3006" y="946"/>
                </a:lnTo>
                <a:lnTo>
                  <a:pt x="3012" y="948"/>
                </a:lnTo>
                <a:lnTo>
                  <a:pt x="3023" y="952"/>
                </a:lnTo>
                <a:lnTo>
                  <a:pt x="3029" y="955"/>
                </a:lnTo>
                <a:lnTo>
                  <a:pt x="3035" y="955"/>
                </a:lnTo>
                <a:lnTo>
                  <a:pt x="3048" y="952"/>
                </a:lnTo>
                <a:lnTo>
                  <a:pt x="3059" y="950"/>
                </a:lnTo>
                <a:lnTo>
                  <a:pt x="3065" y="946"/>
                </a:lnTo>
                <a:lnTo>
                  <a:pt x="3071" y="944"/>
                </a:lnTo>
                <a:lnTo>
                  <a:pt x="3080" y="936"/>
                </a:lnTo>
                <a:lnTo>
                  <a:pt x="3091" y="927"/>
                </a:lnTo>
                <a:lnTo>
                  <a:pt x="3099" y="917"/>
                </a:lnTo>
                <a:lnTo>
                  <a:pt x="3107" y="906"/>
                </a:lnTo>
                <a:lnTo>
                  <a:pt x="3114" y="893"/>
                </a:lnTo>
                <a:lnTo>
                  <a:pt x="3120" y="878"/>
                </a:lnTo>
                <a:lnTo>
                  <a:pt x="3124" y="864"/>
                </a:lnTo>
                <a:lnTo>
                  <a:pt x="3129" y="851"/>
                </a:lnTo>
                <a:lnTo>
                  <a:pt x="3133" y="836"/>
                </a:lnTo>
                <a:lnTo>
                  <a:pt x="3135" y="821"/>
                </a:lnTo>
                <a:lnTo>
                  <a:pt x="3137" y="806"/>
                </a:lnTo>
                <a:lnTo>
                  <a:pt x="3137" y="794"/>
                </a:lnTo>
                <a:lnTo>
                  <a:pt x="3137" y="781"/>
                </a:lnTo>
                <a:lnTo>
                  <a:pt x="3139" y="777"/>
                </a:lnTo>
                <a:lnTo>
                  <a:pt x="3141" y="775"/>
                </a:lnTo>
                <a:lnTo>
                  <a:pt x="3146" y="775"/>
                </a:lnTo>
                <a:lnTo>
                  <a:pt x="3150" y="773"/>
                </a:lnTo>
                <a:lnTo>
                  <a:pt x="3158" y="775"/>
                </a:lnTo>
                <a:lnTo>
                  <a:pt x="3162" y="777"/>
                </a:lnTo>
                <a:lnTo>
                  <a:pt x="3165" y="779"/>
                </a:lnTo>
                <a:lnTo>
                  <a:pt x="3169" y="787"/>
                </a:lnTo>
                <a:lnTo>
                  <a:pt x="3171" y="792"/>
                </a:lnTo>
                <a:lnTo>
                  <a:pt x="3171" y="800"/>
                </a:lnTo>
                <a:lnTo>
                  <a:pt x="3171" y="817"/>
                </a:lnTo>
                <a:lnTo>
                  <a:pt x="3169" y="836"/>
                </a:lnTo>
                <a:lnTo>
                  <a:pt x="3165" y="855"/>
                </a:lnTo>
                <a:lnTo>
                  <a:pt x="3160" y="872"/>
                </a:lnTo>
                <a:lnTo>
                  <a:pt x="3154" y="889"/>
                </a:lnTo>
                <a:lnTo>
                  <a:pt x="3148" y="904"/>
                </a:lnTo>
                <a:lnTo>
                  <a:pt x="3141" y="919"/>
                </a:lnTo>
                <a:lnTo>
                  <a:pt x="3131" y="933"/>
                </a:lnTo>
                <a:lnTo>
                  <a:pt x="3122" y="944"/>
                </a:lnTo>
                <a:lnTo>
                  <a:pt x="3118" y="950"/>
                </a:lnTo>
                <a:lnTo>
                  <a:pt x="3112" y="957"/>
                </a:lnTo>
                <a:lnTo>
                  <a:pt x="3101" y="965"/>
                </a:lnTo>
                <a:lnTo>
                  <a:pt x="3088" y="974"/>
                </a:lnTo>
                <a:lnTo>
                  <a:pt x="3076" y="982"/>
                </a:lnTo>
                <a:lnTo>
                  <a:pt x="3063" y="986"/>
                </a:lnTo>
                <a:lnTo>
                  <a:pt x="3048" y="988"/>
                </a:lnTo>
                <a:lnTo>
                  <a:pt x="3033" y="991"/>
                </a:lnTo>
                <a:close/>
                <a:moveTo>
                  <a:pt x="3264" y="986"/>
                </a:moveTo>
                <a:lnTo>
                  <a:pt x="3260" y="984"/>
                </a:lnTo>
                <a:lnTo>
                  <a:pt x="3251" y="978"/>
                </a:lnTo>
                <a:lnTo>
                  <a:pt x="3234" y="963"/>
                </a:lnTo>
                <a:lnTo>
                  <a:pt x="3213" y="944"/>
                </a:lnTo>
                <a:lnTo>
                  <a:pt x="3196" y="923"/>
                </a:lnTo>
                <a:lnTo>
                  <a:pt x="3188" y="914"/>
                </a:lnTo>
                <a:lnTo>
                  <a:pt x="3184" y="908"/>
                </a:lnTo>
                <a:lnTo>
                  <a:pt x="3179" y="895"/>
                </a:lnTo>
                <a:lnTo>
                  <a:pt x="3177" y="889"/>
                </a:lnTo>
                <a:lnTo>
                  <a:pt x="3177" y="885"/>
                </a:lnTo>
                <a:lnTo>
                  <a:pt x="3177" y="876"/>
                </a:lnTo>
                <a:lnTo>
                  <a:pt x="3179" y="870"/>
                </a:lnTo>
                <a:lnTo>
                  <a:pt x="3184" y="861"/>
                </a:lnTo>
                <a:lnTo>
                  <a:pt x="3188" y="855"/>
                </a:lnTo>
                <a:lnTo>
                  <a:pt x="3201" y="840"/>
                </a:lnTo>
                <a:lnTo>
                  <a:pt x="3218" y="819"/>
                </a:lnTo>
                <a:lnTo>
                  <a:pt x="3260" y="770"/>
                </a:lnTo>
                <a:lnTo>
                  <a:pt x="3266" y="773"/>
                </a:lnTo>
                <a:lnTo>
                  <a:pt x="3273" y="775"/>
                </a:lnTo>
                <a:lnTo>
                  <a:pt x="3277" y="779"/>
                </a:lnTo>
                <a:lnTo>
                  <a:pt x="3281" y="783"/>
                </a:lnTo>
                <a:lnTo>
                  <a:pt x="3283" y="790"/>
                </a:lnTo>
                <a:lnTo>
                  <a:pt x="3281" y="796"/>
                </a:lnTo>
                <a:lnTo>
                  <a:pt x="3279" y="800"/>
                </a:lnTo>
                <a:lnTo>
                  <a:pt x="3277" y="802"/>
                </a:lnTo>
                <a:lnTo>
                  <a:pt x="3247" y="838"/>
                </a:lnTo>
                <a:lnTo>
                  <a:pt x="3230" y="857"/>
                </a:lnTo>
                <a:lnTo>
                  <a:pt x="3218" y="874"/>
                </a:lnTo>
                <a:lnTo>
                  <a:pt x="3213" y="878"/>
                </a:lnTo>
                <a:lnTo>
                  <a:pt x="3213" y="883"/>
                </a:lnTo>
                <a:lnTo>
                  <a:pt x="3215" y="887"/>
                </a:lnTo>
                <a:lnTo>
                  <a:pt x="3218" y="893"/>
                </a:lnTo>
                <a:lnTo>
                  <a:pt x="3228" y="906"/>
                </a:lnTo>
                <a:lnTo>
                  <a:pt x="3245" y="923"/>
                </a:lnTo>
                <a:lnTo>
                  <a:pt x="3264" y="942"/>
                </a:lnTo>
                <a:lnTo>
                  <a:pt x="3283" y="961"/>
                </a:lnTo>
                <a:lnTo>
                  <a:pt x="3285" y="963"/>
                </a:lnTo>
                <a:lnTo>
                  <a:pt x="3285" y="967"/>
                </a:lnTo>
                <a:lnTo>
                  <a:pt x="3285" y="969"/>
                </a:lnTo>
                <a:lnTo>
                  <a:pt x="3283" y="974"/>
                </a:lnTo>
                <a:lnTo>
                  <a:pt x="3279" y="980"/>
                </a:lnTo>
                <a:lnTo>
                  <a:pt x="3273" y="984"/>
                </a:lnTo>
                <a:lnTo>
                  <a:pt x="3268" y="986"/>
                </a:lnTo>
                <a:lnTo>
                  <a:pt x="3264" y="986"/>
                </a:lnTo>
                <a:close/>
                <a:moveTo>
                  <a:pt x="3033" y="1581"/>
                </a:moveTo>
                <a:lnTo>
                  <a:pt x="3025" y="1581"/>
                </a:lnTo>
                <a:lnTo>
                  <a:pt x="3016" y="1579"/>
                </a:lnTo>
                <a:lnTo>
                  <a:pt x="3008" y="1577"/>
                </a:lnTo>
                <a:lnTo>
                  <a:pt x="2999" y="1573"/>
                </a:lnTo>
                <a:lnTo>
                  <a:pt x="2991" y="1568"/>
                </a:lnTo>
                <a:lnTo>
                  <a:pt x="2983" y="1564"/>
                </a:lnTo>
                <a:lnTo>
                  <a:pt x="2976" y="1558"/>
                </a:lnTo>
                <a:lnTo>
                  <a:pt x="2970" y="1551"/>
                </a:lnTo>
                <a:lnTo>
                  <a:pt x="2963" y="1543"/>
                </a:lnTo>
                <a:lnTo>
                  <a:pt x="2959" y="1535"/>
                </a:lnTo>
                <a:lnTo>
                  <a:pt x="2951" y="1518"/>
                </a:lnTo>
                <a:lnTo>
                  <a:pt x="2947" y="1507"/>
                </a:lnTo>
                <a:lnTo>
                  <a:pt x="2944" y="1496"/>
                </a:lnTo>
                <a:lnTo>
                  <a:pt x="2944" y="1486"/>
                </a:lnTo>
                <a:lnTo>
                  <a:pt x="2944" y="1475"/>
                </a:lnTo>
                <a:lnTo>
                  <a:pt x="2944" y="1465"/>
                </a:lnTo>
                <a:lnTo>
                  <a:pt x="2944" y="1454"/>
                </a:lnTo>
                <a:lnTo>
                  <a:pt x="2949" y="1444"/>
                </a:lnTo>
                <a:lnTo>
                  <a:pt x="2951" y="1433"/>
                </a:lnTo>
                <a:lnTo>
                  <a:pt x="2955" y="1422"/>
                </a:lnTo>
                <a:lnTo>
                  <a:pt x="2959" y="1412"/>
                </a:lnTo>
                <a:lnTo>
                  <a:pt x="2966" y="1403"/>
                </a:lnTo>
                <a:lnTo>
                  <a:pt x="2972" y="1395"/>
                </a:lnTo>
                <a:lnTo>
                  <a:pt x="2978" y="1386"/>
                </a:lnTo>
                <a:lnTo>
                  <a:pt x="2987" y="1380"/>
                </a:lnTo>
                <a:lnTo>
                  <a:pt x="2993" y="1374"/>
                </a:lnTo>
                <a:lnTo>
                  <a:pt x="3002" y="1369"/>
                </a:lnTo>
                <a:lnTo>
                  <a:pt x="3010" y="1365"/>
                </a:lnTo>
                <a:lnTo>
                  <a:pt x="3021" y="1361"/>
                </a:lnTo>
                <a:lnTo>
                  <a:pt x="3029" y="1361"/>
                </a:lnTo>
                <a:lnTo>
                  <a:pt x="3040" y="1359"/>
                </a:lnTo>
                <a:lnTo>
                  <a:pt x="3052" y="1361"/>
                </a:lnTo>
                <a:lnTo>
                  <a:pt x="3057" y="1361"/>
                </a:lnTo>
                <a:lnTo>
                  <a:pt x="3063" y="1363"/>
                </a:lnTo>
                <a:lnTo>
                  <a:pt x="3071" y="1369"/>
                </a:lnTo>
                <a:lnTo>
                  <a:pt x="3080" y="1376"/>
                </a:lnTo>
                <a:lnTo>
                  <a:pt x="3086" y="1384"/>
                </a:lnTo>
                <a:lnTo>
                  <a:pt x="3091" y="1395"/>
                </a:lnTo>
                <a:lnTo>
                  <a:pt x="3093" y="1405"/>
                </a:lnTo>
                <a:lnTo>
                  <a:pt x="3093" y="1416"/>
                </a:lnTo>
                <a:lnTo>
                  <a:pt x="3093" y="1424"/>
                </a:lnTo>
                <a:lnTo>
                  <a:pt x="3093" y="1431"/>
                </a:lnTo>
                <a:lnTo>
                  <a:pt x="3091" y="1439"/>
                </a:lnTo>
                <a:lnTo>
                  <a:pt x="3086" y="1446"/>
                </a:lnTo>
                <a:lnTo>
                  <a:pt x="3082" y="1452"/>
                </a:lnTo>
                <a:lnTo>
                  <a:pt x="3078" y="1458"/>
                </a:lnTo>
                <a:lnTo>
                  <a:pt x="3067" y="1471"/>
                </a:lnTo>
                <a:lnTo>
                  <a:pt x="3061" y="1475"/>
                </a:lnTo>
                <a:lnTo>
                  <a:pt x="3055" y="1480"/>
                </a:lnTo>
                <a:lnTo>
                  <a:pt x="3042" y="1488"/>
                </a:lnTo>
                <a:lnTo>
                  <a:pt x="3033" y="1490"/>
                </a:lnTo>
                <a:lnTo>
                  <a:pt x="3027" y="1492"/>
                </a:lnTo>
                <a:lnTo>
                  <a:pt x="3012" y="1494"/>
                </a:lnTo>
                <a:lnTo>
                  <a:pt x="3006" y="1492"/>
                </a:lnTo>
                <a:lnTo>
                  <a:pt x="3002" y="1490"/>
                </a:lnTo>
                <a:lnTo>
                  <a:pt x="2999" y="1488"/>
                </a:lnTo>
                <a:lnTo>
                  <a:pt x="2997" y="1486"/>
                </a:lnTo>
                <a:lnTo>
                  <a:pt x="2997" y="1482"/>
                </a:lnTo>
                <a:lnTo>
                  <a:pt x="2995" y="1475"/>
                </a:lnTo>
                <a:lnTo>
                  <a:pt x="2997" y="1469"/>
                </a:lnTo>
                <a:lnTo>
                  <a:pt x="2997" y="1467"/>
                </a:lnTo>
                <a:lnTo>
                  <a:pt x="2999" y="1465"/>
                </a:lnTo>
                <a:lnTo>
                  <a:pt x="3012" y="1463"/>
                </a:lnTo>
                <a:lnTo>
                  <a:pt x="3025" y="1458"/>
                </a:lnTo>
                <a:lnTo>
                  <a:pt x="3035" y="1452"/>
                </a:lnTo>
                <a:lnTo>
                  <a:pt x="3044" y="1446"/>
                </a:lnTo>
                <a:lnTo>
                  <a:pt x="3052" y="1437"/>
                </a:lnTo>
                <a:lnTo>
                  <a:pt x="3055" y="1433"/>
                </a:lnTo>
                <a:lnTo>
                  <a:pt x="3057" y="1429"/>
                </a:lnTo>
                <a:lnTo>
                  <a:pt x="3061" y="1420"/>
                </a:lnTo>
                <a:lnTo>
                  <a:pt x="3063" y="1412"/>
                </a:lnTo>
                <a:lnTo>
                  <a:pt x="3061" y="1408"/>
                </a:lnTo>
                <a:lnTo>
                  <a:pt x="3061" y="1403"/>
                </a:lnTo>
                <a:lnTo>
                  <a:pt x="3059" y="1399"/>
                </a:lnTo>
                <a:lnTo>
                  <a:pt x="3055" y="1395"/>
                </a:lnTo>
                <a:lnTo>
                  <a:pt x="3052" y="1393"/>
                </a:lnTo>
                <a:lnTo>
                  <a:pt x="3048" y="1391"/>
                </a:lnTo>
                <a:lnTo>
                  <a:pt x="3038" y="1391"/>
                </a:lnTo>
                <a:lnTo>
                  <a:pt x="3027" y="1391"/>
                </a:lnTo>
                <a:lnTo>
                  <a:pt x="3021" y="1393"/>
                </a:lnTo>
                <a:lnTo>
                  <a:pt x="3016" y="1397"/>
                </a:lnTo>
                <a:lnTo>
                  <a:pt x="3010" y="1399"/>
                </a:lnTo>
                <a:lnTo>
                  <a:pt x="3006" y="1403"/>
                </a:lnTo>
                <a:lnTo>
                  <a:pt x="2997" y="1414"/>
                </a:lnTo>
                <a:lnTo>
                  <a:pt x="2993" y="1420"/>
                </a:lnTo>
                <a:lnTo>
                  <a:pt x="2989" y="1427"/>
                </a:lnTo>
                <a:lnTo>
                  <a:pt x="2983" y="1441"/>
                </a:lnTo>
                <a:lnTo>
                  <a:pt x="2978" y="1456"/>
                </a:lnTo>
                <a:lnTo>
                  <a:pt x="2978" y="1465"/>
                </a:lnTo>
                <a:lnTo>
                  <a:pt x="2976" y="1473"/>
                </a:lnTo>
                <a:lnTo>
                  <a:pt x="2978" y="1490"/>
                </a:lnTo>
                <a:lnTo>
                  <a:pt x="2980" y="1496"/>
                </a:lnTo>
                <a:lnTo>
                  <a:pt x="2980" y="1503"/>
                </a:lnTo>
                <a:lnTo>
                  <a:pt x="2987" y="1516"/>
                </a:lnTo>
                <a:lnTo>
                  <a:pt x="2993" y="1526"/>
                </a:lnTo>
                <a:lnTo>
                  <a:pt x="3002" y="1535"/>
                </a:lnTo>
                <a:lnTo>
                  <a:pt x="3006" y="1537"/>
                </a:lnTo>
                <a:lnTo>
                  <a:pt x="3012" y="1541"/>
                </a:lnTo>
                <a:lnTo>
                  <a:pt x="3023" y="1545"/>
                </a:lnTo>
                <a:lnTo>
                  <a:pt x="3029" y="1545"/>
                </a:lnTo>
                <a:lnTo>
                  <a:pt x="3035" y="1545"/>
                </a:lnTo>
                <a:lnTo>
                  <a:pt x="3048" y="1545"/>
                </a:lnTo>
                <a:lnTo>
                  <a:pt x="3059" y="1541"/>
                </a:lnTo>
                <a:lnTo>
                  <a:pt x="3065" y="1539"/>
                </a:lnTo>
                <a:lnTo>
                  <a:pt x="3071" y="1535"/>
                </a:lnTo>
                <a:lnTo>
                  <a:pt x="3080" y="1528"/>
                </a:lnTo>
                <a:lnTo>
                  <a:pt x="3091" y="1520"/>
                </a:lnTo>
                <a:lnTo>
                  <a:pt x="3099" y="1509"/>
                </a:lnTo>
                <a:lnTo>
                  <a:pt x="3107" y="1496"/>
                </a:lnTo>
                <a:lnTo>
                  <a:pt x="3114" y="1484"/>
                </a:lnTo>
                <a:lnTo>
                  <a:pt x="3120" y="1471"/>
                </a:lnTo>
                <a:lnTo>
                  <a:pt x="3124" y="1456"/>
                </a:lnTo>
                <a:lnTo>
                  <a:pt x="3129" y="1441"/>
                </a:lnTo>
                <a:lnTo>
                  <a:pt x="3133" y="1427"/>
                </a:lnTo>
                <a:lnTo>
                  <a:pt x="3135" y="1412"/>
                </a:lnTo>
                <a:lnTo>
                  <a:pt x="3137" y="1399"/>
                </a:lnTo>
                <a:lnTo>
                  <a:pt x="3137" y="1384"/>
                </a:lnTo>
                <a:lnTo>
                  <a:pt x="3137" y="1372"/>
                </a:lnTo>
                <a:lnTo>
                  <a:pt x="3139" y="1369"/>
                </a:lnTo>
                <a:lnTo>
                  <a:pt x="3141" y="1367"/>
                </a:lnTo>
                <a:lnTo>
                  <a:pt x="3146" y="1365"/>
                </a:lnTo>
                <a:lnTo>
                  <a:pt x="3150" y="1365"/>
                </a:lnTo>
                <a:lnTo>
                  <a:pt x="3158" y="1365"/>
                </a:lnTo>
                <a:lnTo>
                  <a:pt x="3162" y="1367"/>
                </a:lnTo>
                <a:lnTo>
                  <a:pt x="3165" y="1369"/>
                </a:lnTo>
                <a:lnTo>
                  <a:pt x="3169" y="1378"/>
                </a:lnTo>
                <a:lnTo>
                  <a:pt x="3171" y="1384"/>
                </a:lnTo>
                <a:lnTo>
                  <a:pt x="3171" y="1391"/>
                </a:lnTo>
                <a:lnTo>
                  <a:pt x="3171" y="1410"/>
                </a:lnTo>
                <a:lnTo>
                  <a:pt x="3169" y="1429"/>
                </a:lnTo>
                <a:lnTo>
                  <a:pt x="3165" y="1446"/>
                </a:lnTo>
                <a:lnTo>
                  <a:pt x="3160" y="1463"/>
                </a:lnTo>
                <a:lnTo>
                  <a:pt x="3154" y="1480"/>
                </a:lnTo>
                <a:lnTo>
                  <a:pt x="3148" y="1496"/>
                </a:lnTo>
                <a:lnTo>
                  <a:pt x="3141" y="1511"/>
                </a:lnTo>
                <a:lnTo>
                  <a:pt x="3131" y="1524"/>
                </a:lnTo>
                <a:lnTo>
                  <a:pt x="3122" y="1537"/>
                </a:lnTo>
                <a:lnTo>
                  <a:pt x="3118" y="1543"/>
                </a:lnTo>
                <a:lnTo>
                  <a:pt x="3112" y="1547"/>
                </a:lnTo>
                <a:lnTo>
                  <a:pt x="3101" y="1558"/>
                </a:lnTo>
                <a:lnTo>
                  <a:pt x="3088" y="1566"/>
                </a:lnTo>
                <a:lnTo>
                  <a:pt x="3076" y="1573"/>
                </a:lnTo>
                <a:lnTo>
                  <a:pt x="3063" y="1577"/>
                </a:lnTo>
                <a:lnTo>
                  <a:pt x="3048" y="1581"/>
                </a:lnTo>
                <a:lnTo>
                  <a:pt x="3033" y="1581"/>
                </a:lnTo>
                <a:close/>
                <a:moveTo>
                  <a:pt x="3264" y="1579"/>
                </a:moveTo>
                <a:lnTo>
                  <a:pt x="3260" y="1577"/>
                </a:lnTo>
                <a:lnTo>
                  <a:pt x="3251" y="1571"/>
                </a:lnTo>
                <a:lnTo>
                  <a:pt x="3234" y="1556"/>
                </a:lnTo>
                <a:lnTo>
                  <a:pt x="3213" y="1535"/>
                </a:lnTo>
                <a:lnTo>
                  <a:pt x="3196" y="1516"/>
                </a:lnTo>
                <a:lnTo>
                  <a:pt x="3188" y="1507"/>
                </a:lnTo>
                <a:lnTo>
                  <a:pt x="3184" y="1501"/>
                </a:lnTo>
                <a:lnTo>
                  <a:pt x="3179" y="1488"/>
                </a:lnTo>
                <a:lnTo>
                  <a:pt x="3177" y="1482"/>
                </a:lnTo>
                <a:lnTo>
                  <a:pt x="3177" y="1475"/>
                </a:lnTo>
                <a:lnTo>
                  <a:pt x="3177" y="1469"/>
                </a:lnTo>
                <a:lnTo>
                  <a:pt x="3179" y="1463"/>
                </a:lnTo>
                <a:lnTo>
                  <a:pt x="3184" y="1454"/>
                </a:lnTo>
                <a:lnTo>
                  <a:pt x="3188" y="1446"/>
                </a:lnTo>
                <a:lnTo>
                  <a:pt x="3201" y="1431"/>
                </a:lnTo>
                <a:lnTo>
                  <a:pt x="3218" y="1410"/>
                </a:lnTo>
                <a:lnTo>
                  <a:pt x="3260" y="1363"/>
                </a:lnTo>
                <a:lnTo>
                  <a:pt x="3266" y="1363"/>
                </a:lnTo>
                <a:lnTo>
                  <a:pt x="3273" y="1365"/>
                </a:lnTo>
                <a:lnTo>
                  <a:pt x="3277" y="1369"/>
                </a:lnTo>
                <a:lnTo>
                  <a:pt x="3281" y="1376"/>
                </a:lnTo>
                <a:lnTo>
                  <a:pt x="3283" y="1382"/>
                </a:lnTo>
                <a:lnTo>
                  <a:pt x="3281" y="1389"/>
                </a:lnTo>
                <a:lnTo>
                  <a:pt x="3279" y="1391"/>
                </a:lnTo>
                <a:lnTo>
                  <a:pt x="3277" y="1395"/>
                </a:lnTo>
                <a:lnTo>
                  <a:pt x="3247" y="1429"/>
                </a:lnTo>
                <a:lnTo>
                  <a:pt x="3230" y="1450"/>
                </a:lnTo>
                <a:lnTo>
                  <a:pt x="3218" y="1465"/>
                </a:lnTo>
                <a:lnTo>
                  <a:pt x="3213" y="1469"/>
                </a:lnTo>
                <a:lnTo>
                  <a:pt x="3213" y="1473"/>
                </a:lnTo>
                <a:lnTo>
                  <a:pt x="3215" y="1480"/>
                </a:lnTo>
                <a:lnTo>
                  <a:pt x="3218" y="1484"/>
                </a:lnTo>
                <a:lnTo>
                  <a:pt x="3228" y="1496"/>
                </a:lnTo>
                <a:lnTo>
                  <a:pt x="3245" y="1516"/>
                </a:lnTo>
                <a:lnTo>
                  <a:pt x="3264" y="1535"/>
                </a:lnTo>
                <a:lnTo>
                  <a:pt x="3283" y="1551"/>
                </a:lnTo>
                <a:lnTo>
                  <a:pt x="3285" y="1556"/>
                </a:lnTo>
                <a:lnTo>
                  <a:pt x="3285" y="1558"/>
                </a:lnTo>
                <a:lnTo>
                  <a:pt x="3285" y="1562"/>
                </a:lnTo>
                <a:lnTo>
                  <a:pt x="3283" y="1564"/>
                </a:lnTo>
                <a:lnTo>
                  <a:pt x="3279" y="1571"/>
                </a:lnTo>
                <a:lnTo>
                  <a:pt x="3273" y="1577"/>
                </a:lnTo>
                <a:lnTo>
                  <a:pt x="3268" y="1577"/>
                </a:lnTo>
                <a:lnTo>
                  <a:pt x="3264" y="1579"/>
                </a:lnTo>
                <a:close/>
                <a:moveTo>
                  <a:pt x="3033" y="2157"/>
                </a:moveTo>
                <a:lnTo>
                  <a:pt x="3025" y="2155"/>
                </a:lnTo>
                <a:lnTo>
                  <a:pt x="3016" y="2155"/>
                </a:lnTo>
                <a:lnTo>
                  <a:pt x="3008" y="2150"/>
                </a:lnTo>
                <a:lnTo>
                  <a:pt x="2999" y="2148"/>
                </a:lnTo>
                <a:lnTo>
                  <a:pt x="2991" y="2144"/>
                </a:lnTo>
                <a:lnTo>
                  <a:pt x="2983" y="2138"/>
                </a:lnTo>
                <a:lnTo>
                  <a:pt x="2976" y="2131"/>
                </a:lnTo>
                <a:lnTo>
                  <a:pt x="2970" y="2125"/>
                </a:lnTo>
                <a:lnTo>
                  <a:pt x="2963" y="2119"/>
                </a:lnTo>
                <a:lnTo>
                  <a:pt x="2959" y="2110"/>
                </a:lnTo>
                <a:lnTo>
                  <a:pt x="2951" y="2091"/>
                </a:lnTo>
                <a:lnTo>
                  <a:pt x="2947" y="2083"/>
                </a:lnTo>
                <a:lnTo>
                  <a:pt x="2944" y="2072"/>
                </a:lnTo>
                <a:lnTo>
                  <a:pt x="2944" y="2062"/>
                </a:lnTo>
                <a:lnTo>
                  <a:pt x="2944" y="2051"/>
                </a:lnTo>
                <a:lnTo>
                  <a:pt x="2944" y="2038"/>
                </a:lnTo>
                <a:lnTo>
                  <a:pt x="2944" y="2028"/>
                </a:lnTo>
                <a:lnTo>
                  <a:pt x="2949" y="2017"/>
                </a:lnTo>
                <a:lnTo>
                  <a:pt x="2951" y="2007"/>
                </a:lnTo>
                <a:lnTo>
                  <a:pt x="2955" y="1996"/>
                </a:lnTo>
                <a:lnTo>
                  <a:pt x="2959" y="1988"/>
                </a:lnTo>
                <a:lnTo>
                  <a:pt x="2966" y="1977"/>
                </a:lnTo>
                <a:lnTo>
                  <a:pt x="2972" y="1968"/>
                </a:lnTo>
                <a:lnTo>
                  <a:pt x="2978" y="1962"/>
                </a:lnTo>
                <a:lnTo>
                  <a:pt x="2987" y="1954"/>
                </a:lnTo>
                <a:lnTo>
                  <a:pt x="2993" y="1949"/>
                </a:lnTo>
                <a:lnTo>
                  <a:pt x="3002" y="1943"/>
                </a:lnTo>
                <a:lnTo>
                  <a:pt x="3010" y="1939"/>
                </a:lnTo>
                <a:lnTo>
                  <a:pt x="3021" y="1937"/>
                </a:lnTo>
                <a:lnTo>
                  <a:pt x="3029" y="1935"/>
                </a:lnTo>
                <a:lnTo>
                  <a:pt x="3040" y="1935"/>
                </a:lnTo>
                <a:lnTo>
                  <a:pt x="3052" y="1935"/>
                </a:lnTo>
                <a:lnTo>
                  <a:pt x="3057" y="1937"/>
                </a:lnTo>
                <a:lnTo>
                  <a:pt x="3063" y="1939"/>
                </a:lnTo>
                <a:lnTo>
                  <a:pt x="3071" y="1943"/>
                </a:lnTo>
                <a:lnTo>
                  <a:pt x="3080" y="1949"/>
                </a:lnTo>
                <a:lnTo>
                  <a:pt x="3086" y="1958"/>
                </a:lnTo>
                <a:lnTo>
                  <a:pt x="3091" y="1968"/>
                </a:lnTo>
                <a:lnTo>
                  <a:pt x="3093" y="1979"/>
                </a:lnTo>
                <a:lnTo>
                  <a:pt x="3093" y="1992"/>
                </a:lnTo>
                <a:lnTo>
                  <a:pt x="3093" y="1998"/>
                </a:lnTo>
                <a:lnTo>
                  <a:pt x="3093" y="2007"/>
                </a:lnTo>
                <a:lnTo>
                  <a:pt x="3091" y="2013"/>
                </a:lnTo>
                <a:lnTo>
                  <a:pt x="3086" y="2019"/>
                </a:lnTo>
                <a:lnTo>
                  <a:pt x="3082" y="2028"/>
                </a:lnTo>
                <a:lnTo>
                  <a:pt x="3078" y="2034"/>
                </a:lnTo>
                <a:lnTo>
                  <a:pt x="3067" y="2045"/>
                </a:lnTo>
                <a:lnTo>
                  <a:pt x="3061" y="2051"/>
                </a:lnTo>
                <a:lnTo>
                  <a:pt x="3055" y="2055"/>
                </a:lnTo>
                <a:lnTo>
                  <a:pt x="3042" y="2062"/>
                </a:lnTo>
                <a:lnTo>
                  <a:pt x="3033" y="2066"/>
                </a:lnTo>
                <a:lnTo>
                  <a:pt x="3027" y="2068"/>
                </a:lnTo>
                <a:lnTo>
                  <a:pt x="3012" y="2068"/>
                </a:lnTo>
                <a:lnTo>
                  <a:pt x="3006" y="2068"/>
                </a:lnTo>
                <a:lnTo>
                  <a:pt x="3002" y="2066"/>
                </a:lnTo>
                <a:lnTo>
                  <a:pt x="2999" y="2064"/>
                </a:lnTo>
                <a:lnTo>
                  <a:pt x="2997" y="2059"/>
                </a:lnTo>
                <a:lnTo>
                  <a:pt x="2997" y="2057"/>
                </a:lnTo>
                <a:lnTo>
                  <a:pt x="2995" y="2049"/>
                </a:lnTo>
                <a:lnTo>
                  <a:pt x="2997" y="2043"/>
                </a:lnTo>
                <a:lnTo>
                  <a:pt x="2997" y="2040"/>
                </a:lnTo>
                <a:lnTo>
                  <a:pt x="2999" y="2038"/>
                </a:lnTo>
                <a:lnTo>
                  <a:pt x="3012" y="2036"/>
                </a:lnTo>
                <a:lnTo>
                  <a:pt x="3025" y="2032"/>
                </a:lnTo>
                <a:lnTo>
                  <a:pt x="3035" y="2026"/>
                </a:lnTo>
                <a:lnTo>
                  <a:pt x="3044" y="2019"/>
                </a:lnTo>
                <a:lnTo>
                  <a:pt x="3052" y="2011"/>
                </a:lnTo>
                <a:lnTo>
                  <a:pt x="3055" y="2007"/>
                </a:lnTo>
                <a:lnTo>
                  <a:pt x="3057" y="2002"/>
                </a:lnTo>
                <a:lnTo>
                  <a:pt x="3061" y="1994"/>
                </a:lnTo>
                <a:lnTo>
                  <a:pt x="3063" y="1985"/>
                </a:lnTo>
                <a:lnTo>
                  <a:pt x="3061" y="1981"/>
                </a:lnTo>
                <a:lnTo>
                  <a:pt x="3061" y="1977"/>
                </a:lnTo>
                <a:lnTo>
                  <a:pt x="3059" y="1973"/>
                </a:lnTo>
                <a:lnTo>
                  <a:pt x="3055" y="1971"/>
                </a:lnTo>
                <a:lnTo>
                  <a:pt x="3052" y="1966"/>
                </a:lnTo>
                <a:lnTo>
                  <a:pt x="3048" y="1966"/>
                </a:lnTo>
                <a:lnTo>
                  <a:pt x="3038" y="1964"/>
                </a:lnTo>
                <a:lnTo>
                  <a:pt x="3027" y="1966"/>
                </a:lnTo>
                <a:lnTo>
                  <a:pt x="3021" y="1968"/>
                </a:lnTo>
                <a:lnTo>
                  <a:pt x="3016" y="1971"/>
                </a:lnTo>
                <a:lnTo>
                  <a:pt x="3010" y="1975"/>
                </a:lnTo>
                <a:lnTo>
                  <a:pt x="3006" y="1979"/>
                </a:lnTo>
                <a:lnTo>
                  <a:pt x="2997" y="1990"/>
                </a:lnTo>
                <a:lnTo>
                  <a:pt x="2993" y="1994"/>
                </a:lnTo>
                <a:lnTo>
                  <a:pt x="2989" y="2002"/>
                </a:lnTo>
                <a:lnTo>
                  <a:pt x="2983" y="2015"/>
                </a:lnTo>
                <a:lnTo>
                  <a:pt x="2978" y="2032"/>
                </a:lnTo>
                <a:lnTo>
                  <a:pt x="2978" y="2040"/>
                </a:lnTo>
                <a:lnTo>
                  <a:pt x="2976" y="2049"/>
                </a:lnTo>
                <a:lnTo>
                  <a:pt x="2978" y="2064"/>
                </a:lnTo>
                <a:lnTo>
                  <a:pt x="2980" y="2070"/>
                </a:lnTo>
                <a:lnTo>
                  <a:pt x="2980" y="2076"/>
                </a:lnTo>
                <a:lnTo>
                  <a:pt x="2987" y="2089"/>
                </a:lnTo>
                <a:lnTo>
                  <a:pt x="2993" y="2100"/>
                </a:lnTo>
                <a:lnTo>
                  <a:pt x="3002" y="2108"/>
                </a:lnTo>
                <a:lnTo>
                  <a:pt x="3006" y="2112"/>
                </a:lnTo>
                <a:lnTo>
                  <a:pt x="3012" y="2115"/>
                </a:lnTo>
                <a:lnTo>
                  <a:pt x="3023" y="2119"/>
                </a:lnTo>
                <a:lnTo>
                  <a:pt x="3029" y="2121"/>
                </a:lnTo>
                <a:lnTo>
                  <a:pt x="3035" y="2121"/>
                </a:lnTo>
                <a:lnTo>
                  <a:pt x="3048" y="2119"/>
                </a:lnTo>
                <a:lnTo>
                  <a:pt x="3059" y="2115"/>
                </a:lnTo>
                <a:lnTo>
                  <a:pt x="3065" y="2112"/>
                </a:lnTo>
                <a:lnTo>
                  <a:pt x="3071" y="2110"/>
                </a:lnTo>
                <a:lnTo>
                  <a:pt x="3080" y="2102"/>
                </a:lnTo>
                <a:lnTo>
                  <a:pt x="3091" y="2093"/>
                </a:lnTo>
                <a:lnTo>
                  <a:pt x="3099" y="2083"/>
                </a:lnTo>
                <a:lnTo>
                  <a:pt x="3107" y="2070"/>
                </a:lnTo>
                <a:lnTo>
                  <a:pt x="3114" y="2057"/>
                </a:lnTo>
                <a:lnTo>
                  <a:pt x="3120" y="2045"/>
                </a:lnTo>
                <a:lnTo>
                  <a:pt x="3124" y="2030"/>
                </a:lnTo>
                <a:lnTo>
                  <a:pt x="3129" y="2017"/>
                </a:lnTo>
                <a:lnTo>
                  <a:pt x="3133" y="2002"/>
                </a:lnTo>
                <a:lnTo>
                  <a:pt x="3135" y="1988"/>
                </a:lnTo>
                <a:lnTo>
                  <a:pt x="3137" y="1973"/>
                </a:lnTo>
                <a:lnTo>
                  <a:pt x="3137" y="1960"/>
                </a:lnTo>
                <a:lnTo>
                  <a:pt x="3137" y="1947"/>
                </a:lnTo>
                <a:lnTo>
                  <a:pt x="3139" y="1943"/>
                </a:lnTo>
                <a:lnTo>
                  <a:pt x="3141" y="1941"/>
                </a:lnTo>
                <a:lnTo>
                  <a:pt x="3146" y="1939"/>
                </a:lnTo>
                <a:lnTo>
                  <a:pt x="3150" y="1939"/>
                </a:lnTo>
                <a:lnTo>
                  <a:pt x="3158" y="1941"/>
                </a:lnTo>
                <a:lnTo>
                  <a:pt x="3162" y="1943"/>
                </a:lnTo>
                <a:lnTo>
                  <a:pt x="3165" y="1945"/>
                </a:lnTo>
                <a:lnTo>
                  <a:pt x="3169" y="1954"/>
                </a:lnTo>
                <a:lnTo>
                  <a:pt x="3171" y="1958"/>
                </a:lnTo>
                <a:lnTo>
                  <a:pt x="3171" y="1964"/>
                </a:lnTo>
                <a:lnTo>
                  <a:pt x="3171" y="1983"/>
                </a:lnTo>
                <a:lnTo>
                  <a:pt x="3169" y="2002"/>
                </a:lnTo>
                <a:lnTo>
                  <a:pt x="3165" y="2019"/>
                </a:lnTo>
                <a:lnTo>
                  <a:pt x="3160" y="2038"/>
                </a:lnTo>
                <a:lnTo>
                  <a:pt x="3154" y="2053"/>
                </a:lnTo>
                <a:lnTo>
                  <a:pt x="3148" y="2070"/>
                </a:lnTo>
                <a:lnTo>
                  <a:pt x="3141" y="2085"/>
                </a:lnTo>
                <a:lnTo>
                  <a:pt x="3131" y="2098"/>
                </a:lnTo>
                <a:lnTo>
                  <a:pt x="3122" y="2110"/>
                </a:lnTo>
                <a:lnTo>
                  <a:pt x="3118" y="2117"/>
                </a:lnTo>
                <a:lnTo>
                  <a:pt x="3112" y="2123"/>
                </a:lnTo>
                <a:lnTo>
                  <a:pt x="3101" y="2131"/>
                </a:lnTo>
                <a:lnTo>
                  <a:pt x="3088" y="2140"/>
                </a:lnTo>
                <a:lnTo>
                  <a:pt x="3076" y="2146"/>
                </a:lnTo>
                <a:lnTo>
                  <a:pt x="3063" y="2153"/>
                </a:lnTo>
                <a:lnTo>
                  <a:pt x="3048" y="2155"/>
                </a:lnTo>
                <a:lnTo>
                  <a:pt x="3033" y="2157"/>
                </a:lnTo>
                <a:close/>
                <a:moveTo>
                  <a:pt x="3264" y="2153"/>
                </a:moveTo>
                <a:lnTo>
                  <a:pt x="3260" y="2150"/>
                </a:lnTo>
                <a:lnTo>
                  <a:pt x="3251" y="2144"/>
                </a:lnTo>
                <a:lnTo>
                  <a:pt x="3234" y="2129"/>
                </a:lnTo>
                <a:lnTo>
                  <a:pt x="3213" y="2110"/>
                </a:lnTo>
                <a:lnTo>
                  <a:pt x="3196" y="2089"/>
                </a:lnTo>
                <a:lnTo>
                  <a:pt x="3188" y="2081"/>
                </a:lnTo>
                <a:lnTo>
                  <a:pt x="3184" y="2074"/>
                </a:lnTo>
                <a:lnTo>
                  <a:pt x="3179" y="2062"/>
                </a:lnTo>
                <a:lnTo>
                  <a:pt x="3177" y="2055"/>
                </a:lnTo>
                <a:lnTo>
                  <a:pt x="3177" y="2051"/>
                </a:lnTo>
                <a:lnTo>
                  <a:pt x="3177" y="2043"/>
                </a:lnTo>
                <a:lnTo>
                  <a:pt x="3179" y="2036"/>
                </a:lnTo>
                <a:lnTo>
                  <a:pt x="3184" y="2028"/>
                </a:lnTo>
                <a:lnTo>
                  <a:pt x="3188" y="2019"/>
                </a:lnTo>
                <a:lnTo>
                  <a:pt x="3201" y="2004"/>
                </a:lnTo>
                <a:lnTo>
                  <a:pt x="3218" y="1985"/>
                </a:lnTo>
                <a:lnTo>
                  <a:pt x="3260" y="1937"/>
                </a:lnTo>
                <a:lnTo>
                  <a:pt x="3266" y="1937"/>
                </a:lnTo>
                <a:lnTo>
                  <a:pt x="3273" y="1941"/>
                </a:lnTo>
                <a:lnTo>
                  <a:pt x="3277" y="1945"/>
                </a:lnTo>
                <a:lnTo>
                  <a:pt x="3281" y="1949"/>
                </a:lnTo>
                <a:lnTo>
                  <a:pt x="3283" y="1956"/>
                </a:lnTo>
                <a:lnTo>
                  <a:pt x="3281" y="1962"/>
                </a:lnTo>
                <a:lnTo>
                  <a:pt x="3279" y="1966"/>
                </a:lnTo>
                <a:lnTo>
                  <a:pt x="3277" y="1968"/>
                </a:lnTo>
                <a:lnTo>
                  <a:pt x="3247" y="2002"/>
                </a:lnTo>
                <a:lnTo>
                  <a:pt x="3230" y="2023"/>
                </a:lnTo>
                <a:lnTo>
                  <a:pt x="3218" y="2038"/>
                </a:lnTo>
                <a:lnTo>
                  <a:pt x="3213" y="2045"/>
                </a:lnTo>
                <a:lnTo>
                  <a:pt x="3213" y="2049"/>
                </a:lnTo>
                <a:lnTo>
                  <a:pt x="3215" y="2053"/>
                </a:lnTo>
                <a:lnTo>
                  <a:pt x="3218" y="2059"/>
                </a:lnTo>
                <a:lnTo>
                  <a:pt x="3228" y="2072"/>
                </a:lnTo>
                <a:lnTo>
                  <a:pt x="3245" y="2089"/>
                </a:lnTo>
                <a:lnTo>
                  <a:pt x="3264" y="2108"/>
                </a:lnTo>
                <a:lnTo>
                  <a:pt x="3283" y="2127"/>
                </a:lnTo>
                <a:lnTo>
                  <a:pt x="3285" y="2129"/>
                </a:lnTo>
                <a:lnTo>
                  <a:pt x="3285" y="2131"/>
                </a:lnTo>
                <a:lnTo>
                  <a:pt x="3285" y="2136"/>
                </a:lnTo>
                <a:lnTo>
                  <a:pt x="3283" y="2140"/>
                </a:lnTo>
                <a:lnTo>
                  <a:pt x="3279" y="2146"/>
                </a:lnTo>
                <a:lnTo>
                  <a:pt x="3273" y="2150"/>
                </a:lnTo>
                <a:lnTo>
                  <a:pt x="3268" y="2153"/>
                </a:lnTo>
                <a:lnTo>
                  <a:pt x="3264" y="2153"/>
                </a:lnTo>
                <a:close/>
                <a:moveTo>
                  <a:pt x="1198" y="991"/>
                </a:moveTo>
                <a:lnTo>
                  <a:pt x="1190" y="991"/>
                </a:lnTo>
                <a:lnTo>
                  <a:pt x="1181" y="988"/>
                </a:lnTo>
                <a:lnTo>
                  <a:pt x="1173" y="986"/>
                </a:lnTo>
                <a:lnTo>
                  <a:pt x="1164" y="982"/>
                </a:lnTo>
                <a:lnTo>
                  <a:pt x="1156" y="978"/>
                </a:lnTo>
                <a:lnTo>
                  <a:pt x="1147" y="972"/>
                </a:lnTo>
                <a:lnTo>
                  <a:pt x="1141" y="965"/>
                </a:lnTo>
                <a:lnTo>
                  <a:pt x="1135" y="959"/>
                </a:lnTo>
                <a:lnTo>
                  <a:pt x="1128" y="952"/>
                </a:lnTo>
                <a:lnTo>
                  <a:pt x="1124" y="944"/>
                </a:lnTo>
                <a:lnTo>
                  <a:pt x="1116" y="925"/>
                </a:lnTo>
                <a:lnTo>
                  <a:pt x="1111" y="917"/>
                </a:lnTo>
                <a:lnTo>
                  <a:pt x="1109" y="906"/>
                </a:lnTo>
                <a:lnTo>
                  <a:pt x="1109" y="895"/>
                </a:lnTo>
                <a:lnTo>
                  <a:pt x="1109" y="885"/>
                </a:lnTo>
                <a:lnTo>
                  <a:pt x="1109" y="872"/>
                </a:lnTo>
                <a:lnTo>
                  <a:pt x="1109" y="861"/>
                </a:lnTo>
                <a:lnTo>
                  <a:pt x="1113" y="851"/>
                </a:lnTo>
                <a:lnTo>
                  <a:pt x="1116" y="840"/>
                </a:lnTo>
                <a:lnTo>
                  <a:pt x="1120" y="830"/>
                </a:lnTo>
                <a:lnTo>
                  <a:pt x="1124" y="821"/>
                </a:lnTo>
                <a:lnTo>
                  <a:pt x="1130" y="811"/>
                </a:lnTo>
                <a:lnTo>
                  <a:pt x="1137" y="802"/>
                </a:lnTo>
                <a:lnTo>
                  <a:pt x="1143" y="796"/>
                </a:lnTo>
                <a:lnTo>
                  <a:pt x="1149" y="790"/>
                </a:lnTo>
                <a:lnTo>
                  <a:pt x="1158" y="783"/>
                </a:lnTo>
                <a:lnTo>
                  <a:pt x="1166" y="777"/>
                </a:lnTo>
                <a:lnTo>
                  <a:pt x="1175" y="773"/>
                </a:lnTo>
                <a:lnTo>
                  <a:pt x="1185" y="770"/>
                </a:lnTo>
                <a:lnTo>
                  <a:pt x="1194" y="768"/>
                </a:lnTo>
                <a:lnTo>
                  <a:pt x="1204" y="768"/>
                </a:lnTo>
                <a:lnTo>
                  <a:pt x="1217" y="768"/>
                </a:lnTo>
                <a:lnTo>
                  <a:pt x="1221" y="770"/>
                </a:lnTo>
                <a:lnTo>
                  <a:pt x="1228" y="773"/>
                </a:lnTo>
                <a:lnTo>
                  <a:pt x="1236" y="777"/>
                </a:lnTo>
                <a:lnTo>
                  <a:pt x="1245" y="785"/>
                </a:lnTo>
                <a:lnTo>
                  <a:pt x="1251" y="792"/>
                </a:lnTo>
                <a:lnTo>
                  <a:pt x="1255" y="802"/>
                </a:lnTo>
                <a:lnTo>
                  <a:pt x="1257" y="813"/>
                </a:lnTo>
                <a:lnTo>
                  <a:pt x="1257" y="825"/>
                </a:lnTo>
                <a:lnTo>
                  <a:pt x="1257" y="832"/>
                </a:lnTo>
                <a:lnTo>
                  <a:pt x="1257" y="840"/>
                </a:lnTo>
                <a:lnTo>
                  <a:pt x="1253" y="847"/>
                </a:lnTo>
                <a:lnTo>
                  <a:pt x="1251" y="855"/>
                </a:lnTo>
                <a:lnTo>
                  <a:pt x="1247" y="861"/>
                </a:lnTo>
                <a:lnTo>
                  <a:pt x="1243" y="868"/>
                </a:lnTo>
                <a:lnTo>
                  <a:pt x="1232" y="878"/>
                </a:lnTo>
                <a:lnTo>
                  <a:pt x="1226" y="885"/>
                </a:lnTo>
                <a:lnTo>
                  <a:pt x="1219" y="889"/>
                </a:lnTo>
                <a:lnTo>
                  <a:pt x="1207" y="895"/>
                </a:lnTo>
                <a:lnTo>
                  <a:pt x="1198" y="900"/>
                </a:lnTo>
                <a:lnTo>
                  <a:pt x="1192" y="902"/>
                </a:lnTo>
                <a:lnTo>
                  <a:pt x="1177" y="902"/>
                </a:lnTo>
                <a:lnTo>
                  <a:pt x="1171" y="902"/>
                </a:lnTo>
                <a:lnTo>
                  <a:pt x="1166" y="900"/>
                </a:lnTo>
                <a:lnTo>
                  <a:pt x="1164" y="897"/>
                </a:lnTo>
                <a:lnTo>
                  <a:pt x="1162" y="893"/>
                </a:lnTo>
                <a:lnTo>
                  <a:pt x="1162" y="891"/>
                </a:lnTo>
                <a:lnTo>
                  <a:pt x="1160" y="883"/>
                </a:lnTo>
                <a:lnTo>
                  <a:pt x="1160" y="876"/>
                </a:lnTo>
                <a:lnTo>
                  <a:pt x="1162" y="874"/>
                </a:lnTo>
                <a:lnTo>
                  <a:pt x="1164" y="874"/>
                </a:lnTo>
                <a:lnTo>
                  <a:pt x="1177" y="870"/>
                </a:lnTo>
                <a:lnTo>
                  <a:pt x="1190" y="866"/>
                </a:lnTo>
                <a:lnTo>
                  <a:pt x="1200" y="859"/>
                </a:lnTo>
                <a:lnTo>
                  <a:pt x="1209" y="853"/>
                </a:lnTo>
                <a:lnTo>
                  <a:pt x="1217" y="845"/>
                </a:lnTo>
                <a:lnTo>
                  <a:pt x="1219" y="842"/>
                </a:lnTo>
                <a:lnTo>
                  <a:pt x="1221" y="838"/>
                </a:lnTo>
                <a:lnTo>
                  <a:pt x="1226" y="830"/>
                </a:lnTo>
                <a:lnTo>
                  <a:pt x="1226" y="821"/>
                </a:lnTo>
                <a:lnTo>
                  <a:pt x="1226" y="815"/>
                </a:lnTo>
                <a:lnTo>
                  <a:pt x="1226" y="811"/>
                </a:lnTo>
                <a:lnTo>
                  <a:pt x="1224" y="806"/>
                </a:lnTo>
                <a:lnTo>
                  <a:pt x="1219" y="804"/>
                </a:lnTo>
                <a:lnTo>
                  <a:pt x="1217" y="802"/>
                </a:lnTo>
                <a:lnTo>
                  <a:pt x="1213" y="800"/>
                </a:lnTo>
                <a:lnTo>
                  <a:pt x="1202" y="798"/>
                </a:lnTo>
                <a:lnTo>
                  <a:pt x="1192" y="800"/>
                </a:lnTo>
                <a:lnTo>
                  <a:pt x="1185" y="802"/>
                </a:lnTo>
                <a:lnTo>
                  <a:pt x="1181" y="804"/>
                </a:lnTo>
                <a:lnTo>
                  <a:pt x="1175" y="809"/>
                </a:lnTo>
                <a:lnTo>
                  <a:pt x="1171" y="813"/>
                </a:lnTo>
                <a:lnTo>
                  <a:pt x="1162" y="823"/>
                </a:lnTo>
                <a:lnTo>
                  <a:pt x="1158" y="830"/>
                </a:lnTo>
                <a:lnTo>
                  <a:pt x="1154" y="836"/>
                </a:lnTo>
                <a:lnTo>
                  <a:pt x="1147" y="849"/>
                </a:lnTo>
                <a:lnTo>
                  <a:pt x="1143" y="866"/>
                </a:lnTo>
                <a:lnTo>
                  <a:pt x="1143" y="874"/>
                </a:lnTo>
                <a:lnTo>
                  <a:pt x="1141" y="883"/>
                </a:lnTo>
                <a:lnTo>
                  <a:pt x="1143" y="897"/>
                </a:lnTo>
                <a:lnTo>
                  <a:pt x="1145" y="904"/>
                </a:lnTo>
                <a:lnTo>
                  <a:pt x="1145" y="912"/>
                </a:lnTo>
                <a:lnTo>
                  <a:pt x="1152" y="923"/>
                </a:lnTo>
                <a:lnTo>
                  <a:pt x="1158" y="933"/>
                </a:lnTo>
                <a:lnTo>
                  <a:pt x="1166" y="942"/>
                </a:lnTo>
                <a:lnTo>
                  <a:pt x="1171" y="946"/>
                </a:lnTo>
                <a:lnTo>
                  <a:pt x="1177" y="948"/>
                </a:lnTo>
                <a:lnTo>
                  <a:pt x="1188" y="952"/>
                </a:lnTo>
                <a:lnTo>
                  <a:pt x="1194" y="955"/>
                </a:lnTo>
                <a:lnTo>
                  <a:pt x="1200" y="955"/>
                </a:lnTo>
                <a:lnTo>
                  <a:pt x="1213" y="952"/>
                </a:lnTo>
                <a:lnTo>
                  <a:pt x="1224" y="950"/>
                </a:lnTo>
                <a:lnTo>
                  <a:pt x="1230" y="946"/>
                </a:lnTo>
                <a:lnTo>
                  <a:pt x="1236" y="944"/>
                </a:lnTo>
                <a:lnTo>
                  <a:pt x="1245" y="936"/>
                </a:lnTo>
                <a:lnTo>
                  <a:pt x="1255" y="927"/>
                </a:lnTo>
                <a:lnTo>
                  <a:pt x="1264" y="917"/>
                </a:lnTo>
                <a:lnTo>
                  <a:pt x="1272" y="906"/>
                </a:lnTo>
                <a:lnTo>
                  <a:pt x="1279" y="893"/>
                </a:lnTo>
                <a:lnTo>
                  <a:pt x="1285" y="878"/>
                </a:lnTo>
                <a:lnTo>
                  <a:pt x="1289" y="864"/>
                </a:lnTo>
                <a:lnTo>
                  <a:pt x="1293" y="851"/>
                </a:lnTo>
                <a:lnTo>
                  <a:pt x="1298" y="836"/>
                </a:lnTo>
                <a:lnTo>
                  <a:pt x="1300" y="821"/>
                </a:lnTo>
                <a:lnTo>
                  <a:pt x="1302" y="806"/>
                </a:lnTo>
                <a:lnTo>
                  <a:pt x="1302" y="794"/>
                </a:lnTo>
                <a:lnTo>
                  <a:pt x="1302" y="781"/>
                </a:lnTo>
                <a:lnTo>
                  <a:pt x="1304" y="777"/>
                </a:lnTo>
                <a:lnTo>
                  <a:pt x="1306" y="775"/>
                </a:lnTo>
                <a:lnTo>
                  <a:pt x="1310" y="775"/>
                </a:lnTo>
                <a:lnTo>
                  <a:pt x="1315" y="773"/>
                </a:lnTo>
                <a:lnTo>
                  <a:pt x="1323" y="775"/>
                </a:lnTo>
                <a:lnTo>
                  <a:pt x="1327" y="777"/>
                </a:lnTo>
                <a:lnTo>
                  <a:pt x="1329" y="779"/>
                </a:lnTo>
                <a:lnTo>
                  <a:pt x="1334" y="787"/>
                </a:lnTo>
                <a:lnTo>
                  <a:pt x="1336" y="792"/>
                </a:lnTo>
                <a:lnTo>
                  <a:pt x="1336" y="800"/>
                </a:lnTo>
                <a:lnTo>
                  <a:pt x="1336" y="817"/>
                </a:lnTo>
                <a:lnTo>
                  <a:pt x="1334" y="836"/>
                </a:lnTo>
                <a:lnTo>
                  <a:pt x="1329" y="855"/>
                </a:lnTo>
                <a:lnTo>
                  <a:pt x="1325" y="872"/>
                </a:lnTo>
                <a:lnTo>
                  <a:pt x="1319" y="889"/>
                </a:lnTo>
                <a:lnTo>
                  <a:pt x="1312" y="904"/>
                </a:lnTo>
                <a:lnTo>
                  <a:pt x="1304" y="919"/>
                </a:lnTo>
                <a:lnTo>
                  <a:pt x="1295" y="933"/>
                </a:lnTo>
                <a:lnTo>
                  <a:pt x="1287" y="944"/>
                </a:lnTo>
                <a:lnTo>
                  <a:pt x="1283" y="950"/>
                </a:lnTo>
                <a:lnTo>
                  <a:pt x="1276" y="957"/>
                </a:lnTo>
                <a:lnTo>
                  <a:pt x="1266" y="965"/>
                </a:lnTo>
                <a:lnTo>
                  <a:pt x="1253" y="974"/>
                </a:lnTo>
                <a:lnTo>
                  <a:pt x="1240" y="982"/>
                </a:lnTo>
                <a:lnTo>
                  <a:pt x="1228" y="986"/>
                </a:lnTo>
                <a:lnTo>
                  <a:pt x="1213" y="988"/>
                </a:lnTo>
                <a:lnTo>
                  <a:pt x="1198" y="991"/>
                </a:lnTo>
                <a:close/>
                <a:moveTo>
                  <a:pt x="1429" y="986"/>
                </a:moveTo>
                <a:lnTo>
                  <a:pt x="1425" y="984"/>
                </a:lnTo>
                <a:lnTo>
                  <a:pt x="1416" y="978"/>
                </a:lnTo>
                <a:lnTo>
                  <a:pt x="1399" y="963"/>
                </a:lnTo>
                <a:lnTo>
                  <a:pt x="1378" y="944"/>
                </a:lnTo>
                <a:lnTo>
                  <a:pt x="1361" y="923"/>
                </a:lnTo>
                <a:lnTo>
                  <a:pt x="1353" y="914"/>
                </a:lnTo>
                <a:lnTo>
                  <a:pt x="1348" y="908"/>
                </a:lnTo>
                <a:lnTo>
                  <a:pt x="1344" y="895"/>
                </a:lnTo>
                <a:lnTo>
                  <a:pt x="1342" y="889"/>
                </a:lnTo>
                <a:lnTo>
                  <a:pt x="1342" y="885"/>
                </a:lnTo>
                <a:lnTo>
                  <a:pt x="1342" y="876"/>
                </a:lnTo>
                <a:lnTo>
                  <a:pt x="1344" y="870"/>
                </a:lnTo>
                <a:lnTo>
                  <a:pt x="1348" y="861"/>
                </a:lnTo>
                <a:lnTo>
                  <a:pt x="1353" y="855"/>
                </a:lnTo>
                <a:lnTo>
                  <a:pt x="1365" y="840"/>
                </a:lnTo>
                <a:lnTo>
                  <a:pt x="1382" y="819"/>
                </a:lnTo>
                <a:lnTo>
                  <a:pt x="1425" y="770"/>
                </a:lnTo>
                <a:lnTo>
                  <a:pt x="1431" y="773"/>
                </a:lnTo>
                <a:lnTo>
                  <a:pt x="1437" y="775"/>
                </a:lnTo>
                <a:lnTo>
                  <a:pt x="1442" y="779"/>
                </a:lnTo>
                <a:lnTo>
                  <a:pt x="1446" y="783"/>
                </a:lnTo>
                <a:lnTo>
                  <a:pt x="1448" y="790"/>
                </a:lnTo>
                <a:lnTo>
                  <a:pt x="1446" y="796"/>
                </a:lnTo>
                <a:lnTo>
                  <a:pt x="1444" y="800"/>
                </a:lnTo>
                <a:lnTo>
                  <a:pt x="1442" y="802"/>
                </a:lnTo>
                <a:lnTo>
                  <a:pt x="1412" y="838"/>
                </a:lnTo>
                <a:lnTo>
                  <a:pt x="1395" y="857"/>
                </a:lnTo>
                <a:lnTo>
                  <a:pt x="1382" y="874"/>
                </a:lnTo>
                <a:lnTo>
                  <a:pt x="1378" y="878"/>
                </a:lnTo>
                <a:lnTo>
                  <a:pt x="1378" y="883"/>
                </a:lnTo>
                <a:lnTo>
                  <a:pt x="1378" y="887"/>
                </a:lnTo>
                <a:lnTo>
                  <a:pt x="1382" y="893"/>
                </a:lnTo>
                <a:lnTo>
                  <a:pt x="1393" y="906"/>
                </a:lnTo>
                <a:lnTo>
                  <a:pt x="1410" y="923"/>
                </a:lnTo>
                <a:lnTo>
                  <a:pt x="1429" y="942"/>
                </a:lnTo>
                <a:lnTo>
                  <a:pt x="1448" y="961"/>
                </a:lnTo>
                <a:lnTo>
                  <a:pt x="1450" y="963"/>
                </a:lnTo>
                <a:lnTo>
                  <a:pt x="1450" y="967"/>
                </a:lnTo>
                <a:lnTo>
                  <a:pt x="1450" y="969"/>
                </a:lnTo>
                <a:lnTo>
                  <a:pt x="1448" y="974"/>
                </a:lnTo>
                <a:lnTo>
                  <a:pt x="1444" y="980"/>
                </a:lnTo>
                <a:lnTo>
                  <a:pt x="1437" y="984"/>
                </a:lnTo>
                <a:lnTo>
                  <a:pt x="1433" y="986"/>
                </a:lnTo>
                <a:lnTo>
                  <a:pt x="1429" y="986"/>
                </a:lnTo>
                <a:close/>
                <a:moveTo>
                  <a:pt x="1198" y="1581"/>
                </a:moveTo>
                <a:lnTo>
                  <a:pt x="1190" y="1581"/>
                </a:lnTo>
                <a:lnTo>
                  <a:pt x="1181" y="1579"/>
                </a:lnTo>
                <a:lnTo>
                  <a:pt x="1173" y="1577"/>
                </a:lnTo>
                <a:lnTo>
                  <a:pt x="1164" y="1573"/>
                </a:lnTo>
                <a:lnTo>
                  <a:pt x="1156" y="1568"/>
                </a:lnTo>
                <a:lnTo>
                  <a:pt x="1147" y="1564"/>
                </a:lnTo>
                <a:lnTo>
                  <a:pt x="1141" y="1558"/>
                </a:lnTo>
                <a:lnTo>
                  <a:pt x="1135" y="1551"/>
                </a:lnTo>
                <a:lnTo>
                  <a:pt x="1128" y="1543"/>
                </a:lnTo>
                <a:lnTo>
                  <a:pt x="1124" y="1535"/>
                </a:lnTo>
                <a:lnTo>
                  <a:pt x="1116" y="1518"/>
                </a:lnTo>
                <a:lnTo>
                  <a:pt x="1111" y="1507"/>
                </a:lnTo>
                <a:lnTo>
                  <a:pt x="1109" y="1496"/>
                </a:lnTo>
                <a:lnTo>
                  <a:pt x="1109" y="1486"/>
                </a:lnTo>
                <a:lnTo>
                  <a:pt x="1109" y="1475"/>
                </a:lnTo>
                <a:lnTo>
                  <a:pt x="1109" y="1465"/>
                </a:lnTo>
                <a:lnTo>
                  <a:pt x="1109" y="1454"/>
                </a:lnTo>
                <a:lnTo>
                  <a:pt x="1113" y="1444"/>
                </a:lnTo>
                <a:lnTo>
                  <a:pt x="1116" y="1433"/>
                </a:lnTo>
                <a:lnTo>
                  <a:pt x="1120" y="1422"/>
                </a:lnTo>
                <a:lnTo>
                  <a:pt x="1124" y="1412"/>
                </a:lnTo>
                <a:lnTo>
                  <a:pt x="1130" y="1403"/>
                </a:lnTo>
                <a:lnTo>
                  <a:pt x="1137" y="1395"/>
                </a:lnTo>
                <a:lnTo>
                  <a:pt x="1143" y="1386"/>
                </a:lnTo>
                <a:lnTo>
                  <a:pt x="1149" y="1380"/>
                </a:lnTo>
                <a:lnTo>
                  <a:pt x="1158" y="1374"/>
                </a:lnTo>
                <a:lnTo>
                  <a:pt x="1166" y="1369"/>
                </a:lnTo>
                <a:lnTo>
                  <a:pt x="1175" y="1365"/>
                </a:lnTo>
                <a:lnTo>
                  <a:pt x="1185" y="1361"/>
                </a:lnTo>
                <a:lnTo>
                  <a:pt x="1194" y="1361"/>
                </a:lnTo>
                <a:lnTo>
                  <a:pt x="1204" y="1359"/>
                </a:lnTo>
                <a:lnTo>
                  <a:pt x="1217" y="1361"/>
                </a:lnTo>
                <a:lnTo>
                  <a:pt x="1221" y="1361"/>
                </a:lnTo>
                <a:lnTo>
                  <a:pt x="1228" y="1363"/>
                </a:lnTo>
                <a:lnTo>
                  <a:pt x="1236" y="1369"/>
                </a:lnTo>
                <a:lnTo>
                  <a:pt x="1245" y="1376"/>
                </a:lnTo>
                <a:lnTo>
                  <a:pt x="1251" y="1384"/>
                </a:lnTo>
                <a:lnTo>
                  <a:pt x="1255" y="1395"/>
                </a:lnTo>
                <a:lnTo>
                  <a:pt x="1257" y="1405"/>
                </a:lnTo>
                <a:lnTo>
                  <a:pt x="1257" y="1416"/>
                </a:lnTo>
                <a:lnTo>
                  <a:pt x="1257" y="1424"/>
                </a:lnTo>
                <a:lnTo>
                  <a:pt x="1257" y="1431"/>
                </a:lnTo>
                <a:lnTo>
                  <a:pt x="1253" y="1439"/>
                </a:lnTo>
                <a:lnTo>
                  <a:pt x="1251" y="1446"/>
                </a:lnTo>
                <a:lnTo>
                  <a:pt x="1247" y="1452"/>
                </a:lnTo>
                <a:lnTo>
                  <a:pt x="1243" y="1458"/>
                </a:lnTo>
                <a:lnTo>
                  <a:pt x="1232" y="1471"/>
                </a:lnTo>
                <a:lnTo>
                  <a:pt x="1226" y="1475"/>
                </a:lnTo>
                <a:lnTo>
                  <a:pt x="1219" y="1480"/>
                </a:lnTo>
                <a:lnTo>
                  <a:pt x="1207" y="1488"/>
                </a:lnTo>
                <a:lnTo>
                  <a:pt x="1198" y="1490"/>
                </a:lnTo>
                <a:lnTo>
                  <a:pt x="1192" y="1492"/>
                </a:lnTo>
                <a:lnTo>
                  <a:pt x="1177" y="1494"/>
                </a:lnTo>
                <a:lnTo>
                  <a:pt x="1171" y="1492"/>
                </a:lnTo>
                <a:lnTo>
                  <a:pt x="1166" y="1490"/>
                </a:lnTo>
                <a:lnTo>
                  <a:pt x="1164" y="1488"/>
                </a:lnTo>
                <a:lnTo>
                  <a:pt x="1162" y="1486"/>
                </a:lnTo>
                <a:lnTo>
                  <a:pt x="1162" y="1482"/>
                </a:lnTo>
                <a:lnTo>
                  <a:pt x="1160" y="1475"/>
                </a:lnTo>
                <a:lnTo>
                  <a:pt x="1160" y="1469"/>
                </a:lnTo>
                <a:lnTo>
                  <a:pt x="1162" y="1467"/>
                </a:lnTo>
                <a:lnTo>
                  <a:pt x="1164" y="1465"/>
                </a:lnTo>
                <a:lnTo>
                  <a:pt x="1177" y="1463"/>
                </a:lnTo>
                <a:lnTo>
                  <a:pt x="1190" y="1458"/>
                </a:lnTo>
                <a:lnTo>
                  <a:pt x="1200" y="1452"/>
                </a:lnTo>
                <a:lnTo>
                  <a:pt x="1209" y="1446"/>
                </a:lnTo>
                <a:lnTo>
                  <a:pt x="1217" y="1437"/>
                </a:lnTo>
                <a:lnTo>
                  <a:pt x="1219" y="1433"/>
                </a:lnTo>
                <a:lnTo>
                  <a:pt x="1221" y="1429"/>
                </a:lnTo>
                <a:lnTo>
                  <a:pt x="1226" y="1420"/>
                </a:lnTo>
                <a:lnTo>
                  <a:pt x="1226" y="1412"/>
                </a:lnTo>
                <a:lnTo>
                  <a:pt x="1226" y="1408"/>
                </a:lnTo>
                <a:lnTo>
                  <a:pt x="1226" y="1403"/>
                </a:lnTo>
                <a:lnTo>
                  <a:pt x="1224" y="1399"/>
                </a:lnTo>
                <a:lnTo>
                  <a:pt x="1219" y="1395"/>
                </a:lnTo>
                <a:lnTo>
                  <a:pt x="1217" y="1393"/>
                </a:lnTo>
                <a:lnTo>
                  <a:pt x="1213" y="1391"/>
                </a:lnTo>
                <a:lnTo>
                  <a:pt x="1202" y="1391"/>
                </a:lnTo>
                <a:lnTo>
                  <a:pt x="1192" y="1391"/>
                </a:lnTo>
                <a:lnTo>
                  <a:pt x="1185" y="1393"/>
                </a:lnTo>
                <a:lnTo>
                  <a:pt x="1181" y="1397"/>
                </a:lnTo>
                <a:lnTo>
                  <a:pt x="1175" y="1399"/>
                </a:lnTo>
                <a:lnTo>
                  <a:pt x="1171" y="1403"/>
                </a:lnTo>
                <a:lnTo>
                  <a:pt x="1162" y="1414"/>
                </a:lnTo>
                <a:lnTo>
                  <a:pt x="1158" y="1420"/>
                </a:lnTo>
                <a:lnTo>
                  <a:pt x="1154" y="1427"/>
                </a:lnTo>
                <a:lnTo>
                  <a:pt x="1147" y="1441"/>
                </a:lnTo>
                <a:lnTo>
                  <a:pt x="1143" y="1456"/>
                </a:lnTo>
                <a:lnTo>
                  <a:pt x="1143" y="1465"/>
                </a:lnTo>
                <a:lnTo>
                  <a:pt x="1141" y="1473"/>
                </a:lnTo>
                <a:lnTo>
                  <a:pt x="1143" y="1490"/>
                </a:lnTo>
                <a:lnTo>
                  <a:pt x="1145" y="1496"/>
                </a:lnTo>
                <a:lnTo>
                  <a:pt x="1145" y="1503"/>
                </a:lnTo>
                <a:lnTo>
                  <a:pt x="1152" y="1516"/>
                </a:lnTo>
                <a:lnTo>
                  <a:pt x="1158" y="1526"/>
                </a:lnTo>
                <a:lnTo>
                  <a:pt x="1166" y="1535"/>
                </a:lnTo>
                <a:lnTo>
                  <a:pt x="1171" y="1537"/>
                </a:lnTo>
                <a:lnTo>
                  <a:pt x="1177" y="1541"/>
                </a:lnTo>
                <a:lnTo>
                  <a:pt x="1188" y="1545"/>
                </a:lnTo>
                <a:lnTo>
                  <a:pt x="1194" y="1545"/>
                </a:lnTo>
                <a:lnTo>
                  <a:pt x="1200" y="1545"/>
                </a:lnTo>
                <a:lnTo>
                  <a:pt x="1213" y="1545"/>
                </a:lnTo>
                <a:lnTo>
                  <a:pt x="1224" y="1541"/>
                </a:lnTo>
                <a:lnTo>
                  <a:pt x="1230" y="1539"/>
                </a:lnTo>
                <a:lnTo>
                  <a:pt x="1236" y="1535"/>
                </a:lnTo>
                <a:lnTo>
                  <a:pt x="1245" y="1528"/>
                </a:lnTo>
                <a:lnTo>
                  <a:pt x="1255" y="1520"/>
                </a:lnTo>
                <a:lnTo>
                  <a:pt x="1264" y="1509"/>
                </a:lnTo>
                <a:lnTo>
                  <a:pt x="1272" y="1496"/>
                </a:lnTo>
                <a:lnTo>
                  <a:pt x="1279" y="1484"/>
                </a:lnTo>
                <a:lnTo>
                  <a:pt x="1285" y="1471"/>
                </a:lnTo>
                <a:lnTo>
                  <a:pt x="1289" y="1456"/>
                </a:lnTo>
                <a:lnTo>
                  <a:pt x="1293" y="1441"/>
                </a:lnTo>
                <a:lnTo>
                  <a:pt x="1298" y="1427"/>
                </a:lnTo>
                <a:lnTo>
                  <a:pt x="1300" y="1412"/>
                </a:lnTo>
                <a:lnTo>
                  <a:pt x="1302" y="1399"/>
                </a:lnTo>
                <a:lnTo>
                  <a:pt x="1302" y="1384"/>
                </a:lnTo>
                <a:lnTo>
                  <a:pt x="1302" y="1372"/>
                </a:lnTo>
                <a:lnTo>
                  <a:pt x="1304" y="1369"/>
                </a:lnTo>
                <a:lnTo>
                  <a:pt x="1306" y="1367"/>
                </a:lnTo>
                <a:lnTo>
                  <a:pt x="1310" y="1365"/>
                </a:lnTo>
                <a:lnTo>
                  <a:pt x="1315" y="1365"/>
                </a:lnTo>
                <a:lnTo>
                  <a:pt x="1323" y="1365"/>
                </a:lnTo>
                <a:lnTo>
                  <a:pt x="1327" y="1367"/>
                </a:lnTo>
                <a:lnTo>
                  <a:pt x="1329" y="1369"/>
                </a:lnTo>
                <a:lnTo>
                  <a:pt x="1334" y="1378"/>
                </a:lnTo>
                <a:lnTo>
                  <a:pt x="1336" y="1384"/>
                </a:lnTo>
                <a:lnTo>
                  <a:pt x="1336" y="1391"/>
                </a:lnTo>
                <a:lnTo>
                  <a:pt x="1336" y="1410"/>
                </a:lnTo>
                <a:lnTo>
                  <a:pt x="1334" y="1429"/>
                </a:lnTo>
                <a:lnTo>
                  <a:pt x="1329" y="1446"/>
                </a:lnTo>
                <a:lnTo>
                  <a:pt x="1325" y="1463"/>
                </a:lnTo>
                <a:lnTo>
                  <a:pt x="1319" y="1480"/>
                </a:lnTo>
                <a:lnTo>
                  <a:pt x="1312" y="1496"/>
                </a:lnTo>
                <a:lnTo>
                  <a:pt x="1304" y="1511"/>
                </a:lnTo>
                <a:lnTo>
                  <a:pt x="1295" y="1524"/>
                </a:lnTo>
                <a:lnTo>
                  <a:pt x="1287" y="1537"/>
                </a:lnTo>
                <a:lnTo>
                  <a:pt x="1283" y="1543"/>
                </a:lnTo>
                <a:lnTo>
                  <a:pt x="1276" y="1547"/>
                </a:lnTo>
                <a:lnTo>
                  <a:pt x="1266" y="1558"/>
                </a:lnTo>
                <a:lnTo>
                  <a:pt x="1253" y="1566"/>
                </a:lnTo>
                <a:lnTo>
                  <a:pt x="1240" y="1573"/>
                </a:lnTo>
                <a:lnTo>
                  <a:pt x="1228" y="1577"/>
                </a:lnTo>
                <a:lnTo>
                  <a:pt x="1213" y="1581"/>
                </a:lnTo>
                <a:lnTo>
                  <a:pt x="1198" y="1581"/>
                </a:lnTo>
                <a:close/>
                <a:moveTo>
                  <a:pt x="1429" y="1579"/>
                </a:moveTo>
                <a:lnTo>
                  <a:pt x="1425" y="1577"/>
                </a:lnTo>
                <a:lnTo>
                  <a:pt x="1416" y="1571"/>
                </a:lnTo>
                <a:lnTo>
                  <a:pt x="1399" y="1556"/>
                </a:lnTo>
                <a:lnTo>
                  <a:pt x="1378" y="1535"/>
                </a:lnTo>
                <a:lnTo>
                  <a:pt x="1361" y="1516"/>
                </a:lnTo>
                <a:lnTo>
                  <a:pt x="1353" y="1507"/>
                </a:lnTo>
                <a:lnTo>
                  <a:pt x="1348" y="1501"/>
                </a:lnTo>
                <a:lnTo>
                  <a:pt x="1344" y="1488"/>
                </a:lnTo>
                <a:lnTo>
                  <a:pt x="1342" y="1482"/>
                </a:lnTo>
                <a:lnTo>
                  <a:pt x="1342" y="1475"/>
                </a:lnTo>
                <a:lnTo>
                  <a:pt x="1342" y="1469"/>
                </a:lnTo>
                <a:lnTo>
                  <a:pt x="1344" y="1463"/>
                </a:lnTo>
                <a:lnTo>
                  <a:pt x="1348" y="1454"/>
                </a:lnTo>
                <a:lnTo>
                  <a:pt x="1353" y="1446"/>
                </a:lnTo>
                <a:lnTo>
                  <a:pt x="1365" y="1431"/>
                </a:lnTo>
                <a:lnTo>
                  <a:pt x="1382" y="1410"/>
                </a:lnTo>
                <a:lnTo>
                  <a:pt x="1425" y="1363"/>
                </a:lnTo>
                <a:lnTo>
                  <a:pt x="1431" y="1363"/>
                </a:lnTo>
                <a:lnTo>
                  <a:pt x="1437" y="1365"/>
                </a:lnTo>
                <a:lnTo>
                  <a:pt x="1442" y="1369"/>
                </a:lnTo>
                <a:lnTo>
                  <a:pt x="1446" y="1376"/>
                </a:lnTo>
                <a:lnTo>
                  <a:pt x="1448" y="1382"/>
                </a:lnTo>
                <a:lnTo>
                  <a:pt x="1446" y="1389"/>
                </a:lnTo>
                <a:lnTo>
                  <a:pt x="1444" y="1391"/>
                </a:lnTo>
                <a:lnTo>
                  <a:pt x="1442" y="1395"/>
                </a:lnTo>
                <a:lnTo>
                  <a:pt x="1412" y="1429"/>
                </a:lnTo>
                <a:lnTo>
                  <a:pt x="1395" y="1450"/>
                </a:lnTo>
                <a:lnTo>
                  <a:pt x="1382" y="1465"/>
                </a:lnTo>
                <a:lnTo>
                  <a:pt x="1378" y="1469"/>
                </a:lnTo>
                <a:lnTo>
                  <a:pt x="1378" y="1473"/>
                </a:lnTo>
                <a:lnTo>
                  <a:pt x="1378" y="1480"/>
                </a:lnTo>
                <a:lnTo>
                  <a:pt x="1382" y="1484"/>
                </a:lnTo>
                <a:lnTo>
                  <a:pt x="1393" y="1496"/>
                </a:lnTo>
                <a:lnTo>
                  <a:pt x="1410" y="1516"/>
                </a:lnTo>
                <a:lnTo>
                  <a:pt x="1429" y="1535"/>
                </a:lnTo>
                <a:lnTo>
                  <a:pt x="1448" y="1551"/>
                </a:lnTo>
                <a:lnTo>
                  <a:pt x="1450" y="1556"/>
                </a:lnTo>
                <a:lnTo>
                  <a:pt x="1450" y="1558"/>
                </a:lnTo>
                <a:lnTo>
                  <a:pt x="1450" y="1562"/>
                </a:lnTo>
                <a:lnTo>
                  <a:pt x="1448" y="1564"/>
                </a:lnTo>
                <a:lnTo>
                  <a:pt x="1444" y="1571"/>
                </a:lnTo>
                <a:lnTo>
                  <a:pt x="1437" y="1577"/>
                </a:lnTo>
                <a:lnTo>
                  <a:pt x="1433" y="1577"/>
                </a:lnTo>
                <a:lnTo>
                  <a:pt x="1429" y="1579"/>
                </a:lnTo>
                <a:close/>
                <a:moveTo>
                  <a:pt x="1198" y="2157"/>
                </a:moveTo>
                <a:lnTo>
                  <a:pt x="1190" y="2155"/>
                </a:lnTo>
                <a:lnTo>
                  <a:pt x="1181" y="2155"/>
                </a:lnTo>
                <a:lnTo>
                  <a:pt x="1173" y="2150"/>
                </a:lnTo>
                <a:lnTo>
                  <a:pt x="1164" y="2148"/>
                </a:lnTo>
                <a:lnTo>
                  <a:pt x="1156" y="2144"/>
                </a:lnTo>
                <a:lnTo>
                  <a:pt x="1147" y="2138"/>
                </a:lnTo>
                <a:lnTo>
                  <a:pt x="1141" y="2131"/>
                </a:lnTo>
                <a:lnTo>
                  <a:pt x="1135" y="2125"/>
                </a:lnTo>
                <a:lnTo>
                  <a:pt x="1128" y="2119"/>
                </a:lnTo>
                <a:lnTo>
                  <a:pt x="1124" y="2110"/>
                </a:lnTo>
                <a:lnTo>
                  <a:pt x="1116" y="2091"/>
                </a:lnTo>
                <a:lnTo>
                  <a:pt x="1111" y="2083"/>
                </a:lnTo>
                <a:lnTo>
                  <a:pt x="1109" y="2072"/>
                </a:lnTo>
                <a:lnTo>
                  <a:pt x="1109" y="2062"/>
                </a:lnTo>
                <a:lnTo>
                  <a:pt x="1109" y="2051"/>
                </a:lnTo>
                <a:lnTo>
                  <a:pt x="1109" y="2038"/>
                </a:lnTo>
                <a:lnTo>
                  <a:pt x="1109" y="2028"/>
                </a:lnTo>
                <a:lnTo>
                  <a:pt x="1113" y="2017"/>
                </a:lnTo>
                <a:lnTo>
                  <a:pt x="1116" y="2007"/>
                </a:lnTo>
                <a:lnTo>
                  <a:pt x="1120" y="1996"/>
                </a:lnTo>
                <a:lnTo>
                  <a:pt x="1124" y="1988"/>
                </a:lnTo>
                <a:lnTo>
                  <a:pt x="1130" y="1977"/>
                </a:lnTo>
                <a:lnTo>
                  <a:pt x="1137" y="1968"/>
                </a:lnTo>
                <a:lnTo>
                  <a:pt x="1143" y="1962"/>
                </a:lnTo>
                <a:lnTo>
                  <a:pt x="1149" y="1954"/>
                </a:lnTo>
                <a:lnTo>
                  <a:pt x="1158" y="1949"/>
                </a:lnTo>
                <a:lnTo>
                  <a:pt x="1166" y="1943"/>
                </a:lnTo>
                <a:lnTo>
                  <a:pt x="1175" y="1939"/>
                </a:lnTo>
                <a:lnTo>
                  <a:pt x="1185" y="1937"/>
                </a:lnTo>
                <a:lnTo>
                  <a:pt x="1194" y="1935"/>
                </a:lnTo>
                <a:lnTo>
                  <a:pt x="1204" y="1935"/>
                </a:lnTo>
                <a:lnTo>
                  <a:pt x="1217" y="1935"/>
                </a:lnTo>
                <a:lnTo>
                  <a:pt x="1221" y="1937"/>
                </a:lnTo>
                <a:lnTo>
                  <a:pt x="1228" y="1939"/>
                </a:lnTo>
                <a:lnTo>
                  <a:pt x="1236" y="1943"/>
                </a:lnTo>
                <a:lnTo>
                  <a:pt x="1245" y="1949"/>
                </a:lnTo>
                <a:lnTo>
                  <a:pt x="1251" y="1958"/>
                </a:lnTo>
                <a:lnTo>
                  <a:pt x="1255" y="1968"/>
                </a:lnTo>
                <a:lnTo>
                  <a:pt x="1257" y="1979"/>
                </a:lnTo>
                <a:lnTo>
                  <a:pt x="1257" y="1992"/>
                </a:lnTo>
                <a:lnTo>
                  <a:pt x="1257" y="1998"/>
                </a:lnTo>
                <a:lnTo>
                  <a:pt x="1257" y="2007"/>
                </a:lnTo>
                <a:lnTo>
                  <a:pt x="1253" y="2013"/>
                </a:lnTo>
                <a:lnTo>
                  <a:pt x="1251" y="2019"/>
                </a:lnTo>
                <a:lnTo>
                  <a:pt x="1247" y="2028"/>
                </a:lnTo>
                <a:lnTo>
                  <a:pt x="1243" y="2034"/>
                </a:lnTo>
                <a:lnTo>
                  <a:pt x="1232" y="2045"/>
                </a:lnTo>
                <a:lnTo>
                  <a:pt x="1226" y="2051"/>
                </a:lnTo>
                <a:lnTo>
                  <a:pt x="1219" y="2055"/>
                </a:lnTo>
                <a:lnTo>
                  <a:pt x="1207" y="2062"/>
                </a:lnTo>
                <a:lnTo>
                  <a:pt x="1198" y="2066"/>
                </a:lnTo>
                <a:lnTo>
                  <a:pt x="1192" y="2068"/>
                </a:lnTo>
                <a:lnTo>
                  <a:pt x="1177" y="2068"/>
                </a:lnTo>
                <a:lnTo>
                  <a:pt x="1171" y="2068"/>
                </a:lnTo>
                <a:lnTo>
                  <a:pt x="1166" y="2066"/>
                </a:lnTo>
                <a:lnTo>
                  <a:pt x="1164" y="2064"/>
                </a:lnTo>
                <a:lnTo>
                  <a:pt x="1162" y="2059"/>
                </a:lnTo>
                <a:lnTo>
                  <a:pt x="1162" y="2057"/>
                </a:lnTo>
                <a:lnTo>
                  <a:pt x="1160" y="2049"/>
                </a:lnTo>
                <a:lnTo>
                  <a:pt x="1160" y="2043"/>
                </a:lnTo>
                <a:lnTo>
                  <a:pt x="1162" y="2040"/>
                </a:lnTo>
                <a:lnTo>
                  <a:pt x="1164" y="2038"/>
                </a:lnTo>
                <a:lnTo>
                  <a:pt x="1177" y="2036"/>
                </a:lnTo>
                <a:lnTo>
                  <a:pt x="1190" y="2032"/>
                </a:lnTo>
                <a:lnTo>
                  <a:pt x="1200" y="2026"/>
                </a:lnTo>
                <a:lnTo>
                  <a:pt x="1209" y="2019"/>
                </a:lnTo>
                <a:lnTo>
                  <a:pt x="1217" y="2011"/>
                </a:lnTo>
                <a:lnTo>
                  <a:pt x="1219" y="2007"/>
                </a:lnTo>
                <a:lnTo>
                  <a:pt x="1221" y="2002"/>
                </a:lnTo>
                <a:lnTo>
                  <a:pt x="1226" y="1994"/>
                </a:lnTo>
                <a:lnTo>
                  <a:pt x="1226" y="1985"/>
                </a:lnTo>
                <a:lnTo>
                  <a:pt x="1226" y="1981"/>
                </a:lnTo>
                <a:lnTo>
                  <a:pt x="1226" y="1977"/>
                </a:lnTo>
                <a:lnTo>
                  <a:pt x="1224" y="1973"/>
                </a:lnTo>
                <a:lnTo>
                  <a:pt x="1219" y="1971"/>
                </a:lnTo>
                <a:lnTo>
                  <a:pt x="1217" y="1966"/>
                </a:lnTo>
                <a:lnTo>
                  <a:pt x="1213" y="1966"/>
                </a:lnTo>
                <a:lnTo>
                  <a:pt x="1202" y="1964"/>
                </a:lnTo>
                <a:lnTo>
                  <a:pt x="1192" y="1966"/>
                </a:lnTo>
                <a:lnTo>
                  <a:pt x="1185" y="1968"/>
                </a:lnTo>
                <a:lnTo>
                  <a:pt x="1181" y="1971"/>
                </a:lnTo>
                <a:lnTo>
                  <a:pt x="1175" y="1975"/>
                </a:lnTo>
                <a:lnTo>
                  <a:pt x="1171" y="1979"/>
                </a:lnTo>
                <a:lnTo>
                  <a:pt x="1162" y="1990"/>
                </a:lnTo>
                <a:lnTo>
                  <a:pt x="1158" y="1994"/>
                </a:lnTo>
                <a:lnTo>
                  <a:pt x="1154" y="2002"/>
                </a:lnTo>
                <a:lnTo>
                  <a:pt x="1147" y="2015"/>
                </a:lnTo>
                <a:lnTo>
                  <a:pt x="1143" y="2032"/>
                </a:lnTo>
                <a:lnTo>
                  <a:pt x="1143" y="2040"/>
                </a:lnTo>
                <a:lnTo>
                  <a:pt x="1141" y="2049"/>
                </a:lnTo>
                <a:lnTo>
                  <a:pt x="1143" y="2064"/>
                </a:lnTo>
                <a:lnTo>
                  <a:pt x="1145" y="2070"/>
                </a:lnTo>
                <a:lnTo>
                  <a:pt x="1145" y="2076"/>
                </a:lnTo>
                <a:lnTo>
                  <a:pt x="1152" y="2089"/>
                </a:lnTo>
                <a:lnTo>
                  <a:pt x="1158" y="2100"/>
                </a:lnTo>
                <a:lnTo>
                  <a:pt x="1166" y="2108"/>
                </a:lnTo>
                <a:lnTo>
                  <a:pt x="1171" y="2112"/>
                </a:lnTo>
                <a:lnTo>
                  <a:pt x="1177" y="2115"/>
                </a:lnTo>
                <a:lnTo>
                  <a:pt x="1188" y="2119"/>
                </a:lnTo>
                <a:lnTo>
                  <a:pt x="1194" y="2121"/>
                </a:lnTo>
                <a:lnTo>
                  <a:pt x="1200" y="2121"/>
                </a:lnTo>
                <a:lnTo>
                  <a:pt x="1213" y="2119"/>
                </a:lnTo>
                <a:lnTo>
                  <a:pt x="1224" y="2115"/>
                </a:lnTo>
                <a:lnTo>
                  <a:pt x="1230" y="2112"/>
                </a:lnTo>
                <a:lnTo>
                  <a:pt x="1236" y="2110"/>
                </a:lnTo>
                <a:lnTo>
                  <a:pt x="1245" y="2102"/>
                </a:lnTo>
                <a:lnTo>
                  <a:pt x="1255" y="2093"/>
                </a:lnTo>
                <a:lnTo>
                  <a:pt x="1264" y="2083"/>
                </a:lnTo>
                <a:lnTo>
                  <a:pt x="1272" y="2070"/>
                </a:lnTo>
                <a:lnTo>
                  <a:pt x="1279" y="2057"/>
                </a:lnTo>
                <a:lnTo>
                  <a:pt x="1285" y="2045"/>
                </a:lnTo>
                <a:lnTo>
                  <a:pt x="1289" y="2030"/>
                </a:lnTo>
                <a:lnTo>
                  <a:pt x="1293" y="2017"/>
                </a:lnTo>
                <a:lnTo>
                  <a:pt x="1298" y="2002"/>
                </a:lnTo>
                <a:lnTo>
                  <a:pt x="1300" y="1988"/>
                </a:lnTo>
                <a:lnTo>
                  <a:pt x="1302" y="1973"/>
                </a:lnTo>
                <a:lnTo>
                  <a:pt x="1302" y="1960"/>
                </a:lnTo>
                <a:lnTo>
                  <a:pt x="1302" y="1947"/>
                </a:lnTo>
                <a:lnTo>
                  <a:pt x="1304" y="1943"/>
                </a:lnTo>
                <a:lnTo>
                  <a:pt x="1306" y="1941"/>
                </a:lnTo>
                <a:lnTo>
                  <a:pt x="1310" y="1939"/>
                </a:lnTo>
                <a:lnTo>
                  <a:pt x="1315" y="1939"/>
                </a:lnTo>
                <a:lnTo>
                  <a:pt x="1323" y="1941"/>
                </a:lnTo>
                <a:lnTo>
                  <a:pt x="1327" y="1943"/>
                </a:lnTo>
                <a:lnTo>
                  <a:pt x="1329" y="1945"/>
                </a:lnTo>
                <a:lnTo>
                  <a:pt x="1334" y="1954"/>
                </a:lnTo>
                <a:lnTo>
                  <a:pt x="1336" y="1958"/>
                </a:lnTo>
                <a:lnTo>
                  <a:pt x="1336" y="1964"/>
                </a:lnTo>
                <a:lnTo>
                  <a:pt x="1336" y="1983"/>
                </a:lnTo>
                <a:lnTo>
                  <a:pt x="1334" y="2002"/>
                </a:lnTo>
                <a:lnTo>
                  <a:pt x="1329" y="2019"/>
                </a:lnTo>
                <a:lnTo>
                  <a:pt x="1325" y="2038"/>
                </a:lnTo>
                <a:lnTo>
                  <a:pt x="1319" y="2053"/>
                </a:lnTo>
                <a:lnTo>
                  <a:pt x="1312" y="2070"/>
                </a:lnTo>
                <a:lnTo>
                  <a:pt x="1304" y="2085"/>
                </a:lnTo>
                <a:lnTo>
                  <a:pt x="1295" y="2098"/>
                </a:lnTo>
                <a:lnTo>
                  <a:pt x="1287" y="2110"/>
                </a:lnTo>
                <a:lnTo>
                  <a:pt x="1283" y="2117"/>
                </a:lnTo>
                <a:lnTo>
                  <a:pt x="1276" y="2123"/>
                </a:lnTo>
                <a:lnTo>
                  <a:pt x="1266" y="2131"/>
                </a:lnTo>
                <a:lnTo>
                  <a:pt x="1253" y="2140"/>
                </a:lnTo>
                <a:lnTo>
                  <a:pt x="1240" y="2146"/>
                </a:lnTo>
                <a:lnTo>
                  <a:pt x="1228" y="2153"/>
                </a:lnTo>
                <a:lnTo>
                  <a:pt x="1213" y="2155"/>
                </a:lnTo>
                <a:lnTo>
                  <a:pt x="1198" y="2157"/>
                </a:lnTo>
                <a:close/>
                <a:moveTo>
                  <a:pt x="1429" y="2153"/>
                </a:moveTo>
                <a:lnTo>
                  <a:pt x="1425" y="2150"/>
                </a:lnTo>
                <a:lnTo>
                  <a:pt x="1416" y="2144"/>
                </a:lnTo>
                <a:lnTo>
                  <a:pt x="1399" y="2129"/>
                </a:lnTo>
                <a:lnTo>
                  <a:pt x="1378" y="2110"/>
                </a:lnTo>
                <a:lnTo>
                  <a:pt x="1361" y="2089"/>
                </a:lnTo>
                <a:lnTo>
                  <a:pt x="1353" y="2081"/>
                </a:lnTo>
                <a:lnTo>
                  <a:pt x="1348" y="2074"/>
                </a:lnTo>
                <a:lnTo>
                  <a:pt x="1344" y="2062"/>
                </a:lnTo>
                <a:lnTo>
                  <a:pt x="1342" y="2055"/>
                </a:lnTo>
                <a:lnTo>
                  <a:pt x="1342" y="2051"/>
                </a:lnTo>
                <a:lnTo>
                  <a:pt x="1342" y="2043"/>
                </a:lnTo>
                <a:lnTo>
                  <a:pt x="1344" y="2036"/>
                </a:lnTo>
                <a:lnTo>
                  <a:pt x="1348" y="2028"/>
                </a:lnTo>
                <a:lnTo>
                  <a:pt x="1353" y="2019"/>
                </a:lnTo>
                <a:lnTo>
                  <a:pt x="1365" y="2004"/>
                </a:lnTo>
                <a:lnTo>
                  <a:pt x="1382" y="1985"/>
                </a:lnTo>
                <a:lnTo>
                  <a:pt x="1425" y="1937"/>
                </a:lnTo>
                <a:lnTo>
                  <a:pt x="1431" y="1937"/>
                </a:lnTo>
                <a:lnTo>
                  <a:pt x="1437" y="1941"/>
                </a:lnTo>
                <a:lnTo>
                  <a:pt x="1442" y="1945"/>
                </a:lnTo>
                <a:lnTo>
                  <a:pt x="1446" y="1949"/>
                </a:lnTo>
                <a:lnTo>
                  <a:pt x="1448" y="1956"/>
                </a:lnTo>
                <a:lnTo>
                  <a:pt x="1446" y="1962"/>
                </a:lnTo>
                <a:lnTo>
                  <a:pt x="1444" y="1966"/>
                </a:lnTo>
                <a:lnTo>
                  <a:pt x="1442" y="1968"/>
                </a:lnTo>
                <a:lnTo>
                  <a:pt x="1412" y="2002"/>
                </a:lnTo>
                <a:lnTo>
                  <a:pt x="1395" y="2023"/>
                </a:lnTo>
                <a:lnTo>
                  <a:pt x="1382" y="2038"/>
                </a:lnTo>
                <a:lnTo>
                  <a:pt x="1378" y="2045"/>
                </a:lnTo>
                <a:lnTo>
                  <a:pt x="1378" y="2049"/>
                </a:lnTo>
                <a:lnTo>
                  <a:pt x="1378" y="2053"/>
                </a:lnTo>
                <a:lnTo>
                  <a:pt x="1382" y="2059"/>
                </a:lnTo>
                <a:lnTo>
                  <a:pt x="1393" y="2072"/>
                </a:lnTo>
                <a:lnTo>
                  <a:pt x="1410" y="2089"/>
                </a:lnTo>
                <a:lnTo>
                  <a:pt x="1429" y="2108"/>
                </a:lnTo>
                <a:lnTo>
                  <a:pt x="1448" y="2127"/>
                </a:lnTo>
                <a:lnTo>
                  <a:pt x="1450" y="2129"/>
                </a:lnTo>
                <a:lnTo>
                  <a:pt x="1450" y="2131"/>
                </a:lnTo>
                <a:lnTo>
                  <a:pt x="1450" y="2136"/>
                </a:lnTo>
                <a:lnTo>
                  <a:pt x="1448" y="2140"/>
                </a:lnTo>
                <a:lnTo>
                  <a:pt x="1444" y="2146"/>
                </a:lnTo>
                <a:lnTo>
                  <a:pt x="1437" y="2150"/>
                </a:lnTo>
                <a:lnTo>
                  <a:pt x="1433" y="2153"/>
                </a:lnTo>
                <a:lnTo>
                  <a:pt x="1429" y="2153"/>
                </a:lnTo>
                <a:close/>
                <a:moveTo>
                  <a:pt x="3480" y="991"/>
                </a:moveTo>
                <a:lnTo>
                  <a:pt x="3469" y="991"/>
                </a:lnTo>
                <a:lnTo>
                  <a:pt x="3461" y="988"/>
                </a:lnTo>
                <a:lnTo>
                  <a:pt x="3452" y="986"/>
                </a:lnTo>
                <a:lnTo>
                  <a:pt x="3444" y="982"/>
                </a:lnTo>
                <a:lnTo>
                  <a:pt x="3436" y="978"/>
                </a:lnTo>
                <a:lnTo>
                  <a:pt x="3429" y="972"/>
                </a:lnTo>
                <a:lnTo>
                  <a:pt x="3423" y="965"/>
                </a:lnTo>
                <a:lnTo>
                  <a:pt x="3416" y="959"/>
                </a:lnTo>
                <a:lnTo>
                  <a:pt x="3410" y="952"/>
                </a:lnTo>
                <a:lnTo>
                  <a:pt x="3404" y="944"/>
                </a:lnTo>
                <a:lnTo>
                  <a:pt x="3395" y="925"/>
                </a:lnTo>
                <a:lnTo>
                  <a:pt x="3393" y="917"/>
                </a:lnTo>
                <a:lnTo>
                  <a:pt x="3391" y="906"/>
                </a:lnTo>
                <a:lnTo>
                  <a:pt x="3389" y="895"/>
                </a:lnTo>
                <a:lnTo>
                  <a:pt x="3389" y="885"/>
                </a:lnTo>
                <a:lnTo>
                  <a:pt x="3389" y="872"/>
                </a:lnTo>
                <a:lnTo>
                  <a:pt x="3391" y="861"/>
                </a:lnTo>
                <a:lnTo>
                  <a:pt x="3393" y="851"/>
                </a:lnTo>
                <a:lnTo>
                  <a:pt x="3397" y="840"/>
                </a:lnTo>
                <a:lnTo>
                  <a:pt x="3400" y="830"/>
                </a:lnTo>
                <a:lnTo>
                  <a:pt x="3406" y="821"/>
                </a:lnTo>
                <a:lnTo>
                  <a:pt x="3410" y="811"/>
                </a:lnTo>
                <a:lnTo>
                  <a:pt x="3416" y="802"/>
                </a:lnTo>
                <a:lnTo>
                  <a:pt x="3425" y="796"/>
                </a:lnTo>
                <a:lnTo>
                  <a:pt x="3431" y="790"/>
                </a:lnTo>
                <a:lnTo>
                  <a:pt x="3440" y="783"/>
                </a:lnTo>
                <a:lnTo>
                  <a:pt x="3448" y="777"/>
                </a:lnTo>
                <a:lnTo>
                  <a:pt x="3457" y="773"/>
                </a:lnTo>
                <a:lnTo>
                  <a:pt x="3465" y="770"/>
                </a:lnTo>
                <a:lnTo>
                  <a:pt x="3476" y="768"/>
                </a:lnTo>
                <a:lnTo>
                  <a:pt x="3486" y="768"/>
                </a:lnTo>
                <a:lnTo>
                  <a:pt x="3497" y="768"/>
                </a:lnTo>
                <a:lnTo>
                  <a:pt x="3503" y="770"/>
                </a:lnTo>
                <a:lnTo>
                  <a:pt x="3508" y="773"/>
                </a:lnTo>
                <a:lnTo>
                  <a:pt x="3518" y="777"/>
                </a:lnTo>
                <a:lnTo>
                  <a:pt x="3524" y="785"/>
                </a:lnTo>
                <a:lnTo>
                  <a:pt x="3531" y="792"/>
                </a:lnTo>
                <a:lnTo>
                  <a:pt x="3535" y="802"/>
                </a:lnTo>
                <a:lnTo>
                  <a:pt x="3539" y="813"/>
                </a:lnTo>
                <a:lnTo>
                  <a:pt x="3539" y="825"/>
                </a:lnTo>
                <a:lnTo>
                  <a:pt x="3539" y="832"/>
                </a:lnTo>
                <a:lnTo>
                  <a:pt x="3537" y="840"/>
                </a:lnTo>
                <a:lnTo>
                  <a:pt x="3535" y="847"/>
                </a:lnTo>
                <a:lnTo>
                  <a:pt x="3533" y="855"/>
                </a:lnTo>
                <a:lnTo>
                  <a:pt x="3529" y="861"/>
                </a:lnTo>
                <a:lnTo>
                  <a:pt x="3524" y="868"/>
                </a:lnTo>
                <a:lnTo>
                  <a:pt x="3514" y="878"/>
                </a:lnTo>
                <a:lnTo>
                  <a:pt x="3508" y="885"/>
                </a:lnTo>
                <a:lnTo>
                  <a:pt x="3501" y="889"/>
                </a:lnTo>
                <a:lnTo>
                  <a:pt x="3486" y="895"/>
                </a:lnTo>
                <a:lnTo>
                  <a:pt x="3480" y="900"/>
                </a:lnTo>
                <a:lnTo>
                  <a:pt x="3472" y="902"/>
                </a:lnTo>
                <a:lnTo>
                  <a:pt x="3457" y="902"/>
                </a:lnTo>
                <a:lnTo>
                  <a:pt x="3450" y="902"/>
                </a:lnTo>
                <a:lnTo>
                  <a:pt x="3448" y="900"/>
                </a:lnTo>
                <a:lnTo>
                  <a:pt x="3446" y="897"/>
                </a:lnTo>
                <a:lnTo>
                  <a:pt x="3444" y="893"/>
                </a:lnTo>
                <a:lnTo>
                  <a:pt x="3442" y="891"/>
                </a:lnTo>
                <a:lnTo>
                  <a:pt x="3442" y="883"/>
                </a:lnTo>
                <a:lnTo>
                  <a:pt x="3442" y="876"/>
                </a:lnTo>
                <a:lnTo>
                  <a:pt x="3444" y="874"/>
                </a:lnTo>
                <a:lnTo>
                  <a:pt x="3446" y="874"/>
                </a:lnTo>
                <a:lnTo>
                  <a:pt x="3459" y="870"/>
                </a:lnTo>
                <a:lnTo>
                  <a:pt x="3469" y="866"/>
                </a:lnTo>
                <a:lnTo>
                  <a:pt x="3480" y="859"/>
                </a:lnTo>
                <a:lnTo>
                  <a:pt x="3491" y="853"/>
                </a:lnTo>
                <a:lnTo>
                  <a:pt x="3497" y="845"/>
                </a:lnTo>
                <a:lnTo>
                  <a:pt x="3501" y="842"/>
                </a:lnTo>
                <a:lnTo>
                  <a:pt x="3503" y="838"/>
                </a:lnTo>
                <a:lnTo>
                  <a:pt x="3505" y="830"/>
                </a:lnTo>
                <a:lnTo>
                  <a:pt x="3508" y="821"/>
                </a:lnTo>
                <a:lnTo>
                  <a:pt x="3508" y="815"/>
                </a:lnTo>
                <a:lnTo>
                  <a:pt x="3505" y="811"/>
                </a:lnTo>
                <a:lnTo>
                  <a:pt x="3503" y="806"/>
                </a:lnTo>
                <a:lnTo>
                  <a:pt x="3501" y="804"/>
                </a:lnTo>
                <a:lnTo>
                  <a:pt x="3497" y="802"/>
                </a:lnTo>
                <a:lnTo>
                  <a:pt x="3493" y="800"/>
                </a:lnTo>
                <a:lnTo>
                  <a:pt x="3482" y="798"/>
                </a:lnTo>
                <a:lnTo>
                  <a:pt x="3472" y="800"/>
                </a:lnTo>
                <a:lnTo>
                  <a:pt x="3467" y="802"/>
                </a:lnTo>
                <a:lnTo>
                  <a:pt x="3461" y="804"/>
                </a:lnTo>
                <a:lnTo>
                  <a:pt x="3457" y="809"/>
                </a:lnTo>
                <a:lnTo>
                  <a:pt x="3452" y="813"/>
                </a:lnTo>
                <a:lnTo>
                  <a:pt x="3442" y="823"/>
                </a:lnTo>
                <a:lnTo>
                  <a:pt x="3438" y="830"/>
                </a:lnTo>
                <a:lnTo>
                  <a:pt x="3433" y="836"/>
                </a:lnTo>
                <a:lnTo>
                  <a:pt x="3429" y="849"/>
                </a:lnTo>
                <a:lnTo>
                  <a:pt x="3425" y="866"/>
                </a:lnTo>
                <a:lnTo>
                  <a:pt x="3423" y="874"/>
                </a:lnTo>
                <a:lnTo>
                  <a:pt x="3423" y="883"/>
                </a:lnTo>
                <a:lnTo>
                  <a:pt x="3423" y="897"/>
                </a:lnTo>
                <a:lnTo>
                  <a:pt x="3425" y="904"/>
                </a:lnTo>
                <a:lnTo>
                  <a:pt x="3427" y="912"/>
                </a:lnTo>
                <a:lnTo>
                  <a:pt x="3431" y="923"/>
                </a:lnTo>
                <a:lnTo>
                  <a:pt x="3438" y="933"/>
                </a:lnTo>
                <a:lnTo>
                  <a:pt x="3446" y="942"/>
                </a:lnTo>
                <a:lnTo>
                  <a:pt x="3452" y="946"/>
                </a:lnTo>
                <a:lnTo>
                  <a:pt x="3457" y="948"/>
                </a:lnTo>
                <a:lnTo>
                  <a:pt x="3467" y="952"/>
                </a:lnTo>
                <a:lnTo>
                  <a:pt x="3474" y="955"/>
                </a:lnTo>
                <a:lnTo>
                  <a:pt x="3480" y="955"/>
                </a:lnTo>
                <a:lnTo>
                  <a:pt x="3493" y="952"/>
                </a:lnTo>
                <a:lnTo>
                  <a:pt x="3505" y="950"/>
                </a:lnTo>
                <a:lnTo>
                  <a:pt x="3512" y="946"/>
                </a:lnTo>
                <a:lnTo>
                  <a:pt x="3516" y="944"/>
                </a:lnTo>
                <a:lnTo>
                  <a:pt x="3527" y="936"/>
                </a:lnTo>
                <a:lnTo>
                  <a:pt x="3535" y="927"/>
                </a:lnTo>
                <a:lnTo>
                  <a:pt x="3543" y="917"/>
                </a:lnTo>
                <a:lnTo>
                  <a:pt x="3552" y="906"/>
                </a:lnTo>
                <a:lnTo>
                  <a:pt x="3558" y="893"/>
                </a:lnTo>
                <a:lnTo>
                  <a:pt x="3565" y="878"/>
                </a:lnTo>
                <a:lnTo>
                  <a:pt x="3571" y="864"/>
                </a:lnTo>
                <a:lnTo>
                  <a:pt x="3575" y="851"/>
                </a:lnTo>
                <a:lnTo>
                  <a:pt x="3577" y="836"/>
                </a:lnTo>
                <a:lnTo>
                  <a:pt x="3582" y="821"/>
                </a:lnTo>
                <a:lnTo>
                  <a:pt x="3582" y="806"/>
                </a:lnTo>
                <a:lnTo>
                  <a:pt x="3584" y="794"/>
                </a:lnTo>
                <a:lnTo>
                  <a:pt x="3582" y="781"/>
                </a:lnTo>
                <a:lnTo>
                  <a:pt x="3584" y="777"/>
                </a:lnTo>
                <a:lnTo>
                  <a:pt x="3588" y="775"/>
                </a:lnTo>
                <a:lnTo>
                  <a:pt x="3592" y="775"/>
                </a:lnTo>
                <a:lnTo>
                  <a:pt x="3596" y="773"/>
                </a:lnTo>
                <a:lnTo>
                  <a:pt x="3601" y="775"/>
                </a:lnTo>
                <a:lnTo>
                  <a:pt x="3605" y="775"/>
                </a:lnTo>
                <a:lnTo>
                  <a:pt x="3609" y="777"/>
                </a:lnTo>
                <a:lnTo>
                  <a:pt x="3613" y="781"/>
                </a:lnTo>
                <a:lnTo>
                  <a:pt x="3613" y="840"/>
                </a:lnTo>
                <a:lnTo>
                  <a:pt x="3609" y="855"/>
                </a:lnTo>
                <a:lnTo>
                  <a:pt x="3605" y="870"/>
                </a:lnTo>
                <a:lnTo>
                  <a:pt x="3601" y="885"/>
                </a:lnTo>
                <a:lnTo>
                  <a:pt x="3596" y="900"/>
                </a:lnTo>
                <a:lnTo>
                  <a:pt x="3590" y="912"/>
                </a:lnTo>
                <a:lnTo>
                  <a:pt x="3582" y="925"/>
                </a:lnTo>
                <a:lnTo>
                  <a:pt x="3575" y="936"/>
                </a:lnTo>
                <a:lnTo>
                  <a:pt x="3567" y="946"/>
                </a:lnTo>
                <a:lnTo>
                  <a:pt x="3558" y="957"/>
                </a:lnTo>
                <a:lnTo>
                  <a:pt x="3548" y="965"/>
                </a:lnTo>
                <a:lnTo>
                  <a:pt x="3537" y="972"/>
                </a:lnTo>
                <a:lnTo>
                  <a:pt x="3527" y="978"/>
                </a:lnTo>
                <a:lnTo>
                  <a:pt x="3516" y="984"/>
                </a:lnTo>
                <a:lnTo>
                  <a:pt x="3505" y="986"/>
                </a:lnTo>
                <a:lnTo>
                  <a:pt x="3493" y="988"/>
                </a:lnTo>
                <a:lnTo>
                  <a:pt x="3480" y="991"/>
                </a:lnTo>
                <a:close/>
                <a:moveTo>
                  <a:pt x="3480" y="1581"/>
                </a:moveTo>
                <a:lnTo>
                  <a:pt x="3469" y="1581"/>
                </a:lnTo>
                <a:lnTo>
                  <a:pt x="3461" y="1579"/>
                </a:lnTo>
                <a:lnTo>
                  <a:pt x="3452" y="1577"/>
                </a:lnTo>
                <a:lnTo>
                  <a:pt x="3444" y="1573"/>
                </a:lnTo>
                <a:lnTo>
                  <a:pt x="3436" y="1568"/>
                </a:lnTo>
                <a:lnTo>
                  <a:pt x="3429" y="1564"/>
                </a:lnTo>
                <a:lnTo>
                  <a:pt x="3423" y="1558"/>
                </a:lnTo>
                <a:lnTo>
                  <a:pt x="3416" y="1551"/>
                </a:lnTo>
                <a:lnTo>
                  <a:pt x="3410" y="1543"/>
                </a:lnTo>
                <a:lnTo>
                  <a:pt x="3404" y="1535"/>
                </a:lnTo>
                <a:lnTo>
                  <a:pt x="3395" y="1518"/>
                </a:lnTo>
                <a:lnTo>
                  <a:pt x="3393" y="1507"/>
                </a:lnTo>
                <a:lnTo>
                  <a:pt x="3391" y="1496"/>
                </a:lnTo>
                <a:lnTo>
                  <a:pt x="3389" y="1486"/>
                </a:lnTo>
                <a:lnTo>
                  <a:pt x="3389" y="1475"/>
                </a:lnTo>
                <a:lnTo>
                  <a:pt x="3389" y="1465"/>
                </a:lnTo>
                <a:lnTo>
                  <a:pt x="3391" y="1454"/>
                </a:lnTo>
                <a:lnTo>
                  <a:pt x="3393" y="1444"/>
                </a:lnTo>
                <a:lnTo>
                  <a:pt x="3397" y="1433"/>
                </a:lnTo>
                <a:lnTo>
                  <a:pt x="3400" y="1422"/>
                </a:lnTo>
                <a:lnTo>
                  <a:pt x="3406" y="1412"/>
                </a:lnTo>
                <a:lnTo>
                  <a:pt x="3410" y="1403"/>
                </a:lnTo>
                <a:lnTo>
                  <a:pt x="3416" y="1395"/>
                </a:lnTo>
                <a:lnTo>
                  <a:pt x="3425" y="1386"/>
                </a:lnTo>
                <a:lnTo>
                  <a:pt x="3431" y="1380"/>
                </a:lnTo>
                <a:lnTo>
                  <a:pt x="3440" y="1374"/>
                </a:lnTo>
                <a:lnTo>
                  <a:pt x="3448" y="1369"/>
                </a:lnTo>
                <a:lnTo>
                  <a:pt x="3457" y="1365"/>
                </a:lnTo>
                <a:lnTo>
                  <a:pt x="3465" y="1361"/>
                </a:lnTo>
                <a:lnTo>
                  <a:pt x="3476" y="1361"/>
                </a:lnTo>
                <a:lnTo>
                  <a:pt x="3486" y="1359"/>
                </a:lnTo>
                <a:lnTo>
                  <a:pt x="3497" y="1361"/>
                </a:lnTo>
                <a:lnTo>
                  <a:pt x="3503" y="1361"/>
                </a:lnTo>
                <a:lnTo>
                  <a:pt x="3508" y="1363"/>
                </a:lnTo>
                <a:lnTo>
                  <a:pt x="3518" y="1369"/>
                </a:lnTo>
                <a:lnTo>
                  <a:pt x="3524" y="1376"/>
                </a:lnTo>
                <a:lnTo>
                  <a:pt x="3531" y="1384"/>
                </a:lnTo>
                <a:lnTo>
                  <a:pt x="3535" y="1395"/>
                </a:lnTo>
                <a:lnTo>
                  <a:pt x="3539" y="1405"/>
                </a:lnTo>
                <a:lnTo>
                  <a:pt x="3539" y="1416"/>
                </a:lnTo>
                <a:lnTo>
                  <a:pt x="3539" y="1424"/>
                </a:lnTo>
                <a:lnTo>
                  <a:pt x="3537" y="1431"/>
                </a:lnTo>
                <a:lnTo>
                  <a:pt x="3535" y="1439"/>
                </a:lnTo>
                <a:lnTo>
                  <a:pt x="3533" y="1446"/>
                </a:lnTo>
                <a:lnTo>
                  <a:pt x="3529" y="1452"/>
                </a:lnTo>
                <a:lnTo>
                  <a:pt x="3524" y="1458"/>
                </a:lnTo>
                <a:lnTo>
                  <a:pt x="3514" y="1471"/>
                </a:lnTo>
                <a:lnTo>
                  <a:pt x="3508" y="1475"/>
                </a:lnTo>
                <a:lnTo>
                  <a:pt x="3501" y="1480"/>
                </a:lnTo>
                <a:lnTo>
                  <a:pt x="3486" y="1488"/>
                </a:lnTo>
                <a:lnTo>
                  <a:pt x="3480" y="1490"/>
                </a:lnTo>
                <a:lnTo>
                  <a:pt x="3472" y="1492"/>
                </a:lnTo>
                <a:lnTo>
                  <a:pt x="3457" y="1494"/>
                </a:lnTo>
                <a:lnTo>
                  <a:pt x="3450" y="1492"/>
                </a:lnTo>
                <a:lnTo>
                  <a:pt x="3448" y="1490"/>
                </a:lnTo>
                <a:lnTo>
                  <a:pt x="3446" y="1488"/>
                </a:lnTo>
                <a:lnTo>
                  <a:pt x="3444" y="1486"/>
                </a:lnTo>
                <a:lnTo>
                  <a:pt x="3442" y="1482"/>
                </a:lnTo>
                <a:lnTo>
                  <a:pt x="3442" y="1475"/>
                </a:lnTo>
                <a:lnTo>
                  <a:pt x="3442" y="1469"/>
                </a:lnTo>
                <a:lnTo>
                  <a:pt x="3444" y="1467"/>
                </a:lnTo>
                <a:lnTo>
                  <a:pt x="3446" y="1465"/>
                </a:lnTo>
                <a:lnTo>
                  <a:pt x="3459" y="1463"/>
                </a:lnTo>
                <a:lnTo>
                  <a:pt x="3469" y="1458"/>
                </a:lnTo>
                <a:lnTo>
                  <a:pt x="3480" y="1452"/>
                </a:lnTo>
                <a:lnTo>
                  <a:pt x="3491" y="1446"/>
                </a:lnTo>
                <a:lnTo>
                  <a:pt x="3497" y="1437"/>
                </a:lnTo>
                <a:lnTo>
                  <a:pt x="3501" y="1433"/>
                </a:lnTo>
                <a:lnTo>
                  <a:pt x="3503" y="1429"/>
                </a:lnTo>
                <a:lnTo>
                  <a:pt x="3505" y="1420"/>
                </a:lnTo>
                <a:lnTo>
                  <a:pt x="3508" y="1412"/>
                </a:lnTo>
                <a:lnTo>
                  <a:pt x="3508" y="1408"/>
                </a:lnTo>
                <a:lnTo>
                  <a:pt x="3505" y="1403"/>
                </a:lnTo>
                <a:lnTo>
                  <a:pt x="3503" y="1399"/>
                </a:lnTo>
                <a:lnTo>
                  <a:pt x="3501" y="1395"/>
                </a:lnTo>
                <a:lnTo>
                  <a:pt x="3497" y="1393"/>
                </a:lnTo>
                <a:lnTo>
                  <a:pt x="3493" y="1391"/>
                </a:lnTo>
                <a:lnTo>
                  <a:pt x="3482" y="1391"/>
                </a:lnTo>
                <a:lnTo>
                  <a:pt x="3472" y="1391"/>
                </a:lnTo>
                <a:lnTo>
                  <a:pt x="3467" y="1393"/>
                </a:lnTo>
                <a:lnTo>
                  <a:pt x="3461" y="1397"/>
                </a:lnTo>
                <a:lnTo>
                  <a:pt x="3457" y="1399"/>
                </a:lnTo>
                <a:lnTo>
                  <a:pt x="3452" y="1403"/>
                </a:lnTo>
                <a:lnTo>
                  <a:pt x="3442" y="1414"/>
                </a:lnTo>
                <a:lnTo>
                  <a:pt x="3438" y="1420"/>
                </a:lnTo>
                <a:lnTo>
                  <a:pt x="3433" y="1427"/>
                </a:lnTo>
                <a:lnTo>
                  <a:pt x="3429" y="1441"/>
                </a:lnTo>
                <a:lnTo>
                  <a:pt x="3425" y="1456"/>
                </a:lnTo>
                <a:lnTo>
                  <a:pt x="3423" y="1465"/>
                </a:lnTo>
                <a:lnTo>
                  <a:pt x="3423" y="1473"/>
                </a:lnTo>
                <a:lnTo>
                  <a:pt x="3423" y="1490"/>
                </a:lnTo>
                <a:lnTo>
                  <a:pt x="3425" y="1496"/>
                </a:lnTo>
                <a:lnTo>
                  <a:pt x="3427" y="1503"/>
                </a:lnTo>
                <a:lnTo>
                  <a:pt x="3431" y="1516"/>
                </a:lnTo>
                <a:lnTo>
                  <a:pt x="3438" y="1526"/>
                </a:lnTo>
                <a:lnTo>
                  <a:pt x="3446" y="1535"/>
                </a:lnTo>
                <a:lnTo>
                  <a:pt x="3452" y="1537"/>
                </a:lnTo>
                <a:lnTo>
                  <a:pt x="3457" y="1541"/>
                </a:lnTo>
                <a:lnTo>
                  <a:pt x="3467" y="1545"/>
                </a:lnTo>
                <a:lnTo>
                  <a:pt x="3474" y="1545"/>
                </a:lnTo>
                <a:lnTo>
                  <a:pt x="3480" y="1545"/>
                </a:lnTo>
                <a:lnTo>
                  <a:pt x="3493" y="1545"/>
                </a:lnTo>
                <a:lnTo>
                  <a:pt x="3505" y="1541"/>
                </a:lnTo>
                <a:lnTo>
                  <a:pt x="3512" y="1539"/>
                </a:lnTo>
                <a:lnTo>
                  <a:pt x="3516" y="1535"/>
                </a:lnTo>
                <a:lnTo>
                  <a:pt x="3527" y="1528"/>
                </a:lnTo>
                <a:lnTo>
                  <a:pt x="3535" y="1520"/>
                </a:lnTo>
                <a:lnTo>
                  <a:pt x="3543" y="1509"/>
                </a:lnTo>
                <a:lnTo>
                  <a:pt x="3552" y="1496"/>
                </a:lnTo>
                <a:lnTo>
                  <a:pt x="3558" y="1484"/>
                </a:lnTo>
                <a:lnTo>
                  <a:pt x="3565" y="1471"/>
                </a:lnTo>
                <a:lnTo>
                  <a:pt x="3571" y="1456"/>
                </a:lnTo>
                <a:lnTo>
                  <a:pt x="3575" y="1441"/>
                </a:lnTo>
                <a:lnTo>
                  <a:pt x="3577" y="1427"/>
                </a:lnTo>
                <a:lnTo>
                  <a:pt x="3582" y="1412"/>
                </a:lnTo>
                <a:lnTo>
                  <a:pt x="3582" y="1399"/>
                </a:lnTo>
                <a:lnTo>
                  <a:pt x="3584" y="1384"/>
                </a:lnTo>
                <a:lnTo>
                  <a:pt x="3582" y="1372"/>
                </a:lnTo>
                <a:lnTo>
                  <a:pt x="3584" y="1369"/>
                </a:lnTo>
                <a:lnTo>
                  <a:pt x="3588" y="1367"/>
                </a:lnTo>
                <a:lnTo>
                  <a:pt x="3592" y="1365"/>
                </a:lnTo>
                <a:lnTo>
                  <a:pt x="3596" y="1365"/>
                </a:lnTo>
                <a:lnTo>
                  <a:pt x="3601" y="1365"/>
                </a:lnTo>
                <a:lnTo>
                  <a:pt x="3605" y="1367"/>
                </a:lnTo>
                <a:lnTo>
                  <a:pt x="3609" y="1369"/>
                </a:lnTo>
                <a:lnTo>
                  <a:pt x="3613" y="1374"/>
                </a:lnTo>
                <a:lnTo>
                  <a:pt x="3613" y="1433"/>
                </a:lnTo>
                <a:lnTo>
                  <a:pt x="3609" y="1448"/>
                </a:lnTo>
                <a:lnTo>
                  <a:pt x="3605" y="1463"/>
                </a:lnTo>
                <a:lnTo>
                  <a:pt x="3601" y="1477"/>
                </a:lnTo>
                <a:lnTo>
                  <a:pt x="3596" y="1490"/>
                </a:lnTo>
                <a:lnTo>
                  <a:pt x="3590" y="1503"/>
                </a:lnTo>
                <a:lnTo>
                  <a:pt x="3582" y="1516"/>
                </a:lnTo>
                <a:lnTo>
                  <a:pt x="3575" y="1528"/>
                </a:lnTo>
                <a:lnTo>
                  <a:pt x="3567" y="1539"/>
                </a:lnTo>
                <a:lnTo>
                  <a:pt x="3558" y="1547"/>
                </a:lnTo>
                <a:lnTo>
                  <a:pt x="3548" y="1556"/>
                </a:lnTo>
                <a:lnTo>
                  <a:pt x="3537" y="1564"/>
                </a:lnTo>
                <a:lnTo>
                  <a:pt x="3527" y="1571"/>
                </a:lnTo>
                <a:lnTo>
                  <a:pt x="3516" y="1575"/>
                </a:lnTo>
                <a:lnTo>
                  <a:pt x="3505" y="1579"/>
                </a:lnTo>
                <a:lnTo>
                  <a:pt x="3493" y="1581"/>
                </a:lnTo>
                <a:lnTo>
                  <a:pt x="3480" y="1581"/>
                </a:lnTo>
                <a:close/>
                <a:moveTo>
                  <a:pt x="3480" y="2157"/>
                </a:moveTo>
                <a:lnTo>
                  <a:pt x="3469" y="2155"/>
                </a:lnTo>
                <a:lnTo>
                  <a:pt x="3461" y="2155"/>
                </a:lnTo>
                <a:lnTo>
                  <a:pt x="3452" y="2150"/>
                </a:lnTo>
                <a:lnTo>
                  <a:pt x="3444" y="2148"/>
                </a:lnTo>
                <a:lnTo>
                  <a:pt x="3436" y="2144"/>
                </a:lnTo>
                <a:lnTo>
                  <a:pt x="3429" y="2138"/>
                </a:lnTo>
                <a:lnTo>
                  <a:pt x="3423" y="2131"/>
                </a:lnTo>
                <a:lnTo>
                  <a:pt x="3416" y="2125"/>
                </a:lnTo>
                <a:lnTo>
                  <a:pt x="3410" y="2119"/>
                </a:lnTo>
                <a:lnTo>
                  <a:pt x="3404" y="2110"/>
                </a:lnTo>
                <a:lnTo>
                  <a:pt x="3395" y="2091"/>
                </a:lnTo>
                <a:lnTo>
                  <a:pt x="3393" y="2083"/>
                </a:lnTo>
                <a:lnTo>
                  <a:pt x="3391" y="2072"/>
                </a:lnTo>
                <a:lnTo>
                  <a:pt x="3389" y="2062"/>
                </a:lnTo>
                <a:lnTo>
                  <a:pt x="3389" y="2051"/>
                </a:lnTo>
                <a:lnTo>
                  <a:pt x="3389" y="2038"/>
                </a:lnTo>
                <a:lnTo>
                  <a:pt x="3391" y="2028"/>
                </a:lnTo>
                <a:lnTo>
                  <a:pt x="3393" y="2017"/>
                </a:lnTo>
                <a:lnTo>
                  <a:pt x="3397" y="2007"/>
                </a:lnTo>
                <a:lnTo>
                  <a:pt x="3400" y="1996"/>
                </a:lnTo>
                <a:lnTo>
                  <a:pt x="3406" y="1988"/>
                </a:lnTo>
                <a:lnTo>
                  <a:pt x="3410" y="1977"/>
                </a:lnTo>
                <a:lnTo>
                  <a:pt x="3416" y="1968"/>
                </a:lnTo>
                <a:lnTo>
                  <a:pt x="3425" y="1962"/>
                </a:lnTo>
                <a:lnTo>
                  <a:pt x="3431" y="1954"/>
                </a:lnTo>
                <a:lnTo>
                  <a:pt x="3440" y="1949"/>
                </a:lnTo>
                <a:lnTo>
                  <a:pt x="3448" y="1943"/>
                </a:lnTo>
                <a:lnTo>
                  <a:pt x="3457" y="1939"/>
                </a:lnTo>
                <a:lnTo>
                  <a:pt x="3465" y="1937"/>
                </a:lnTo>
                <a:lnTo>
                  <a:pt x="3476" y="1935"/>
                </a:lnTo>
                <a:lnTo>
                  <a:pt x="3486" y="1935"/>
                </a:lnTo>
                <a:lnTo>
                  <a:pt x="3497" y="1935"/>
                </a:lnTo>
                <a:lnTo>
                  <a:pt x="3503" y="1937"/>
                </a:lnTo>
                <a:lnTo>
                  <a:pt x="3508" y="1939"/>
                </a:lnTo>
                <a:lnTo>
                  <a:pt x="3518" y="1943"/>
                </a:lnTo>
                <a:lnTo>
                  <a:pt x="3524" y="1949"/>
                </a:lnTo>
                <a:lnTo>
                  <a:pt x="3531" y="1958"/>
                </a:lnTo>
                <a:lnTo>
                  <a:pt x="3535" y="1968"/>
                </a:lnTo>
                <a:lnTo>
                  <a:pt x="3539" y="1979"/>
                </a:lnTo>
                <a:lnTo>
                  <a:pt x="3539" y="1992"/>
                </a:lnTo>
                <a:lnTo>
                  <a:pt x="3539" y="1998"/>
                </a:lnTo>
                <a:lnTo>
                  <a:pt x="3537" y="2007"/>
                </a:lnTo>
                <a:lnTo>
                  <a:pt x="3535" y="2013"/>
                </a:lnTo>
                <a:lnTo>
                  <a:pt x="3533" y="2019"/>
                </a:lnTo>
                <a:lnTo>
                  <a:pt x="3529" y="2028"/>
                </a:lnTo>
                <a:lnTo>
                  <a:pt x="3524" y="2034"/>
                </a:lnTo>
                <a:lnTo>
                  <a:pt x="3514" y="2045"/>
                </a:lnTo>
                <a:lnTo>
                  <a:pt x="3508" y="2051"/>
                </a:lnTo>
                <a:lnTo>
                  <a:pt x="3501" y="2055"/>
                </a:lnTo>
                <a:lnTo>
                  <a:pt x="3486" y="2062"/>
                </a:lnTo>
                <a:lnTo>
                  <a:pt x="3480" y="2066"/>
                </a:lnTo>
                <a:lnTo>
                  <a:pt x="3472" y="2068"/>
                </a:lnTo>
                <a:lnTo>
                  <a:pt x="3457" y="2068"/>
                </a:lnTo>
                <a:lnTo>
                  <a:pt x="3450" y="2068"/>
                </a:lnTo>
                <a:lnTo>
                  <a:pt x="3448" y="2066"/>
                </a:lnTo>
                <a:lnTo>
                  <a:pt x="3446" y="2064"/>
                </a:lnTo>
                <a:lnTo>
                  <a:pt x="3444" y="2059"/>
                </a:lnTo>
                <a:lnTo>
                  <a:pt x="3442" y="2057"/>
                </a:lnTo>
                <a:lnTo>
                  <a:pt x="3442" y="2049"/>
                </a:lnTo>
                <a:lnTo>
                  <a:pt x="3442" y="2043"/>
                </a:lnTo>
                <a:lnTo>
                  <a:pt x="3444" y="2040"/>
                </a:lnTo>
                <a:lnTo>
                  <a:pt x="3446" y="2038"/>
                </a:lnTo>
                <a:lnTo>
                  <a:pt x="3459" y="2036"/>
                </a:lnTo>
                <a:lnTo>
                  <a:pt x="3469" y="2032"/>
                </a:lnTo>
                <a:lnTo>
                  <a:pt x="3480" y="2026"/>
                </a:lnTo>
                <a:lnTo>
                  <a:pt x="3491" y="2019"/>
                </a:lnTo>
                <a:lnTo>
                  <a:pt x="3497" y="2011"/>
                </a:lnTo>
                <a:lnTo>
                  <a:pt x="3501" y="2007"/>
                </a:lnTo>
                <a:lnTo>
                  <a:pt x="3503" y="2002"/>
                </a:lnTo>
                <a:lnTo>
                  <a:pt x="3505" y="1994"/>
                </a:lnTo>
                <a:lnTo>
                  <a:pt x="3508" y="1985"/>
                </a:lnTo>
                <a:lnTo>
                  <a:pt x="3508" y="1981"/>
                </a:lnTo>
                <a:lnTo>
                  <a:pt x="3505" y="1977"/>
                </a:lnTo>
                <a:lnTo>
                  <a:pt x="3503" y="1973"/>
                </a:lnTo>
                <a:lnTo>
                  <a:pt x="3501" y="1971"/>
                </a:lnTo>
                <a:lnTo>
                  <a:pt x="3497" y="1966"/>
                </a:lnTo>
                <a:lnTo>
                  <a:pt x="3493" y="1966"/>
                </a:lnTo>
                <a:lnTo>
                  <a:pt x="3482" y="1964"/>
                </a:lnTo>
                <a:lnTo>
                  <a:pt x="3472" y="1966"/>
                </a:lnTo>
                <a:lnTo>
                  <a:pt x="3467" y="1968"/>
                </a:lnTo>
                <a:lnTo>
                  <a:pt x="3461" y="1971"/>
                </a:lnTo>
                <a:lnTo>
                  <a:pt x="3457" y="1975"/>
                </a:lnTo>
                <a:lnTo>
                  <a:pt x="3452" y="1979"/>
                </a:lnTo>
                <a:lnTo>
                  <a:pt x="3442" y="1990"/>
                </a:lnTo>
                <a:lnTo>
                  <a:pt x="3438" y="1994"/>
                </a:lnTo>
                <a:lnTo>
                  <a:pt x="3433" y="2002"/>
                </a:lnTo>
                <a:lnTo>
                  <a:pt x="3429" y="2015"/>
                </a:lnTo>
                <a:lnTo>
                  <a:pt x="3425" y="2032"/>
                </a:lnTo>
                <a:lnTo>
                  <a:pt x="3423" y="2040"/>
                </a:lnTo>
                <a:lnTo>
                  <a:pt x="3423" y="2049"/>
                </a:lnTo>
                <a:lnTo>
                  <a:pt x="3423" y="2064"/>
                </a:lnTo>
                <a:lnTo>
                  <a:pt x="3425" y="2070"/>
                </a:lnTo>
                <a:lnTo>
                  <a:pt x="3427" y="2076"/>
                </a:lnTo>
                <a:lnTo>
                  <a:pt x="3431" y="2089"/>
                </a:lnTo>
                <a:lnTo>
                  <a:pt x="3438" y="2100"/>
                </a:lnTo>
                <a:lnTo>
                  <a:pt x="3446" y="2108"/>
                </a:lnTo>
                <a:lnTo>
                  <a:pt x="3452" y="2112"/>
                </a:lnTo>
                <a:lnTo>
                  <a:pt x="3457" y="2115"/>
                </a:lnTo>
                <a:lnTo>
                  <a:pt x="3467" y="2119"/>
                </a:lnTo>
                <a:lnTo>
                  <a:pt x="3474" y="2121"/>
                </a:lnTo>
                <a:lnTo>
                  <a:pt x="3480" y="2121"/>
                </a:lnTo>
                <a:lnTo>
                  <a:pt x="3493" y="2119"/>
                </a:lnTo>
                <a:lnTo>
                  <a:pt x="3505" y="2115"/>
                </a:lnTo>
                <a:lnTo>
                  <a:pt x="3512" y="2112"/>
                </a:lnTo>
                <a:lnTo>
                  <a:pt x="3516" y="2110"/>
                </a:lnTo>
                <a:lnTo>
                  <a:pt x="3527" y="2102"/>
                </a:lnTo>
                <a:lnTo>
                  <a:pt x="3535" y="2093"/>
                </a:lnTo>
                <a:lnTo>
                  <a:pt x="3543" y="2083"/>
                </a:lnTo>
                <a:lnTo>
                  <a:pt x="3552" y="2070"/>
                </a:lnTo>
                <a:lnTo>
                  <a:pt x="3558" y="2057"/>
                </a:lnTo>
                <a:lnTo>
                  <a:pt x="3565" y="2045"/>
                </a:lnTo>
                <a:lnTo>
                  <a:pt x="3571" y="2030"/>
                </a:lnTo>
                <a:lnTo>
                  <a:pt x="3575" y="2017"/>
                </a:lnTo>
                <a:lnTo>
                  <a:pt x="3577" y="2002"/>
                </a:lnTo>
                <a:lnTo>
                  <a:pt x="3582" y="1988"/>
                </a:lnTo>
                <a:lnTo>
                  <a:pt x="3582" y="1973"/>
                </a:lnTo>
                <a:lnTo>
                  <a:pt x="3584" y="1960"/>
                </a:lnTo>
                <a:lnTo>
                  <a:pt x="3582" y="1947"/>
                </a:lnTo>
                <a:lnTo>
                  <a:pt x="3584" y="1943"/>
                </a:lnTo>
                <a:lnTo>
                  <a:pt x="3588" y="1941"/>
                </a:lnTo>
                <a:lnTo>
                  <a:pt x="3592" y="1939"/>
                </a:lnTo>
                <a:lnTo>
                  <a:pt x="3596" y="1939"/>
                </a:lnTo>
                <a:lnTo>
                  <a:pt x="3601" y="1939"/>
                </a:lnTo>
                <a:lnTo>
                  <a:pt x="3605" y="1941"/>
                </a:lnTo>
                <a:lnTo>
                  <a:pt x="3609" y="1943"/>
                </a:lnTo>
                <a:lnTo>
                  <a:pt x="3613" y="1947"/>
                </a:lnTo>
                <a:lnTo>
                  <a:pt x="3613" y="2007"/>
                </a:lnTo>
                <a:lnTo>
                  <a:pt x="3609" y="2021"/>
                </a:lnTo>
                <a:lnTo>
                  <a:pt x="3605" y="2036"/>
                </a:lnTo>
                <a:lnTo>
                  <a:pt x="3601" y="2051"/>
                </a:lnTo>
                <a:lnTo>
                  <a:pt x="3596" y="2066"/>
                </a:lnTo>
                <a:lnTo>
                  <a:pt x="3590" y="2079"/>
                </a:lnTo>
                <a:lnTo>
                  <a:pt x="3582" y="2091"/>
                </a:lnTo>
                <a:lnTo>
                  <a:pt x="3575" y="2102"/>
                </a:lnTo>
                <a:lnTo>
                  <a:pt x="3567" y="2112"/>
                </a:lnTo>
                <a:lnTo>
                  <a:pt x="3558" y="2123"/>
                </a:lnTo>
                <a:lnTo>
                  <a:pt x="3548" y="2131"/>
                </a:lnTo>
                <a:lnTo>
                  <a:pt x="3537" y="2138"/>
                </a:lnTo>
                <a:lnTo>
                  <a:pt x="3527" y="2144"/>
                </a:lnTo>
                <a:lnTo>
                  <a:pt x="3516" y="2150"/>
                </a:lnTo>
                <a:lnTo>
                  <a:pt x="3505" y="2153"/>
                </a:lnTo>
                <a:lnTo>
                  <a:pt x="3493" y="2155"/>
                </a:lnTo>
                <a:lnTo>
                  <a:pt x="3480" y="2157"/>
                </a:lnTo>
                <a:close/>
                <a:moveTo>
                  <a:pt x="1835" y="694"/>
                </a:moveTo>
                <a:lnTo>
                  <a:pt x="1825" y="694"/>
                </a:lnTo>
                <a:lnTo>
                  <a:pt x="1816" y="692"/>
                </a:lnTo>
                <a:lnTo>
                  <a:pt x="1808" y="690"/>
                </a:lnTo>
                <a:lnTo>
                  <a:pt x="1799" y="686"/>
                </a:lnTo>
                <a:lnTo>
                  <a:pt x="1791" y="682"/>
                </a:lnTo>
                <a:lnTo>
                  <a:pt x="1784" y="677"/>
                </a:lnTo>
                <a:lnTo>
                  <a:pt x="1778" y="671"/>
                </a:lnTo>
                <a:lnTo>
                  <a:pt x="1772" y="663"/>
                </a:lnTo>
                <a:lnTo>
                  <a:pt x="1765" y="656"/>
                </a:lnTo>
                <a:lnTo>
                  <a:pt x="1759" y="648"/>
                </a:lnTo>
                <a:lnTo>
                  <a:pt x="1751" y="631"/>
                </a:lnTo>
                <a:lnTo>
                  <a:pt x="1748" y="620"/>
                </a:lnTo>
                <a:lnTo>
                  <a:pt x="1746" y="610"/>
                </a:lnTo>
                <a:lnTo>
                  <a:pt x="1744" y="599"/>
                </a:lnTo>
                <a:lnTo>
                  <a:pt x="1744" y="588"/>
                </a:lnTo>
                <a:lnTo>
                  <a:pt x="1744" y="578"/>
                </a:lnTo>
                <a:lnTo>
                  <a:pt x="1746" y="565"/>
                </a:lnTo>
                <a:lnTo>
                  <a:pt x="1748" y="555"/>
                </a:lnTo>
                <a:lnTo>
                  <a:pt x="1753" y="544"/>
                </a:lnTo>
                <a:lnTo>
                  <a:pt x="1755" y="533"/>
                </a:lnTo>
                <a:lnTo>
                  <a:pt x="1761" y="525"/>
                </a:lnTo>
                <a:lnTo>
                  <a:pt x="1765" y="516"/>
                </a:lnTo>
                <a:lnTo>
                  <a:pt x="1772" y="508"/>
                </a:lnTo>
                <a:lnTo>
                  <a:pt x="1778" y="500"/>
                </a:lnTo>
                <a:lnTo>
                  <a:pt x="1787" y="493"/>
                </a:lnTo>
                <a:lnTo>
                  <a:pt x="1795" y="487"/>
                </a:lnTo>
                <a:lnTo>
                  <a:pt x="1804" y="483"/>
                </a:lnTo>
                <a:lnTo>
                  <a:pt x="1812" y="478"/>
                </a:lnTo>
                <a:lnTo>
                  <a:pt x="1820" y="474"/>
                </a:lnTo>
                <a:lnTo>
                  <a:pt x="1831" y="472"/>
                </a:lnTo>
                <a:lnTo>
                  <a:pt x="1842" y="472"/>
                </a:lnTo>
                <a:lnTo>
                  <a:pt x="1852" y="474"/>
                </a:lnTo>
                <a:lnTo>
                  <a:pt x="1859" y="474"/>
                </a:lnTo>
                <a:lnTo>
                  <a:pt x="1863" y="476"/>
                </a:lnTo>
                <a:lnTo>
                  <a:pt x="1873" y="480"/>
                </a:lnTo>
                <a:lnTo>
                  <a:pt x="1880" y="489"/>
                </a:lnTo>
                <a:lnTo>
                  <a:pt x="1886" y="497"/>
                </a:lnTo>
                <a:lnTo>
                  <a:pt x="1890" y="506"/>
                </a:lnTo>
                <a:lnTo>
                  <a:pt x="1892" y="516"/>
                </a:lnTo>
                <a:lnTo>
                  <a:pt x="1895" y="529"/>
                </a:lnTo>
                <a:lnTo>
                  <a:pt x="1895" y="538"/>
                </a:lnTo>
                <a:lnTo>
                  <a:pt x="1892" y="544"/>
                </a:lnTo>
                <a:lnTo>
                  <a:pt x="1890" y="550"/>
                </a:lnTo>
                <a:lnTo>
                  <a:pt x="1888" y="559"/>
                </a:lnTo>
                <a:lnTo>
                  <a:pt x="1884" y="565"/>
                </a:lnTo>
                <a:lnTo>
                  <a:pt x="1880" y="571"/>
                </a:lnTo>
                <a:lnTo>
                  <a:pt x="1869" y="582"/>
                </a:lnTo>
                <a:lnTo>
                  <a:pt x="1863" y="588"/>
                </a:lnTo>
                <a:lnTo>
                  <a:pt x="1856" y="593"/>
                </a:lnTo>
                <a:lnTo>
                  <a:pt x="1842" y="601"/>
                </a:lnTo>
                <a:lnTo>
                  <a:pt x="1835" y="603"/>
                </a:lnTo>
                <a:lnTo>
                  <a:pt x="1827" y="605"/>
                </a:lnTo>
                <a:lnTo>
                  <a:pt x="1812" y="607"/>
                </a:lnTo>
                <a:lnTo>
                  <a:pt x="1806" y="605"/>
                </a:lnTo>
                <a:lnTo>
                  <a:pt x="1804" y="603"/>
                </a:lnTo>
                <a:lnTo>
                  <a:pt x="1801" y="601"/>
                </a:lnTo>
                <a:lnTo>
                  <a:pt x="1799" y="599"/>
                </a:lnTo>
                <a:lnTo>
                  <a:pt x="1797" y="595"/>
                </a:lnTo>
                <a:lnTo>
                  <a:pt x="1797" y="588"/>
                </a:lnTo>
                <a:lnTo>
                  <a:pt x="1797" y="582"/>
                </a:lnTo>
                <a:lnTo>
                  <a:pt x="1799" y="580"/>
                </a:lnTo>
                <a:lnTo>
                  <a:pt x="1801" y="578"/>
                </a:lnTo>
                <a:lnTo>
                  <a:pt x="1814" y="574"/>
                </a:lnTo>
                <a:lnTo>
                  <a:pt x="1825" y="569"/>
                </a:lnTo>
                <a:lnTo>
                  <a:pt x="1835" y="565"/>
                </a:lnTo>
                <a:lnTo>
                  <a:pt x="1846" y="557"/>
                </a:lnTo>
                <a:lnTo>
                  <a:pt x="1852" y="550"/>
                </a:lnTo>
                <a:lnTo>
                  <a:pt x="1856" y="546"/>
                </a:lnTo>
                <a:lnTo>
                  <a:pt x="1859" y="542"/>
                </a:lnTo>
                <a:lnTo>
                  <a:pt x="1861" y="533"/>
                </a:lnTo>
                <a:lnTo>
                  <a:pt x="1863" y="525"/>
                </a:lnTo>
                <a:lnTo>
                  <a:pt x="1863" y="519"/>
                </a:lnTo>
                <a:lnTo>
                  <a:pt x="1861" y="514"/>
                </a:lnTo>
                <a:lnTo>
                  <a:pt x="1859" y="512"/>
                </a:lnTo>
                <a:lnTo>
                  <a:pt x="1856" y="508"/>
                </a:lnTo>
                <a:lnTo>
                  <a:pt x="1852" y="506"/>
                </a:lnTo>
                <a:lnTo>
                  <a:pt x="1848" y="504"/>
                </a:lnTo>
                <a:lnTo>
                  <a:pt x="1837" y="502"/>
                </a:lnTo>
                <a:lnTo>
                  <a:pt x="1827" y="504"/>
                </a:lnTo>
                <a:lnTo>
                  <a:pt x="1823" y="506"/>
                </a:lnTo>
                <a:lnTo>
                  <a:pt x="1816" y="508"/>
                </a:lnTo>
                <a:lnTo>
                  <a:pt x="1812" y="512"/>
                </a:lnTo>
                <a:lnTo>
                  <a:pt x="1808" y="516"/>
                </a:lnTo>
                <a:lnTo>
                  <a:pt x="1797" y="527"/>
                </a:lnTo>
                <a:lnTo>
                  <a:pt x="1793" y="533"/>
                </a:lnTo>
                <a:lnTo>
                  <a:pt x="1789" y="540"/>
                </a:lnTo>
                <a:lnTo>
                  <a:pt x="1782" y="555"/>
                </a:lnTo>
                <a:lnTo>
                  <a:pt x="1780" y="569"/>
                </a:lnTo>
                <a:lnTo>
                  <a:pt x="1778" y="578"/>
                </a:lnTo>
                <a:lnTo>
                  <a:pt x="1778" y="586"/>
                </a:lnTo>
                <a:lnTo>
                  <a:pt x="1778" y="601"/>
                </a:lnTo>
                <a:lnTo>
                  <a:pt x="1780" y="610"/>
                </a:lnTo>
                <a:lnTo>
                  <a:pt x="1782" y="616"/>
                </a:lnTo>
                <a:lnTo>
                  <a:pt x="1787" y="629"/>
                </a:lnTo>
                <a:lnTo>
                  <a:pt x="1793" y="637"/>
                </a:lnTo>
                <a:lnTo>
                  <a:pt x="1801" y="648"/>
                </a:lnTo>
                <a:lnTo>
                  <a:pt x="1808" y="650"/>
                </a:lnTo>
                <a:lnTo>
                  <a:pt x="1812" y="654"/>
                </a:lnTo>
                <a:lnTo>
                  <a:pt x="1823" y="656"/>
                </a:lnTo>
                <a:lnTo>
                  <a:pt x="1829" y="658"/>
                </a:lnTo>
                <a:lnTo>
                  <a:pt x="1835" y="658"/>
                </a:lnTo>
                <a:lnTo>
                  <a:pt x="1848" y="656"/>
                </a:lnTo>
                <a:lnTo>
                  <a:pt x="1861" y="654"/>
                </a:lnTo>
                <a:lnTo>
                  <a:pt x="1865" y="652"/>
                </a:lnTo>
                <a:lnTo>
                  <a:pt x="1871" y="648"/>
                </a:lnTo>
                <a:lnTo>
                  <a:pt x="1882" y="641"/>
                </a:lnTo>
                <a:lnTo>
                  <a:pt x="1890" y="631"/>
                </a:lnTo>
                <a:lnTo>
                  <a:pt x="1899" y="620"/>
                </a:lnTo>
                <a:lnTo>
                  <a:pt x="1907" y="610"/>
                </a:lnTo>
                <a:lnTo>
                  <a:pt x="1914" y="597"/>
                </a:lnTo>
                <a:lnTo>
                  <a:pt x="1920" y="582"/>
                </a:lnTo>
                <a:lnTo>
                  <a:pt x="1926" y="569"/>
                </a:lnTo>
                <a:lnTo>
                  <a:pt x="1931" y="555"/>
                </a:lnTo>
                <a:lnTo>
                  <a:pt x="1933" y="540"/>
                </a:lnTo>
                <a:lnTo>
                  <a:pt x="1937" y="525"/>
                </a:lnTo>
                <a:lnTo>
                  <a:pt x="1937" y="510"/>
                </a:lnTo>
                <a:lnTo>
                  <a:pt x="1939" y="497"/>
                </a:lnTo>
                <a:lnTo>
                  <a:pt x="1937" y="485"/>
                </a:lnTo>
                <a:lnTo>
                  <a:pt x="1939" y="483"/>
                </a:lnTo>
                <a:lnTo>
                  <a:pt x="1943" y="480"/>
                </a:lnTo>
                <a:lnTo>
                  <a:pt x="1945" y="478"/>
                </a:lnTo>
                <a:lnTo>
                  <a:pt x="1952" y="478"/>
                </a:lnTo>
                <a:lnTo>
                  <a:pt x="1960" y="478"/>
                </a:lnTo>
                <a:lnTo>
                  <a:pt x="1962" y="480"/>
                </a:lnTo>
                <a:lnTo>
                  <a:pt x="1966" y="483"/>
                </a:lnTo>
                <a:lnTo>
                  <a:pt x="1971" y="491"/>
                </a:lnTo>
                <a:lnTo>
                  <a:pt x="1971" y="497"/>
                </a:lnTo>
                <a:lnTo>
                  <a:pt x="1971" y="504"/>
                </a:lnTo>
                <a:lnTo>
                  <a:pt x="1971" y="523"/>
                </a:lnTo>
                <a:lnTo>
                  <a:pt x="1969" y="540"/>
                </a:lnTo>
                <a:lnTo>
                  <a:pt x="1964" y="559"/>
                </a:lnTo>
                <a:lnTo>
                  <a:pt x="1960" y="576"/>
                </a:lnTo>
                <a:lnTo>
                  <a:pt x="1956" y="593"/>
                </a:lnTo>
                <a:lnTo>
                  <a:pt x="1950" y="607"/>
                </a:lnTo>
                <a:lnTo>
                  <a:pt x="1941" y="622"/>
                </a:lnTo>
                <a:lnTo>
                  <a:pt x="1933" y="637"/>
                </a:lnTo>
                <a:lnTo>
                  <a:pt x="1922" y="650"/>
                </a:lnTo>
                <a:lnTo>
                  <a:pt x="1918" y="654"/>
                </a:lnTo>
                <a:lnTo>
                  <a:pt x="1914" y="660"/>
                </a:lnTo>
                <a:lnTo>
                  <a:pt x="1901" y="671"/>
                </a:lnTo>
                <a:lnTo>
                  <a:pt x="1890" y="679"/>
                </a:lnTo>
                <a:lnTo>
                  <a:pt x="1878" y="686"/>
                </a:lnTo>
                <a:lnTo>
                  <a:pt x="1863" y="690"/>
                </a:lnTo>
                <a:lnTo>
                  <a:pt x="1850" y="694"/>
                </a:lnTo>
                <a:lnTo>
                  <a:pt x="1835" y="694"/>
                </a:lnTo>
                <a:close/>
                <a:moveTo>
                  <a:pt x="2066" y="690"/>
                </a:moveTo>
                <a:lnTo>
                  <a:pt x="2060" y="688"/>
                </a:lnTo>
                <a:lnTo>
                  <a:pt x="2051" y="684"/>
                </a:lnTo>
                <a:lnTo>
                  <a:pt x="2034" y="667"/>
                </a:lnTo>
                <a:lnTo>
                  <a:pt x="2015" y="648"/>
                </a:lnTo>
                <a:lnTo>
                  <a:pt x="1996" y="629"/>
                </a:lnTo>
                <a:lnTo>
                  <a:pt x="1990" y="618"/>
                </a:lnTo>
                <a:lnTo>
                  <a:pt x="1986" y="612"/>
                </a:lnTo>
                <a:lnTo>
                  <a:pt x="1979" y="599"/>
                </a:lnTo>
                <a:lnTo>
                  <a:pt x="1977" y="595"/>
                </a:lnTo>
                <a:lnTo>
                  <a:pt x="1977" y="588"/>
                </a:lnTo>
                <a:lnTo>
                  <a:pt x="1979" y="582"/>
                </a:lnTo>
                <a:lnTo>
                  <a:pt x="1981" y="574"/>
                </a:lnTo>
                <a:lnTo>
                  <a:pt x="1983" y="567"/>
                </a:lnTo>
                <a:lnTo>
                  <a:pt x="1990" y="559"/>
                </a:lnTo>
                <a:lnTo>
                  <a:pt x="2000" y="544"/>
                </a:lnTo>
                <a:lnTo>
                  <a:pt x="2019" y="523"/>
                </a:lnTo>
                <a:lnTo>
                  <a:pt x="2062" y="474"/>
                </a:lnTo>
                <a:lnTo>
                  <a:pt x="2066" y="476"/>
                </a:lnTo>
                <a:lnTo>
                  <a:pt x="2072" y="478"/>
                </a:lnTo>
                <a:lnTo>
                  <a:pt x="2079" y="483"/>
                </a:lnTo>
                <a:lnTo>
                  <a:pt x="2083" y="487"/>
                </a:lnTo>
                <a:lnTo>
                  <a:pt x="2083" y="493"/>
                </a:lnTo>
                <a:lnTo>
                  <a:pt x="2081" y="500"/>
                </a:lnTo>
                <a:lnTo>
                  <a:pt x="2081" y="504"/>
                </a:lnTo>
                <a:lnTo>
                  <a:pt x="2079" y="508"/>
                </a:lnTo>
                <a:lnTo>
                  <a:pt x="2049" y="542"/>
                </a:lnTo>
                <a:lnTo>
                  <a:pt x="2030" y="561"/>
                </a:lnTo>
                <a:lnTo>
                  <a:pt x="2017" y="578"/>
                </a:lnTo>
                <a:lnTo>
                  <a:pt x="2015" y="582"/>
                </a:lnTo>
                <a:lnTo>
                  <a:pt x="2013" y="586"/>
                </a:lnTo>
                <a:lnTo>
                  <a:pt x="2015" y="591"/>
                </a:lnTo>
                <a:lnTo>
                  <a:pt x="2017" y="597"/>
                </a:lnTo>
                <a:lnTo>
                  <a:pt x="2028" y="610"/>
                </a:lnTo>
                <a:lnTo>
                  <a:pt x="2045" y="627"/>
                </a:lnTo>
                <a:lnTo>
                  <a:pt x="2064" y="648"/>
                </a:lnTo>
                <a:lnTo>
                  <a:pt x="2083" y="665"/>
                </a:lnTo>
                <a:lnTo>
                  <a:pt x="2085" y="667"/>
                </a:lnTo>
                <a:lnTo>
                  <a:pt x="2087" y="671"/>
                </a:lnTo>
                <a:lnTo>
                  <a:pt x="2085" y="673"/>
                </a:lnTo>
                <a:lnTo>
                  <a:pt x="2085" y="677"/>
                </a:lnTo>
                <a:lnTo>
                  <a:pt x="2079" y="684"/>
                </a:lnTo>
                <a:lnTo>
                  <a:pt x="2072" y="688"/>
                </a:lnTo>
                <a:lnTo>
                  <a:pt x="2068" y="690"/>
                </a:lnTo>
                <a:lnTo>
                  <a:pt x="2066" y="690"/>
                </a:lnTo>
                <a:close/>
                <a:moveTo>
                  <a:pt x="1835" y="1287"/>
                </a:moveTo>
                <a:lnTo>
                  <a:pt x="1825" y="1285"/>
                </a:lnTo>
                <a:lnTo>
                  <a:pt x="1816" y="1285"/>
                </a:lnTo>
                <a:lnTo>
                  <a:pt x="1808" y="1281"/>
                </a:lnTo>
                <a:lnTo>
                  <a:pt x="1799" y="1278"/>
                </a:lnTo>
                <a:lnTo>
                  <a:pt x="1791" y="1274"/>
                </a:lnTo>
                <a:lnTo>
                  <a:pt x="1784" y="1268"/>
                </a:lnTo>
                <a:lnTo>
                  <a:pt x="1778" y="1262"/>
                </a:lnTo>
                <a:lnTo>
                  <a:pt x="1772" y="1255"/>
                </a:lnTo>
                <a:lnTo>
                  <a:pt x="1765" y="1247"/>
                </a:lnTo>
                <a:lnTo>
                  <a:pt x="1759" y="1240"/>
                </a:lnTo>
                <a:lnTo>
                  <a:pt x="1751" y="1221"/>
                </a:lnTo>
                <a:lnTo>
                  <a:pt x="1748" y="1211"/>
                </a:lnTo>
                <a:lnTo>
                  <a:pt x="1746" y="1202"/>
                </a:lnTo>
                <a:lnTo>
                  <a:pt x="1744" y="1192"/>
                </a:lnTo>
                <a:lnTo>
                  <a:pt x="1744" y="1179"/>
                </a:lnTo>
                <a:lnTo>
                  <a:pt x="1744" y="1168"/>
                </a:lnTo>
                <a:lnTo>
                  <a:pt x="1746" y="1158"/>
                </a:lnTo>
                <a:lnTo>
                  <a:pt x="1748" y="1147"/>
                </a:lnTo>
                <a:lnTo>
                  <a:pt x="1753" y="1137"/>
                </a:lnTo>
                <a:lnTo>
                  <a:pt x="1755" y="1126"/>
                </a:lnTo>
                <a:lnTo>
                  <a:pt x="1761" y="1115"/>
                </a:lnTo>
                <a:lnTo>
                  <a:pt x="1765" y="1107"/>
                </a:lnTo>
                <a:lnTo>
                  <a:pt x="1772" y="1099"/>
                </a:lnTo>
                <a:lnTo>
                  <a:pt x="1778" y="1092"/>
                </a:lnTo>
                <a:lnTo>
                  <a:pt x="1787" y="1084"/>
                </a:lnTo>
                <a:lnTo>
                  <a:pt x="1795" y="1077"/>
                </a:lnTo>
                <a:lnTo>
                  <a:pt x="1804" y="1073"/>
                </a:lnTo>
                <a:lnTo>
                  <a:pt x="1812" y="1069"/>
                </a:lnTo>
                <a:lnTo>
                  <a:pt x="1820" y="1067"/>
                </a:lnTo>
                <a:lnTo>
                  <a:pt x="1831" y="1065"/>
                </a:lnTo>
                <a:lnTo>
                  <a:pt x="1842" y="1065"/>
                </a:lnTo>
                <a:lnTo>
                  <a:pt x="1852" y="1065"/>
                </a:lnTo>
                <a:lnTo>
                  <a:pt x="1859" y="1067"/>
                </a:lnTo>
                <a:lnTo>
                  <a:pt x="1863" y="1069"/>
                </a:lnTo>
                <a:lnTo>
                  <a:pt x="1873" y="1073"/>
                </a:lnTo>
                <a:lnTo>
                  <a:pt x="1880" y="1079"/>
                </a:lnTo>
                <a:lnTo>
                  <a:pt x="1886" y="1088"/>
                </a:lnTo>
                <a:lnTo>
                  <a:pt x="1890" y="1099"/>
                </a:lnTo>
                <a:lnTo>
                  <a:pt x="1892" y="1109"/>
                </a:lnTo>
                <a:lnTo>
                  <a:pt x="1895" y="1122"/>
                </a:lnTo>
                <a:lnTo>
                  <a:pt x="1895" y="1128"/>
                </a:lnTo>
                <a:lnTo>
                  <a:pt x="1892" y="1137"/>
                </a:lnTo>
                <a:lnTo>
                  <a:pt x="1890" y="1143"/>
                </a:lnTo>
                <a:lnTo>
                  <a:pt x="1888" y="1149"/>
                </a:lnTo>
                <a:lnTo>
                  <a:pt x="1884" y="1158"/>
                </a:lnTo>
                <a:lnTo>
                  <a:pt x="1880" y="1164"/>
                </a:lnTo>
                <a:lnTo>
                  <a:pt x="1869" y="1175"/>
                </a:lnTo>
                <a:lnTo>
                  <a:pt x="1863" y="1179"/>
                </a:lnTo>
                <a:lnTo>
                  <a:pt x="1856" y="1185"/>
                </a:lnTo>
                <a:lnTo>
                  <a:pt x="1842" y="1192"/>
                </a:lnTo>
                <a:lnTo>
                  <a:pt x="1835" y="1194"/>
                </a:lnTo>
                <a:lnTo>
                  <a:pt x="1827" y="1196"/>
                </a:lnTo>
                <a:lnTo>
                  <a:pt x="1812" y="1198"/>
                </a:lnTo>
                <a:lnTo>
                  <a:pt x="1806" y="1196"/>
                </a:lnTo>
                <a:lnTo>
                  <a:pt x="1804" y="1196"/>
                </a:lnTo>
                <a:lnTo>
                  <a:pt x="1801" y="1194"/>
                </a:lnTo>
                <a:lnTo>
                  <a:pt x="1799" y="1190"/>
                </a:lnTo>
                <a:lnTo>
                  <a:pt x="1797" y="1187"/>
                </a:lnTo>
                <a:lnTo>
                  <a:pt x="1797" y="1179"/>
                </a:lnTo>
                <a:lnTo>
                  <a:pt x="1797" y="1173"/>
                </a:lnTo>
                <a:lnTo>
                  <a:pt x="1799" y="1170"/>
                </a:lnTo>
                <a:lnTo>
                  <a:pt x="1801" y="1168"/>
                </a:lnTo>
                <a:lnTo>
                  <a:pt x="1814" y="1166"/>
                </a:lnTo>
                <a:lnTo>
                  <a:pt x="1825" y="1162"/>
                </a:lnTo>
                <a:lnTo>
                  <a:pt x="1835" y="1156"/>
                </a:lnTo>
                <a:lnTo>
                  <a:pt x="1846" y="1149"/>
                </a:lnTo>
                <a:lnTo>
                  <a:pt x="1852" y="1141"/>
                </a:lnTo>
                <a:lnTo>
                  <a:pt x="1856" y="1137"/>
                </a:lnTo>
                <a:lnTo>
                  <a:pt x="1859" y="1132"/>
                </a:lnTo>
                <a:lnTo>
                  <a:pt x="1861" y="1124"/>
                </a:lnTo>
                <a:lnTo>
                  <a:pt x="1863" y="1115"/>
                </a:lnTo>
                <a:lnTo>
                  <a:pt x="1863" y="1111"/>
                </a:lnTo>
                <a:lnTo>
                  <a:pt x="1861" y="1107"/>
                </a:lnTo>
                <a:lnTo>
                  <a:pt x="1859" y="1103"/>
                </a:lnTo>
                <a:lnTo>
                  <a:pt x="1856" y="1101"/>
                </a:lnTo>
                <a:lnTo>
                  <a:pt x="1852" y="1096"/>
                </a:lnTo>
                <a:lnTo>
                  <a:pt x="1848" y="1094"/>
                </a:lnTo>
                <a:lnTo>
                  <a:pt x="1837" y="1094"/>
                </a:lnTo>
                <a:lnTo>
                  <a:pt x="1827" y="1096"/>
                </a:lnTo>
                <a:lnTo>
                  <a:pt x="1823" y="1099"/>
                </a:lnTo>
                <a:lnTo>
                  <a:pt x="1816" y="1101"/>
                </a:lnTo>
                <a:lnTo>
                  <a:pt x="1812" y="1105"/>
                </a:lnTo>
                <a:lnTo>
                  <a:pt x="1808" y="1109"/>
                </a:lnTo>
                <a:lnTo>
                  <a:pt x="1797" y="1120"/>
                </a:lnTo>
                <a:lnTo>
                  <a:pt x="1793" y="1124"/>
                </a:lnTo>
                <a:lnTo>
                  <a:pt x="1789" y="1130"/>
                </a:lnTo>
                <a:lnTo>
                  <a:pt x="1782" y="1145"/>
                </a:lnTo>
                <a:lnTo>
                  <a:pt x="1780" y="1162"/>
                </a:lnTo>
                <a:lnTo>
                  <a:pt x="1778" y="1170"/>
                </a:lnTo>
                <a:lnTo>
                  <a:pt x="1778" y="1179"/>
                </a:lnTo>
                <a:lnTo>
                  <a:pt x="1778" y="1194"/>
                </a:lnTo>
                <a:lnTo>
                  <a:pt x="1780" y="1200"/>
                </a:lnTo>
                <a:lnTo>
                  <a:pt x="1782" y="1206"/>
                </a:lnTo>
                <a:lnTo>
                  <a:pt x="1787" y="1219"/>
                </a:lnTo>
                <a:lnTo>
                  <a:pt x="1793" y="1230"/>
                </a:lnTo>
                <a:lnTo>
                  <a:pt x="1801" y="1238"/>
                </a:lnTo>
                <a:lnTo>
                  <a:pt x="1808" y="1242"/>
                </a:lnTo>
                <a:lnTo>
                  <a:pt x="1812" y="1245"/>
                </a:lnTo>
                <a:lnTo>
                  <a:pt x="1823" y="1249"/>
                </a:lnTo>
                <a:lnTo>
                  <a:pt x="1829" y="1249"/>
                </a:lnTo>
                <a:lnTo>
                  <a:pt x="1835" y="1251"/>
                </a:lnTo>
                <a:lnTo>
                  <a:pt x="1848" y="1249"/>
                </a:lnTo>
                <a:lnTo>
                  <a:pt x="1861" y="1245"/>
                </a:lnTo>
                <a:lnTo>
                  <a:pt x="1865" y="1242"/>
                </a:lnTo>
                <a:lnTo>
                  <a:pt x="1871" y="1240"/>
                </a:lnTo>
                <a:lnTo>
                  <a:pt x="1882" y="1232"/>
                </a:lnTo>
                <a:lnTo>
                  <a:pt x="1890" y="1223"/>
                </a:lnTo>
                <a:lnTo>
                  <a:pt x="1899" y="1213"/>
                </a:lnTo>
                <a:lnTo>
                  <a:pt x="1907" y="1200"/>
                </a:lnTo>
                <a:lnTo>
                  <a:pt x="1914" y="1187"/>
                </a:lnTo>
                <a:lnTo>
                  <a:pt x="1920" y="1175"/>
                </a:lnTo>
                <a:lnTo>
                  <a:pt x="1926" y="1160"/>
                </a:lnTo>
                <a:lnTo>
                  <a:pt x="1931" y="1145"/>
                </a:lnTo>
                <a:lnTo>
                  <a:pt x="1933" y="1132"/>
                </a:lnTo>
                <a:lnTo>
                  <a:pt x="1937" y="1118"/>
                </a:lnTo>
                <a:lnTo>
                  <a:pt x="1937" y="1103"/>
                </a:lnTo>
                <a:lnTo>
                  <a:pt x="1939" y="1090"/>
                </a:lnTo>
                <a:lnTo>
                  <a:pt x="1937" y="1077"/>
                </a:lnTo>
                <a:lnTo>
                  <a:pt x="1939" y="1073"/>
                </a:lnTo>
                <a:lnTo>
                  <a:pt x="1943" y="1071"/>
                </a:lnTo>
                <a:lnTo>
                  <a:pt x="1945" y="1069"/>
                </a:lnTo>
                <a:lnTo>
                  <a:pt x="1952" y="1069"/>
                </a:lnTo>
                <a:lnTo>
                  <a:pt x="1960" y="1071"/>
                </a:lnTo>
                <a:lnTo>
                  <a:pt x="1962" y="1073"/>
                </a:lnTo>
                <a:lnTo>
                  <a:pt x="1966" y="1075"/>
                </a:lnTo>
                <a:lnTo>
                  <a:pt x="1971" y="1082"/>
                </a:lnTo>
                <a:lnTo>
                  <a:pt x="1971" y="1088"/>
                </a:lnTo>
                <a:lnTo>
                  <a:pt x="1971" y="1094"/>
                </a:lnTo>
                <a:lnTo>
                  <a:pt x="1971" y="1113"/>
                </a:lnTo>
                <a:lnTo>
                  <a:pt x="1969" y="1132"/>
                </a:lnTo>
                <a:lnTo>
                  <a:pt x="1964" y="1149"/>
                </a:lnTo>
                <a:lnTo>
                  <a:pt x="1960" y="1166"/>
                </a:lnTo>
                <a:lnTo>
                  <a:pt x="1956" y="1183"/>
                </a:lnTo>
                <a:lnTo>
                  <a:pt x="1950" y="1200"/>
                </a:lnTo>
                <a:lnTo>
                  <a:pt x="1941" y="1215"/>
                </a:lnTo>
                <a:lnTo>
                  <a:pt x="1933" y="1228"/>
                </a:lnTo>
                <a:lnTo>
                  <a:pt x="1922" y="1240"/>
                </a:lnTo>
                <a:lnTo>
                  <a:pt x="1918" y="1247"/>
                </a:lnTo>
                <a:lnTo>
                  <a:pt x="1914" y="1253"/>
                </a:lnTo>
                <a:lnTo>
                  <a:pt x="1901" y="1262"/>
                </a:lnTo>
                <a:lnTo>
                  <a:pt x="1890" y="1270"/>
                </a:lnTo>
                <a:lnTo>
                  <a:pt x="1878" y="1276"/>
                </a:lnTo>
                <a:lnTo>
                  <a:pt x="1863" y="1283"/>
                </a:lnTo>
                <a:lnTo>
                  <a:pt x="1850" y="1285"/>
                </a:lnTo>
                <a:lnTo>
                  <a:pt x="1835" y="1287"/>
                </a:lnTo>
                <a:close/>
                <a:moveTo>
                  <a:pt x="2066" y="1283"/>
                </a:moveTo>
                <a:lnTo>
                  <a:pt x="2060" y="1281"/>
                </a:lnTo>
                <a:lnTo>
                  <a:pt x="2051" y="1274"/>
                </a:lnTo>
                <a:lnTo>
                  <a:pt x="2034" y="1259"/>
                </a:lnTo>
                <a:lnTo>
                  <a:pt x="2015" y="1240"/>
                </a:lnTo>
                <a:lnTo>
                  <a:pt x="1996" y="1219"/>
                </a:lnTo>
                <a:lnTo>
                  <a:pt x="1990" y="1211"/>
                </a:lnTo>
                <a:lnTo>
                  <a:pt x="1986" y="1204"/>
                </a:lnTo>
                <a:lnTo>
                  <a:pt x="1979" y="1192"/>
                </a:lnTo>
                <a:lnTo>
                  <a:pt x="1977" y="1185"/>
                </a:lnTo>
                <a:lnTo>
                  <a:pt x="1977" y="1179"/>
                </a:lnTo>
                <a:lnTo>
                  <a:pt x="1979" y="1173"/>
                </a:lnTo>
                <a:lnTo>
                  <a:pt x="1981" y="1166"/>
                </a:lnTo>
                <a:lnTo>
                  <a:pt x="1983" y="1158"/>
                </a:lnTo>
                <a:lnTo>
                  <a:pt x="1990" y="1149"/>
                </a:lnTo>
                <a:lnTo>
                  <a:pt x="2000" y="1135"/>
                </a:lnTo>
                <a:lnTo>
                  <a:pt x="2019" y="1115"/>
                </a:lnTo>
                <a:lnTo>
                  <a:pt x="2062" y="1067"/>
                </a:lnTo>
                <a:lnTo>
                  <a:pt x="2066" y="1067"/>
                </a:lnTo>
                <a:lnTo>
                  <a:pt x="2072" y="1069"/>
                </a:lnTo>
                <a:lnTo>
                  <a:pt x="2079" y="1073"/>
                </a:lnTo>
                <a:lnTo>
                  <a:pt x="2083" y="1079"/>
                </a:lnTo>
                <a:lnTo>
                  <a:pt x="2083" y="1086"/>
                </a:lnTo>
                <a:lnTo>
                  <a:pt x="2081" y="1092"/>
                </a:lnTo>
                <a:lnTo>
                  <a:pt x="2081" y="1094"/>
                </a:lnTo>
                <a:lnTo>
                  <a:pt x="2079" y="1099"/>
                </a:lnTo>
                <a:lnTo>
                  <a:pt x="2049" y="1132"/>
                </a:lnTo>
                <a:lnTo>
                  <a:pt x="2030" y="1154"/>
                </a:lnTo>
                <a:lnTo>
                  <a:pt x="2017" y="1168"/>
                </a:lnTo>
                <a:lnTo>
                  <a:pt x="2015" y="1173"/>
                </a:lnTo>
                <a:lnTo>
                  <a:pt x="2013" y="1179"/>
                </a:lnTo>
                <a:lnTo>
                  <a:pt x="2015" y="1183"/>
                </a:lnTo>
                <a:lnTo>
                  <a:pt x="2017" y="1190"/>
                </a:lnTo>
                <a:lnTo>
                  <a:pt x="2028" y="1202"/>
                </a:lnTo>
                <a:lnTo>
                  <a:pt x="2045" y="1219"/>
                </a:lnTo>
                <a:lnTo>
                  <a:pt x="2064" y="1238"/>
                </a:lnTo>
                <a:lnTo>
                  <a:pt x="2083" y="1257"/>
                </a:lnTo>
                <a:lnTo>
                  <a:pt x="2085" y="1259"/>
                </a:lnTo>
                <a:lnTo>
                  <a:pt x="2087" y="1262"/>
                </a:lnTo>
                <a:lnTo>
                  <a:pt x="2085" y="1266"/>
                </a:lnTo>
                <a:lnTo>
                  <a:pt x="2085" y="1268"/>
                </a:lnTo>
                <a:lnTo>
                  <a:pt x="2079" y="1276"/>
                </a:lnTo>
                <a:lnTo>
                  <a:pt x="2072" y="1281"/>
                </a:lnTo>
                <a:lnTo>
                  <a:pt x="2068" y="1283"/>
                </a:lnTo>
                <a:lnTo>
                  <a:pt x="2066" y="1283"/>
                </a:lnTo>
                <a:close/>
                <a:moveTo>
                  <a:pt x="1835" y="1877"/>
                </a:moveTo>
                <a:lnTo>
                  <a:pt x="1825" y="1877"/>
                </a:lnTo>
                <a:lnTo>
                  <a:pt x="1816" y="1875"/>
                </a:lnTo>
                <a:lnTo>
                  <a:pt x="1808" y="1873"/>
                </a:lnTo>
                <a:lnTo>
                  <a:pt x="1799" y="1869"/>
                </a:lnTo>
                <a:lnTo>
                  <a:pt x="1791" y="1865"/>
                </a:lnTo>
                <a:lnTo>
                  <a:pt x="1784" y="1861"/>
                </a:lnTo>
                <a:lnTo>
                  <a:pt x="1778" y="1854"/>
                </a:lnTo>
                <a:lnTo>
                  <a:pt x="1772" y="1848"/>
                </a:lnTo>
                <a:lnTo>
                  <a:pt x="1765" y="1839"/>
                </a:lnTo>
                <a:lnTo>
                  <a:pt x="1759" y="1831"/>
                </a:lnTo>
                <a:lnTo>
                  <a:pt x="1751" y="1814"/>
                </a:lnTo>
                <a:lnTo>
                  <a:pt x="1748" y="1803"/>
                </a:lnTo>
                <a:lnTo>
                  <a:pt x="1746" y="1793"/>
                </a:lnTo>
                <a:lnTo>
                  <a:pt x="1744" y="1782"/>
                </a:lnTo>
                <a:lnTo>
                  <a:pt x="1744" y="1772"/>
                </a:lnTo>
                <a:lnTo>
                  <a:pt x="1744" y="1761"/>
                </a:lnTo>
                <a:lnTo>
                  <a:pt x="1746" y="1748"/>
                </a:lnTo>
                <a:lnTo>
                  <a:pt x="1748" y="1738"/>
                </a:lnTo>
                <a:lnTo>
                  <a:pt x="1753" y="1727"/>
                </a:lnTo>
                <a:lnTo>
                  <a:pt x="1755" y="1719"/>
                </a:lnTo>
                <a:lnTo>
                  <a:pt x="1761" y="1708"/>
                </a:lnTo>
                <a:lnTo>
                  <a:pt x="1765" y="1700"/>
                </a:lnTo>
                <a:lnTo>
                  <a:pt x="1772" y="1691"/>
                </a:lnTo>
                <a:lnTo>
                  <a:pt x="1778" y="1683"/>
                </a:lnTo>
                <a:lnTo>
                  <a:pt x="1787" y="1676"/>
                </a:lnTo>
                <a:lnTo>
                  <a:pt x="1795" y="1670"/>
                </a:lnTo>
                <a:lnTo>
                  <a:pt x="1804" y="1666"/>
                </a:lnTo>
                <a:lnTo>
                  <a:pt x="1812" y="1662"/>
                </a:lnTo>
                <a:lnTo>
                  <a:pt x="1820" y="1657"/>
                </a:lnTo>
                <a:lnTo>
                  <a:pt x="1831" y="1655"/>
                </a:lnTo>
                <a:lnTo>
                  <a:pt x="1842" y="1655"/>
                </a:lnTo>
                <a:lnTo>
                  <a:pt x="1852" y="1657"/>
                </a:lnTo>
                <a:lnTo>
                  <a:pt x="1859" y="1657"/>
                </a:lnTo>
                <a:lnTo>
                  <a:pt x="1863" y="1659"/>
                </a:lnTo>
                <a:lnTo>
                  <a:pt x="1873" y="1666"/>
                </a:lnTo>
                <a:lnTo>
                  <a:pt x="1880" y="1672"/>
                </a:lnTo>
                <a:lnTo>
                  <a:pt x="1886" y="1681"/>
                </a:lnTo>
                <a:lnTo>
                  <a:pt x="1890" y="1689"/>
                </a:lnTo>
                <a:lnTo>
                  <a:pt x="1892" y="1702"/>
                </a:lnTo>
                <a:lnTo>
                  <a:pt x="1895" y="1712"/>
                </a:lnTo>
                <a:lnTo>
                  <a:pt x="1895" y="1721"/>
                </a:lnTo>
                <a:lnTo>
                  <a:pt x="1892" y="1727"/>
                </a:lnTo>
                <a:lnTo>
                  <a:pt x="1890" y="1736"/>
                </a:lnTo>
                <a:lnTo>
                  <a:pt x="1888" y="1742"/>
                </a:lnTo>
                <a:lnTo>
                  <a:pt x="1884" y="1748"/>
                </a:lnTo>
                <a:lnTo>
                  <a:pt x="1880" y="1755"/>
                </a:lnTo>
                <a:lnTo>
                  <a:pt x="1869" y="1767"/>
                </a:lnTo>
                <a:lnTo>
                  <a:pt x="1863" y="1772"/>
                </a:lnTo>
                <a:lnTo>
                  <a:pt x="1856" y="1776"/>
                </a:lnTo>
                <a:lnTo>
                  <a:pt x="1842" y="1784"/>
                </a:lnTo>
                <a:lnTo>
                  <a:pt x="1835" y="1786"/>
                </a:lnTo>
                <a:lnTo>
                  <a:pt x="1827" y="1789"/>
                </a:lnTo>
                <a:lnTo>
                  <a:pt x="1812" y="1791"/>
                </a:lnTo>
                <a:lnTo>
                  <a:pt x="1806" y="1789"/>
                </a:lnTo>
                <a:lnTo>
                  <a:pt x="1804" y="1786"/>
                </a:lnTo>
                <a:lnTo>
                  <a:pt x="1801" y="1784"/>
                </a:lnTo>
                <a:lnTo>
                  <a:pt x="1799" y="1782"/>
                </a:lnTo>
                <a:lnTo>
                  <a:pt x="1797" y="1778"/>
                </a:lnTo>
                <a:lnTo>
                  <a:pt x="1797" y="1772"/>
                </a:lnTo>
                <a:lnTo>
                  <a:pt x="1797" y="1765"/>
                </a:lnTo>
                <a:lnTo>
                  <a:pt x="1799" y="1763"/>
                </a:lnTo>
                <a:lnTo>
                  <a:pt x="1801" y="1761"/>
                </a:lnTo>
                <a:lnTo>
                  <a:pt x="1814" y="1759"/>
                </a:lnTo>
                <a:lnTo>
                  <a:pt x="1825" y="1753"/>
                </a:lnTo>
                <a:lnTo>
                  <a:pt x="1835" y="1748"/>
                </a:lnTo>
                <a:lnTo>
                  <a:pt x="1846" y="1740"/>
                </a:lnTo>
                <a:lnTo>
                  <a:pt x="1852" y="1734"/>
                </a:lnTo>
                <a:lnTo>
                  <a:pt x="1856" y="1729"/>
                </a:lnTo>
                <a:lnTo>
                  <a:pt x="1859" y="1725"/>
                </a:lnTo>
                <a:lnTo>
                  <a:pt x="1861" y="1717"/>
                </a:lnTo>
                <a:lnTo>
                  <a:pt x="1863" y="1708"/>
                </a:lnTo>
                <a:lnTo>
                  <a:pt x="1863" y="1704"/>
                </a:lnTo>
                <a:lnTo>
                  <a:pt x="1861" y="1698"/>
                </a:lnTo>
                <a:lnTo>
                  <a:pt x="1859" y="1695"/>
                </a:lnTo>
                <a:lnTo>
                  <a:pt x="1856" y="1691"/>
                </a:lnTo>
                <a:lnTo>
                  <a:pt x="1852" y="1689"/>
                </a:lnTo>
                <a:lnTo>
                  <a:pt x="1848" y="1687"/>
                </a:lnTo>
                <a:lnTo>
                  <a:pt x="1837" y="1685"/>
                </a:lnTo>
                <a:lnTo>
                  <a:pt x="1827" y="1687"/>
                </a:lnTo>
                <a:lnTo>
                  <a:pt x="1823" y="1689"/>
                </a:lnTo>
                <a:lnTo>
                  <a:pt x="1816" y="1691"/>
                </a:lnTo>
                <a:lnTo>
                  <a:pt x="1812" y="1695"/>
                </a:lnTo>
                <a:lnTo>
                  <a:pt x="1808" y="1700"/>
                </a:lnTo>
                <a:lnTo>
                  <a:pt x="1797" y="1710"/>
                </a:lnTo>
                <a:lnTo>
                  <a:pt x="1793" y="1717"/>
                </a:lnTo>
                <a:lnTo>
                  <a:pt x="1789" y="1723"/>
                </a:lnTo>
                <a:lnTo>
                  <a:pt x="1782" y="1738"/>
                </a:lnTo>
                <a:lnTo>
                  <a:pt x="1780" y="1753"/>
                </a:lnTo>
                <a:lnTo>
                  <a:pt x="1778" y="1761"/>
                </a:lnTo>
                <a:lnTo>
                  <a:pt x="1778" y="1770"/>
                </a:lnTo>
                <a:lnTo>
                  <a:pt x="1778" y="1784"/>
                </a:lnTo>
                <a:lnTo>
                  <a:pt x="1780" y="1793"/>
                </a:lnTo>
                <a:lnTo>
                  <a:pt x="1782" y="1799"/>
                </a:lnTo>
                <a:lnTo>
                  <a:pt x="1787" y="1812"/>
                </a:lnTo>
                <a:lnTo>
                  <a:pt x="1793" y="1822"/>
                </a:lnTo>
                <a:lnTo>
                  <a:pt x="1801" y="1831"/>
                </a:lnTo>
                <a:lnTo>
                  <a:pt x="1808" y="1833"/>
                </a:lnTo>
                <a:lnTo>
                  <a:pt x="1812" y="1837"/>
                </a:lnTo>
                <a:lnTo>
                  <a:pt x="1823" y="1841"/>
                </a:lnTo>
                <a:lnTo>
                  <a:pt x="1829" y="1841"/>
                </a:lnTo>
                <a:lnTo>
                  <a:pt x="1835" y="1841"/>
                </a:lnTo>
                <a:lnTo>
                  <a:pt x="1848" y="1841"/>
                </a:lnTo>
                <a:lnTo>
                  <a:pt x="1861" y="1837"/>
                </a:lnTo>
                <a:lnTo>
                  <a:pt x="1865" y="1835"/>
                </a:lnTo>
                <a:lnTo>
                  <a:pt x="1871" y="1831"/>
                </a:lnTo>
                <a:lnTo>
                  <a:pt x="1882" y="1825"/>
                </a:lnTo>
                <a:lnTo>
                  <a:pt x="1890" y="1814"/>
                </a:lnTo>
                <a:lnTo>
                  <a:pt x="1899" y="1803"/>
                </a:lnTo>
                <a:lnTo>
                  <a:pt x="1907" y="1793"/>
                </a:lnTo>
                <a:lnTo>
                  <a:pt x="1914" y="1780"/>
                </a:lnTo>
                <a:lnTo>
                  <a:pt x="1920" y="1765"/>
                </a:lnTo>
                <a:lnTo>
                  <a:pt x="1926" y="1753"/>
                </a:lnTo>
                <a:lnTo>
                  <a:pt x="1931" y="1738"/>
                </a:lnTo>
                <a:lnTo>
                  <a:pt x="1933" y="1723"/>
                </a:lnTo>
                <a:lnTo>
                  <a:pt x="1937" y="1708"/>
                </a:lnTo>
                <a:lnTo>
                  <a:pt x="1937" y="1695"/>
                </a:lnTo>
                <a:lnTo>
                  <a:pt x="1939" y="1681"/>
                </a:lnTo>
                <a:lnTo>
                  <a:pt x="1937" y="1668"/>
                </a:lnTo>
                <a:lnTo>
                  <a:pt x="1939" y="1666"/>
                </a:lnTo>
                <a:lnTo>
                  <a:pt x="1943" y="1664"/>
                </a:lnTo>
                <a:lnTo>
                  <a:pt x="1945" y="1662"/>
                </a:lnTo>
                <a:lnTo>
                  <a:pt x="1952" y="1662"/>
                </a:lnTo>
                <a:lnTo>
                  <a:pt x="1960" y="1662"/>
                </a:lnTo>
                <a:lnTo>
                  <a:pt x="1962" y="1664"/>
                </a:lnTo>
                <a:lnTo>
                  <a:pt x="1966" y="1666"/>
                </a:lnTo>
                <a:lnTo>
                  <a:pt x="1971" y="1674"/>
                </a:lnTo>
                <a:lnTo>
                  <a:pt x="1971" y="1681"/>
                </a:lnTo>
                <a:lnTo>
                  <a:pt x="1971" y="1687"/>
                </a:lnTo>
                <a:lnTo>
                  <a:pt x="1971" y="1706"/>
                </a:lnTo>
                <a:lnTo>
                  <a:pt x="1969" y="1723"/>
                </a:lnTo>
                <a:lnTo>
                  <a:pt x="1964" y="1742"/>
                </a:lnTo>
                <a:lnTo>
                  <a:pt x="1960" y="1759"/>
                </a:lnTo>
                <a:lnTo>
                  <a:pt x="1956" y="1776"/>
                </a:lnTo>
                <a:lnTo>
                  <a:pt x="1950" y="1791"/>
                </a:lnTo>
                <a:lnTo>
                  <a:pt x="1941" y="1805"/>
                </a:lnTo>
                <a:lnTo>
                  <a:pt x="1933" y="1820"/>
                </a:lnTo>
                <a:lnTo>
                  <a:pt x="1922" y="1833"/>
                </a:lnTo>
                <a:lnTo>
                  <a:pt x="1918" y="1839"/>
                </a:lnTo>
                <a:lnTo>
                  <a:pt x="1914" y="1844"/>
                </a:lnTo>
                <a:lnTo>
                  <a:pt x="1901" y="1854"/>
                </a:lnTo>
                <a:lnTo>
                  <a:pt x="1890" y="1863"/>
                </a:lnTo>
                <a:lnTo>
                  <a:pt x="1878" y="1869"/>
                </a:lnTo>
                <a:lnTo>
                  <a:pt x="1863" y="1873"/>
                </a:lnTo>
                <a:lnTo>
                  <a:pt x="1850" y="1877"/>
                </a:lnTo>
                <a:lnTo>
                  <a:pt x="1835" y="1877"/>
                </a:lnTo>
                <a:close/>
                <a:moveTo>
                  <a:pt x="2066" y="1873"/>
                </a:moveTo>
                <a:lnTo>
                  <a:pt x="2060" y="1871"/>
                </a:lnTo>
                <a:lnTo>
                  <a:pt x="2051" y="1867"/>
                </a:lnTo>
                <a:lnTo>
                  <a:pt x="2034" y="1852"/>
                </a:lnTo>
                <a:lnTo>
                  <a:pt x="2015" y="1831"/>
                </a:lnTo>
                <a:lnTo>
                  <a:pt x="1996" y="1812"/>
                </a:lnTo>
                <a:lnTo>
                  <a:pt x="1990" y="1803"/>
                </a:lnTo>
                <a:lnTo>
                  <a:pt x="1986" y="1795"/>
                </a:lnTo>
                <a:lnTo>
                  <a:pt x="1979" y="1784"/>
                </a:lnTo>
                <a:lnTo>
                  <a:pt x="1977" y="1778"/>
                </a:lnTo>
                <a:lnTo>
                  <a:pt x="1977" y="1772"/>
                </a:lnTo>
                <a:lnTo>
                  <a:pt x="1979" y="1765"/>
                </a:lnTo>
                <a:lnTo>
                  <a:pt x="1981" y="1757"/>
                </a:lnTo>
                <a:lnTo>
                  <a:pt x="1983" y="1750"/>
                </a:lnTo>
                <a:lnTo>
                  <a:pt x="1990" y="1742"/>
                </a:lnTo>
                <a:lnTo>
                  <a:pt x="2000" y="1727"/>
                </a:lnTo>
                <a:lnTo>
                  <a:pt x="2019" y="1706"/>
                </a:lnTo>
                <a:lnTo>
                  <a:pt x="2062" y="1659"/>
                </a:lnTo>
                <a:lnTo>
                  <a:pt x="2066" y="1659"/>
                </a:lnTo>
                <a:lnTo>
                  <a:pt x="2072" y="1662"/>
                </a:lnTo>
                <a:lnTo>
                  <a:pt x="2079" y="1666"/>
                </a:lnTo>
                <a:lnTo>
                  <a:pt x="2083" y="1672"/>
                </a:lnTo>
                <a:lnTo>
                  <a:pt x="2083" y="1676"/>
                </a:lnTo>
                <a:lnTo>
                  <a:pt x="2081" y="1683"/>
                </a:lnTo>
                <a:lnTo>
                  <a:pt x="2081" y="1687"/>
                </a:lnTo>
                <a:lnTo>
                  <a:pt x="2079" y="1691"/>
                </a:lnTo>
                <a:lnTo>
                  <a:pt x="2049" y="1725"/>
                </a:lnTo>
                <a:lnTo>
                  <a:pt x="2030" y="1744"/>
                </a:lnTo>
                <a:lnTo>
                  <a:pt x="2017" y="1761"/>
                </a:lnTo>
                <a:lnTo>
                  <a:pt x="2015" y="1765"/>
                </a:lnTo>
                <a:lnTo>
                  <a:pt x="2013" y="1770"/>
                </a:lnTo>
                <a:lnTo>
                  <a:pt x="2015" y="1776"/>
                </a:lnTo>
                <a:lnTo>
                  <a:pt x="2017" y="1780"/>
                </a:lnTo>
                <a:lnTo>
                  <a:pt x="2028" y="1793"/>
                </a:lnTo>
                <a:lnTo>
                  <a:pt x="2045" y="1810"/>
                </a:lnTo>
                <a:lnTo>
                  <a:pt x="2064" y="1831"/>
                </a:lnTo>
                <a:lnTo>
                  <a:pt x="2083" y="1848"/>
                </a:lnTo>
                <a:lnTo>
                  <a:pt x="2085" y="1850"/>
                </a:lnTo>
                <a:lnTo>
                  <a:pt x="2087" y="1854"/>
                </a:lnTo>
                <a:lnTo>
                  <a:pt x="2085" y="1856"/>
                </a:lnTo>
                <a:lnTo>
                  <a:pt x="2085" y="1861"/>
                </a:lnTo>
                <a:lnTo>
                  <a:pt x="2079" y="1867"/>
                </a:lnTo>
                <a:lnTo>
                  <a:pt x="2072" y="1873"/>
                </a:lnTo>
                <a:lnTo>
                  <a:pt x="2068" y="1873"/>
                </a:lnTo>
                <a:lnTo>
                  <a:pt x="2066" y="1873"/>
                </a:lnTo>
                <a:close/>
                <a:moveTo>
                  <a:pt x="476" y="694"/>
                </a:moveTo>
                <a:lnTo>
                  <a:pt x="466" y="694"/>
                </a:lnTo>
                <a:lnTo>
                  <a:pt x="457" y="692"/>
                </a:lnTo>
                <a:lnTo>
                  <a:pt x="449" y="690"/>
                </a:lnTo>
                <a:lnTo>
                  <a:pt x="440" y="686"/>
                </a:lnTo>
                <a:lnTo>
                  <a:pt x="432" y="682"/>
                </a:lnTo>
                <a:lnTo>
                  <a:pt x="425" y="677"/>
                </a:lnTo>
                <a:lnTo>
                  <a:pt x="417" y="671"/>
                </a:lnTo>
                <a:lnTo>
                  <a:pt x="411" y="663"/>
                </a:lnTo>
                <a:lnTo>
                  <a:pt x="406" y="656"/>
                </a:lnTo>
                <a:lnTo>
                  <a:pt x="400" y="648"/>
                </a:lnTo>
                <a:lnTo>
                  <a:pt x="392" y="631"/>
                </a:lnTo>
                <a:lnTo>
                  <a:pt x="389" y="620"/>
                </a:lnTo>
                <a:lnTo>
                  <a:pt x="387" y="610"/>
                </a:lnTo>
                <a:lnTo>
                  <a:pt x="385" y="599"/>
                </a:lnTo>
                <a:lnTo>
                  <a:pt x="385" y="588"/>
                </a:lnTo>
                <a:lnTo>
                  <a:pt x="385" y="578"/>
                </a:lnTo>
                <a:lnTo>
                  <a:pt x="387" y="565"/>
                </a:lnTo>
                <a:lnTo>
                  <a:pt x="389" y="555"/>
                </a:lnTo>
                <a:lnTo>
                  <a:pt x="392" y="544"/>
                </a:lnTo>
                <a:lnTo>
                  <a:pt x="396" y="533"/>
                </a:lnTo>
                <a:lnTo>
                  <a:pt x="402" y="525"/>
                </a:lnTo>
                <a:lnTo>
                  <a:pt x="406" y="516"/>
                </a:lnTo>
                <a:lnTo>
                  <a:pt x="413" y="508"/>
                </a:lnTo>
                <a:lnTo>
                  <a:pt x="419" y="500"/>
                </a:lnTo>
                <a:lnTo>
                  <a:pt x="428" y="493"/>
                </a:lnTo>
                <a:lnTo>
                  <a:pt x="434" y="487"/>
                </a:lnTo>
                <a:lnTo>
                  <a:pt x="442" y="483"/>
                </a:lnTo>
                <a:lnTo>
                  <a:pt x="453" y="478"/>
                </a:lnTo>
                <a:lnTo>
                  <a:pt x="461" y="474"/>
                </a:lnTo>
                <a:lnTo>
                  <a:pt x="472" y="472"/>
                </a:lnTo>
                <a:lnTo>
                  <a:pt x="481" y="472"/>
                </a:lnTo>
                <a:lnTo>
                  <a:pt x="493" y="474"/>
                </a:lnTo>
                <a:lnTo>
                  <a:pt x="500" y="474"/>
                </a:lnTo>
                <a:lnTo>
                  <a:pt x="504" y="476"/>
                </a:lnTo>
                <a:lnTo>
                  <a:pt x="512" y="480"/>
                </a:lnTo>
                <a:lnTo>
                  <a:pt x="521" y="489"/>
                </a:lnTo>
                <a:lnTo>
                  <a:pt x="527" y="497"/>
                </a:lnTo>
                <a:lnTo>
                  <a:pt x="531" y="506"/>
                </a:lnTo>
                <a:lnTo>
                  <a:pt x="533" y="516"/>
                </a:lnTo>
                <a:lnTo>
                  <a:pt x="536" y="529"/>
                </a:lnTo>
                <a:lnTo>
                  <a:pt x="533" y="538"/>
                </a:lnTo>
                <a:lnTo>
                  <a:pt x="533" y="544"/>
                </a:lnTo>
                <a:lnTo>
                  <a:pt x="531" y="550"/>
                </a:lnTo>
                <a:lnTo>
                  <a:pt x="527" y="559"/>
                </a:lnTo>
                <a:lnTo>
                  <a:pt x="525" y="565"/>
                </a:lnTo>
                <a:lnTo>
                  <a:pt x="519" y="571"/>
                </a:lnTo>
                <a:lnTo>
                  <a:pt x="508" y="582"/>
                </a:lnTo>
                <a:lnTo>
                  <a:pt x="504" y="588"/>
                </a:lnTo>
                <a:lnTo>
                  <a:pt x="497" y="593"/>
                </a:lnTo>
                <a:lnTo>
                  <a:pt x="483" y="601"/>
                </a:lnTo>
                <a:lnTo>
                  <a:pt x="476" y="603"/>
                </a:lnTo>
                <a:lnTo>
                  <a:pt x="468" y="605"/>
                </a:lnTo>
                <a:lnTo>
                  <a:pt x="453" y="607"/>
                </a:lnTo>
                <a:lnTo>
                  <a:pt x="447" y="605"/>
                </a:lnTo>
                <a:lnTo>
                  <a:pt x="445" y="603"/>
                </a:lnTo>
                <a:lnTo>
                  <a:pt x="440" y="601"/>
                </a:lnTo>
                <a:lnTo>
                  <a:pt x="440" y="599"/>
                </a:lnTo>
                <a:lnTo>
                  <a:pt x="438" y="595"/>
                </a:lnTo>
                <a:lnTo>
                  <a:pt x="436" y="588"/>
                </a:lnTo>
                <a:lnTo>
                  <a:pt x="438" y="582"/>
                </a:lnTo>
                <a:lnTo>
                  <a:pt x="438" y="580"/>
                </a:lnTo>
                <a:lnTo>
                  <a:pt x="440" y="578"/>
                </a:lnTo>
                <a:lnTo>
                  <a:pt x="453" y="574"/>
                </a:lnTo>
                <a:lnTo>
                  <a:pt x="466" y="569"/>
                </a:lnTo>
                <a:lnTo>
                  <a:pt x="476" y="565"/>
                </a:lnTo>
                <a:lnTo>
                  <a:pt x="485" y="557"/>
                </a:lnTo>
                <a:lnTo>
                  <a:pt x="493" y="550"/>
                </a:lnTo>
                <a:lnTo>
                  <a:pt x="495" y="546"/>
                </a:lnTo>
                <a:lnTo>
                  <a:pt x="500" y="542"/>
                </a:lnTo>
                <a:lnTo>
                  <a:pt x="502" y="533"/>
                </a:lnTo>
                <a:lnTo>
                  <a:pt x="504" y="525"/>
                </a:lnTo>
                <a:lnTo>
                  <a:pt x="504" y="519"/>
                </a:lnTo>
                <a:lnTo>
                  <a:pt x="502" y="514"/>
                </a:lnTo>
                <a:lnTo>
                  <a:pt x="500" y="512"/>
                </a:lnTo>
                <a:lnTo>
                  <a:pt x="497" y="508"/>
                </a:lnTo>
                <a:lnTo>
                  <a:pt x="493" y="506"/>
                </a:lnTo>
                <a:lnTo>
                  <a:pt x="489" y="504"/>
                </a:lnTo>
                <a:lnTo>
                  <a:pt x="478" y="502"/>
                </a:lnTo>
                <a:lnTo>
                  <a:pt x="468" y="504"/>
                </a:lnTo>
                <a:lnTo>
                  <a:pt x="464" y="506"/>
                </a:lnTo>
                <a:lnTo>
                  <a:pt x="457" y="508"/>
                </a:lnTo>
                <a:lnTo>
                  <a:pt x="453" y="512"/>
                </a:lnTo>
                <a:lnTo>
                  <a:pt x="447" y="516"/>
                </a:lnTo>
                <a:lnTo>
                  <a:pt x="438" y="527"/>
                </a:lnTo>
                <a:lnTo>
                  <a:pt x="434" y="533"/>
                </a:lnTo>
                <a:lnTo>
                  <a:pt x="430" y="540"/>
                </a:lnTo>
                <a:lnTo>
                  <a:pt x="423" y="555"/>
                </a:lnTo>
                <a:lnTo>
                  <a:pt x="419" y="569"/>
                </a:lnTo>
                <a:lnTo>
                  <a:pt x="419" y="578"/>
                </a:lnTo>
                <a:lnTo>
                  <a:pt x="419" y="586"/>
                </a:lnTo>
                <a:lnTo>
                  <a:pt x="419" y="601"/>
                </a:lnTo>
                <a:lnTo>
                  <a:pt x="421" y="610"/>
                </a:lnTo>
                <a:lnTo>
                  <a:pt x="423" y="616"/>
                </a:lnTo>
                <a:lnTo>
                  <a:pt x="428" y="629"/>
                </a:lnTo>
                <a:lnTo>
                  <a:pt x="434" y="637"/>
                </a:lnTo>
                <a:lnTo>
                  <a:pt x="442" y="648"/>
                </a:lnTo>
                <a:lnTo>
                  <a:pt x="447" y="650"/>
                </a:lnTo>
                <a:lnTo>
                  <a:pt x="453" y="654"/>
                </a:lnTo>
                <a:lnTo>
                  <a:pt x="464" y="656"/>
                </a:lnTo>
                <a:lnTo>
                  <a:pt x="470" y="658"/>
                </a:lnTo>
                <a:lnTo>
                  <a:pt x="476" y="658"/>
                </a:lnTo>
                <a:lnTo>
                  <a:pt x="489" y="656"/>
                </a:lnTo>
                <a:lnTo>
                  <a:pt x="502" y="654"/>
                </a:lnTo>
                <a:lnTo>
                  <a:pt x="506" y="652"/>
                </a:lnTo>
                <a:lnTo>
                  <a:pt x="512" y="648"/>
                </a:lnTo>
                <a:lnTo>
                  <a:pt x="523" y="641"/>
                </a:lnTo>
                <a:lnTo>
                  <a:pt x="531" y="631"/>
                </a:lnTo>
                <a:lnTo>
                  <a:pt x="540" y="620"/>
                </a:lnTo>
                <a:lnTo>
                  <a:pt x="548" y="610"/>
                </a:lnTo>
                <a:lnTo>
                  <a:pt x="555" y="597"/>
                </a:lnTo>
                <a:lnTo>
                  <a:pt x="561" y="582"/>
                </a:lnTo>
                <a:lnTo>
                  <a:pt x="567" y="569"/>
                </a:lnTo>
                <a:lnTo>
                  <a:pt x="572" y="555"/>
                </a:lnTo>
                <a:lnTo>
                  <a:pt x="574" y="540"/>
                </a:lnTo>
                <a:lnTo>
                  <a:pt x="576" y="525"/>
                </a:lnTo>
                <a:lnTo>
                  <a:pt x="578" y="510"/>
                </a:lnTo>
                <a:lnTo>
                  <a:pt x="578" y="497"/>
                </a:lnTo>
                <a:lnTo>
                  <a:pt x="578" y="485"/>
                </a:lnTo>
                <a:lnTo>
                  <a:pt x="580" y="483"/>
                </a:lnTo>
                <a:lnTo>
                  <a:pt x="582" y="480"/>
                </a:lnTo>
                <a:lnTo>
                  <a:pt x="586" y="478"/>
                </a:lnTo>
                <a:lnTo>
                  <a:pt x="593" y="478"/>
                </a:lnTo>
                <a:lnTo>
                  <a:pt x="599" y="478"/>
                </a:lnTo>
                <a:lnTo>
                  <a:pt x="603" y="480"/>
                </a:lnTo>
                <a:lnTo>
                  <a:pt x="608" y="483"/>
                </a:lnTo>
                <a:lnTo>
                  <a:pt x="612" y="491"/>
                </a:lnTo>
                <a:lnTo>
                  <a:pt x="612" y="497"/>
                </a:lnTo>
                <a:lnTo>
                  <a:pt x="612" y="504"/>
                </a:lnTo>
                <a:lnTo>
                  <a:pt x="612" y="523"/>
                </a:lnTo>
                <a:lnTo>
                  <a:pt x="610" y="540"/>
                </a:lnTo>
                <a:lnTo>
                  <a:pt x="605" y="559"/>
                </a:lnTo>
                <a:lnTo>
                  <a:pt x="601" y="576"/>
                </a:lnTo>
                <a:lnTo>
                  <a:pt x="595" y="593"/>
                </a:lnTo>
                <a:lnTo>
                  <a:pt x="588" y="607"/>
                </a:lnTo>
                <a:lnTo>
                  <a:pt x="582" y="622"/>
                </a:lnTo>
                <a:lnTo>
                  <a:pt x="574" y="637"/>
                </a:lnTo>
                <a:lnTo>
                  <a:pt x="563" y="650"/>
                </a:lnTo>
                <a:lnTo>
                  <a:pt x="559" y="654"/>
                </a:lnTo>
                <a:lnTo>
                  <a:pt x="552" y="660"/>
                </a:lnTo>
                <a:lnTo>
                  <a:pt x="542" y="671"/>
                </a:lnTo>
                <a:lnTo>
                  <a:pt x="529" y="679"/>
                </a:lnTo>
                <a:lnTo>
                  <a:pt x="516" y="686"/>
                </a:lnTo>
                <a:lnTo>
                  <a:pt x="504" y="690"/>
                </a:lnTo>
                <a:lnTo>
                  <a:pt x="489" y="694"/>
                </a:lnTo>
                <a:lnTo>
                  <a:pt x="476" y="694"/>
                </a:lnTo>
                <a:close/>
                <a:moveTo>
                  <a:pt x="707" y="690"/>
                </a:moveTo>
                <a:lnTo>
                  <a:pt x="701" y="688"/>
                </a:lnTo>
                <a:lnTo>
                  <a:pt x="692" y="684"/>
                </a:lnTo>
                <a:lnTo>
                  <a:pt x="675" y="667"/>
                </a:lnTo>
                <a:lnTo>
                  <a:pt x="656" y="648"/>
                </a:lnTo>
                <a:lnTo>
                  <a:pt x="637" y="629"/>
                </a:lnTo>
                <a:lnTo>
                  <a:pt x="631" y="618"/>
                </a:lnTo>
                <a:lnTo>
                  <a:pt x="624" y="612"/>
                </a:lnTo>
                <a:lnTo>
                  <a:pt x="620" y="599"/>
                </a:lnTo>
                <a:lnTo>
                  <a:pt x="618" y="595"/>
                </a:lnTo>
                <a:lnTo>
                  <a:pt x="618" y="588"/>
                </a:lnTo>
                <a:lnTo>
                  <a:pt x="618" y="582"/>
                </a:lnTo>
                <a:lnTo>
                  <a:pt x="620" y="574"/>
                </a:lnTo>
                <a:lnTo>
                  <a:pt x="624" y="567"/>
                </a:lnTo>
                <a:lnTo>
                  <a:pt x="629" y="559"/>
                </a:lnTo>
                <a:lnTo>
                  <a:pt x="641" y="544"/>
                </a:lnTo>
                <a:lnTo>
                  <a:pt x="658" y="523"/>
                </a:lnTo>
                <a:lnTo>
                  <a:pt x="701" y="474"/>
                </a:lnTo>
                <a:lnTo>
                  <a:pt x="707" y="476"/>
                </a:lnTo>
                <a:lnTo>
                  <a:pt x="713" y="478"/>
                </a:lnTo>
                <a:lnTo>
                  <a:pt x="720" y="483"/>
                </a:lnTo>
                <a:lnTo>
                  <a:pt x="722" y="487"/>
                </a:lnTo>
                <a:lnTo>
                  <a:pt x="724" y="493"/>
                </a:lnTo>
                <a:lnTo>
                  <a:pt x="722" y="500"/>
                </a:lnTo>
                <a:lnTo>
                  <a:pt x="720" y="504"/>
                </a:lnTo>
                <a:lnTo>
                  <a:pt x="718" y="508"/>
                </a:lnTo>
                <a:lnTo>
                  <a:pt x="688" y="542"/>
                </a:lnTo>
                <a:lnTo>
                  <a:pt x="671" y="561"/>
                </a:lnTo>
                <a:lnTo>
                  <a:pt x="658" y="578"/>
                </a:lnTo>
                <a:lnTo>
                  <a:pt x="656" y="582"/>
                </a:lnTo>
                <a:lnTo>
                  <a:pt x="654" y="586"/>
                </a:lnTo>
                <a:lnTo>
                  <a:pt x="656" y="591"/>
                </a:lnTo>
                <a:lnTo>
                  <a:pt x="658" y="597"/>
                </a:lnTo>
                <a:lnTo>
                  <a:pt x="669" y="610"/>
                </a:lnTo>
                <a:lnTo>
                  <a:pt x="686" y="627"/>
                </a:lnTo>
                <a:lnTo>
                  <a:pt x="705" y="648"/>
                </a:lnTo>
                <a:lnTo>
                  <a:pt x="724" y="665"/>
                </a:lnTo>
                <a:lnTo>
                  <a:pt x="726" y="667"/>
                </a:lnTo>
                <a:lnTo>
                  <a:pt x="726" y="671"/>
                </a:lnTo>
                <a:lnTo>
                  <a:pt x="726" y="673"/>
                </a:lnTo>
                <a:lnTo>
                  <a:pt x="724" y="677"/>
                </a:lnTo>
                <a:lnTo>
                  <a:pt x="720" y="684"/>
                </a:lnTo>
                <a:lnTo>
                  <a:pt x="713" y="688"/>
                </a:lnTo>
                <a:lnTo>
                  <a:pt x="709" y="690"/>
                </a:lnTo>
                <a:lnTo>
                  <a:pt x="707" y="690"/>
                </a:lnTo>
                <a:close/>
                <a:moveTo>
                  <a:pt x="476" y="1287"/>
                </a:moveTo>
                <a:lnTo>
                  <a:pt x="466" y="1285"/>
                </a:lnTo>
                <a:lnTo>
                  <a:pt x="457" y="1285"/>
                </a:lnTo>
                <a:lnTo>
                  <a:pt x="449" y="1281"/>
                </a:lnTo>
                <a:lnTo>
                  <a:pt x="440" y="1278"/>
                </a:lnTo>
                <a:lnTo>
                  <a:pt x="432" y="1274"/>
                </a:lnTo>
                <a:lnTo>
                  <a:pt x="425" y="1268"/>
                </a:lnTo>
                <a:lnTo>
                  <a:pt x="417" y="1262"/>
                </a:lnTo>
                <a:lnTo>
                  <a:pt x="411" y="1255"/>
                </a:lnTo>
                <a:lnTo>
                  <a:pt x="406" y="1247"/>
                </a:lnTo>
                <a:lnTo>
                  <a:pt x="400" y="1240"/>
                </a:lnTo>
                <a:lnTo>
                  <a:pt x="392" y="1221"/>
                </a:lnTo>
                <a:lnTo>
                  <a:pt x="389" y="1211"/>
                </a:lnTo>
                <a:lnTo>
                  <a:pt x="387" y="1202"/>
                </a:lnTo>
                <a:lnTo>
                  <a:pt x="385" y="1192"/>
                </a:lnTo>
                <a:lnTo>
                  <a:pt x="385" y="1179"/>
                </a:lnTo>
                <a:lnTo>
                  <a:pt x="385" y="1168"/>
                </a:lnTo>
                <a:lnTo>
                  <a:pt x="387" y="1158"/>
                </a:lnTo>
                <a:lnTo>
                  <a:pt x="389" y="1147"/>
                </a:lnTo>
                <a:lnTo>
                  <a:pt x="392" y="1137"/>
                </a:lnTo>
                <a:lnTo>
                  <a:pt x="396" y="1126"/>
                </a:lnTo>
                <a:lnTo>
                  <a:pt x="402" y="1115"/>
                </a:lnTo>
                <a:lnTo>
                  <a:pt x="406" y="1107"/>
                </a:lnTo>
                <a:lnTo>
                  <a:pt x="413" y="1099"/>
                </a:lnTo>
                <a:lnTo>
                  <a:pt x="419" y="1092"/>
                </a:lnTo>
                <a:lnTo>
                  <a:pt x="428" y="1084"/>
                </a:lnTo>
                <a:lnTo>
                  <a:pt x="434" y="1077"/>
                </a:lnTo>
                <a:lnTo>
                  <a:pt x="442" y="1073"/>
                </a:lnTo>
                <a:lnTo>
                  <a:pt x="453" y="1069"/>
                </a:lnTo>
                <a:lnTo>
                  <a:pt x="461" y="1067"/>
                </a:lnTo>
                <a:lnTo>
                  <a:pt x="472" y="1065"/>
                </a:lnTo>
                <a:lnTo>
                  <a:pt x="481" y="1065"/>
                </a:lnTo>
                <a:lnTo>
                  <a:pt x="493" y="1065"/>
                </a:lnTo>
                <a:lnTo>
                  <a:pt x="500" y="1067"/>
                </a:lnTo>
                <a:lnTo>
                  <a:pt x="504" y="1069"/>
                </a:lnTo>
                <a:lnTo>
                  <a:pt x="512" y="1073"/>
                </a:lnTo>
                <a:lnTo>
                  <a:pt x="521" y="1079"/>
                </a:lnTo>
                <a:lnTo>
                  <a:pt x="527" y="1088"/>
                </a:lnTo>
                <a:lnTo>
                  <a:pt x="531" y="1099"/>
                </a:lnTo>
                <a:lnTo>
                  <a:pt x="533" y="1109"/>
                </a:lnTo>
                <a:lnTo>
                  <a:pt x="536" y="1122"/>
                </a:lnTo>
                <a:lnTo>
                  <a:pt x="533" y="1128"/>
                </a:lnTo>
                <a:lnTo>
                  <a:pt x="533" y="1137"/>
                </a:lnTo>
                <a:lnTo>
                  <a:pt x="531" y="1143"/>
                </a:lnTo>
                <a:lnTo>
                  <a:pt x="527" y="1149"/>
                </a:lnTo>
                <a:lnTo>
                  <a:pt x="525" y="1158"/>
                </a:lnTo>
                <a:lnTo>
                  <a:pt x="519" y="1164"/>
                </a:lnTo>
                <a:lnTo>
                  <a:pt x="508" y="1175"/>
                </a:lnTo>
                <a:lnTo>
                  <a:pt x="504" y="1179"/>
                </a:lnTo>
                <a:lnTo>
                  <a:pt x="497" y="1185"/>
                </a:lnTo>
                <a:lnTo>
                  <a:pt x="483" y="1192"/>
                </a:lnTo>
                <a:lnTo>
                  <a:pt x="476" y="1194"/>
                </a:lnTo>
                <a:lnTo>
                  <a:pt x="468" y="1196"/>
                </a:lnTo>
                <a:lnTo>
                  <a:pt x="453" y="1198"/>
                </a:lnTo>
                <a:lnTo>
                  <a:pt x="447" y="1196"/>
                </a:lnTo>
                <a:lnTo>
                  <a:pt x="445" y="1196"/>
                </a:lnTo>
                <a:lnTo>
                  <a:pt x="440" y="1194"/>
                </a:lnTo>
                <a:lnTo>
                  <a:pt x="440" y="1190"/>
                </a:lnTo>
                <a:lnTo>
                  <a:pt x="438" y="1187"/>
                </a:lnTo>
                <a:lnTo>
                  <a:pt x="436" y="1179"/>
                </a:lnTo>
                <a:lnTo>
                  <a:pt x="438" y="1173"/>
                </a:lnTo>
                <a:lnTo>
                  <a:pt x="438" y="1170"/>
                </a:lnTo>
                <a:lnTo>
                  <a:pt x="440" y="1168"/>
                </a:lnTo>
                <a:lnTo>
                  <a:pt x="453" y="1166"/>
                </a:lnTo>
                <a:lnTo>
                  <a:pt x="466" y="1162"/>
                </a:lnTo>
                <a:lnTo>
                  <a:pt x="476" y="1156"/>
                </a:lnTo>
                <a:lnTo>
                  <a:pt x="485" y="1149"/>
                </a:lnTo>
                <a:lnTo>
                  <a:pt x="493" y="1141"/>
                </a:lnTo>
                <a:lnTo>
                  <a:pt x="495" y="1137"/>
                </a:lnTo>
                <a:lnTo>
                  <a:pt x="500" y="1132"/>
                </a:lnTo>
                <a:lnTo>
                  <a:pt x="502" y="1124"/>
                </a:lnTo>
                <a:lnTo>
                  <a:pt x="504" y="1115"/>
                </a:lnTo>
                <a:lnTo>
                  <a:pt x="504" y="1111"/>
                </a:lnTo>
                <a:lnTo>
                  <a:pt x="502" y="1107"/>
                </a:lnTo>
                <a:lnTo>
                  <a:pt x="500" y="1103"/>
                </a:lnTo>
                <a:lnTo>
                  <a:pt x="497" y="1101"/>
                </a:lnTo>
                <a:lnTo>
                  <a:pt x="493" y="1096"/>
                </a:lnTo>
                <a:lnTo>
                  <a:pt x="489" y="1094"/>
                </a:lnTo>
                <a:lnTo>
                  <a:pt x="478" y="1094"/>
                </a:lnTo>
                <a:lnTo>
                  <a:pt x="468" y="1096"/>
                </a:lnTo>
                <a:lnTo>
                  <a:pt x="464" y="1099"/>
                </a:lnTo>
                <a:lnTo>
                  <a:pt x="457" y="1101"/>
                </a:lnTo>
                <a:lnTo>
                  <a:pt x="453" y="1105"/>
                </a:lnTo>
                <a:lnTo>
                  <a:pt x="447" y="1109"/>
                </a:lnTo>
                <a:lnTo>
                  <a:pt x="438" y="1120"/>
                </a:lnTo>
                <a:lnTo>
                  <a:pt x="434" y="1124"/>
                </a:lnTo>
                <a:lnTo>
                  <a:pt x="430" y="1130"/>
                </a:lnTo>
                <a:lnTo>
                  <a:pt x="423" y="1145"/>
                </a:lnTo>
                <a:lnTo>
                  <a:pt x="419" y="1162"/>
                </a:lnTo>
                <a:lnTo>
                  <a:pt x="419" y="1170"/>
                </a:lnTo>
                <a:lnTo>
                  <a:pt x="419" y="1179"/>
                </a:lnTo>
                <a:lnTo>
                  <a:pt x="419" y="1194"/>
                </a:lnTo>
                <a:lnTo>
                  <a:pt x="421" y="1200"/>
                </a:lnTo>
                <a:lnTo>
                  <a:pt x="423" y="1206"/>
                </a:lnTo>
                <a:lnTo>
                  <a:pt x="428" y="1219"/>
                </a:lnTo>
                <a:lnTo>
                  <a:pt x="434" y="1230"/>
                </a:lnTo>
                <a:lnTo>
                  <a:pt x="442" y="1238"/>
                </a:lnTo>
                <a:lnTo>
                  <a:pt x="447" y="1242"/>
                </a:lnTo>
                <a:lnTo>
                  <a:pt x="453" y="1245"/>
                </a:lnTo>
                <a:lnTo>
                  <a:pt x="464" y="1249"/>
                </a:lnTo>
                <a:lnTo>
                  <a:pt x="470" y="1249"/>
                </a:lnTo>
                <a:lnTo>
                  <a:pt x="476" y="1251"/>
                </a:lnTo>
                <a:lnTo>
                  <a:pt x="489" y="1249"/>
                </a:lnTo>
                <a:lnTo>
                  <a:pt x="502" y="1245"/>
                </a:lnTo>
                <a:lnTo>
                  <a:pt x="506" y="1242"/>
                </a:lnTo>
                <a:lnTo>
                  <a:pt x="512" y="1240"/>
                </a:lnTo>
                <a:lnTo>
                  <a:pt x="523" y="1232"/>
                </a:lnTo>
                <a:lnTo>
                  <a:pt x="531" y="1223"/>
                </a:lnTo>
                <a:lnTo>
                  <a:pt x="540" y="1213"/>
                </a:lnTo>
                <a:lnTo>
                  <a:pt x="548" y="1200"/>
                </a:lnTo>
                <a:lnTo>
                  <a:pt x="555" y="1187"/>
                </a:lnTo>
                <a:lnTo>
                  <a:pt x="561" y="1175"/>
                </a:lnTo>
                <a:lnTo>
                  <a:pt x="567" y="1160"/>
                </a:lnTo>
                <a:lnTo>
                  <a:pt x="572" y="1145"/>
                </a:lnTo>
                <a:lnTo>
                  <a:pt x="574" y="1132"/>
                </a:lnTo>
                <a:lnTo>
                  <a:pt x="576" y="1118"/>
                </a:lnTo>
                <a:lnTo>
                  <a:pt x="578" y="1103"/>
                </a:lnTo>
                <a:lnTo>
                  <a:pt x="578" y="1090"/>
                </a:lnTo>
                <a:lnTo>
                  <a:pt x="578" y="1077"/>
                </a:lnTo>
                <a:lnTo>
                  <a:pt x="580" y="1073"/>
                </a:lnTo>
                <a:lnTo>
                  <a:pt x="582" y="1071"/>
                </a:lnTo>
                <a:lnTo>
                  <a:pt x="586" y="1069"/>
                </a:lnTo>
                <a:lnTo>
                  <a:pt x="593" y="1069"/>
                </a:lnTo>
                <a:lnTo>
                  <a:pt x="599" y="1071"/>
                </a:lnTo>
                <a:lnTo>
                  <a:pt x="603" y="1073"/>
                </a:lnTo>
                <a:lnTo>
                  <a:pt x="608" y="1075"/>
                </a:lnTo>
                <a:lnTo>
                  <a:pt x="612" y="1082"/>
                </a:lnTo>
                <a:lnTo>
                  <a:pt x="612" y="1088"/>
                </a:lnTo>
                <a:lnTo>
                  <a:pt x="612" y="1094"/>
                </a:lnTo>
                <a:lnTo>
                  <a:pt x="612" y="1113"/>
                </a:lnTo>
                <a:lnTo>
                  <a:pt x="610" y="1132"/>
                </a:lnTo>
                <a:lnTo>
                  <a:pt x="605" y="1149"/>
                </a:lnTo>
                <a:lnTo>
                  <a:pt x="601" y="1166"/>
                </a:lnTo>
                <a:lnTo>
                  <a:pt x="595" y="1183"/>
                </a:lnTo>
                <a:lnTo>
                  <a:pt x="588" y="1200"/>
                </a:lnTo>
                <a:lnTo>
                  <a:pt x="582" y="1215"/>
                </a:lnTo>
                <a:lnTo>
                  <a:pt x="574" y="1228"/>
                </a:lnTo>
                <a:lnTo>
                  <a:pt x="563" y="1240"/>
                </a:lnTo>
                <a:lnTo>
                  <a:pt x="559" y="1247"/>
                </a:lnTo>
                <a:lnTo>
                  <a:pt x="552" y="1253"/>
                </a:lnTo>
                <a:lnTo>
                  <a:pt x="542" y="1262"/>
                </a:lnTo>
                <a:lnTo>
                  <a:pt x="529" y="1270"/>
                </a:lnTo>
                <a:lnTo>
                  <a:pt x="516" y="1276"/>
                </a:lnTo>
                <a:lnTo>
                  <a:pt x="504" y="1283"/>
                </a:lnTo>
                <a:lnTo>
                  <a:pt x="489" y="1285"/>
                </a:lnTo>
                <a:lnTo>
                  <a:pt x="476" y="1287"/>
                </a:lnTo>
                <a:close/>
                <a:moveTo>
                  <a:pt x="707" y="1283"/>
                </a:moveTo>
                <a:lnTo>
                  <a:pt x="701" y="1281"/>
                </a:lnTo>
                <a:lnTo>
                  <a:pt x="692" y="1274"/>
                </a:lnTo>
                <a:lnTo>
                  <a:pt x="675" y="1259"/>
                </a:lnTo>
                <a:lnTo>
                  <a:pt x="656" y="1240"/>
                </a:lnTo>
                <a:lnTo>
                  <a:pt x="637" y="1219"/>
                </a:lnTo>
                <a:lnTo>
                  <a:pt x="631" y="1211"/>
                </a:lnTo>
                <a:lnTo>
                  <a:pt x="624" y="1204"/>
                </a:lnTo>
                <a:lnTo>
                  <a:pt x="620" y="1192"/>
                </a:lnTo>
                <a:lnTo>
                  <a:pt x="618" y="1185"/>
                </a:lnTo>
                <a:lnTo>
                  <a:pt x="618" y="1179"/>
                </a:lnTo>
                <a:lnTo>
                  <a:pt x="618" y="1173"/>
                </a:lnTo>
                <a:lnTo>
                  <a:pt x="620" y="1166"/>
                </a:lnTo>
                <a:lnTo>
                  <a:pt x="624" y="1158"/>
                </a:lnTo>
                <a:lnTo>
                  <a:pt x="629" y="1149"/>
                </a:lnTo>
                <a:lnTo>
                  <a:pt x="641" y="1135"/>
                </a:lnTo>
                <a:lnTo>
                  <a:pt x="658" y="1115"/>
                </a:lnTo>
                <a:lnTo>
                  <a:pt x="701" y="1067"/>
                </a:lnTo>
                <a:lnTo>
                  <a:pt x="707" y="1067"/>
                </a:lnTo>
                <a:lnTo>
                  <a:pt x="713" y="1069"/>
                </a:lnTo>
                <a:lnTo>
                  <a:pt x="720" y="1073"/>
                </a:lnTo>
                <a:lnTo>
                  <a:pt x="722" y="1079"/>
                </a:lnTo>
                <a:lnTo>
                  <a:pt x="724" y="1086"/>
                </a:lnTo>
                <a:lnTo>
                  <a:pt x="722" y="1092"/>
                </a:lnTo>
                <a:lnTo>
                  <a:pt x="720" y="1094"/>
                </a:lnTo>
                <a:lnTo>
                  <a:pt x="718" y="1099"/>
                </a:lnTo>
                <a:lnTo>
                  <a:pt x="688" y="1132"/>
                </a:lnTo>
                <a:lnTo>
                  <a:pt x="671" y="1154"/>
                </a:lnTo>
                <a:lnTo>
                  <a:pt x="658" y="1168"/>
                </a:lnTo>
                <a:lnTo>
                  <a:pt x="656" y="1173"/>
                </a:lnTo>
                <a:lnTo>
                  <a:pt x="654" y="1179"/>
                </a:lnTo>
                <a:lnTo>
                  <a:pt x="656" y="1183"/>
                </a:lnTo>
                <a:lnTo>
                  <a:pt x="658" y="1190"/>
                </a:lnTo>
                <a:lnTo>
                  <a:pt x="669" y="1202"/>
                </a:lnTo>
                <a:lnTo>
                  <a:pt x="686" y="1219"/>
                </a:lnTo>
                <a:lnTo>
                  <a:pt x="705" y="1238"/>
                </a:lnTo>
                <a:lnTo>
                  <a:pt x="724" y="1257"/>
                </a:lnTo>
                <a:lnTo>
                  <a:pt x="726" y="1259"/>
                </a:lnTo>
                <a:lnTo>
                  <a:pt x="726" y="1262"/>
                </a:lnTo>
                <a:lnTo>
                  <a:pt x="726" y="1266"/>
                </a:lnTo>
                <a:lnTo>
                  <a:pt x="724" y="1268"/>
                </a:lnTo>
                <a:lnTo>
                  <a:pt x="720" y="1276"/>
                </a:lnTo>
                <a:lnTo>
                  <a:pt x="713" y="1281"/>
                </a:lnTo>
                <a:lnTo>
                  <a:pt x="709" y="1283"/>
                </a:lnTo>
                <a:lnTo>
                  <a:pt x="707" y="1283"/>
                </a:lnTo>
                <a:close/>
                <a:moveTo>
                  <a:pt x="476" y="1877"/>
                </a:moveTo>
                <a:lnTo>
                  <a:pt x="466" y="1877"/>
                </a:lnTo>
                <a:lnTo>
                  <a:pt x="457" y="1875"/>
                </a:lnTo>
                <a:lnTo>
                  <a:pt x="449" y="1873"/>
                </a:lnTo>
                <a:lnTo>
                  <a:pt x="440" y="1869"/>
                </a:lnTo>
                <a:lnTo>
                  <a:pt x="432" y="1865"/>
                </a:lnTo>
                <a:lnTo>
                  <a:pt x="425" y="1861"/>
                </a:lnTo>
                <a:lnTo>
                  <a:pt x="417" y="1854"/>
                </a:lnTo>
                <a:lnTo>
                  <a:pt x="411" y="1848"/>
                </a:lnTo>
                <a:lnTo>
                  <a:pt x="406" y="1839"/>
                </a:lnTo>
                <a:lnTo>
                  <a:pt x="400" y="1831"/>
                </a:lnTo>
                <a:lnTo>
                  <a:pt x="392" y="1814"/>
                </a:lnTo>
                <a:lnTo>
                  <a:pt x="389" y="1803"/>
                </a:lnTo>
                <a:lnTo>
                  <a:pt x="387" y="1793"/>
                </a:lnTo>
                <a:lnTo>
                  <a:pt x="385" y="1782"/>
                </a:lnTo>
                <a:lnTo>
                  <a:pt x="385" y="1772"/>
                </a:lnTo>
                <a:lnTo>
                  <a:pt x="385" y="1761"/>
                </a:lnTo>
                <a:lnTo>
                  <a:pt x="387" y="1748"/>
                </a:lnTo>
                <a:lnTo>
                  <a:pt x="389" y="1738"/>
                </a:lnTo>
                <a:lnTo>
                  <a:pt x="392" y="1727"/>
                </a:lnTo>
                <a:lnTo>
                  <a:pt x="396" y="1719"/>
                </a:lnTo>
                <a:lnTo>
                  <a:pt x="402" y="1708"/>
                </a:lnTo>
                <a:lnTo>
                  <a:pt x="406" y="1700"/>
                </a:lnTo>
                <a:lnTo>
                  <a:pt x="413" y="1691"/>
                </a:lnTo>
                <a:lnTo>
                  <a:pt x="419" y="1683"/>
                </a:lnTo>
                <a:lnTo>
                  <a:pt x="428" y="1676"/>
                </a:lnTo>
                <a:lnTo>
                  <a:pt x="434" y="1670"/>
                </a:lnTo>
                <a:lnTo>
                  <a:pt x="442" y="1666"/>
                </a:lnTo>
                <a:lnTo>
                  <a:pt x="453" y="1662"/>
                </a:lnTo>
                <a:lnTo>
                  <a:pt x="461" y="1657"/>
                </a:lnTo>
                <a:lnTo>
                  <a:pt x="472" y="1655"/>
                </a:lnTo>
                <a:lnTo>
                  <a:pt x="481" y="1655"/>
                </a:lnTo>
                <a:lnTo>
                  <a:pt x="493" y="1657"/>
                </a:lnTo>
                <a:lnTo>
                  <a:pt x="500" y="1657"/>
                </a:lnTo>
                <a:lnTo>
                  <a:pt x="504" y="1659"/>
                </a:lnTo>
                <a:lnTo>
                  <a:pt x="512" y="1666"/>
                </a:lnTo>
                <a:lnTo>
                  <a:pt x="521" y="1672"/>
                </a:lnTo>
                <a:lnTo>
                  <a:pt x="527" y="1681"/>
                </a:lnTo>
                <a:lnTo>
                  <a:pt x="531" y="1689"/>
                </a:lnTo>
                <a:lnTo>
                  <a:pt x="533" y="1702"/>
                </a:lnTo>
                <a:lnTo>
                  <a:pt x="536" y="1712"/>
                </a:lnTo>
                <a:lnTo>
                  <a:pt x="533" y="1721"/>
                </a:lnTo>
                <a:lnTo>
                  <a:pt x="533" y="1727"/>
                </a:lnTo>
                <a:lnTo>
                  <a:pt x="531" y="1736"/>
                </a:lnTo>
                <a:lnTo>
                  <a:pt x="527" y="1742"/>
                </a:lnTo>
                <a:lnTo>
                  <a:pt x="525" y="1748"/>
                </a:lnTo>
                <a:lnTo>
                  <a:pt x="519" y="1755"/>
                </a:lnTo>
                <a:lnTo>
                  <a:pt x="508" y="1767"/>
                </a:lnTo>
                <a:lnTo>
                  <a:pt x="504" y="1772"/>
                </a:lnTo>
                <a:lnTo>
                  <a:pt x="497" y="1776"/>
                </a:lnTo>
                <a:lnTo>
                  <a:pt x="483" y="1784"/>
                </a:lnTo>
                <a:lnTo>
                  <a:pt x="476" y="1786"/>
                </a:lnTo>
                <a:lnTo>
                  <a:pt x="468" y="1789"/>
                </a:lnTo>
                <a:lnTo>
                  <a:pt x="453" y="1791"/>
                </a:lnTo>
                <a:lnTo>
                  <a:pt x="447" y="1789"/>
                </a:lnTo>
                <a:lnTo>
                  <a:pt x="445" y="1786"/>
                </a:lnTo>
                <a:lnTo>
                  <a:pt x="440" y="1784"/>
                </a:lnTo>
                <a:lnTo>
                  <a:pt x="440" y="1782"/>
                </a:lnTo>
                <a:lnTo>
                  <a:pt x="438" y="1778"/>
                </a:lnTo>
                <a:lnTo>
                  <a:pt x="436" y="1772"/>
                </a:lnTo>
                <a:lnTo>
                  <a:pt x="438" y="1765"/>
                </a:lnTo>
                <a:lnTo>
                  <a:pt x="438" y="1763"/>
                </a:lnTo>
                <a:lnTo>
                  <a:pt x="440" y="1761"/>
                </a:lnTo>
                <a:lnTo>
                  <a:pt x="453" y="1759"/>
                </a:lnTo>
                <a:lnTo>
                  <a:pt x="466" y="1753"/>
                </a:lnTo>
                <a:lnTo>
                  <a:pt x="476" y="1748"/>
                </a:lnTo>
                <a:lnTo>
                  <a:pt x="485" y="1740"/>
                </a:lnTo>
                <a:lnTo>
                  <a:pt x="493" y="1734"/>
                </a:lnTo>
                <a:lnTo>
                  <a:pt x="495" y="1729"/>
                </a:lnTo>
                <a:lnTo>
                  <a:pt x="500" y="1725"/>
                </a:lnTo>
                <a:lnTo>
                  <a:pt x="502" y="1717"/>
                </a:lnTo>
                <a:lnTo>
                  <a:pt x="504" y="1708"/>
                </a:lnTo>
                <a:lnTo>
                  <a:pt x="504" y="1704"/>
                </a:lnTo>
                <a:lnTo>
                  <a:pt x="502" y="1698"/>
                </a:lnTo>
                <a:lnTo>
                  <a:pt x="500" y="1695"/>
                </a:lnTo>
                <a:lnTo>
                  <a:pt x="497" y="1691"/>
                </a:lnTo>
                <a:lnTo>
                  <a:pt x="493" y="1689"/>
                </a:lnTo>
                <a:lnTo>
                  <a:pt x="489" y="1687"/>
                </a:lnTo>
                <a:lnTo>
                  <a:pt x="478" y="1685"/>
                </a:lnTo>
                <a:lnTo>
                  <a:pt x="468" y="1687"/>
                </a:lnTo>
                <a:lnTo>
                  <a:pt x="464" y="1689"/>
                </a:lnTo>
                <a:lnTo>
                  <a:pt x="457" y="1691"/>
                </a:lnTo>
                <a:lnTo>
                  <a:pt x="453" y="1695"/>
                </a:lnTo>
                <a:lnTo>
                  <a:pt x="447" y="1700"/>
                </a:lnTo>
                <a:lnTo>
                  <a:pt x="438" y="1710"/>
                </a:lnTo>
                <a:lnTo>
                  <a:pt x="434" y="1717"/>
                </a:lnTo>
                <a:lnTo>
                  <a:pt x="430" y="1723"/>
                </a:lnTo>
                <a:lnTo>
                  <a:pt x="423" y="1738"/>
                </a:lnTo>
                <a:lnTo>
                  <a:pt x="419" y="1753"/>
                </a:lnTo>
                <a:lnTo>
                  <a:pt x="419" y="1761"/>
                </a:lnTo>
                <a:lnTo>
                  <a:pt x="419" y="1770"/>
                </a:lnTo>
                <a:lnTo>
                  <a:pt x="419" y="1784"/>
                </a:lnTo>
                <a:lnTo>
                  <a:pt x="421" y="1793"/>
                </a:lnTo>
                <a:lnTo>
                  <a:pt x="423" y="1799"/>
                </a:lnTo>
                <a:lnTo>
                  <a:pt x="428" y="1812"/>
                </a:lnTo>
                <a:lnTo>
                  <a:pt x="434" y="1822"/>
                </a:lnTo>
                <a:lnTo>
                  <a:pt x="442" y="1831"/>
                </a:lnTo>
                <a:lnTo>
                  <a:pt x="447" y="1833"/>
                </a:lnTo>
                <a:lnTo>
                  <a:pt x="453" y="1837"/>
                </a:lnTo>
                <a:lnTo>
                  <a:pt x="464" y="1841"/>
                </a:lnTo>
                <a:lnTo>
                  <a:pt x="470" y="1841"/>
                </a:lnTo>
                <a:lnTo>
                  <a:pt x="476" y="1841"/>
                </a:lnTo>
                <a:lnTo>
                  <a:pt x="489" y="1841"/>
                </a:lnTo>
                <a:lnTo>
                  <a:pt x="502" y="1837"/>
                </a:lnTo>
                <a:lnTo>
                  <a:pt x="506" y="1835"/>
                </a:lnTo>
                <a:lnTo>
                  <a:pt x="512" y="1831"/>
                </a:lnTo>
                <a:lnTo>
                  <a:pt x="523" y="1825"/>
                </a:lnTo>
                <a:lnTo>
                  <a:pt x="531" y="1814"/>
                </a:lnTo>
                <a:lnTo>
                  <a:pt x="540" y="1803"/>
                </a:lnTo>
                <a:lnTo>
                  <a:pt x="548" y="1793"/>
                </a:lnTo>
                <a:lnTo>
                  <a:pt x="555" y="1780"/>
                </a:lnTo>
                <a:lnTo>
                  <a:pt x="561" y="1765"/>
                </a:lnTo>
                <a:lnTo>
                  <a:pt x="567" y="1753"/>
                </a:lnTo>
                <a:lnTo>
                  <a:pt x="572" y="1738"/>
                </a:lnTo>
                <a:lnTo>
                  <a:pt x="574" y="1723"/>
                </a:lnTo>
                <a:lnTo>
                  <a:pt x="576" y="1708"/>
                </a:lnTo>
                <a:lnTo>
                  <a:pt x="578" y="1695"/>
                </a:lnTo>
                <a:lnTo>
                  <a:pt x="578" y="1681"/>
                </a:lnTo>
                <a:lnTo>
                  <a:pt x="578" y="1668"/>
                </a:lnTo>
                <a:lnTo>
                  <a:pt x="580" y="1666"/>
                </a:lnTo>
                <a:lnTo>
                  <a:pt x="582" y="1664"/>
                </a:lnTo>
                <a:lnTo>
                  <a:pt x="586" y="1662"/>
                </a:lnTo>
                <a:lnTo>
                  <a:pt x="593" y="1662"/>
                </a:lnTo>
                <a:lnTo>
                  <a:pt x="599" y="1662"/>
                </a:lnTo>
                <a:lnTo>
                  <a:pt x="603" y="1664"/>
                </a:lnTo>
                <a:lnTo>
                  <a:pt x="608" y="1666"/>
                </a:lnTo>
                <a:lnTo>
                  <a:pt x="612" y="1674"/>
                </a:lnTo>
                <a:lnTo>
                  <a:pt x="612" y="1681"/>
                </a:lnTo>
                <a:lnTo>
                  <a:pt x="612" y="1687"/>
                </a:lnTo>
                <a:lnTo>
                  <a:pt x="612" y="1706"/>
                </a:lnTo>
                <a:lnTo>
                  <a:pt x="610" y="1723"/>
                </a:lnTo>
                <a:lnTo>
                  <a:pt x="605" y="1742"/>
                </a:lnTo>
                <a:lnTo>
                  <a:pt x="601" y="1759"/>
                </a:lnTo>
                <a:lnTo>
                  <a:pt x="595" y="1776"/>
                </a:lnTo>
                <a:lnTo>
                  <a:pt x="588" y="1791"/>
                </a:lnTo>
                <a:lnTo>
                  <a:pt x="582" y="1805"/>
                </a:lnTo>
                <a:lnTo>
                  <a:pt x="574" y="1820"/>
                </a:lnTo>
                <a:lnTo>
                  <a:pt x="563" y="1833"/>
                </a:lnTo>
                <a:lnTo>
                  <a:pt x="559" y="1839"/>
                </a:lnTo>
                <a:lnTo>
                  <a:pt x="552" y="1844"/>
                </a:lnTo>
                <a:lnTo>
                  <a:pt x="542" y="1854"/>
                </a:lnTo>
                <a:lnTo>
                  <a:pt x="529" y="1863"/>
                </a:lnTo>
                <a:lnTo>
                  <a:pt x="516" y="1869"/>
                </a:lnTo>
                <a:lnTo>
                  <a:pt x="504" y="1873"/>
                </a:lnTo>
                <a:lnTo>
                  <a:pt x="489" y="1877"/>
                </a:lnTo>
                <a:lnTo>
                  <a:pt x="476" y="1877"/>
                </a:lnTo>
                <a:close/>
                <a:moveTo>
                  <a:pt x="707" y="1873"/>
                </a:moveTo>
                <a:lnTo>
                  <a:pt x="701" y="1871"/>
                </a:lnTo>
                <a:lnTo>
                  <a:pt x="692" y="1867"/>
                </a:lnTo>
                <a:lnTo>
                  <a:pt x="675" y="1852"/>
                </a:lnTo>
                <a:lnTo>
                  <a:pt x="656" y="1831"/>
                </a:lnTo>
                <a:lnTo>
                  <a:pt x="637" y="1812"/>
                </a:lnTo>
                <a:lnTo>
                  <a:pt x="631" y="1803"/>
                </a:lnTo>
                <a:lnTo>
                  <a:pt x="624" y="1795"/>
                </a:lnTo>
                <a:lnTo>
                  <a:pt x="620" y="1784"/>
                </a:lnTo>
                <a:lnTo>
                  <a:pt x="618" y="1778"/>
                </a:lnTo>
                <a:lnTo>
                  <a:pt x="618" y="1772"/>
                </a:lnTo>
                <a:lnTo>
                  <a:pt x="618" y="1765"/>
                </a:lnTo>
                <a:lnTo>
                  <a:pt x="620" y="1757"/>
                </a:lnTo>
                <a:lnTo>
                  <a:pt x="624" y="1750"/>
                </a:lnTo>
                <a:lnTo>
                  <a:pt x="629" y="1742"/>
                </a:lnTo>
                <a:lnTo>
                  <a:pt x="641" y="1727"/>
                </a:lnTo>
                <a:lnTo>
                  <a:pt x="658" y="1706"/>
                </a:lnTo>
                <a:lnTo>
                  <a:pt x="701" y="1659"/>
                </a:lnTo>
                <a:lnTo>
                  <a:pt x="707" y="1659"/>
                </a:lnTo>
                <a:lnTo>
                  <a:pt x="713" y="1662"/>
                </a:lnTo>
                <a:lnTo>
                  <a:pt x="720" y="1666"/>
                </a:lnTo>
                <a:lnTo>
                  <a:pt x="722" y="1672"/>
                </a:lnTo>
                <a:lnTo>
                  <a:pt x="724" y="1676"/>
                </a:lnTo>
                <a:lnTo>
                  <a:pt x="722" y="1683"/>
                </a:lnTo>
                <a:lnTo>
                  <a:pt x="720" y="1687"/>
                </a:lnTo>
                <a:lnTo>
                  <a:pt x="718" y="1691"/>
                </a:lnTo>
                <a:lnTo>
                  <a:pt x="688" y="1725"/>
                </a:lnTo>
                <a:lnTo>
                  <a:pt x="671" y="1744"/>
                </a:lnTo>
                <a:lnTo>
                  <a:pt x="658" y="1761"/>
                </a:lnTo>
                <a:lnTo>
                  <a:pt x="656" y="1765"/>
                </a:lnTo>
                <a:lnTo>
                  <a:pt x="654" y="1770"/>
                </a:lnTo>
                <a:lnTo>
                  <a:pt x="656" y="1776"/>
                </a:lnTo>
                <a:lnTo>
                  <a:pt x="658" y="1780"/>
                </a:lnTo>
                <a:lnTo>
                  <a:pt x="669" y="1793"/>
                </a:lnTo>
                <a:lnTo>
                  <a:pt x="686" y="1810"/>
                </a:lnTo>
                <a:lnTo>
                  <a:pt x="705" y="1831"/>
                </a:lnTo>
                <a:lnTo>
                  <a:pt x="724" y="1848"/>
                </a:lnTo>
                <a:lnTo>
                  <a:pt x="726" y="1850"/>
                </a:lnTo>
                <a:lnTo>
                  <a:pt x="726" y="1854"/>
                </a:lnTo>
                <a:lnTo>
                  <a:pt x="726" y="1856"/>
                </a:lnTo>
                <a:lnTo>
                  <a:pt x="724" y="1861"/>
                </a:lnTo>
                <a:lnTo>
                  <a:pt x="720" y="1867"/>
                </a:lnTo>
                <a:lnTo>
                  <a:pt x="713" y="1873"/>
                </a:lnTo>
                <a:lnTo>
                  <a:pt x="709" y="1873"/>
                </a:lnTo>
                <a:lnTo>
                  <a:pt x="707" y="1873"/>
                </a:lnTo>
                <a:close/>
                <a:moveTo>
                  <a:pt x="2756" y="694"/>
                </a:moveTo>
                <a:lnTo>
                  <a:pt x="2748" y="694"/>
                </a:lnTo>
                <a:lnTo>
                  <a:pt x="2739" y="692"/>
                </a:lnTo>
                <a:lnTo>
                  <a:pt x="2729" y="690"/>
                </a:lnTo>
                <a:lnTo>
                  <a:pt x="2720" y="686"/>
                </a:lnTo>
                <a:lnTo>
                  <a:pt x="2714" y="682"/>
                </a:lnTo>
                <a:lnTo>
                  <a:pt x="2705" y="677"/>
                </a:lnTo>
                <a:lnTo>
                  <a:pt x="2699" y="671"/>
                </a:lnTo>
                <a:lnTo>
                  <a:pt x="2693" y="663"/>
                </a:lnTo>
                <a:lnTo>
                  <a:pt x="2686" y="656"/>
                </a:lnTo>
                <a:lnTo>
                  <a:pt x="2682" y="648"/>
                </a:lnTo>
                <a:lnTo>
                  <a:pt x="2673" y="631"/>
                </a:lnTo>
                <a:lnTo>
                  <a:pt x="2669" y="620"/>
                </a:lnTo>
                <a:lnTo>
                  <a:pt x="2667" y="610"/>
                </a:lnTo>
                <a:lnTo>
                  <a:pt x="2667" y="599"/>
                </a:lnTo>
                <a:lnTo>
                  <a:pt x="2665" y="588"/>
                </a:lnTo>
                <a:lnTo>
                  <a:pt x="2667" y="578"/>
                </a:lnTo>
                <a:lnTo>
                  <a:pt x="2667" y="565"/>
                </a:lnTo>
                <a:lnTo>
                  <a:pt x="2669" y="555"/>
                </a:lnTo>
                <a:lnTo>
                  <a:pt x="2673" y="544"/>
                </a:lnTo>
                <a:lnTo>
                  <a:pt x="2678" y="533"/>
                </a:lnTo>
                <a:lnTo>
                  <a:pt x="2682" y="525"/>
                </a:lnTo>
                <a:lnTo>
                  <a:pt x="2688" y="516"/>
                </a:lnTo>
                <a:lnTo>
                  <a:pt x="2695" y="508"/>
                </a:lnTo>
                <a:lnTo>
                  <a:pt x="2701" y="500"/>
                </a:lnTo>
                <a:lnTo>
                  <a:pt x="2707" y="493"/>
                </a:lnTo>
                <a:lnTo>
                  <a:pt x="2716" y="487"/>
                </a:lnTo>
                <a:lnTo>
                  <a:pt x="2724" y="483"/>
                </a:lnTo>
                <a:lnTo>
                  <a:pt x="2733" y="478"/>
                </a:lnTo>
                <a:lnTo>
                  <a:pt x="2743" y="474"/>
                </a:lnTo>
                <a:lnTo>
                  <a:pt x="2752" y="472"/>
                </a:lnTo>
                <a:lnTo>
                  <a:pt x="2762" y="472"/>
                </a:lnTo>
                <a:lnTo>
                  <a:pt x="2775" y="474"/>
                </a:lnTo>
                <a:lnTo>
                  <a:pt x="2779" y="474"/>
                </a:lnTo>
                <a:lnTo>
                  <a:pt x="2786" y="476"/>
                </a:lnTo>
                <a:lnTo>
                  <a:pt x="2794" y="480"/>
                </a:lnTo>
                <a:lnTo>
                  <a:pt x="2803" y="489"/>
                </a:lnTo>
                <a:lnTo>
                  <a:pt x="2807" y="497"/>
                </a:lnTo>
                <a:lnTo>
                  <a:pt x="2813" y="506"/>
                </a:lnTo>
                <a:lnTo>
                  <a:pt x="2815" y="516"/>
                </a:lnTo>
                <a:lnTo>
                  <a:pt x="2815" y="529"/>
                </a:lnTo>
                <a:lnTo>
                  <a:pt x="2815" y="538"/>
                </a:lnTo>
                <a:lnTo>
                  <a:pt x="2813" y="544"/>
                </a:lnTo>
                <a:lnTo>
                  <a:pt x="2811" y="550"/>
                </a:lnTo>
                <a:lnTo>
                  <a:pt x="2809" y="559"/>
                </a:lnTo>
                <a:lnTo>
                  <a:pt x="2805" y="565"/>
                </a:lnTo>
                <a:lnTo>
                  <a:pt x="2801" y="571"/>
                </a:lnTo>
                <a:lnTo>
                  <a:pt x="2790" y="582"/>
                </a:lnTo>
                <a:lnTo>
                  <a:pt x="2784" y="588"/>
                </a:lnTo>
                <a:lnTo>
                  <a:pt x="2777" y="593"/>
                </a:lnTo>
                <a:lnTo>
                  <a:pt x="2765" y="601"/>
                </a:lnTo>
                <a:lnTo>
                  <a:pt x="2756" y="603"/>
                </a:lnTo>
                <a:lnTo>
                  <a:pt x="2750" y="605"/>
                </a:lnTo>
                <a:lnTo>
                  <a:pt x="2733" y="607"/>
                </a:lnTo>
                <a:lnTo>
                  <a:pt x="2726" y="605"/>
                </a:lnTo>
                <a:lnTo>
                  <a:pt x="2724" y="603"/>
                </a:lnTo>
                <a:lnTo>
                  <a:pt x="2722" y="601"/>
                </a:lnTo>
                <a:lnTo>
                  <a:pt x="2720" y="599"/>
                </a:lnTo>
                <a:lnTo>
                  <a:pt x="2718" y="595"/>
                </a:lnTo>
                <a:lnTo>
                  <a:pt x="2718" y="588"/>
                </a:lnTo>
                <a:lnTo>
                  <a:pt x="2718" y="582"/>
                </a:lnTo>
                <a:lnTo>
                  <a:pt x="2720" y="580"/>
                </a:lnTo>
                <a:lnTo>
                  <a:pt x="2722" y="578"/>
                </a:lnTo>
                <a:lnTo>
                  <a:pt x="2735" y="574"/>
                </a:lnTo>
                <a:lnTo>
                  <a:pt x="2748" y="569"/>
                </a:lnTo>
                <a:lnTo>
                  <a:pt x="2758" y="565"/>
                </a:lnTo>
                <a:lnTo>
                  <a:pt x="2767" y="557"/>
                </a:lnTo>
                <a:lnTo>
                  <a:pt x="2773" y="550"/>
                </a:lnTo>
                <a:lnTo>
                  <a:pt x="2777" y="546"/>
                </a:lnTo>
                <a:lnTo>
                  <a:pt x="2779" y="542"/>
                </a:lnTo>
                <a:lnTo>
                  <a:pt x="2784" y="533"/>
                </a:lnTo>
                <a:lnTo>
                  <a:pt x="2784" y="525"/>
                </a:lnTo>
                <a:lnTo>
                  <a:pt x="2784" y="519"/>
                </a:lnTo>
                <a:lnTo>
                  <a:pt x="2781" y="514"/>
                </a:lnTo>
                <a:lnTo>
                  <a:pt x="2781" y="512"/>
                </a:lnTo>
                <a:lnTo>
                  <a:pt x="2777" y="508"/>
                </a:lnTo>
                <a:lnTo>
                  <a:pt x="2775" y="506"/>
                </a:lnTo>
                <a:lnTo>
                  <a:pt x="2771" y="504"/>
                </a:lnTo>
                <a:lnTo>
                  <a:pt x="2760" y="502"/>
                </a:lnTo>
                <a:lnTo>
                  <a:pt x="2750" y="504"/>
                </a:lnTo>
                <a:lnTo>
                  <a:pt x="2743" y="506"/>
                </a:lnTo>
                <a:lnTo>
                  <a:pt x="2739" y="508"/>
                </a:lnTo>
                <a:lnTo>
                  <a:pt x="2733" y="512"/>
                </a:lnTo>
                <a:lnTo>
                  <a:pt x="2729" y="516"/>
                </a:lnTo>
                <a:lnTo>
                  <a:pt x="2718" y="527"/>
                </a:lnTo>
                <a:lnTo>
                  <a:pt x="2716" y="533"/>
                </a:lnTo>
                <a:lnTo>
                  <a:pt x="2712" y="540"/>
                </a:lnTo>
                <a:lnTo>
                  <a:pt x="2705" y="555"/>
                </a:lnTo>
                <a:lnTo>
                  <a:pt x="2701" y="569"/>
                </a:lnTo>
                <a:lnTo>
                  <a:pt x="2699" y="578"/>
                </a:lnTo>
                <a:lnTo>
                  <a:pt x="2699" y="586"/>
                </a:lnTo>
                <a:lnTo>
                  <a:pt x="2701" y="601"/>
                </a:lnTo>
                <a:lnTo>
                  <a:pt x="2701" y="610"/>
                </a:lnTo>
                <a:lnTo>
                  <a:pt x="2703" y="616"/>
                </a:lnTo>
                <a:lnTo>
                  <a:pt x="2709" y="629"/>
                </a:lnTo>
                <a:lnTo>
                  <a:pt x="2716" y="637"/>
                </a:lnTo>
                <a:lnTo>
                  <a:pt x="2724" y="648"/>
                </a:lnTo>
                <a:lnTo>
                  <a:pt x="2729" y="650"/>
                </a:lnTo>
                <a:lnTo>
                  <a:pt x="2733" y="654"/>
                </a:lnTo>
                <a:lnTo>
                  <a:pt x="2745" y="656"/>
                </a:lnTo>
                <a:lnTo>
                  <a:pt x="2752" y="658"/>
                </a:lnTo>
                <a:lnTo>
                  <a:pt x="2758" y="658"/>
                </a:lnTo>
                <a:lnTo>
                  <a:pt x="2771" y="656"/>
                </a:lnTo>
                <a:lnTo>
                  <a:pt x="2781" y="654"/>
                </a:lnTo>
                <a:lnTo>
                  <a:pt x="2788" y="652"/>
                </a:lnTo>
                <a:lnTo>
                  <a:pt x="2792" y="648"/>
                </a:lnTo>
                <a:lnTo>
                  <a:pt x="2803" y="641"/>
                </a:lnTo>
                <a:lnTo>
                  <a:pt x="2813" y="631"/>
                </a:lnTo>
                <a:lnTo>
                  <a:pt x="2822" y="620"/>
                </a:lnTo>
                <a:lnTo>
                  <a:pt x="2828" y="610"/>
                </a:lnTo>
                <a:lnTo>
                  <a:pt x="2836" y="597"/>
                </a:lnTo>
                <a:lnTo>
                  <a:pt x="2843" y="582"/>
                </a:lnTo>
                <a:lnTo>
                  <a:pt x="2847" y="569"/>
                </a:lnTo>
                <a:lnTo>
                  <a:pt x="2851" y="555"/>
                </a:lnTo>
                <a:lnTo>
                  <a:pt x="2856" y="540"/>
                </a:lnTo>
                <a:lnTo>
                  <a:pt x="2858" y="525"/>
                </a:lnTo>
                <a:lnTo>
                  <a:pt x="2860" y="510"/>
                </a:lnTo>
                <a:lnTo>
                  <a:pt x="2860" y="497"/>
                </a:lnTo>
                <a:lnTo>
                  <a:pt x="2860" y="485"/>
                </a:lnTo>
                <a:lnTo>
                  <a:pt x="2862" y="483"/>
                </a:lnTo>
                <a:lnTo>
                  <a:pt x="2864" y="480"/>
                </a:lnTo>
                <a:lnTo>
                  <a:pt x="2868" y="478"/>
                </a:lnTo>
                <a:lnTo>
                  <a:pt x="2872" y="478"/>
                </a:lnTo>
                <a:lnTo>
                  <a:pt x="2881" y="478"/>
                </a:lnTo>
                <a:lnTo>
                  <a:pt x="2885" y="480"/>
                </a:lnTo>
                <a:lnTo>
                  <a:pt x="2887" y="483"/>
                </a:lnTo>
                <a:lnTo>
                  <a:pt x="2892" y="491"/>
                </a:lnTo>
                <a:lnTo>
                  <a:pt x="2894" y="497"/>
                </a:lnTo>
                <a:lnTo>
                  <a:pt x="2894" y="504"/>
                </a:lnTo>
                <a:lnTo>
                  <a:pt x="2892" y="523"/>
                </a:lnTo>
                <a:lnTo>
                  <a:pt x="2889" y="540"/>
                </a:lnTo>
                <a:lnTo>
                  <a:pt x="2887" y="559"/>
                </a:lnTo>
                <a:lnTo>
                  <a:pt x="2883" y="576"/>
                </a:lnTo>
                <a:lnTo>
                  <a:pt x="2877" y="593"/>
                </a:lnTo>
                <a:lnTo>
                  <a:pt x="2870" y="607"/>
                </a:lnTo>
                <a:lnTo>
                  <a:pt x="2862" y="622"/>
                </a:lnTo>
                <a:lnTo>
                  <a:pt x="2853" y="637"/>
                </a:lnTo>
                <a:lnTo>
                  <a:pt x="2845" y="650"/>
                </a:lnTo>
                <a:lnTo>
                  <a:pt x="2839" y="654"/>
                </a:lnTo>
                <a:lnTo>
                  <a:pt x="2834" y="660"/>
                </a:lnTo>
                <a:lnTo>
                  <a:pt x="2824" y="671"/>
                </a:lnTo>
                <a:lnTo>
                  <a:pt x="2811" y="679"/>
                </a:lnTo>
                <a:lnTo>
                  <a:pt x="2798" y="686"/>
                </a:lnTo>
                <a:lnTo>
                  <a:pt x="2786" y="690"/>
                </a:lnTo>
                <a:lnTo>
                  <a:pt x="2771" y="694"/>
                </a:lnTo>
                <a:lnTo>
                  <a:pt x="2756" y="694"/>
                </a:lnTo>
                <a:close/>
                <a:moveTo>
                  <a:pt x="2987" y="690"/>
                </a:moveTo>
                <a:lnTo>
                  <a:pt x="2980" y="688"/>
                </a:lnTo>
                <a:lnTo>
                  <a:pt x="2972" y="684"/>
                </a:lnTo>
                <a:lnTo>
                  <a:pt x="2957" y="667"/>
                </a:lnTo>
                <a:lnTo>
                  <a:pt x="2936" y="648"/>
                </a:lnTo>
                <a:lnTo>
                  <a:pt x="2919" y="629"/>
                </a:lnTo>
                <a:lnTo>
                  <a:pt x="2911" y="618"/>
                </a:lnTo>
                <a:lnTo>
                  <a:pt x="2906" y="612"/>
                </a:lnTo>
                <a:lnTo>
                  <a:pt x="2900" y="599"/>
                </a:lnTo>
                <a:lnTo>
                  <a:pt x="2900" y="595"/>
                </a:lnTo>
                <a:lnTo>
                  <a:pt x="2900" y="588"/>
                </a:lnTo>
                <a:lnTo>
                  <a:pt x="2900" y="582"/>
                </a:lnTo>
                <a:lnTo>
                  <a:pt x="2902" y="574"/>
                </a:lnTo>
                <a:lnTo>
                  <a:pt x="2904" y="567"/>
                </a:lnTo>
                <a:lnTo>
                  <a:pt x="2911" y="559"/>
                </a:lnTo>
                <a:lnTo>
                  <a:pt x="2921" y="544"/>
                </a:lnTo>
                <a:lnTo>
                  <a:pt x="2940" y="523"/>
                </a:lnTo>
                <a:lnTo>
                  <a:pt x="2983" y="474"/>
                </a:lnTo>
                <a:lnTo>
                  <a:pt x="2989" y="476"/>
                </a:lnTo>
                <a:lnTo>
                  <a:pt x="2995" y="478"/>
                </a:lnTo>
                <a:lnTo>
                  <a:pt x="2999" y="483"/>
                </a:lnTo>
                <a:lnTo>
                  <a:pt x="3004" y="487"/>
                </a:lnTo>
                <a:lnTo>
                  <a:pt x="3004" y="493"/>
                </a:lnTo>
                <a:lnTo>
                  <a:pt x="3004" y="500"/>
                </a:lnTo>
                <a:lnTo>
                  <a:pt x="3002" y="504"/>
                </a:lnTo>
                <a:lnTo>
                  <a:pt x="2999" y="508"/>
                </a:lnTo>
                <a:lnTo>
                  <a:pt x="2970" y="542"/>
                </a:lnTo>
                <a:lnTo>
                  <a:pt x="2951" y="561"/>
                </a:lnTo>
                <a:lnTo>
                  <a:pt x="2938" y="578"/>
                </a:lnTo>
                <a:lnTo>
                  <a:pt x="2936" y="582"/>
                </a:lnTo>
                <a:lnTo>
                  <a:pt x="2936" y="586"/>
                </a:lnTo>
                <a:lnTo>
                  <a:pt x="2936" y="591"/>
                </a:lnTo>
                <a:lnTo>
                  <a:pt x="2940" y="597"/>
                </a:lnTo>
                <a:lnTo>
                  <a:pt x="2951" y="610"/>
                </a:lnTo>
                <a:lnTo>
                  <a:pt x="2968" y="627"/>
                </a:lnTo>
                <a:lnTo>
                  <a:pt x="2987" y="648"/>
                </a:lnTo>
                <a:lnTo>
                  <a:pt x="3006" y="665"/>
                </a:lnTo>
                <a:lnTo>
                  <a:pt x="3008" y="667"/>
                </a:lnTo>
                <a:lnTo>
                  <a:pt x="3008" y="671"/>
                </a:lnTo>
                <a:lnTo>
                  <a:pt x="3008" y="673"/>
                </a:lnTo>
                <a:lnTo>
                  <a:pt x="3006" y="677"/>
                </a:lnTo>
                <a:lnTo>
                  <a:pt x="3002" y="684"/>
                </a:lnTo>
                <a:lnTo>
                  <a:pt x="2993" y="688"/>
                </a:lnTo>
                <a:lnTo>
                  <a:pt x="2991" y="690"/>
                </a:lnTo>
                <a:lnTo>
                  <a:pt x="2987" y="690"/>
                </a:lnTo>
                <a:close/>
                <a:moveTo>
                  <a:pt x="2756" y="1287"/>
                </a:moveTo>
                <a:lnTo>
                  <a:pt x="2748" y="1285"/>
                </a:lnTo>
                <a:lnTo>
                  <a:pt x="2739" y="1285"/>
                </a:lnTo>
                <a:lnTo>
                  <a:pt x="2729" y="1281"/>
                </a:lnTo>
                <a:lnTo>
                  <a:pt x="2720" y="1278"/>
                </a:lnTo>
                <a:lnTo>
                  <a:pt x="2714" y="1274"/>
                </a:lnTo>
                <a:lnTo>
                  <a:pt x="2705" y="1268"/>
                </a:lnTo>
                <a:lnTo>
                  <a:pt x="2699" y="1262"/>
                </a:lnTo>
                <a:lnTo>
                  <a:pt x="2693" y="1255"/>
                </a:lnTo>
                <a:lnTo>
                  <a:pt x="2686" y="1247"/>
                </a:lnTo>
                <a:lnTo>
                  <a:pt x="2682" y="1240"/>
                </a:lnTo>
                <a:lnTo>
                  <a:pt x="2673" y="1221"/>
                </a:lnTo>
                <a:lnTo>
                  <a:pt x="2669" y="1211"/>
                </a:lnTo>
                <a:lnTo>
                  <a:pt x="2667" y="1202"/>
                </a:lnTo>
                <a:lnTo>
                  <a:pt x="2667" y="1192"/>
                </a:lnTo>
                <a:lnTo>
                  <a:pt x="2665" y="1179"/>
                </a:lnTo>
                <a:lnTo>
                  <a:pt x="2667" y="1168"/>
                </a:lnTo>
                <a:lnTo>
                  <a:pt x="2667" y="1158"/>
                </a:lnTo>
                <a:lnTo>
                  <a:pt x="2669" y="1147"/>
                </a:lnTo>
                <a:lnTo>
                  <a:pt x="2673" y="1137"/>
                </a:lnTo>
                <a:lnTo>
                  <a:pt x="2678" y="1126"/>
                </a:lnTo>
                <a:lnTo>
                  <a:pt x="2682" y="1115"/>
                </a:lnTo>
                <a:lnTo>
                  <a:pt x="2688" y="1107"/>
                </a:lnTo>
                <a:lnTo>
                  <a:pt x="2695" y="1099"/>
                </a:lnTo>
                <a:lnTo>
                  <a:pt x="2701" y="1092"/>
                </a:lnTo>
                <a:lnTo>
                  <a:pt x="2707" y="1084"/>
                </a:lnTo>
                <a:lnTo>
                  <a:pt x="2716" y="1077"/>
                </a:lnTo>
                <a:lnTo>
                  <a:pt x="2724" y="1073"/>
                </a:lnTo>
                <a:lnTo>
                  <a:pt x="2733" y="1069"/>
                </a:lnTo>
                <a:lnTo>
                  <a:pt x="2743" y="1067"/>
                </a:lnTo>
                <a:lnTo>
                  <a:pt x="2752" y="1065"/>
                </a:lnTo>
                <a:lnTo>
                  <a:pt x="2762" y="1065"/>
                </a:lnTo>
                <a:lnTo>
                  <a:pt x="2775" y="1065"/>
                </a:lnTo>
                <a:lnTo>
                  <a:pt x="2779" y="1067"/>
                </a:lnTo>
                <a:lnTo>
                  <a:pt x="2786" y="1069"/>
                </a:lnTo>
                <a:lnTo>
                  <a:pt x="2794" y="1073"/>
                </a:lnTo>
                <a:lnTo>
                  <a:pt x="2803" y="1079"/>
                </a:lnTo>
                <a:lnTo>
                  <a:pt x="2807" y="1088"/>
                </a:lnTo>
                <a:lnTo>
                  <a:pt x="2813" y="1099"/>
                </a:lnTo>
                <a:lnTo>
                  <a:pt x="2815" y="1109"/>
                </a:lnTo>
                <a:lnTo>
                  <a:pt x="2815" y="1122"/>
                </a:lnTo>
                <a:lnTo>
                  <a:pt x="2815" y="1128"/>
                </a:lnTo>
                <a:lnTo>
                  <a:pt x="2813" y="1137"/>
                </a:lnTo>
                <a:lnTo>
                  <a:pt x="2811" y="1143"/>
                </a:lnTo>
                <a:lnTo>
                  <a:pt x="2809" y="1149"/>
                </a:lnTo>
                <a:lnTo>
                  <a:pt x="2805" y="1158"/>
                </a:lnTo>
                <a:lnTo>
                  <a:pt x="2801" y="1164"/>
                </a:lnTo>
                <a:lnTo>
                  <a:pt x="2790" y="1175"/>
                </a:lnTo>
                <a:lnTo>
                  <a:pt x="2784" y="1179"/>
                </a:lnTo>
                <a:lnTo>
                  <a:pt x="2777" y="1185"/>
                </a:lnTo>
                <a:lnTo>
                  <a:pt x="2765" y="1192"/>
                </a:lnTo>
                <a:lnTo>
                  <a:pt x="2756" y="1194"/>
                </a:lnTo>
                <a:lnTo>
                  <a:pt x="2750" y="1196"/>
                </a:lnTo>
                <a:lnTo>
                  <a:pt x="2733" y="1198"/>
                </a:lnTo>
                <a:lnTo>
                  <a:pt x="2726" y="1196"/>
                </a:lnTo>
                <a:lnTo>
                  <a:pt x="2724" y="1196"/>
                </a:lnTo>
                <a:lnTo>
                  <a:pt x="2722" y="1194"/>
                </a:lnTo>
                <a:lnTo>
                  <a:pt x="2720" y="1190"/>
                </a:lnTo>
                <a:lnTo>
                  <a:pt x="2718" y="1187"/>
                </a:lnTo>
                <a:lnTo>
                  <a:pt x="2718" y="1179"/>
                </a:lnTo>
                <a:lnTo>
                  <a:pt x="2718" y="1173"/>
                </a:lnTo>
                <a:lnTo>
                  <a:pt x="2720" y="1170"/>
                </a:lnTo>
                <a:lnTo>
                  <a:pt x="2722" y="1168"/>
                </a:lnTo>
                <a:lnTo>
                  <a:pt x="2735" y="1166"/>
                </a:lnTo>
                <a:lnTo>
                  <a:pt x="2748" y="1162"/>
                </a:lnTo>
                <a:lnTo>
                  <a:pt x="2758" y="1156"/>
                </a:lnTo>
                <a:lnTo>
                  <a:pt x="2767" y="1149"/>
                </a:lnTo>
                <a:lnTo>
                  <a:pt x="2773" y="1141"/>
                </a:lnTo>
                <a:lnTo>
                  <a:pt x="2777" y="1137"/>
                </a:lnTo>
                <a:lnTo>
                  <a:pt x="2779" y="1132"/>
                </a:lnTo>
                <a:lnTo>
                  <a:pt x="2784" y="1124"/>
                </a:lnTo>
                <a:lnTo>
                  <a:pt x="2784" y="1115"/>
                </a:lnTo>
                <a:lnTo>
                  <a:pt x="2784" y="1111"/>
                </a:lnTo>
                <a:lnTo>
                  <a:pt x="2781" y="1107"/>
                </a:lnTo>
                <a:lnTo>
                  <a:pt x="2781" y="1103"/>
                </a:lnTo>
                <a:lnTo>
                  <a:pt x="2777" y="1101"/>
                </a:lnTo>
                <a:lnTo>
                  <a:pt x="2775" y="1096"/>
                </a:lnTo>
                <a:lnTo>
                  <a:pt x="2771" y="1094"/>
                </a:lnTo>
                <a:lnTo>
                  <a:pt x="2760" y="1094"/>
                </a:lnTo>
                <a:lnTo>
                  <a:pt x="2750" y="1096"/>
                </a:lnTo>
                <a:lnTo>
                  <a:pt x="2743" y="1099"/>
                </a:lnTo>
                <a:lnTo>
                  <a:pt x="2739" y="1101"/>
                </a:lnTo>
                <a:lnTo>
                  <a:pt x="2733" y="1105"/>
                </a:lnTo>
                <a:lnTo>
                  <a:pt x="2729" y="1109"/>
                </a:lnTo>
                <a:lnTo>
                  <a:pt x="2718" y="1120"/>
                </a:lnTo>
                <a:lnTo>
                  <a:pt x="2716" y="1124"/>
                </a:lnTo>
                <a:lnTo>
                  <a:pt x="2712" y="1130"/>
                </a:lnTo>
                <a:lnTo>
                  <a:pt x="2705" y="1145"/>
                </a:lnTo>
                <a:lnTo>
                  <a:pt x="2701" y="1162"/>
                </a:lnTo>
                <a:lnTo>
                  <a:pt x="2699" y="1170"/>
                </a:lnTo>
                <a:lnTo>
                  <a:pt x="2699" y="1179"/>
                </a:lnTo>
                <a:lnTo>
                  <a:pt x="2701" y="1194"/>
                </a:lnTo>
                <a:lnTo>
                  <a:pt x="2701" y="1200"/>
                </a:lnTo>
                <a:lnTo>
                  <a:pt x="2703" y="1206"/>
                </a:lnTo>
                <a:lnTo>
                  <a:pt x="2709" y="1219"/>
                </a:lnTo>
                <a:lnTo>
                  <a:pt x="2716" y="1230"/>
                </a:lnTo>
                <a:lnTo>
                  <a:pt x="2724" y="1238"/>
                </a:lnTo>
                <a:lnTo>
                  <a:pt x="2729" y="1242"/>
                </a:lnTo>
                <a:lnTo>
                  <a:pt x="2733" y="1245"/>
                </a:lnTo>
                <a:lnTo>
                  <a:pt x="2745" y="1249"/>
                </a:lnTo>
                <a:lnTo>
                  <a:pt x="2752" y="1249"/>
                </a:lnTo>
                <a:lnTo>
                  <a:pt x="2758" y="1251"/>
                </a:lnTo>
                <a:lnTo>
                  <a:pt x="2771" y="1249"/>
                </a:lnTo>
                <a:lnTo>
                  <a:pt x="2781" y="1245"/>
                </a:lnTo>
                <a:lnTo>
                  <a:pt x="2788" y="1242"/>
                </a:lnTo>
                <a:lnTo>
                  <a:pt x="2792" y="1240"/>
                </a:lnTo>
                <a:lnTo>
                  <a:pt x="2803" y="1232"/>
                </a:lnTo>
                <a:lnTo>
                  <a:pt x="2813" y="1223"/>
                </a:lnTo>
                <a:lnTo>
                  <a:pt x="2822" y="1213"/>
                </a:lnTo>
                <a:lnTo>
                  <a:pt x="2828" y="1200"/>
                </a:lnTo>
                <a:lnTo>
                  <a:pt x="2836" y="1187"/>
                </a:lnTo>
                <a:lnTo>
                  <a:pt x="2843" y="1175"/>
                </a:lnTo>
                <a:lnTo>
                  <a:pt x="2847" y="1160"/>
                </a:lnTo>
                <a:lnTo>
                  <a:pt x="2851" y="1145"/>
                </a:lnTo>
                <a:lnTo>
                  <a:pt x="2856" y="1132"/>
                </a:lnTo>
                <a:lnTo>
                  <a:pt x="2858" y="1118"/>
                </a:lnTo>
                <a:lnTo>
                  <a:pt x="2860" y="1103"/>
                </a:lnTo>
                <a:lnTo>
                  <a:pt x="2860" y="1090"/>
                </a:lnTo>
                <a:lnTo>
                  <a:pt x="2860" y="1077"/>
                </a:lnTo>
                <a:lnTo>
                  <a:pt x="2862" y="1073"/>
                </a:lnTo>
                <a:lnTo>
                  <a:pt x="2864" y="1071"/>
                </a:lnTo>
                <a:lnTo>
                  <a:pt x="2868" y="1069"/>
                </a:lnTo>
                <a:lnTo>
                  <a:pt x="2872" y="1069"/>
                </a:lnTo>
                <a:lnTo>
                  <a:pt x="2881" y="1071"/>
                </a:lnTo>
                <a:lnTo>
                  <a:pt x="2885" y="1073"/>
                </a:lnTo>
                <a:lnTo>
                  <a:pt x="2887" y="1075"/>
                </a:lnTo>
                <a:lnTo>
                  <a:pt x="2892" y="1082"/>
                </a:lnTo>
                <a:lnTo>
                  <a:pt x="2894" y="1088"/>
                </a:lnTo>
                <a:lnTo>
                  <a:pt x="2894" y="1094"/>
                </a:lnTo>
                <a:lnTo>
                  <a:pt x="2892" y="1113"/>
                </a:lnTo>
                <a:lnTo>
                  <a:pt x="2889" y="1132"/>
                </a:lnTo>
                <a:lnTo>
                  <a:pt x="2887" y="1149"/>
                </a:lnTo>
                <a:lnTo>
                  <a:pt x="2883" y="1166"/>
                </a:lnTo>
                <a:lnTo>
                  <a:pt x="2877" y="1183"/>
                </a:lnTo>
                <a:lnTo>
                  <a:pt x="2870" y="1200"/>
                </a:lnTo>
                <a:lnTo>
                  <a:pt x="2862" y="1215"/>
                </a:lnTo>
                <a:lnTo>
                  <a:pt x="2853" y="1228"/>
                </a:lnTo>
                <a:lnTo>
                  <a:pt x="2845" y="1240"/>
                </a:lnTo>
                <a:lnTo>
                  <a:pt x="2839" y="1247"/>
                </a:lnTo>
                <a:lnTo>
                  <a:pt x="2834" y="1253"/>
                </a:lnTo>
                <a:lnTo>
                  <a:pt x="2824" y="1262"/>
                </a:lnTo>
                <a:lnTo>
                  <a:pt x="2811" y="1270"/>
                </a:lnTo>
                <a:lnTo>
                  <a:pt x="2798" y="1276"/>
                </a:lnTo>
                <a:lnTo>
                  <a:pt x="2786" y="1283"/>
                </a:lnTo>
                <a:lnTo>
                  <a:pt x="2771" y="1285"/>
                </a:lnTo>
                <a:lnTo>
                  <a:pt x="2756" y="1287"/>
                </a:lnTo>
                <a:close/>
                <a:moveTo>
                  <a:pt x="2987" y="1283"/>
                </a:moveTo>
                <a:lnTo>
                  <a:pt x="2980" y="1281"/>
                </a:lnTo>
                <a:lnTo>
                  <a:pt x="2972" y="1274"/>
                </a:lnTo>
                <a:lnTo>
                  <a:pt x="2957" y="1259"/>
                </a:lnTo>
                <a:lnTo>
                  <a:pt x="2936" y="1240"/>
                </a:lnTo>
                <a:lnTo>
                  <a:pt x="2919" y="1219"/>
                </a:lnTo>
                <a:lnTo>
                  <a:pt x="2911" y="1211"/>
                </a:lnTo>
                <a:lnTo>
                  <a:pt x="2906" y="1204"/>
                </a:lnTo>
                <a:lnTo>
                  <a:pt x="2900" y="1192"/>
                </a:lnTo>
                <a:lnTo>
                  <a:pt x="2900" y="1185"/>
                </a:lnTo>
                <a:lnTo>
                  <a:pt x="2900" y="1179"/>
                </a:lnTo>
                <a:lnTo>
                  <a:pt x="2900" y="1173"/>
                </a:lnTo>
                <a:lnTo>
                  <a:pt x="2902" y="1166"/>
                </a:lnTo>
                <a:lnTo>
                  <a:pt x="2904" y="1158"/>
                </a:lnTo>
                <a:lnTo>
                  <a:pt x="2911" y="1149"/>
                </a:lnTo>
                <a:lnTo>
                  <a:pt x="2921" y="1135"/>
                </a:lnTo>
                <a:lnTo>
                  <a:pt x="2940" y="1115"/>
                </a:lnTo>
                <a:lnTo>
                  <a:pt x="2983" y="1067"/>
                </a:lnTo>
                <a:lnTo>
                  <a:pt x="2989" y="1067"/>
                </a:lnTo>
                <a:lnTo>
                  <a:pt x="2995" y="1069"/>
                </a:lnTo>
                <a:lnTo>
                  <a:pt x="2999" y="1073"/>
                </a:lnTo>
                <a:lnTo>
                  <a:pt x="3004" y="1079"/>
                </a:lnTo>
                <a:lnTo>
                  <a:pt x="3004" y="1086"/>
                </a:lnTo>
                <a:lnTo>
                  <a:pt x="3004" y="1092"/>
                </a:lnTo>
                <a:lnTo>
                  <a:pt x="3002" y="1094"/>
                </a:lnTo>
                <a:lnTo>
                  <a:pt x="2999" y="1099"/>
                </a:lnTo>
                <a:lnTo>
                  <a:pt x="2970" y="1132"/>
                </a:lnTo>
                <a:lnTo>
                  <a:pt x="2951" y="1154"/>
                </a:lnTo>
                <a:lnTo>
                  <a:pt x="2938" y="1168"/>
                </a:lnTo>
                <a:lnTo>
                  <a:pt x="2936" y="1173"/>
                </a:lnTo>
                <a:lnTo>
                  <a:pt x="2936" y="1179"/>
                </a:lnTo>
                <a:lnTo>
                  <a:pt x="2936" y="1183"/>
                </a:lnTo>
                <a:lnTo>
                  <a:pt x="2940" y="1190"/>
                </a:lnTo>
                <a:lnTo>
                  <a:pt x="2951" y="1202"/>
                </a:lnTo>
                <a:lnTo>
                  <a:pt x="2968" y="1219"/>
                </a:lnTo>
                <a:lnTo>
                  <a:pt x="2987" y="1238"/>
                </a:lnTo>
                <a:lnTo>
                  <a:pt x="3006" y="1257"/>
                </a:lnTo>
                <a:lnTo>
                  <a:pt x="3008" y="1259"/>
                </a:lnTo>
                <a:lnTo>
                  <a:pt x="3008" y="1262"/>
                </a:lnTo>
                <a:lnTo>
                  <a:pt x="3008" y="1266"/>
                </a:lnTo>
                <a:lnTo>
                  <a:pt x="3006" y="1268"/>
                </a:lnTo>
                <a:lnTo>
                  <a:pt x="3002" y="1276"/>
                </a:lnTo>
                <a:lnTo>
                  <a:pt x="2993" y="1281"/>
                </a:lnTo>
                <a:lnTo>
                  <a:pt x="2991" y="1283"/>
                </a:lnTo>
                <a:lnTo>
                  <a:pt x="2987" y="1283"/>
                </a:lnTo>
                <a:close/>
                <a:moveTo>
                  <a:pt x="2756" y="1877"/>
                </a:moveTo>
                <a:lnTo>
                  <a:pt x="2748" y="1877"/>
                </a:lnTo>
                <a:lnTo>
                  <a:pt x="2739" y="1875"/>
                </a:lnTo>
                <a:lnTo>
                  <a:pt x="2729" y="1873"/>
                </a:lnTo>
                <a:lnTo>
                  <a:pt x="2720" y="1869"/>
                </a:lnTo>
                <a:lnTo>
                  <a:pt x="2714" y="1865"/>
                </a:lnTo>
                <a:lnTo>
                  <a:pt x="2705" y="1861"/>
                </a:lnTo>
                <a:lnTo>
                  <a:pt x="2699" y="1854"/>
                </a:lnTo>
                <a:lnTo>
                  <a:pt x="2693" y="1848"/>
                </a:lnTo>
                <a:lnTo>
                  <a:pt x="2686" y="1839"/>
                </a:lnTo>
                <a:lnTo>
                  <a:pt x="2682" y="1831"/>
                </a:lnTo>
                <a:lnTo>
                  <a:pt x="2673" y="1814"/>
                </a:lnTo>
                <a:lnTo>
                  <a:pt x="2669" y="1803"/>
                </a:lnTo>
                <a:lnTo>
                  <a:pt x="2667" y="1793"/>
                </a:lnTo>
                <a:lnTo>
                  <a:pt x="2667" y="1782"/>
                </a:lnTo>
                <a:lnTo>
                  <a:pt x="2665" y="1772"/>
                </a:lnTo>
                <a:lnTo>
                  <a:pt x="2667" y="1761"/>
                </a:lnTo>
                <a:lnTo>
                  <a:pt x="2667" y="1748"/>
                </a:lnTo>
                <a:lnTo>
                  <a:pt x="2669" y="1738"/>
                </a:lnTo>
                <a:lnTo>
                  <a:pt x="2673" y="1727"/>
                </a:lnTo>
                <a:lnTo>
                  <a:pt x="2678" y="1719"/>
                </a:lnTo>
                <a:lnTo>
                  <a:pt x="2682" y="1708"/>
                </a:lnTo>
                <a:lnTo>
                  <a:pt x="2688" y="1700"/>
                </a:lnTo>
                <a:lnTo>
                  <a:pt x="2695" y="1691"/>
                </a:lnTo>
                <a:lnTo>
                  <a:pt x="2701" y="1683"/>
                </a:lnTo>
                <a:lnTo>
                  <a:pt x="2707" y="1676"/>
                </a:lnTo>
                <a:lnTo>
                  <a:pt x="2716" y="1670"/>
                </a:lnTo>
                <a:lnTo>
                  <a:pt x="2724" y="1666"/>
                </a:lnTo>
                <a:lnTo>
                  <a:pt x="2733" y="1662"/>
                </a:lnTo>
                <a:lnTo>
                  <a:pt x="2743" y="1657"/>
                </a:lnTo>
                <a:lnTo>
                  <a:pt x="2752" y="1655"/>
                </a:lnTo>
                <a:lnTo>
                  <a:pt x="2762" y="1655"/>
                </a:lnTo>
                <a:lnTo>
                  <a:pt x="2775" y="1657"/>
                </a:lnTo>
                <a:lnTo>
                  <a:pt x="2779" y="1657"/>
                </a:lnTo>
                <a:lnTo>
                  <a:pt x="2786" y="1659"/>
                </a:lnTo>
                <a:lnTo>
                  <a:pt x="2794" y="1666"/>
                </a:lnTo>
                <a:lnTo>
                  <a:pt x="2803" y="1672"/>
                </a:lnTo>
                <a:lnTo>
                  <a:pt x="2807" y="1681"/>
                </a:lnTo>
                <a:lnTo>
                  <a:pt x="2813" y="1689"/>
                </a:lnTo>
                <a:lnTo>
                  <a:pt x="2815" y="1702"/>
                </a:lnTo>
                <a:lnTo>
                  <a:pt x="2815" y="1712"/>
                </a:lnTo>
                <a:lnTo>
                  <a:pt x="2815" y="1721"/>
                </a:lnTo>
                <a:lnTo>
                  <a:pt x="2813" y="1727"/>
                </a:lnTo>
                <a:lnTo>
                  <a:pt x="2811" y="1736"/>
                </a:lnTo>
                <a:lnTo>
                  <a:pt x="2809" y="1742"/>
                </a:lnTo>
                <a:lnTo>
                  <a:pt x="2805" y="1748"/>
                </a:lnTo>
                <a:lnTo>
                  <a:pt x="2801" y="1755"/>
                </a:lnTo>
                <a:lnTo>
                  <a:pt x="2790" y="1767"/>
                </a:lnTo>
                <a:lnTo>
                  <a:pt x="2784" y="1772"/>
                </a:lnTo>
                <a:lnTo>
                  <a:pt x="2777" y="1776"/>
                </a:lnTo>
                <a:lnTo>
                  <a:pt x="2765" y="1784"/>
                </a:lnTo>
                <a:lnTo>
                  <a:pt x="2756" y="1786"/>
                </a:lnTo>
                <a:lnTo>
                  <a:pt x="2750" y="1789"/>
                </a:lnTo>
                <a:lnTo>
                  <a:pt x="2733" y="1791"/>
                </a:lnTo>
                <a:lnTo>
                  <a:pt x="2726" y="1789"/>
                </a:lnTo>
                <a:lnTo>
                  <a:pt x="2724" y="1786"/>
                </a:lnTo>
                <a:lnTo>
                  <a:pt x="2722" y="1784"/>
                </a:lnTo>
                <a:lnTo>
                  <a:pt x="2720" y="1782"/>
                </a:lnTo>
                <a:lnTo>
                  <a:pt x="2718" y="1778"/>
                </a:lnTo>
                <a:lnTo>
                  <a:pt x="2718" y="1772"/>
                </a:lnTo>
                <a:lnTo>
                  <a:pt x="2718" y="1765"/>
                </a:lnTo>
                <a:lnTo>
                  <a:pt x="2720" y="1763"/>
                </a:lnTo>
                <a:lnTo>
                  <a:pt x="2722" y="1761"/>
                </a:lnTo>
                <a:lnTo>
                  <a:pt x="2735" y="1759"/>
                </a:lnTo>
                <a:lnTo>
                  <a:pt x="2748" y="1753"/>
                </a:lnTo>
                <a:lnTo>
                  <a:pt x="2758" y="1748"/>
                </a:lnTo>
                <a:lnTo>
                  <a:pt x="2767" y="1740"/>
                </a:lnTo>
                <a:lnTo>
                  <a:pt x="2773" y="1734"/>
                </a:lnTo>
                <a:lnTo>
                  <a:pt x="2777" y="1729"/>
                </a:lnTo>
                <a:lnTo>
                  <a:pt x="2779" y="1725"/>
                </a:lnTo>
                <a:lnTo>
                  <a:pt x="2784" y="1717"/>
                </a:lnTo>
                <a:lnTo>
                  <a:pt x="2784" y="1708"/>
                </a:lnTo>
                <a:lnTo>
                  <a:pt x="2784" y="1704"/>
                </a:lnTo>
                <a:lnTo>
                  <a:pt x="2781" y="1698"/>
                </a:lnTo>
                <a:lnTo>
                  <a:pt x="2781" y="1695"/>
                </a:lnTo>
                <a:lnTo>
                  <a:pt x="2777" y="1691"/>
                </a:lnTo>
                <a:lnTo>
                  <a:pt x="2775" y="1689"/>
                </a:lnTo>
                <a:lnTo>
                  <a:pt x="2771" y="1687"/>
                </a:lnTo>
                <a:lnTo>
                  <a:pt x="2760" y="1685"/>
                </a:lnTo>
                <a:lnTo>
                  <a:pt x="2750" y="1687"/>
                </a:lnTo>
                <a:lnTo>
                  <a:pt x="2743" y="1689"/>
                </a:lnTo>
                <a:lnTo>
                  <a:pt x="2739" y="1691"/>
                </a:lnTo>
                <a:lnTo>
                  <a:pt x="2733" y="1695"/>
                </a:lnTo>
                <a:lnTo>
                  <a:pt x="2729" y="1700"/>
                </a:lnTo>
                <a:lnTo>
                  <a:pt x="2718" y="1710"/>
                </a:lnTo>
                <a:lnTo>
                  <a:pt x="2716" y="1717"/>
                </a:lnTo>
                <a:lnTo>
                  <a:pt x="2712" y="1723"/>
                </a:lnTo>
                <a:lnTo>
                  <a:pt x="2705" y="1738"/>
                </a:lnTo>
                <a:lnTo>
                  <a:pt x="2701" y="1753"/>
                </a:lnTo>
                <a:lnTo>
                  <a:pt x="2699" y="1761"/>
                </a:lnTo>
                <a:lnTo>
                  <a:pt x="2699" y="1770"/>
                </a:lnTo>
                <a:lnTo>
                  <a:pt x="2701" y="1784"/>
                </a:lnTo>
                <a:lnTo>
                  <a:pt x="2701" y="1793"/>
                </a:lnTo>
                <a:lnTo>
                  <a:pt x="2703" y="1799"/>
                </a:lnTo>
                <a:lnTo>
                  <a:pt x="2709" y="1812"/>
                </a:lnTo>
                <a:lnTo>
                  <a:pt x="2716" y="1822"/>
                </a:lnTo>
                <a:lnTo>
                  <a:pt x="2724" y="1831"/>
                </a:lnTo>
                <a:lnTo>
                  <a:pt x="2729" y="1833"/>
                </a:lnTo>
                <a:lnTo>
                  <a:pt x="2733" y="1837"/>
                </a:lnTo>
                <a:lnTo>
                  <a:pt x="2745" y="1841"/>
                </a:lnTo>
                <a:lnTo>
                  <a:pt x="2752" y="1841"/>
                </a:lnTo>
                <a:lnTo>
                  <a:pt x="2758" y="1841"/>
                </a:lnTo>
                <a:lnTo>
                  <a:pt x="2771" y="1841"/>
                </a:lnTo>
                <a:lnTo>
                  <a:pt x="2781" y="1837"/>
                </a:lnTo>
                <a:lnTo>
                  <a:pt x="2788" y="1835"/>
                </a:lnTo>
                <a:lnTo>
                  <a:pt x="2792" y="1831"/>
                </a:lnTo>
                <a:lnTo>
                  <a:pt x="2803" y="1825"/>
                </a:lnTo>
                <a:lnTo>
                  <a:pt x="2813" y="1814"/>
                </a:lnTo>
                <a:lnTo>
                  <a:pt x="2822" y="1803"/>
                </a:lnTo>
                <a:lnTo>
                  <a:pt x="2828" y="1793"/>
                </a:lnTo>
                <a:lnTo>
                  <a:pt x="2836" y="1780"/>
                </a:lnTo>
                <a:lnTo>
                  <a:pt x="2843" y="1765"/>
                </a:lnTo>
                <a:lnTo>
                  <a:pt x="2847" y="1753"/>
                </a:lnTo>
                <a:lnTo>
                  <a:pt x="2851" y="1738"/>
                </a:lnTo>
                <a:lnTo>
                  <a:pt x="2856" y="1723"/>
                </a:lnTo>
                <a:lnTo>
                  <a:pt x="2858" y="1708"/>
                </a:lnTo>
                <a:lnTo>
                  <a:pt x="2860" y="1695"/>
                </a:lnTo>
                <a:lnTo>
                  <a:pt x="2860" y="1681"/>
                </a:lnTo>
                <a:lnTo>
                  <a:pt x="2860" y="1668"/>
                </a:lnTo>
                <a:lnTo>
                  <a:pt x="2862" y="1666"/>
                </a:lnTo>
                <a:lnTo>
                  <a:pt x="2864" y="1664"/>
                </a:lnTo>
                <a:lnTo>
                  <a:pt x="2868" y="1662"/>
                </a:lnTo>
                <a:lnTo>
                  <a:pt x="2872" y="1662"/>
                </a:lnTo>
                <a:lnTo>
                  <a:pt x="2881" y="1662"/>
                </a:lnTo>
                <a:lnTo>
                  <a:pt x="2885" y="1664"/>
                </a:lnTo>
                <a:lnTo>
                  <a:pt x="2887" y="1666"/>
                </a:lnTo>
                <a:lnTo>
                  <a:pt x="2892" y="1674"/>
                </a:lnTo>
                <a:lnTo>
                  <a:pt x="2894" y="1681"/>
                </a:lnTo>
                <a:lnTo>
                  <a:pt x="2894" y="1687"/>
                </a:lnTo>
                <a:lnTo>
                  <a:pt x="2892" y="1706"/>
                </a:lnTo>
                <a:lnTo>
                  <a:pt x="2889" y="1723"/>
                </a:lnTo>
                <a:lnTo>
                  <a:pt x="2887" y="1742"/>
                </a:lnTo>
                <a:lnTo>
                  <a:pt x="2883" y="1759"/>
                </a:lnTo>
                <a:lnTo>
                  <a:pt x="2877" y="1776"/>
                </a:lnTo>
                <a:lnTo>
                  <a:pt x="2870" y="1791"/>
                </a:lnTo>
                <a:lnTo>
                  <a:pt x="2862" y="1805"/>
                </a:lnTo>
                <a:lnTo>
                  <a:pt x="2853" y="1820"/>
                </a:lnTo>
                <a:lnTo>
                  <a:pt x="2845" y="1833"/>
                </a:lnTo>
                <a:lnTo>
                  <a:pt x="2839" y="1839"/>
                </a:lnTo>
                <a:lnTo>
                  <a:pt x="2834" y="1844"/>
                </a:lnTo>
                <a:lnTo>
                  <a:pt x="2824" y="1854"/>
                </a:lnTo>
                <a:lnTo>
                  <a:pt x="2811" y="1863"/>
                </a:lnTo>
                <a:lnTo>
                  <a:pt x="2798" y="1869"/>
                </a:lnTo>
                <a:lnTo>
                  <a:pt x="2786" y="1873"/>
                </a:lnTo>
                <a:lnTo>
                  <a:pt x="2771" y="1877"/>
                </a:lnTo>
                <a:lnTo>
                  <a:pt x="2756" y="1877"/>
                </a:lnTo>
                <a:close/>
                <a:moveTo>
                  <a:pt x="2987" y="1873"/>
                </a:moveTo>
                <a:lnTo>
                  <a:pt x="2980" y="1871"/>
                </a:lnTo>
                <a:lnTo>
                  <a:pt x="2972" y="1867"/>
                </a:lnTo>
                <a:lnTo>
                  <a:pt x="2957" y="1852"/>
                </a:lnTo>
                <a:lnTo>
                  <a:pt x="2936" y="1831"/>
                </a:lnTo>
                <a:lnTo>
                  <a:pt x="2919" y="1812"/>
                </a:lnTo>
                <a:lnTo>
                  <a:pt x="2911" y="1803"/>
                </a:lnTo>
                <a:lnTo>
                  <a:pt x="2906" y="1795"/>
                </a:lnTo>
                <a:lnTo>
                  <a:pt x="2900" y="1784"/>
                </a:lnTo>
                <a:lnTo>
                  <a:pt x="2900" y="1778"/>
                </a:lnTo>
                <a:lnTo>
                  <a:pt x="2900" y="1772"/>
                </a:lnTo>
                <a:lnTo>
                  <a:pt x="2900" y="1765"/>
                </a:lnTo>
                <a:lnTo>
                  <a:pt x="2902" y="1757"/>
                </a:lnTo>
                <a:lnTo>
                  <a:pt x="2904" y="1750"/>
                </a:lnTo>
                <a:lnTo>
                  <a:pt x="2911" y="1742"/>
                </a:lnTo>
                <a:lnTo>
                  <a:pt x="2921" y="1727"/>
                </a:lnTo>
                <a:lnTo>
                  <a:pt x="2940" y="1706"/>
                </a:lnTo>
                <a:lnTo>
                  <a:pt x="2983" y="1659"/>
                </a:lnTo>
                <a:lnTo>
                  <a:pt x="2989" y="1659"/>
                </a:lnTo>
                <a:lnTo>
                  <a:pt x="2995" y="1662"/>
                </a:lnTo>
                <a:lnTo>
                  <a:pt x="2999" y="1666"/>
                </a:lnTo>
                <a:lnTo>
                  <a:pt x="3004" y="1672"/>
                </a:lnTo>
                <a:lnTo>
                  <a:pt x="3004" y="1676"/>
                </a:lnTo>
                <a:lnTo>
                  <a:pt x="3004" y="1683"/>
                </a:lnTo>
                <a:lnTo>
                  <a:pt x="3002" y="1687"/>
                </a:lnTo>
                <a:lnTo>
                  <a:pt x="2999" y="1691"/>
                </a:lnTo>
                <a:lnTo>
                  <a:pt x="2970" y="1725"/>
                </a:lnTo>
                <a:lnTo>
                  <a:pt x="2951" y="1744"/>
                </a:lnTo>
                <a:lnTo>
                  <a:pt x="2938" y="1761"/>
                </a:lnTo>
                <a:lnTo>
                  <a:pt x="2936" y="1765"/>
                </a:lnTo>
                <a:lnTo>
                  <a:pt x="2936" y="1770"/>
                </a:lnTo>
                <a:lnTo>
                  <a:pt x="2936" y="1776"/>
                </a:lnTo>
                <a:lnTo>
                  <a:pt x="2940" y="1780"/>
                </a:lnTo>
                <a:lnTo>
                  <a:pt x="2951" y="1793"/>
                </a:lnTo>
                <a:lnTo>
                  <a:pt x="2968" y="1810"/>
                </a:lnTo>
                <a:lnTo>
                  <a:pt x="2987" y="1831"/>
                </a:lnTo>
                <a:lnTo>
                  <a:pt x="3006" y="1848"/>
                </a:lnTo>
                <a:lnTo>
                  <a:pt x="3008" y="1850"/>
                </a:lnTo>
                <a:lnTo>
                  <a:pt x="3008" y="1854"/>
                </a:lnTo>
                <a:lnTo>
                  <a:pt x="3008" y="1856"/>
                </a:lnTo>
                <a:lnTo>
                  <a:pt x="3006" y="1861"/>
                </a:lnTo>
                <a:lnTo>
                  <a:pt x="3002" y="1867"/>
                </a:lnTo>
                <a:lnTo>
                  <a:pt x="2993" y="1873"/>
                </a:lnTo>
                <a:lnTo>
                  <a:pt x="2991" y="1873"/>
                </a:lnTo>
                <a:lnTo>
                  <a:pt x="2987" y="1873"/>
                </a:lnTo>
                <a:close/>
                <a:moveTo>
                  <a:pt x="97" y="654"/>
                </a:moveTo>
                <a:lnTo>
                  <a:pt x="89" y="603"/>
                </a:lnTo>
                <a:lnTo>
                  <a:pt x="95" y="588"/>
                </a:lnTo>
                <a:lnTo>
                  <a:pt x="102" y="574"/>
                </a:lnTo>
                <a:lnTo>
                  <a:pt x="106" y="559"/>
                </a:lnTo>
                <a:lnTo>
                  <a:pt x="110" y="544"/>
                </a:lnTo>
                <a:lnTo>
                  <a:pt x="114" y="512"/>
                </a:lnTo>
                <a:lnTo>
                  <a:pt x="116" y="497"/>
                </a:lnTo>
                <a:lnTo>
                  <a:pt x="116" y="485"/>
                </a:lnTo>
                <a:lnTo>
                  <a:pt x="116" y="483"/>
                </a:lnTo>
                <a:lnTo>
                  <a:pt x="121" y="480"/>
                </a:lnTo>
                <a:lnTo>
                  <a:pt x="125" y="478"/>
                </a:lnTo>
                <a:lnTo>
                  <a:pt x="129" y="478"/>
                </a:lnTo>
                <a:lnTo>
                  <a:pt x="138" y="478"/>
                </a:lnTo>
                <a:lnTo>
                  <a:pt x="140" y="480"/>
                </a:lnTo>
                <a:lnTo>
                  <a:pt x="144" y="483"/>
                </a:lnTo>
                <a:lnTo>
                  <a:pt x="148" y="491"/>
                </a:lnTo>
                <a:lnTo>
                  <a:pt x="148" y="497"/>
                </a:lnTo>
                <a:lnTo>
                  <a:pt x="150" y="504"/>
                </a:lnTo>
                <a:lnTo>
                  <a:pt x="148" y="525"/>
                </a:lnTo>
                <a:lnTo>
                  <a:pt x="146" y="546"/>
                </a:lnTo>
                <a:lnTo>
                  <a:pt x="142" y="567"/>
                </a:lnTo>
                <a:lnTo>
                  <a:pt x="135" y="588"/>
                </a:lnTo>
                <a:lnTo>
                  <a:pt x="127" y="605"/>
                </a:lnTo>
                <a:lnTo>
                  <a:pt x="119" y="624"/>
                </a:lnTo>
                <a:lnTo>
                  <a:pt x="108" y="639"/>
                </a:lnTo>
                <a:lnTo>
                  <a:pt x="102" y="648"/>
                </a:lnTo>
                <a:lnTo>
                  <a:pt x="97" y="654"/>
                </a:lnTo>
                <a:close/>
                <a:moveTo>
                  <a:pt x="243" y="690"/>
                </a:moveTo>
                <a:lnTo>
                  <a:pt x="237" y="688"/>
                </a:lnTo>
                <a:lnTo>
                  <a:pt x="229" y="684"/>
                </a:lnTo>
                <a:lnTo>
                  <a:pt x="212" y="667"/>
                </a:lnTo>
                <a:lnTo>
                  <a:pt x="193" y="648"/>
                </a:lnTo>
                <a:lnTo>
                  <a:pt x="174" y="629"/>
                </a:lnTo>
                <a:lnTo>
                  <a:pt x="167" y="618"/>
                </a:lnTo>
                <a:lnTo>
                  <a:pt x="163" y="612"/>
                </a:lnTo>
                <a:lnTo>
                  <a:pt x="157" y="599"/>
                </a:lnTo>
                <a:lnTo>
                  <a:pt x="157" y="595"/>
                </a:lnTo>
                <a:lnTo>
                  <a:pt x="155" y="588"/>
                </a:lnTo>
                <a:lnTo>
                  <a:pt x="157" y="582"/>
                </a:lnTo>
                <a:lnTo>
                  <a:pt x="159" y="574"/>
                </a:lnTo>
                <a:lnTo>
                  <a:pt x="161" y="567"/>
                </a:lnTo>
                <a:lnTo>
                  <a:pt x="167" y="559"/>
                </a:lnTo>
                <a:lnTo>
                  <a:pt x="178" y="544"/>
                </a:lnTo>
                <a:lnTo>
                  <a:pt x="197" y="523"/>
                </a:lnTo>
                <a:lnTo>
                  <a:pt x="239" y="474"/>
                </a:lnTo>
                <a:lnTo>
                  <a:pt x="246" y="476"/>
                </a:lnTo>
                <a:lnTo>
                  <a:pt x="250" y="478"/>
                </a:lnTo>
                <a:lnTo>
                  <a:pt x="256" y="483"/>
                </a:lnTo>
                <a:lnTo>
                  <a:pt x="260" y="487"/>
                </a:lnTo>
                <a:lnTo>
                  <a:pt x="260" y="493"/>
                </a:lnTo>
                <a:lnTo>
                  <a:pt x="260" y="500"/>
                </a:lnTo>
                <a:lnTo>
                  <a:pt x="258" y="504"/>
                </a:lnTo>
                <a:lnTo>
                  <a:pt x="256" y="508"/>
                </a:lnTo>
                <a:lnTo>
                  <a:pt x="226" y="542"/>
                </a:lnTo>
                <a:lnTo>
                  <a:pt x="207" y="561"/>
                </a:lnTo>
                <a:lnTo>
                  <a:pt x="195" y="578"/>
                </a:lnTo>
                <a:lnTo>
                  <a:pt x="193" y="582"/>
                </a:lnTo>
                <a:lnTo>
                  <a:pt x="193" y="586"/>
                </a:lnTo>
                <a:lnTo>
                  <a:pt x="193" y="591"/>
                </a:lnTo>
                <a:lnTo>
                  <a:pt x="197" y="597"/>
                </a:lnTo>
                <a:lnTo>
                  <a:pt x="207" y="610"/>
                </a:lnTo>
                <a:lnTo>
                  <a:pt x="222" y="627"/>
                </a:lnTo>
                <a:lnTo>
                  <a:pt x="243" y="648"/>
                </a:lnTo>
                <a:lnTo>
                  <a:pt x="260" y="665"/>
                </a:lnTo>
                <a:lnTo>
                  <a:pt x="262" y="667"/>
                </a:lnTo>
                <a:lnTo>
                  <a:pt x="265" y="671"/>
                </a:lnTo>
                <a:lnTo>
                  <a:pt x="262" y="673"/>
                </a:lnTo>
                <a:lnTo>
                  <a:pt x="262" y="677"/>
                </a:lnTo>
                <a:lnTo>
                  <a:pt x="256" y="684"/>
                </a:lnTo>
                <a:lnTo>
                  <a:pt x="250" y="688"/>
                </a:lnTo>
                <a:lnTo>
                  <a:pt x="248" y="690"/>
                </a:lnTo>
                <a:lnTo>
                  <a:pt x="243" y="690"/>
                </a:lnTo>
                <a:close/>
                <a:moveTo>
                  <a:pt x="243" y="1283"/>
                </a:moveTo>
                <a:lnTo>
                  <a:pt x="237" y="1281"/>
                </a:lnTo>
                <a:lnTo>
                  <a:pt x="229" y="1274"/>
                </a:lnTo>
                <a:lnTo>
                  <a:pt x="207" y="1255"/>
                </a:lnTo>
                <a:lnTo>
                  <a:pt x="182" y="1228"/>
                </a:lnTo>
                <a:lnTo>
                  <a:pt x="178" y="1200"/>
                </a:lnTo>
                <a:lnTo>
                  <a:pt x="169" y="1145"/>
                </a:lnTo>
                <a:lnTo>
                  <a:pt x="182" y="1130"/>
                </a:lnTo>
                <a:lnTo>
                  <a:pt x="199" y="1111"/>
                </a:lnTo>
                <a:lnTo>
                  <a:pt x="239" y="1067"/>
                </a:lnTo>
                <a:lnTo>
                  <a:pt x="246" y="1067"/>
                </a:lnTo>
                <a:lnTo>
                  <a:pt x="250" y="1069"/>
                </a:lnTo>
                <a:lnTo>
                  <a:pt x="256" y="1073"/>
                </a:lnTo>
                <a:lnTo>
                  <a:pt x="260" y="1079"/>
                </a:lnTo>
                <a:lnTo>
                  <a:pt x="260" y="1086"/>
                </a:lnTo>
                <a:lnTo>
                  <a:pt x="260" y="1092"/>
                </a:lnTo>
                <a:lnTo>
                  <a:pt x="258" y="1094"/>
                </a:lnTo>
                <a:lnTo>
                  <a:pt x="256" y="1099"/>
                </a:lnTo>
                <a:lnTo>
                  <a:pt x="226" y="1132"/>
                </a:lnTo>
                <a:lnTo>
                  <a:pt x="207" y="1154"/>
                </a:lnTo>
                <a:lnTo>
                  <a:pt x="195" y="1168"/>
                </a:lnTo>
                <a:lnTo>
                  <a:pt x="193" y="1173"/>
                </a:lnTo>
                <a:lnTo>
                  <a:pt x="193" y="1179"/>
                </a:lnTo>
                <a:lnTo>
                  <a:pt x="193" y="1183"/>
                </a:lnTo>
                <a:lnTo>
                  <a:pt x="197" y="1190"/>
                </a:lnTo>
                <a:lnTo>
                  <a:pt x="207" y="1202"/>
                </a:lnTo>
                <a:lnTo>
                  <a:pt x="222" y="1219"/>
                </a:lnTo>
                <a:lnTo>
                  <a:pt x="243" y="1238"/>
                </a:lnTo>
                <a:lnTo>
                  <a:pt x="260" y="1257"/>
                </a:lnTo>
                <a:lnTo>
                  <a:pt x="262" y="1259"/>
                </a:lnTo>
                <a:lnTo>
                  <a:pt x="265" y="1262"/>
                </a:lnTo>
                <a:lnTo>
                  <a:pt x="262" y="1266"/>
                </a:lnTo>
                <a:lnTo>
                  <a:pt x="262" y="1268"/>
                </a:lnTo>
                <a:lnTo>
                  <a:pt x="256" y="1276"/>
                </a:lnTo>
                <a:lnTo>
                  <a:pt x="250" y="1281"/>
                </a:lnTo>
                <a:lnTo>
                  <a:pt x="248" y="1283"/>
                </a:lnTo>
                <a:lnTo>
                  <a:pt x="243" y="1283"/>
                </a:lnTo>
                <a:close/>
                <a:moveTo>
                  <a:pt x="250" y="1698"/>
                </a:moveTo>
                <a:lnTo>
                  <a:pt x="243" y="1659"/>
                </a:lnTo>
                <a:lnTo>
                  <a:pt x="248" y="1659"/>
                </a:lnTo>
                <a:lnTo>
                  <a:pt x="252" y="1664"/>
                </a:lnTo>
                <a:lnTo>
                  <a:pt x="256" y="1666"/>
                </a:lnTo>
                <a:lnTo>
                  <a:pt x="260" y="1672"/>
                </a:lnTo>
                <a:lnTo>
                  <a:pt x="260" y="1676"/>
                </a:lnTo>
                <a:lnTo>
                  <a:pt x="260" y="1683"/>
                </a:lnTo>
                <a:lnTo>
                  <a:pt x="258" y="1687"/>
                </a:lnTo>
                <a:lnTo>
                  <a:pt x="256" y="1691"/>
                </a:lnTo>
                <a:lnTo>
                  <a:pt x="250" y="1698"/>
                </a:lnTo>
                <a:close/>
                <a:moveTo>
                  <a:pt x="2292" y="694"/>
                </a:moveTo>
                <a:lnTo>
                  <a:pt x="2284" y="694"/>
                </a:lnTo>
                <a:lnTo>
                  <a:pt x="2276" y="692"/>
                </a:lnTo>
                <a:lnTo>
                  <a:pt x="2267" y="690"/>
                </a:lnTo>
                <a:lnTo>
                  <a:pt x="2259" y="686"/>
                </a:lnTo>
                <a:lnTo>
                  <a:pt x="2250" y="682"/>
                </a:lnTo>
                <a:lnTo>
                  <a:pt x="2244" y="677"/>
                </a:lnTo>
                <a:lnTo>
                  <a:pt x="2235" y="671"/>
                </a:lnTo>
                <a:lnTo>
                  <a:pt x="2229" y="663"/>
                </a:lnTo>
                <a:lnTo>
                  <a:pt x="2223" y="656"/>
                </a:lnTo>
                <a:lnTo>
                  <a:pt x="2218" y="648"/>
                </a:lnTo>
                <a:lnTo>
                  <a:pt x="2210" y="631"/>
                </a:lnTo>
                <a:lnTo>
                  <a:pt x="2208" y="620"/>
                </a:lnTo>
                <a:lnTo>
                  <a:pt x="2206" y="610"/>
                </a:lnTo>
                <a:lnTo>
                  <a:pt x="2204" y="599"/>
                </a:lnTo>
                <a:lnTo>
                  <a:pt x="2204" y="588"/>
                </a:lnTo>
                <a:lnTo>
                  <a:pt x="2204" y="578"/>
                </a:lnTo>
                <a:lnTo>
                  <a:pt x="2206" y="565"/>
                </a:lnTo>
                <a:lnTo>
                  <a:pt x="2208" y="555"/>
                </a:lnTo>
                <a:lnTo>
                  <a:pt x="2210" y="544"/>
                </a:lnTo>
                <a:lnTo>
                  <a:pt x="2214" y="533"/>
                </a:lnTo>
                <a:lnTo>
                  <a:pt x="2218" y="525"/>
                </a:lnTo>
                <a:lnTo>
                  <a:pt x="2225" y="516"/>
                </a:lnTo>
                <a:lnTo>
                  <a:pt x="2231" y="508"/>
                </a:lnTo>
                <a:lnTo>
                  <a:pt x="2237" y="500"/>
                </a:lnTo>
                <a:lnTo>
                  <a:pt x="2246" y="493"/>
                </a:lnTo>
                <a:lnTo>
                  <a:pt x="2252" y="487"/>
                </a:lnTo>
                <a:lnTo>
                  <a:pt x="2261" y="483"/>
                </a:lnTo>
                <a:lnTo>
                  <a:pt x="2271" y="478"/>
                </a:lnTo>
                <a:lnTo>
                  <a:pt x="2280" y="474"/>
                </a:lnTo>
                <a:lnTo>
                  <a:pt x="2288" y="472"/>
                </a:lnTo>
                <a:lnTo>
                  <a:pt x="2299" y="472"/>
                </a:lnTo>
                <a:lnTo>
                  <a:pt x="2312" y="474"/>
                </a:lnTo>
                <a:lnTo>
                  <a:pt x="2316" y="474"/>
                </a:lnTo>
                <a:lnTo>
                  <a:pt x="2322" y="476"/>
                </a:lnTo>
                <a:lnTo>
                  <a:pt x="2331" y="480"/>
                </a:lnTo>
                <a:lnTo>
                  <a:pt x="2339" y="489"/>
                </a:lnTo>
                <a:lnTo>
                  <a:pt x="2345" y="497"/>
                </a:lnTo>
                <a:lnTo>
                  <a:pt x="2350" y="506"/>
                </a:lnTo>
                <a:lnTo>
                  <a:pt x="2352" y="516"/>
                </a:lnTo>
                <a:lnTo>
                  <a:pt x="2354" y="529"/>
                </a:lnTo>
                <a:lnTo>
                  <a:pt x="2352" y="538"/>
                </a:lnTo>
                <a:lnTo>
                  <a:pt x="2352" y="544"/>
                </a:lnTo>
                <a:lnTo>
                  <a:pt x="2350" y="550"/>
                </a:lnTo>
                <a:lnTo>
                  <a:pt x="2345" y="559"/>
                </a:lnTo>
                <a:lnTo>
                  <a:pt x="2341" y="565"/>
                </a:lnTo>
                <a:lnTo>
                  <a:pt x="2337" y="571"/>
                </a:lnTo>
                <a:lnTo>
                  <a:pt x="2326" y="582"/>
                </a:lnTo>
                <a:lnTo>
                  <a:pt x="2320" y="588"/>
                </a:lnTo>
                <a:lnTo>
                  <a:pt x="2314" y="593"/>
                </a:lnTo>
                <a:lnTo>
                  <a:pt x="2301" y="601"/>
                </a:lnTo>
                <a:lnTo>
                  <a:pt x="2292" y="603"/>
                </a:lnTo>
                <a:lnTo>
                  <a:pt x="2286" y="605"/>
                </a:lnTo>
                <a:lnTo>
                  <a:pt x="2271" y="607"/>
                </a:lnTo>
                <a:lnTo>
                  <a:pt x="2265" y="605"/>
                </a:lnTo>
                <a:lnTo>
                  <a:pt x="2261" y="603"/>
                </a:lnTo>
                <a:lnTo>
                  <a:pt x="2259" y="601"/>
                </a:lnTo>
                <a:lnTo>
                  <a:pt x="2256" y="599"/>
                </a:lnTo>
                <a:lnTo>
                  <a:pt x="2256" y="595"/>
                </a:lnTo>
                <a:lnTo>
                  <a:pt x="2254" y="588"/>
                </a:lnTo>
                <a:lnTo>
                  <a:pt x="2256" y="582"/>
                </a:lnTo>
                <a:lnTo>
                  <a:pt x="2256" y="580"/>
                </a:lnTo>
                <a:lnTo>
                  <a:pt x="2259" y="578"/>
                </a:lnTo>
                <a:lnTo>
                  <a:pt x="2271" y="574"/>
                </a:lnTo>
                <a:lnTo>
                  <a:pt x="2284" y="569"/>
                </a:lnTo>
                <a:lnTo>
                  <a:pt x="2295" y="565"/>
                </a:lnTo>
                <a:lnTo>
                  <a:pt x="2303" y="557"/>
                </a:lnTo>
                <a:lnTo>
                  <a:pt x="2312" y="550"/>
                </a:lnTo>
                <a:lnTo>
                  <a:pt x="2314" y="546"/>
                </a:lnTo>
                <a:lnTo>
                  <a:pt x="2316" y="542"/>
                </a:lnTo>
                <a:lnTo>
                  <a:pt x="2320" y="533"/>
                </a:lnTo>
                <a:lnTo>
                  <a:pt x="2322" y="525"/>
                </a:lnTo>
                <a:lnTo>
                  <a:pt x="2320" y="519"/>
                </a:lnTo>
                <a:lnTo>
                  <a:pt x="2320" y="514"/>
                </a:lnTo>
                <a:lnTo>
                  <a:pt x="2318" y="512"/>
                </a:lnTo>
                <a:lnTo>
                  <a:pt x="2316" y="508"/>
                </a:lnTo>
                <a:lnTo>
                  <a:pt x="2312" y="506"/>
                </a:lnTo>
                <a:lnTo>
                  <a:pt x="2307" y="504"/>
                </a:lnTo>
                <a:lnTo>
                  <a:pt x="2297" y="502"/>
                </a:lnTo>
                <a:lnTo>
                  <a:pt x="2286" y="504"/>
                </a:lnTo>
                <a:lnTo>
                  <a:pt x="2282" y="506"/>
                </a:lnTo>
                <a:lnTo>
                  <a:pt x="2276" y="508"/>
                </a:lnTo>
                <a:lnTo>
                  <a:pt x="2271" y="512"/>
                </a:lnTo>
                <a:lnTo>
                  <a:pt x="2265" y="516"/>
                </a:lnTo>
                <a:lnTo>
                  <a:pt x="2256" y="527"/>
                </a:lnTo>
                <a:lnTo>
                  <a:pt x="2252" y="533"/>
                </a:lnTo>
                <a:lnTo>
                  <a:pt x="2248" y="540"/>
                </a:lnTo>
                <a:lnTo>
                  <a:pt x="2242" y="555"/>
                </a:lnTo>
                <a:lnTo>
                  <a:pt x="2237" y="569"/>
                </a:lnTo>
                <a:lnTo>
                  <a:pt x="2237" y="578"/>
                </a:lnTo>
                <a:lnTo>
                  <a:pt x="2237" y="586"/>
                </a:lnTo>
                <a:lnTo>
                  <a:pt x="2237" y="601"/>
                </a:lnTo>
                <a:lnTo>
                  <a:pt x="2240" y="610"/>
                </a:lnTo>
                <a:lnTo>
                  <a:pt x="2242" y="616"/>
                </a:lnTo>
                <a:lnTo>
                  <a:pt x="2246" y="629"/>
                </a:lnTo>
                <a:lnTo>
                  <a:pt x="2252" y="637"/>
                </a:lnTo>
                <a:lnTo>
                  <a:pt x="2261" y="648"/>
                </a:lnTo>
                <a:lnTo>
                  <a:pt x="2265" y="650"/>
                </a:lnTo>
                <a:lnTo>
                  <a:pt x="2271" y="654"/>
                </a:lnTo>
                <a:lnTo>
                  <a:pt x="2282" y="656"/>
                </a:lnTo>
                <a:lnTo>
                  <a:pt x="2288" y="658"/>
                </a:lnTo>
                <a:lnTo>
                  <a:pt x="2295" y="658"/>
                </a:lnTo>
                <a:lnTo>
                  <a:pt x="2307" y="656"/>
                </a:lnTo>
                <a:lnTo>
                  <a:pt x="2318" y="654"/>
                </a:lnTo>
                <a:lnTo>
                  <a:pt x="2324" y="652"/>
                </a:lnTo>
                <a:lnTo>
                  <a:pt x="2331" y="648"/>
                </a:lnTo>
                <a:lnTo>
                  <a:pt x="2341" y="641"/>
                </a:lnTo>
                <a:lnTo>
                  <a:pt x="2350" y="631"/>
                </a:lnTo>
                <a:lnTo>
                  <a:pt x="2358" y="620"/>
                </a:lnTo>
                <a:lnTo>
                  <a:pt x="2367" y="610"/>
                </a:lnTo>
                <a:lnTo>
                  <a:pt x="2373" y="597"/>
                </a:lnTo>
                <a:lnTo>
                  <a:pt x="2379" y="582"/>
                </a:lnTo>
                <a:lnTo>
                  <a:pt x="2383" y="569"/>
                </a:lnTo>
                <a:lnTo>
                  <a:pt x="2388" y="555"/>
                </a:lnTo>
                <a:lnTo>
                  <a:pt x="2392" y="540"/>
                </a:lnTo>
                <a:lnTo>
                  <a:pt x="2394" y="525"/>
                </a:lnTo>
                <a:lnTo>
                  <a:pt x="2396" y="510"/>
                </a:lnTo>
                <a:lnTo>
                  <a:pt x="2396" y="497"/>
                </a:lnTo>
                <a:lnTo>
                  <a:pt x="2396" y="485"/>
                </a:lnTo>
                <a:lnTo>
                  <a:pt x="2398" y="483"/>
                </a:lnTo>
                <a:lnTo>
                  <a:pt x="2400" y="480"/>
                </a:lnTo>
                <a:lnTo>
                  <a:pt x="2405" y="478"/>
                </a:lnTo>
                <a:lnTo>
                  <a:pt x="2409" y="478"/>
                </a:lnTo>
                <a:lnTo>
                  <a:pt x="2417" y="478"/>
                </a:lnTo>
                <a:lnTo>
                  <a:pt x="2422" y="480"/>
                </a:lnTo>
                <a:lnTo>
                  <a:pt x="2424" y="483"/>
                </a:lnTo>
                <a:lnTo>
                  <a:pt x="2428" y="491"/>
                </a:lnTo>
                <a:lnTo>
                  <a:pt x="2430" y="497"/>
                </a:lnTo>
                <a:lnTo>
                  <a:pt x="2430" y="504"/>
                </a:lnTo>
                <a:lnTo>
                  <a:pt x="2430" y="523"/>
                </a:lnTo>
                <a:lnTo>
                  <a:pt x="2428" y="540"/>
                </a:lnTo>
                <a:lnTo>
                  <a:pt x="2424" y="559"/>
                </a:lnTo>
                <a:lnTo>
                  <a:pt x="2419" y="576"/>
                </a:lnTo>
                <a:lnTo>
                  <a:pt x="2413" y="593"/>
                </a:lnTo>
                <a:lnTo>
                  <a:pt x="2407" y="607"/>
                </a:lnTo>
                <a:lnTo>
                  <a:pt x="2400" y="622"/>
                </a:lnTo>
                <a:lnTo>
                  <a:pt x="2392" y="637"/>
                </a:lnTo>
                <a:lnTo>
                  <a:pt x="2381" y="650"/>
                </a:lnTo>
                <a:lnTo>
                  <a:pt x="2377" y="654"/>
                </a:lnTo>
                <a:lnTo>
                  <a:pt x="2371" y="660"/>
                </a:lnTo>
                <a:lnTo>
                  <a:pt x="2360" y="671"/>
                </a:lnTo>
                <a:lnTo>
                  <a:pt x="2348" y="679"/>
                </a:lnTo>
                <a:lnTo>
                  <a:pt x="2335" y="686"/>
                </a:lnTo>
                <a:lnTo>
                  <a:pt x="2322" y="690"/>
                </a:lnTo>
                <a:lnTo>
                  <a:pt x="2307" y="694"/>
                </a:lnTo>
                <a:lnTo>
                  <a:pt x="2292" y="694"/>
                </a:lnTo>
                <a:close/>
                <a:moveTo>
                  <a:pt x="2523" y="690"/>
                </a:moveTo>
                <a:lnTo>
                  <a:pt x="2519" y="688"/>
                </a:lnTo>
                <a:lnTo>
                  <a:pt x="2511" y="684"/>
                </a:lnTo>
                <a:lnTo>
                  <a:pt x="2494" y="667"/>
                </a:lnTo>
                <a:lnTo>
                  <a:pt x="2472" y="648"/>
                </a:lnTo>
                <a:lnTo>
                  <a:pt x="2455" y="629"/>
                </a:lnTo>
                <a:lnTo>
                  <a:pt x="2449" y="618"/>
                </a:lnTo>
                <a:lnTo>
                  <a:pt x="2443" y="612"/>
                </a:lnTo>
                <a:lnTo>
                  <a:pt x="2439" y="599"/>
                </a:lnTo>
                <a:lnTo>
                  <a:pt x="2436" y="595"/>
                </a:lnTo>
                <a:lnTo>
                  <a:pt x="2436" y="588"/>
                </a:lnTo>
                <a:lnTo>
                  <a:pt x="2436" y="582"/>
                </a:lnTo>
                <a:lnTo>
                  <a:pt x="2439" y="574"/>
                </a:lnTo>
                <a:lnTo>
                  <a:pt x="2443" y="567"/>
                </a:lnTo>
                <a:lnTo>
                  <a:pt x="2447" y="559"/>
                </a:lnTo>
                <a:lnTo>
                  <a:pt x="2460" y="544"/>
                </a:lnTo>
                <a:lnTo>
                  <a:pt x="2477" y="523"/>
                </a:lnTo>
                <a:lnTo>
                  <a:pt x="2519" y="474"/>
                </a:lnTo>
                <a:lnTo>
                  <a:pt x="2525" y="476"/>
                </a:lnTo>
                <a:lnTo>
                  <a:pt x="2532" y="478"/>
                </a:lnTo>
                <a:lnTo>
                  <a:pt x="2536" y="483"/>
                </a:lnTo>
                <a:lnTo>
                  <a:pt x="2540" y="487"/>
                </a:lnTo>
                <a:lnTo>
                  <a:pt x="2542" y="493"/>
                </a:lnTo>
                <a:lnTo>
                  <a:pt x="2540" y="500"/>
                </a:lnTo>
                <a:lnTo>
                  <a:pt x="2538" y="504"/>
                </a:lnTo>
                <a:lnTo>
                  <a:pt x="2536" y="508"/>
                </a:lnTo>
                <a:lnTo>
                  <a:pt x="2506" y="542"/>
                </a:lnTo>
                <a:lnTo>
                  <a:pt x="2489" y="561"/>
                </a:lnTo>
                <a:lnTo>
                  <a:pt x="2477" y="578"/>
                </a:lnTo>
                <a:lnTo>
                  <a:pt x="2472" y="582"/>
                </a:lnTo>
                <a:lnTo>
                  <a:pt x="2472" y="586"/>
                </a:lnTo>
                <a:lnTo>
                  <a:pt x="2475" y="591"/>
                </a:lnTo>
                <a:lnTo>
                  <a:pt x="2477" y="597"/>
                </a:lnTo>
                <a:lnTo>
                  <a:pt x="2487" y="610"/>
                </a:lnTo>
                <a:lnTo>
                  <a:pt x="2504" y="627"/>
                </a:lnTo>
                <a:lnTo>
                  <a:pt x="2523" y="648"/>
                </a:lnTo>
                <a:lnTo>
                  <a:pt x="2542" y="665"/>
                </a:lnTo>
                <a:lnTo>
                  <a:pt x="2544" y="667"/>
                </a:lnTo>
                <a:lnTo>
                  <a:pt x="2544" y="671"/>
                </a:lnTo>
                <a:lnTo>
                  <a:pt x="2544" y="673"/>
                </a:lnTo>
                <a:lnTo>
                  <a:pt x="2542" y="677"/>
                </a:lnTo>
                <a:lnTo>
                  <a:pt x="2538" y="684"/>
                </a:lnTo>
                <a:lnTo>
                  <a:pt x="2532" y="688"/>
                </a:lnTo>
                <a:lnTo>
                  <a:pt x="2527" y="690"/>
                </a:lnTo>
                <a:lnTo>
                  <a:pt x="2523" y="690"/>
                </a:lnTo>
                <a:close/>
                <a:moveTo>
                  <a:pt x="2292" y="1287"/>
                </a:moveTo>
                <a:lnTo>
                  <a:pt x="2284" y="1285"/>
                </a:lnTo>
                <a:lnTo>
                  <a:pt x="2276" y="1285"/>
                </a:lnTo>
                <a:lnTo>
                  <a:pt x="2267" y="1281"/>
                </a:lnTo>
                <a:lnTo>
                  <a:pt x="2259" y="1278"/>
                </a:lnTo>
                <a:lnTo>
                  <a:pt x="2250" y="1274"/>
                </a:lnTo>
                <a:lnTo>
                  <a:pt x="2244" y="1268"/>
                </a:lnTo>
                <a:lnTo>
                  <a:pt x="2235" y="1262"/>
                </a:lnTo>
                <a:lnTo>
                  <a:pt x="2229" y="1255"/>
                </a:lnTo>
                <a:lnTo>
                  <a:pt x="2223" y="1247"/>
                </a:lnTo>
                <a:lnTo>
                  <a:pt x="2218" y="1240"/>
                </a:lnTo>
                <a:lnTo>
                  <a:pt x="2210" y="1221"/>
                </a:lnTo>
                <a:lnTo>
                  <a:pt x="2208" y="1211"/>
                </a:lnTo>
                <a:lnTo>
                  <a:pt x="2206" y="1202"/>
                </a:lnTo>
                <a:lnTo>
                  <a:pt x="2204" y="1192"/>
                </a:lnTo>
                <a:lnTo>
                  <a:pt x="2204" y="1179"/>
                </a:lnTo>
                <a:lnTo>
                  <a:pt x="2204" y="1168"/>
                </a:lnTo>
                <a:lnTo>
                  <a:pt x="2206" y="1158"/>
                </a:lnTo>
                <a:lnTo>
                  <a:pt x="2208" y="1147"/>
                </a:lnTo>
                <a:lnTo>
                  <a:pt x="2210" y="1137"/>
                </a:lnTo>
                <a:lnTo>
                  <a:pt x="2214" y="1126"/>
                </a:lnTo>
                <a:lnTo>
                  <a:pt x="2218" y="1115"/>
                </a:lnTo>
                <a:lnTo>
                  <a:pt x="2225" y="1107"/>
                </a:lnTo>
                <a:lnTo>
                  <a:pt x="2231" y="1099"/>
                </a:lnTo>
                <a:lnTo>
                  <a:pt x="2237" y="1092"/>
                </a:lnTo>
                <a:lnTo>
                  <a:pt x="2246" y="1084"/>
                </a:lnTo>
                <a:lnTo>
                  <a:pt x="2252" y="1077"/>
                </a:lnTo>
                <a:lnTo>
                  <a:pt x="2261" y="1073"/>
                </a:lnTo>
                <a:lnTo>
                  <a:pt x="2271" y="1069"/>
                </a:lnTo>
                <a:lnTo>
                  <a:pt x="2280" y="1067"/>
                </a:lnTo>
                <a:lnTo>
                  <a:pt x="2288" y="1065"/>
                </a:lnTo>
                <a:lnTo>
                  <a:pt x="2299" y="1065"/>
                </a:lnTo>
                <a:lnTo>
                  <a:pt x="2312" y="1065"/>
                </a:lnTo>
                <a:lnTo>
                  <a:pt x="2316" y="1067"/>
                </a:lnTo>
                <a:lnTo>
                  <a:pt x="2322" y="1069"/>
                </a:lnTo>
                <a:lnTo>
                  <a:pt x="2331" y="1073"/>
                </a:lnTo>
                <a:lnTo>
                  <a:pt x="2339" y="1079"/>
                </a:lnTo>
                <a:lnTo>
                  <a:pt x="2345" y="1088"/>
                </a:lnTo>
                <a:lnTo>
                  <a:pt x="2350" y="1099"/>
                </a:lnTo>
                <a:lnTo>
                  <a:pt x="2352" y="1109"/>
                </a:lnTo>
                <a:lnTo>
                  <a:pt x="2354" y="1122"/>
                </a:lnTo>
                <a:lnTo>
                  <a:pt x="2352" y="1128"/>
                </a:lnTo>
                <a:lnTo>
                  <a:pt x="2352" y="1137"/>
                </a:lnTo>
                <a:lnTo>
                  <a:pt x="2350" y="1143"/>
                </a:lnTo>
                <a:lnTo>
                  <a:pt x="2345" y="1149"/>
                </a:lnTo>
                <a:lnTo>
                  <a:pt x="2341" y="1158"/>
                </a:lnTo>
                <a:lnTo>
                  <a:pt x="2337" y="1164"/>
                </a:lnTo>
                <a:lnTo>
                  <a:pt x="2326" y="1175"/>
                </a:lnTo>
                <a:lnTo>
                  <a:pt x="2320" y="1179"/>
                </a:lnTo>
                <a:lnTo>
                  <a:pt x="2314" y="1185"/>
                </a:lnTo>
                <a:lnTo>
                  <a:pt x="2301" y="1192"/>
                </a:lnTo>
                <a:lnTo>
                  <a:pt x="2292" y="1194"/>
                </a:lnTo>
                <a:lnTo>
                  <a:pt x="2286" y="1196"/>
                </a:lnTo>
                <a:lnTo>
                  <a:pt x="2271" y="1198"/>
                </a:lnTo>
                <a:lnTo>
                  <a:pt x="2265" y="1196"/>
                </a:lnTo>
                <a:lnTo>
                  <a:pt x="2261" y="1196"/>
                </a:lnTo>
                <a:lnTo>
                  <a:pt x="2259" y="1194"/>
                </a:lnTo>
                <a:lnTo>
                  <a:pt x="2256" y="1190"/>
                </a:lnTo>
                <a:lnTo>
                  <a:pt x="2256" y="1187"/>
                </a:lnTo>
                <a:lnTo>
                  <a:pt x="2254" y="1179"/>
                </a:lnTo>
                <a:lnTo>
                  <a:pt x="2256" y="1173"/>
                </a:lnTo>
                <a:lnTo>
                  <a:pt x="2256" y="1170"/>
                </a:lnTo>
                <a:lnTo>
                  <a:pt x="2259" y="1168"/>
                </a:lnTo>
                <a:lnTo>
                  <a:pt x="2271" y="1166"/>
                </a:lnTo>
                <a:lnTo>
                  <a:pt x="2284" y="1162"/>
                </a:lnTo>
                <a:lnTo>
                  <a:pt x="2295" y="1156"/>
                </a:lnTo>
                <a:lnTo>
                  <a:pt x="2303" y="1149"/>
                </a:lnTo>
                <a:lnTo>
                  <a:pt x="2312" y="1141"/>
                </a:lnTo>
                <a:lnTo>
                  <a:pt x="2314" y="1137"/>
                </a:lnTo>
                <a:lnTo>
                  <a:pt x="2316" y="1132"/>
                </a:lnTo>
                <a:lnTo>
                  <a:pt x="2320" y="1124"/>
                </a:lnTo>
                <a:lnTo>
                  <a:pt x="2322" y="1115"/>
                </a:lnTo>
                <a:lnTo>
                  <a:pt x="2320" y="1111"/>
                </a:lnTo>
                <a:lnTo>
                  <a:pt x="2320" y="1107"/>
                </a:lnTo>
                <a:lnTo>
                  <a:pt x="2318" y="1103"/>
                </a:lnTo>
                <a:lnTo>
                  <a:pt x="2316" y="1101"/>
                </a:lnTo>
                <a:lnTo>
                  <a:pt x="2312" y="1096"/>
                </a:lnTo>
                <a:lnTo>
                  <a:pt x="2307" y="1094"/>
                </a:lnTo>
                <a:lnTo>
                  <a:pt x="2297" y="1094"/>
                </a:lnTo>
                <a:lnTo>
                  <a:pt x="2286" y="1096"/>
                </a:lnTo>
                <a:lnTo>
                  <a:pt x="2282" y="1099"/>
                </a:lnTo>
                <a:lnTo>
                  <a:pt x="2276" y="1101"/>
                </a:lnTo>
                <a:lnTo>
                  <a:pt x="2271" y="1105"/>
                </a:lnTo>
                <a:lnTo>
                  <a:pt x="2265" y="1109"/>
                </a:lnTo>
                <a:lnTo>
                  <a:pt x="2256" y="1120"/>
                </a:lnTo>
                <a:lnTo>
                  <a:pt x="2252" y="1124"/>
                </a:lnTo>
                <a:lnTo>
                  <a:pt x="2248" y="1130"/>
                </a:lnTo>
                <a:lnTo>
                  <a:pt x="2242" y="1145"/>
                </a:lnTo>
                <a:lnTo>
                  <a:pt x="2237" y="1162"/>
                </a:lnTo>
                <a:lnTo>
                  <a:pt x="2237" y="1170"/>
                </a:lnTo>
                <a:lnTo>
                  <a:pt x="2237" y="1179"/>
                </a:lnTo>
                <a:lnTo>
                  <a:pt x="2237" y="1194"/>
                </a:lnTo>
                <a:lnTo>
                  <a:pt x="2240" y="1200"/>
                </a:lnTo>
                <a:lnTo>
                  <a:pt x="2242" y="1206"/>
                </a:lnTo>
                <a:lnTo>
                  <a:pt x="2246" y="1219"/>
                </a:lnTo>
                <a:lnTo>
                  <a:pt x="2252" y="1230"/>
                </a:lnTo>
                <a:lnTo>
                  <a:pt x="2261" y="1238"/>
                </a:lnTo>
                <a:lnTo>
                  <a:pt x="2265" y="1242"/>
                </a:lnTo>
                <a:lnTo>
                  <a:pt x="2271" y="1245"/>
                </a:lnTo>
                <a:lnTo>
                  <a:pt x="2282" y="1249"/>
                </a:lnTo>
                <a:lnTo>
                  <a:pt x="2288" y="1249"/>
                </a:lnTo>
                <a:lnTo>
                  <a:pt x="2295" y="1251"/>
                </a:lnTo>
                <a:lnTo>
                  <a:pt x="2307" y="1249"/>
                </a:lnTo>
                <a:lnTo>
                  <a:pt x="2318" y="1245"/>
                </a:lnTo>
                <a:lnTo>
                  <a:pt x="2324" y="1242"/>
                </a:lnTo>
                <a:lnTo>
                  <a:pt x="2331" y="1240"/>
                </a:lnTo>
                <a:lnTo>
                  <a:pt x="2341" y="1232"/>
                </a:lnTo>
                <a:lnTo>
                  <a:pt x="2350" y="1223"/>
                </a:lnTo>
                <a:lnTo>
                  <a:pt x="2358" y="1213"/>
                </a:lnTo>
                <a:lnTo>
                  <a:pt x="2367" y="1200"/>
                </a:lnTo>
                <a:lnTo>
                  <a:pt x="2373" y="1187"/>
                </a:lnTo>
                <a:lnTo>
                  <a:pt x="2379" y="1175"/>
                </a:lnTo>
                <a:lnTo>
                  <a:pt x="2383" y="1160"/>
                </a:lnTo>
                <a:lnTo>
                  <a:pt x="2388" y="1145"/>
                </a:lnTo>
                <a:lnTo>
                  <a:pt x="2392" y="1132"/>
                </a:lnTo>
                <a:lnTo>
                  <a:pt x="2394" y="1118"/>
                </a:lnTo>
                <a:lnTo>
                  <a:pt x="2396" y="1103"/>
                </a:lnTo>
                <a:lnTo>
                  <a:pt x="2396" y="1090"/>
                </a:lnTo>
                <a:lnTo>
                  <a:pt x="2396" y="1077"/>
                </a:lnTo>
                <a:lnTo>
                  <a:pt x="2398" y="1073"/>
                </a:lnTo>
                <a:lnTo>
                  <a:pt x="2400" y="1071"/>
                </a:lnTo>
                <a:lnTo>
                  <a:pt x="2405" y="1069"/>
                </a:lnTo>
                <a:lnTo>
                  <a:pt x="2409" y="1069"/>
                </a:lnTo>
                <a:lnTo>
                  <a:pt x="2417" y="1071"/>
                </a:lnTo>
                <a:lnTo>
                  <a:pt x="2422" y="1073"/>
                </a:lnTo>
                <a:lnTo>
                  <a:pt x="2424" y="1075"/>
                </a:lnTo>
                <a:lnTo>
                  <a:pt x="2428" y="1082"/>
                </a:lnTo>
                <a:lnTo>
                  <a:pt x="2430" y="1088"/>
                </a:lnTo>
                <a:lnTo>
                  <a:pt x="2430" y="1094"/>
                </a:lnTo>
                <a:lnTo>
                  <a:pt x="2430" y="1113"/>
                </a:lnTo>
                <a:lnTo>
                  <a:pt x="2428" y="1132"/>
                </a:lnTo>
                <a:lnTo>
                  <a:pt x="2424" y="1149"/>
                </a:lnTo>
                <a:lnTo>
                  <a:pt x="2419" y="1166"/>
                </a:lnTo>
                <a:lnTo>
                  <a:pt x="2413" y="1183"/>
                </a:lnTo>
                <a:lnTo>
                  <a:pt x="2407" y="1200"/>
                </a:lnTo>
                <a:lnTo>
                  <a:pt x="2400" y="1215"/>
                </a:lnTo>
                <a:lnTo>
                  <a:pt x="2392" y="1228"/>
                </a:lnTo>
                <a:lnTo>
                  <a:pt x="2381" y="1240"/>
                </a:lnTo>
                <a:lnTo>
                  <a:pt x="2377" y="1247"/>
                </a:lnTo>
                <a:lnTo>
                  <a:pt x="2371" y="1253"/>
                </a:lnTo>
                <a:lnTo>
                  <a:pt x="2360" y="1262"/>
                </a:lnTo>
                <a:lnTo>
                  <a:pt x="2348" y="1270"/>
                </a:lnTo>
                <a:lnTo>
                  <a:pt x="2335" y="1276"/>
                </a:lnTo>
                <a:lnTo>
                  <a:pt x="2322" y="1283"/>
                </a:lnTo>
                <a:lnTo>
                  <a:pt x="2307" y="1285"/>
                </a:lnTo>
                <a:lnTo>
                  <a:pt x="2292" y="1287"/>
                </a:lnTo>
                <a:close/>
                <a:moveTo>
                  <a:pt x="2523" y="1283"/>
                </a:moveTo>
                <a:lnTo>
                  <a:pt x="2519" y="1281"/>
                </a:lnTo>
                <a:lnTo>
                  <a:pt x="2511" y="1274"/>
                </a:lnTo>
                <a:lnTo>
                  <a:pt x="2494" y="1259"/>
                </a:lnTo>
                <a:lnTo>
                  <a:pt x="2472" y="1240"/>
                </a:lnTo>
                <a:lnTo>
                  <a:pt x="2455" y="1219"/>
                </a:lnTo>
                <a:lnTo>
                  <a:pt x="2449" y="1211"/>
                </a:lnTo>
                <a:lnTo>
                  <a:pt x="2443" y="1204"/>
                </a:lnTo>
                <a:lnTo>
                  <a:pt x="2439" y="1192"/>
                </a:lnTo>
                <a:lnTo>
                  <a:pt x="2436" y="1185"/>
                </a:lnTo>
                <a:lnTo>
                  <a:pt x="2436" y="1179"/>
                </a:lnTo>
                <a:lnTo>
                  <a:pt x="2436" y="1173"/>
                </a:lnTo>
                <a:lnTo>
                  <a:pt x="2439" y="1166"/>
                </a:lnTo>
                <a:lnTo>
                  <a:pt x="2443" y="1158"/>
                </a:lnTo>
                <a:lnTo>
                  <a:pt x="2447" y="1149"/>
                </a:lnTo>
                <a:lnTo>
                  <a:pt x="2460" y="1135"/>
                </a:lnTo>
                <a:lnTo>
                  <a:pt x="2477" y="1115"/>
                </a:lnTo>
                <a:lnTo>
                  <a:pt x="2519" y="1067"/>
                </a:lnTo>
                <a:lnTo>
                  <a:pt x="2525" y="1067"/>
                </a:lnTo>
                <a:lnTo>
                  <a:pt x="2532" y="1069"/>
                </a:lnTo>
                <a:lnTo>
                  <a:pt x="2536" y="1073"/>
                </a:lnTo>
                <a:lnTo>
                  <a:pt x="2540" y="1079"/>
                </a:lnTo>
                <a:lnTo>
                  <a:pt x="2542" y="1086"/>
                </a:lnTo>
                <a:lnTo>
                  <a:pt x="2540" y="1092"/>
                </a:lnTo>
                <a:lnTo>
                  <a:pt x="2538" y="1094"/>
                </a:lnTo>
                <a:lnTo>
                  <a:pt x="2536" y="1099"/>
                </a:lnTo>
                <a:lnTo>
                  <a:pt x="2506" y="1132"/>
                </a:lnTo>
                <a:lnTo>
                  <a:pt x="2489" y="1154"/>
                </a:lnTo>
                <a:lnTo>
                  <a:pt x="2477" y="1168"/>
                </a:lnTo>
                <a:lnTo>
                  <a:pt x="2472" y="1173"/>
                </a:lnTo>
                <a:lnTo>
                  <a:pt x="2472" y="1179"/>
                </a:lnTo>
                <a:lnTo>
                  <a:pt x="2475" y="1183"/>
                </a:lnTo>
                <a:lnTo>
                  <a:pt x="2477" y="1190"/>
                </a:lnTo>
                <a:lnTo>
                  <a:pt x="2487" y="1202"/>
                </a:lnTo>
                <a:lnTo>
                  <a:pt x="2504" y="1219"/>
                </a:lnTo>
                <a:lnTo>
                  <a:pt x="2523" y="1238"/>
                </a:lnTo>
                <a:lnTo>
                  <a:pt x="2542" y="1257"/>
                </a:lnTo>
                <a:lnTo>
                  <a:pt x="2544" y="1259"/>
                </a:lnTo>
                <a:lnTo>
                  <a:pt x="2544" y="1262"/>
                </a:lnTo>
                <a:lnTo>
                  <a:pt x="2544" y="1266"/>
                </a:lnTo>
                <a:lnTo>
                  <a:pt x="2542" y="1268"/>
                </a:lnTo>
                <a:lnTo>
                  <a:pt x="2538" y="1276"/>
                </a:lnTo>
                <a:lnTo>
                  <a:pt x="2532" y="1281"/>
                </a:lnTo>
                <a:lnTo>
                  <a:pt x="2527" y="1283"/>
                </a:lnTo>
                <a:lnTo>
                  <a:pt x="2523" y="1283"/>
                </a:lnTo>
                <a:close/>
                <a:moveTo>
                  <a:pt x="2292" y="1877"/>
                </a:moveTo>
                <a:lnTo>
                  <a:pt x="2284" y="1877"/>
                </a:lnTo>
                <a:lnTo>
                  <a:pt x="2276" y="1875"/>
                </a:lnTo>
                <a:lnTo>
                  <a:pt x="2267" y="1873"/>
                </a:lnTo>
                <a:lnTo>
                  <a:pt x="2259" y="1869"/>
                </a:lnTo>
                <a:lnTo>
                  <a:pt x="2250" y="1865"/>
                </a:lnTo>
                <a:lnTo>
                  <a:pt x="2244" y="1861"/>
                </a:lnTo>
                <a:lnTo>
                  <a:pt x="2235" y="1854"/>
                </a:lnTo>
                <a:lnTo>
                  <a:pt x="2229" y="1848"/>
                </a:lnTo>
                <a:lnTo>
                  <a:pt x="2223" y="1839"/>
                </a:lnTo>
                <a:lnTo>
                  <a:pt x="2218" y="1831"/>
                </a:lnTo>
                <a:lnTo>
                  <a:pt x="2210" y="1814"/>
                </a:lnTo>
                <a:lnTo>
                  <a:pt x="2208" y="1803"/>
                </a:lnTo>
                <a:lnTo>
                  <a:pt x="2206" y="1793"/>
                </a:lnTo>
                <a:lnTo>
                  <a:pt x="2204" y="1782"/>
                </a:lnTo>
                <a:lnTo>
                  <a:pt x="2204" y="1772"/>
                </a:lnTo>
                <a:lnTo>
                  <a:pt x="2204" y="1761"/>
                </a:lnTo>
                <a:lnTo>
                  <a:pt x="2206" y="1748"/>
                </a:lnTo>
                <a:lnTo>
                  <a:pt x="2208" y="1738"/>
                </a:lnTo>
                <a:lnTo>
                  <a:pt x="2210" y="1727"/>
                </a:lnTo>
                <a:lnTo>
                  <a:pt x="2214" y="1719"/>
                </a:lnTo>
                <a:lnTo>
                  <a:pt x="2218" y="1708"/>
                </a:lnTo>
                <a:lnTo>
                  <a:pt x="2225" y="1700"/>
                </a:lnTo>
                <a:lnTo>
                  <a:pt x="2231" y="1691"/>
                </a:lnTo>
                <a:lnTo>
                  <a:pt x="2237" y="1683"/>
                </a:lnTo>
                <a:lnTo>
                  <a:pt x="2246" y="1676"/>
                </a:lnTo>
                <a:lnTo>
                  <a:pt x="2252" y="1670"/>
                </a:lnTo>
                <a:lnTo>
                  <a:pt x="2261" y="1666"/>
                </a:lnTo>
                <a:lnTo>
                  <a:pt x="2271" y="1662"/>
                </a:lnTo>
                <a:lnTo>
                  <a:pt x="2280" y="1657"/>
                </a:lnTo>
                <a:lnTo>
                  <a:pt x="2288" y="1655"/>
                </a:lnTo>
                <a:lnTo>
                  <a:pt x="2299" y="1655"/>
                </a:lnTo>
                <a:lnTo>
                  <a:pt x="2312" y="1657"/>
                </a:lnTo>
                <a:lnTo>
                  <a:pt x="2316" y="1657"/>
                </a:lnTo>
                <a:lnTo>
                  <a:pt x="2322" y="1659"/>
                </a:lnTo>
                <a:lnTo>
                  <a:pt x="2331" y="1666"/>
                </a:lnTo>
                <a:lnTo>
                  <a:pt x="2339" y="1672"/>
                </a:lnTo>
                <a:lnTo>
                  <a:pt x="2345" y="1681"/>
                </a:lnTo>
                <a:lnTo>
                  <a:pt x="2350" y="1689"/>
                </a:lnTo>
                <a:lnTo>
                  <a:pt x="2352" y="1702"/>
                </a:lnTo>
                <a:lnTo>
                  <a:pt x="2354" y="1712"/>
                </a:lnTo>
                <a:lnTo>
                  <a:pt x="2352" y="1721"/>
                </a:lnTo>
                <a:lnTo>
                  <a:pt x="2352" y="1727"/>
                </a:lnTo>
                <a:lnTo>
                  <a:pt x="2350" y="1736"/>
                </a:lnTo>
                <a:lnTo>
                  <a:pt x="2345" y="1742"/>
                </a:lnTo>
                <a:lnTo>
                  <a:pt x="2341" y="1748"/>
                </a:lnTo>
                <a:lnTo>
                  <a:pt x="2337" y="1755"/>
                </a:lnTo>
                <a:lnTo>
                  <a:pt x="2326" y="1767"/>
                </a:lnTo>
                <a:lnTo>
                  <a:pt x="2320" y="1772"/>
                </a:lnTo>
                <a:lnTo>
                  <a:pt x="2314" y="1776"/>
                </a:lnTo>
                <a:lnTo>
                  <a:pt x="2301" y="1784"/>
                </a:lnTo>
                <a:lnTo>
                  <a:pt x="2292" y="1786"/>
                </a:lnTo>
                <a:lnTo>
                  <a:pt x="2286" y="1789"/>
                </a:lnTo>
                <a:lnTo>
                  <a:pt x="2271" y="1791"/>
                </a:lnTo>
                <a:lnTo>
                  <a:pt x="2265" y="1789"/>
                </a:lnTo>
                <a:lnTo>
                  <a:pt x="2261" y="1786"/>
                </a:lnTo>
                <a:lnTo>
                  <a:pt x="2259" y="1784"/>
                </a:lnTo>
                <a:lnTo>
                  <a:pt x="2256" y="1782"/>
                </a:lnTo>
                <a:lnTo>
                  <a:pt x="2256" y="1778"/>
                </a:lnTo>
                <a:lnTo>
                  <a:pt x="2254" y="1772"/>
                </a:lnTo>
                <a:lnTo>
                  <a:pt x="2256" y="1765"/>
                </a:lnTo>
                <a:lnTo>
                  <a:pt x="2256" y="1763"/>
                </a:lnTo>
                <a:lnTo>
                  <a:pt x="2259" y="1761"/>
                </a:lnTo>
                <a:lnTo>
                  <a:pt x="2271" y="1759"/>
                </a:lnTo>
                <a:lnTo>
                  <a:pt x="2284" y="1753"/>
                </a:lnTo>
                <a:lnTo>
                  <a:pt x="2295" y="1748"/>
                </a:lnTo>
                <a:lnTo>
                  <a:pt x="2303" y="1740"/>
                </a:lnTo>
                <a:lnTo>
                  <a:pt x="2312" y="1734"/>
                </a:lnTo>
                <a:lnTo>
                  <a:pt x="2314" y="1729"/>
                </a:lnTo>
                <a:lnTo>
                  <a:pt x="2316" y="1725"/>
                </a:lnTo>
                <a:lnTo>
                  <a:pt x="2320" y="1717"/>
                </a:lnTo>
                <a:lnTo>
                  <a:pt x="2322" y="1708"/>
                </a:lnTo>
                <a:lnTo>
                  <a:pt x="2320" y="1704"/>
                </a:lnTo>
                <a:lnTo>
                  <a:pt x="2320" y="1698"/>
                </a:lnTo>
                <a:lnTo>
                  <a:pt x="2318" y="1695"/>
                </a:lnTo>
                <a:lnTo>
                  <a:pt x="2316" y="1691"/>
                </a:lnTo>
                <a:lnTo>
                  <a:pt x="2312" y="1689"/>
                </a:lnTo>
                <a:lnTo>
                  <a:pt x="2307" y="1687"/>
                </a:lnTo>
                <a:lnTo>
                  <a:pt x="2297" y="1685"/>
                </a:lnTo>
                <a:lnTo>
                  <a:pt x="2286" y="1687"/>
                </a:lnTo>
                <a:lnTo>
                  <a:pt x="2282" y="1689"/>
                </a:lnTo>
                <a:lnTo>
                  <a:pt x="2276" y="1691"/>
                </a:lnTo>
                <a:lnTo>
                  <a:pt x="2271" y="1695"/>
                </a:lnTo>
                <a:lnTo>
                  <a:pt x="2265" y="1700"/>
                </a:lnTo>
                <a:lnTo>
                  <a:pt x="2256" y="1710"/>
                </a:lnTo>
                <a:lnTo>
                  <a:pt x="2252" y="1717"/>
                </a:lnTo>
                <a:lnTo>
                  <a:pt x="2248" y="1723"/>
                </a:lnTo>
                <a:lnTo>
                  <a:pt x="2242" y="1738"/>
                </a:lnTo>
                <a:lnTo>
                  <a:pt x="2237" y="1753"/>
                </a:lnTo>
                <a:lnTo>
                  <a:pt x="2237" y="1761"/>
                </a:lnTo>
                <a:lnTo>
                  <a:pt x="2237" y="1770"/>
                </a:lnTo>
                <a:lnTo>
                  <a:pt x="2237" y="1784"/>
                </a:lnTo>
                <a:lnTo>
                  <a:pt x="2240" y="1793"/>
                </a:lnTo>
                <a:lnTo>
                  <a:pt x="2242" y="1799"/>
                </a:lnTo>
                <a:lnTo>
                  <a:pt x="2246" y="1812"/>
                </a:lnTo>
                <a:lnTo>
                  <a:pt x="2252" y="1822"/>
                </a:lnTo>
                <a:lnTo>
                  <a:pt x="2261" y="1831"/>
                </a:lnTo>
                <a:lnTo>
                  <a:pt x="2265" y="1833"/>
                </a:lnTo>
                <a:lnTo>
                  <a:pt x="2271" y="1837"/>
                </a:lnTo>
                <a:lnTo>
                  <a:pt x="2282" y="1841"/>
                </a:lnTo>
                <a:lnTo>
                  <a:pt x="2288" y="1841"/>
                </a:lnTo>
                <a:lnTo>
                  <a:pt x="2295" y="1841"/>
                </a:lnTo>
                <a:lnTo>
                  <a:pt x="2307" y="1841"/>
                </a:lnTo>
                <a:lnTo>
                  <a:pt x="2318" y="1837"/>
                </a:lnTo>
                <a:lnTo>
                  <a:pt x="2324" y="1835"/>
                </a:lnTo>
                <a:lnTo>
                  <a:pt x="2331" y="1831"/>
                </a:lnTo>
                <a:lnTo>
                  <a:pt x="2341" y="1825"/>
                </a:lnTo>
                <a:lnTo>
                  <a:pt x="2350" y="1814"/>
                </a:lnTo>
                <a:lnTo>
                  <a:pt x="2358" y="1803"/>
                </a:lnTo>
                <a:lnTo>
                  <a:pt x="2367" y="1793"/>
                </a:lnTo>
                <a:lnTo>
                  <a:pt x="2373" y="1780"/>
                </a:lnTo>
                <a:lnTo>
                  <a:pt x="2379" y="1765"/>
                </a:lnTo>
                <a:lnTo>
                  <a:pt x="2383" y="1753"/>
                </a:lnTo>
                <a:lnTo>
                  <a:pt x="2388" y="1738"/>
                </a:lnTo>
                <a:lnTo>
                  <a:pt x="2392" y="1723"/>
                </a:lnTo>
                <a:lnTo>
                  <a:pt x="2394" y="1708"/>
                </a:lnTo>
                <a:lnTo>
                  <a:pt x="2396" y="1695"/>
                </a:lnTo>
                <a:lnTo>
                  <a:pt x="2396" y="1681"/>
                </a:lnTo>
                <a:lnTo>
                  <a:pt x="2396" y="1668"/>
                </a:lnTo>
                <a:lnTo>
                  <a:pt x="2398" y="1666"/>
                </a:lnTo>
                <a:lnTo>
                  <a:pt x="2400" y="1664"/>
                </a:lnTo>
                <a:lnTo>
                  <a:pt x="2405" y="1662"/>
                </a:lnTo>
                <a:lnTo>
                  <a:pt x="2409" y="1662"/>
                </a:lnTo>
                <a:lnTo>
                  <a:pt x="2417" y="1662"/>
                </a:lnTo>
                <a:lnTo>
                  <a:pt x="2422" y="1664"/>
                </a:lnTo>
                <a:lnTo>
                  <a:pt x="2424" y="1666"/>
                </a:lnTo>
                <a:lnTo>
                  <a:pt x="2428" y="1674"/>
                </a:lnTo>
                <a:lnTo>
                  <a:pt x="2430" y="1681"/>
                </a:lnTo>
                <a:lnTo>
                  <a:pt x="2430" y="1687"/>
                </a:lnTo>
                <a:lnTo>
                  <a:pt x="2430" y="1706"/>
                </a:lnTo>
                <a:lnTo>
                  <a:pt x="2428" y="1723"/>
                </a:lnTo>
                <a:lnTo>
                  <a:pt x="2424" y="1742"/>
                </a:lnTo>
                <a:lnTo>
                  <a:pt x="2419" y="1759"/>
                </a:lnTo>
                <a:lnTo>
                  <a:pt x="2413" y="1776"/>
                </a:lnTo>
                <a:lnTo>
                  <a:pt x="2407" y="1791"/>
                </a:lnTo>
                <a:lnTo>
                  <a:pt x="2400" y="1805"/>
                </a:lnTo>
                <a:lnTo>
                  <a:pt x="2392" y="1820"/>
                </a:lnTo>
                <a:lnTo>
                  <a:pt x="2381" y="1833"/>
                </a:lnTo>
                <a:lnTo>
                  <a:pt x="2377" y="1839"/>
                </a:lnTo>
                <a:lnTo>
                  <a:pt x="2371" y="1844"/>
                </a:lnTo>
                <a:lnTo>
                  <a:pt x="2360" y="1854"/>
                </a:lnTo>
                <a:lnTo>
                  <a:pt x="2348" y="1863"/>
                </a:lnTo>
                <a:lnTo>
                  <a:pt x="2335" y="1869"/>
                </a:lnTo>
                <a:lnTo>
                  <a:pt x="2322" y="1873"/>
                </a:lnTo>
                <a:lnTo>
                  <a:pt x="2307" y="1877"/>
                </a:lnTo>
                <a:lnTo>
                  <a:pt x="2292" y="1877"/>
                </a:lnTo>
                <a:close/>
                <a:moveTo>
                  <a:pt x="2523" y="1873"/>
                </a:moveTo>
                <a:lnTo>
                  <a:pt x="2519" y="1871"/>
                </a:lnTo>
                <a:lnTo>
                  <a:pt x="2511" y="1867"/>
                </a:lnTo>
                <a:lnTo>
                  <a:pt x="2494" y="1852"/>
                </a:lnTo>
                <a:lnTo>
                  <a:pt x="2472" y="1831"/>
                </a:lnTo>
                <a:lnTo>
                  <a:pt x="2455" y="1812"/>
                </a:lnTo>
                <a:lnTo>
                  <a:pt x="2449" y="1803"/>
                </a:lnTo>
                <a:lnTo>
                  <a:pt x="2443" y="1795"/>
                </a:lnTo>
                <a:lnTo>
                  <a:pt x="2439" y="1784"/>
                </a:lnTo>
                <a:lnTo>
                  <a:pt x="2436" y="1778"/>
                </a:lnTo>
                <a:lnTo>
                  <a:pt x="2436" y="1772"/>
                </a:lnTo>
                <a:lnTo>
                  <a:pt x="2436" y="1765"/>
                </a:lnTo>
                <a:lnTo>
                  <a:pt x="2439" y="1757"/>
                </a:lnTo>
                <a:lnTo>
                  <a:pt x="2443" y="1750"/>
                </a:lnTo>
                <a:lnTo>
                  <a:pt x="2447" y="1742"/>
                </a:lnTo>
                <a:lnTo>
                  <a:pt x="2460" y="1727"/>
                </a:lnTo>
                <a:lnTo>
                  <a:pt x="2477" y="1706"/>
                </a:lnTo>
                <a:lnTo>
                  <a:pt x="2519" y="1659"/>
                </a:lnTo>
                <a:lnTo>
                  <a:pt x="2525" y="1659"/>
                </a:lnTo>
                <a:lnTo>
                  <a:pt x="2532" y="1662"/>
                </a:lnTo>
                <a:lnTo>
                  <a:pt x="2536" y="1666"/>
                </a:lnTo>
                <a:lnTo>
                  <a:pt x="2540" y="1672"/>
                </a:lnTo>
                <a:lnTo>
                  <a:pt x="2542" y="1676"/>
                </a:lnTo>
                <a:lnTo>
                  <a:pt x="2540" y="1683"/>
                </a:lnTo>
                <a:lnTo>
                  <a:pt x="2538" y="1687"/>
                </a:lnTo>
                <a:lnTo>
                  <a:pt x="2536" y="1691"/>
                </a:lnTo>
                <a:lnTo>
                  <a:pt x="2506" y="1725"/>
                </a:lnTo>
                <a:lnTo>
                  <a:pt x="2489" y="1744"/>
                </a:lnTo>
                <a:lnTo>
                  <a:pt x="2477" y="1761"/>
                </a:lnTo>
                <a:lnTo>
                  <a:pt x="2472" y="1765"/>
                </a:lnTo>
                <a:lnTo>
                  <a:pt x="2472" y="1770"/>
                </a:lnTo>
                <a:lnTo>
                  <a:pt x="2475" y="1776"/>
                </a:lnTo>
                <a:lnTo>
                  <a:pt x="2477" y="1780"/>
                </a:lnTo>
                <a:lnTo>
                  <a:pt x="2487" y="1793"/>
                </a:lnTo>
                <a:lnTo>
                  <a:pt x="2504" y="1810"/>
                </a:lnTo>
                <a:lnTo>
                  <a:pt x="2523" y="1831"/>
                </a:lnTo>
                <a:lnTo>
                  <a:pt x="2542" y="1848"/>
                </a:lnTo>
                <a:lnTo>
                  <a:pt x="2544" y="1850"/>
                </a:lnTo>
                <a:lnTo>
                  <a:pt x="2544" y="1854"/>
                </a:lnTo>
                <a:lnTo>
                  <a:pt x="2544" y="1856"/>
                </a:lnTo>
                <a:lnTo>
                  <a:pt x="2542" y="1861"/>
                </a:lnTo>
                <a:lnTo>
                  <a:pt x="2538" y="1867"/>
                </a:lnTo>
                <a:lnTo>
                  <a:pt x="2532" y="1873"/>
                </a:lnTo>
                <a:lnTo>
                  <a:pt x="2527" y="1873"/>
                </a:lnTo>
                <a:lnTo>
                  <a:pt x="2523" y="1873"/>
                </a:lnTo>
                <a:close/>
                <a:moveTo>
                  <a:pt x="934" y="694"/>
                </a:moveTo>
                <a:lnTo>
                  <a:pt x="925" y="694"/>
                </a:lnTo>
                <a:lnTo>
                  <a:pt x="917" y="692"/>
                </a:lnTo>
                <a:lnTo>
                  <a:pt x="908" y="690"/>
                </a:lnTo>
                <a:lnTo>
                  <a:pt x="900" y="686"/>
                </a:lnTo>
                <a:lnTo>
                  <a:pt x="891" y="682"/>
                </a:lnTo>
                <a:lnTo>
                  <a:pt x="883" y="677"/>
                </a:lnTo>
                <a:lnTo>
                  <a:pt x="876" y="671"/>
                </a:lnTo>
                <a:lnTo>
                  <a:pt x="870" y="663"/>
                </a:lnTo>
                <a:lnTo>
                  <a:pt x="864" y="656"/>
                </a:lnTo>
                <a:lnTo>
                  <a:pt x="859" y="648"/>
                </a:lnTo>
                <a:lnTo>
                  <a:pt x="851" y="631"/>
                </a:lnTo>
                <a:lnTo>
                  <a:pt x="847" y="620"/>
                </a:lnTo>
                <a:lnTo>
                  <a:pt x="845" y="610"/>
                </a:lnTo>
                <a:lnTo>
                  <a:pt x="845" y="599"/>
                </a:lnTo>
                <a:lnTo>
                  <a:pt x="842" y="588"/>
                </a:lnTo>
                <a:lnTo>
                  <a:pt x="845" y="578"/>
                </a:lnTo>
                <a:lnTo>
                  <a:pt x="845" y="565"/>
                </a:lnTo>
                <a:lnTo>
                  <a:pt x="847" y="555"/>
                </a:lnTo>
                <a:lnTo>
                  <a:pt x="851" y="544"/>
                </a:lnTo>
                <a:lnTo>
                  <a:pt x="855" y="533"/>
                </a:lnTo>
                <a:lnTo>
                  <a:pt x="859" y="525"/>
                </a:lnTo>
                <a:lnTo>
                  <a:pt x="866" y="516"/>
                </a:lnTo>
                <a:lnTo>
                  <a:pt x="872" y="508"/>
                </a:lnTo>
                <a:lnTo>
                  <a:pt x="878" y="500"/>
                </a:lnTo>
                <a:lnTo>
                  <a:pt x="885" y="493"/>
                </a:lnTo>
                <a:lnTo>
                  <a:pt x="893" y="487"/>
                </a:lnTo>
                <a:lnTo>
                  <a:pt x="902" y="483"/>
                </a:lnTo>
                <a:lnTo>
                  <a:pt x="910" y="478"/>
                </a:lnTo>
                <a:lnTo>
                  <a:pt x="921" y="474"/>
                </a:lnTo>
                <a:lnTo>
                  <a:pt x="929" y="472"/>
                </a:lnTo>
                <a:lnTo>
                  <a:pt x="940" y="472"/>
                </a:lnTo>
                <a:lnTo>
                  <a:pt x="953" y="474"/>
                </a:lnTo>
                <a:lnTo>
                  <a:pt x="957" y="474"/>
                </a:lnTo>
                <a:lnTo>
                  <a:pt x="963" y="476"/>
                </a:lnTo>
                <a:lnTo>
                  <a:pt x="972" y="480"/>
                </a:lnTo>
                <a:lnTo>
                  <a:pt x="980" y="489"/>
                </a:lnTo>
                <a:lnTo>
                  <a:pt x="986" y="497"/>
                </a:lnTo>
                <a:lnTo>
                  <a:pt x="991" y="506"/>
                </a:lnTo>
                <a:lnTo>
                  <a:pt x="993" y="516"/>
                </a:lnTo>
                <a:lnTo>
                  <a:pt x="993" y="529"/>
                </a:lnTo>
                <a:lnTo>
                  <a:pt x="993" y="538"/>
                </a:lnTo>
                <a:lnTo>
                  <a:pt x="991" y="544"/>
                </a:lnTo>
                <a:lnTo>
                  <a:pt x="989" y="550"/>
                </a:lnTo>
                <a:lnTo>
                  <a:pt x="986" y="559"/>
                </a:lnTo>
                <a:lnTo>
                  <a:pt x="982" y="565"/>
                </a:lnTo>
                <a:lnTo>
                  <a:pt x="978" y="571"/>
                </a:lnTo>
                <a:lnTo>
                  <a:pt x="967" y="582"/>
                </a:lnTo>
                <a:lnTo>
                  <a:pt x="961" y="588"/>
                </a:lnTo>
                <a:lnTo>
                  <a:pt x="955" y="593"/>
                </a:lnTo>
                <a:lnTo>
                  <a:pt x="942" y="601"/>
                </a:lnTo>
                <a:lnTo>
                  <a:pt x="934" y="603"/>
                </a:lnTo>
                <a:lnTo>
                  <a:pt x="927" y="605"/>
                </a:lnTo>
                <a:lnTo>
                  <a:pt x="910" y="607"/>
                </a:lnTo>
                <a:lnTo>
                  <a:pt x="906" y="605"/>
                </a:lnTo>
                <a:lnTo>
                  <a:pt x="902" y="603"/>
                </a:lnTo>
                <a:lnTo>
                  <a:pt x="900" y="601"/>
                </a:lnTo>
                <a:lnTo>
                  <a:pt x="898" y="599"/>
                </a:lnTo>
                <a:lnTo>
                  <a:pt x="898" y="595"/>
                </a:lnTo>
                <a:lnTo>
                  <a:pt x="895" y="588"/>
                </a:lnTo>
                <a:lnTo>
                  <a:pt x="895" y="582"/>
                </a:lnTo>
                <a:lnTo>
                  <a:pt x="898" y="580"/>
                </a:lnTo>
                <a:lnTo>
                  <a:pt x="900" y="578"/>
                </a:lnTo>
                <a:lnTo>
                  <a:pt x="912" y="574"/>
                </a:lnTo>
                <a:lnTo>
                  <a:pt x="925" y="569"/>
                </a:lnTo>
                <a:lnTo>
                  <a:pt x="936" y="565"/>
                </a:lnTo>
                <a:lnTo>
                  <a:pt x="944" y="557"/>
                </a:lnTo>
                <a:lnTo>
                  <a:pt x="953" y="550"/>
                </a:lnTo>
                <a:lnTo>
                  <a:pt x="955" y="546"/>
                </a:lnTo>
                <a:lnTo>
                  <a:pt x="957" y="542"/>
                </a:lnTo>
                <a:lnTo>
                  <a:pt x="961" y="533"/>
                </a:lnTo>
                <a:lnTo>
                  <a:pt x="961" y="525"/>
                </a:lnTo>
                <a:lnTo>
                  <a:pt x="961" y="519"/>
                </a:lnTo>
                <a:lnTo>
                  <a:pt x="961" y="514"/>
                </a:lnTo>
                <a:lnTo>
                  <a:pt x="959" y="512"/>
                </a:lnTo>
                <a:lnTo>
                  <a:pt x="955" y="508"/>
                </a:lnTo>
                <a:lnTo>
                  <a:pt x="953" y="506"/>
                </a:lnTo>
                <a:lnTo>
                  <a:pt x="948" y="504"/>
                </a:lnTo>
                <a:lnTo>
                  <a:pt x="938" y="502"/>
                </a:lnTo>
                <a:lnTo>
                  <a:pt x="927" y="504"/>
                </a:lnTo>
                <a:lnTo>
                  <a:pt x="921" y="506"/>
                </a:lnTo>
                <a:lnTo>
                  <a:pt x="917" y="508"/>
                </a:lnTo>
                <a:lnTo>
                  <a:pt x="910" y="512"/>
                </a:lnTo>
                <a:lnTo>
                  <a:pt x="906" y="516"/>
                </a:lnTo>
                <a:lnTo>
                  <a:pt x="898" y="527"/>
                </a:lnTo>
                <a:lnTo>
                  <a:pt x="893" y="533"/>
                </a:lnTo>
                <a:lnTo>
                  <a:pt x="889" y="540"/>
                </a:lnTo>
                <a:lnTo>
                  <a:pt x="883" y="555"/>
                </a:lnTo>
                <a:lnTo>
                  <a:pt x="878" y="569"/>
                </a:lnTo>
                <a:lnTo>
                  <a:pt x="878" y="578"/>
                </a:lnTo>
                <a:lnTo>
                  <a:pt x="876" y="586"/>
                </a:lnTo>
                <a:lnTo>
                  <a:pt x="878" y="601"/>
                </a:lnTo>
                <a:lnTo>
                  <a:pt x="878" y="610"/>
                </a:lnTo>
                <a:lnTo>
                  <a:pt x="881" y="616"/>
                </a:lnTo>
                <a:lnTo>
                  <a:pt x="887" y="629"/>
                </a:lnTo>
                <a:lnTo>
                  <a:pt x="893" y="637"/>
                </a:lnTo>
                <a:lnTo>
                  <a:pt x="902" y="648"/>
                </a:lnTo>
                <a:lnTo>
                  <a:pt x="906" y="650"/>
                </a:lnTo>
                <a:lnTo>
                  <a:pt x="910" y="654"/>
                </a:lnTo>
                <a:lnTo>
                  <a:pt x="923" y="656"/>
                </a:lnTo>
                <a:lnTo>
                  <a:pt x="929" y="658"/>
                </a:lnTo>
                <a:lnTo>
                  <a:pt x="936" y="658"/>
                </a:lnTo>
                <a:lnTo>
                  <a:pt x="948" y="656"/>
                </a:lnTo>
                <a:lnTo>
                  <a:pt x="959" y="654"/>
                </a:lnTo>
                <a:lnTo>
                  <a:pt x="965" y="652"/>
                </a:lnTo>
                <a:lnTo>
                  <a:pt x="969" y="648"/>
                </a:lnTo>
                <a:lnTo>
                  <a:pt x="980" y="641"/>
                </a:lnTo>
                <a:lnTo>
                  <a:pt x="991" y="631"/>
                </a:lnTo>
                <a:lnTo>
                  <a:pt x="999" y="620"/>
                </a:lnTo>
                <a:lnTo>
                  <a:pt x="1008" y="610"/>
                </a:lnTo>
                <a:lnTo>
                  <a:pt x="1014" y="597"/>
                </a:lnTo>
                <a:lnTo>
                  <a:pt x="1020" y="582"/>
                </a:lnTo>
                <a:lnTo>
                  <a:pt x="1025" y="569"/>
                </a:lnTo>
                <a:lnTo>
                  <a:pt x="1029" y="555"/>
                </a:lnTo>
                <a:lnTo>
                  <a:pt x="1033" y="540"/>
                </a:lnTo>
                <a:lnTo>
                  <a:pt x="1035" y="525"/>
                </a:lnTo>
                <a:lnTo>
                  <a:pt x="1037" y="510"/>
                </a:lnTo>
                <a:lnTo>
                  <a:pt x="1037" y="497"/>
                </a:lnTo>
                <a:lnTo>
                  <a:pt x="1037" y="485"/>
                </a:lnTo>
                <a:lnTo>
                  <a:pt x="1039" y="483"/>
                </a:lnTo>
                <a:lnTo>
                  <a:pt x="1041" y="480"/>
                </a:lnTo>
                <a:lnTo>
                  <a:pt x="1046" y="478"/>
                </a:lnTo>
                <a:lnTo>
                  <a:pt x="1050" y="478"/>
                </a:lnTo>
                <a:lnTo>
                  <a:pt x="1058" y="478"/>
                </a:lnTo>
                <a:lnTo>
                  <a:pt x="1063" y="480"/>
                </a:lnTo>
                <a:lnTo>
                  <a:pt x="1065" y="483"/>
                </a:lnTo>
                <a:lnTo>
                  <a:pt x="1069" y="491"/>
                </a:lnTo>
                <a:lnTo>
                  <a:pt x="1071" y="497"/>
                </a:lnTo>
                <a:lnTo>
                  <a:pt x="1071" y="504"/>
                </a:lnTo>
                <a:lnTo>
                  <a:pt x="1071" y="523"/>
                </a:lnTo>
                <a:lnTo>
                  <a:pt x="1067" y="540"/>
                </a:lnTo>
                <a:lnTo>
                  <a:pt x="1065" y="559"/>
                </a:lnTo>
                <a:lnTo>
                  <a:pt x="1061" y="576"/>
                </a:lnTo>
                <a:lnTo>
                  <a:pt x="1054" y="593"/>
                </a:lnTo>
                <a:lnTo>
                  <a:pt x="1048" y="607"/>
                </a:lnTo>
                <a:lnTo>
                  <a:pt x="1039" y="622"/>
                </a:lnTo>
                <a:lnTo>
                  <a:pt x="1031" y="637"/>
                </a:lnTo>
                <a:lnTo>
                  <a:pt x="1022" y="650"/>
                </a:lnTo>
                <a:lnTo>
                  <a:pt x="1016" y="654"/>
                </a:lnTo>
                <a:lnTo>
                  <a:pt x="1012" y="660"/>
                </a:lnTo>
                <a:lnTo>
                  <a:pt x="1001" y="671"/>
                </a:lnTo>
                <a:lnTo>
                  <a:pt x="989" y="679"/>
                </a:lnTo>
                <a:lnTo>
                  <a:pt x="976" y="686"/>
                </a:lnTo>
                <a:lnTo>
                  <a:pt x="963" y="690"/>
                </a:lnTo>
                <a:lnTo>
                  <a:pt x="948" y="694"/>
                </a:lnTo>
                <a:lnTo>
                  <a:pt x="934" y="694"/>
                </a:lnTo>
                <a:close/>
                <a:moveTo>
                  <a:pt x="1164" y="690"/>
                </a:moveTo>
                <a:lnTo>
                  <a:pt x="1160" y="688"/>
                </a:lnTo>
                <a:lnTo>
                  <a:pt x="1152" y="684"/>
                </a:lnTo>
                <a:lnTo>
                  <a:pt x="1135" y="667"/>
                </a:lnTo>
                <a:lnTo>
                  <a:pt x="1113" y="648"/>
                </a:lnTo>
                <a:lnTo>
                  <a:pt x="1096" y="629"/>
                </a:lnTo>
                <a:lnTo>
                  <a:pt x="1088" y="618"/>
                </a:lnTo>
                <a:lnTo>
                  <a:pt x="1084" y="612"/>
                </a:lnTo>
                <a:lnTo>
                  <a:pt x="1080" y="599"/>
                </a:lnTo>
                <a:lnTo>
                  <a:pt x="1077" y="595"/>
                </a:lnTo>
                <a:lnTo>
                  <a:pt x="1077" y="588"/>
                </a:lnTo>
                <a:lnTo>
                  <a:pt x="1077" y="582"/>
                </a:lnTo>
                <a:lnTo>
                  <a:pt x="1080" y="574"/>
                </a:lnTo>
                <a:lnTo>
                  <a:pt x="1084" y="567"/>
                </a:lnTo>
                <a:lnTo>
                  <a:pt x="1088" y="559"/>
                </a:lnTo>
                <a:lnTo>
                  <a:pt x="1101" y="544"/>
                </a:lnTo>
                <a:lnTo>
                  <a:pt x="1118" y="523"/>
                </a:lnTo>
                <a:lnTo>
                  <a:pt x="1160" y="474"/>
                </a:lnTo>
                <a:lnTo>
                  <a:pt x="1166" y="476"/>
                </a:lnTo>
                <a:lnTo>
                  <a:pt x="1173" y="478"/>
                </a:lnTo>
                <a:lnTo>
                  <a:pt x="1177" y="483"/>
                </a:lnTo>
                <a:lnTo>
                  <a:pt x="1181" y="487"/>
                </a:lnTo>
                <a:lnTo>
                  <a:pt x="1183" y="493"/>
                </a:lnTo>
                <a:lnTo>
                  <a:pt x="1181" y="500"/>
                </a:lnTo>
                <a:lnTo>
                  <a:pt x="1179" y="504"/>
                </a:lnTo>
                <a:lnTo>
                  <a:pt x="1177" y="508"/>
                </a:lnTo>
                <a:lnTo>
                  <a:pt x="1147" y="542"/>
                </a:lnTo>
                <a:lnTo>
                  <a:pt x="1130" y="561"/>
                </a:lnTo>
                <a:lnTo>
                  <a:pt x="1118" y="578"/>
                </a:lnTo>
                <a:lnTo>
                  <a:pt x="1113" y="582"/>
                </a:lnTo>
                <a:lnTo>
                  <a:pt x="1113" y="586"/>
                </a:lnTo>
                <a:lnTo>
                  <a:pt x="1113" y="591"/>
                </a:lnTo>
                <a:lnTo>
                  <a:pt x="1118" y="597"/>
                </a:lnTo>
                <a:lnTo>
                  <a:pt x="1128" y="610"/>
                </a:lnTo>
                <a:lnTo>
                  <a:pt x="1145" y="627"/>
                </a:lnTo>
                <a:lnTo>
                  <a:pt x="1164" y="648"/>
                </a:lnTo>
                <a:lnTo>
                  <a:pt x="1183" y="665"/>
                </a:lnTo>
                <a:lnTo>
                  <a:pt x="1185" y="667"/>
                </a:lnTo>
                <a:lnTo>
                  <a:pt x="1185" y="671"/>
                </a:lnTo>
                <a:lnTo>
                  <a:pt x="1185" y="673"/>
                </a:lnTo>
                <a:lnTo>
                  <a:pt x="1183" y="677"/>
                </a:lnTo>
                <a:lnTo>
                  <a:pt x="1179" y="684"/>
                </a:lnTo>
                <a:lnTo>
                  <a:pt x="1173" y="688"/>
                </a:lnTo>
                <a:lnTo>
                  <a:pt x="1168" y="690"/>
                </a:lnTo>
                <a:lnTo>
                  <a:pt x="1164" y="690"/>
                </a:lnTo>
                <a:close/>
                <a:moveTo>
                  <a:pt x="934" y="1287"/>
                </a:moveTo>
                <a:lnTo>
                  <a:pt x="925" y="1285"/>
                </a:lnTo>
                <a:lnTo>
                  <a:pt x="917" y="1285"/>
                </a:lnTo>
                <a:lnTo>
                  <a:pt x="908" y="1281"/>
                </a:lnTo>
                <a:lnTo>
                  <a:pt x="900" y="1278"/>
                </a:lnTo>
                <a:lnTo>
                  <a:pt x="891" y="1274"/>
                </a:lnTo>
                <a:lnTo>
                  <a:pt x="883" y="1268"/>
                </a:lnTo>
                <a:lnTo>
                  <a:pt x="876" y="1262"/>
                </a:lnTo>
                <a:lnTo>
                  <a:pt x="870" y="1255"/>
                </a:lnTo>
                <a:lnTo>
                  <a:pt x="864" y="1247"/>
                </a:lnTo>
                <a:lnTo>
                  <a:pt x="859" y="1240"/>
                </a:lnTo>
                <a:lnTo>
                  <a:pt x="851" y="1221"/>
                </a:lnTo>
                <a:lnTo>
                  <a:pt x="847" y="1211"/>
                </a:lnTo>
                <a:lnTo>
                  <a:pt x="845" y="1202"/>
                </a:lnTo>
                <a:lnTo>
                  <a:pt x="845" y="1192"/>
                </a:lnTo>
                <a:lnTo>
                  <a:pt x="842" y="1179"/>
                </a:lnTo>
                <a:lnTo>
                  <a:pt x="845" y="1168"/>
                </a:lnTo>
                <a:lnTo>
                  <a:pt x="845" y="1158"/>
                </a:lnTo>
                <a:lnTo>
                  <a:pt x="847" y="1147"/>
                </a:lnTo>
                <a:lnTo>
                  <a:pt x="851" y="1137"/>
                </a:lnTo>
                <a:lnTo>
                  <a:pt x="855" y="1126"/>
                </a:lnTo>
                <a:lnTo>
                  <a:pt x="859" y="1115"/>
                </a:lnTo>
                <a:lnTo>
                  <a:pt x="866" y="1107"/>
                </a:lnTo>
                <a:lnTo>
                  <a:pt x="872" y="1099"/>
                </a:lnTo>
                <a:lnTo>
                  <a:pt x="878" y="1092"/>
                </a:lnTo>
                <a:lnTo>
                  <a:pt x="885" y="1084"/>
                </a:lnTo>
                <a:lnTo>
                  <a:pt x="893" y="1077"/>
                </a:lnTo>
                <a:lnTo>
                  <a:pt x="902" y="1073"/>
                </a:lnTo>
                <a:lnTo>
                  <a:pt x="910" y="1069"/>
                </a:lnTo>
                <a:lnTo>
                  <a:pt x="921" y="1067"/>
                </a:lnTo>
                <a:lnTo>
                  <a:pt x="929" y="1065"/>
                </a:lnTo>
                <a:lnTo>
                  <a:pt x="940" y="1065"/>
                </a:lnTo>
                <a:lnTo>
                  <a:pt x="953" y="1065"/>
                </a:lnTo>
                <a:lnTo>
                  <a:pt x="957" y="1067"/>
                </a:lnTo>
                <a:lnTo>
                  <a:pt x="963" y="1069"/>
                </a:lnTo>
                <a:lnTo>
                  <a:pt x="972" y="1073"/>
                </a:lnTo>
                <a:lnTo>
                  <a:pt x="980" y="1079"/>
                </a:lnTo>
                <a:lnTo>
                  <a:pt x="986" y="1088"/>
                </a:lnTo>
                <a:lnTo>
                  <a:pt x="991" y="1099"/>
                </a:lnTo>
                <a:lnTo>
                  <a:pt x="993" y="1109"/>
                </a:lnTo>
                <a:lnTo>
                  <a:pt x="993" y="1122"/>
                </a:lnTo>
                <a:lnTo>
                  <a:pt x="993" y="1128"/>
                </a:lnTo>
                <a:lnTo>
                  <a:pt x="991" y="1137"/>
                </a:lnTo>
                <a:lnTo>
                  <a:pt x="989" y="1143"/>
                </a:lnTo>
                <a:lnTo>
                  <a:pt x="986" y="1149"/>
                </a:lnTo>
                <a:lnTo>
                  <a:pt x="982" y="1158"/>
                </a:lnTo>
                <a:lnTo>
                  <a:pt x="978" y="1164"/>
                </a:lnTo>
                <a:lnTo>
                  <a:pt x="967" y="1175"/>
                </a:lnTo>
                <a:lnTo>
                  <a:pt x="961" y="1179"/>
                </a:lnTo>
                <a:lnTo>
                  <a:pt x="955" y="1185"/>
                </a:lnTo>
                <a:lnTo>
                  <a:pt x="942" y="1192"/>
                </a:lnTo>
                <a:lnTo>
                  <a:pt x="934" y="1194"/>
                </a:lnTo>
                <a:lnTo>
                  <a:pt x="927" y="1196"/>
                </a:lnTo>
                <a:lnTo>
                  <a:pt x="910" y="1198"/>
                </a:lnTo>
                <a:lnTo>
                  <a:pt x="906" y="1196"/>
                </a:lnTo>
                <a:lnTo>
                  <a:pt x="902" y="1196"/>
                </a:lnTo>
                <a:lnTo>
                  <a:pt x="900" y="1194"/>
                </a:lnTo>
                <a:lnTo>
                  <a:pt x="898" y="1190"/>
                </a:lnTo>
                <a:lnTo>
                  <a:pt x="898" y="1187"/>
                </a:lnTo>
                <a:lnTo>
                  <a:pt x="895" y="1179"/>
                </a:lnTo>
                <a:lnTo>
                  <a:pt x="895" y="1173"/>
                </a:lnTo>
                <a:lnTo>
                  <a:pt x="898" y="1170"/>
                </a:lnTo>
                <a:lnTo>
                  <a:pt x="900" y="1168"/>
                </a:lnTo>
                <a:lnTo>
                  <a:pt x="912" y="1166"/>
                </a:lnTo>
                <a:lnTo>
                  <a:pt x="925" y="1162"/>
                </a:lnTo>
                <a:lnTo>
                  <a:pt x="936" y="1156"/>
                </a:lnTo>
                <a:lnTo>
                  <a:pt x="944" y="1149"/>
                </a:lnTo>
                <a:lnTo>
                  <a:pt x="953" y="1141"/>
                </a:lnTo>
                <a:lnTo>
                  <a:pt x="955" y="1137"/>
                </a:lnTo>
                <a:lnTo>
                  <a:pt x="957" y="1132"/>
                </a:lnTo>
                <a:lnTo>
                  <a:pt x="961" y="1124"/>
                </a:lnTo>
                <a:lnTo>
                  <a:pt x="961" y="1115"/>
                </a:lnTo>
                <a:lnTo>
                  <a:pt x="961" y="1111"/>
                </a:lnTo>
                <a:lnTo>
                  <a:pt x="961" y="1107"/>
                </a:lnTo>
                <a:lnTo>
                  <a:pt x="959" y="1103"/>
                </a:lnTo>
                <a:lnTo>
                  <a:pt x="955" y="1101"/>
                </a:lnTo>
                <a:lnTo>
                  <a:pt x="953" y="1096"/>
                </a:lnTo>
                <a:lnTo>
                  <a:pt x="948" y="1094"/>
                </a:lnTo>
                <a:lnTo>
                  <a:pt x="938" y="1094"/>
                </a:lnTo>
                <a:lnTo>
                  <a:pt x="927" y="1096"/>
                </a:lnTo>
                <a:lnTo>
                  <a:pt x="921" y="1099"/>
                </a:lnTo>
                <a:lnTo>
                  <a:pt x="917" y="1101"/>
                </a:lnTo>
                <a:lnTo>
                  <a:pt x="910" y="1105"/>
                </a:lnTo>
                <a:lnTo>
                  <a:pt x="906" y="1109"/>
                </a:lnTo>
                <a:lnTo>
                  <a:pt x="898" y="1120"/>
                </a:lnTo>
                <a:lnTo>
                  <a:pt x="893" y="1124"/>
                </a:lnTo>
                <a:lnTo>
                  <a:pt x="889" y="1130"/>
                </a:lnTo>
                <a:lnTo>
                  <a:pt x="883" y="1145"/>
                </a:lnTo>
                <a:lnTo>
                  <a:pt x="878" y="1162"/>
                </a:lnTo>
                <a:lnTo>
                  <a:pt x="878" y="1170"/>
                </a:lnTo>
                <a:lnTo>
                  <a:pt x="876" y="1179"/>
                </a:lnTo>
                <a:lnTo>
                  <a:pt x="878" y="1194"/>
                </a:lnTo>
                <a:lnTo>
                  <a:pt x="878" y="1200"/>
                </a:lnTo>
                <a:lnTo>
                  <a:pt x="881" y="1206"/>
                </a:lnTo>
                <a:lnTo>
                  <a:pt x="887" y="1219"/>
                </a:lnTo>
                <a:lnTo>
                  <a:pt x="893" y="1230"/>
                </a:lnTo>
                <a:lnTo>
                  <a:pt x="902" y="1238"/>
                </a:lnTo>
                <a:lnTo>
                  <a:pt x="906" y="1242"/>
                </a:lnTo>
                <a:lnTo>
                  <a:pt x="910" y="1245"/>
                </a:lnTo>
                <a:lnTo>
                  <a:pt x="923" y="1249"/>
                </a:lnTo>
                <a:lnTo>
                  <a:pt x="929" y="1249"/>
                </a:lnTo>
                <a:lnTo>
                  <a:pt x="936" y="1251"/>
                </a:lnTo>
                <a:lnTo>
                  <a:pt x="948" y="1249"/>
                </a:lnTo>
                <a:lnTo>
                  <a:pt x="959" y="1245"/>
                </a:lnTo>
                <a:lnTo>
                  <a:pt x="965" y="1242"/>
                </a:lnTo>
                <a:lnTo>
                  <a:pt x="969" y="1240"/>
                </a:lnTo>
                <a:lnTo>
                  <a:pt x="980" y="1232"/>
                </a:lnTo>
                <a:lnTo>
                  <a:pt x="991" y="1223"/>
                </a:lnTo>
                <a:lnTo>
                  <a:pt x="999" y="1213"/>
                </a:lnTo>
                <a:lnTo>
                  <a:pt x="1008" y="1200"/>
                </a:lnTo>
                <a:lnTo>
                  <a:pt x="1014" y="1187"/>
                </a:lnTo>
                <a:lnTo>
                  <a:pt x="1020" y="1175"/>
                </a:lnTo>
                <a:lnTo>
                  <a:pt x="1025" y="1160"/>
                </a:lnTo>
                <a:lnTo>
                  <a:pt x="1029" y="1145"/>
                </a:lnTo>
                <a:lnTo>
                  <a:pt x="1033" y="1132"/>
                </a:lnTo>
                <a:lnTo>
                  <a:pt x="1035" y="1118"/>
                </a:lnTo>
                <a:lnTo>
                  <a:pt x="1037" y="1103"/>
                </a:lnTo>
                <a:lnTo>
                  <a:pt x="1037" y="1090"/>
                </a:lnTo>
                <a:lnTo>
                  <a:pt x="1037" y="1077"/>
                </a:lnTo>
                <a:lnTo>
                  <a:pt x="1039" y="1073"/>
                </a:lnTo>
                <a:lnTo>
                  <a:pt x="1041" y="1071"/>
                </a:lnTo>
                <a:lnTo>
                  <a:pt x="1046" y="1069"/>
                </a:lnTo>
                <a:lnTo>
                  <a:pt x="1050" y="1069"/>
                </a:lnTo>
                <a:lnTo>
                  <a:pt x="1058" y="1071"/>
                </a:lnTo>
                <a:lnTo>
                  <a:pt x="1063" y="1073"/>
                </a:lnTo>
                <a:lnTo>
                  <a:pt x="1065" y="1075"/>
                </a:lnTo>
                <a:lnTo>
                  <a:pt x="1069" y="1082"/>
                </a:lnTo>
                <a:lnTo>
                  <a:pt x="1071" y="1088"/>
                </a:lnTo>
                <a:lnTo>
                  <a:pt x="1071" y="1094"/>
                </a:lnTo>
                <a:lnTo>
                  <a:pt x="1071" y="1113"/>
                </a:lnTo>
                <a:lnTo>
                  <a:pt x="1067" y="1132"/>
                </a:lnTo>
                <a:lnTo>
                  <a:pt x="1065" y="1149"/>
                </a:lnTo>
                <a:lnTo>
                  <a:pt x="1061" y="1166"/>
                </a:lnTo>
                <a:lnTo>
                  <a:pt x="1054" y="1183"/>
                </a:lnTo>
                <a:lnTo>
                  <a:pt x="1048" y="1200"/>
                </a:lnTo>
                <a:lnTo>
                  <a:pt x="1039" y="1215"/>
                </a:lnTo>
                <a:lnTo>
                  <a:pt x="1031" y="1228"/>
                </a:lnTo>
                <a:lnTo>
                  <a:pt x="1022" y="1240"/>
                </a:lnTo>
                <a:lnTo>
                  <a:pt x="1016" y="1247"/>
                </a:lnTo>
                <a:lnTo>
                  <a:pt x="1012" y="1253"/>
                </a:lnTo>
                <a:lnTo>
                  <a:pt x="1001" y="1262"/>
                </a:lnTo>
                <a:lnTo>
                  <a:pt x="989" y="1270"/>
                </a:lnTo>
                <a:lnTo>
                  <a:pt x="976" y="1276"/>
                </a:lnTo>
                <a:lnTo>
                  <a:pt x="963" y="1283"/>
                </a:lnTo>
                <a:lnTo>
                  <a:pt x="948" y="1285"/>
                </a:lnTo>
                <a:lnTo>
                  <a:pt x="934" y="1287"/>
                </a:lnTo>
                <a:close/>
                <a:moveTo>
                  <a:pt x="1164" y="1283"/>
                </a:moveTo>
                <a:lnTo>
                  <a:pt x="1160" y="1281"/>
                </a:lnTo>
                <a:lnTo>
                  <a:pt x="1152" y="1274"/>
                </a:lnTo>
                <a:lnTo>
                  <a:pt x="1135" y="1259"/>
                </a:lnTo>
                <a:lnTo>
                  <a:pt x="1113" y="1240"/>
                </a:lnTo>
                <a:lnTo>
                  <a:pt x="1096" y="1219"/>
                </a:lnTo>
                <a:lnTo>
                  <a:pt x="1088" y="1211"/>
                </a:lnTo>
                <a:lnTo>
                  <a:pt x="1084" y="1204"/>
                </a:lnTo>
                <a:lnTo>
                  <a:pt x="1080" y="1192"/>
                </a:lnTo>
                <a:lnTo>
                  <a:pt x="1077" y="1185"/>
                </a:lnTo>
                <a:lnTo>
                  <a:pt x="1077" y="1179"/>
                </a:lnTo>
                <a:lnTo>
                  <a:pt x="1077" y="1173"/>
                </a:lnTo>
                <a:lnTo>
                  <a:pt x="1080" y="1166"/>
                </a:lnTo>
                <a:lnTo>
                  <a:pt x="1084" y="1158"/>
                </a:lnTo>
                <a:lnTo>
                  <a:pt x="1088" y="1149"/>
                </a:lnTo>
                <a:lnTo>
                  <a:pt x="1101" y="1135"/>
                </a:lnTo>
                <a:lnTo>
                  <a:pt x="1118" y="1115"/>
                </a:lnTo>
                <a:lnTo>
                  <a:pt x="1160" y="1067"/>
                </a:lnTo>
                <a:lnTo>
                  <a:pt x="1166" y="1067"/>
                </a:lnTo>
                <a:lnTo>
                  <a:pt x="1173" y="1069"/>
                </a:lnTo>
                <a:lnTo>
                  <a:pt x="1177" y="1073"/>
                </a:lnTo>
                <a:lnTo>
                  <a:pt x="1181" y="1079"/>
                </a:lnTo>
                <a:lnTo>
                  <a:pt x="1183" y="1086"/>
                </a:lnTo>
                <a:lnTo>
                  <a:pt x="1181" y="1092"/>
                </a:lnTo>
                <a:lnTo>
                  <a:pt x="1179" y="1094"/>
                </a:lnTo>
                <a:lnTo>
                  <a:pt x="1177" y="1099"/>
                </a:lnTo>
                <a:lnTo>
                  <a:pt x="1147" y="1132"/>
                </a:lnTo>
                <a:lnTo>
                  <a:pt x="1130" y="1154"/>
                </a:lnTo>
                <a:lnTo>
                  <a:pt x="1118" y="1168"/>
                </a:lnTo>
                <a:lnTo>
                  <a:pt x="1113" y="1173"/>
                </a:lnTo>
                <a:lnTo>
                  <a:pt x="1113" y="1179"/>
                </a:lnTo>
                <a:lnTo>
                  <a:pt x="1113" y="1183"/>
                </a:lnTo>
                <a:lnTo>
                  <a:pt x="1118" y="1190"/>
                </a:lnTo>
                <a:lnTo>
                  <a:pt x="1128" y="1202"/>
                </a:lnTo>
                <a:lnTo>
                  <a:pt x="1145" y="1219"/>
                </a:lnTo>
                <a:lnTo>
                  <a:pt x="1164" y="1238"/>
                </a:lnTo>
                <a:lnTo>
                  <a:pt x="1183" y="1257"/>
                </a:lnTo>
                <a:lnTo>
                  <a:pt x="1185" y="1259"/>
                </a:lnTo>
                <a:lnTo>
                  <a:pt x="1185" y="1262"/>
                </a:lnTo>
                <a:lnTo>
                  <a:pt x="1185" y="1266"/>
                </a:lnTo>
                <a:lnTo>
                  <a:pt x="1183" y="1268"/>
                </a:lnTo>
                <a:lnTo>
                  <a:pt x="1179" y="1276"/>
                </a:lnTo>
                <a:lnTo>
                  <a:pt x="1173" y="1281"/>
                </a:lnTo>
                <a:lnTo>
                  <a:pt x="1168" y="1283"/>
                </a:lnTo>
                <a:lnTo>
                  <a:pt x="1164" y="1283"/>
                </a:lnTo>
                <a:close/>
                <a:moveTo>
                  <a:pt x="934" y="1877"/>
                </a:moveTo>
                <a:lnTo>
                  <a:pt x="925" y="1877"/>
                </a:lnTo>
                <a:lnTo>
                  <a:pt x="917" y="1875"/>
                </a:lnTo>
                <a:lnTo>
                  <a:pt x="908" y="1873"/>
                </a:lnTo>
                <a:lnTo>
                  <a:pt x="900" y="1869"/>
                </a:lnTo>
                <a:lnTo>
                  <a:pt x="891" y="1865"/>
                </a:lnTo>
                <a:lnTo>
                  <a:pt x="883" y="1861"/>
                </a:lnTo>
                <a:lnTo>
                  <a:pt x="876" y="1854"/>
                </a:lnTo>
                <a:lnTo>
                  <a:pt x="870" y="1848"/>
                </a:lnTo>
                <a:lnTo>
                  <a:pt x="864" y="1839"/>
                </a:lnTo>
                <a:lnTo>
                  <a:pt x="859" y="1831"/>
                </a:lnTo>
                <a:lnTo>
                  <a:pt x="851" y="1814"/>
                </a:lnTo>
                <a:lnTo>
                  <a:pt x="847" y="1803"/>
                </a:lnTo>
                <a:lnTo>
                  <a:pt x="845" y="1793"/>
                </a:lnTo>
                <a:lnTo>
                  <a:pt x="845" y="1782"/>
                </a:lnTo>
                <a:lnTo>
                  <a:pt x="842" y="1772"/>
                </a:lnTo>
                <a:lnTo>
                  <a:pt x="845" y="1761"/>
                </a:lnTo>
                <a:lnTo>
                  <a:pt x="845" y="1748"/>
                </a:lnTo>
                <a:lnTo>
                  <a:pt x="847" y="1738"/>
                </a:lnTo>
                <a:lnTo>
                  <a:pt x="851" y="1727"/>
                </a:lnTo>
                <a:lnTo>
                  <a:pt x="855" y="1719"/>
                </a:lnTo>
                <a:lnTo>
                  <a:pt x="859" y="1708"/>
                </a:lnTo>
                <a:lnTo>
                  <a:pt x="866" y="1700"/>
                </a:lnTo>
                <a:lnTo>
                  <a:pt x="872" y="1691"/>
                </a:lnTo>
                <a:lnTo>
                  <a:pt x="878" y="1683"/>
                </a:lnTo>
                <a:lnTo>
                  <a:pt x="885" y="1676"/>
                </a:lnTo>
                <a:lnTo>
                  <a:pt x="893" y="1670"/>
                </a:lnTo>
                <a:lnTo>
                  <a:pt x="902" y="1666"/>
                </a:lnTo>
                <a:lnTo>
                  <a:pt x="910" y="1662"/>
                </a:lnTo>
                <a:lnTo>
                  <a:pt x="921" y="1657"/>
                </a:lnTo>
                <a:lnTo>
                  <a:pt x="929" y="1655"/>
                </a:lnTo>
                <a:lnTo>
                  <a:pt x="940" y="1655"/>
                </a:lnTo>
                <a:lnTo>
                  <a:pt x="953" y="1657"/>
                </a:lnTo>
                <a:lnTo>
                  <a:pt x="957" y="1657"/>
                </a:lnTo>
                <a:lnTo>
                  <a:pt x="963" y="1659"/>
                </a:lnTo>
                <a:lnTo>
                  <a:pt x="972" y="1666"/>
                </a:lnTo>
                <a:lnTo>
                  <a:pt x="980" y="1672"/>
                </a:lnTo>
                <a:lnTo>
                  <a:pt x="986" y="1681"/>
                </a:lnTo>
                <a:lnTo>
                  <a:pt x="991" y="1689"/>
                </a:lnTo>
                <a:lnTo>
                  <a:pt x="993" y="1702"/>
                </a:lnTo>
                <a:lnTo>
                  <a:pt x="993" y="1712"/>
                </a:lnTo>
                <a:lnTo>
                  <a:pt x="993" y="1721"/>
                </a:lnTo>
                <a:lnTo>
                  <a:pt x="991" y="1727"/>
                </a:lnTo>
                <a:lnTo>
                  <a:pt x="989" y="1736"/>
                </a:lnTo>
                <a:lnTo>
                  <a:pt x="986" y="1742"/>
                </a:lnTo>
                <a:lnTo>
                  <a:pt x="982" y="1748"/>
                </a:lnTo>
                <a:lnTo>
                  <a:pt x="978" y="1755"/>
                </a:lnTo>
                <a:lnTo>
                  <a:pt x="967" y="1767"/>
                </a:lnTo>
                <a:lnTo>
                  <a:pt x="961" y="1772"/>
                </a:lnTo>
                <a:lnTo>
                  <a:pt x="955" y="1776"/>
                </a:lnTo>
                <a:lnTo>
                  <a:pt x="942" y="1784"/>
                </a:lnTo>
                <a:lnTo>
                  <a:pt x="934" y="1786"/>
                </a:lnTo>
                <a:lnTo>
                  <a:pt x="927" y="1789"/>
                </a:lnTo>
                <a:lnTo>
                  <a:pt x="910" y="1791"/>
                </a:lnTo>
                <a:lnTo>
                  <a:pt x="906" y="1789"/>
                </a:lnTo>
                <a:lnTo>
                  <a:pt x="902" y="1786"/>
                </a:lnTo>
                <a:lnTo>
                  <a:pt x="900" y="1784"/>
                </a:lnTo>
                <a:lnTo>
                  <a:pt x="898" y="1782"/>
                </a:lnTo>
                <a:lnTo>
                  <a:pt x="898" y="1778"/>
                </a:lnTo>
                <a:lnTo>
                  <a:pt x="895" y="1772"/>
                </a:lnTo>
                <a:lnTo>
                  <a:pt x="895" y="1765"/>
                </a:lnTo>
                <a:lnTo>
                  <a:pt x="898" y="1763"/>
                </a:lnTo>
                <a:lnTo>
                  <a:pt x="900" y="1761"/>
                </a:lnTo>
                <a:lnTo>
                  <a:pt x="912" y="1759"/>
                </a:lnTo>
                <a:lnTo>
                  <a:pt x="925" y="1753"/>
                </a:lnTo>
                <a:lnTo>
                  <a:pt x="936" y="1748"/>
                </a:lnTo>
                <a:lnTo>
                  <a:pt x="944" y="1740"/>
                </a:lnTo>
                <a:lnTo>
                  <a:pt x="953" y="1734"/>
                </a:lnTo>
                <a:lnTo>
                  <a:pt x="955" y="1729"/>
                </a:lnTo>
                <a:lnTo>
                  <a:pt x="957" y="1725"/>
                </a:lnTo>
                <a:lnTo>
                  <a:pt x="961" y="1717"/>
                </a:lnTo>
                <a:lnTo>
                  <a:pt x="961" y="1708"/>
                </a:lnTo>
                <a:lnTo>
                  <a:pt x="961" y="1704"/>
                </a:lnTo>
                <a:lnTo>
                  <a:pt x="961" y="1698"/>
                </a:lnTo>
                <a:lnTo>
                  <a:pt x="959" y="1695"/>
                </a:lnTo>
                <a:lnTo>
                  <a:pt x="955" y="1691"/>
                </a:lnTo>
                <a:lnTo>
                  <a:pt x="953" y="1689"/>
                </a:lnTo>
                <a:lnTo>
                  <a:pt x="948" y="1687"/>
                </a:lnTo>
                <a:lnTo>
                  <a:pt x="938" y="1685"/>
                </a:lnTo>
                <a:lnTo>
                  <a:pt x="927" y="1687"/>
                </a:lnTo>
                <a:lnTo>
                  <a:pt x="921" y="1689"/>
                </a:lnTo>
                <a:lnTo>
                  <a:pt x="917" y="1691"/>
                </a:lnTo>
                <a:lnTo>
                  <a:pt x="910" y="1695"/>
                </a:lnTo>
                <a:lnTo>
                  <a:pt x="906" y="1700"/>
                </a:lnTo>
                <a:lnTo>
                  <a:pt x="898" y="1710"/>
                </a:lnTo>
                <a:lnTo>
                  <a:pt x="893" y="1717"/>
                </a:lnTo>
                <a:lnTo>
                  <a:pt x="889" y="1723"/>
                </a:lnTo>
                <a:lnTo>
                  <a:pt x="883" y="1738"/>
                </a:lnTo>
                <a:lnTo>
                  <a:pt x="878" y="1753"/>
                </a:lnTo>
                <a:lnTo>
                  <a:pt x="878" y="1761"/>
                </a:lnTo>
                <a:lnTo>
                  <a:pt x="876" y="1770"/>
                </a:lnTo>
                <a:lnTo>
                  <a:pt x="878" y="1784"/>
                </a:lnTo>
                <a:lnTo>
                  <a:pt x="878" y="1793"/>
                </a:lnTo>
                <a:lnTo>
                  <a:pt x="881" y="1799"/>
                </a:lnTo>
                <a:lnTo>
                  <a:pt x="887" y="1812"/>
                </a:lnTo>
                <a:lnTo>
                  <a:pt x="893" y="1822"/>
                </a:lnTo>
                <a:lnTo>
                  <a:pt x="902" y="1831"/>
                </a:lnTo>
                <a:lnTo>
                  <a:pt x="906" y="1833"/>
                </a:lnTo>
                <a:lnTo>
                  <a:pt x="910" y="1837"/>
                </a:lnTo>
                <a:lnTo>
                  <a:pt x="923" y="1841"/>
                </a:lnTo>
                <a:lnTo>
                  <a:pt x="929" y="1841"/>
                </a:lnTo>
                <a:lnTo>
                  <a:pt x="936" y="1841"/>
                </a:lnTo>
                <a:lnTo>
                  <a:pt x="948" y="1841"/>
                </a:lnTo>
                <a:lnTo>
                  <a:pt x="959" y="1837"/>
                </a:lnTo>
                <a:lnTo>
                  <a:pt x="965" y="1835"/>
                </a:lnTo>
                <a:lnTo>
                  <a:pt x="969" y="1831"/>
                </a:lnTo>
                <a:lnTo>
                  <a:pt x="980" y="1825"/>
                </a:lnTo>
                <a:lnTo>
                  <a:pt x="991" y="1814"/>
                </a:lnTo>
                <a:lnTo>
                  <a:pt x="999" y="1803"/>
                </a:lnTo>
                <a:lnTo>
                  <a:pt x="1008" y="1793"/>
                </a:lnTo>
                <a:lnTo>
                  <a:pt x="1014" y="1780"/>
                </a:lnTo>
                <a:lnTo>
                  <a:pt x="1020" y="1765"/>
                </a:lnTo>
                <a:lnTo>
                  <a:pt x="1025" y="1753"/>
                </a:lnTo>
                <a:lnTo>
                  <a:pt x="1029" y="1738"/>
                </a:lnTo>
                <a:lnTo>
                  <a:pt x="1033" y="1723"/>
                </a:lnTo>
                <a:lnTo>
                  <a:pt x="1035" y="1708"/>
                </a:lnTo>
                <a:lnTo>
                  <a:pt x="1037" y="1695"/>
                </a:lnTo>
                <a:lnTo>
                  <a:pt x="1037" y="1681"/>
                </a:lnTo>
                <a:lnTo>
                  <a:pt x="1037" y="1668"/>
                </a:lnTo>
                <a:lnTo>
                  <a:pt x="1039" y="1666"/>
                </a:lnTo>
                <a:lnTo>
                  <a:pt x="1041" y="1664"/>
                </a:lnTo>
                <a:lnTo>
                  <a:pt x="1046" y="1662"/>
                </a:lnTo>
                <a:lnTo>
                  <a:pt x="1050" y="1662"/>
                </a:lnTo>
                <a:lnTo>
                  <a:pt x="1058" y="1662"/>
                </a:lnTo>
                <a:lnTo>
                  <a:pt x="1063" y="1664"/>
                </a:lnTo>
                <a:lnTo>
                  <a:pt x="1065" y="1666"/>
                </a:lnTo>
                <a:lnTo>
                  <a:pt x="1069" y="1674"/>
                </a:lnTo>
                <a:lnTo>
                  <a:pt x="1071" y="1681"/>
                </a:lnTo>
                <a:lnTo>
                  <a:pt x="1071" y="1687"/>
                </a:lnTo>
                <a:lnTo>
                  <a:pt x="1071" y="1706"/>
                </a:lnTo>
                <a:lnTo>
                  <a:pt x="1067" y="1723"/>
                </a:lnTo>
                <a:lnTo>
                  <a:pt x="1065" y="1742"/>
                </a:lnTo>
                <a:lnTo>
                  <a:pt x="1061" y="1759"/>
                </a:lnTo>
                <a:lnTo>
                  <a:pt x="1054" y="1776"/>
                </a:lnTo>
                <a:lnTo>
                  <a:pt x="1048" y="1791"/>
                </a:lnTo>
                <a:lnTo>
                  <a:pt x="1039" y="1805"/>
                </a:lnTo>
                <a:lnTo>
                  <a:pt x="1031" y="1820"/>
                </a:lnTo>
                <a:lnTo>
                  <a:pt x="1022" y="1833"/>
                </a:lnTo>
                <a:lnTo>
                  <a:pt x="1016" y="1839"/>
                </a:lnTo>
                <a:lnTo>
                  <a:pt x="1012" y="1844"/>
                </a:lnTo>
                <a:lnTo>
                  <a:pt x="1001" y="1854"/>
                </a:lnTo>
                <a:lnTo>
                  <a:pt x="989" y="1863"/>
                </a:lnTo>
                <a:lnTo>
                  <a:pt x="976" y="1869"/>
                </a:lnTo>
                <a:lnTo>
                  <a:pt x="963" y="1873"/>
                </a:lnTo>
                <a:lnTo>
                  <a:pt x="948" y="1877"/>
                </a:lnTo>
                <a:lnTo>
                  <a:pt x="934" y="1877"/>
                </a:lnTo>
                <a:close/>
                <a:moveTo>
                  <a:pt x="1164" y="1873"/>
                </a:moveTo>
                <a:lnTo>
                  <a:pt x="1160" y="1871"/>
                </a:lnTo>
                <a:lnTo>
                  <a:pt x="1152" y="1867"/>
                </a:lnTo>
                <a:lnTo>
                  <a:pt x="1135" y="1852"/>
                </a:lnTo>
                <a:lnTo>
                  <a:pt x="1113" y="1831"/>
                </a:lnTo>
                <a:lnTo>
                  <a:pt x="1096" y="1812"/>
                </a:lnTo>
                <a:lnTo>
                  <a:pt x="1088" y="1803"/>
                </a:lnTo>
                <a:lnTo>
                  <a:pt x="1084" y="1795"/>
                </a:lnTo>
                <a:lnTo>
                  <a:pt x="1080" y="1784"/>
                </a:lnTo>
                <a:lnTo>
                  <a:pt x="1077" y="1778"/>
                </a:lnTo>
                <a:lnTo>
                  <a:pt x="1077" y="1772"/>
                </a:lnTo>
                <a:lnTo>
                  <a:pt x="1077" y="1765"/>
                </a:lnTo>
                <a:lnTo>
                  <a:pt x="1080" y="1757"/>
                </a:lnTo>
                <a:lnTo>
                  <a:pt x="1084" y="1750"/>
                </a:lnTo>
                <a:lnTo>
                  <a:pt x="1088" y="1742"/>
                </a:lnTo>
                <a:lnTo>
                  <a:pt x="1101" y="1727"/>
                </a:lnTo>
                <a:lnTo>
                  <a:pt x="1118" y="1706"/>
                </a:lnTo>
                <a:lnTo>
                  <a:pt x="1160" y="1659"/>
                </a:lnTo>
                <a:lnTo>
                  <a:pt x="1166" y="1659"/>
                </a:lnTo>
                <a:lnTo>
                  <a:pt x="1173" y="1662"/>
                </a:lnTo>
                <a:lnTo>
                  <a:pt x="1177" y="1666"/>
                </a:lnTo>
                <a:lnTo>
                  <a:pt x="1181" y="1672"/>
                </a:lnTo>
                <a:lnTo>
                  <a:pt x="1183" y="1676"/>
                </a:lnTo>
                <a:lnTo>
                  <a:pt x="1181" y="1683"/>
                </a:lnTo>
                <a:lnTo>
                  <a:pt x="1179" y="1687"/>
                </a:lnTo>
                <a:lnTo>
                  <a:pt x="1177" y="1691"/>
                </a:lnTo>
                <a:lnTo>
                  <a:pt x="1147" y="1725"/>
                </a:lnTo>
                <a:lnTo>
                  <a:pt x="1130" y="1744"/>
                </a:lnTo>
                <a:lnTo>
                  <a:pt x="1118" y="1761"/>
                </a:lnTo>
                <a:lnTo>
                  <a:pt x="1113" y="1765"/>
                </a:lnTo>
                <a:lnTo>
                  <a:pt x="1113" y="1770"/>
                </a:lnTo>
                <a:lnTo>
                  <a:pt x="1113" y="1776"/>
                </a:lnTo>
                <a:lnTo>
                  <a:pt x="1118" y="1780"/>
                </a:lnTo>
                <a:lnTo>
                  <a:pt x="1128" y="1793"/>
                </a:lnTo>
                <a:lnTo>
                  <a:pt x="1145" y="1810"/>
                </a:lnTo>
                <a:lnTo>
                  <a:pt x="1164" y="1831"/>
                </a:lnTo>
                <a:lnTo>
                  <a:pt x="1183" y="1848"/>
                </a:lnTo>
                <a:lnTo>
                  <a:pt x="1185" y="1850"/>
                </a:lnTo>
                <a:lnTo>
                  <a:pt x="1185" y="1854"/>
                </a:lnTo>
                <a:lnTo>
                  <a:pt x="1185" y="1856"/>
                </a:lnTo>
                <a:lnTo>
                  <a:pt x="1183" y="1861"/>
                </a:lnTo>
                <a:lnTo>
                  <a:pt x="1179" y="1867"/>
                </a:lnTo>
                <a:lnTo>
                  <a:pt x="1173" y="1873"/>
                </a:lnTo>
                <a:lnTo>
                  <a:pt x="1168" y="1873"/>
                </a:lnTo>
                <a:lnTo>
                  <a:pt x="1164" y="1873"/>
                </a:lnTo>
                <a:close/>
                <a:moveTo>
                  <a:pt x="3215" y="694"/>
                </a:moveTo>
                <a:lnTo>
                  <a:pt x="3205" y="694"/>
                </a:lnTo>
                <a:lnTo>
                  <a:pt x="3196" y="692"/>
                </a:lnTo>
                <a:lnTo>
                  <a:pt x="3188" y="690"/>
                </a:lnTo>
                <a:lnTo>
                  <a:pt x="3179" y="686"/>
                </a:lnTo>
                <a:lnTo>
                  <a:pt x="3171" y="682"/>
                </a:lnTo>
                <a:lnTo>
                  <a:pt x="3165" y="677"/>
                </a:lnTo>
                <a:lnTo>
                  <a:pt x="3158" y="671"/>
                </a:lnTo>
                <a:lnTo>
                  <a:pt x="3152" y="663"/>
                </a:lnTo>
                <a:lnTo>
                  <a:pt x="3146" y="656"/>
                </a:lnTo>
                <a:lnTo>
                  <a:pt x="3139" y="648"/>
                </a:lnTo>
                <a:lnTo>
                  <a:pt x="3131" y="631"/>
                </a:lnTo>
                <a:lnTo>
                  <a:pt x="3129" y="620"/>
                </a:lnTo>
                <a:lnTo>
                  <a:pt x="3126" y="610"/>
                </a:lnTo>
                <a:lnTo>
                  <a:pt x="3124" y="599"/>
                </a:lnTo>
                <a:lnTo>
                  <a:pt x="3124" y="588"/>
                </a:lnTo>
                <a:lnTo>
                  <a:pt x="3124" y="578"/>
                </a:lnTo>
                <a:lnTo>
                  <a:pt x="3126" y="565"/>
                </a:lnTo>
                <a:lnTo>
                  <a:pt x="3129" y="555"/>
                </a:lnTo>
                <a:lnTo>
                  <a:pt x="3133" y="544"/>
                </a:lnTo>
                <a:lnTo>
                  <a:pt x="3135" y="533"/>
                </a:lnTo>
                <a:lnTo>
                  <a:pt x="3141" y="525"/>
                </a:lnTo>
                <a:lnTo>
                  <a:pt x="3146" y="516"/>
                </a:lnTo>
                <a:lnTo>
                  <a:pt x="3152" y="508"/>
                </a:lnTo>
                <a:lnTo>
                  <a:pt x="3158" y="500"/>
                </a:lnTo>
                <a:lnTo>
                  <a:pt x="3167" y="493"/>
                </a:lnTo>
                <a:lnTo>
                  <a:pt x="3175" y="487"/>
                </a:lnTo>
                <a:lnTo>
                  <a:pt x="3184" y="483"/>
                </a:lnTo>
                <a:lnTo>
                  <a:pt x="3192" y="478"/>
                </a:lnTo>
                <a:lnTo>
                  <a:pt x="3201" y="474"/>
                </a:lnTo>
                <a:lnTo>
                  <a:pt x="3211" y="472"/>
                </a:lnTo>
                <a:lnTo>
                  <a:pt x="3222" y="472"/>
                </a:lnTo>
                <a:lnTo>
                  <a:pt x="3232" y="474"/>
                </a:lnTo>
                <a:lnTo>
                  <a:pt x="3239" y="474"/>
                </a:lnTo>
                <a:lnTo>
                  <a:pt x="3243" y="476"/>
                </a:lnTo>
                <a:lnTo>
                  <a:pt x="3253" y="480"/>
                </a:lnTo>
                <a:lnTo>
                  <a:pt x="3260" y="489"/>
                </a:lnTo>
                <a:lnTo>
                  <a:pt x="3266" y="497"/>
                </a:lnTo>
                <a:lnTo>
                  <a:pt x="3270" y="506"/>
                </a:lnTo>
                <a:lnTo>
                  <a:pt x="3273" y="516"/>
                </a:lnTo>
                <a:lnTo>
                  <a:pt x="3275" y="529"/>
                </a:lnTo>
                <a:lnTo>
                  <a:pt x="3275" y="538"/>
                </a:lnTo>
                <a:lnTo>
                  <a:pt x="3273" y="544"/>
                </a:lnTo>
                <a:lnTo>
                  <a:pt x="3270" y="550"/>
                </a:lnTo>
                <a:lnTo>
                  <a:pt x="3268" y="559"/>
                </a:lnTo>
                <a:lnTo>
                  <a:pt x="3264" y="565"/>
                </a:lnTo>
                <a:lnTo>
                  <a:pt x="3260" y="571"/>
                </a:lnTo>
                <a:lnTo>
                  <a:pt x="3249" y="582"/>
                </a:lnTo>
                <a:lnTo>
                  <a:pt x="3243" y="588"/>
                </a:lnTo>
                <a:lnTo>
                  <a:pt x="3237" y="593"/>
                </a:lnTo>
                <a:lnTo>
                  <a:pt x="3222" y="601"/>
                </a:lnTo>
                <a:lnTo>
                  <a:pt x="3215" y="603"/>
                </a:lnTo>
                <a:lnTo>
                  <a:pt x="3207" y="605"/>
                </a:lnTo>
                <a:lnTo>
                  <a:pt x="3192" y="607"/>
                </a:lnTo>
                <a:lnTo>
                  <a:pt x="3186" y="605"/>
                </a:lnTo>
                <a:lnTo>
                  <a:pt x="3184" y="603"/>
                </a:lnTo>
                <a:lnTo>
                  <a:pt x="3182" y="601"/>
                </a:lnTo>
                <a:lnTo>
                  <a:pt x="3179" y="599"/>
                </a:lnTo>
                <a:lnTo>
                  <a:pt x="3177" y="595"/>
                </a:lnTo>
                <a:lnTo>
                  <a:pt x="3175" y="588"/>
                </a:lnTo>
                <a:lnTo>
                  <a:pt x="3177" y="582"/>
                </a:lnTo>
                <a:lnTo>
                  <a:pt x="3179" y="580"/>
                </a:lnTo>
                <a:lnTo>
                  <a:pt x="3182" y="578"/>
                </a:lnTo>
                <a:lnTo>
                  <a:pt x="3194" y="574"/>
                </a:lnTo>
                <a:lnTo>
                  <a:pt x="3205" y="569"/>
                </a:lnTo>
                <a:lnTo>
                  <a:pt x="3215" y="565"/>
                </a:lnTo>
                <a:lnTo>
                  <a:pt x="3226" y="557"/>
                </a:lnTo>
                <a:lnTo>
                  <a:pt x="3232" y="550"/>
                </a:lnTo>
                <a:lnTo>
                  <a:pt x="3237" y="546"/>
                </a:lnTo>
                <a:lnTo>
                  <a:pt x="3239" y="542"/>
                </a:lnTo>
                <a:lnTo>
                  <a:pt x="3241" y="533"/>
                </a:lnTo>
                <a:lnTo>
                  <a:pt x="3243" y="525"/>
                </a:lnTo>
                <a:lnTo>
                  <a:pt x="3243" y="519"/>
                </a:lnTo>
                <a:lnTo>
                  <a:pt x="3241" y="514"/>
                </a:lnTo>
                <a:lnTo>
                  <a:pt x="3239" y="512"/>
                </a:lnTo>
                <a:lnTo>
                  <a:pt x="3237" y="508"/>
                </a:lnTo>
                <a:lnTo>
                  <a:pt x="3232" y="506"/>
                </a:lnTo>
                <a:lnTo>
                  <a:pt x="3228" y="504"/>
                </a:lnTo>
                <a:lnTo>
                  <a:pt x="3218" y="502"/>
                </a:lnTo>
                <a:lnTo>
                  <a:pt x="3207" y="504"/>
                </a:lnTo>
                <a:lnTo>
                  <a:pt x="3203" y="506"/>
                </a:lnTo>
                <a:lnTo>
                  <a:pt x="3196" y="508"/>
                </a:lnTo>
                <a:lnTo>
                  <a:pt x="3192" y="512"/>
                </a:lnTo>
                <a:lnTo>
                  <a:pt x="3188" y="516"/>
                </a:lnTo>
                <a:lnTo>
                  <a:pt x="3177" y="527"/>
                </a:lnTo>
                <a:lnTo>
                  <a:pt x="3173" y="533"/>
                </a:lnTo>
                <a:lnTo>
                  <a:pt x="3169" y="540"/>
                </a:lnTo>
                <a:lnTo>
                  <a:pt x="3162" y="555"/>
                </a:lnTo>
                <a:lnTo>
                  <a:pt x="3160" y="569"/>
                </a:lnTo>
                <a:lnTo>
                  <a:pt x="3158" y="578"/>
                </a:lnTo>
                <a:lnTo>
                  <a:pt x="3158" y="586"/>
                </a:lnTo>
                <a:lnTo>
                  <a:pt x="3158" y="601"/>
                </a:lnTo>
                <a:lnTo>
                  <a:pt x="3160" y="610"/>
                </a:lnTo>
                <a:lnTo>
                  <a:pt x="3162" y="616"/>
                </a:lnTo>
                <a:lnTo>
                  <a:pt x="3167" y="629"/>
                </a:lnTo>
                <a:lnTo>
                  <a:pt x="3173" y="637"/>
                </a:lnTo>
                <a:lnTo>
                  <a:pt x="3182" y="648"/>
                </a:lnTo>
                <a:lnTo>
                  <a:pt x="3188" y="650"/>
                </a:lnTo>
                <a:lnTo>
                  <a:pt x="3192" y="654"/>
                </a:lnTo>
                <a:lnTo>
                  <a:pt x="3203" y="656"/>
                </a:lnTo>
                <a:lnTo>
                  <a:pt x="3209" y="658"/>
                </a:lnTo>
                <a:lnTo>
                  <a:pt x="3215" y="658"/>
                </a:lnTo>
                <a:lnTo>
                  <a:pt x="3228" y="656"/>
                </a:lnTo>
                <a:lnTo>
                  <a:pt x="3241" y="654"/>
                </a:lnTo>
                <a:lnTo>
                  <a:pt x="3245" y="652"/>
                </a:lnTo>
                <a:lnTo>
                  <a:pt x="3251" y="648"/>
                </a:lnTo>
                <a:lnTo>
                  <a:pt x="3262" y="641"/>
                </a:lnTo>
                <a:lnTo>
                  <a:pt x="3270" y="631"/>
                </a:lnTo>
                <a:lnTo>
                  <a:pt x="3279" y="620"/>
                </a:lnTo>
                <a:lnTo>
                  <a:pt x="3287" y="610"/>
                </a:lnTo>
                <a:lnTo>
                  <a:pt x="3294" y="597"/>
                </a:lnTo>
                <a:lnTo>
                  <a:pt x="3300" y="582"/>
                </a:lnTo>
                <a:lnTo>
                  <a:pt x="3306" y="569"/>
                </a:lnTo>
                <a:lnTo>
                  <a:pt x="3311" y="555"/>
                </a:lnTo>
                <a:lnTo>
                  <a:pt x="3313" y="540"/>
                </a:lnTo>
                <a:lnTo>
                  <a:pt x="3317" y="525"/>
                </a:lnTo>
                <a:lnTo>
                  <a:pt x="3317" y="510"/>
                </a:lnTo>
                <a:lnTo>
                  <a:pt x="3319" y="497"/>
                </a:lnTo>
                <a:lnTo>
                  <a:pt x="3317" y="485"/>
                </a:lnTo>
                <a:lnTo>
                  <a:pt x="3319" y="483"/>
                </a:lnTo>
                <a:lnTo>
                  <a:pt x="3323" y="480"/>
                </a:lnTo>
                <a:lnTo>
                  <a:pt x="3325" y="478"/>
                </a:lnTo>
                <a:lnTo>
                  <a:pt x="3332" y="478"/>
                </a:lnTo>
                <a:lnTo>
                  <a:pt x="3340" y="478"/>
                </a:lnTo>
                <a:lnTo>
                  <a:pt x="3342" y="480"/>
                </a:lnTo>
                <a:lnTo>
                  <a:pt x="3347" y="483"/>
                </a:lnTo>
                <a:lnTo>
                  <a:pt x="3351" y="491"/>
                </a:lnTo>
                <a:lnTo>
                  <a:pt x="3351" y="497"/>
                </a:lnTo>
                <a:lnTo>
                  <a:pt x="3351" y="504"/>
                </a:lnTo>
                <a:lnTo>
                  <a:pt x="3351" y="523"/>
                </a:lnTo>
                <a:lnTo>
                  <a:pt x="3349" y="540"/>
                </a:lnTo>
                <a:lnTo>
                  <a:pt x="3345" y="559"/>
                </a:lnTo>
                <a:lnTo>
                  <a:pt x="3340" y="576"/>
                </a:lnTo>
                <a:lnTo>
                  <a:pt x="3336" y="593"/>
                </a:lnTo>
                <a:lnTo>
                  <a:pt x="3330" y="607"/>
                </a:lnTo>
                <a:lnTo>
                  <a:pt x="3321" y="622"/>
                </a:lnTo>
                <a:lnTo>
                  <a:pt x="3313" y="637"/>
                </a:lnTo>
                <a:lnTo>
                  <a:pt x="3302" y="650"/>
                </a:lnTo>
                <a:lnTo>
                  <a:pt x="3298" y="654"/>
                </a:lnTo>
                <a:lnTo>
                  <a:pt x="3294" y="660"/>
                </a:lnTo>
                <a:lnTo>
                  <a:pt x="3281" y="671"/>
                </a:lnTo>
                <a:lnTo>
                  <a:pt x="3270" y="679"/>
                </a:lnTo>
                <a:lnTo>
                  <a:pt x="3258" y="686"/>
                </a:lnTo>
                <a:lnTo>
                  <a:pt x="3243" y="690"/>
                </a:lnTo>
                <a:lnTo>
                  <a:pt x="3230" y="694"/>
                </a:lnTo>
                <a:lnTo>
                  <a:pt x="3215" y="694"/>
                </a:lnTo>
                <a:close/>
                <a:moveTo>
                  <a:pt x="3446" y="690"/>
                </a:moveTo>
                <a:lnTo>
                  <a:pt x="3440" y="688"/>
                </a:lnTo>
                <a:lnTo>
                  <a:pt x="3431" y="684"/>
                </a:lnTo>
                <a:lnTo>
                  <a:pt x="3414" y="667"/>
                </a:lnTo>
                <a:lnTo>
                  <a:pt x="3395" y="648"/>
                </a:lnTo>
                <a:lnTo>
                  <a:pt x="3376" y="629"/>
                </a:lnTo>
                <a:lnTo>
                  <a:pt x="3370" y="618"/>
                </a:lnTo>
                <a:lnTo>
                  <a:pt x="3366" y="612"/>
                </a:lnTo>
                <a:lnTo>
                  <a:pt x="3359" y="599"/>
                </a:lnTo>
                <a:lnTo>
                  <a:pt x="3357" y="595"/>
                </a:lnTo>
                <a:lnTo>
                  <a:pt x="3357" y="588"/>
                </a:lnTo>
                <a:lnTo>
                  <a:pt x="3359" y="582"/>
                </a:lnTo>
                <a:lnTo>
                  <a:pt x="3361" y="574"/>
                </a:lnTo>
                <a:lnTo>
                  <a:pt x="3364" y="567"/>
                </a:lnTo>
                <a:lnTo>
                  <a:pt x="3370" y="559"/>
                </a:lnTo>
                <a:lnTo>
                  <a:pt x="3381" y="544"/>
                </a:lnTo>
                <a:lnTo>
                  <a:pt x="3400" y="523"/>
                </a:lnTo>
                <a:lnTo>
                  <a:pt x="3442" y="474"/>
                </a:lnTo>
                <a:lnTo>
                  <a:pt x="3446" y="476"/>
                </a:lnTo>
                <a:lnTo>
                  <a:pt x="3452" y="478"/>
                </a:lnTo>
                <a:lnTo>
                  <a:pt x="3459" y="483"/>
                </a:lnTo>
                <a:lnTo>
                  <a:pt x="3463" y="487"/>
                </a:lnTo>
                <a:lnTo>
                  <a:pt x="3463" y="493"/>
                </a:lnTo>
                <a:lnTo>
                  <a:pt x="3461" y="500"/>
                </a:lnTo>
                <a:lnTo>
                  <a:pt x="3461" y="504"/>
                </a:lnTo>
                <a:lnTo>
                  <a:pt x="3459" y="508"/>
                </a:lnTo>
                <a:lnTo>
                  <a:pt x="3429" y="542"/>
                </a:lnTo>
                <a:lnTo>
                  <a:pt x="3410" y="561"/>
                </a:lnTo>
                <a:lnTo>
                  <a:pt x="3397" y="578"/>
                </a:lnTo>
                <a:lnTo>
                  <a:pt x="3395" y="582"/>
                </a:lnTo>
                <a:lnTo>
                  <a:pt x="3393" y="586"/>
                </a:lnTo>
                <a:lnTo>
                  <a:pt x="3395" y="591"/>
                </a:lnTo>
                <a:lnTo>
                  <a:pt x="3397" y="597"/>
                </a:lnTo>
                <a:lnTo>
                  <a:pt x="3408" y="610"/>
                </a:lnTo>
                <a:lnTo>
                  <a:pt x="3425" y="627"/>
                </a:lnTo>
                <a:lnTo>
                  <a:pt x="3444" y="648"/>
                </a:lnTo>
                <a:lnTo>
                  <a:pt x="3463" y="665"/>
                </a:lnTo>
                <a:lnTo>
                  <a:pt x="3465" y="667"/>
                </a:lnTo>
                <a:lnTo>
                  <a:pt x="3467" y="671"/>
                </a:lnTo>
                <a:lnTo>
                  <a:pt x="3465" y="673"/>
                </a:lnTo>
                <a:lnTo>
                  <a:pt x="3465" y="677"/>
                </a:lnTo>
                <a:lnTo>
                  <a:pt x="3459" y="684"/>
                </a:lnTo>
                <a:lnTo>
                  <a:pt x="3452" y="688"/>
                </a:lnTo>
                <a:lnTo>
                  <a:pt x="3448" y="690"/>
                </a:lnTo>
                <a:lnTo>
                  <a:pt x="3446" y="690"/>
                </a:lnTo>
                <a:close/>
                <a:moveTo>
                  <a:pt x="3215" y="1287"/>
                </a:moveTo>
                <a:lnTo>
                  <a:pt x="3205" y="1285"/>
                </a:lnTo>
                <a:lnTo>
                  <a:pt x="3196" y="1285"/>
                </a:lnTo>
                <a:lnTo>
                  <a:pt x="3188" y="1281"/>
                </a:lnTo>
                <a:lnTo>
                  <a:pt x="3179" y="1278"/>
                </a:lnTo>
                <a:lnTo>
                  <a:pt x="3171" y="1274"/>
                </a:lnTo>
                <a:lnTo>
                  <a:pt x="3165" y="1268"/>
                </a:lnTo>
                <a:lnTo>
                  <a:pt x="3158" y="1262"/>
                </a:lnTo>
                <a:lnTo>
                  <a:pt x="3152" y="1255"/>
                </a:lnTo>
                <a:lnTo>
                  <a:pt x="3146" y="1247"/>
                </a:lnTo>
                <a:lnTo>
                  <a:pt x="3139" y="1240"/>
                </a:lnTo>
                <a:lnTo>
                  <a:pt x="3131" y="1221"/>
                </a:lnTo>
                <a:lnTo>
                  <a:pt x="3129" y="1211"/>
                </a:lnTo>
                <a:lnTo>
                  <a:pt x="3126" y="1202"/>
                </a:lnTo>
                <a:lnTo>
                  <a:pt x="3124" y="1192"/>
                </a:lnTo>
                <a:lnTo>
                  <a:pt x="3124" y="1179"/>
                </a:lnTo>
                <a:lnTo>
                  <a:pt x="3124" y="1168"/>
                </a:lnTo>
                <a:lnTo>
                  <a:pt x="3126" y="1158"/>
                </a:lnTo>
                <a:lnTo>
                  <a:pt x="3129" y="1147"/>
                </a:lnTo>
                <a:lnTo>
                  <a:pt x="3133" y="1137"/>
                </a:lnTo>
                <a:lnTo>
                  <a:pt x="3135" y="1126"/>
                </a:lnTo>
                <a:lnTo>
                  <a:pt x="3141" y="1115"/>
                </a:lnTo>
                <a:lnTo>
                  <a:pt x="3146" y="1107"/>
                </a:lnTo>
                <a:lnTo>
                  <a:pt x="3152" y="1099"/>
                </a:lnTo>
                <a:lnTo>
                  <a:pt x="3158" y="1092"/>
                </a:lnTo>
                <a:lnTo>
                  <a:pt x="3167" y="1084"/>
                </a:lnTo>
                <a:lnTo>
                  <a:pt x="3175" y="1077"/>
                </a:lnTo>
                <a:lnTo>
                  <a:pt x="3184" y="1073"/>
                </a:lnTo>
                <a:lnTo>
                  <a:pt x="3192" y="1069"/>
                </a:lnTo>
                <a:lnTo>
                  <a:pt x="3201" y="1067"/>
                </a:lnTo>
                <a:lnTo>
                  <a:pt x="3211" y="1065"/>
                </a:lnTo>
                <a:lnTo>
                  <a:pt x="3222" y="1065"/>
                </a:lnTo>
                <a:lnTo>
                  <a:pt x="3232" y="1065"/>
                </a:lnTo>
                <a:lnTo>
                  <a:pt x="3239" y="1067"/>
                </a:lnTo>
                <a:lnTo>
                  <a:pt x="3243" y="1069"/>
                </a:lnTo>
                <a:lnTo>
                  <a:pt x="3253" y="1073"/>
                </a:lnTo>
                <a:lnTo>
                  <a:pt x="3260" y="1079"/>
                </a:lnTo>
                <a:lnTo>
                  <a:pt x="3266" y="1088"/>
                </a:lnTo>
                <a:lnTo>
                  <a:pt x="3270" y="1099"/>
                </a:lnTo>
                <a:lnTo>
                  <a:pt x="3273" y="1109"/>
                </a:lnTo>
                <a:lnTo>
                  <a:pt x="3275" y="1122"/>
                </a:lnTo>
                <a:lnTo>
                  <a:pt x="3275" y="1128"/>
                </a:lnTo>
                <a:lnTo>
                  <a:pt x="3273" y="1137"/>
                </a:lnTo>
                <a:lnTo>
                  <a:pt x="3270" y="1143"/>
                </a:lnTo>
                <a:lnTo>
                  <a:pt x="3268" y="1149"/>
                </a:lnTo>
                <a:lnTo>
                  <a:pt x="3264" y="1158"/>
                </a:lnTo>
                <a:lnTo>
                  <a:pt x="3260" y="1164"/>
                </a:lnTo>
                <a:lnTo>
                  <a:pt x="3249" y="1175"/>
                </a:lnTo>
                <a:lnTo>
                  <a:pt x="3243" y="1179"/>
                </a:lnTo>
                <a:lnTo>
                  <a:pt x="3237" y="1185"/>
                </a:lnTo>
                <a:lnTo>
                  <a:pt x="3222" y="1192"/>
                </a:lnTo>
                <a:lnTo>
                  <a:pt x="3215" y="1194"/>
                </a:lnTo>
                <a:lnTo>
                  <a:pt x="3207" y="1196"/>
                </a:lnTo>
                <a:lnTo>
                  <a:pt x="3192" y="1198"/>
                </a:lnTo>
                <a:lnTo>
                  <a:pt x="3186" y="1196"/>
                </a:lnTo>
                <a:lnTo>
                  <a:pt x="3184" y="1196"/>
                </a:lnTo>
                <a:lnTo>
                  <a:pt x="3182" y="1194"/>
                </a:lnTo>
                <a:lnTo>
                  <a:pt x="3179" y="1190"/>
                </a:lnTo>
                <a:lnTo>
                  <a:pt x="3177" y="1187"/>
                </a:lnTo>
                <a:lnTo>
                  <a:pt x="3175" y="1179"/>
                </a:lnTo>
                <a:lnTo>
                  <a:pt x="3177" y="1173"/>
                </a:lnTo>
                <a:lnTo>
                  <a:pt x="3179" y="1170"/>
                </a:lnTo>
                <a:lnTo>
                  <a:pt x="3182" y="1168"/>
                </a:lnTo>
                <a:lnTo>
                  <a:pt x="3194" y="1166"/>
                </a:lnTo>
                <a:lnTo>
                  <a:pt x="3205" y="1162"/>
                </a:lnTo>
                <a:lnTo>
                  <a:pt x="3215" y="1156"/>
                </a:lnTo>
                <a:lnTo>
                  <a:pt x="3226" y="1149"/>
                </a:lnTo>
                <a:lnTo>
                  <a:pt x="3232" y="1141"/>
                </a:lnTo>
                <a:lnTo>
                  <a:pt x="3237" y="1137"/>
                </a:lnTo>
                <a:lnTo>
                  <a:pt x="3239" y="1132"/>
                </a:lnTo>
                <a:lnTo>
                  <a:pt x="3241" y="1124"/>
                </a:lnTo>
                <a:lnTo>
                  <a:pt x="3243" y="1115"/>
                </a:lnTo>
                <a:lnTo>
                  <a:pt x="3243" y="1111"/>
                </a:lnTo>
                <a:lnTo>
                  <a:pt x="3241" y="1107"/>
                </a:lnTo>
                <a:lnTo>
                  <a:pt x="3239" y="1103"/>
                </a:lnTo>
                <a:lnTo>
                  <a:pt x="3237" y="1101"/>
                </a:lnTo>
                <a:lnTo>
                  <a:pt x="3232" y="1096"/>
                </a:lnTo>
                <a:lnTo>
                  <a:pt x="3228" y="1094"/>
                </a:lnTo>
                <a:lnTo>
                  <a:pt x="3218" y="1094"/>
                </a:lnTo>
                <a:lnTo>
                  <a:pt x="3207" y="1096"/>
                </a:lnTo>
                <a:lnTo>
                  <a:pt x="3203" y="1099"/>
                </a:lnTo>
                <a:lnTo>
                  <a:pt x="3196" y="1101"/>
                </a:lnTo>
                <a:lnTo>
                  <a:pt x="3192" y="1105"/>
                </a:lnTo>
                <a:lnTo>
                  <a:pt x="3188" y="1109"/>
                </a:lnTo>
                <a:lnTo>
                  <a:pt x="3177" y="1120"/>
                </a:lnTo>
                <a:lnTo>
                  <a:pt x="3173" y="1124"/>
                </a:lnTo>
                <a:lnTo>
                  <a:pt x="3169" y="1130"/>
                </a:lnTo>
                <a:lnTo>
                  <a:pt x="3162" y="1145"/>
                </a:lnTo>
                <a:lnTo>
                  <a:pt x="3160" y="1162"/>
                </a:lnTo>
                <a:lnTo>
                  <a:pt x="3158" y="1170"/>
                </a:lnTo>
                <a:lnTo>
                  <a:pt x="3158" y="1179"/>
                </a:lnTo>
                <a:lnTo>
                  <a:pt x="3158" y="1194"/>
                </a:lnTo>
                <a:lnTo>
                  <a:pt x="3160" y="1200"/>
                </a:lnTo>
                <a:lnTo>
                  <a:pt x="3162" y="1206"/>
                </a:lnTo>
                <a:lnTo>
                  <a:pt x="3167" y="1219"/>
                </a:lnTo>
                <a:lnTo>
                  <a:pt x="3173" y="1230"/>
                </a:lnTo>
                <a:lnTo>
                  <a:pt x="3182" y="1238"/>
                </a:lnTo>
                <a:lnTo>
                  <a:pt x="3188" y="1242"/>
                </a:lnTo>
                <a:lnTo>
                  <a:pt x="3192" y="1245"/>
                </a:lnTo>
                <a:lnTo>
                  <a:pt x="3203" y="1249"/>
                </a:lnTo>
                <a:lnTo>
                  <a:pt x="3209" y="1249"/>
                </a:lnTo>
                <a:lnTo>
                  <a:pt x="3215" y="1251"/>
                </a:lnTo>
                <a:lnTo>
                  <a:pt x="3228" y="1249"/>
                </a:lnTo>
                <a:lnTo>
                  <a:pt x="3241" y="1245"/>
                </a:lnTo>
                <a:lnTo>
                  <a:pt x="3245" y="1242"/>
                </a:lnTo>
                <a:lnTo>
                  <a:pt x="3251" y="1240"/>
                </a:lnTo>
                <a:lnTo>
                  <a:pt x="3262" y="1232"/>
                </a:lnTo>
                <a:lnTo>
                  <a:pt x="3270" y="1223"/>
                </a:lnTo>
                <a:lnTo>
                  <a:pt x="3279" y="1213"/>
                </a:lnTo>
                <a:lnTo>
                  <a:pt x="3287" y="1200"/>
                </a:lnTo>
                <a:lnTo>
                  <a:pt x="3294" y="1187"/>
                </a:lnTo>
                <a:lnTo>
                  <a:pt x="3300" y="1175"/>
                </a:lnTo>
                <a:lnTo>
                  <a:pt x="3306" y="1160"/>
                </a:lnTo>
                <a:lnTo>
                  <a:pt x="3311" y="1145"/>
                </a:lnTo>
                <a:lnTo>
                  <a:pt x="3313" y="1132"/>
                </a:lnTo>
                <a:lnTo>
                  <a:pt x="3317" y="1118"/>
                </a:lnTo>
                <a:lnTo>
                  <a:pt x="3317" y="1103"/>
                </a:lnTo>
                <a:lnTo>
                  <a:pt x="3319" y="1090"/>
                </a:lnTo>
                <a:lnTo>
                  <a:pt x="3317" y="1077"/>
                </a:lnTo>
                <a:lnTo>
                  <a:pt x="3319" y="1073"/>
                </a:lnTo>
                <a:lnTo>
                  <a:pt x="3323" y="1071"/>
                </a:lnTo>
                <a:lnTo>
                  <a:pt x="3325" y="1069"/>
                </a:lnTo>
                <a:lnTo>
                  <a:pt x="3332" y="1069"/>
                </a:lnTo>
                <a:lnTo>
                  <a:pt x="3340" y="1071"/>
                </a:lnTo>
                <a:lnTo>
                  <a:pt x="3342" y="1073"/>
                </a:lnTo>
                <a:lnTo>
                  <a:pt x="3347" y="1075"/>
                </a:lnTo>
                <a:lnTo>
                  <a:pt x="3351" y="1082"/>
                </a:lnTo>
                <a:lnTo>
                  <a:pt x="3351" y="1088"/>
                </a:lnTo>
                <a:lnTo>
                  <a:pt x="3351" y="1094"/>
                </a:lnTo>
                <a:lnTo>
                  <a:pt x="3351" y="1113"/>
                </a:lnTo>
                <a:lnTo>
                  <a:pt x="3349" y="1132"/>
                </a:lnTo>
                <a:lnTo>
                  <a:pt x="3345" y="1149"/>
                </a:lnTo>
                <a:lnTo>
                  <a:pt x="3340" y="1166"/>
                </a:lnTo>
                <a:lnTo>
                  <a:pt x="3336" y="1183"/>
                </a:lnTo>
                <a:lnTo>
                  <a:pt x="3330" y="1200"/>
                </a:lnTo>
                <a:lnTo>
                  <a:pt x="3321" y="1215"/>
                </a:lnTo>
                <a:lnTo>
                  <a:pt x="3313" y="1228"/>
                </a:lnTo>
                <a:lnTo>
                  <a:pt x="3302" y="1240"/>
                </a:lnTo>
                <a:lnTo>
                  <a:pt x="3298" y="1247"/>
                </a:lnTo>
                <a:lnTo>
                  <a:pt x="3294" y="1253"/>
                </a:lnTo>
                <a:lnTo>
                  <a:pt x="3281" y="1262"/>
                </a:lnTo>
                <a:lnTo>
                  <a:pt x="3270" y="1270"/>
                </a:lnTo>
                <a:lnTo>
                  <a:pt x="3258" y="1276"/>
                </a:lnTo>
                <a:lnTo>
                  <a:pt x="3243" y="1283"/>
                </a:lnTo>
                <a:lnTo>
                  <a:pt x="3230" y="1285"/>
                </a:lnTo>
                <a:lnTo>
                  <a:pt x="3215" y="1287"/>
                </a:lnTo>
                <a:close/>
                <a:moveTo>
                  <a:pt x="3446" y="1283"/>
                </a:moveTo>
                <a:lnTo>
                  <a:pt x="3440" y="1281"/>
                </a:lnTo>
                <a:lnTo>
                  <a:pt x="3431" y="1274"/>
                </a:lnTo>
                <a:lnTo>
                  <a:pt x="3414" y="1259"/>
                </a:lnTo>
                <a:lnTo>
                  <a:pt x="3395" y="1240"/>
                </a:lnTo>
                <a:lnTo>
                  <a:pt x="3376" y="1219"/>
                </a:lnTo>
                <a:lnTo>
                  <a:pt x="3370" y="1211"/>
                </a:lnTo>
                <a:lnTo>
                  <a:pt x="3366" y="1204"/>
                </a:lnTo>
                <a:lnTo>
                  <a:pt x="3359" y="1192"/>
                </a:lnTo>
                <a:lnTo>
                  <a:pt x="3357" y="1185"/>
                </a:lnTo>
                <a:lnTo>
                  <a:pt x="3357" y="1179"/>
                </a:lnTo>
                <a:lnTo>
                  <a:pt x="3359" y="1173"/>
                </a:lnTo>
                <a:lnTo>
                  <a:pt x="3361" y="1166"/>
                </a:lnTo>
                <a:lnTo>
                  <a:pt x="3364" y="1158"/>
                </a:lnTo>
                <a:lnTo>
                  <a:pt x="3370" y="1149"/>
                </a:lnTo>
                <a:lnTo>
                  <a:pt x="3381" y="1135"/>
                </a:lnTo>
                <a:lnTo>
                  <a:pt x="3400" y="1115"/>
                </a:lnTo>
                <a:lnTo>
                  <a:pt x="3442" y="1067"/>
                </a:lnTo>
                <a:lnTo>
                  <a:pt x="3446" y="1067"/>
                </a:lnTo>
                <a:lnTo>
                  <a:pt x="3452" y="1069"/>
                </a:lnTo>
                <a:lnTo>
                  <a:pt x="3459" y="1073"/>
                </a:lnTo>
                <a:lnTo>
                  <a:pt x="3463" y="1079"/>
                </a:lnTo>
                <a:lnTo>
                  <a:pt x="3463" y="1086"/>
                </a:lnTo>
                <a:lnTo>
                  <a:pt x="3461" y="1092"/>
                </a:lnTo>
                <a:lnTo>
                  <a:pt x="3461" y="1094"/>
                </a:lnTo>
                <a:lnTo>
                  <a:pt x="3459" y="1099"/>
                </a:lnTo>
                <a:lnTo>
                  <a:pt x="3429" y="1132"/>
                </a:lnTo>
                <a:lnTo>
                  <a:pt x="3410" y="1154"/>
                </a:lnTo>
                <a:lnTo>
                  <a:pt x="3397" y="1168"/>
                </a:lnTo>
                <a:lnTo>
                  <a:pt x="3395" y="1173"/>
                </a:lnTo>
                <a:lnTo>
                  <a:pt x="3393" y="1179"/>
                </a:lnTo>
                <a:lnTo>
                  <a:pt x="3395" y="1183"/>
                </a:lnTo>
                <a:lnTo>
                  <a:pt x="3397" y="1190"/>
                </a:lnTo>
                <a:lnTo>
                  <a:pt x="3408" y="1202"/>
                </a:lnTo>
                <a:lnTo>
                  <a:pt x="3425" y="1219"/>
                </a:lnTo>
                <a:lnTo>
                  <a:pt x="3444" y="1238"/>
                </a:lnTo>
                <a:lnTo>
                  <a:pt x="3463" y="1257"/>
                </a:lnTo>
                <a:lnTo>
                  <a:pt x="3465" y="1259"/>
                </a:lnTo>
                <a:lnTo>
                  <a:pt x="3467" y="1262"/>
                </a:lnTo>
                <a:lnTo>
                  <a:pt x="3465" y="1266"/>
                </a:lnTo>
                <a:lnTo>
                  <a:pt x="3465" y="1268"/>
                </a:lnTo>
                <a:lnTo>
                  <a:pt x="3459" y="1276"/>
                </a:lnTo>
                <a:lnTo>
                  <a:pt x="3452" y="1281"/>
                </a:lnTo>
                <a:lnTo>
                  <a:pt x="3448" y="1283"/>
                </a:lnTo>
                <a:lnTo>
                  <a:pt x="3446" y="1283"/>
                </a:lnTo>
                <a:close/>
                <a:moveTo>
                  <a:pt x="3215" y="1877"/>
                </a:moveTo>
                <a:lnTo>
                  <a:pt x="3205" y="1877"/>
                </a:lnTo>
                <a:lnTo>
                  <a:pt x="3196" y="1875"/>
                </a:lnTo>
                <a:lnTo>
                  <a:pt x="3188" y="1873"/>
                </a:lnTo>
                <a:lnTo>
                  <a:pt x="3179" y="1869"/>
                </a:lnTo>
                <a:lnTo>
                  <a:pt x="3171" y="1865"/>
                </a:lnTo>
                <a:lnTo>
                  <a:pt x="3165" y="1861"/>
                </a:lnTo>
                <a:lnTo>
                  <a:pt x="3158" y="1854"/>
                </a:lnTo>
                <a:lnTo>
                  <a:pt x="3152" y="1848"/>
                </a:lnTo>
                <a:lnTo>
                  <a:pt x="3146" y="1839"/>
                </a:lnTo>
                <a:lnTo>
                  <a:pt x="3139" y="1831"/>
                </a:lnTo>
                <a:lnTo>
                  <a:pt x="3131" y="1814"/>
                </a:lnTo>
                <a:lnTo>
                  <a:pt x="3129" y="1803"/>
                </a:lnTo>
                <a:lnTo>
                  <a:pt x="3126" y="1793"/>
                </a:lnTo>
                <a:lnTo>
                  <a:pt x="3124" y="1782"/>
                </a:lnTo>
                <a:lnTo>
                  <a:pt x="3124" y="1772"/>
                </a:lnTo>
                <a:lnTo>
                  <a:pt x="3124" y="1761"/>
                </a:lnTo>
                <a:lnTo>
                  <a:pt x="3126" y="1748"/>
                </a:lnTo>
                <a:lnTo>
                  <a:pt x="3129" y="1738"/>
                </a:lnTo>
                <a:lnTo>
                  <a:pt x="3133" y="1727"/>
                </a:lnTo>
                <a:lnTo>
                  <a:pt x="3135" y="1719"/>
                </a:lnTo>
                <a:lnTo>
                  <a:pt x="3141" y="1708"/>
                </a:lnTo>
                <a:lnTo>
                  <a:pt x="3146" y="1700"/>
                </a:lnTo>
                <a:lnTo>
                  <a:pt x="3152" y="1691"/>
                </a:lnTo>
                <a:lnTo>
                  <a:pt x="3158" y="1683"/>
                </a:lnTo>
                <a:lnTo>
                  <a:pt x="3167" y="1676"/>
                </a:lnTo>
                <a:lnTo>
                  <a:pt x="3175" y="1670"/>
                </a:lnTo>
                <a:lnTo>
                  <a:pt x="3184" y="1666"/>
                </a:lnTo>
                <a:lnTo>
                  <a:pt x="3192" y="1662"/>
                </a:lnTo>
                <a:lnTo>
                  <a:pt x="3201" y="1657"/>
                </a:lnTo>
                <a:lnTo>
                  <a:pt x="3211" y="1655"/>
                </a:lnTo>
                <a:lnTo>
                  <a:pt x="3222" y="1655"/>
                </a:lnTo>
                <a:lnTo>
                  <a:pt x="3232" y="1657"/>
                </a:lnTo>
                <a:lnTo>
                  <a:pt x="3239" y="1657"/>
                </a:lnTo>
                <a:lnTo>
                  <a:pt x="3243" y="1659"/>
                </a:lnTo>
                <a:lnTo>
                  <a:pt x="3253" y="1666"/>
                </a:lnTo>
                <a:lnTo>
                  <a:pt x="3260" y="1672"/>
                </a:lnTo>
                <a:lnTo>
                  <a:pt x="3266" y="1681"/>
                </a:lnTo>
                <a:lnTo>
                  <a:pt x="3270" y="1689"/>
                </a:lnTo>
                <a:lnTo>
                  <a:pt x="3273" y="1702"/>
                </a:lnTo>
                <a:lnTo>
                  <a:pt x="3275" y="1712"/>
                </a:lnTo>
                <a:lnTo>
                  <a:pt x="3275" y="1721"/>
                </a:lnTo>
                <a:lnTo>
                  <a:pt x="3273" y="1727"/>
                </a:lnTo>
                <a:lnTo>
                  <a:pt x="3270" y="1736"/>
                </a:lnTo>
                <a:lnTo>
                  <a:pt x="3268" y="1742"/>
                </a:lnTo>
                <a:lnTo>
                  <a:pt x="3264" y="1748"/>
                </a:lnTo>
                <a:lnTo>
                  <a:pt x="3260" y="1755"/>
                </a:lnTo>
                <a:lnTo>
                  <a:pt x="3249" y="1767"/>
                </a:lnTo>
                <a:lnTo>
                  <a:pt x="3243" y="1772"/>
                </a:lnTo>
                <a:lnTo>
                  <a:pt x="3237" y="1776"/>
                </a:lnTo>
                <a:lnTo>
                  <a:pt x="3222" y="1784"/>
                </a:lnTo>
                <a:lnTo>
                  <a:pt x="3215" y="1786"/>
                </a:lnTo>
                <a:lnTo>
                  <a:pt x="3207" y="1789"/>
                </a:lnTo>
                <a:lnTo>
                  <a:pt x="3192" y="1791"/>
                </a:lnTo>
                <a:lnTo>
                  <a:pt x="3186" y="1789"/>
                </a:lnTo>
                <a:lnTo>
                  <a:pt x="3184" y="1786"/>
                </a:lnTo>
                <a:lnTo>
                  <a:pt x="3182" y="1784"/>
                </a:lnTo>
                <a:lnTo>
                  <a:pt x="3179" y="1782"/>
                </a:lnTo>
                <a:lnTo>
                  <a:pt x="3177" y="1778"/>
                </a:lnTo>
                <a:lnTo>
                  <a:pt x="3175" y="1772"/>
                </a:lnTo>
                <a:lnTo>
                  <a:pt x="3177" y="1765"/>
                </a:lnTo>
                <a:lnTo>
                  <a:pt x="3179" y="1763"/>
                </a:lnTo>
                <a:lnTo>
                  <a:pt x="3182" y="1761"/>
                </a:lnTo>
                <a:lnTo>
                  <a:pt x="3194" y="1759"/>
                </a:lnTo>
                <a:lnTo>
                  <a:pt x="3205" y="1753"/>
                </a:lnTo>
                <a:lnTo>
                  <a:pt x="3215" y="1748"/>
                </a:lnTo>
                <a:lnTo>
                  <a:pt x="3226" y="1740"/>
                </a:lnTo>
                <a:lnTo>
                  <a:pt x="3232" y="1734"/>
                </a:lnTo>
                <a:lnTo>
                  <a:pt x="3237" y="1729"/>
                </a:lnTo>
                <a:lnTo>
                  <a:pt x="3239" y="1725"/>
                </a:lnTo>
                <a:lnTo>
                  <a:pt x="3241" y="1717"/>
                </a:lnTo>
                <a:lnTo>
                  <a:pt x="3243" y="1708"/>
                </a:lnTo>
                <a:lnTo>
                  <a:pt x="3243" y="1704"/>
                </a:lnTo>
                <a:lnTo>
                  <a:pt x="3241" y="1698"/>
                </a:lnTo>
                <a:lnTo>
                  <a:pt x="3239" y="1695"/>
                </a:lnTo>
                <a:lnTo>
                  <a:pt x="3237" y="1691"/>
                </a:lnTo>
                <a:lnTo>
                  <a:pt x="3232" y="1689"/>
                </a:lnTo>
                <a:lnTo>
                  <a:pt x="3228" y="1687"/>
                </a:lnTo>
                <a:lnTo>
                  <a:pt x="3218" y="1685"/>
                </a:lnTo>
                <a:lnTo>
                  <a:pt x="3207" y="1687"/>
                </a:lnTo>
                <a:lnTo>
                  <a:pt x="3203" y="1689"/>
                </a:lnTo>
                <a:lnTo>
                  <a:pt x="3196" y="1691"/>
                </a:lnTo>
                <a:lnTo>
                  <a:pt x="3192" y="1695"/>
                </a:lnTo>
                <a:lnTo>
                  <a:pt x="3188" y="1700"/>
                </a:lnTo>
                <a:lnTo>
                  <a:pt x="3177" y="1710"/>
                </a:lnTo>
                <a:lnTo>
                  <a:pt x="3173" y="1717"/>
                </a:lnTo>
                <a:lnTo>
                  <a:pt x="3169" y="1723"/>
                </a:lnTo>
                <a:lnTo>
                  <a:pt x="3162" y="1738"/>
                </a:lnTo>
                <a:lnTo>
                  <a:pt x="3160" y="1753"/>
                </a:lnTo>
                <a:lnTo>
                  <a:pt x="3158" y="1761"/>
                </a:lnTo>
                <a:lnTo>
                  <a:pt x="3158" y="1770"/>
                </a:lnTo>
                <a:lnTo>
                  <a:pt x="3158" y="1784"/>
                </a:lnTo>
                <a:lnTo>
                  <a:pt x="3160" y="1793"/>
                </a:lnTo>
                <a:lnTo>
                  <a:pt x="3162" y="1799"/>
                </a:lnTo>
                <a:lnTo>
                  <a:pt x="3167" y="1812"/>
                </a:lnTo>
                <a:lnTo>
                  <a:pt x="3173" y="1822"/>
                </a:lnTo>
                <a:lnTo>
                  <a:pt x="3182" y="1831"/>
                </a:lnTo>
                <a:lnTo>
                  <a:pt x="3188" y="1833"/>
                </a:lnTo>
                <a:lnTo>
                  <a:pt x="3192" y="1837"/>
                </a:lnTo>
                <a:lnTo>
                  <a:pt x="3203" y="1841"/>
                </a:lnTo>
                <a:lnTo>
                  <a:pt x="3209" y="1841"/>
                </a:lnTo>
                <a:lnTo>
                  <a:pt x="3215" y="1841"/>
                </a:lnTo>
                <a:lnTo>
                  <a:pt x="3228" y="1841"/>
                </a:lnTo>
                <a:lnTo>
                  <a:pt x="3241" y="1837"/>
                </a:lnTo>
                <a:lnTo>
                  <a:pt x="3245" y="1835"/>
                </a:lnTo>
                <a:lnTo>
                  <a:pt x="3251" y="1831"/>
                </a:lnTo>
                <a:lnTo>
                  <a:pt x="3262" y="1825"/>
                </a:lnTo>
                <a:lnTo>
                  <a:pt x="3270" y="1814"/>
                </a:lnTo>
                <a:lnTo>
                  <a:pt x="3279" y="1803"/>
                </a:lnTo>
                <a:lnTo>
                  <a:pt x="3287" y="1793"/>
                </a:lnTo>
                <a:lnTo>
                  <a:pt x="3294" y="1780"/>
                </a:lnTo>
                <a:lnTo>
                  <a:pt x="3300" y="1765"/>
                </a:lnTo>
                <a:lnTo>
                  <a:pt x="3306" y="1753"/>
                </a:lnTo>
                <a:lnTo>
                  <a:pt x="3311" y="1738"/>
                </a:lnTo>
                <a:lnTo>
                  <a:pt x="3313" y="1723"/>
                </a:lnTo>
                <a:lnTo>
                  <a:pt x="3317" y="1708"/>
                </a:lnTo>
                <a:lnTo>
                  <a:pt x="3317" y="1695"/>
                </a:lnTo>
                <a:lnTo>
                  <a:pt x="3319" y="1681"/>
                </a:lnTo>
                <a:lnTo>
                  <a:pt x="3317" y="1668"/>
                </a:lnTo>
                <a:lnTo>
                  <a:pt x="3319" y="1666"/>
                </a:lnTo>
                <a:lnTo>
                  <a:pt x="3323" y="1664"/>
                </a:lnTo>
                <a:lnTo>
                  <a:pt x="3325" y="1662"/>
                </a:lnTo>
                <a:lnTo>
                  <a:pt x="3332" y="1662"/>
                </a:lnTo>
                <a:lnTo>
                  <a:pt x="3340" y="1662"/>
                </a:lnTo>
                <a:lnTo>
                  <a:pt x="3342" y="1664"/>
                </a:lnTo>
                <a:lnTo>
                  <a:pt x="3347" y="1666"/>
                </a:lnTo>
                <a:lnTo>
                  <a:pt x="3351" y="1674"/>
                </a:lnTo>
                <a:lnTo>
                  <a:pt x="3351" y="1681"/>
                </a:lnTo>
                <a:lnTo>
                  <a:pt x="3351" y="1687"/>
                </a:lnTo>
                <a:lnTo>
                  <a:pt x="3351" y="1706"/>
                </a:lnTo>
                <a:lnTo>
                  <a:pt x="3349" y="1723"/>
                </a:lnTo>
                <a:lnTo>
                  <a:pt x="3345" y="1742"/>
                </a:lnTo>
                <a:lnTo>
                  <a:pt x="3340" y="1759"/>
                </a:lnTo>
                <a:lnTo>
                  <a:pt x="3336" y="1776"/>
                </a:lnTo>
                <a:lnTo>
                  <a:pt x="3330" y="1791"/>
                </a:lnTo>
                <a:lnTo>
                  <a:pt x="3321" y="1805"/>
                </a:lnTo>
                <a:lnTo>
                  <a:pt x="3313" y="1820"/>
                </a:lnTo>
                <a:lnTo>
                  <a:pt x="3302" y="1833"/>
                </a:lnTo>
                <a:lnTo>
                  <a:pt x="3298" y="1839"/>
                </a:lnTo>
                <a:lnTo>
                  <a:pt x="3294" y="1844"/>
                </a:lnTo>
                <a:lnTo>
                  <a:pt x="3281" y="1854"/>
                </a:lnTo>
                <a:lnTo>
                  <a:pt x="3270" y="1863"/>
                </a:lnTo>
                <a:lnTo>
                  <a:pt x="3258" y="1869"/>
                </a:lnTo>
                <a:lnTo>
                  <a:pt x="3243" y="1873"/>
                </a:lnTo>
                <a:lnTo>
                  <a:pt x="3230" y="1877"/>
                </a:lnTo>
                <a:lnTo>
                  <a:pt x="3215" y="1877"/>
                </a:lnTo>
                <a:close/>
                <a:moveTo>
                  <a:pt x="3446" y="1873"/>
                </a:moveTo>
                <a:lnTo>
                  <a:pt x="3440" y="1871"/>
                </a:lnTo>
                <a:lnTo>
                  <a:pt x="3431" y="1867"/>
                </a:lnTo>
                <a:lnTo>
                  <a:pt x="3414" y="1852"/>
                </a:lnTo>
                <a:lnTo>
                  <a:pt x="3395" y="1831"/>
                </a:lnTo>
                <a:lnTo>
                  <a:pt x="3376" y="1812"/>
                </a:lnTo>
                <a:lnTo>
                  <a:pt x="3370" y="1803"/>
                </a:lnTo>
                <a:lnTo>
                  <a:pt x="3366" y="1795"/>
                </a:lnTo>
                <a:lnTo>
                  <a:pt x="3359" y="1784"/>
                </a:lnTo>
                <a:lnTo>
                  <a:pt x="3357" y="1778"/>
                </a:lnTo>
                <a:lnTo>
                  <a:pt x="3357" y="1772"/>
                </a:lnTo>
                <a:lnTo>
                  <a:pt x="3359" y="1765"/>
                </a:lnTo>
                <a:lnTo>
                  <a:pt x="3361" y="1757"/>
                </a:lnTo>
                <a:lnTo>
                  <a:pt x="3364" y="1750"/>
                </a:lnTo>
                <a:lnTo>
                  <a:pt x="3370" y="1742"/>
                </a:lnTo>
                <a:lnTo>
                  <a:pt x="3381" y="1727"/>
                </a:lnTo>
                <a:lnTo>
                  <a:pt x="3400" y="1706"/>
                </a:lnTo>
                <a:lnTo>
                  <a:pt x="3442" y="1659"/>
                </a:lnTo>
                <a:lnTo>
                  <a:pt x="3446" y="1659"/>
                </a:lnTo>
                <a:lnTo>
                  <a:pt x="3452" y="1662"/>
                </a:lnTo>
                <a:lnTo>
                  <a:pt x="3459" y="1666"/>
                </a:lnTo>
                <a:lnTo>
                  <a:pt x="3463" y="1672"/>
                </a:lnTo>
                <a:lnTo>
                  <a:pt x="3463" y="1676"/>
                </a:lnTo>
                <a:lnTo>
                  <a:pt x="3461" y="1683"/>
                </a:lnTo>
                <a:lnTo>
                  <a:pt x="3461" y="1687"/>
                </a:lnTo>
                <a:lnTo>
                  <a:pt x="3459" y="1691"/>
                </a:lnTo>
                <a:lnTo>
                  <a:pt x="3429" y="1725"/>
                </a:lnTo>
                <a:lnTo>
                  <a:pt x="3410" y="1744"/>
                </a:lnTo>
                <a:lnTo>
                  <a:pt x="3397" y="1761"/>
                </a:lnTo>
                <a:lnTo>
                  <a:pt x="3395" y="1765"/>
                </a:lnTo>
                <a:lnTo>
                  <a:pt x="3393" y="1770"/>
                </a:lnTo>
                <a:lnTo>
                  <a:pt x="3395" y="1776"/>
                </a:lnTo>
                <a:lnTo>
                  <a:pt x="3397" y="1780"/>
                </a:lnTo>
                <a:lnTo>
                  <a:pt x="3408" y="1793"/>
                </a:lnTo>
                <a:lnTo>
                  <a:pt x="3425" y="1810"/>
                </a:lnTo>
                <a:lnTo>
                  <a:pt x="3444" y="1831"/>
                </a:lnTo>
                <a:lnTo>
                  <a:pt x="3463" y="1848"/>
                </a:lnTo>
                <a:lnTo>
                  <a:pt x="3465" y="1850"/>
                </a:lnTo>
                <a:lnTo>
                  <a:pt x="3467" y="1854"/>
                </a:lnTo>
                <a:lnTo>
                  <a:pt x="3465" y="1856"/>
                </a:lnTo>
                <a:lnTo>
                  <a:pt x="3465" y="1861"/>
                </a:lnTo>
                <a:lnTo>
                  <a:pt x="3459" y="1867"/>
                </a:lnTo>
                <a:lnTo>
                  <a:pt x="3452" y="1873"/>
                </a:lnTo>
                <a:lnTo>
                  <a:pt x="3448" y="1873"/>
                </a:lnTo>
                <a:lnTo>
                  <a:pt x="3446" y="1873"/>
                </a:lnTo>
                <a:close/>
                <a:moveTo>
                  <a:pt x="1380" y="694"/>
                </a:moveTo>
                <a:lnTo>
                  <a:pt x="1370" y="694"/>
                </a:lnTo>
                <a:lnTo>
                  <a:pt x="1361" y="692"/>
                </a:lnTo>
                <a:lnTo>
                  <a:pt x="1353" y="690"/>
                </a:lnTo>
                <a:lnTo>
                  <a:pt x="1344" y="686"/>
                </a:lnTo>
                <a:lnTo>
                  <a:pt x="1336" y="682"/>
                </a:lnTo>
                <a:lnTo>
                  <a:pt x="1329" y="677"/>
                </a:lnTo>
                <a:lnTo>
                  <a:pt x="1323" y="671"/>
                </a:lnTo>
                <a:lnTo>
                  <a:pt x="1315" y="663"/>
                </a:lnTo>
                <a:lnTo>
                  <a:pt x="1310" y="656"/>
                </a:lnTo>
                <a:lnTo>
                  <a:pt x="1304" y="648"/>
                </a:lnTo>
                <a:lnTo>
                  <a:pt x="1295" y="631"/>
                </a:lnTo>
                <a:lnTo>
                  <a:pt x="1293" y="620"/>
                </a:lnTo>
                <a:lnTo>
                  <a:pt x="1291" y="610"/>
                </a:lnTo>
                <a:lnTo>
                  <a:pt x="1289" y="599"/>
                </a:lnTo>
                <a:lnTo>
                  <a:pt x="1289" y="588"/>
                </a:lnTo>
                <a:lnTo>
                  <a:pt x="1289" y="578"/>
                </a:lnTo>
                <a:lnTo>
                  <a:pt x="1291" y="565"/>
                </a:lnTo>
                <a:lnTo>
                  <a:pt x="1293" y="555"/>
                </a:lnTo>
                <a:lnTo>
                  <a:pt x="1295" y="544"/>
                </a:lnTo>
                <a:lnTo>
                  <a:pt x="1300" y="533"/>
                </a:lnTo>
                <a:lnTo>
                  <a:pt x="1306" y="525"/>
                </a:lnTo>
                <a:lnTo>
                  <a:pt x="1310" y="516"/>
                </a:lnTo>
                <a:lnTo>
                  <a:pt x="1317" y="508"/>
                </a:lnTo>
                <a:lnTo>
                  <a:pt x="1323" y="500"/>
                </a:lnTo>
                <a:lnTo>
                  <a:pt x="1331" y="493"/>
                </a:lnTo>
                <a:lnTo>
                  <a:pt x="1340" y="487"/>
                </a:lnTo>
                <a:lnTo>
                  <a:pt x="1348" y="483"/>
                </a:lnTo>
                <a:lnTo>
                  <a:pt x="1357" y="478"/>
                </a:lnTo>
                <a:lnTo>
                  <a:pt x="1365" y="474"/>
                </a:lnTo>
                <a:lnTo>
                  <a:pt x="1376" y="472"/>
                </a:lnTo>
                <a:lnTo>
                  <a:pt x="1384" y="472"/>
                </a:lnTo>
                <a:lnTo>
                  <a:pt x="1397" y="474"/>
                </a:lnTo>
                <a:lnTo>
                  <a:pt x="1403" y="474"/>
                </a:lnTo>
                <a:lnTo>
                  <a:pt x="1408" y="476"/>
                </a:lnTo>
                <a:lnTo>
                  <a:pt x="1416" y="480"/>
                </a:lnTo>
                <a:lnTo>
                  <a:pt x="1425" y="489"/>
                </a:lnTo>
                <a:lnTo>
                  <a:pt x="1431" y="497"/>
                </a:lnTo>
                <a:lnTo>
                  <a:pt x="1435" y="506"/>
                </a:lnTo>
                <a:lnTo>
                  <a:pt x="1437" y="516"/>
                </a:lnTo>
                <a:lnTo>
                  <a:pt x="1439" y="529"/>
                </a:lnTo>
                <a:lnTo>
                  <a:pt x="1439" y="538"/>
                </a:lnTo>
                <a:lnTo>
                  <a:pt x="1437" y="544"/>
                </a:lnTo>
                <a:lnTo>
                  <a:pt x="1435" y="550"/>
                </a:lnTo>
                <a:lnTo>
                  <a:pt x="1431" y="559"/>
                </a:lnTo>
                <a:lnTo>
                  <a:pt x="1429" y="565"/>
                </a:lnTo>
                <a:lnTo>
                  <a:pt x="1425" y="571"/>
                </a:lnTo>
                <a:lnTo>
                  <a:pt x="1414" y="582"/>
                </a:lnTo>
                <a:lnTo>
                  <a:pt x="1408" y="588"/>
                </a:lnTo>
                <a:lnTo>
                  <a:pt x="1401" y="593"/>
                </a:lnTo>
                <a:lnTo>
                  <a:pt x="1386" y="601"/>
                </a:lnTo>
                <a:lnTo>
                  <a:pt x="1380" y="603"/>
                </a:lnTo>
                <a:lnTo>
                  <a:pt x="1372" y="605"/>
                </a:lnTo>
                <a:lnTo>
                  <a:pt x="1357" y="607"/>
                </a:lnTo>
                <a:lnTo>
                  <a:pt x="1351" y="605"/>
                </a:lnTo>
                <a:lnTo>
                  <a:pt x="1348" y="603"/>
                </a:lnTo>
                <a:lnTo>
                  <a:pt x="1346" y="601"/>
                </a:lnTo>
                <a:lnTo>
                  <a:pt x="1344" y="599"/>
                </a:lnTo>
                <a:lnTo>
                  <a:pt x="1342" y="595"/>
                </a:lnTo>
                <a:lnTo>
                  <a:pt x="1340" y="588"/>
                </a:lnTo>
                <a:lnTo>
                  <a:pt x="1342" y="582"/>
                </a:lnTo>
                <a:lnTo>
                  <a:pt x="1344" y="580"/>
                </a:lnTo>
                <a:lnTo>
                  <a:pt x="1344" y="578"/>
                </a:lnTo>
                <a:lnTo>
                  <a:pt x="1359" y="574"/>
                </a:lnTo>
                <a:lnTo>
                  <a:pt x="1370" y="569"/>
                </a:lnTo>
                <a:lnTo>
                  <a:pt x="1380" y="565"/>
                </a:lnTo>
                <a:lnTo>
                  <a:pt x="1391" y="557"/>
                </a:lnTo>
                <a:lnTo>
                  <a:pt x="1397" y="550"/>
                </a:lnTo>
                <a:lnTo>
                  <a:pt x="1399" y="546"/>
                </a:lnTo>
                <a:lnTo>
                  <a:pt x="1403" y="542"/>
                </a:lnTo>
                <a:lnTo>
                  <a:pt x="1406" y="533"/>
                </a:lnTo>
                <a:lnTo>
                  <a:pt x="1408" y="525"/>
                </a:lnTo>
                <a:lnTo>
                  <a:pt x="1408" y="519"/>
                </a:lnTo>
                <a:lnTo>
                  <a:pt x="1406" y="514"/>
                </a:lnTo>
                <a:lnTo>
                  <a:pt x="1403" y="512"/>
                </a:lnTo>
                <a:lnTo>
                  <a:pt x="1401" y="508"/>
                </a:lnTo>
                <a:lnTo>
                  <a:pt x="1397" y="506"/>
                </a:lnTo>
                <a:lnTo>
                  <a:pt x="1393" y="504"/>
                </a:lnTo>
                <a:lnTo>
                  <a:pt x="1382" y="502"/>
                </a:lnTo>
                <a:lnTo>
                  <a:pt x="1372" y="504"/>
                </a:lnTo>
                <a:lnTo>
                  <a:pt x="1367" y="506"/>
                </a:lnTo>
                <a:lnTo>
                  <a:pt x="1361" y="508"/>
                </a:lnTo>
                <a:lnTo>
                  <a:pt x="1357" y="512"/>
                </a:lnTo>
                <a:lnTo>
                  <a:pt x="1351" y="516"/>
                </a:lnTo>
                <a:lnTo>
                  <a:pt x="1342" y="527"/>
                </a:lnTo>
                <a:lnTo>
                  <a:pt x="1338" y="533"/>
                </a:lnTo>
                <a:lnTo>
                  <a:pt x="1334" y="540"/>
                </a:lnTo>
                <a:lnTo>
                  <a:pt x="1327" y="555"/>
                </a:lnTo>
                <a:lnTo>
                  <a:pt x="1325" y="569"/>
                </a:lnTo>
                <a:lnTo>
                  <a:pt x="1323" y="578"/>
                </a:lnTo>
                <a:lnTo>
                  <a:pt x="1323" y="586"/>
                </a:lnTo>
                <a:lnTo>
                  <a:pt x="1323" y="601"/>
                </a:lnTo>
                <a:lnTo>
                  <a:pt x="1325" y="610"/>
                </a:lnTo>
                <a:lnTo>
                  <a:pt x="1327" y="616"/>
                </a:lnTo>
                <a:lnTo>
                  <a:pt x="1331" y="629"/>
                </a:lnTo>
                <a:lnTo>
                  <a:pt x="1338" y="637"/>
                </a:lnTo>
                <a:lnTo>
                  <a:pt x="1346" y="648"/>
                </a:lnTo>
                <a:lnTo>
                  <a:pt x="1353" y="650"/>
                </a:lnTo>
                <a:lnTo>
                  <a:pt x="1357" y="654"/>
                </a:lnTo>
                <a:lnTo>
                  <a:pt x="1367" y="656"/>
                </a:lnTo>
                <a:lnTo>
                  <a:pt x="1374" y="658"/>
                </a:lnTo>
                <a:lnTo>
                  <a:pt x="1380" y="658"/>
                </a:lnTo>
                <a:lnTo>
                  <a:pt x="1393" y="656"/>
                </a:lnTo>
                <a:lnTo>
                  <a:pt x="1406" y="654"/>
                </a:lnTo>
                <a:lnTo>
                  <a:pt x="1410" y="652"/>
                </a:lnTo>
                <a:lnTo>
                  <a:pt x="1416" y="648"/>
                </a:lnTo>
                <a:lnTo>
                  <a:pt x="1427" y="641"/>
                </a:lnTo>
                <a:lnTo>
                  <a:pt x="1435" y="631"/>
                </a:lnTo>
                <a:lnTo>
                  <a:pt x="1444" y="620"/>
                </a:lnTo>
                <a:lnTo>
                  <a:pt x="1452" y="610"/>
                </a:lnTo>
                <a:lnTo>
                  <a:pt x="1458" y="597"/>
                </a:lnTo>
                <a:lnTo>
                  <a:pt x="1465" y="582"/>
                </a:lnTo>
                <a:lnTo>
                  <a:pt x="1471" y="569"/>
                </a:lnTo>
                <a:lnTo>
                  <a:pt x="1475" y="555"/>
                </a:lnTo>
                <a:lnTo>
                  <a:pt x="1478" y="540"/>
                </a:lnTo>
                <a:lnTo>
                  <a:pt x="1482" y="525"/>
                </a:lnTo>
                <a:lnTo>
                  <a:pt x="1482" y="510"/>
                </a:lnTo>
                <a:lnTo>
                  <a:pt x="1484" y="497"/>
                </a:lnTo>
                <a:lnTo>
                  <a:pt x="1482" y="485"/>
                </a:lnTo>
                <a:lnTo>
                  <a:pt x="1484" y="483"/>
                </a:lnTo>
                <a:lnTo>
                  <a:pt x="1488" y="480"/>
                </a:lnTo>
                <a:lnTo>
                  <a:pt x="1490" y="478"/>
                </a:lnTo>
                <a:lnTo>
                  <a:pt x="1497" y="478"/>
                </a:lnTo>
                <a:lnTo>
                  <a:pt x="1505" y="478"/>
                </a:lnTo>
                <a:lnTo>
                  <a:pt x="1507" y="480"/>
                </a:lnTo>
                <a:lnTo>
                  <a:pt x="1511" y="483"/>
                </a:lnTo>
                <a:lnTo>
                  <a:pt x="1516" y="491"/>
                </a:lnTo>
                <a:lnTo>
                  <a:pt x="1516" y="497"/>
                </a:lnTo>
                <a:lnTo>
                  <a:pt x="1516" y="504"/>
                </a:lnTo>
                <a:lnTo>
                  <a:pt x="1516" y="523"/>
                </a:lnTo>
                <a:lnTo>
                  <a:pt x="1514" y="540"/>
                </a:lnTo>
                <a:lnTo>
                  <a:pt x="1509" y="559"/>
                </a:lnTo>
                <a:lnTo>
                  <a:pt x="1505" y="576"/>
                </a:lnTo>
                <a:lnTo>
                  <a:pt x="1501" y="593"/>
                </a:lnTo>
                <a:lnTo>
                  <a:pt x="1494" y="607"/>
                </a:lnTo>
                <a:lnTo>
                  <a:pt x="1486" y="622"/>
                </a:lnTo>
                <a:lnTo>
                  <a:pt x="1478" y="637"/>
                </a:lnTo>
                <a:lnTo>
                  <a:pt x="1467" y="650"/>
                </a:lnTo>
                <a:lnTo>
                  <a:pt x="1463" y="654"/>
                </a:lnTo>
                <a:lnTo>
                  <a:pt x="1456" y="660"/>
                </a:lnTo>
                <a:lnTo>
                  <a:pt x="1446" y="671"/>
                </a:lnTo>
                <a:lnTo>
                  <a:pt x="1435" y="679"/>
                </a:lnTo>
                <a:lnTo>
                  <a:pt x="1422" y="686"/>
                </a:lnTo>
                <a:lnTo>
                  <a:pt x="1408" y="690"/>
                </a:lnTo>
                <a:lnTo>
                  <a:pt x="1395" y="694"/>
                </a:lnTo>
                <a:lnTo>
                  <a:pt x="1380" y="694"/>
                </a:lnTo>
                <a:close/>
                <a:moveTo>
                  <a:pt x="1611" y="690"/>
                </a:moveTo>
                <a:lnTo>
                  <a:pt x="1605" y="688"/>
                </a:lnTo>
                <a:lnTo>
                  <a:pt x="1596" y="684"/>
                </a:lnTo>
                <a:lnTo>
                  <a:pt x="1579" y="667"/>
                </a:lnTo>
                <a:lnTo>
                  <a:pt x="1560" y="648"/>
                </a:lnTo>
                <a:lnTo>
                  <a:pt x="1541" y="629"/>
                </a:lnTo>
                <a:lnTo>
                  <a:pt x="1535" y="618"/>
                </a:lnTo>
                <a:lnTo>
                  <a:pt x="1530" y="612"/>
                </a:lnTo>
                <a:lnTo>
                  <a:pt x="1524" y="599"/>
                </a:lnTo>
                <a:lnTo>
                  <a:pt x="1522" y="595"/>
                </a:lnTo>
                <a:lnTo>
                  <a:pt x="1522" y="588"/>
                </a:lnTo>
                <a:lnTo>
                  <a:pt x="1522" y="582"/>
                </a:lnTo>
                <a:lnTo>
                  <a:pt x="1524" y="574"/>
                </a:lnTo>
                <a:lnTo>
                  <a:pt x="1528" y="567"/>
                </a:lnTo>
                <a:lnTo>
                  <a:pt x="1533" y="559"/>
                </a:lnTo>
                <a:lnTo>
                  <a:pt x="1545" y="544"/>
                </a:lnTo>
                <a:lnTo>
                  <a:pt x="1564" y="523"/>
                </a:lnTo>
                <a:lnTo>
                  <a:pt x="1605" y="474"/>
                </a:lnTo>
                <a:lnTo>
                  <a:pt x="1611" y="476"/>
                </a:lnTo>
                <a:lnTo>
                  <a:pt x="1617" y="478"/>
                </a:lnTo>
                <a:lnTo>
                  <a:pt x="1624" y="483"/>
                </a:lnTo>
                <a:lnTo>
                  <a:pt x="1628" y="487"/>
                </a:lnTo>
                <a:lnTo>
                  <a:pt x="1628" y="493"/>
                </a:lnTo>
                <a:lnTo>
                  <a:pt x="1626" y="500"/>
                </a:lnTo>
                <a:lnTo>
                  <a:pt x="1626" y="504"/>
                </a:lnTo>
                <a:lnTo>
                  <a:pt x="1624" y="508"/>
                </a:lnTo>
                <a:lnTo>
                  <a:pt x="1594" y="542"/>
                </a:lnTo>
                <a:lnTo>
                  <a:pt x="1575" y="561"/>
                </a:lnTo>
                <a:lnTo>
                  <a:pt x="1562" y="578"/>
                </a:lnTo>
                <a:lnTo>
                  <a:pt x="1560" y="582"/>
                </a:lnTo>
                <a:lnTo>
                  <a:pt x="1558" y="586"/>
                </a:lnTo>
                <a:lnTo>
                  <a:pt x="1560" y="591"/>
                </a:lnTo>
                <a:lnTo>
                  <a:pt x="1562" y="597"/>
                </a:lnTo>
                <a:lnTo>
                  <a:pt x="1573" y="610"/>
                </a:lnTo>
                <a:lnTo>
                  <a:pt x="1590" y="627"/>
                </a:lnTo>
                <a:lnTo>
                  <a:pt x="1609" y="648"/>
                </a:lnTo>
                <a:lnTo>
                  <a:pt x="1628" y="665"/>
                </a:lnTo>
                <a:lnTo>
                  <a:pt x="1630" y="667"/>
                </a:lnTo>
                <a:lnTo>
                  <a:pt x="1632" y="671"/>
                </a:lnTo>
                <a:lnTo>
                  <a:pt x="1630" y="673"/>
                </a:lnTo>
                <a:lnTo>
                  <a:pt x="1630" y="677"/>
                </a:lnTo>
                <a:lnTo>
                  <a:pt x="1624" y="684"/>
                </a:lnTo>
                <a:lnTo>
                  <a:pt x="1617" y="688"/>
                </a:lnTo>
                <a:lnTo>
                  <a:pt x="1613" y="690"/>
                </a:lnTo>
                <a:lnTo>
                  <a:pt x="1611" y="690"/>
                </a:lnTo>
                <a:close/>
                <a:moveTo>
                  <a:pt x="1380" y="1287"/>
                </a:moveTo>
                <a:lnTo>
                  <a:pt x="1370" y="1285"/>
                </a:lnTo>
                <a:lnTo>
                  <a:pt x="1361" y="1285"/>
                </a:lnTo>
                <a:lnTo>
                  <a:pt x="1353" y="1281"/>
                </a:lnTo>
                <a:lnTo>
                  <a:pt x="1344" y="1278"/>
                </a:lnTo>
                <a:lnTo>
                  <a:pt x="1336" y="1274"/>
                </a:lnTo>
                <a:lnTo>
                  <a:pt x="1329" y="1268"/>
                </a:lnTo>
                <a:lnTo>
                  <a:pt x="1323" y="1262"/>
                </a:lnTo>
                <a:lnTo>
                  <a:pt x="1315" y="1255"/>
                </a:lnTo>
                <a:lnTo>
                  <a:pt x="1310" y="1247"/>
                </a:lnTo>
                <a:lnTo>
                  <a:pt x="1304" y="1240"/>
                </a:lnTo>
                <a:lnTo>
                  <a:pt x="1295" y="1221"/>
                </a:lnTo>
                <a:lnTo>
                  <a:pt x="1293" y="1211"/>
                </a:lnTo>
                <a:lnTo>
                  <a:pt x="1291" y="1202"/>
                </a:lnTo>
                <a:lnTo>
                  <a:pt x="1289" y="1192"/>
                </a:lnTo>
                <a:lnTo>
                  <a:pt x="1289" y="1179"/>
                </a:lnTo>
                <a:lnTo>
                  <a:pt x="1289" y="1168"/>
                </a:lnTo>
                <a:lnTo>
                  <a:pt x="1291" y="1158"/>
                </a:lnTo>
                <a:lnTo>
                  <a:pt x="1293" y="1147"/>
                </a:lnTo>
                <a:lnTo>
                  <a:pt x="1295" y="1137"/>
                </a:lnTo>
                <a:lnTo>
                  <a:pt x="1300" y="1126"/>
                </a:lnTo>
                <a:lnTo>
                  <a:pt x="1306" y="1115"/>
                </a:lnTo>
                <a:lnTo>
                  <a:pt x="1310" y="1107"/>
                </a:lnTo>
                <a:lnTo>
                  <a:pt x="1317" y="1099"/>
                </a:lnTo>
                <a:lnTo>
                  <a:pt x="1323" y="1092"/>
                </a:lnTo>
                <a:lnTo>
                  <a:pt x="1331" y="1084"/>
                </a:lnTo>
                <a:lnTo>
                  <a:pt x="1340" y="1077"/>
                </a:lnTo>
                <a:lnTo>
                  <a:pt x="1348" y="1073"/>
                </a:lnTo>
                <a:lnTo>
                  <a:pt x="1357" y="1069"/>
                </a:lnTo>
                <a:lnTo>
                  <a:pt x="1365" y="1067"/>
                </a:lnTo>
                <a:lnTo>
                  <a:pt x="1376" y="1065"/>
                </a:lnTo>
                <a:lnTo>
                  <a:pt x="1384" y="1065"/>
                </a:lnTo>
                <a:lnTo>
                  <a:pt x="1397" y="1065"/>
                </a:lnTo>
                <a:lnTo>
                  <a:pt x="1403" y="1067"/>
                </a:lnTo>
                <a:lnTo>
                  <a:pt x="1408" y="1069"/>
                </a:lnTo>
                <a:lnTo>
                  <a:pt x="1416" y="1073"/>
                </a:lnTo>
                <a:lnTo>
                  <a:pt x="1425" y="1079"/>
                </a:lnTo>
                <a:lnTo>
                  <a:pt x="1431" y="1088"/>
                </a:lnTo>
                <a:lnTo>
                  <a:pt x="1435" y="1099"/>
                </a:lnTo>
                <a:lnTo>
                  <a:pt x="1437" y="1109"/>
                </a:lnTo>
                <a:lnTo>
                  <a:pt x="1439" y="1122"/>
                </a:lnTo>
                <a:lnTo>
                  <a:pt x="1439" y="1128"/>
                </a:lnTo>
                <a:lnTo>
                  <a:pt x="1437" y="1137"/>
                </a:lnTo>
                <a:lnTo>
                  <a:pt x="1435" y="1143"/>
                </a:lnTo>
                <a:lnTo>
                  <a:pt x="1431" y="1149"/>
                </a:lnTo>
                <a:lnTo>
                  <a:pt x="1429" y="1158"/>
                </a:lnTo>
                <a:lnTo>
                  <a:pt x="1425" y="1164"/>
                </a:lnTo>
                <a:lnTo>
                  <a:pt x="1414" y="1175"/>
                </a:lnTo>
                <a:lnTo>
                  <a:pt x="1408" y="1179"/>
                </a:lnTo>
                <a:lnTo>
                  <a:pt x="1401" y="1185"/>
                </a:lnTo>
                <a:lnTo>
                  <a:pt x="1386" y="1192"/>
                </a:lnTo>
                <a:lnTo>
                  <a:pt x="1380" y="1194"/>
                </a:lnTo>
                <a:lnTo>
                  <a:pt x="1372" y="1196"/>
                </a:lnTo>
                <a:lnTo>
                  <a:pt x="1357" y="1198"/>
                </a:lnTo>
                <a:lnTo>
                  <a:pt x="1351" y="1196"/>
                </a:lnTo>
                <a:lnTo>
                  <a:pt x="1348" y="1196"/>
                </a:lnTo>
                <a:lnTo>
                  <a:pt x="1346" y="1194"/>
                </a:lnTo>
                <a:lnTo>
                  <a:pt x="1344" y="1190"/>
                </a:lnTo>
                <a:lnTo>
                  <a:pt x="1342" y="1187"/>
                </a:lnTo>
                <a:lnTo>
                  <a:pt x="1340" y="1179"/>
                </a:lnTo>
                <a:lnTo>
                  <a:pt x="1342" y="1173"/>
                </a:lnTo>
                <a:lnTo>
                  <a:pt x="1344" y="1170"/>
                </a:lnTo>
                <a:lnTo>
                  <a:pt x="1344" y="1168"/>
                </a:lnTo>
                <a:lnTo>
                  <a:pt x="1359" y="1166"/>
                </a:lnTo>
                <a:lnTo>
                  <a:pt x="1370" y="1162"/>
                </a:lnTo>
                <a:lnTo>
                  <a:pt x="1380" y="1156"/>
                </a:lnTo>
                <a:lnTo>
                  <a:pt x="1391" y="1149"/>
                </a:lnTo>
                <a:lnTo>
                  <a:pt x="1397" y="1141"/>
                </a:lnTo>
                <a:lnTo>
                  <a:pt x="1399" y="1137"/>
                </a:lnTo>
                <a:lnTo>
                  <a:pt x="1403" y="1132"/>
                </a:lnTo>
                <a:lnTo>
                  <a:pt x="1406" y="1124"/>
                </a:lnTo>
                <a:lnTo>
                  <a:pt x="1408" y="1115"/>
                </a:lnTo>
                <a:lnTo>
                  <a:pt x="1408" y="1111"/>
                </a:lnTo>
                <a:lnTo>
                  <a:pt x="1406" y="1107"/>
                </a:lnTo>
                <a:lnTo>
                  <a:pt x="1403" y="1103"/>
                </a:lnTo>
                <a:lnTo>
                  <a:pt x="1401" y="1101"/>
                </a:lnTo>
                <a:lnTo>
                  <a:pt x="1397" y="1096"/>
                </a:lnTo>
                <a:lnTo>
                  <a:pt x="1393" y="1094"/>
                </a:lnTo>
                <a:lnTo>
                  <a:pt x="1382" y="1094"/>
                </a:lnTo>
                <a:lnTo>
                  <a:pt x="1372" y="1096"/>
                </a:lnTo>
                <a:lnTo>
                  <a:pt x="1367" y="1099"/>
                </a:lnTo>
                <a:lnTo>
                  <a:pt x="1361" y="1101"/>
                </a:lnTo>
                <a:lnTo>
                  <a:pt x="1357" y="1105"/>
                </a:lnTo>
                <a:lnTo>
                  <a:pt x="1351" y="1109"/>
                </a:lnTo>
                <a:lnTo>
                  <a:pt x="1342" y="1120"/>
                </a:lnTo>
                <a:lnTo>
                  <a:pt x="1338" y="1124"/>
                </a:lnTo>
                <a:lnTo>
                  <a:pt x="1334" y="1130"/>
                </a:lnTo>
                <a:lnTo>
                  <a:pt x="1327" y="1145"/>
                </a:lnTo>
                <a:lnTo>
                  <a:pt x="1325" y="1162"/>
                </a:lnTo>
                <a:lnTo>
                  <a:pt x="1323" y="1170"/>
                </a:lnTo>
                <a:lnTo>
                  <a:pt x="1323" y="1179"/>
                </a:lnTo>
                <a:lnTo>
                  <a:pt x="1323" y="1194"/>
                </a:lnTo>
                <a:lnTo>
                  <a:pt x="1325" y="1200"/>
                </a:lnTo>
                <a:lnTo>
                  <a:pt x="1327" y="1206"/>
                </a:lnTo>
                <a:lnTo>
                  <a:pt x="1331" y="1219"/>
                </a:lnTo>
                <a:lnTo>
                  <a:pt x="1338" y="1230"/>
                </a:lnTo>
                <a:lnTo>
                  <a:pt x="1346" y="1238"/>
                </a:lnTo>
                <a:lnTo>
                  <a:pt x="1353" y="1242"/>
                </a:lnTo>
                <a:lnTo>
                  <a:pt x="1357" y="1245"/>
                </a:lnTo>
                <a:lnTo>
                  <a:pt x="1367" y="1249"/>
                </a:lnTo>
                <a:lnTo>
                  <a:pt x="1374" y="1249"/>
                </a:lnTo>
                <a:lnTo>
                  <a:pt x="1380" y="1251"/>
                </a:lnTo>
                <a:lnTo>
                  <a:pt x="1393" y="1249"/>
                </a:lnTo>
                <a:lnTo>
                  <a:pt x="1406" y="1245"/>
                </a:lnTo>
                <a:lnTo>
                  <a:pt x="1410" y="1242"/>
                </a:lnTo>
                <a:lnTo>
                  <a:pt x="1416" y="1240"/>
                </a:lnTo>
                <a:lnTo>
                  <a:pt x="1427" y="1232"/>
                </a:lnTo>
                <a:lnTo>
                  <a:pt x="1435" y="1223"/>
                </a:lnTo>
                <a:lnTo>
                  <a:pt x="1444" y="1213"/>
                </a:lnTo>
                <a:lnTo>
                  <a:pt x="1452" y="1200"/>
                </a:lnTo>
                <a:lnTo>
                  <a:pt x="1458" y="1187"/>
                </a:lnTo>
                <a:lnTo>
                  <a:pt x="1465" y="1175"/>
                </a:lnTo>
                <a:lnTo>
                  <a:pt x="1471" y="1160"/>
                </a:lnTo>
                <a:lnTo>
                  <a:pt x="1475" y="1145"/>
                </a:lnTo>
                <a:lnTo>
                  <a:pt x="1478" y="1132"/>
                </a:lnTo>
                <a:lnTo>
                  <a:pt x="1482" y="1118"/>
                </a:lnTo>
                <a:lnTo>
                  <a:pt x="1482" y="1103"/>
                </a:lnTo>
                <a:lnTo>
                  <a:pt x="1484" y="1090"/>
                </a:lnTo>
                <a:lnTo>
                  <a:pt x="1482" y="1077"/>
                </a:lnTo>
                <a:lnTo>
                  <a:pt x="1484" y="1073"/>
                </a:lnTo>
                <a:lnTo>
                  <a:pt x="1488" y="1071"/>
                </a:lnTo>
                <a:lnTo>
                  <a:pt x="1490" y="1069"/>
                </a:lnTo>
                <a:lnTo>
                  <a:pt x="1497" y="1069"/>
                </a:lnTo>
                <a:lnTo>
                  <a:pt x="1505" y="1071"/>
                </a:lnTo>
                <a:lnTo>
                  <a:pt x="1507" y="1073"/>
                </a:lnTo>
                <a:lnTo>
                  <a:pt x="1511" y="1075"/>
                </a:lnTo>
                <a:lnTo>
                  <a:pt x="1516" y="1082"/>
                </a:lnTo>
                <a:lnTo>
                  <a:pt x="1516" y="1088"/>
                </a:lnTo>
                <a:lnTo>
                  <a:pt x="1516" y="1094"/>
                </a:lnTo>
                <a:lnTo>
                  <a:pt x="1516" y="1113"/>
                </a:lnTo>
                <a:lnTo>
                  <a:pt x="1514" y="1132"/>
                </a:lnTo>
                <a:lnTo>
                  <a:pt x="1509" y="1149"/>
                </a:lnTo>
                <a:lnTo>
                  <a:pt x="1505" y="1166"/>
                </a:lnTo>
                <a:lnTo>
                  <a:pt x="1501" y="1183"/>
                </a:lnTo>
                <a:lnTo>
                  <a:pt x="1494" y="1200"/>
                </a:lnTo>
                <a:lnTo>
                  <a:pt x="1486" y="1215"/>
                </a:lnTo>
                <a:lnTo>
                  <a:pt x="1478" y="1228"/>
                </a:lnTo>
                <a:lnTo>
                  <a:pt x="1467" y="1240"/>
                </a:lnTo>
                <a:lnTo>
                  <a:pt x="1463" y="1247"/>
                </a:lnTo>
                <a:lnTo>
                  <a:pt x="1456" y="1253"/>
                </a:lnTo>
                <a:lnTo>
                  <a:pt x="1446" y="1262"/>
                </a:lnTo>
                <a:lnTo>
                  <a:pt x="1435" y="1270"/>
                </a:lnTo>
                <a:lnTo>
                  <a:pt x="1422" y="1276"/>
                </a:lnTo>
                <a:lnTo>
                  <a:pt x="1408" y="1283"/>
                </a:lnTo>
                <a:lnTo>
                  <a:pt x="1395" y="1285"/>
                </a:lnTo>
                <a:lnTo>
                  <a:pt x="1380" y="1287"/>
                </a:lnTo>
                <a:close/>
                <a:moveTo>
                  <a:pt x="1611" y="1283"/>
                </a:moveTo>
                <a:lnTo>
                  <a:pt x="1605" y="1281"/>
                </a:lnTo>
                <a:lnTo>
                  <a:pt x="1596" y="1274"/>
                </a:lnTo>
                <a:lnTo>
                  <a:pt x="1579" y="1259"/>
                </a:lnTo>
                <a:lnTo>
                  <a:pt x="1560" y="1240"/>
                </a:lnTo>
                <a:lnTo>
                  <a:pt x="1541" y="1219"/>
                </a:lnTo>
                <a:lnTo>
                  <a:pt x="1535" y="1211"/>
                </a:lnTo>
                <a:lnTo>
                  <a:pt x="1530" y="1204"/>
                </a:lnTo>
                <a:lnTo>
                  <a:pt x="1524" y="1192"/>
                </a:lnTo>
                <a:lnTo>
                  <a:pt x="1522" y="1185"/>
                </a:lnTo>
                <a:lnTo>
                  <a:pt x="1522" y="1179"/>
                </a:lnTo>
                <a:lnTo>
                  <a:pt x="1522" y="1173"/>
                </a:lnTo>
                <a:lnTo>
                  <a:pt x="1524" y="1166"/>
                </a:lnTo>
                <a:lnTo>
                  <a:pt x="1528" y="1158"/>
                </a:lnTo>
                <a:lnTo>
                  <a:pt x="1533" y="1149"/>
                </a:lnTo>
                <a:lnTo>
                  <a:pt x="1545" y="1135"/>
                </a:lnTo>
                <a:lnTo>
                  <a:pt x="1564" y="1115"/>
                </a:lnTo>
                <a:lnTo>
                  <a:pt x="1605" y="1067"/>
                </a:lnTo>
                <a:lnTo>
                  <a:pt x="1611" y="1067"/>
                </a:lnTo>
                <a:lnTo>
                  <a:pt x="1617" y="1069"/>
                </a:lnTo>
                <a:lnTo>
                  <a:pt x="1624" y="1073"/>
                </a:lnTo>
                <a:lnTo>
                  <a:pt x="1628" y="1079"/>
                </a:lnTo>
                <a:lnTo>
                  <a:pt x="1628" y="1086"/>
                </a:lnTo>
                <a:lnTo>
                  <a:pt x="1626" y="1092"/>
                </a:lnTo>
                <a:lnTo>
                  <a:pt x="1626" y="1094"/>
                </a:lnTo>
                <a:lnTo>
                  <a:pt x="1624" y="1099"/>
                </a:lnTo>
                <a:lnTo>
                  <a:pt x="1594" y="1132"/>
                </a:lnTo>
                <a:lnTo>
                  <a:pt x="1575" y="1154"/>
                </a:lnTo>
                <a:lnTo>
                  <a:pt x="1562" y="1168"/>
                </a:lnTo>
                <a:lnTo>
                  <a:pt x="1560" y="1173"/>
                </a:lnTo>
                <a:lnTo>
                  <a:pt x="1558" y="1179"/>
                </a:lnTo>
                <a:lnTo>
                  <a:pt x="1560" y="1183"/>
                </a:lnTo>
                <a:lnTo>
                  <a:pt x="1562" y="1190"/>
                </a:lnTo>
                <a:lnTo>
                  <a:pt x="1573" y="1202"/>
                </a:lnTo>
                <a:lnTo>
                  <a:pt x="1590" y="1219"/>
                </a:lnTo>
                <a:lnTo>
                  <a:pt x="1609" y="1238"/>
                </a:lnTo>
                <a:lnTo>
                  <a:pt x="1628" y="1257"/>
                </a:lnTo>
                <a:lnTo>
                  <a:pt x="1630" y="1259"/>
                </a:lnTo>
                <a:lnTo>
                  <a:pt x="1632" y="1262"/>
                </a:lnTo>
                <a:lnTo>
                  <a:pt x="1630" y="1266"/>
                </a:lnTo>
                <a:lnTo>
                  <a:pt x="1630" y="1268"/>
                </a:lnTo>
                <a:lnTo>
                  <a:pt x="1624" y="1276"/>
                </a:lnTo>
                <a:lnTo>
                  <a:pt x="1617" y="1281"/>
                </a:lnTo>
                <a:lnTo>
                  <a:pt x="1613" y="1283"/>
                </a:lnTo>
                <a:lnTo>
                  <a:pt x="1611" y="1283"/>
                </a:lnTo>
                <a:close/>
                <a:moveTo>
                  <a:pt x="1380" y="1877"/>
                </a:moveTo>
                <a:lnTo>
                  <a:pt x="1370" y="1877"/>
                </a:lnTo>
                <a:lnTo>
                  <a:pt x="1361" y="1875"/>
                </a:lnTo>
                <a:lnTo>
                  <a:pt x="1353" y="1873"/>
                </a:lnTo>
                <a:lnTo>
                  <a:pt x="1344" y="1869"/>
                </a:lnTo>
                <a:lnTo>
                  <a:pt x="1336" y="1865"/>
                </a:lnTo>
                <a:lnTo>
                  <a:pt x="1329" y="1861"/>
                </a:lnTo>
                <a:lnTo>
                  <a:pt x="1323" y="1854"/>
                </a:lnTo>
                <a:lnTo>
                  <a:pt x="1315" y="1848"/>
                </a:lnTo>
                <a:lnTo>
                  <a:pt x="1310" y="1839"/>
                </a:lnTo>
                <a:lnTo>
                  <a:pt x="1304" y="1831"/>
                </a:lnTo>
                <a:lnTo>
                  <a:pt x="1295" y="1814"/>
                </a:lnTo>
                <a:lnTo>
                  <a:pt x="1293" y="1803"/>
                </a:lnTo>
                <a:lnTo>
                  <a:pt x="1291" y="1793"/>
                </a:lnTo>
                <a:lnTo>
                  <a:pt x="1289" y="1782"/>
                </a:lnTo>
                <a:lnTo>
                  <a:pt x="1289" y="1772"/>
                </a:lnTo>
                <a:lnTo>
                  <a:pt x="1289" y="1761"/>
                </a:lnTo>
                <a:lnTo>
                  <a:pt x="1291" y="1748"/>
                </a:lnTo>
                <a:lnTo>
                  <a:pt x="1293" y="1738"/>
                </a:lnTo>
                <a:lnTo>
                  <a:pt x="1295" y="1727"/>
                </a:lnTo>
                <a:lnTo>
                  <a:pt x="1300" y="1719"/>
                </a:lnTo>
                <a:lnTo>
                  <a:pt x="1306" y="1708"/>
                </a:lnTo>
                <a:lnTo>
                  <a:pt x="1310" y="1700"/>
                </a:lnTo>
                <a:lnTo>
                  <a:pt x="1317" y="1691"/>
                </a:lnTo>
                <a:lnTo>
                  <a:pt x="1323" y="1683"/>
                </a:lnTo>
                <a:lnTo>
                  <a:pt x="1331" y="1676"/>
                </a:lnTo>
                <a:lnTo>
                  <a:pt x="1340" y="1670"/>
                </a:lnTo>
                <a:lnTo>
                  <a:pt x="1348" y="1666"/>
                </a:lnTo>
                <a:lnTo>
                  <a:pt x="1357" y="1662"/>
                </a:lnTo>
                <a:lnTo>
                  <a:pt x="1365" y="1657"/>
                </a:lnTo>
                <a:lnTo>
                  <a:pt x="1376" y="1655"/>
                </a:lnTo>
                <a:lnTo>
                  <a:pt x="1384" y="1655"/>
                </a:lnTo>
                <a:lnTo>
                  <a:pt x="1397" y="1657"/>
                </a:lnTo>
                <a:lnTo>
                  <a:pt x="1403" y="1657"/>
                </a:lnTo>
                <a:lnTo>
                  <a:pt x="1408" y="1659"/>
                </a:lnTo>
                <a:lnTo>
                  <a:pt x="1416" y="1666"/>
                </a:lnTo>
                <a:lnTo>
                  <a:pt x="1425" y="1672"/>
                </a:lnTo>
                <a:lnTo>
                  <a:pt x="1431" y="1681"/>
                </a:lnTo>
                <a:lnTo>
                  <a:pt x="1435" y="1689"/>
                </a:lnTo>
                <a:lnTo>
                  <a:pt x="1437" y="1702"/>
                </a:lnTo>
                <a:lnTo>
                  <a:pt x="1439" y="1712"/>
                </a:lnTo>
                <a:lnTo>
                  <a:pt x="1439" y="1721"/>
                </a:lnTo>
                <a:lnTo>
                  <a:pt x="1437" y="1727"/>
                </a:lnTo>
                <a:lnTo>
                  <a:pt x="1435" y="1736"/>
                </a:lnTo>
                <a:lnTo>
                  <a:pt x="1431" y="1742"/>
                </a:lnTo>
                <a:lnTo>
                  <a:pt x="1429" y="1748"/>
                </a:lnTo>
                <a:lnTo>
                  <a:pt x="1425" y="1755"/>
                </a:lnTo>
                <a:lnTo>
                  <a:pt x="1414" y="1767"/>
                </a:lnTo>
                <a:lnTo>
                  <a:pt x="1408" y="1772"/>
                </a:lnTo>
                <a:lnTo>
                  <a:pt x="1401" y="1776"/>
                </a:lnTo>
                <a:lnTo>
                  <a:pt x="1386" y="1784"/>
                </a:lnTo>
                <a:lnTo>
                  <a:pt x="1380" y="1786"/>
                </a:lnTo>
                <a:lnTo>
                  <a:pt x="1372" y="1789"/>
                </a:lnTo>
                <a:lnTo>
                  <a:pt x="1357" y="1791"/>
                </a:lnTo>
                <a:lnTo>
                  <a:pt x="1351" y="1789"/>
                </a:lnTo>
                <a:lnTo>
                  <a:pt x="1348" y="1786"/>
                </a:lnTo>
                <a:lnTo>
                  <a:pt x="1346" y="1784"/>
                </a:lnTo>
                <a:lnTo>
                  <a:pt x="1344" y="1782"/>
                </a:lnTo>
                <a:lnTo>
                  <a:pt x="1342" y="1778"/>
                </a:lnTo>
                <a:lnTo>
                  <a:pt x="1340" y="1772"/>
                </a:lnTo>
                <a:lnTo>
                  <a:pt x="1342" y="1765"/>
                </a:lnTo>
                <a:lnTo>
                  <a:pt x="1344" y="1763"/>
                </a:lnTo>
                <a:lnTo>
                  <a:pt x="1344" y="1761"/>
                </a:lnTo>
                <a:lnTo>
                  <a:pt x="1359" y="1759"/>
                </a:lnTo>
                <a:lnTo>
                  <a:pt x="1370" y="1753"/>
                </a:lnTo>
                <a:lnTo>
                  <a:pt x="1380" y="1748"/>
                </a:lnTo>
                <a:lnTo>
                  <a:pt x="1391" y="1740"/>
                </a:lnTo>
                <a:lnTo>
                  <a:pt x="1397" y="1734"/>
                </a:lnTo>
                <a:lnTo>
                  <a:pt x="1399" y="1729"/>
                </a:lnTo>
                <a:lnTo>
                  <a:pt x="1403" y="1725"/>
                </a:lnTo>
                <a:lnTo>
                  <a:pt x="1406" y="1717"/>
                </a:lnTo>
                <a:lnTo>
                  <a:pt x="1408" y="1708"/>
                </a:lnTo>
                <a:lnTo>
                  <a:pt x="1408" y="1704"/>
                </a:lnTo>
                <a:lnTo>
                  <a:pt x="1406" y="1698"/>
                </a:lnTo>
                <a:lnTo>
                  <a:pt x="1403" y="1695"/>
                </a:lnTo>
                <a:lnTo>
                  <a:pt x="1401" y="1691"/>
                </a:lnTo>
                <a:lnTo>
                  <a:pt x="1397" y="1689"/>
                </a:lnTo>
                <a:lnTo>
                  <a:pt x="1393" y="1687"/>
                </a:lnTo>
                <a:lnTo>
                  <a:pt x="1382" y="1685"/>
                </a:lnTo>
                <a:lnTo>
                  <a:pt x="1372" y="1687"/>
                </a:lnTo>
                <a:lnTo>
                  <a:pt x="1367" y="1689"/>
                </a:lnTo>
                <a:lnTo>
                  <a:pt x="1361" y="1691"/>
                </a:lnTo>
                <a:lnTo>
                  <a:pt x="1357" y="1695"/>
                </a:lnTo>
                <a:lnTo>
                  <a:pt x="1351" y="1700"/>
                </a:lnTo>
                <a:lnTo>
                  <a:pt x="1342" y="1710"/>
                </a:lnTo>
                <a:lnTo>
                  <a:pt x="1338" y="1717"/>
                </a:lnTo>
                <a:lnTo>
                  <a:pt x="1334" y="1723"/>
                </a:lnTo>
                <a:lnTo>
                  <a:pt x="1327" y="1738"/>
                </a:lnTo>
                <a:lnTo>
                  <a:pt x="1325" y="1753"/>
                </a:lnTo>
                <a:lnTo>
                  <a:pt x="1323" y="1761"/>
                </a:lnTo>
                <a:lnTo>
                  <a:pt x="1323" y="1770"/>
                </a:lnTo>
                <a:lnTo>
                  <a:pt x="1323" y="1784"/>
                </a:lnTo>
                <a:lnTo>
                  <a:pt x="1325" y="1793"/>
                </a:lnTo>
                <a:lnTo>
                  <a:pt x="1327" y="1799"/>
                </a:lnTo>
                <a:lnTo>
                  <a:pt x="1331" y="1812"/>
                </a:lnTo>
                <a:lnTo>
                  <a:pt x="1338" y="1822"/>
                </a:lnTo>
                <a:lnTo>
                  <a:pt x="1346" y="1831"/>
                </a:lnTo>
                <a:lnTo>
                  <a:pt x="1353" y="1833"/>
                </a:lnTo>
                <a:lnTo>
                  <a:pt x="1357" y="1837"/>
                </a:lnTo>
                <a:lnTo>
                  <a:pt x="1367" y="1841"/>
                </a:lnTo>
                <a:lnTo>
                  <a:pt x="1374" y="1841"/>
                </a:lnTo>
                <a:lnTo>
                  <a:pt x="1380" y="1841"/>
                </a:lnTo>
                <a:lnTo>
                  <a:pt x="1393" y="1841"/>
                </a:lnTo>
                <a:lnTo>
                  <a:pt x="1406" y="1837"/>
                </a:lnTo>
                <a:lnTo>
                  <a:pt x="1410" y="1835"/>
                </a:lnTo>
                <a:lnTo>
                  <a:pt x="1416" y="1831"/>
                </a:lnTo>
                <a:lnTo>
                  <a:pt x="1427" y="1825"/>
                </a:lnTo>
                <a:lnTo>
                  <a:pt x="1435" y="1814"/>
                </a:lnTo>
                <a:lnTo>
                  <a:pt x="1444" y="1803"/>
                </a:lnTo>
                <a:lnTo>
                  <a:pt x="1452" y="1793"/>
                </a:lnTo>
                <a:lnTo>
                  <a:pt x="1458" y="1780"/>
                </a:lnTo>
                <a:lnTo>
                  <a:pt x="1465" y="1765"/>
                </a:lnTo>
                <a:lnTo>
                  <a:pt x="1471" y="1753"/>
                </a:lnTo>
                <a:lnTo>
                  <a:pt x="1475" y="1738"/>
                </a:lnTo>
                <a:lnTo>
                  <a:pt x="1478" y="1723"/>
                </a:lnTo>
                <a:lnTo>
                  <a:pt x="1482" y="1708"/>
                </a:lnTo>
                <a:lnTo>
                  <a:pt x="1482" y="1695"/>
                </a:lnTo>
                <a:lnTo>
                  <a:pt x="1484" y="1681"/>
                </a:lnTo>
                <a:lnTo>
                  <a:pt x="1482" y="1668"/>
                </a:lnTo>
                <a:lnTo>
                  <a:pt x="1484" y="1666"/>
                </a:lnTo>
                <a:lnTo>
                  <a:pt x="1488" y="1664"/>
                </a:lnTo>
                <a:lnTo>
                  <a:pt x="1490" y="1662"/>
                </a:lnTo>
                <a:lnTo>
                  <a:pt x="1497" y="1662"/>
                </a:lnTo>
                <a:lnTo>
                  <a:pt x="1505" y="1662"/>
                </a:lnTo>
                <a:lnTo>
                  <a:pt x="1507" y="1664"/>
                </a:lnTo>
                <a:lnTo>
                  <a:pt x="1511" y="1666"/>
                </a:lnTo>
                <a:lnTo>
                  <a:pt x="1516" y="1674"/>
                </a:lnTo>
                <a:lnTo>
                  <a:pt x="1516" y="1681"/>
                </a:lnTo>
                <a:lnTo>
                  <a:pt x="1516" y="1687"/>
                </a:lnTo>
                <a:lnTo>
                  <a:pt x="1516" y="1706"/>
                </a:lnTo>
                <a:lnTo>
                  <a:pt x="1514" y="1723"/>
                </a:lnTo>
                <a:lnTo>
                  <a:pt x="1509" y="1742"/>
                </a:lnTo>
                <a:lnTo>
                  <a:pt x="1505" y="1759"/>
                </a:lnTo>
                <a:lnTo>
                  <a:pt x="1501" y="1776"/>
                </a:lnTo>
                <a:lnTo>
                  <a:pt x="1494" y="1791"/>
                </a:lnTo>
                <a:lnTo>
                  <a:pt x="1486" y="1805"/>
                </a:lnTo>
                <a:lnTo>
                  <a:pt x="1478" y="1820"/>
                </a:lnTo>
                <a:lnTo>
                  <a:pt x="1467" y="1833"/>
                </a:lnTo>
                <a:lnTo>
                  <a:pt x="1463" y="1839"/>
                </a:lnTo>
                <a:lnTo>
                  <a:pt x="1456" y="1844"/>
                </a:lnTo>
                <a:lnTo>
                  <a:pt x="1446" y="1854"/>
                </a:lnTo>
                <a:lnTo>
                  <a:pt x="1435" y="1863"/>
                </a:lnTo>
                <a:lnTo>
                  <a:pt x="1422" y="1869"/>
                </a:lnTo>
                <a:lnTo>
                  <a:pt x="1408" y="1873"/>
                </a:lnTo>
                <a:lnTo>
                  <a:pt x="1395" y="1877"/>
                </a:lnTo>
                <a:lnTo>
                  <a:pt x="1380" y="1877"/>
                </a:lnTo>
                <a:close/>
                <a:moveTo>
                  <a:pt x="1611" y="1873"/>
                </a:moveTo>
                <a:lnTo>
                  <a:pt x="1605" y="1871"/>
                </a:lnTo>
                <a:lnTo>
                  <a:pt x="1596" y="1867"/>
                </a:lnTo>
                <a:lnTo>
                  <a:pt x="1579" y="1852"/>
                </a:lnTo>
                <a:lnTo>
                  <a:pt x="1560" y="1831"/>
                </a:lnTo>
                <a:lnTo>
                  <a:pt x="1541" y="1812"/>
                </a:lnTo>
                <a:lnTo>
                  <a:pt x="1535" y="1803"/>
                </a:lnTo>
                <a:lnTo>
                  <a:pt x="1530" y="1795"/>
                </a:lnTo>
                <a:lnTo>
                  <a:pt x="1524" y="1784"/>
                </a:lnTo>
                <a:lnTo>
                  <a:pt x="1522" y="1778"/>
                </a:lnTo>
                <a:lnTo>
                  <a:pt x="1522" y="1772"/>
                </a:lnTo>
                <a:lnTo>
                  <a:pt x="1522" y="1765"/>
                </a:lnTo>
                <a:lnTo>
                  <a:pt x="1524" y="1757"/>
                </a:lnTo>
                <a:lnTo>
                  <a:pt x="1528" y="1750"/>
                </a:lnTo>
                <a:lnTo>
                  <a:pt x="1533" y="1742"/>
                </a:lnTo>
                <a:lnTo>
                  <a:pt x="1545" y="1727"/>
                </a:lnTo>
                <a:lnTo>
                  <a:pt x="1564" y="1706"/>
                </a:lnTo>
                <a:lnTo>
                  <a:pt x="1605" y="1659"/>
                </a:lnTo>
                <a:lnTo>
                  <a:pt x="1611" y="1659"/>
                </a:lnTo>
                <a:lnTo>
                  <a:pt x="1617" y="1662"/>
                </a:lnTo>
                <a:lnTo>
                  <a:pt x="1624" y="1666"/>
                </a:lnTo>
                <a:lnTo>
                  <a:pt x="1628" y="1672"/>
                </a:lnTo>
                <a:lnTo>
                  <a:pt x="1628" y="1676"/>
                </a:lnTo>
                <a:lnTo>
                  <a:pt x="1626" y="1683"/>
                </a:lnTo>
                <a:lnTo>
                  <a:pt x="1626" y="1687"/>
                </a:lnTo>
                <a:lnTo>
                  <a:pt x="1624" y="1691"/>
                </a:lnTo>
                <a:lnTo>
                  <a:pt x="1594" y="1725"/>
                </a:lnTo>
                <a:lnTo>
                  <a:pt x="1575" y="1744"/>
                </a:lnTo>
                <a:lnTo>
                  <a:pt x="1562" y="1761"/>
                </a:lnTo>
                <a:lnTo>
                  <a:pt x="1560" y="1765"/>
                </a:lnTo>
                <a:lnTo>
                  <a:pt x="1558" y="1770"/>
                </a:lnTo>
                <a:lnTo>
                  <a:pt x="1560" y="1776"/>
                </a:lnTo>
                <a:lnTo>
                  <a:pt x="1562" y="1780"/>
                </a:lnTo>
                <a:lnTo>
                  <a:pt x="1573" y="1793"/>
                </a:lnTo>
                <a:lnTo>
                  <a:pt x="1590" y="1810"/>
                </a:lnTo>
                <a:lnTo>
                  <a:pt x="1609" y="1831"/>
                </a:lnTo>
                <a:lnTo>
                  <a:pt x="1628" y="1848"/>
                </a:lnTo>
                <a:lnTo>
                  <a:pt x="1630" y="1850"/>
                </a:lnTo>
                <a:lnTo>
                  <a:pt x="1632" y="1854"/>
                </a:lnTo>
                <a:lnTo>
                  <a:pt x="1630" y="1856"/>
                </a:lnTo>
                <a:lnTo>
                  <a:pt x="1630" y="1861"/>
                </a:lnTo>
                <a:lnTo>
                  <a:pt x="1624" y="1867"/>
                </a:lnTo>
                <a:lnTo>
                  <a:pt x="1617" y="1873"/>
                </a:lnTo>
                <a:lnTo>
                  <a:pt x="1613" y="1873"/>
                </a:lnTo>
                <a:lnTo>
                  <a:pt x="1611" y="1873"/>
                </a:lnTo>
                <a:close/>
                <a:moveTo>
                  <a:pt x="3613" y="679"/>
                </a:moveTo>
                <a:lnTo>
                  <a:pt x="3603" y="671"/>
                </a:lnTo>
                <a:lnTo>
                  <a:pt x="3594" y="663"/>
                </a:lnTo>
                <a:lnTo>
                  <a:pt x="3588" y="652"/>
                </a:lnTo>
                <a:lnTo>
                  <a:pt x="3582" y="641"/>
                </a:lnTo>
                <a:lnTo>
                  <a:pt x="3579" y="635"/>
                </a:lnTo>
                <a:lnTo>
                  <a:pt x="3577" y="629"/>
                </a:lnTo>
                <a:lnTo>
                  <a:pt x="3573" y="616"/>
                </a:lnTo>
                <a:lnTo>
                  <a:pt x="3571" y="603"/>
                </a:lnTo>
                <a:lnTo>
                  <a:pt x="3569" y="588"/>
                </a:lnTo>
                <a:lnTo>
                  <a:pt x="3571" y="574"/>
                </a:lnTo>
                <a:lnTo>
                  <a:pt x="3573" y="561"/>
                </a:lnTo>
                <a:lnTo>
                  <a:pt x="3577" y="546"/>
                </a:lnTo>
                <a:lnTo>
                  <a:pt x="3582" y="533"/>
                </a:lnTo>
                <a:lnTo>
                  <a:pt x="3588" y="523"/>
                </a:lnTo>
                <a:lnTo>
                  <a:pt x="3594" y="510"/>
                </a:lnTo>
                <a:lnTo>
                  <a:pt x="3603" y="502"/>
                </a:lnTo>
                <a:lnTo>
                  <a:pt x="3613" y="493"/>
                </a:lnTo>
                <a:lnTo>
                  <a:pt x="3613" y="544"/>
                </a:lnTo>
                <a:lnTo>
                  <a:pt x="3609" y="555"/>
                </a:lnTo>
                <a:lnTo>
                  <a:pt x="3607" y="565"/>
                </a:lnTo>
                <a:lnTo>
                  <a:pt x="3605" y="576"/>
                </a:lnTo>
                <a:lnTo>
                  <a:pt x="3603" y="586"/>
                </a:lnTo>
                <a:lnTo>
                  <a:pt x="3605" y="599"/>
                </a:lnTo>
                <a:lnTo>
                  <a:pt x="3607" y="610"/>
                </a:lnTo>
                <a:lnTo>
                  <a:pt x="3609" y="618"/>
                </a:lnTo>
                <a:lnTo>
                  <a:pt x="3613" y="629"/>
                </a:lnTo>
                <a:lnTo>
                  <a:pt x="3613" y="679"/>
                </a:lnTo>
                <a:close/>
                <a:moveTo>
                  <a:pt x="3613" y="1270"/>
                </a:moveTo>
                <a:lnTo>
                  <a:pt x="3603" y="1264"/>
                </a:lnTo>
                <a:lnTo>
                  <a:pt x="3594" y="1253"/>
                </a:lnTo>
                <a:lnTo>
                  <a:pt x="3588" y="1245"/>
                </a:lnTo>
                <a:lnTo>
                  <a:pt x="3582" y="1232"/>
                </a:lnTo>
                <a:lnTo>
                  <a:pt x="3579" y="1228"/>
                </a:lnTo>
                <a:lnTo>
                  <a:pt x="3577" y="1221"/>
                </a:lnTo>
                <a:lnTo>
                  <a:pt x="3573" y="1209"/>
                </a:lnTo>
                <a:lnTo>
                  <a:pt x="3571" y="1194"/>
                </a:lnTo>
                <a:lnTo>
                  <a:pt x="3569" y="1179"/>
                </a:lnTo>
                <a:lnTo>
                  <a:pt x="3571" y="1166"/>
                </a:lnTo>
                <a:lnTo>
                  <a:pt x="3573" y="1151"/>
                </a:lnTo>
                <a:lnTo>
                  <a:pt x="3577" y="1139"/>
                </a:lnTo>
                <a:lnTo>
                  <a:pt x="3582" y="1126"/>
                </a:lnTo>
                <a:lnTo>
                  <a:pt x="3588" y="1113"/>
                </a:lnTo>
                <a:lnTo>
                  <a:pt x="3594" y="1103"/>
                </a:lnTo>
                <a:lnTo>
                  <a:pt x="3603" y="1092"/>
                </a:lnTo>
                <a:lnTo>
                  <a:pt x="3613" y="1084"/>
                </a:lnTo>
                <a:lnTo>
                  <a:pt x="3613" y="1137"/>
                </a:lnTo>
                <a:lnTo>
                  <a:pt x="3609" y="1145"/>
                </a:lnTo>
                <a:lnTo>
                  <a:pt x="3607" y="1156"/>
                </a:lnTo>
                <a:lnTo>
                  <a:pt x="3605" y="1166"/>
                </a:lnTo>
                <a:lnTo>
                  <a:pt x="3603" y="1179"/>
                </a:lnTo>
                <a:lnTo>
                  <a:pt x="3605" y="1190"/>
                </a:lnTo>
                <a:lnTo>
                  <a:pt x="3607" y="1200"/>
                </a:lnTo>
                <a:lnTo>
                  <a:pt x="3609" y="1211"/>
                </a:lnTo>
                <a:lnTo>
                  <a:pt x="3613" y="1219"/>
                </a:lnTo>
                <a:lnTo>
                  <a:pt x="3613" y="1270"/>
                </a:lnTo>
                <a:close/>
                <a:moveTo>
                  <a:pt x="3613" y="1863"/>
                </a:moveTo>
                <a:lnTo>
                  <a:pt x="3603" y="1854"/>
                </a:lnTo>
                <a:lnTo>
                  <a:pt x="3594" y="1846"/>
                </a:lnTo>
                <a:lnTo>
                  <a:pt x="3588" y="1835"/>
                </a:lnTo>
                <a:lnTo>
                  <a:pt x="3582" y="1825"/>
                </a:lnTo>
                <a:lnTo>
                  <a:pt x="3579" y="1818"/>
                </a:lnTo>
                <a:lnTo>
                  <a:pt x="3577" y="1812"/>
                </a:lnTo>
                <a:lnTo>
                  <a:pt x="3573" y="1799"/>
                </a:lnTo>
                <a:lnTo>
                  <a:pt x="3571" y="1786"/>
                </a:lnTo>
                <a:lnTo>
                  <a:pt x="3569" y="1772"/>
                </a:lnTo>
                <a:lnTo>
                  <a:pt x="3571" y="1757"/>
                </a:lnTo>
                <a:lnTo>
                  <a:pt x="3573" y="1744"/>
                </a:lnTo>
                <a:lnTo>
                  <a:pt x="3577" y="1729"/>
                </a:lnTo>
                <a:lnTo>
                  <a:pt x="3582" y="1717"/>
                </a:lnTo>
                <a:lnTo>
                  <a:pt x="3588" y="1706"/>
                </a:lnTo>
                <a:lnTo>
                  <a:pt x="3594" y="1693"/>
                </a:lnTo>
                <a:lnTo>
                  <a:pt x="3603" y="1685"/>
                </a:lnTo>
                <a:lnTo>
                  <a:pt x="3613" y="1676"/>
                </a:lnTo>
                <a:lnTo>
                  <a:pt x="3613" y="1727"/>
                </a:lnTo>
                <a:lnTo>
                  <a:pt x="3609" y="1738"/>
                </a:lnTo>
                <a:lnTo>
                  <a:pt x="3607" y="1748"/>
                </a:lnTo>
                <a:lnTo>
                  <a:pt x="3605" y="1759"/>
                </a:lnTo>
                <a:lnTo>
                  <a:pt x="3603" y="1770"/>
                </a:lnTo>
                <a:lnTo>
                  <a:pt x="3605" y="1782"/>
                </a:lnTo>
                <a:lnTo>
                  <a:pt x="3607" y="1793"/>
                </a:lnTo>
                <a:lnTo>
                  <a:pt x="3609" y="1801"/>
                </a:lnTo>
                <a:lnTo>
                  <a:pt x="3613" y="1812"/>
                </a:lnTo>
                <a:lnTo>
                  <a:pt x="3613" y="1863"/>
                </a:lnTo>
                <a:close/>
                <a:moveTo>
                  <a:pt x="1653" y="2747"/>
                </a:moveTo>
                <a:lnTo>
                  <a:pt x="1645" y="2747"/>
                </a:lnTo>
                <a:lnTo>
                  <a:pt x="1636" y="2745"/>
                </a:lnTo>
                <a:lnTo>
                  <a:pt x="1628" y="2743"/>
                </a:lnTo>
                <a:lnTo>
                  <a:pt x="1619" y="2739"/>
                </a:lnTo>
                <a:lnTo>
                  <a:pt x="1611" y="2735"/>
                </a:lnTo>
                <a:lnTo>
                  <a:pt x="1602" y="2730"/>
                </a:lnTo>
                <a:lnTo>
                  <a:pt x="1596" y="2724"/>
                </a:lnTo>
                <a:lnTo>
                  <a:pt x="1590" y="2718"/>
                </a:lnTo>
                <a:lnTo>
                  <a:pt x="1583" y="2709"/>
                </a:lnTo>
                <a:lnTo>
                  <a:pt x="1579" y="2701"/>
                </a:lnTo>
                <a:lnTo>
                  <a:pt x="1571" y="2684"/>
                </a:lnTo>
                <a:lnTo>
                  <a:pt x="1569" y="2673"/>
                </a:lnTo>
                <a:lnTo>
                  <a:pt x="1564" y="2663"/>
                </a:lnTo>
                <a:lnTo>
                  <a:pt x="1564" y="2652"/>
                </a:lnTo>
                <a:lnTo>
                  <a:pt x="1564" y="2642"/>
                </a:lnTo>
                <a:lnTo>
                  <a:pt x="1564" y="2631"/>
                </a:lnTo>
                <a:lnTo>
                  <a:pt x="1564" y="2620"/>
                </a:lnTo>
                <a:lnTo>
                  <a:pt x="1569" y="2608"/>
                </a:lnTo>
                <a:lnTo>
                  <a:pt x="1571" y="2597"/>
                </a:lnTo>
                <a:lnTo>
                  <a:pt x="1575" y="2589"/>
                </a:lnTo>
                <a:lnTo>
                  <a:pt x="1579" y="2578"/>
                </a:lnTo>
                <a:lnTo>
                  <a:pt x="1585" y="2570"/>
                </a:lnTo>
                <a:lnTo>
                  <a:pt x="1592" y="2561"/>
                </a:lnTo>
                <a:lnTo>
                  <a:pt x="1598" y="2553"/>
                </a:lnTo>
                <a:lnTo>
                  <a:pt x="1607" y="2546"/>
                </a:lnTo>
                <a:lnTo>
                  <a:pt x="1613" y="2540"/>
                </a:lnTo>
                <a:lnTo>
                  <a:pt x="1621" y="2536"/>
                </a:lnTo>
                <a:lnTo>
                  <a:pt x="1630" y="2531"/>
                </a:lnTo>
                <a:lnTo>
                  <a:pt x="1641" y="2527"/>
                </a:lnTo>
                <a:lnTo>
                  <a:pt x="1649" y="2527"/>
                </a:lnTo>
                <a:lnTo>
                  <a:pt x="1660" y="2525"/>
                </a:lnTo>
                <a:lnTo>
                  <a:pt x="1672" y="2527"/>
                </a:lnTo>
                <a:lnTo>
                  <a:pt x="1676" y="2527"/>
                </a:lnTo>
                <a:lnTo>
                  <a:pt x="1683" y="2529"/>
                </a:lnTo>
                <a:lnTo>
                  <a:pt x="1691" y="2536"/>
                </a:lnTo>
                <a:lnTo>
                  <a:pt x="1700" y="2542"/>
                </a:lnTo>
                <a:lnTo>
                  <a:pt x="1706" y="2551"/>
                </a:lnTo>
                <a:lnTo>
                  <a:pt x="1710" y="2561"/>
                </a:lnTo>
                <a:lnTo>
                  <a:pt x="1712" y="2572"/>
                </a:lnTo>
                <a:lnTo>
                  <a:pt x="1715" y="2582"/>
                </a:lnTo>
                <a:lnTo>
                  <a:pt x="1712" y="2591"/>
                </a:lnTo>
                <a:lnTo>
                  <a:pt x="1712" y="2597"/>
                </a:lnTo>
                <a:lnTo>
                  <a:pt x="1710" y="2606"/>
                </a:lnTo>
                <a:lnTo>
                  <a:pt x="1706" y="2612"/>
                </a:lnTo>
                <a:lnTo>
                  <a:pt x="1702" y="2618"/>
                </a:lnTo>
                <a:lnTo>
                  <a:pt x="1698" y="2625"/>
                </a:lnTo>
                <a:lnTo>
                  <a:pt x="1687" y="2637"/>
                </a:lnTo>
                <a:lnTo>
                  <a:pt x="1681" y="2642"/>
                </a:lnTo>
                <a:lnTo>
                  <a:pt x="1674" y="2646"/>
                </a:lnTo>
                <a:lnTo>
                  <a:pt x="1662" y="2654"/>
                </a:lnTo>
                <a:lnTo>
                  <a:pt x="1653" y="2656"/>
                </a:lnTo>
                <a:lnTo>
                  <a:pt x="1647" y="2658"/>
                </a:lnTo>
                <a:lnTo>
                  <a:pt x="1632" y="2661"/>
                </a:lnTo>
                <a:lnTo>
                  <a:pt x="1626" y="2658"/>
                </a:lnTo>
                <a:lnTo>
                  <a:pt x="1621" y="2656"/>
                </a:lnTo>
                <a:lnTo>
                  <a:pt x="1619" y="2654"/>
                </a:lnTo>
                <a:lnTo>
                  <a:pt x="1617" y="2652"/>
                </a:lnTo>
                <a:lnTo>
                  <a:pt x="1617" y="2648"/>
                </a:lnTo>
                <a:lnTo>
                  <a:pt x="1615" y="2642"/>
                </a:lnTo>
                <a:lnTo>
                  <a:pt x="1617" y="2635"/>
                </a:lnTo>
                <a:lnTo>
                  <a:pt x="1617" y="2633"/>
                </a:lnTo>
                <a:lnTo>
                  <a:pt x="1619" y="2631"/>
                </a:lnTo>
                <a:lnTo>
                  <a:pt x="1632" y="2629"/>
                </a:lnTo>
                <a:lnTo>
                  <a:pt x="1645" y="2625"/>
                </a:lnTo>
                <a:lnTo>
                  <a:pt x="1655" y="2618"/>
                </a:lnTo>
                <a:lnTo>
                  <a:pt x="1664" y="2612"/>
                </a:lnTo>
                <a:lnTo>
                  <a:pt x="1672" y="2603"/>
                </a:lnTo>
                <a:lnTo>
                  <a:pt x="1674" y="2599"/>
                </a:lnTo>
                <a:lnTo>
                  <a:pt x="1676" y="2595"/>
                </a:lnTo>
                <a:lnTo>
                  <a:pt x="1681" y="2587"/>
                </a:lnTo>
                <a:lnTo>
                  <a:pt x="1683" y="2578"/>
                </a:lnTo>
                <a:lnTo>
                  <a:pt x="1681" y="2574"/>
                </a:lnTo>
                <a:lnTo>
                  <a:pt x="1681" y="2570"/>
                </a:lnTo>
                <a:lnTo>
                  <a:pt x="1679" y="2565"/>
                </a:lnTo>
                <a:lnTo>
                  <a:pt x="1674" y="2561"/>
                </a:lnTo>
                <a:lnTo>
                  <a:pt x="1672" y="2559"/>
                </a:lnTo>
                <a:lnTo>
                  <a:pt x="1668" y="2557"/>
                </a:lnTo>
                <a:lnTo>
                  <a:pt x="1657" y="2555"/>
                </a:lnTo>
                <a:lnTo>
                  <a:pt x="1647" y="2557"/>
                </a:lnTo>
                <a:lnTo>
                  <a:pt x="1641" y="2559"/>
                </a:lnTo>
                <a:lnTo>
                  <a:pt x="1636" y="2563"/>
                </a:lnTo>
                <a:lnTo>
                  <a:pt x="1630" y="2565"/>
                </a:lnTo>
                <a:lnTo>
                  <a:pt x="1626" y="2570"/>
                </a:lnTo>
                <a:lnTo>
                  <a:pt x="1617" y="2580"/>
                </a:lnTo>
                <a:lnTo>
                  <a:pt x="1613" y="2587"/>
                </a:lnTo>
                <a:lnTo>
                  <a:pt x="1609" y="2593"/>
                </a:lnTo>
                <a:lnTo>
                  <a:pt x="1602" y="2608"/>
                </a:lnTo>
                <a:lnTo>
                  <a:pt x="1598" y="2623"/>
                </a:lnTo>
                <a:lnTo>
                  <a:pt x="1598" y="2631"/>
                </a:lnTo>
                <a:lnTo>
                  <a:pt x="1596" y="2639"/>
                </a:lnTo>
                <a:lnTo>
                  <a:pt x="1598" y="2654"/>
                </a:lnTo>
                <a:lnTo>
                  <a:pt x="1600" y="2663"/>
                </a:lnTo>
                <a:lnTo>
                  <a:pt x="1600" y="2669"/>
                </a:lnTo>
                <a:lnTo>
                  <a:pt x="1607" y="2682"/>
                </a:lnTo>
                <a:lnTo>
                  <a:pt x="1613" y="2692"/>
                </a:lnTo>
                <a:lnTo>
                  <a:pt x="1621" y="2701"/>
                </a:lnTo>
                <a:lnTo>
                  <a:pt x="1626" y="2703"/>
                </a:lnTo>
                <a:lnTo>
                  <a:pt x="1632" y="2707"/>
                </a:lnTo>
                <a:lnTo>
                  <a:pt x="1643" y="2711"/>
                </a:lnTo>
                <a:lnTo>
                  <a:pt x="1649" y="2711"/>
                </a:lnTo>
                <a:lnTo>
                  <a:pt x="1655" y="2711"/>
                </a:lnTo>
                <a:lnTo>
                  <a:pt x="1668" y="2711"/>
                </a:lnTo>
                <a:lnTo>
                  <a:pt x="1679" y="2707"/>
                </a:lnTo>
                <a:lnTo>
                  <a:pt x="1685" y="2705"/>
                </a:lnTo>
                <a:lnTo>
                  <a:pt x="1691" y="2701"/>
                </a:lnTo>
                <a:lnTo>
                  <a:pt x="1700" y="2694"/>
                </a:lnTo>
                <a:lnTo>
                  <a:pt x="1710" y="2686"/>
                </a:lnTo>
                <a:lnTo>
                  <a:pt x="1719" y="2675"/>
                </a:lnTo>
                <a:lnTo>
                  <a:pt x="1727" y="2663"/>
                </a:lnTo>
                <a:lnTo>
                  <a:pt x="1734" y="2650"/>
                </a:lnTo>
                <a:lnTo>
                  <a:pt x="1740" y="2637"/>
                </a:lnTo>
                <a:lnTo>
                  <a:pt x="1744" y="2623"/>
                </a:lnTo>
                <a:lnTo>
                  <a:pt x="1748" y="2608"/>
                </a:lnTo>
                <a:lnTo>
                  <a:pt x="1753" y="2593"/>
                </a:lnTo>
                <a:lnTo>
                  <a:pt x="1755" y="2578"/>
                </a:lnTo>
                <a:lnTo>
                  <a:pt x="1757" y="2565"/>
                </a:lnTo>
                <a:lnTo>
                  <a:pt x="1757" y="2551"/>
                </a:lnTo>
                <a:lnTo>
                  <a:pt x="1757" y="2538"/>
                </a:lnTo>
                <a:lnTo>
                  <a:pt x="1759" y="2536"/>
                </a:lnTo>
                <a:lnTo>
                  <a:pt x="1761" y="2534"/>
                </a:lnTo>
                <a:lnTo>
                  <a:pt x="1765" y="2531"/>
                </a:lnTo>
                <a:lnTo>
                  <a:pt x="1770" y="2531"/>
                </a:lnTo>
                <a:lnTo>
                  <a:pt x="1778" y="2531"/>
                </a:lnTo>
                <a:lnTo>
                  <a:pt x="1782" y="2534"/>
                </a:lnTo>
                <a:lnTo>
                  <a:pt x="1784" y="2536"/>
                </a:lnTo>
                <a:lnTo>
                  <a:pt x="1789" y="2544"/>
                </a:lnTo>
                <a:lnTo>
                  <a:pt x="1791" y="2551"/>
                </a:lnTo>
                <a:lnTo>
                  <a:pt x="1791" y="2557"/>
                </a:lnTo>
                <a:lnTo>
                  <a:pt x="1791" y="2576"/>
                </a:lnTo>
                <a:lnTo>
                  <a:pt x="1789" y="2595"/>
                </a:lnTo>
                <a:lnTo>
                  <a:pt x="1784" y="2612"/>
                </a:lnTo>
                <a:lnTo>
                  <a:pt x="1780" y="2629"/>
                </a:lnTo>
                <a:lnTo>
                  <a:pt x="1774" y="2646"/>
                </a:lnTo>
                <a:lnTo>
                  <a:pt x="1768" y="2661"/>
                </a:lnTo>
                <a:lnTo>
                  <a:pt x="1761" y="2675"/>
                </a:lnTo>
                <a:lnTo>
                  <a:pt x="1751" y="2690"/>
                </a:lnTo>
                <a:lnTo>
                  <a:pt x="1742" y="2703"/>
                </a:lnTo>
                <a:lnTo>
                  <a:pt x="1738" y="2709"/>
                </a:lnTo>
                <a:lnTo>
                  <a:pt x="1732" y="2714"/>
                </a:lnTo>
                <a:lnTo>
                  <a:pt x="1721" y="2724"/>
                </a:lnTo>
                <a:lnTo>
                  <a:pt x="1708" y="2733"/>
                </a:lnTo>
                <a:lnTo>
                  <a:pt x="1696" y="2739"/>
                </a:lnTo>
                <a:lnTo>
                  <a:pt x="1683" y="2743"/>
                </a:lnTo>
                <a:lnTo>
                  <a:pt x="1668" y="2747"/>
                </a:lnTo>
                <a:lnTo>
                  <a:pt x="1653" y="2747"/>
                </a:lnTo>
                <a:close/>
                <a:moveTo>
                  <a:pt x="1884" y="2745"/>
                </a:moveTo>
                <a:lnTo>
                  <a:pt x="1880" y="2743"/>
                </a:lnTo>
                <a:lnTo>
                  <a:pt x="1871" y="2737"/>
                </a:lnTo>
                <a:lnTo>
                  <a:pt x="1854" y="2722"/>
                </a:lnTo>
                <a:lnTo>
                  <a:pt x="1833" y="2701"/>
                </a:lnTo>
                <a:lnTo>
                  <a:pt x="1816" y="2682"/>
                </a:lnTo>
                <a:lnTo>
                  <a:pt x="1808" y="2673"/>
                </a:lnTo>
                <a:lnTo>
                  <a:pt x="1804" y="2665"/>
                </a:lnTo>
                <a:lnTo>
                  <a:pt x="1799" y="2654"/>
                </a:lnTo>
                <a:lnTo>
                  <a:pt x="1797" y="2648"/>
                </a:lnTo>
                <a:lnTo>
                  <a:pt x="1797" y="2642"/>
                </a:lnTo>
                <a:lnTo>
                  <a:pt x="1797" y="2635"/>
                </a:lnTo>
                <a:lnTo>
                  <a:pt x="1799" y="2629"/>
                </a:lnTo>
                <a:lnTo>
                  <a:pt x="1804" y="2620"/>
                </a:lnTo>
                <a:lnTo>
                  <a:pt x="1808" y="2612"/>
                </a:lnTo>
                <a:lnTo>
                  <a:pt x="1820" y="2597"/>
                </a:lnTo>
                <a:lnTo>
                  <a:pt x="1837" y="2576"/>
                </a:lnTo>
                <a:lnTo>
                  <a:pt x="1880" y="2529"/>
                </a:lnTo>
                <a:lnTo>
                  <a:pt x="1886" y="2529"/>
                </a:lnTo>
                <a:lnTo>
                  <a:pt x="1892" y="2531"/>
                </a:lnTo>
                <a:lnTo>
                  <a:pt x="1897" y="2536"/>
                </a:lnTo>
                <a:lnTo>
                  <a:pt x="1901" y="2542"/>
                </a:lnTo>
                <a:lnTo>
                  <a:pt x="1903" y="2546"/>
                </a:lnTo>
                <a:lnTo>
                  <a:pt x="1901" y="2553"/>
                </a:lnTo>
                <a:lnTo>
                  <a:pt x="1899" y="2557"/>
                </a:lnTo>
                <a:lnTo>
                  <a:pt x="1897" y="2561"/>
                </a:lnTo>
                <a:lnTo>
                  <a:pt x="1867" y="2595"/>
                </a:lnTo>
                <a:lnTo>
                  <a:pt x="1850" y="2616"/>
                </a:lnTo>
                <a:lnTo>
                  <a:pt x="1837" y="2631"/>
                </a:lnTo>
                <a:lnTo>
                  <a:pt x="1833" y="2635"/>
                </a:lnTo>
                <a:lnTo>
                  <a:pt x="1833" y="2639"/>
                </a:lnTo>
                <a:lnTo>
                  <a:pt x="1835" y="2646"/>
                </a:lnTo>
                <a:lnTo>
                  <a:pt x="1837" y="2650"/>
                </a:lnTo>
                <a:lnTo>
                  <a:pt x="1848" y="2663"/>
                </a:lnTo>
                <a:lnTo>
                  <a:pt x="1865" y="2682"/>
                </a:lnTo>
                <a:lnTo>
                  <a:pt x="1884" y="2701"/>
                </a:lnTo>
                <a:lnTo>
                  <a:pt x="1903" y="2718"/>
                </a:lnTo>
                <a:lnTo>
                  <a:pt x="1905" y="2722"/>
                </a:lnTo>
                <a:lnTo>
                  <a:pt x="1905" y="2724"/>
                </a:lnTo>
                <a:lnTo>
                  <a:pt x="1905" y="2728"/>
                </a:lnTo>
                <a:lnTo>
                  <a:pt x="1903" y="2730"/>
                </a:lnTo>
                <a:lnTo>
                  <a:pt x="1899" y="2737"/>
                </a:lnTo>
                <a:lnTo>
                  <a:pt x="1892" y="2743"/>
                </a:lnTo>
                <a:lnTo>
                  <a:pt x="1888" y="2743"/>
                </a:lnTo>
                <a:lnTo>
                  <a:pt x="1884" y="2745"/>
                </a:lnTo>
                <a:close/>
                <a:moveTo>
                  <a:pt x="1653" y="3340"/>
                </a:moveTo>
                <a:lnTo>
                  <a:pt x="1645" y="3340"/>
                </a:lnTo>
                <a:lnTo>
                  <a:pt x="1636" y="3338"/>
                </a:lnTo>
                <a:lnTo>
                  <a:pt x="1628" y="3336"/>
                </a:lnTo>
                <a:lnTo>
                  <a:pt x="1619" y="3332"/>
                </a:lnTo>
                <a:lnTo>
                  <a:pt x="1611" y="3327"/>
                </a:lnTo>
                <a:lnTo>
                  <a:pt x="1602" y="3321"/>
                </a:lnTo>
                <a:lnTo>
                  <a:pt x="1596" y="3315"/>
                </a:lnTo>
                <a:lnTo>
                  <a:pt x="1590" y="3308"/>
                </a:lnTo>
                <a:lnTo>
                  <a:pt x="1583" y="3302"/>
                </a:lnTo>
                <a:lnTo>
                  <a:pt x="1579" y="3293"/>
                </a:lnTo>
                <a:lnTo>
                  <a:pt x="1571" y="3274"/>
                </a:lnTo>
                <a:lnTo>
                  <a:pt x="1569" y="3266"/>
                </a:lnTo>
                <a:lnTo>
                  <a:pt x="1564" y="3255"/>
                </a:lnTo>
                <a:lnTo>
                  <a:pt x="1564" y="3245"/>
                </a:lnTo>
                <a:lnTo>
                  <a:pt x="1564" y="3234"/>
                </a:lnTo>
                <a:lnTo>
                  <a:pt x="1564" y="3222"/>
                </a:lnTo>
                <a:lnTo>
                  <a:pt x="1564" y="3211"/>
                </a:lnTo>
                <a:lnTo>
                  <a:pt x="1569" y="3200"/>
                </a:lnTo>
                <a:lnTo>
                  <a:pt x="1571" y="3190"/>
                </a:lnTo>
                <a:lnTo>
                  <a:pt x="1575" y="3179"/>
                </a:lnTo>
                <a:lnTo>
                  <a:pt x="1579" y="3171"/>
                </a:lnTo>
                <a:lnTo>
                  <a:pt x="1585" y="3160"/>
                </a:lnTo>
                <a:lnTo>
                  <a:pt x="1592" y="3152"/>
                </a:lnTo>
                <a:lnTo>
                  <a:pt x="1598" y="3145"/>
                </a:lnTo>
                <a:lnTo>
                  <a:pt x="1607" y="3139"/>
                </a:lnTo>
                <a:lnTo>
                  <a:pt x="1613" y="3133"/>
                </a:lnTo>
                <a:lnTo>
                  <a:pt x="1621" y="3126"/>
                </a:lnTo>
                <a:lnTo>
                  <a:pt x="1630" y="3122"/>
                </a:lnTo>
                <a:lnTo>
                  <a:pt x="1641" y="3120"/>
                </a:lnTo>
                <a:lnTo>
                  <a:pt x="1649" y="3118"/>
                </a:lnTo>
                <a:lnTo>
                  <a:pt x="1660" y="3118"/>
                </a:lnTo>
                <a:lnTo>
                  <a:pt x="1672" y="3118"/>
                </a:lnTo>
                <a:lnTo>
                  <a:pt x="1676" y="3120"/>
                </a:lnTo>
                <a:lnTo>
                  <a:pt x="1683" y="3122"/>
                </a:lnTo>
                <a:lnTo>
                  <a:pt x="1691" y="3126"/>
                </a:lnTo>
                <a:lnTo>
                  <a:pt x="1700" y="3135"/>
                </a:lnTo>
                <a:lnTo>
                  <a:pt x="1706" y="3141"/>
                </a:lnTo>
                <a:lnTo>
                  <a:pt x="1710" y="3152"/>
                </a:lnTo>
                <a:lnTo>
                  <a:pt x="1712" y="3162"/>
                </a:lnTo>
                <a:lnTo>
                  <a:pt x="1715" y="3175"/>
                </a:lnTo>
                <a:lnTo>
                  <a:pt x="1712" y="3181"/>
                </a:lnTo>
                <a:lnTo>
                  <a:pt x="1712" y="3190"/>
                </a:lnTo>
                <a:lnTo>
                  <a:pt x="1710" y="3196"/>
                </a:lnTo>
                <a:lnTo>
                  <a:pt x="1706" y="3205"/>
                </a:lnTo>
                <a:lnTo>
                  <a:pt x="1702" y="3211"/>
                </a:lnTo>
                <a:lnTo>
                  <a:pt x="1698" y="3217"/>
                </a:lnTo>
                <a:lnTo>
                  <a:pt x="1687" y="3228"/>
                </a:lnTo>
                <a:lnTo>
                  <a:pt x="1681" y="3234"/>
                </a:lnTo>
                <a:lnTo>
                  <a:pt x="1674" y="3238"/>
                </a:lnTo>
                <a:lnTo>
                  <a:pt x="1662" y="3245"/>
                </a:lnTo>
                <a:lnTo>
                  <a:pt x="1653" y="3249"/>
                </a:lnTo>
                <a:lnTo>
                  <a:pt x="1647" y="3251"/>
                </a:lnTo>
                <a:lnTo>
                  <a:pt x="1632" y="3251"/>
                </a:lnTo>
                <a:lnTo>
                  <a:pt x="1626" y="3251"/>
                </a:lnTo>
                <a:lnTo>
                  <a:pt x="1621" y="3249"/>
                </a:lnTo>
                <a:lnTo>
                  <a:pt x="1619" y="3247"/>
                </a:lnTo>
                <a:lnTo>
                  <a:pt x="1617" y="3243"/>
                </a:lnTo>
                <a:lnTo>
                  <a:pt x="1617" y="3241"/>
                </a:lnTo>
                <a:lnTo>
                  <a:pt x="1615" y="3232"/>
                </a:lnTo>
                <a:lnTo>
                  <a:pt x="1617" y="3226"/>
                </a:lnTo>
                <a:lnTo>
                  <a:pt x="1617" y="3224"/>
                </a:lnTo>
                <a:lnTo>
                  <a:pt x="1619" y="3224"/>
                </a:lnTo>
                <a:lnTo>
                  <a:pt x="1632" y="3219"/>
                </a:lnTo>
                <a:lnTo>
                  <a:pt x="1645" y="3215"/>
                </a:lnTo>
                <a:lnTo>
                  <a:pt x="1655" y="3209"/>
                </a:lnTo>
                <a:lnTo>
                  <a:pt x="1664" y="3202"/>
                </a:lnTo>
                <a:lnTo>
                  <a:pt x="1672" y="3196"/>
                </a:lnTo>
                <a:lnTo>
                  <a:pt x="1674" y="3192"/>
                </a:lnTo>
                <a:lnTo>
                  <a:pt x="1676" y="3188"/>
                </a:lnTo>
                <a:lnTo>
                  <a:pt x="1681" y="3179"/>
                </a:lnTo>
                <a:lnTo>
                  <a:pt x="1683" y="3171"/>
                </a:lnTo>
                <a:lnTo>
                  <a:pt x="1681" y="3164"/>
                </a:lnTo>
                <a:lnTo>
                  <a:pt x="1681" y="3160"/>
                </a:lnTo>
                <a:lnTo>
                  <a:pt x="1679" y="3156"/>
                </a:lnTo>
                <a:lnTo>
                  <a:pt x="1674" y="3154"/>
                </a:lnTo>
                <a:lnTo>
                  <a:pt x="1672" y="3152"/>
                </a:lnTo>
                <a:lnTo>
                  <a:pt x="1668" y="3150"/>
                </a:lnTo>
                <a:lnTo>
                  <a:pt x="1657" y="3147"/>
                </a:lnTo>
                <a:lnTo>
                  <a:pt x="1647" y="3150"/>
                </a:lnTo>
                <a:lnTo>
                  <a:pt x="1641" y="3152"/>
                </a:lnTo>
                <a:lnTo>
                  <a:pt x="1636" y="3154"/>
                </a:lnTo>
                <a:lnTo>
                  <a:pt x="1630" y="3158"/>
                </a:lnTo>
                <a:lnTo>
                  <a:pt x="1626" y="3162"/>
                </a:lnTo>
                <a:lnTo>
                  <a:pt x="1617" y="3173"/>
                </a:lnTo>
                <a:lnTo>
                  <a:pt x="1613" y="3179"/>
                </a:lnTo>
                <a:lnTo>
                  <a:pt x="1609" y="3186"/>
                </a:lnTo>
                <a:lnTo>
                  <a:pt x="1602" y="3198"/>
                </a:lnTo>
                <a:lnTo>
                  <a:pt x="1598" y="3215"/>
                </a:lnTo>
                <a:lnTo>
                  <a:pt x="1598" y="3224"/>
                </a:lnTo>
                <a:lnTo>
                  <a:pt x="1596" y="3232"/>
                </a:lnTo>
                <a:lnTo>
                  <a:pt x="1598" y="3247"/>
                </a:lnTo>
                <a:lnTo>
                  <a:pt x="1600" y="3253"/>
                </a:lnTo>
                <a:lnTo>
                  <a:pt x="1600" y="3262"/>
                </a:lnTo>
                <a:lnTo>
                  <a:pt x="1607" y="3272"/>
                </a:lnTo>
                <a:lnTo>
                  <a:pt x="1613" y="3283"/>
                </a:lnTo>
                <a:lnTo>
                  <a:pt x="1621" y="3291"/>
                </a:lnTo>
                <a:lnTo>
                  <a:pt x="1626" y="3296"/>
                </a:lnTo>
                <a:lnTo>
                  <a:pt x="1632" y="3298"/>
                </a:lnTo>
                <a:lnTo>
                  <a:pt x="1643" y="3302"/>
                </a:lnTo>
                <a:lnTo>
                  <a:pt x="1649" y="3304"/>
                </a:lnTo>
                <a:lnTo>
                  <a:pt x="1655" y="3304"/>
                </a:lnTo>
                <a:lnTo>
                  <a:pt x="1668" y="3302"/>
                </a:lnTo>
                <a:lnTo>
                  <a:pt x="1679" y="3300"/>
                </a:lnTo>
                <a:lnTo>
                  <a:pt x="1685" y="3296"/>
                </a:lnTo>
                <a:lnTo>
                  <a:pt x="1691" y="3293"/>
                </a:lnTo>
                <a:lnTo>
                  <a:pt x="1700" y="3285"/>
                </a:lnTo>
                <a:lnTo>
                  <a:pt x="1710" y="3277"/>
                </a:lnTo>
                <a:lnTo>
                  <a:pt x="1719" y="3266"/>
                </a:lnTo>
                <a:lnTo>
                  <a:pt x="1727" y="3255"/>
                </a:lnTo>
                <a:lnTo>
                  <a:pt x="1734" y="3243"/>
                </a:lnTo>
                <a:lnTo>
                  <a:pt x="1740" y="3228"/>
                </a:lnTo>
                <a:lnTo>
                  <a:pt x="1744" y="3213"/>
                </a:lnTo>
                <a:lnTo>
                  <a:pt x="1748" y="3200"/>
                </a:lnTo>
                <a:lnTo>
                  <a:pt x="1753" y="3186"/>
                </a:lnTo>
                <a:lnTo>
                  <a:pt x="1755" y="3171"/>
                </a:lnTo>
                <a:lnTo>
                  <a:pt x="1757" y="3156"/>
                </a:lnTo>
                <a:lnTo>
                  <a:pt x="1757" y="3143"/>
                </a:lnTo>
                <a:lnTo>
                  <a:pt x="1757" y="3130"/>
                </a:lnTo>
                <a:lnTo>
                  <a:pt x="1759" y="3126"/>
                </a:lnTo>
                <a:lnTo>
                  <a:pt x="1761" y="3124"/>
                </a:lnTo>
                <a:lnTo>
                  <a:pt x="1765" y="3124"/>
                </a:lnTo>
                <a:lnTo>
                  <a:pt x="1770" y="3122"/>
                </a:lnTo>
                <a:lnTo>
                  <a:pt x="1778" y="3124"/>
                </a:lnTo>
                <a:lnTo>
                  <a:pt x="1782" y="3126"/>
                </a:lnTo>
                <a:lnTo>
                  <a:pt x="1784" y="3128"/>
                </a:lnTo>
                <a:lnTo>
                  <a:pt x="1789" y="3137"/>
                </a:lnTo>
                <a:lnTo>
                  <a:pt x="1791" y="3141"/>
                </a:lnTo>
                <a:lnTo>
                  <a:pt x="1791" y="3150"/>
                </a:lnTo>
                <a:lnTo>
                  <a:pt x="1791" y="3166"/>
                </a:lnTo>
                <a:lnTo>
                  <a:pt x="1789" y="3186"/>
                </a:lnTo>
                <a:lnTo>
                  <a:pt x="1784" y="3205"/>
                </a:lnTo>
                <a:lnTo>
                  <a:pt x="1780" y="3222"/>
                </a:lnTo>
                <a:lnTo>
                  <a:pt x="1774" y="3238"/>
                </a:lnTo>
                <a:lnTo>
                  <a:pt x="1768" y="3253"/>
                </a:lnTo>
                <a:lnTo>
                  <a:pt x="1761" y="3268"/>
                </a:lnTo>
                <a:lnTo>
                  <a:pt x="1751" y="3283"/>
                </a:lnTo>
                <a:lnTo>
                  <a:pt x="1742" y="3293"/>
                </a:lnTo>
                <a:lnTo>
                  <a:pt x="1738" y="3300"/>
                </a:lnTo>
                <a:lnTo>
                  <a:pt x="1732" y="3306"/>
                </a:lnTo>
                <a:lnTo>
                  <a:pt x="1721" y="3315"/>
                </a:lnTo>
                <a:lnTo>
                  <a:pt x="1708" y="3323"/>
                </a:lnTo>
                <a:lnTo>
                  <a:pt x="1696" y="3332"/>
                </a:lnTo>
                <a:lnTo>
                  <a:pt x="1683" y="3336"/>
                </a:lnTo>
                <a:lnTo>
                  <a:pt x="1668" y="3338"/>
                </a:lnTo>
                <a:lnTo>
                  <a:pt x="1653" y="3340"/>
                </a:lnTo>
                <a:close/>
                <a:moveTo>
                  <a:pt x="1884" y="3336"/>
                </a:moveTo>
                <a:lnTo>
                  <a:pt x="1880" y="3334"/>
                </a:lnTo>
                <a:lnTo>
                  <a:pt x="1871" y="3327"/>
                </a:lnTo>
                <a:lnTo>
                  <a:pt x="1854" y="3313"/>
                </a:lnTo>
                <a:lnTo>
                  <a:pt x="1833" y="3293"/>
                </a:lnTo>
                <a:lnTo>
                  <a:pt x="1816" y="3272"/>
                </a:lnTo>
                <a:lnTo>
                  <a:pt x="1808" y="3264"/>
                </a:lnTo>
                <a:lnTo>
                  <a:pt x="1804" y="3257"/>
                </a:lnTo>
                <a:lnTo>
                  <a:pt x="1799" y="3245"/>
                </a:lnTo>
                <a:lnTo>
                  <a:pt x="1797" y="3238"/>
                </a:lnTo>
                <a:lnTo>
                  <a:pt x="1797" y="3234"/>
                </a:lnTo>
                <a:lnTo>
                  <a:pt x="1797" y="3226"/>
                </a:lnTo>
                <a:lnTo>
                  <a:pt x="1799" y="3219"/>
                </a:lnTo>
                <a:lnTo>
                  <a:pt x="1804" y="3211"/>
                </a:lnTo>
                <a:lnTo>
                  <a:pt x="1808" y="3205"/>
                </a:lnTo>
                <a:lnTo>
                  <a:pt x="1820" y="3190"/>
                </a:lnTo>
                <a:lnTo>
                  <a:pt x="1837" y="3169"/>
                </a:lnTo>
                <a:lnTo>
                  <a:pt x="1880" y="3120"/>
                </a:lnTo>
                <a:lnTo>
                  <a:pt x="1886" y="3122"/>
                </a:lnTo>
                <a:lnTo>
                  <a:pt x="1892" y="3124"/>
                </a:lnTo>
                <a:lnTo>
                  <a:pt x="1897" y="3128"/>
                </a:lnTo>
                <a:lnTo>
                  <a:pt x="1901" y="3133"/>
                </a:lnTo>
                <a:lnTo>
                  <a:pt x="1903" y="3139"/>
                </a:lnTo>
                <a:lnTo>
                  <a:pt x="1901" y="3145"/>
                </a:lnTo>
                <a:lnTo>
                  <a:pt x="1899" y="3150"/>
                </a:lnTo>
                <a:lnTo>
                  <a:pt x="1897" y="3152"/>
                </a:lnTo>
                <a:lnTo>
                  <a:pt x="1867" y="3188"/>
                </a:lnTo>
                <a:lnTo>
                  <a:pt x="1850" y="3207"/>
                </a:lnTo>
                <a:lnTo>
                  <a:pt x="1837" y="3224"/>
                </a:lnTo>
                <a:lnTo>
                  <a:pt x="1833" y="3228"/>
                </a:lnTo>
                <a:lnTo>
                  <a:pt x="1833" y="3232"/>
                </a:lnTo>
                <a:lnTo>
                  <a:pt x="1835" y="3236"/>
                </a:lnTo>
                <a:lnTo>
                  <a:pt x="1837" y="3243"/>
                </a:lnTo>
                <a:lnTo>
                  <a:pt x="1848" y="3255"/>
                </a:lnTo>
                <a:lnTo>
                  <a:pt x="1865" y="3272"/>
                </a:lnTo>
                <a:lnTo>
                  <a:pt x="1884" y="3291"/>
                </a:lnTo>
                <a:lnTo>
                  <a:pt x="1903" y="3310"/>
                </a:lnTo>
                <a:lnTo>
                  <a:pt x="1905" y="3313"/>
                </a:lnTo>
                <a:lnTo>
                  <a:pt x="1905" y="3317"/>
                </a:lnTo>
                <a:lnTo>
                  <a:pt x="1905" y="3319"/>
                </a:lnTo>
                <a:lnTo>
                  <a:pt x="1903" y="3323"/>
                </a:lnTo>
                <a:lnTo>
                  <a:pt x="1899" y="3329"/>
                </a:lnTo>
                <a:lnTo>
                  <a:pt x="1892" y="3334"/>
                </a:lnTo>
                <a:lnTo>
                  <a:pt x="1888" y="3336"/>
                </a:lnTo>
                <a:lnTo>
                  <a:pt x="1884" y="3336"/>
                </a:lnTo>
                <a:close/>
                <a:moveTo>
                  <a:pt x="1744" y="3791"/>
                </a:moveTo>
                <a:lnTo>
                  <a:pt x="1751" y="3768"/>
                </a:lnTo>
                <a:lnTo>
                  <a:pt x="1755" y="3746"/>
                </a:lnTo>
                <a:lnTo>
                  <a:pt x="1757" y="3725"/>
                </a:lnTo>
                <a:lnTo>
                  <a:pt x="1757" y="3704"/>
                </a:lnTo>
                <a:lnTo>
                  <a:pt x="1759" y="3702"/>
                </a:lnTo>
                <a:lnTo>
                  <a:pt x="1761" y="3700"/>
                </a:lnTo>
                <a:lnTo>
                  <a:pt x="1765" y="3698"/>
                </a:lnTo>
                <a:lnTo>
                  <a:pt x="1770" y="3698"/>
                </a:lnTo>
                <a:lnTo>
                  <a:pt x="1778" y="3698"/>
                </a:lnTo>
                <a:lnTo>
                  <a:pt x="1782" y="3700"/>
                </a:lnTo>
                <a:lnTo>
                  <a:pt x="1784" y="3702"/>
                </a:lnTo>
                <a:lnTo>
                  <a:pt x="1789" y="3710"/>
                </a:lnTo>
                <a:lnTo>
                  <a:pt x="1791" y="3717"/>
                </a:lnTo>
                <a:lnTo>
                  <a:pt x="1791" y="3723"/>
                </a:lnTo>
                <a:lnTo>
                  <a:pt x="1791" y="3740"/>
                </a:lnTo>
                <a:lnTo>
                  <a:pt x="1789" y="3757"/>
                </a:lnTo>
                <a:lnTo>
                  <a:pt x="1787" y="3768"/>
                </a:lnTo>
                <a:lnTo>
                  <a:pt x="1784" y="3776"/>
                </a:lnTo>
                <a:lnTo>
                  <a:pt x="1780" y="3791"/>
                </a:lnTo>
                <a:lnTo>
                  <a:pt x="1748" y="3791"/>
                </a:lnTo>
                <a:lnTo>
                  <a:pt x="1744" y="3791"/>
                </a:lnTo>
                <a:close/>
                <a:moveTo>
                  <a:pt x="1569" y="3774"/>
                </a:moveTo>
                <a:lnTo>
                  <a:pt x="1571" y="3765"/>
                </a:lnTo>
                <a:lnTo>
                  <a:pt x="1573" y="3757"/>
                </a:lnTo>
                <a:lnTo>
                  <a:pt x="1577" y="3749"/>
                </a:lnTo>
                <a:lnTo>
                  <a:pt x="1581" y="3742"/>
                </a:lnTo>
                <a:lnTo>
                  <a:pt x="1590" y="3727"/>
                </a:lnTo>
                <a:lnTo>
                  <a:pt x="1602" y="3715"/>
                </a:lnTo>
                <a:lnTo>
                  <a:pt x="1615" y="3706"/>
                </a:lnTo>
                <a:lnTo>
                  <a:pt x="1621" y="3702"/>
                </a:lnTo>
                <a:lnTo>
                  <a:pt x="1628" y="3698"/>
                </a:lnTo>
                <a:lnTo>
                  <a:pt x="1636" y="3696"/>
                </a:lnTo>
                <a:lnTo>
                  <a:pt x="1645" y="3694"/>
                </a:lnTo>
                <a:lnTo>
                  <a:pt x="1660" y="3691"/>
                </a:lnTo>
                <a:lnTo>
                  <a:pt x="1672" y="3694"/>
                </a:lnTo>
                <a:lnTo>
                  <a:pt x="1676" y="3694"/>
                </a:lnTo>
                <a:lnTo>
                  <a:pt x="1683" y="3696"/>
                </a:lnTo>
                <a:lnTo>
                  <a:pt x="1691" y="3702"/>
                </a:lnTo>
                <a:lnTo>
                  <a:pt x="1700" y="3708"/>
                </a:lnTo>
                <a:lnTo>
                  <a:pt x="1706" y="3717"/>
                </a:lnTo>
                <a:lnTo>
                  <a:pt x="1710" y="3725"/>
                </a:lnTo>
                <a:lnTo>
                  <a:pt x="1712" y="3738"/>
                </a:lnTo>
                <a:lnTo>
                  <a:pt x="1715" y="3749"/>
                </a:lnTo>
                <a:lnTo>
                  <a:pt x="1712" y="3759"/>
                </a:lnTo>
                <a:lnTo>
                  <a:pt x="1710" y="3770"/>
                </a:lnTo>
                <a:lnTo>
                  <a:pt x="1706" y="3778"/>
                </a:lnTo>
                <a:lnTo>
                  <a:pt x="1700" y="3789"/>
                </a:lnTo>
                <a:lnTo>
                  <a:pt x="1683" y="3787"/>
                </a:lnTo>
                <a:lnTo>
                  <a:pt x="1655" y="3785"/>
                </a:lnTo>
                <a:lnTo>
                  <a:pt x="1662" y="3780"/>
                </a:lnTo>
                <a:lnTo>
                  <a:pt x="1666" y="3776"/>
                </a:lnTo>
                <a:lnTo>
                  <a:pt x="1670" y="3770"/>
                </a:lnTo>
                <a:lnTo>
                  <a:pt x="1674" y="3765"/>
                </a:lnTo>
                <a:lnTo>
                  <a:pt x="1679" y="3759"/>
                </a:lnTo>
                <a:lnTo>
                  <a:pt x="1681" y="3755"/>
                </a:lnTo>
                <a:lnTo>
                  <a:pt x="1681" y="3749"/>
                </a:lnTo>
                <a:lnTo>
                  <a:pt x="1683" y="3744"/>
                </a:lnTo>
                <a:lnTo>
                  <a:pt x="1681" y="3740"/>
                </a:lnTo>
                <a:lnTo>
                  <a:pt x="1681" y="3734"/>
                </a:lnTo>
                <a:lnTo>
                  <a:pt x="1679" y="3732"/>
                </a:lnTo>
                <a:lnTo>
                  <a:pt x="1674" y="3727"/>
                </a:lnTo>
                <a:lnTo>
                  <a:pt x="1672" y="3725"/>
                </a:lnTo>
                <a:lnTo>
                  <a:pt x="1668" y="3723"/>
                </a:lnTo>
                <a:lnTo>
                  <a:pt x="1657" y="3721"/>
                </a:lnTo>
                <a:lnTo>
                  <a:pt x="1649" y="3723"/>
                </a:lnTo>
                <a:lnTo>
                  <a:pt x="1641" y="3725"/>
                </a:lnTo>
                <a:lnTo>
                  <a:pt x="1632" y="3732"/>
                </a:lnTo>
                <a:lnTo>
                  <a:pt x="1624" y="3738"/>
                </a:lnTo>
                <a:lnTo>
                  <a:pt x="1617" y="3746"/>
                </a:lnTo>
                <a:lnTo>
                  <a:pt x="1611" y="3755"/>
                </a:lnTo>
                <a:lnTo>
                  <a:pt x="1605" y="3768"/>
                </a:lnTo>
                <a:lnTo>
                  <a:pt x="1600" y="3778"/>
                </a:lnTo>
                <a:lnTo>
                  <a:pt x="1569" y="3774"/>
                </a:lnTo>
                <a:close/>
                <a:moveTo>
                  <a:pt x="1799" y="3793"/>
                </a:moveTo>
                <a:lnTo>
                  <a:pt x="1804" y="3785"/>
                </a:lnTo>
                <a:lnTo>
                  <a:pt x="1808" y="3778"/>
                </a:lnTo>
                <a:lnTo>
                  <a:pt x="1820" y="3763"/>
                </a:lnTo>
                <a:lnTo>
                  <a:pt x="1837" y="3742"/>
                </a:lnTo>
                <a:lnTo>
                  <a:pt x="1880" y="3696"/>
                </a:lnTo>
                <a:lnTo>
                  <a:pt x="1886" y="3696"/>
                </a:lnTo>
                <a:lnTo>
                  <a:pt x="1892" y="3698"/>
                </a:lnTo>
                <a:lnTo>
                  <a:pt x="1897" y="3702"/>
                </a:lnTo>
                <a:lnTo>
                  <a:pt x="1901" y="3708"/>
                </a:lnTo>
                <a:lnTo>
                  <a:pt x="1903" y="3713"/>
                </a:lnTo>
                <a:lnTo>
                  <a:pt x="1901" y="3719"/>
                </a:lnTo>
                <a:lnTo>
                  <a:pt x="1899" y="3723"/>
                </a:lnTo>
                <a:lnTo>
                  <a:pt x="1897" y="3727"/>
                </a:lnTo>
                <a:lnTo>
                  <a:pt x="1869" y="3757"/>
                </a:lnTo>
                <a:lnTo>
                  <a:pt x="1839" y="3793"/>
                </a:lnTo>
                <a:lnTo>
                  <a:pt x="1814" y="3793"/>
                </a:lnTo>
                <a:lnTo>
                  <a:pt x="1799" y="3793"/>
                </a:lnTo>
                <a:close/>
                <a:moveTo>
                  <a:pt x="394" y="2589"/>
                </a:moveTo>
                <a:lnTo>
                  <a:pt x="398" y="2561"/>
                </a:lnTo>
                <a:lnTo>
                  <a:pt x="398" y="2538"/>
                </a:lnTo>
                <a:lnTo>
                  <a:pt x="400" y="2536"/>
                </a:lnTo>
                <a:lnTo>
                  <a:pt x="402" y="2534"/>
                </a:lnTo>
                <a:lnTo>
                  <a:pt x="406" y="2531"/>
                </a:lnTo>
                <a:lnTo>
                  <a:pt x="411" y="2531"/>
                </a:lnTo>
                <a:lnTo>
                  <a:pt x="419" y="2531"/>
                </a:lnTo>
                <a:lnTo>
                  <a:pt x="423" y="2534"/>
                </a:lnTo>
                <a:lnTo>
                  <a:pt x="425" y="2536"/>
                </a:lnTo>
                <a:lnTo>
                  <a:pt x="430" y="2544"/>
                </a:lnTo>
                <a:lnTo>
                  <a:pt x="432" y="2551"/>
                </a:lnTo>
                <a:lnTo>
                  <a:pt x="432" y="2557"/>
                </a:lnTo>
                <a:lnTo>
                  <a:pt x="430" y="2582"/>
                </a:lnTo>
                <a:lnTo>
                  <a:pt x="428" y="2597"/>
                </a:lnTo>
                <a:lnTo>
                  <a:pt x="425" y="2608"/>
                </a:lnTo>
                <a:lnTo>
                  <a:pt x="423" y="2620"/>
                </a:lnTo>
                <a:lnTo>
                  <a:pt x="419" y="2633"/>
                </a:lnTo>
                <a:lnTo>
                  <a:pt x="411" y="2656"/>
                </a:lnTo>
                <a:lnTo>
                  <a:pt x="404" y="2631"/>
                </a:lnTo>
                <a:lnTo>
                  <a:pt x="394" y="2589"/>
                </a:lnTo>
                <a:close/>
                <a:moveTo>
                  <a:pt x="525" y="2745"/>
                </a:moveTo>
                <a:lnTo>
                  <a:pt x="519" y="2743"/>
                </a:lnTo>
                <a:lnTo>
                  <a:pt x="512" y="2737"/>
                </a:lnTo>
                <a:lnTo>
                  <a:pt x="495" y="2722"/>
                </a:lnTo>
                <a:lnTo>
                  <a:pt x="474" y="2701"/>
                </a:lnTo>
                <a:lnTo>
                  <a:pt x="457" y="2682"/>
                </a:lnTo>
                <a:lnTo>
                  <a:pt x="449" y="2673"/>
                </a:lnTo>
                <a:lnTo>
                  <a:pt x="445" y="2665"/>
                </a:lnTo>
                <a:lnTo>
                  <a:pt x="440" y="2654"/>
                </a:lnTo>
                <a:lnTo>
                  <a:pt x="438" y="2648"/>
                </a:lnTo>
                <a:lnTo>
                  <a:pt x="438" y="2642"/>
                </a:lnTo>
                <a:lnTo>
                  <a:pt x="438" y="2635"/>
                </a:lnTo>
                <a:lnTo>
                  <a:pt x="440" y="2629"/>
                </a:lnTo>
                <a:lnTo>
                  <a:pt x="445" y="2620"/>
                </a:lnTo>
                <a:lnTo>
                  <a:pt x="449" y="2612"/>
                </a:lnTo>
                <a:lnTo>
                  <a:pt x="459" y="2597"/>
                </a:lnTo>
                <a:lnTo>
                  <a:pt x="478" y="2576"/>
                </a:lnTo>
                <a:lnTo>
                  <a:pt x="521" y="2529"/>
                </a:lnTo>
                <a:lnTo>
                  <a:pt x="527" y="2529"/>
                </a:lnTo>
                <a:lnTo>
                  <a:pt x="533" y="2531"/>
                </a:lnTo>
                <a:lnTo>
                  <a:pt x="538" y="2536"/>
                </a:lnTo>
                <a:lnTo>
                  <a:pt x="542" y="2542"/>
                </a:lnTo>
                <a:lnTo>
                  <a:pt x="544" y="2546"/>
                </a:lnTo>
                <a:lnTo>
                  <a:pt x="542" y="2553"/>
                </a:lnTo>
                <a:lnTo>
                  <a:pt x="540" y="2557"/>
                </a:lnTo>
                <a:lnTo>
                  <a:pt x="538" y="2561"/>
                </a:lnTo>
                <a:lnTo>
                  <a:pt x="508" y="2595"/>
                </a:lnTo>
                <a:lnTo>
                  <a:pt x="491" y="2616"/>
                </a:lnTo>
                <a:lnTo>
                  <a:pt x="476" y="2631"/>
                </a:lnTo>
                <a:lnTo>
                  <a:pt x="474" y="2635"/>
                </a:lnTo>
                <a:lnTo>
                  <a:pt x="474" y="2639"/>
                </a:lnTo>
                <a:lnTo>
                  <a:pt x="474" y="2646"/>
                </a:lnTo>
                <a:lnTo>
                  <a:pt x="478" y="2650"/>
                </a:lnTo>
                <a:lnTo>
                  <a:pt x="489" y="2663"/>
                </a:lnTo>
                <a:lnTo>
                  <a:pt x="506" y="2682"/>
                </a:lnTo>
                <a:lnTo>
                  <a:pt x="525" y="2701"/>
                </a:lnTo>
                <a:lnTo>
                  <a:pt x="544" y="2718"/>
                </a:lnTo>
                <a:lnTo>
                  <a:pt x="546" y="2722"/>
                </a:lnTo>
                <a:lnTo>
                  <a:pt x="546" y="2724"/>
                </a:lnTo>
                <a:lnTo>
                  <a:pt x="546" y="2728"/>
                </a:lnTo>
                <a:lnTo>
                  <a:pt x="544" y="2730"/>
                </a:lnTo>
                <a:lnTo>
                  <a:pt x="540" y="2737"/>
                </a:lnTo>
                <a:lnTo>
                  <a:pt x="531" y="2743"/>
                </a:lnTo>
                <a:lnTo>
                  <a:pt x="529" y="2743"/>
                </a:lnTo>
                <a:lnTo>
                  <a:pt x="525" y="2745"/>
                </a:lnTo>
                <a:close/>
                <a:moveTo>
                  <a:pt x="2576" y="2747"/>
                </a:moveTo>
                <a:lnTo>
                  <a:pt x="2566" y="2747"/>
                </a:lnTo>
                <a:lnTo>
                  <a:pt x="2557" y="2745"/>
                </a:lnTo>
                <a:lnTo>
                  <a:pt x="2549" y="2743"/>
                </a:lnTo>
                <a:lnTo>
                  <a:pt x="2540" y="2739"/>
                </a:lnTo>
                <a:lnTo>
                  <a:pt x="2532" y="2735"/>
                </a:lnTo>
                <a:lnTo>
                  <a:pt x="2525" y="2730"/>
                </a:lnTo>
                <a:lnTo>
                  <a:pt x="2517" y="2724"/>
                </a:lnTo>
                <a:lnTo>
                  <a:pt x="2511" y="2718"/>
                </a:lnTo>
                <a:lnTo>
                  <a:pt x="2506" y="2709"/>
                </a:lnTo>
                <a:lnTo>
                  <a:pt x="2500" y="2701"/>
                </a:lnTo>
                <a:lnTo>
                  <a:pt x="2491" y="2684"/>
                </a:lnTo>
                <a:lnTo>
                  <a:pt x="2489" y="2673"/>
                </a:lnTo>
                <a:lnTo>
                  <a:pt x="2487" y="2663"/>
                </a:lnTo>
                <a:lnTo>
                  <a:pt x="2485" y="2652"/>
                </a:lnTo>
                <a:lnTo>
                  <a:pt x="2485" y="2642"/>
                </a:lnTo>
                <a:lnTo>
                  <a:pt x="2485" y="2631"/>
                </a:lnTo>
                <a:lnTo>
                  <a:pt x="2487" y="2620"/>
                </a:lnTo>
                <a:lnTo>
                  <a:pt x="2489" y="2608"/>
                </a:lnTo>
                <a:lnTo>
                  <a:pt x="2491" y="2597"/>
                </a:lnTo>
                <a:lnTo>
                  <a:pt x="2496" y="2589"/>
                </a:lnTo>
                <a:lnTo>
                  <a:pt x="2502" y="2578"/>
                </a:lnTo>
                <a:lnTo>
                  <a:pt x="2506" y="2570"/>
                </a:lnTo>
                <a:lnTo>
                  <a:pt x="2513" y="2561"/>
                </a:lnTo>
                <a:lnTo>
                  <a:pt x="2519" y="2553"/>
                </a:lnTo>
                <a:lnTo>
                  <a:pt x="2527" y="2546"/>
                </a:lnTo>
                <a:lnTo>
                  <a:pt x="2536" y="2540"/>
                </a:lnTo>
                <a:lnTo>
                  <a:pt x="2544" y="2536"/>
                </a:lnTo>
                <a:lnTo>
                  <a:pt x="2553" y="2531"/>
                </a:lnTo>
                <a:lnTo>
                  <a:pt x="2561" y="2527"/>
                </a:lnTo>
                <a:lnTo>
                  <a:pt x="2572" y="2527"/>
                </a:lnTo>
                <a:lnTo>
                  <a:pt x="2580" y="2525"/>
                </a:lnTo>
                <a:lnTo>
                  <a:pt x="2593" y="2527"/>
                </a:lnTo>
                <a:lnTo>
                  <a:pt x="2599" y="2527"/>
                </a:lnTo>
                <a:lnTo>
                  <a:pt x="2604" y="2529"/>
                </a:lnTo>
                <a:lnTo>
                  <a:pt x="2612" y="2536"/>
                </a:lnTo>
                <a:lnTo>
                  <a:pt x="2621" y="2542"/>
                </a:lnTo>
                <a:lnTo>
                  <a:pt x="2627" y="2551"/>
                </a:lnTo>
                <a:lnTo>
                  <a:pt x="2631" y="2561"/>
                </a:lnTo>
                <a:lnTo>
                  <a:pt x="2633" y="2572"/>
                </a:lnTo>
                <a:lnTo>
                  <a:pt x="2635" y="2582"/>
                </a:lnTo>
                <a:lnTo>
                  <a:pt x="2635" y="2591"/>
                </a:lnTo>
                <a:lnTo>
                  <a:pt x="2633" y="2597"/>
                </a:lnTo>
                <a:lnTo>
                  <a:pt x="2631" y="2606"/>
                </a:lnTo>
                <a:lnTo>
                  <a:pt x="2627" y="2612"/>
                </a:lnTo>
                <a:lnTo>
                  <a:pt x="2625" y="2618"/>
                </a:lnTo>
                <a:lnTo>
                  <a:pt x="2621" y="2625"/>
                </a:lnTo>
                <a:lnTo>
                  <a:pt x="2610" y="2637"/>
                </a:lnTo>
                <a:lnTo>
                  <a:pt x="2604" y="2642"/>
                </a:lnTo>
                <a:lnTo>
                  <a:pt x="2597" y="2646"/>
                </a:lnTo>
                <a:lnTo>
                  <a:pt x="2582" y="2654"/>
                </a:lnTo>
                <a:lnTo>
                  <a:pt x="2576" y="2656"/>
                </a:lnTo>
                <a:lnTo>
                  <a:pt x="2568" y="2658"/>
                </a:lnTo>
                <a:lnTo>
                  <a:pt x="2553" y="2661"/>
                </a:lnTo>
                <a:lnTo>
                  <a:pt x="2546" y="2658"/>
                </a:lnTo>
                <a:lnTo>
                  <a:pt x="2544" y="2656"/>
                </a:lnTo>
                <a:lnTo>
                  <a:pt x="2542" y="2654"/>
                </a:lnTo>
                <a:lnTo>
                  <a:pt x="2540" y="2652"/>
                </a:lnTo>
                <a:lnTo>
                  <a:pt x="2538" y="2648"/>
                </a:lnTo>
                <a:lnTo>
                  <a:pt x="2536" y="2642"/>
                </a:lnTo>
                <a:lnTo>
                  <a:pt x="2538" y="2635"/>
                </a:lnTo>
                <a:lnTo>
                  <a:pt x="2538" y="2633"/>
                </a:lnTo>
                <a:lnTo>
                  <a:pt x="2540" y="2631"/>
                </a:lnTo>
                <a:lnTo>
                  <a:pt x="2555" y="2629"/>
                </a:lnTo>
                <a:lnTo>
                  <a:pt x="2566" y="2625"/>
                </a:lnTo>
                <a:lnTo>
                  <a:pt x="2576" y="2618"/>
                </a:lnTo>
                <a:lnTo>
                  <a:pt x="2587" y="2612"/>
                </a:lnTo>
                <a:lnTo>
                  <a:pt x="2593" y="2603"/>
                </a:lnTo>
                <a:lnTo>
                  <a:pt x="2595" y="2599"/>
                </a:lnTo>
                <a:lnTo>
                  <a:pt x="2599" y="2595"/>
                </a:lnTo>
                <a:lnTo>
                  <a:pt x="2602" y="2587"/>
                </a:lnTo>
                <a:lnTo>
                  <a:pt x="2604" y="2578"/>
                </a:lnTo>
                <a:lnTo>
                  <a:pt x="2604" y="2574"/>
                </a:lnTo>
                <a:lnTo>
                  <a:pt x="2602" y="2570"/>
                </a:lnTo>
                <a:lnTo>
                  <a:pt x="2599" y="2565"/>
                </a:lnTo>
                <a:lnTo>
                  <a:pt x="2597" y="2561"/>
                </a:lnTo>
                <a:lnTo>
                  <a:pt x="2593" y="2559"/>
                </a:lnTo>
                <a:lnTo>
                  <a:pt x="2589" y="2557"/>
                </a:lnTo>
                <a:lnTo>
                  <a:pt x="2578" y="2555"/>
                </a:lnTo>
                <a:lnTo>
                  <a:pt x="2568" y="2557"/>
                </a:lnTo>
                <a:lnTo>
                  <a:pt x="2563" y="2559"/>
                </a:lnTo>
                <a:lnTo>
                  <a:pt x="2557" y="2563"/>
                </a:lnTo>
                <a:lnTo>
                  <a:pt x="2553" y="2565"/>
                </a:lnTo>
                <a:lnTo>
                  <a:pt x="2546" y="2570"/>
                </a:lnTo>
                <a:lnTo>
                  <a:pt x="2538" y="2580"/>
                </a:lnTo>
                <a:lnTo>
                  <a:pt x="2534" y="2587"/>
                </a:lnTo>
                <a:lnTo>
                  <a:pt x="2530" y="2593"/>
                </a:lnTo>
                <a:lnTo>
                  <a:pt x="2523" y="2608"/>
                </a:lnTo>
                <a:lnTo>
                  <a:pt x="2519" y="2623"/>
                </a:lnTo>
                <a:lnTo>
                  <a:pt x="2519" y="2631"/>
                </a:lnTo>
                <a:lnTo>
                  <a:pt x="2519" y="2639"/>
                </a:lnTo>
                <a:lnTo>
                  <a:pt x="2519" y="2654"/>
                </a:lnTo>
                <a:lnTo>
                  <a:pt x="2521" y="2663"/>
                </a:lnTo>
                <a:lnTo>
                  <a:pt x="2523" y="2669"/>
                </a:lnTo>
                <a:lnTo>
                  <a:pt x="2527" y="2682"/>
                </a:lnTo>
                <a:lnTo>
                  <a:pt x="2534" y="2692"/>
                </a:lnTo>
                <a:lnTo>
                  <a:pt x="2542" y="2701"/>
                </a:lnTo>
                <a:lnTo>
                  <a:pt x="2549" y="2703"/>
                </a:lnTo>
                <a:lnTo>
                  <a:pt x="2553" y="2707"/>
                </a:lnTo>
                <a:lnTo>
                  <a:pt x="2563" y="2711"/>
                </a:lnTo>
                <a:lnTo>
                  <a:pt x="2570" y="2711"/>
                </a:lnTo>
                <a:lnTo>
                  <a:pt x="2576" y="2711"/>
                </a:lnTo>
                <a:lnTo>
                  <a:pt x="2589" y="2711"/>
                </a:lnTo>
                <a:lnTo>
                  <a:pt x="2602" y="2707"/>
                </a:lnTo>
                <a:lnTo>
                  <a:pt x="2606" y="2705"/>
                </a:lnTo>
                <a:lnTo>
                  <a:pt x="2612" y="2701"/>
                </a:lnTo>
                <a:lnTo>
                  <a:pt x="2623" y="2694"/>
                </a:lnTo>
                <a:lnTo>
                  <a:pt x="2631" y="2686"/>
                </a:lnTo>
                <a:lnTo>
                  <a:pt x="2640" y="2675"/>
                </a:lnTo>
                <a:lnTo>
                  <a:pt x="2648" y="2663"/>
                </a:lnTo>
                <a:lnTo>
                  <a:pt x="2654" y="2650"/>
                </a:lnTo>
                <a:lnTo>
                  <a:pt x="2661" y="2637"/>
                </a:lnTo>
                <a:lnTo>
                  <a:pt x="2667" y="2623"/>
                </a:lnTo>
                <a:lnTo>
                  <a:pt x="2671" y="2608"/>
                </a:lnTo>
                <a:lnTo>
                  <a:pt x="2673" y="2593"/>
                </a:lnTo>
                <a:lnTo>
                  <a:pt x="2676" y="2578"/>
                </a:lnTo>
                <a:lnTo>
                  <a:pt x="2678" y="2565"/>
                </a:lnTo>
                <a:lnTo>
                  <a:pt x="2678" y="2551"/>
                </a:lnTo>
                <a:lnTo>
                  <a:pt x="2678" y="2538"/>
                </a:lnTo>
                <a:lnTo>
                  <a:pt x="2680" y="2536"/>
                </a:lnTo>
                <a:lnTo>
                  <a:pt x="2682" y="2534"/>
                </a:lnTo>
                <a:lnTo>
                  <a:pt x="2686" y="2531"/>
                </a:lnTo>
                <a:lnTo>
                  <a:pt x="2693" y="2531"/>
                </a:lnTo>
                <a:lnTo>
                  <a:pt x="2701" y="2531"/>
                </a:lnTo>
                <a:lnTo>
                  <a:pt x="2703" y="2534"/>
                </a:lnTo>
                <a:lnTo>
                  <a:pt x="2707" y="2536"/>
                </a:lnTo>
                <a:lnTo>
                  <a:pt x="2712" y="2544"/>
                </a:lnTo>
                <a:lnTo>
                  <a:pt x="2712" y="2551"/>
                </a:lnTo>
                <a:lnTo>
                  <a:pt x="2712" y="2557"/>
                </a:lnTo>
                <a:lnTo>
                  <a:pt x="2712" y="2576"/>
                </a:lnTo>
                <a:lnTo>
                  <a:pt x="2709" y="2595"/>
                </a:lnTo>
                <a:lnTo>
                  <a:pt x="2705" y="2612"/>
                </a:lnTo>
                <a:lnTo>
                  <a:pt x="2701" y="2629"/>
                </a:lnTo>
                <a:lnTo>
                  <a:pt x="2697" y="2646"/>
                </a:lnTo>
                <a:lnTo>
                  <a:pt x="2688" y="2661"/>
                </a:lnTo>
                <a:lnTo>
                  <a:pt x="2682" y="2675"/>
                </a:lnTo>
                <a:lnTo>
                  <a:pt x="2673" y="2690"/>
                </a:lnTo>
                <a:lnTo>
                  <a:pt x="2663" y="2703"/>
                </a:lnTo>
                <a:lnTo>
                  <a:pt x="2659" y="2709"/>
                </a:lnTo>
                <a:lnTo>
                  <a:pt x="2652" y="2714"/>
                </a:lnTo>
                <a:lnTo>
                  <a:pt x="2642" y="2724"/>
                </a:lnTo>
                <a:lnTo>
                  <a:pt x="2631" y="2733"/>
                </a:lnTo>
                <a:lnTo>
                  <a:pt x="2618" y="2739"/>
                </a:lnTo>
                <a:lnTo>
                  <a:pt x="2604" y="2743"/>
                </a:lnTo>
                <a:lnTo>
                  <a:pt x="2591" y="2747"/>
                </a:lnTo>
                <a:lnTo>
                  <a:pt x="2576" y="2747"/>
                </a:lnTo>
                <a:close/>
                <a:moveTo>
                  <a:pt x="2807" y="2745"/>
                </a:moveTo>
                <a:lnTo>
                  <a:pt x="2801" y="2743"/>
                </a:lnTo>
                <a:lnTo>
                  <a:pt x="2792" y="2737"/>
                </a:lnTo>
                <a:lnTo>
                  <a:pt x="2775" y="2722"/>
                </a:lnTo>
                <a:lnTo>
                  <a:pt x="2756" y="2701"/>
                </a:lnTo>
                <a:lnTo>
                  <a:pt x="2737" y="2682"/>
                </a:lnTo>
                <a:lnTo>
                  <a:pt x="2731" y="2673"/>
                </a:lnTo>
                <a:lnTo>
                  <a:pt x="2726" y="2665"/>
                </a:lnTo>
                <a:lnTo>
                  <a:pt x="2720" y="2654"/>
                </a:lnTo>
                <a:lnTo>
                  <a:pt x="2718" y="2648"/>
                </a:lnTo>
                <a:lnTo>
                  <a:pt x="2718" y="2642"/>
                </a:lnTo>
                <a:lnTo>
                  <a:pt x="2718" y="2635"/>
                </a:lnTo>
                <a:lnTo>
                  <a:pt x="2720" y="2629"/>
                </a:lnTo>
                <a:lnTo>
                  <a:pt x="2724" y="2620"/>
                </a:lnTo>
                <a:lnTo>
                  <a:pt x="2729" y="2612"/>
                </a:lnTo>
                <a:lnTo>
                  <a:pt x="2741" y="2597"/>
                </a:lnTo>
                <a:lnTo>
                  <a:pt x="2758" y="2576"/>
                </a:lnTo>
                <a:lnTo>
                  <a:pt x="2801" y="2529"/>
                </a:lnTo>
                <a:lnTo>
                  <a:pt x="2807" y="2529"/>
                </a:lnTo>
                <a:lnTo>
                  <a:pt x="2813" y="2531"/>
                </a:lnTo>
                <a:lnTo>
                  <a:pt x="2820" y="2536"/>
                </a:lnTo>
                <a:lnTo>
                  <a:pt x="2822" y="2542"/>
                </a:lnTo>
                <a:lnTo>
                  <a:pt x="2824" y="2546"/>
                </a:lnTo>
                <a:lnTo>
                  <a:pt x="2822" y="2553"/>
                </a:lnTo>
                <a:lnTo>
                  <a:pt x="2822" y="2557"/>
                </a:lnTo>
                <a:lnTo>
                  <a:pt x="2817" y="2561"/>
                </a:lnTo>
                <a:lnTo>
                  <a:pt x="2788" y="2595"/>
                </a:lnTo>
                <a:lnTo>
                  <a:pt x="2771" y="2616"/>
                </a:lnTo>
                <a:lnTo>
                  <a:pt x="2758" y="2631"/>
                </a:lnTo>
                <a:lnTo>
                  <a:pt x="2756" y="2635"/>
                </a:lnTo>
                <a:lnTo>
                  <a:pt x="2754" y="2639"/>
                </a:lnTo>
                <a:lnTo>
                  <a:pt x="2756" y="2646"/>
                </a:lnTo>
                <a:lnTo>
                  <a:pt x="2758" y="2650"/>
                </a:lnTo>
                <a:lnTo>
                  <a:pt x="2769" y="2663"/>
                </a:lnTo>
                <a:lnTo>
                  <a:pt x="2786" y="2682"/>
                </a:lnTo>
                <a:lnTo>
                  <a:pt x="2805" y="2701"/>
                </a:lnTo>
                <a:lnTo>
                  <a:pt x="2824" y="2718"/>
                </a:lnTo>
                <a:lnTo>
                  <a:pt x="2826" y="2722"/>
                </a:lnTo>
                <a:lnTo>
                  <a:pt x="2828" y="2724"/>
                </a:lnTo>
                <a:lnTo>
                  <a:pt x="2826" y="2728"/>
                </a:lnTo>
                <a:lnTo>
                  <a:pt x="2826" y="2730"/>
                </a:lnTo>
                <a:lnTo>
                  <a:pt x="2820" y="2737"/>
                </a:lnTo>
                <a:lnTo>
                  <a:pt x="2813" y="2743"/>
                </a:lnTo>
                <a:lnTo>
                  <a:pt x="2809" y="2743"/>
                </a:lnTo>
                <a:lnTo>
                  <a:pt x="2807" y="2745"/>
                </a:lnTo>
                <a:close/>
                <a:moveTo>
                  <a:pt x="2576" y="3340"/>
                </a:moveTo>
                <a:lnTo>
                  <a:pt x="2566" y="3340"/>
                </a:lnTo>
                <a:lnTo>
                  <a:pt x="2557" y="3338"/>
                </a:lnTo>
                <a:lnTo>
                  <a:pt x="2549" y="3336"/>
                </a:lnTo>
                <a:lnTo>
                  <a:pt x="2540" y="3332"/>
                </a:lnTo>
                <a:lnTo>
                  <a:pt x="2532" y="3327"/>
                </a:lnTo>
                <a:lnTo>
                  <a:pt x="2525" y="3321"/>
                </a:lnTo>
                <a:lnTo>
                  <a:pt x="2517" y="3315"/>
                </a:lnTo>
                <a:lnTo>
                  <a:pt x="2511" y="3308"/>
                </a:lnTo>
                <a:lnTo>
                  <a:pt x="2506" y="3302"/>
                </a:lnTo>
                <a:lnTo>
                  <a:pt x="2500" y="3293"/>
                </a:lnTo>
                <a:lnTo>
                  <a:pt x="2491" y="3274"/>
                </a:lnTo>
                <a:lnTo>
                  <a:pt x="2489" y="3266"/>
                </a:lnTo>
                <a:lnTo>
                  <a:pt x="2487" y="3255"/>
                </a:lnTo>
                <a:lnTo>
                  <a:pt x="2485" y="3245"/>
                </a:lnTo>
                <a:lnTo>
                  <a:pt x="2485" y="3234"/>
                </a:lnTo>
                <a:lnTo>
                  <a:pt x="2485" y="3222"/>
                </a:lnTo>
                <a:lnTo>
                  <a:pt x="2487" y="3211"/>
                </a:lnTo>
                <a:lnTo>
                  <a:pt x="2489" y="3200"/>
                </a:lnTo>
                <a:lnTo>
                  <a:pt x="2491" y="3190"/>
                </a:lnTo>
                <a:lnTo>
                  <a:pt x="2496" y="3179"/>
                </a:lnTo>
                <a:lnTo>
                  <a:pt x="2502" y="3171"/>
                </a:lnTo>
                <a:lnTo>
                  <a:pt x="2506" y="3160"/>
                </a:lnTo>
                <a:lnTo>
                  <a:pt x="2513" y="3152"/>
                </a:lnTo>
                <a:lnTo>
                  <a:pt x="2519" y="3145"/>
                </a:lnTo>
                <a:lnTo>
                  <a:pt x="2527" y="3139"/>
                </a:lnTo>
                <a:lnTo>
                  <a:pt x="2536" y="3133"/>
                </a:lnTo>
                <a:lnTo>
                  <a:pt x="2544" y="3126"/>
                </a:lnTo>
                <a:lnTo>
                  <a:pt x="2553" y="3122"/>
                </a:lnTo>
                <a:lnTo>
                  <a:pt x="2561" y="3120"/>
                </a:lnTo>
                <a:lnTo>
                  <a:pt x="2572" y="3118"/>
                </a:lnTo>
                <a:lnTo>
                  <a:pt x="2580" y="3118"/>
                </a:lnTo>
                <a:lnTo>
                  <a:pt x="2593" y="3118"/>
                </a:lnTo>
                <a:lnTo>
                  <a:pt x="2599" y="3120"/>
                </a:lnTo>
                <a:lnTo>
                  <a:pt x="2604" y="3122"/>
                </a:lnTo>
                <a:lnTo>
                  <a:pt x="2612" y="3126"/>
                </a:lnTo>
                <a:lnTo>
                  <a:pt x="2621" y="3135"/>
                </a:lnTo>
                <a:lnTo>
                  <a:pt x="2627" y="3141"/>
                </a:lnTo>
                <a:lnTo>
                  <a:pt x="2631" y="3152"/>
                </a:lnTo>
                <a:lnTo>
                  <a:pt x="2633" y="3162"/>
                </a:lnTo>
                <a:lnTo>
                  <a:pt x="2635" y="3175"/>
                </a:lnTo>
                <a:lnTo>
                  <a:pt x="2635" y="3181"/>
                </a:lnTo>
                <a:lnTo>
                  <a:pt x="2633" y="3190"/>
                </a:lnTo>
                <a:lnTo>
                  <a:pt x="2631" y="3196"/>
                </a:lnTo>
                <a:lnTo>
                  <a:pt x="2627" y="3205"/>
                </a:lnTo>
                <a:lnTo>
                  <a:pt x="2625" y="3211"/>
                </a:lnTo>
                <a:lnTo>
                  <a:pt x="2621" y="3217"/>
                </a:lnTo>
                <a:lnTo>
                  <a:pt x="2610" y="3228"/>
                </a:lnTo>
                <a:lnTo>
                  <a:pt x="2604" y="3234"/>
                </a:lnTo>
                <a:lnTo>
                  <a:pt x="2597" y="3238"/>
                </a:lnTo>
                <a:lnTo>
                  <a:pt x="2582" y="3245"/>
                </a:lnTo>
                <a:lnTo>
                  <a:pt x="2576" y="3249"/>
                </a:lnTo>
                <a:lnTo>
                  <a:pt x="2568" y="3251"/>
                </a:lnTo>
                <a:lnTo>
                  <a:pt x="2553" y="3251"/>
                </a:lnTo>
                <a:lnTo>
                  <a:pt x="2546" y="3251"/>
                </a:lnTo>
                <a:lnTo>
                  <a:pt x="2544" y="3249"/>
                </a:lnTo>
                <a:lnTo>
                  <a:pt x="2542" y="3247"/>
                </a:lnTo>
                <a:lnTo>
                  <a:pt x="2540" y="3243"/>
                </a:lnTo>
                <a:lnTo>
                  <a:pt x="2538" y="3241"/>
                </a:lnTo>
                <a:lnTo>
                  <a:pt x="2536" y="3232"/>
                </a:lnTo>
                <a:lnTo>
                  <a:pt x="2538" y="3226"/>
                </a:lnTo>
                <a:lnTo>
                  <a:pt x="2538" y="3224"/>
                </a:lnTo>
                <a:lnTo>
                  <a:pt x="2540" y="3224"/>
                </a:lnTo>
                <a:lnTo>
                  <a:pt x="2555" y="3219"/>
                </a:lnTo>
                <a:lnTo>
                  <a:pt x="2566" y="3215"/>
                </a:lnTo>
                <a:lnTo>
                  <a:pt x="2576" y="3209"/>
                </a:lnTo>
                <a:lnTo>
                  <a:pt x="2587" y="3202"/>
                </a:lnTo>
                <a:lnTo>
                  <a:pt x="2593" y="3196"/>
                </a:lnTo>
                <a:lnTo>
                  <a:pt x="2595" y="3192"/>
                </a:lnTo>
                <a:lnTo>
                  <a:pt x="2599" y="3188"/>
                </a:lnTo>
                <a:lnTo>
                  <a:pt x="2602" y="3179"/>
                </a:lnTo>
                <a:lnTo>
                  <a:pt x="2604" y="3171"/>
                </a:lnTo>
                <a:lnTo>
                  <a:pt x="2604" y="3164"/>
                </a:lnTo>
                <a:lnTo>
                  <a:pt x="2602" y="3160"/>
                </a:lnTo>
                <a:lnTo>
                  <a:pt x="2599" y="3156"/>
                </a:lnTo>
                <a:lnTo>
                  <a:pt x="2597" y="3154"/>
                </a:lnTo>
                <a:lnTo>
                  <a:pt x="2593" y="3152"/>
                </a:lnTo>
                <a:lnTo>
                  <a:pt x="2589" y="3150"/>
                </a:lnTo>
                <a:lnTo>
                  <a:pt x="2578" y="3147"/>
                </a:lnTo>
                <a:lnTo>
                  <a:pt x="2568" y="3150"/>
                </a:lnTo>
                <a:lnTo>
                  <a:pt x="2563" y="3152"/>
                </a:lnTo>
                <a:lnTo>
                  <a:pt x="2557" y="3154"/>
                </a:lnTo>
                <a:lnTo>
                  <a:pt x="2553" y="3158"/>
                </a:lnTo>
                <a:lnTo>
                  <a:pt x="2546" y="3162"/>
                </a:lnTo>
                <a:lnTo>
                  <a:pt x="2538" y="3173"/>
                </a:lnTo>
                <a:lnTo>
                  <a:pt x="2534" y="3179"/>
                </a:lnTo>
                <a:lnTo>
                  <a:pt x="2530" y="3186"/>
                </a:lnTo>
                <a:lnTo>
                  <a:pt x="2523" y="3198"/>
                </a:lnTo>
                <a:lnTo>
                  <a:pt x="2519" y="3215"/>
                </a:lnTo>
                <a:lnTo>
                  <a:pt x="2519" y="3224"/>
                </a:lnTo>
                <a:lnTo>
                  <a:pt x="2519" y="3232"/>
                </a:lnTo>
                <a:lnTo>
                  <a:pt x="2519" y="3247"/>
                </a:lnTo>
                <a:lnTo>
                  <a:pt x="2521" y="3253"/>
                </a:lnTo>
                <a:lnTo>
                  <a:pt x="2523" y="3262"/>
                </a:lnTo>
                <a:lnTo>
                  <a:pt x="2527" y="3272"/>
                </a:lnTo>
                <a:lnTo>
                  <a:pt x="2534" y="3283"/>
                </a:lnTo>
                <a:lnTo>
                  <a:pt x="2542" y="3291"/>
                </a:lnTo>
                <a:lnTo>
                  <a:pt x="2549" y="3296"/>
                </a:lnTo>
                <a:lnTo>
                  <a:pt x="2553" y="3298"/>
                </a:lnTo>
                <a:lnTo>
                  <a:pt x="2563" y="3302"/>
                </a:lnTo>
                <a:lnTo>
                  <a:pt x="2570" y="3304"/>
                </a:lnTo>
                <a:lnTo>
                  <a:pt x="2576" y="3304"/>
                </a:lnTo>
                <a:lnTo>
                  <a:pt x="2589" y="3302"/>
                </a:lnTo>
                <a:lnTo>
                  <a:pt x="2602" y="3300"/>
                </a:lnTo>
                <a:lnTo>
                  <a:pt x="2606" y="3296"/>
                </a:lnTo>
                <a:lnTo>
                  <a:pt x="2612" y="3293"/>
                </a:lnTo>
                <a:lnTo>
                  <a:pt x="2623" y="3285"/>
                </a:lnTo>
                <a:lnTo>
                  <a:pt x="2631" y="3277"/>
                </a:lnTo>
                <a:lnTo>
                  <a:pt x="2640" y="3266"/>
                </a:lnTo>
                <a:lnTo>
                  <a:pt x="2648" y="3255"/>
                </a:lnTo>
                <a:lnTo>
                  <a:pt x="2654" y="3243"/>
                </a:lnTo>
                <a:lnTo>
                  <a:pt x="2661" y="3228"/>
                </a:lnTo>
                <a:lnTo>
                  <a:pt x="2667" y="3213"/>
                </a:lnTo>
                <a:lnTo>
                  <a:pt x="2671" y="3200"/>
                </a:lnTo>
                <a:lnTo>
                  <a:pt x="2673" y="3186"/>
                </a:lnTo>
                <a:lnTo>
                  <a:pt x="2676" y="3171"/>
                </a:lnTo>
                <a:lnTo>
                  <a:pt x="2678" y="3156"/>
                </a:lnTo>
                <a:lnTo>
                  <a:pt x="2678" y="3143"/>
                </a:lnTo>
                <a:lnTo>
                  <a:pt x="2678" y="3130"/>
                </a:lnTo>
                <a:lnTo>
                  <a:pt x="2680" y="3126"/>
                </a:lnTo>
                <a:lnTo>
                  <a:pt x="2682" y="3124"/>
                </a:lnTo>
                <a:lnTo>
                  <a:pt x="2686" y="3124"/>
                </a:lnTo>
                <a:lnTo>
                  <a:pt x="2693" y="3122"/>
                </a:lnTo>
                <a:lnTo>
                  <a:pt x="2701" y="3124"/>
                </a:lnTo>
                <a:lnTo>
                  <a:pt x="2703" y="3126"/>
                </a:lnTo>
                <a:lnTo>
                  <a:pt x="2707" y="3128"/>
                </a:lnTo>
                <a:lnTo>
                  <a:pt x="2712" y="3137"/>
                </a:lnTo>
                <a:lnTo>
                  <a:pt x="2712" y="3141"/>
                </a:lnTo>
                <a:lnTo>
                  <a:pt x="2712" y="3150"/>
                </a:lnTo>
                <a:lnTo>
                  <a:pt x="2712" y="3166"/>
                </a:lnTo>
                <a:lnTo>
                  <a:pt x="2709" y="3186"/>
                </a:lnTo>
                <a:lnTo>
                  <a:pt x="2705" y="3205"/>
                </a:lnTo>
                <a:lnTo>
                  <a:pt x="2701" y="3222"/>
                </a:lnTo>
                <a:lnTo>
                  <a:pt x="2697" y="3238"/>
                </a:lnTo>
                <a:lnTo>
                  <a:pt x="2688" y="3253"/>
                </a:lnTo>
                <a:lnTo>
                  <a:pt x="2682" y="3268"/>
                </a:lnTo>
                <a:lnTo>
                  <a:pt x="2673" y="3283"/>
                </a:lnTo>
                <a:lnTo>
                  <a:pt x="2663" y="3293"/>
                </a:lnTo>
                <a:lnTo>
                  <a:pt x="2659" y="3300"/>
                </a:lnTo>
                <a:lnTo>
                  <a:pt x="2652" y="3306"/>
                </a:lnTo>
                <a:lnTo>
                  <a:pt x="2642" y="3315"/>
                </a:lnTo>
                <a:lnTo>
                  <a:pt x="2631" y="3323"/>
                </a:lnTo>
                <a:lnTo>
                  <a:pt x="2618" y="3332"/>
                </a:lnTo>
                <a:lnTo>
                  <a:pt x="2604" y="3336"/>
                </a:lnTo>
                <a:lnTo>
                  <a:pt x="2591" y="3338"/>
                </a:lnTo>
                <a:lnTo>
                  <a:pt x="2576" y="3340"/>
                </a:lnTo>
                <a:close/>
                <a:moveTo>
                  <a:pt x="2807" y="3336"/>
                </a:moveTo>
                <a:lnTo>
                  <a:pt x="2801" y="3334"/>
                </a:lnTo>
                <a:lnTo>
                  <a:pt x="2792" y="3327"/>
                </a:lnTo>
                <a:lnTo>
                  <a:pt x="2775" y="3313"/>
                </a:lnTo>
                <a:lnTo>
                  <a:pt x="2756" y="3293"/>
                </a:lnTo>
                <a:lnTo>
                  <a:pt x="2737" y="3272"/>
                </a:lnTo>
                <a:lnTo>
                  <a:pt x="2731" y="3264"/>
                </a:lnTo>
                <a:lnTo>
                  <a:pt x="2726" y="3257"/>
                </a:lnTo>
                <a:lnTo>
                  <a:pt x="2720" y="3245"/>
                </a:lnTo>
                <a:lnTo>
                  <a:pt x="2718" y="3238"/>
                </a:lnTo>
                <a:lnTo>
                  <a:pt x="2718" y="3234"/>
                </a:lnTo>
                <a:lnTo>
                  <a:pt x="2718" y="3226"/>
                </a:lnTo>
                <a:lnTo>
                  <a:pt x="2720" y="3219"/>
                </a:lnTo>
                <a:lnTo>
                  <a:pt x="2724" y="3211"/>
                </a:lnTo>
                <a:lnTo>
                  <a:pt x="2729" y="3205"/>
                </a:lnTo>
                <a:lnTo>
                  <a:pt x="2741" y="3190"/>
                </a:lnTo>
                <a:lnTo>
                  <a:pt x="2758" y="3169"/>
                </a:lnTo>
                <a:lnTo>
                  <a:pt x="2801" y="3120"/>
                </a:lnTo>
                <a:lnTo>
                  <a:pt x="2807" y="3122"/>
                </a:lnTo>
                <a:lnTo>
                  <a:pt x="2813" y="3124"/>
                </a:lnTo>
                <a:lnTo>
                  <a:pt x="2820" y="3128"/>
                </a:lnTo>
                <a:lnTo>
                  <a:pt x="2822" y="3133"/>
                </a:lnTo>
                <a:lnTo>
                  <a:pt x="2824" y="3139"/>
                </a:lnTo>
                <a:lnTo>
                  <a:pt x="2822" y="3145"/>
                </a:lnTo>
                <a:lnTo>
                  <a:pt x="2822" y="3150"/>
                </a:lnTo>
                <a:lnTo>
                  <a:pt x="2817" y="3152"/>
                </a:lnTo>
                <a:lnTo>
                  <a:pt x="2788" y="3188"/>
                </a:lnTo>
                <a:lnTo>
                  <a:pt x="2771" y="3207"/>
                </a:lnTo>
                <a:lnTo>
                  <a:pt x="2758" y="3224"/>
                </a:lnTo>
                <a:lnTo>
                  <a:pt x="2756" y="3228"/>
                </a:lnTo>
                <a:lnTo>
                  <a:pt x="2754" y="3232"/>
                </a:lnTo>
                <a:lnTo>
                  <a:pt x="2756" y="3236"/>
                </a:lnTo>
                <a:lnTo>
                  <a:pt x="2758" y="3243"/>
                </a:lnTo>
                <a:lnTo>
                  <a:pt x="2769" y="3255"/>
                </a:lnTo>
                <a:lnTo>
                  <a:pt x="2786" y="3272"/>
                </a:lnTo>
                <a:lnTo>
                  <a:pt x="2805" y="3291"/>
                </a:lnTo>
                <a:lnTo>
                  <a:pt x="2824" y="3310"/>
                </a:lnTo>
                <a:lnTo>
                  <a:pt x="2826" y="3313"/>
                </a:lnTo>
                <a:lnTo>
                  <a:pt x="2828" y="3317"/>
                </a:lnTo>
                <a:lnTo>
                  <a:pt x="2826" y="3319"/>
                </a:lnTo>
                <a:lnTo>
                  <a:pt x="2826" y="3323"/>
                </a:lnTo>
                <a:lnTo>
                  <a:pt x="2820" y="3329"/>
                </a:lnTo>
                <a:lnTo>
                  <a:pt x="2813" y="3334"/>
                </a:lnTo>
                <a:lnTo>
                  <a:pt x="2809" y="3336"/>
                </a:lnTo>
                <a:lnTo>
                  <a:pt x="2807" y="3336"/>
                </a:lnTo>
                <a:close/>
                <a:moveTo>
                  <a:pt x="2665" y="3793"/>
                </a:moveTo>
                <a:lnTo>
                  <a:pt x="2671" y="3770"/>
                </a:lnTo>
                <a:lnTo>
                  <a:pt x="2676" y="3746"/>
                </a:lnTo>
                <a:lnTo>
                  <a:pt x="2678" y="3736"/>
                </a:lnTo>
                <a:lnTo>
                  <a:pt x="2678" y="3725"/>
                </a:lnTo>
                <a:lnTo>
                  <a:pt x="2678" y="3704"/>
                </a:lnTo>
                <a:lnTo>
                  <a:pt x="2680" y="3702"/>
                </a:lnTo>
                <a:lnTo>
                  <a:pt x="2682" y="3700"/>
                </a:lnTo>
                <a:lnTo>
                  <a:pt x="2686" y="3698"/>
                </a:lnTo>
                <a:lnTo>
                  <a:pt x="2693" y="3698"/>
                </a:lnTo>
                <a:lnTo>
                  <a:pt x="2701" y="3698"/>
                </a:lnTo>
                <a:lnTo>
                  <a:pt x="2703" y="3700"/>
                </a:lnTo>
                <a:lnTo>
                  <a:pt x="2707" y="3702"/>
                </a:lnTo>
                <a:lnTo>
                  <a:pt x="2712" y="3710"/>
                </a:lnTo>
                <a:lnTo>
                  <a:pt x="2712" y="3717"/>
                </a:lnTo>
                <a:lnTo>
                  <a:pt x="2712" y="3723"/>
                </a:lnTo>
                <a:lnTo>
                  <a:pt x="2712" y="3740"/>
                </a:lnTo>
                <a:lnTo>
                  <a:pt x="2709" y="3759"/>
                </a:lnTo>
                <a:lnTo>
                  <a:pt x="2707" y="3776"/>
                </a:lnTo>
                <a:lnTo>
                  <a:pt x="2703" y="3793"/>
                </a:lnTo>
                <a:lnTo>
                  <a:pt x="2665" y="3793"/>
                </a:lnTo>
                <a:close/>
                <a:moveTo>
                  <a:pt x="2485" y="3793"/>
                </a:moveTo>
                <a:lnTo>
                  <a:pt x="2489" y="3772"/>
                </a:lnTo>
                <a:lnTo>
                  <a:pt x="2494" y="3763"/>
                </a:lnTo>
                <a:lnTo>
                  <a:pt x="2496" y="3753"/>
                </a:lnTo>
                <a:lnTo>
                  <a:pt x="2500" y="3744"/>
                </a:lnTo>
                <a:lnTo>
                  <a:pt x="2506" y="3736"/>
                </a:lnTo>
                <a:lnTo>
                  <a:pt x="2511" y="3730"/>
                </a:lnTo>
                <a:lnTo>
                  <a:pt x="2517" y="3721"/>
                </a:lnTo>
                <a:lnTo>
                  <a:pt x="2523" y="3715"/>
                </a:lnTo>
                <a:lnTo>
                  <a:pt x="2532" y="3708"/>
                </a:lnTo>
                <a:lnTo>
                  <a:pt x="2538" y="3704"/>
                </a:lnTo>
                <a:lnTo>
                  <a:pt x="2546" y="3700"/>
                </a:lnTo>
                <a:lnTo>
                  <a:pt x="2555" y="3696"/>
                </a:lnTo>
                <a:lnTo>
                  <a:pt x="2563" y="3694"/>
                </a:lnTo>
                <a:lnTo>
                  <a:pt x="2572" y="3691"/>
                </a:lnTo>
                <a:lnTo>
                  <a:pt x="2580" y="3691"/>
                </a:lnTo>
                <a:lnTo>
                  <a:pt x="2593" y="3694"/>
                </a:lnTo>
                <a:lnTo>
                  <a:pt x="2599" y="3694"/>
                </a:lnTo>
                <a:lnTo>
                  <a:pt x="2604" y="3696"/>
                </a:lnTo>
                <a:lnTo>
                  <a:pt x="2612" y="3702"/>
                </a:lnTo>
                <a:lnTo>
                  <a:pt x="2621" y="3708"/>
                </a:lnTo>
                <a:lnTo>
                  <a:pt x="2627" y="3717"/>
                </a:lnTo>
                <a:lnTo>
                  <a:pt x="2631" y="3725"/>
                </a:lnTo>
                <a:lnTo>
                  <a:pt x="2633" y="3738"/>
                </a:lnTo>
                <a:lnTo>
                  <a:pt x="2635" y="3749"/>
                </a:lnTo>
                <a:lnTo>
                  <a:pt x="2633" y="3761"/>
                </a:lnTo>
                <a:lnTo>
                  <a:pt x="2631" y="3772"/>
                </a:lnTo>
                <a:lnTo>
                  <a:pt x="2625" y="3782"/>
                </a:lnTo>
                <a:lnTo>
                  <a:pt x="2618" y="3793"/>
                </a:lnTo>
                <a:lnTo>
                  <a:pt x="2602" y="3793"/>
                </a:lnTo>
                <a:lnTo>
                  <a:pt x="2559" y="3793"/>
                </a:lnTo>
                <a:lnTo>
                  <a:pt x="2570" y="3789"/>
                </a:lnTo>
                <a:lnTo>
                  <a:pt x="2578" y="3785"/>
                </a:lnTo>
                <a:lnTo>
                  <a:pt x="2585" y="3778"/>
                </a:lnTo>
                <a:lnTo>
                  <a:pt x="2591" y="3772"/>
                </a:lnTo>
                <a:lnTo>
                  <a:pt x="2597" y="3765"/>
                </a:lnTo>
                <a:lnTo>
                  <a:pt x="2599" y="3759"/>
                </a:lnTo>
                <a:lnTo>
                  <a:pt x="2602" y="3751"/>
                </a:lnTo>
                <a:lnTo>
                  <a:pt x="2604" y="3744"/>
                </a:lnTo>
                <a:lnTo>
                  <a:pt x="2604" y="3740"/>
                </a:lnTo>
                <a:lnTo>
                  <a:pt x="2602" y="3734"/>
                </a:lnTo>
                <a:lnTo>
                  <a:pt x="2599" y="3732"/>
                </a:lnTo>
                <a:lnTo>
                  <a:pt x="2597" y="3727"/>
                </a:lnTo>
                <a:lnTo>
                  <a:pt x="2593" y="3725"/>
                </a:lnTo>
                <a:lnTo>
                  <a:pt x="2589" y="3723"/>
                </a:lnTo>
                <a:lnTo>
                  <a:pt x="2578" y="3721"/>
                </a:lnTo>
                <a:lnTo>
                  <a:pt x="2570" y="3723"/>
                </a:lnTo>
                <a:lnTo>
                  <a:pt x="2566" y="3725"/>
                </a:lnTo>
                <a:lnTo>
                  <a:pt x="2559" y="3727"/>
                </a:lnTo>
                <a:lnTo>
                  <a:pt x="2551" y="3734"/>
                </a:lnTo>
                <a:lnTo>
                  <a:pt x="2542" y="3742"/>
                </a:lnTo>
                <a:lnTo>
                  <a:pt x="2534" y="3753"/>
                </a:lnTo>
                <a:lnTo>
                  <a:pt x="2532" y="3759"/>
                </a:lnTo>
                <a:lnTo>
                  <a:pt x="2527" y="3765"/>
                </a:lnTo>
                <a:lnTo>
                  <a:pt x="2525" y="3772"/>
                </a:lnTo>
                <a:lnTo>
                  <a:pt x="2523" y="3778"/>
                </a:lnTo>
                <a:lnTo>
                  <a:pt x="2519" y="3793"/>
                </a:lnTo>
                <a:lnTo>
                  <a:pt x="2485" y="3793"/>
                </a:lnTo>
                <a:close/>
                <a:moveTo>
                  <a:pt x="2722" y="3793"/>
                </a:moveTo>
                <a:lnTo>
                  <a:pt x="2724" y="3785"/>
                </a:lnTo>
                <a:lnTo>
                  <a:pt x="2729" y="3778"/>
                </a:lnTo>
                <a:lnTo>
                  <a:pt x="2741" y="3763"/>
                </a:lnTo>
                <a:lnTo>
                  <a:pt x="2758" y="3742"/>
                </a:lnTo>
                <a:lnTo>
                  <a:pt x="2801" y="3696"/>
                </a:lnTo>
                <a:lnTo>
                  <a:pt x="2807" y="3696"/>
                </a:lnTo>
                <a:lnTo>
                  <a:pt x="2813" y="3698"/>
                </a:lnTo>
                <a:lnTo>
                  <a:pt x="2820" y="3702"/>
                </a:lnTo>
                <a:lnTo>
                  <a:pt x="2822" y="3708"/>
                </a:lnTo>
                <a:lnTo>
                  <a:pt x="2824" y="3713"/>
                </a:lnTo>
                <a:lnTo>
                  <a:pt x="2822" y="3719"/>
                </a:lnTo>
                <a:lnTo>
                  <a:pt x="2822" y="3723"/>
                </a:lnTo>
                <a:lnTo>
                  <a:pt x="2817" y="3727"/>
                </a:lnTo>
                <a:lnTo>
                  <a:pt x="2792" y="3757"/>
                </a:lnTo>
                <a:lnTo>
                  <a:pt x="2775" y="3776"/>
                </a:lnTo>
                <a:lnTo>
                  <a:pt x="2762" y="3793"/>
                </a:lnTo>
                <a:lnTo>
                  <a:pt x="2722" y="3793"/>
                </a:lnTo>
                <a:close/>
                <a:moveTo>
                  <a:pt x="2113" y="2747"/>
                </a:moveTo>
                <a:lnTo>
                  <a:pt x="2104" y="2747"/>
                </a:lnTo>
                <a:lnTo>
                  <a:pt x="2093" y="2745"/>
                </a:lnTo>
                <a:lnTo>
                  <a:pt x="2085" y="2743"/>
                </a:lnTo>
                <a:lnTo>
                  <a:pt x="2077" y="2739"/>
                </a:lnTo>
                <a:lnTo>
                  <a:pt x="2070" y="2735"/>
                </a:lnTo>
                <a:lnTo>
                  <a:pt x="2062" y="2730"/>
                </a:lnTo>
                <a:lnTo>
                  <a:pt x="2055" y="2724"/>
                </a:lnTo>
                <a:lnTo>
                  <a:pt x="2049" y="2718"/>
                </a:lnTo>
                <a:lnTo>
                  <a:pt x="2043" y="2709"/>
                </a:lnTo>
                <a:lnTo>
                  <a:pt x="2038" y="2701"/>
                </a:lnTo>
                <a:lnTo>
                  <a:pt x="2030" y="2684"/>
                </a:lnTo>
                <a:lnTo>
                  <a:pt x="2026" y="2673"/>
                </a:lnTo>
                <a:lnTo>
                  <a:pt x="2024" y="2663"/>
                </a:lnTo>
                <a:lnTo>
                  <a:pt x="2022" y="2652"/>
                </a:lnTo>
                <a:lnTo>
                  <a:pt x="2022" y="2642"/>
                </a:lnTo>
                <a:lnTo>
                  <a:pt x="2022" y="2631"/>
                </a:lnTo>
                <a:lnTo>
                  <a:pt x="2024" y="2620"/>
                </a:lnTo>
                <a:lnTo>
                  <a:pt x="2026" y="2608"/>
                </a:lnTo>
                <a:lnTo>
                  <a:pt x="2030" y="2597"/>
                </a:lnTo>
                <a:lnTo>
                  <a:pt x="2034" y="2589"/>
                </a:lnTo>
                <a:lnTo>
                  <a:pt x="2038" y="2578"/>
                </a:lnTo>
                <a:lnTo>
                  <a:pt x="2045" y="2570"/>
                </a:lnTo>
                <a:lnTo>
                  <a:pt x="2049" y="2561"/>
                </a:lnTo>
                <a:lnTo>
                  <a:pt x="2058" y="2553"/>
                </a:lnTo>
                <a:lnTo>
                  <a:pt x="2064" y="2546"/>
                </a:lnTo>
                <a:lnTo>
                  <a:pt x="2072" y="2540"/>
                </a:lnTo>
                <a:lnTo>
                  <a:pt x="2081" y="2536"/>
                </a:lnTo>
                <a:lnTo>
                  <a:pt x="2089" y="2531"/>
                </a:lnTo>
                <a:lnTo>
                  <a:pt x="2100" y="2527"/>
                </a:lnTo>
                <a:lnTo>
                  <a:pt x="2108" y="2527"/>
                </a:lnTo>
                <a:lnTo>
                  <a:pt x="2119" y="2525"/>
                </a:lnTo>
                <a:lnTo>
                  <a:pt x="2129" y="2527"/>
                </a:lnTo>
                <a:lnTo>
                  <a:pt x="2136" y="2527"/>
                </a:lnTo>
                <a:lnTo>
                  <a:pt x="2140" y="2529"/>
                </a:lnTo>
                <a:lnTo>
                  <a:pt x="2151" y="2536"/>
                </a:lnTo>
                <a:lnTo>
                  <a:pt x="2157" y="2542"/>
                </a:lnTo>
                <a:lnTo>
                  <a:pt x="2163" y="2551"/>
                </a:lnTo>
                <a:lnTo>
                  <a:pt x="2168" y="2561"/>
                </a:lnTo>
                <a:lnTo>
                  <a:pt x="2172" y="2572"/>
                </a:lnTo>
                <a:lnTo>
                  <a:pt x="2172" y="2582"/>
                </a:lnTo>
                <a:lnTo>
                  <a:pt x="2172" y="2591"/>
                </a:lnTo>
                <a:lnTo>
                  <a:pt x="2170" y="2597"/>
                </a:lnTo>
                <a:lnTo>
                  <a:pt x="2168" y="2606"/>
                </a:lnTo>
                <a:lnTo>
                  <a:pt x="2165" y="2612"/>
                </a:lnTo>
                <a:lnTo>
                  <a:pt x="2161" y="2618"/>
                </a:lnTo>
                <a:lnTo>
                  <a:pt x="2157" y="2625"/>
                </a:lnTo>
                <a:lnTo>
                  <a:pt x="2146" y="2637"/>
                </a:lnTo>
                <a:lnTo>
                  <a:pt x="2140" y="2642"/>
                </a:lnTo>
                <a:lnTo>
                  <a:pt x="2134" y="2646"/>
                </a:lnTo>
                <a:lnTo>
                  <a:pt x="2119" y="2654"/>
                </a:lnTo>
                <a:lnTo>
                  <a:pt x="2113" y="2656"/>
                </a:lnTo>
                <a:lnTo>
                  <a:pt x="2104" y="2658"/>
                </a:lnTo>
                <a:lnTo>
                  <a:pt x="2089" y="2661"/>
                </a:lnTo>
                <a:lnTo>
                  <a:pt x="2083" y="2658"/>
                </a:lnTo>
                <a:lnTo>
                  <a:pt x="2081" y="2656"/>
                </a:lnTo>
                <a:lnTo>
                  <a:pt x="2079" y="2654"/>
                </a:lnTo>
                <a:lnTo>
                  <a:pt x="2077" y="2652"/>
                </a:lnTo>
                <a:lnTo>
                  <a:pt x="2074" y="2648"/>
                </a:lnTo>
                <a:lnTo>
                  <a:pt x="2074" y="2642"/>
                </a:lnTo>
                <a:lnTo>
                  <a:pt x="2074" y="2635"/>
                </a:lnTo>
                <a:lnTo>
                  <a:pt x="2077" y="2633"/>
                </a:lnTo>
                <a:lnTo>
                  <a:pt x="2079" y="2631"/>
                </a:lnTo>
                <a:lnTo>
                  <a:pt x="2091" y="2629"/>
                </a:lnTo>
                <a:lnTo>
                  <a:pt x="2104" y="2625"/>
                </a:lnTo>
                <a:lnTo>
                  <a:pt x="2115" y="2618"/>
                </a:lnTo>
                <a:lnTo>
                  <a:pt x="2123" y="2612"/>
                </a:lnTo>
                <a:lnTo>
                  <a:pt x="2129" y="2603"/>
                </a:lnTo>
                <a:lnTo>
                  <a:pt x="2134" y="2599"/>
                </a:lnTo>
                <a:lnTo>
                  <a:pt x="2136" y="2595"/>
                </a:lnTo>
                <a:lnTo>
                  <a:pt x="2140" y="2587"/>
                </a:lnTo>
                <a:lnTo>
                  <a:pt x="2140" y="2578"/>
                </a:lnTo>
                <a:lnTo>
                  <a:pt x="2140" y="2574"/>
                </a:lnTo>
                <a:lnTo>
                  <a:pt x="2138" y="2570"/>
                </a:lnTo>
                <a:lnTo>
                  <a:pt x="2136" y="2565"/>
                </a:lnTo>
                <a:lnTo>
                  <a:pt x="2134" y="2561"/>
                </a:lnTo>
                <a:lnTo>
                  <a:pt x="2129" y="2559"/>
                </a:lnTo>
                <a:lnTo>
                  <a:pt x="2125" y="2557"/>
                </a:lnTo>
                <a:lnTo>
                  <a:pt x="2117" y="2555"/>
                </a:lnTo>
                <a:lnTo>
                  <a:pt x="2106" y="2557"/>
                </a:lnTo>
                <a:lnTo>
                  <a:pt x="2100" y="2559"/>
                </a:lnTo>
                <a:lnTo>
                  <a:pt x="2096" y="2563"/>
                </a:lnTo>
                <a:lnTo>
                  <a:pt x="2089" y="2565"/>
                </a:lnTo>
                <a:lnTo>
                  <a:pt x="2085" y="2570"/>
                </a:lnTo>
                <a:lnTo>
                  <a:pt x="2074" y="2580"/>
                </a:lnTo>
                <a:lnTo>
                  <a:pt x="2070" y="2587"/>
                </a:lnTo>
                <a:lnTo>
                  <a:pt x="2068" y="2593"/>
                </a:lnTo>
                <a:lnTo>
                  <a:pt x="2062" y="2608"/>
                </a:lnTo>
                <a:lnTo>
                  <a:pt x="2058" y="2623"/>
                </a:lnTo>
                <a:lnTo>
                  <a:pt x="2055" y="2631"/>
                </a:lnTo>
                <a:lnTo>
                  <a:pt x="2055" y="2639"/>
                </a:lnTo>
                <a:lnTo>
                  <a:pt x="2058" y="2654"/>
                </a:lnTo>
                <a:lnTo>
                  <a:pt x="2058" y="2663"/>
                </a:lnTo>
                <a:lnTo>
                  <a:pt x="2060" y="2669"/>
                </a:lnTo>
                <a:lnTo>
                  <a:pt x="2064" y="2682"/>
                </a:lnTo>
                <a:lnTo>
                  <a:pt x="2072" y="2692"/>
                </a:lnTo>
                <a:lnTo>
                  <a:pt x="2081" y="2701"/>
                </a:lnTo>
                <a:lnTo>
                  <a:pt x="2085" y="2703"/>
                </a:lnTo>
                <a:lnTo>
                  <a:pt x="2089" y="2707"/>
                </a:lnTo>
                <a:lnTo>
                  <a:pt x="2102" y="2711"/>
                </a:lnTo>
                <a:lnTo>
                  <a:pt x="2108" y="2711"/>
                </a:lnTo>
                <a:lnTo>
                  <a:pt x="2115" y="2711"/>
                </a:lnTo>
                <a:lnTo>
                  <a:pt x="2125" y="2711"/>
                </a:lnTo>
                <a:lnTo>
                  <a:pt x="2138" y="2707"/>
                </a:lnTo>
                <a:lnTo>
                  <a:pt x="2144" y="2705"/>
                </a:lnTo>
                <a:lnTo>
                  <a:pt x="2149" y="2701"/>
                </a:lnTo>
                <a:lnTo>
                  <a:pt x="2159" y="2694"/>
                </a:lnTo>
                <a:lnTo>
                  <a:pt x="2170" y="2686"/>
                </a:lnTo>
                <a:lnTo>
                  <a:pt x="2178" y="2675"/>
                </a:lnTo>
                <a:lnTo>
                  <a:pt x="2185" y="2663"/>
                </a:lnTo>
                <a:lnTo>
                  <a:pt x="2193" y="2650"/>
                </a:lnTo>
                <a:lnTo>
                  <a:pt x="2199" y="2637"/>
                </a:lnTo>
                <a:lnTo>
                  <a:pt x="2204" y="2623"/>
                </a:lnTo>
                <a:lnTo>
                  <a:pt x="2208" y="2608"/>
                </a:lnTo>
                <a:lnTo>
                  <a:pt x="2212" y="2593"/>
                </a:lnTo>
                <a:lnTo>
                  <a:pt x="2214" y="2578"/>
                </a:lnTo>
                <a:lnTo>
                  <a:pt x="2216" y="2565"/>
                </a:lnTo>
                <a:lnTo>
                  <a:pt x="2216" y="2551"/>
                </a:lnTo>
                <a:lnTo>
                  <a:pt x="2216" y="2538"/>
                </a:lnTo>
                <a:lnTo>
                  <a:pt x="2216" y="2536"/>
                </a:lnTo>
                <a:lnTo>
                  <a:pt x="2221" y="2534"/>
                </a:lnTo>
                <a:lnTo>
                  <a:pt x="2225" y="2531"/>
                </a:lnTo>
                <a:lnTo>
                  <a:pt x="2229" y="2531"/>
                </a:lnTo>
                <a:lnTo>
                  <a:pt x="2237" y="2531"/>
                </a:lnTo>
                <a:lnTo>
                  <a:pt x="2242" y="2534"/>
                </a:lnTo>
                <a:lnTo>
                  <a:pt x="2244" y="2536"/>
                </a:lnTo>
                <a:lnTo>
                  <a:pt x="2248" y="2544"/>
                </a:lnTo>
                <a:lnTo>
                  <a:pt x="2250" y="2551"/>
                </a:lnTo>
                <a:lnTo>
                  <a:pt x="2250" y="2557"/>
                </a:lnTo>
                <a:lnTo>
                  <a:pt x="2248" y="2576"/>
                </a:lnTo>
                <a:lnTo>
                  <a:pt x="2246" y="2595"/>
                </a:lnTo>
                <a:lnTo>
                  <a:pt x="2244" y="2612"/>
                </a:lnTo>
                <a:lnTo>
                  <a:pt x="2240" y="2629"/>
                </a:lnTo>
                <a:lnTo>
                  <a:pt x="2233" y="2646"/>
                </a:lnTo>
                <a:lnTo>
                  <a:pt x="2227" y="2661"/>
                </a:lnTo>
                <a:lnTo>
                  <a:pt x="2218" y="2675"/>
                </a:lnTo>
                <a:lnTo>
                  <a:pt x="2210" y="2690"/>
                </a:lnTo>
                <a:lnTo>
                  <a:pt x="2201" y="2703"/>
                </a:lnTo>
                <a:lnTo>
                  <a:pt x="2195" y="2709"/>
                </a:lnTo>
                <a:lnTo>
                  <a:pt x="2191" y="2714"/>
                </a:lnTo>
                <a:lnTo>
                  <a:pt x="2178" y="2724"/>
                </a:lnTo>
                <a:lnTo>
                  <a:pt x="2168" y="2733"/>
                </a:lnTo>
                <a:lnTo>
                  <a:pt x="2155" y="2739"/>
                </a:lnTo>
                <a:lnTo>
                  <a:pt x="2142" y="2743"/>
                </a:lnTo>
                <a:lnTo>
                  <a:pt x="2127" y="2747"/>
                </a:lnTo>
                <a:lnTo>
                  <a:pt x="2113" y="2747"/>
                </a:lnTo>
                <a:close/>
                <a:moveTo>
                  <a:pt x="2343" y="2745"/>
                </a:moveTo>
                <a:lnTo>
                  <a:pt x="2337" y="2743"/>
                </a:lnTo>
                <a:lnTo>
                  <a:pt x="2328" y="2737"/>
                </a:lnTo>
                <a:lnTo>
                  <a:pt x="2312" y="2722"/>
                </a:lnTo>
                <a:lnTo>
                  <a:pt x="2292" y="2701"/>
                </a:lnTo>
                <a:lnTo>
                  <a:pt x="2273" y="2682"/>
                </a:lnTo>
                <a:lnTo>
                  <a:pt x="2267" y="2673"/>
                </a:lnTo>
                <a:lnTo>
                  <a:pt x="2263" y="2665"/>
                </a:lnTo>
                <a:lnTo>
                  <a:pt x="2256" y="2654"/>
                </a:lnTo>
                <a:lnTo>
                  <a:pt x="2256" y="2648"/>
                </a:lnTo>
                <a:lnTo>
                  <a:pt x="2254" y="2642"/>
                </a:lnTo>
                <a:lnTo>
                  <a:pt x="2256" y="2635"/>
                </a:lnTo>
                <a:lnTo>
                  <a:pt x="2259" y="2629"/>
                </a:lnTo>
                <a:lnTo>
                  <a:pt x="2261" y="2620"/>
                </a:lnTo>
                <a:lnTo>
                  <a:pt x="2267" y="2612"/>
                </a:lnTo>
                <a:lnTo>
                  <a:pt x="2278" y="2597"/>
                </a:lnTo>
                <a:lnTo>
                  <a:pt x="2297" y="2576"/>
                </a:lnTo>
                <a:lnTo>
                  <a:pt x="2339" y="2529"/>
                </a:lnTo>
                <a:lnTo>
                  <a:pt x="2345" y="2529"/>
                </a:lnTo>
                <a:lnTo>
                  <a:pt x="2352" y="2531"/>
                </a:lnTo>
                <a:lnTo>
                  <a:pt x="2356" y="2536"/>
                </a:lnTo>
                <a:lnTo>
                  <a:pt x="2360" y="2542"/>
                </a:lnTo>
                <a:lnTo>
                  <a:pt x="2360" y="2546"/>
                </a:lnTo>
                <a:lnTo>
                  <a:pt x="2360" y="2553"/>
                </a:lnTo>
                <a:lnTo>
                  <a:pt x="2358" y="2557"/>
                </a:lnTo>
                <a:lnTo>
                  <a:pt x="2356" y="2561"/>
                </a:lnTo>
                <a:lnTo>
                  <a:pt x="2326" y="2595"/>
                </a:lnTo>
                <a:lnTo>
                  <a:pt x="2307" y="2616"/>
                </a:lnTo>
                <a:lnTo>
                  <a:pt x="2295" y="2631"/>
                </a:lnTo>
                <a:lnTo>
                  <a:pt x="2292" y="2635"/>
                </a:lnTo>
                <a:lnTo>
                  <a:pt x="2292" y="2639"/>
                </a:lnTo>
                <a:lnTo>
                  <a:pt x="2292" y="2646"/>
                </a:lnTo>
                <a:lnTo>
                  <a:pt x="2297" y="2650"/>
                </a:lnTo>
                <a:lnTo>
                  <a:pt x="2307" y="2663"/>
                </a:lnTo>
                <a:lnTo>
                  <a:pt x="2324" y="2682"/>
                </a:lnTo>
                <a:lnTo>
                  <a:pt x="2343" y="2701"/>
                </a:lnTo>
                <a:lnTo>
                  <a:pt x="2362" y="2718"/>
                </a:lnTo>
                <a:lnTo>
                  <a:pt x="2362" y="2722"/>
                </a:lnTo>
                <a:lnTo>
                  <a:pt x="2364" y="2724"/>
                </a:lnTo>
                <a:lnTo>
                  <a:pt x="2364" y="2728"/>
                </a:lnTo>
                <a:lnTo>
                  <a:pt x="2362" y="2730"/>
                </a:lnTo>
                <a:lnTo>
                  <a:pt x="2358" y="2737"/>
                </a:lnTo>
                <a:lnTo>
                  <a:pt x="2350" y="2743"/>
                </a:lnTo>
                <a:lnTo>
                  <a:pt x="2348" y="2743"/>
                </a:lnTo>
                <a:lnTo>
                  <a:pt x="2343" y="2745"/>
                </a:lnTo>
                <a:close/>
                <a:moveTo>
                  <a:pt x="2113" y="3340"/>
                </a:moveTo>
                <a:lnTo>
                  <a:pt x="2104" y="3340"/>
                </a:lnTo>
                <a:lnTo>
                  <a:pt x="2093" y="3338"/>
                </a:lnTo>
                <a:lnTo>
                  <a:pt x="2085" y="3336"/>
                </a:lnTo>
                <a:lnTo>
                  <a:pt x="2077" y="3332"/>
                </a:lnTo>
                <a:lnTo>
                  <a:pt x="2070" y="3327"/>
                </a:lnTo>
                <a:lnTo>
                  <a:pt x="2062" y="3321"/>
                </a:lnTo>
                <a:lnTo>
                  <a:pt x="2055" y="3315"/>
                </a:lnTo>
                <a:lnTo>
                  <a:pt x="2049" y="3308"/>
                </a:lnTo>
                <a:lnTo>
                  <a:pt x="2043" y="3302"/>
                </a:lnTo>
                <a:lnTo>
                  <a:pt x="2038" y="3293"/>
                </a:lnTo>
                <a:lnTo>
                  <a:pt x="2030" y="3274"/>
                </a:lnTo>
                <a:lnTo>
                  <a:pt x="2026" y="3266"/>
                </a:lnTo>
                <a:lnTo>
                  <a:pt x="2024" y="3255"/>
                </a:lnTo>
                <a:lnTo>
                  <a:pt x="2022" y="3245"/>
                </a:lnTo>
                <a:lnTo>
                  <a:pt x="2022" y="3234"/>
                </a:lnTo>
                <a:lnTo>
                  <a:pt x="2022" y="3222"/>
                </a:lnTo>
                <a:lnTo>
                  <a:pt x="2024" y="3211"/>
                </a:lnTo>
                <a:lnTo>
                  <a:pt x="2026" y="3200"/>
                </a:lnTo>
                <a:lnTo>
                  <a:pt x="2030" y="3190"/>
                </a:lnTo>
                <a:lnTo>
                  <a:pt x="2034" y="3179"/>
                </a:lnTo>
                <a:lnTo>
                  <a:pt x="2038" y="3171"/>
                </a:lnTo>
                <a:lnTo>
                  <a:pt x="2045" y="3160"/>
                </a:lnTo>
                <a:lnTo>
                  <a:pt x="2049" y="3152"/>
                </a:lnTo>
                <a:lnTo>
                  <a:pt x="2058" y="3145"/>
                </a:lnTo>
                <a:lnTo>
                  <a:pt x="2064" y="3139"/>
                </a:lnTo>
                <a:lnTo>
                  <a:pt x="2072" y="3133"/>
                </a:lnTo>
                <a:lnTo>
                  <a:pt x="2081" y="3126"/>
                </a:lnTo>
                <a:lnTo>
                  <a:pt x="2089" y="3122"/>
                </a:lnTo>
                <a:lnTo>
                  <a:pt x="2100" y="3120"/>
                </a:lnTo>
                <a:lnTo>
                  <a:pt x="2108" y="3118"/>
                </a:lnTo>
                <a:lnTo>
                  <a:pt x="2119" y="3118"/>
                </a:lnTo>
                <a:lnTo>
                  <a:pt x="2129" y="3118"/>
                </a:lnTo>
                <a:lnTo>
                  <a:pt x="2136" y="3120"/>
                </a:lnTo>
                <a:lnTo>
                  <a:pt x="2140" y="3122"/>
                </a:lnTo>
                <a:lnTo>
                  <a:pt x="2151" y="3126"/>
                </a:lnTo>
                <a:lnTo>
                  <a:pt x="2157" y="3135"/>
                </a:lnTo>
                <a:lnTo>
                  <a:pt x="2163" y="3141"/>
                </a:lnTo>
                <a:lnTo>
                  <a:pt x="2168" y="3152"/>
                </a:lnTo>
                <a:lnTo>
                  <a:pt x="2172" y="3162"/>
                </a:lnTo>
                <a:lnTo>
                  <a:pt x="2172" y="3175"/>
                </a:lnTo>
                <a:lnTo>
                  <a:pt x="2172" y="3181"/>
                </a:lnTo>
                <a:lnTo>
                  <a:pt x="2170" y="3190"/>
                </a:lnTo>
                <a:lnTo>
                  <a:pt x="2168" y="3196"/>
                </a:lnTo>
                <a:lnTo>
                  <a:pt x="2165" y="3205"/>
                </a:lnTo>
                <a:lnTo>
                  <a:pt x="2161" y="3211"/>
                </a:lnTo>
                <a:lnTo>
                  <a:pt x="2157" y="3217"/>
                </a:lnTo>
                <a:lnTo>
                  <a:pt x="2146" y="3228"/>
                </a:lnTo>
                <a:lnTo>
                  <a:pt x="2140" y="3234"/>
                </a:lnTo>
                <a:lnTo>
                  <a:pt x="2134" y="3238"/>
                </a:lnTo>
                <a:lnTo>
                  <a:pt x="2119" y="3245"/>
                </a:lnTo>
                <a:lnTo>
                  <a:pt x="2113" y="3249"/>
                </a:lnTo>
                <a:lnTo>
                  <a:pt x="2104" y="3251"/>
                </a:lnTo>
                <a:lnTo>
                  <a:pt x="2089" y="3251"/>
                </a:lnTo>
                <a:lnTo>
                  <a:pt x="2083" y="3251"/>
                </a:lnTo>
                <a:lnTo>
                  <a:pt x="2081" y="3249"/>
                </a:lnTo>
                <a:lnTo>
                  <a:pt x="2079" y="3247"/>
                </a:lnTo>
                <a:lnTo>
                  <a:pt x="2077" y="3243"/>
                </a:lnTo>
                <a:lnTo>
                  <a:pt x="2074" y="3241"/>
                </a:lnTo>
                <a:lnTo>
                  <a:pt x="2074" y="3232"/>
                </a:lnTo>
                <a:lnTo>
                  <a:pt x="2074" y="3226"/>
                </a:lnTo>
                <a:lnTo>
                  <a:pt x="2077" y="3224"/>
                </a:lnTo>
                <a:lnTo>
                  <a:pt x="2079" y="3224"/>
                </a:lnTo>
                <a:lnTo>
                  <a:pt x="2091" y="3219"/>
                </a:lnTo>
                <a:lnTo>
                  <a:pt x="2104" y="3215"/>
                </a:lnTo>
                <a:lnTo>
                  <a:pt x="2115" y="3209"/>
                </a:lnTo>
                <a:lnTo>
                  <a:pt x="2123" y="3202"/>
                </a:lnTo>
                <a:lnTo>
                  <a:pt x="2129" y="3196"/>
                </a:lnTo>
                <a:lnTo>
                  <a:pt x="2134" y="3192"/>
                </a:lnTo>
                <a:lnTo>
                  <a:pt x="2136" y="3188"/>
                </a:lnTo>
                <a:lnTo>
                  <a:pt x="2140" y="3179"/>
                </a:lnTo>
                <a:lnTo>
                  <a:pt x="2140" y="3171"/>
                </a:lnTo>
                <a:lnTo>
                  <a:pt x="2140" y="3164"/>
                </a:lnTo>
                <a:lnTo>
                  <a:pt x="2138" y="3160"/>
                </a:lnTo>
                <a:lnTo>
                  <a:pt x="2136" y="3156"/>
                </a:lnTo>
                <a:lnTo>
                  <a:pt x="2134" y="3154"/>
                </a:lnTo>
                <a:lnTo>
                  <a:pt x="2129" y="3152"/>
                </a:lnTo>
                <a:lnTo>
                  <a:pt x="2125" y="3150"/>
                </a:lnTo>
                <a:lnTo>
                  <a:pt x="2117" y="3147"/>
                </a:lnTo>
                <a:lnTo>
                  <a:pt x="2106" y="3150"/>
                </a:lnTo>
                <a:lnTo>
                  <a:pt x="2100" y="3152"/>
                </a:lnTo>
                <a:lnTo>
                  <a:pt x="2096" y="3154"/>
                </a:lnTo>
                <a:lnTo>
                  <a:pt x="2089" y="3158"/>
                </a:lnTo>
                <a:lnTo>
                  <a:pt x="2085" y="3162"/>
                </a:lnTo>
                <a:lnTo>
                  <a:pt x="2074" y="3173"/>
                </a:lnTo>
                <a:lnTo>
                  <a:pt x="2070" y="3179"/>
                </a:lnTo>
                <a:lnTo>
                  <a:pt x="2068" y="3186"/>
                </a:lnTo>
                <a:lnTo>
                  <a:pt x="2062" y="3198"/>
                </a:lnTo>
                <a:lnTo>
                  <a:pt x="2058" y="3215"/>
                </a:lnTo>
                <a:lnTo>
                  <a:pt x="2055" y="3224"/>
                </a:lnTo>
                <a:lnTo>
                  <a:pt x="2055" y="3232"/>
                </a:lnTo>
                <a:lnTo>
                  <a:pt x="2058" y="3247"/>
                </a:lnTo>
                <a:lnTo>
                  <a:pt x="2058" y="3253"/>
                </a:lnTo>
                <a:lnTo>
                  <a:pt x="2060" y="3262"/>
                </a:lnTo>
                <a:lnTo>
                  <a:pt x="2064" y="3272"/>
                </a:lnTo>
                <a:lnTo>
                  <a:pt x="2072" y="3283"/>
                </a:lnTo>
                <a:lnTo>
                  <a:pt x="2081" y="3291"/>
                </a:lnTo>
                <a:lnTo>
                  <a:pt x="2085" y="3296"/>
                </a:lnTo>
                <a:lnTo>
                  <a:pt x="2089" y="3298"/>
                </a:lnTo>
                <a:lnTo>
                  <a:pt x="2102" y="3302"/>
                </a:lnTo>
                <a:lnTo>
                  <a:pt x="2108" y="3304"/>
                </a:lnTo>
                <a:lnTo>
                  <a:pt x="2115" y="3304"/>
                </a:lnTo>
                <a:lnTo>
                  <a:pt x="2125" y="3302"/>
                </a:lnTo>
                <a:lnTo>
                  <a:pt x="2138" y="3300"/>
                </a:lnTo>
                <a:lnTo>
                  <a:pt x="2144" y="3296"/>
                </a:lnTo>
                <a:lnTo>
                  <a:pt x="2149" y="3293"/>
                </a:lnTo>
                <a:lnTo>
                  <a:pt x="2159" y="3285"/>
                </a:lnTo>
                <a:lnTo>
                  <a:pt x="2170" y="3277"/>
                </a:lnTo>
                <a:lnTo>
                  <a:pt x="2178" y="3266"/>
                </a:lnTo>
                <a:lnTo>
                  <a:pt x="2185" y="3255"/>
                </a:lnTo>
                <a:lnTo>
                  <a:pt x="2193" y="3243"/>
                </a:lnTo>
                <a:lnTo>
                  <a:pt x="2199" y="3228"/>
                </a:lnTo>
                <a:lnTo>
                  <a:pt x="2204" y="3213"/>
                </a:lnTo>
                <a:lnTo>
                  <a:pt x="2208" y="3200"/>
                </a:lnTo>
                <a:lnTo>
                  <a:pt x="2212" y="3186"/>
                </a:lnTo>
                <a:lnTo>
                  <a:pt x="2214" y="3171"/>
                </a:lnTo>
                <a:lnTo>
                  <a:pt x="2216" y="3156"/>
                </a:lnTo>
                <a:lnTo>
                  <a:pt x="2216" y="3143"/>
                </a:lnTo>
                <a:lnTo>
                  <a:pt x="2216" y="3130"/>
                </a:lnTo>
                <a:lnTo>
                  <a:pt x="2216" y="3126"/>
                </a:lnTo>
                <a:lnTo>
                  <a:pt x="2221" y="3124"/>
                </a:lnTo>
                <a:lnTo>
                  <a:pt x="2225" y="3124"/>
                </a:lnTo>
                <a:lnTo>
                  <a:pt x="2229" y="3122"/>
                </a:lnTo>
                <a:lnTo>
                  <a:pt x="2237" y="3124"/>
                </a:lnTo>
                <a:lnTo>
                  <a:pt x="2242" y="3126"/>
                </a:lnTo>
                <a:lnTo>
                  <a:pt x="2244" y="3128"/>
                </a:lnTo>
                <a:lnTo>
                  <a:pt x="2248" y="3137"/>
                </a:lnTo>
                <a:lnTo>
                  <a:pt x="2250" y="3141"/>
                </a:lnTo>
                <a:lnTo>
                  <a:pt x="2250" y="3150"/>
                </a:lnTo>
                <a:lnTo>
                  <a:pt x="2248" y="3166"/>
                </a:lnTo>
                <a:lnTo>
                  <a:pt x="2246" y="3186"/>
                </a:lnTo>
                <a:lnTo>
                  <a:pt x="2244" y="3205"/>
                </a:lnTo>
                <a:lnTo>
                  <a:pt x="2240" y="3222"/>
                </a:lnTo>
                <a:lnTo>
                  <a:pt x="2233" y="3238"/>
                </a:lnTo>
                <a:lnTo>
                  <a:pt x="2227" y="3253"/>
                </a:lnTo>
                <a:lnTo>
                  <a:pt x="2218" y="3268"/>
                </a:lnTo>
                <a:lnTo>
                  <a:pt x="2210" y="3283"/>
                </a:lnTo>
                <a:lnTo>
                  <a:pt x="2201" y="3293"/>
                </a:lnTo>
                <a:lnTo>
                  <a:pt x="2195" y="3300"/>
                </a:lnTo>
                <a:lnTo>
                  <a:pt x="2191" y="3306"/>
                </a:lnTo>
                <a:lnTo>
                  <a:pt x="2178" y="3315"/>
                </a:lnTo>
                <a:lnTo>
                  <a:pt x="2168" y="3323"/>
                </a:lnTo>
                <a:lnTo>
                  <a:pt x="2155" y="3332"/>
                </a:lnTo>
                <a:lnTo>
                  <a:pt x="2142" y="3336"/>
                </a:lnTo>
                <a:lnTo>
                  <a:pt x="2127" y="3338"/>
                </a:lnTo>
                <a:lnTo>
                  <a:pt x="2113" y="3340"/>
                </a:lnTo>
                <a:close/>
                <a:moveTo>
                  <a:pt x="2343" y="3336"/>
                </a:moveTo>
                <a:lnTo>
                  <a:pt x="2337" y="3334"/>
                </a:lnTo>
                <a:lnTo>
                  <a:pt x="2328" y="3327"/>
                </a:lnTo>
                <a:lnTo>
                  <a:pt x="2312" y="3313"/>
                </a:lnTo>
                <a:lnTo>
                  <a:pt x="2292" y="3293"/>
                </a:lnTo>
                <a:lnTo>
                  <a:pt x="2273" y="3272"/>
                </a:lnTo>
                <a:lnTo>
                  <a:pt x="2267" y="3264"/>
                </a:lnTo>
                <a:lnTo>
                  <a:pt x="2263" y="3257"/>
                </a:lnTo>
                <a:lnTo>
                  <a:pt x="2256" y="3245"/>
                </a:lnTo>
                <a:lnTo>
                  <a:pt x="2256" y="3238"/>
                </a:lnTo>
                <a:lnTo>
                  <a:pt x="2254" y="3234"/>
                </a:lnTo>
                <a:lnTo>
                  <a:pt x="2256" y="3226"/>
                </a:lnTo>
                <a:lnTo>
                  <a:pt x="2259" y="3219"/>
                </a:lnTo>
                <a:lnTo>
                  <a:pt x="2261" y="3211"/>
                </a:lnTo>
                <a:lnTo>
                  <a:pt x="2267" y="3205"/>
                </a:lnTo>
                <a:lnTo>
                  <a:pt x="2278" y="3190"/>
                </a:lnTo>
                <a:lnTo>
                  <a:pt x="2297" y="3169"/>
                </a:lnTo>
                <a:lnTo>
                  <a:pt x="2339" y="3120"/>
                </a:lnTo>
                <a:lnTo>
                  <a:pt x="2345" y="3122"/>
                </a:lnTo>
                <a:lnTo>
                  <a:pt x="2352" y="3124"/>
                </a:lnTo>
                <a:lnTo>
                  <a:pt x="2356" y="3128"/>
                </a:lnTo>
                <a:lnTo>
                  <a:pt x="2360" y="3133"/>
                </a:lnTo>
                <a:lnTo>
                  <a:pt x="2360" y="3139"/>
                </a:lnTo>
                <a:lnTo>
                  <a:pt x="2360" y="3145"/>
                </a:lnTo>
                <a:lnTo>
                  <a:pt x="2358" y="3150"/>
                </a:lnTo>
                <a:lnTo>
                  <a:pt x="2356" y="3152"/>
                </a:lnTo>
                <a:lnTo>
                  <a:pt x="2326" y="3188"/>
                </a:lnTo>
                <a:lnTo>
                  <a:pt x="2307" y="3207"/>
                </a:lnTo>
                <a:lnTo>
                  <a:pt x="2295" y="3224"/>
                </a:lnTo>
                <a:lnTo>
                  <a:pt x="2292" y="3228"/>
                </a:lnTo>
                <a:lnTo>
                  <a:pt x="2292" y="3232"/>
                </a:lnTo>
                <a:lnTo>
                  <a:pt x="2292" y="3236"/>
                </a:lnTo>
                <a:lnTo>
                  <a:pt x="2297" y="3243"/>
                </a:lnTo>
                <a:lnTo>
                  <a:pt x="2307" y="3255"/>
                </a:lnTo>
                <a:lnTo>
                  <a:pt x="2324" y="3272"/>
                </a:lnTo>
                <a:lnTo>
                  <a:pt x="2343" y="3291"/>
                </a:lnTo>
                <a:lnTo>
                  <a:pt x="2362" y="3310"/>
                </a:lnTo>
                <a:lnTo>
                  <a:pt x="2362" y="3313"/>
                </a:lnTo>
                <a:lnTo>
                  <a:pt x="2364" y="3317"/>
                </a:lnTo>
                <a:lnTo>
                  <a:pt x="2364" y="3319"/>
                </a:lnTo>
                <a:lnTo>
                  <a:pt x="2362" y="3323"/>
                </a:lnTo>
                <a:lnTo>
                  <a:pt x="2358" y="3329"/>
                </a:lnTo>
                <a:lnTo>
                  <a:pt x="2350" y="3334"/>
                </a:lnTo>
                <a:lnTo>
                  <a:pt x="2348" y="3336"/>
                </a:lnTo>
                <a:lnTo>
                  <a:pt x="2343" y="3336"/>
                </a:lnTo>
                <a:close/>
                <a:moveTo>
                  <a:pt x="2201" y="3793"/>
                </a:moveTo>
                <a:lnTo>
                  <a:pt x="2210" y="3770"/>
                </a:lnTo>
                <a:lnTo>
                  <a:pt x="2214" y="3746"/>
                </a:lnTo>
                <a:lnTo>
                  <a:pt x="2214" y="3736"/>
                </a:lnTo>
                <a:lnTo>
                  <a:pt x="2216" y="3725"/>
                </a:lnTo>
                <a:lnTo>
                  <a:pt x="2216" y="3704"/>
                </a:lnTo>
                <a:lnTo>
                  <a:pt x="2216" y="3702"/>
                </a:lnTo>
                <a:lnTo>
                  <a:pt x="2221" y="3700"/>
                </a:lnTo>
                <a:lnTo>
                  <a:pt x="2225" y="3698"/>
                </a:lnTo>
                <a:lnTo>
                  <a:pt x="2229" y="3698"/>
                </a:lnTo>
                <a:lnTo>
                  <a:pt x="2237" y="3698"/>
                </a:lnTo>
                <a:lnTo>
                  <a:pt x="2242" y="3700"/>
                </a:lnTo>
                <a:lnTo>
                  <a:pt x="2244" y="3702"/>
                </a:lnTo>
                <a:lnTo>
                  <a:pt x="2248" y="3710"/>
                </a:lnTo>
                <a:lnTo>
                  <a:pt x="2250" y="3717"/>
                </a:lnTo>
                <a:lnTo>
                  <a:pt x="2250" y="3723"/>
                </a:lnTo>
                <a:lnTo>
                  <a:pt x="2248" y="3740"/>
                </a:lnTo>
                <a:lnTo>
                  <a:pt x="2246" y="3759"/>
                </a:lnTo>
                <a:lnTo>
                  <a:pt x="2244" y="3776"/>
                </a:lnTo>
                <a:lnTo>
                  <a:pt x="2240" y="3793"/>
                </a:lnTo>
                <a:lnTo>
                  <a:pt x="2201" y="3793"/>
                </a:lnTo>
                <a:close/>
                <a:moveTo>
                  <a:pt x="2024" y="3793"/>
                </a:moveTo>
                <a:lnTo>
                  <a:pt x="2024" y="3782"/>
                </a:lnTo>
                <a:lnTo>
                  <a:pt x="2026" y="3774"/>
                </a:lnTo>
                <a:lnTo>
                  <a:pt x="2030" y="3763"/>
                </a:lnTo>
                <a:lnTo>
                  <a:pt x="2034" y="3755"/>
                </a:lnTo>
                <a:lnTo>
                  <a:pt x="2043" y="3738"/>
                </a:lnTo>
                <a:lnTo>
                  <a:pt x="2055" y="3721"/>
                </a:lnTo>
                <a:lnTo>
                  <a:pt x="2062" y="3715"/>
                </a:lnTo>
                <a:lnTo>
                  <a:pt x="2068" y="3708"/>
                </a:lnTo>
                <a:lnTo>
                  <a:pt x="2077" y="3704"/>
                </a:lnTo>
                <a:lnTo>
                  <a:pt x="2083" y="3700"/>
                </a:lnTo>
                <a:lnTo>
                  <a:pt x="2091" y="3696"/>
                </a:lnTo>
                <a:lnTo>
                  <a:pt x="2100" y="3694"/>
                </a:lnTo>
                <a:lnTo>
                  <a:pt x="2108" y="3691"/>
                </a:lnTo>
                <a:lnTo>
                  <a:pt x="2119" y="3691"/>
                </a:lnTo>
                <a:lnTo>
                  <a:pt x="2129" y="3694"/>
                </a:lnTo>
                <a:lnTo>
                  <a:pt x="2136" y="3694"/>
                </a:lnTo>
                <a:lnTo>
                  <a:pt x="2140" y="3696"/>
                </a:lnTo>
                <a:lnTo>
                  <a:pt x="2151" y="3702"/>
                </a:lnTo>
                <a:lnTo>
                  <a:pt x="2157" y="3708"/>
                </a:lnTo>
                <a:lnTo>
                  <a:pt x="2163" y="3717"/>
                </a:lnTo>
                <a:lnTo>
                  <a:pt x="2168" y="3725"/>
                </a:lnTo>
                <a:lnTo>
                  <a:pt x="2172" y="3738"/>
                </a:lnTo>
                <a:lnTo>
                  <a:pt x="2172" y="3749"/>
                </a:lnTo>
                <a:lnTo>
                  <a:pt x="2172" y="3761"/>
                </a:lnTo>
                <a:lnTo>
                  <a:pt x="2168" y="3772"/>
                </a:lnTo>
                <a:lnTo>
                  <a:pt x="2163" y="3782"/>
                </a:lnTo>
                <a:lnTo>
                  <a:pt x="2155" y="3793"/>
                </a:lnTo>
                <a:lnTo>
                  <a:pt x="2096" y="3793"/>
                </a:lnTo>
                <a:lnTo>
                  <a:pt x="2106" y="3789"/>
                </a:lnTo>
                <a:lnTo>
                  <a:pt x="2115" y="3785"/>
                </a:lnTo>
                <a:lnTo>
                  <a:pt x="2121" y="3778"/>
                </a:lnTo>
                <a:lnTo>
                  <a:pt x="2127" y="3772"/>
                </a:lnTo>
                <a:lnTo>
                  <a:pt x="2134" y="3765"/>
                </a:lnTo>
                <a:lnTo>
                  <a:pt x="2138" y="3759"/>
                </a:lnTo>
                <a:lnTo>
                  <a:pt x="2140" y="3751"/>
                </a:lnTo>
                <a:lnTo>
                  <a:pt x="2140" y="3744"/>
                </a:lnTo>
                <a:lnTo>
                  <a:pt x="2140" y="3740"/>
                </a:lnTo>
                <a:lnTo>
                  <a:pt x="2138" y="3734"/>
                </a:lnTo>
                <a:lnTo>
                  <a:pt x="2136" y="3732"/>
                </a:lnTo>
                <a:lnTo>
                  <a:pt x="2134" y="3727"/>
                </a:lnTo>
                <a:lnTo>
                  <a:pt x="2129" y="3725"/>
                </a:lnTo>
                <a:lnTo>
                  <a:pt x="2125" y="3723"/>
                </a:lnTo>
                <a:lnTo>
                  <a:pt x="2117" y="3721"/>
                </a:lnTo>
                <a:lnTo>
                  <a:pt x="2106" y="3723"/>
                </a:lnTo>
                <a:lnTo>
                  <a:pt x="2102" y="3725"/>
                </a:lnTo>
                <a:lnTo>
                  <a:pt x="2098" y="3727"/>
                </a:lnTo>
                <a:lnTo>
                  <a:pt x="2087" y="3734"/>
                </a:lnTo>
                <a:lnTo>
                  <a:pt x="2079" y="3742"/>
                </a:lnTo>
                <a:lnTo>
                  <a:pt x="2070" y="3753"/>
                </a:lnTo>
                <a:lnTo>
                  <a:pt x="2068" y="3759"/>
                </a:lnTo>
                <a:lnTo>
                  <a:pt x="2064" y="3765"/>
                </a:lnTo>
                <a:lnTo>
                  <a:pt x="2060" y="3778"/>
                </a:lnTo>
                <a:lnTo>
                  <a:pt x="2058" y="3793"/>
                </a:lnTo>
                <a:lnTo>
                  <a:pt x="2024" y="3793"/>
                </a:lnTo>
                <a:close/>
                <a:moveTo>
                  <a:pt x="2259" y="3793"/>
                </a:moveTo>
                <a:lnTo>
                  <a:pt x="2263" y="3785"/>
                </a:lnTo>
                <a:lnTo>
                  <a:pt x="2267" y="3778"/>
                </a:lnTo>
                <a:lnTo>
                  <a:pt x="2278" y="3763"/>
                </a:lnTo>
                <a:lnTo>
                  <a:pt x="2297" y="3742"/>
                </a:lnTo>
                <a:lnTo>
                  <a:pt x="2339" y="3696"/>
                </a:lnTo>
                <a:lnTo>
                  <a:pt x="2345" y="3696"/>
                </a:lnTo>
                <a:lnTo>
                  <a:pt x="2352" y="3698"/>
                </a:lnTo>
                <a:lnTo>
                  <a:pt x="2356" y="3702"/>
                </a:lnTo>
                <a:lnTo>
                  <a:pt x="2360" y="3708"/>
                </a:lnTo>
                <a:lnTo>
                  <a:pt x="2360" y="3713"/>
                </a:lnTo>
                <a:lnTo>
                  <a:pt x="2360" y="3719"/>
                </a:lnTo>
                <a:lnTo>
                  <a:pt x="2358" y="3723"/>
                </a:lnTo>
                <a:lnTo>
                  <a:pt x="2356" y="3727"/>
                </a:lnTo>
                <a:lnTo>
                  <a:pt x="2328" y="3757"/>
                </a:lnTo>
                <a:lnTo>
                  <a:pt x="2312" y="3776"/>
                </a:lnTo>
                <a:lnTo>
                  <a:pt x="2299" y="3793"/>
                </a:lnTo>
                <a:lnTo>
                  <a:pt x="2259" y="3793"/>
                </a:lnTo>
                <a:close/>
                <a:moveTo>
                  <a:pt x="754" y="2747"/>
                </a:moveTo>
                <a:lnTo>
                  <a:pt x="743" y="2747"/>
                </a:lnTo>
                <a:lnTo>
                  <a:pt x="735" y="2745"/>
                </a:lnTo>
                <a:lnTo>
                  <a:pt x="726" y="2743"/>
                </a:lnTo>
                <a:lnTo>
                  <a:pt x="718" y="2739"/>
                </a:lnTo>
                <a:lnTo>
                  <a:pt x="709" y="2735"/>
                </a:lnTo>
                <a:lnTo>
                  <a:pt x="703" y="2730"/>
                </a:lnTo>
                <a:lnTo>
                  <a:pt x="696" y="2724"/>
                </a:lnTo>
                <a:lnTo>
                  <a:pt x="690" y="2718"/>
                </a:lnTo>
                <a:lnTo>
                  <a:pt x="684" y="2709"/>
                </a:lnTo>
                <a:lnTo>
                  <a:pt x="677" y="2701"/>
                </a:lnTo>
                <a:lnTo>
                  <a:pt x="669" y="2684"/>
                </a:lnTo>
                <a:lnTo>
                  <a:pt x="667" y="2673"/>
                </a:lnTo>
                <a:lnTo>
                  <a:pt x="665" y="2663"/>
                </a:lnTo>
                <a:lnTo>
                  <a:pt x="663" y="2652"/>
                </a:lnTo>
                <a:lnTo>
                  <a:pt x="663" y="2642"/>
                </a:lnTo>
                <a:lnTo>
                  <a:pt x="663" y="2631"/>
                </a:lnTo>
                <a:lnTo>
                  <a:pt x="665" y="2620"/>
                </a:lnTo>
                <a:lnTo>
                  <a:pt x="667" y="2608"/>
                </a:lnTo>
                <a:lnTo>
                  <a:pt x="671" y="2597"/>
                </a:lnTo>
                <a:lnTo>
                  <a:pt x="673" y="2589"/>
                </a:lnTo>
                <a:lnTo>
                  <a:pt x="679" y="2578"/>
                </a:lnTo>
                <a:lnTo>
                  <a:pt x="684" y="2570"/>
                </a:lnTo>
                <a:lnTo>
                  <a:pt x="690" y="2561"/>
                </a:lnTo>
                <a:lnTo>
                  <a:pt x="696" y="2553"/>
                </a:lnTo>
                <a:lnTo>
                  <a:pt x="705" y="2546"/>
                </a:lnTo>
                <a:lnTo>
                  <a:pt x="713" y="2540"/>
                </a:lnTo>
                <a:lnTo>
                  <a:pt x="722" y="2536"/>
                </a:lnTo>
                <a:lnTo>
                  <a:pt x="730" y="2531"/>
                </a:lnTo>
                <a:lnTo>
                  <a:pt x="739" y="2527"/>
                </a:lnTo>
                <a:lnTo>
                  <a:pt x="749" y="2527"/>
                </a:lnTo>
                <a:lnTo>
                  <a:pt x="760" y="2525"/>
                </a:lnTo>
                <a:lnTo>
                  <a:pt x="771" y="2527"/>
                </a:lnTo>
                <a:lnTo>
                  <a:pt x="777" y="2527"/>
                </a:lnTo>
                <a:lnTo>
                  <a:pt x="781" y="2529"/>
                </a:lnTo>
                <a:lnTo>
                  <a:pt x="792" y="2536"/>
                </a:lnTo>
                <a:lnTo>
                  <a:pt x="798" y="2542"/>
                </a:lnTo>
                <a:lnTo>
                  <a:pt x="804" y="2551"/>
                </a:lnTo>
                <a:lnTo>
                  <a:pt x="809" y="2561"/>
                </a:lnTo>
                <a:lnTo>
                  <a:pt x="813" y="2572"/>
                </a:lnTo>
                <a:lnTo>
                  <a:pt x="813" y="2582"/>
                </a:lnTo>
                <a:lnTo>
                  <a:pt x="813" y="2591"/>
                </a:lnTo>
                <a:lnTo>
                  <a:pt x="811" y="2597"/>
                </a:lnTo>
                <a:lnTo>
                  <a:pt x="809" y="2606"/>
                </a:lnTo>
                <a:lnTo>
                  <a:pt x="806" y="2612"/>
                </a:lnTo>
                <a:lnTo>
                  <a:pt x="802" y="2618"/>
                </a:lnTo>
                <a:lnTo>
                  <a:pt x="798" y="2625"/>
                </a:lnTo>
                <a:lnTo>
                  <a:pt x="787" y="2637"/>
                </a:lnTo>
                <a:lnTo>
                  <a:pt x="781" y="2642"/>
                </a:lnTo>
                <a:lnTo>
                  <a:pt x="775" y="2646"/>
                </a:lnTo>
                <a:lnTo>
                  <a:pt x="760" y="2654"/>
                </a:lnTo>
                <a:lnTo>
                  <a:pt x="754" y="2656"/>
                </a:lnTo>
                <a:lnTo>
                  <a:pt x="745" y="2658"/>
                </a:lnTo>
                <a:lnTo>
                  <a:pt x="730" y="2661"/>
                </a:lnTo>
                <a:lnTo>
                  <a:pt x="724" y="2658"/>
                </a:lnTo>
                <a:lnTo>
                  <a:pt x="722" y="2656"/>
                </a:lnTo>
                <a:lnTo>
                  <a:pt x="720" y="2654"/>
                </a:lnTo>
                <a:lnTo>
                  <a:pt x="718" y="2652"/>
                </a:lnTo>
                <a:lnTo>
                  <a:pt x="715" y="2648"/>
                </a:lnTo>
                <a:lnTo>
                  <a:pt x="715" y="2642"/>
                </a:lnTo>
                <a:lnTo>
                  <a:pt x="715" y="2635"/>
                </a:lnTo>
                <a:lnTo>
                  <a:pt x="718" y="2633"/>
                </a:lnTo>
                <a:lnTo>
                  <a:pt x="720" y="2631"/>
                </a:lnTo>
                <a:lnTo>
                  <a:pt x="732" y="2629"/>
                </a:lnTo>
                <a:lnTo>
                  <a:pt x="743" y="2625"/>
                </a:lnTo>
                <a:lnTo>
                  <a:pt x="754" y="2618"/>
                </a:lnTo>
                <a:lnTo>
                  <a:pt x="764" y="2612"/>
                </a:lnTo>
                <a:lnTo>
                  <a:pt x="771" y="2603"/>
                </a:lnTo>
                <a:lnTo>
                  <a:pt x="775" y="2599"/>
                </a:lnTo>
                <a:lnTo>
                  <a:pt x="777" y="2595"/>
                </a:lnTo>
                <a:lnTo>
                  <a:pt x="779" y="2587"/>
                </a:lnTo>
                <a:lnTo>
                  <a:pt x="781" y="2578"/>
                </a:lnTo>
                <a:lnTo>
                  <a:pt x="781" y="2574"/>
                </a:lnTo>
                <a:lnTo>
                  <a:pt x="779" y="2570"/>
                </a:lnTo>
                <a:lnTo>
                  <a:pt x="777" y="2565"/>
                </a:lnTo>
                <a:lnTo>
                  <a:pt x="775" y="2561"/>
                </a:lnTo>
                <a:lnTo>
                  <a:pt x="771" y="2559"/>
                </a:lnTo>
                <a:lnTo>
                  <a:pt x="766" y="2557"/>
                </a:lnTo>
                <a:lnTo>
                  <a:pt x="756" y="2555"/>
                </a:lnTo>
                <a:lnTo>
                  <a:pt x="745" y="2557"/>
                </a:lnTo>
                <a:lnTo>
                  <a:pt x="741" y="2559"/>
                </a:lnTo>
                <a:lnTo>
                  <a:pt x="735" y="2563"/>
                </a:lnTo>
                <a:lnTo>
                  <a:pt x="730" y="2565"/>
                </a:lnTo>
                <a:lnTo>
                  <a:pt x="726" y="2570"/>
                </a:lnTo>
                <a:lnTo>
                  <a:pt x="715" y="2580"/>
                </a:lnTo>
                <a:lnTo>
                  <a:pt x="711" y="2587"/>
                </a:lnTo>
                <a:lnTo>
                  <a:pt x="707" y="2593"/>
                </a:lnTo>
                <a:lnTo>
                  <a:pt x="703" y="2608"/>
                </a:lnTo>
                <a:lnTo>
                  <a:pt x="699" y="2623"/>
                </a:lnTo>
                <a:lnTo>
                  <a:pt x="696" y="2631"/>
                </a:lnTo>
                <a:lnTo>
                  <a:pt x="696" y="2639"/>
                </a:lnTo>
                <a:lnTo>
                  <a:pt x="696" y="2654"/>
                </a:lnTo>
                <a:lnTo>
                  <a:pt x="699" y="2663"/>
                </a:lnTo>
                <a:lnTo>
                  <a:pt x="701" y="2669"/>
                </a:lnTo>
                <a:lnTo>
                  <a:pt x="705" y="2682"/>
                </a:lnTo>
                <a:lnTo>
                  <a:pt x="711" y="2692"/>
                </a:lnTo>
                <a:lnTo>
                  <a:pt x="720" y="2701"/>
                </a:lnTo>
                <a:lnTo>
                  <a:pt x="726" y="2703"/>
                </a:lnTo>
                <a:lnTo>
                  <a:pt x="730" y="2707"/>
                </a:lnTo>
                <a:lnTo>
                  <a:pt x="741" y="2711"/>
                </a:lnTo>
                <a:lnTo>
                  <a:pt x="747" y="2711"/>
                </a:lnTo>
                <a:lnTo>
                  <a:pt x="754" y="2711"/>
                </a:lnTo>
                <a:lnTo>
                  <a:pt x="766" y="2711"/>
                </a:lnTo>
                <a:lnTo>
                  <a:pt x="779" y="2707"/>
                </a:lnTo>
                <a:lnTo>
                  <a:pt x="785" y="2705"/>
                </a:lnTo>
                <a:lnTo>
                  <a:pt x="790" y="2701"/>
                </a:lnTo>
                <a:lnTo>
                  <a:pt x="800" y="2694"/>
                </a:lnTo>
                <a:lnTo>
                  <a:pt x="809" y="2686"/>
                </a:lnTo>
                <a:lnTo>
                  <a:pt x="817" y="2675"/>
                </a:lnTo>
                <a:lnTo>
                  <a:pt x="826" y="2663"/>
                </a:lnTo>
                <a:lnTo>
                  <a:pt x="832" y="2650"/>
                </a:lnTo>
                <a:lnTo>
                  <a:pt x="838" y="2637"/>
                </a:lnTo>
                <a:lnTo>
                  <a:pt x="845" y="2623"/>
                </a:lnTo>
                <a:lnTo>
                  <a:pt x="849" y="2608"/>
                </a:lnTo>
                <a:lnTo>
                  <a:pt x="851" y="2593"/>
                </a:lnTo>
                <a:lnTo>
                  <a:pt x="855" y="2578"/>
                </a:lnTo>
                <a:lnTo>
                  <a:pt x="855" y="2565"/>
                </a:lnTo>
                <a:lnTo>
                  <a:pt x="857" y="2551"/>
                </a:lnTo>
                <a:lnTo>
                  <a:pt x="855" y="2538"/>
                </a:lnTo>
                <a:lnTo>
                  <a:pt x="857" y="2536"/>
                </a:lnTo>
                <a:lnTo>
                  <a:pt x="862" y="2534"/>
                </a:lnTo>
                <a:lnTo>
                  <a:pt x="866" y="2531"/>
                </a:lnTo>
                <a:lnTo>
                  <a:pt x="870" y="2531"/>
                </a:lnTo>
                <a:lnTo>
                  <a:pt x="878" y="2531"/>
                </a:lnTo>
                <a:lnTo>
                  <a:pt x="881" y="2534"/>
                </a:lnTo>
                <a:lnTo>
                  <a:pt x="885" y="2536"/>
                </a:lnTo>
                <a:lnTo>
                  <a:pt x="889" y="2544"/>
                </a:lnTo>
                <a:lnTo>
                  <a:pt x="889" y="2551"/>
                </a:lnTo>
                <a:lnTo>
                  <a:pt x="891" y="2557"/>
                </a:lnTo>
                <a:lnTo>
                  <a:pt x="889" y="2576"/>
                </a:lnTo>
                <a:lnTo>
                  <a:pt x="887" y="2595"/>
                </a:lnTo>
                <a:lnTo>
                  <a:pt x="883" y="2612"/>
                </a:lnTo>
                <a:lnTo>
                  <a:pt x="878" y="2629"/>
                </a:lnTo>
                <a:lnTo>
                  <a:pt x="874" y="2646"/>
                </a:lnTo>
                <a:lnTo>
                  <a:pt x="868" y="2661"/>
                </a:lnTo>
                <a:lnTo>
                  <a:pt x="859" y="2675"/>
                </a:lnTo>
                <a:lnTo>
                  <a:pt x="851" y="2690"/>
                </a:lnTo>
                <a:lnTo>
                  <a:pt x="840" y="2703"/>
                </a:lnTo>
                <a:lnTo>
                  <a:pt x="836" y="2709"/>
                </a:lnTo>
                <a:lnTo>
                  <a:pt x="832" y="2714"/>
                </a:lnTo>
                <a:lnTo>
                  <a:pt x="819" y="2724"/>
                </a:lnTo>
                <a:lnTo>
                  <a:pt x="809" y="2733"/>
                </a:lnTo>
                <a:lnTo>
                  <a:pt x="796" y="2739"/>
                </a:lnTo>
                <a:lnTo>
                  <a:pt x="781" y="2743"/>
                </a:lnTo>
                <a:lnTo>
                  <a:pt x="768" y="2747"/>
                </a:lnTo>
                <a:lnTo>
                  <a:pt x="754" y="2747"/>
                </a:lnTo>
                <a:close/>
                <a:moveTo>
                  <a:pt x="984" y="2745"/>
                </a:moveTo>
                <a:lnTo>
                  <a:pt x="978" y="2743"/>
                </a:lnTo>
                <a:lnTo>
                  <a:pt x="969" y="2737"/>
                </a:lnTo>
                <a:lnTo>
                  <a:pt x="953" y="2722"/>
                </a:lnTo>
                <a:lnTo>
                  <a:pt x="934" y="2701"/>
                </a:lnTo>
                <a:lnTo>
                  <a:pt x="914" y="2682"/>
                </a:lnTo>
                <a:lnTo>
                  <a:pt x="908" y="2673"/>
                </a:lnTo>
                <a:lnTo>
                  <a:pt x="904" y="2665"/>
                </a:lnTo>
                <a:lnTo>
                  <a:pt x="898" y="2654"/>
                </a:lnTo>
                <a:lnTo>
                  <a:pt x="895" y="2648"/>
                </a:lnTo>
                <a:lnTo>
                  <a:pt x="895" y="2642"/>
                </a:lnTo>
                <a:lnTo>
                  <a:pt x="898" y="2635"/>
                </a:lnTo>
                <a:lnTo>
                  <a:pt x="900" y="2629"/>
                </a:lnTo>
                <a:lnTo>
                  <a:pt x="902" y="2620"/>
                </a:lnTo>
                <a:lnTo>
                  <a:pt x="908" y="2612"/>
                </a:lnTo>
                <a:lnTo>
                  <a:pt x="919" y="2597"/>
                </a:lnTo>
                <a:lnTo>
                  <a:pt x="938" y="2576"/>
                </a:lnTo>
                <a:lnTo>
                  <a:pt x="980" y="2529"/>
                </a:lnTo>
                <a:lnTo>
                  <a:pt x="984" y="2529"/>
                </a:lnTo>
                <a:lnTo>
                  <a:pt x="991" y="2531"/>
                </a:lnTo>
                <a:lnTo>
                  <a:pt x="997" y="2536"/>
                </a:lnTo>
                <a:lnTo>
                  <a:pt x="1001" y="2542"/>
                </a:lnTo>
                <a:lnTo>
                  <a:pt x="1001" y="2546"/>
                </a:lnTo>
                <a:lnTo>
                  <a:pt x="999" y="2553"/>
                </a:lnTo>
                <a:lnTo>
                  <a:pt x="999" y="2557"/>
                </a:lnTo>
                <a:lnTo>
                  <a:pt x="997" y="2561"/>
                </a:lnTo>
                <a:lnTo>
                  <a:pt x="967" y="2595"/>
                </a:lnTo>
                <a:lnTo>
                  <a:pt x="948" y="2616"/>
                </a:lnTo>
                <a:lnTo>
                  <a:pt x="936" y="2631"/>
                </a:lnTo>
                <a:lnTo>
                  <a:pt x="934" y="2635"/>
                </a:lnTo>
                <a:lnTo>
                  <a:pt x="931" y="2639"/>
                </a:lnTo>
                <a:lnTo>
                  <a:pt x="934" y="2646"/>
                </a:lnTo>
                <a:lnTo>
                  <a:pt x="936" y="2650"/>
                </a:lnTo>
                <a:lnTo>
                  <a:pt x="948" y="2663"/>
                </a:lnTo>
                <a:lnTo>
                  <a:pt x="963" y="2682"/>
                </a:lnTo>
                <a:lnTo>
                  <a:pt x="982" y="2701"/>
                </a:lnTo>
                <a:lnTo>
                  <a:pt x="1001" y="2718"/>
                </a:lnTo>
                <a:lnTo>
                  <a:pt x="1003" y="2722"/>
                </a:lnTo>
                <a:lnTo>
                  <a:pt x="1005" y="2724"/>
                </a:lnTo>
                <a:lnTo>
                  <a:pt x="1003" y="2728"/>
                </a:lnTo>
                <a:lnTo>
                  <a:pt x="1003" y="2730"/>
                </a:lnTo>
                <a:lnTo>
                  <a:pt x="997" y="2737"/>
                </a:lnTo>
                <a:lnTo>
                  <a:pt x="991" y="2743"/>
                </a:lnTo>
                <a:lnTo>
                  <a:pt x="986" y="2743"/>
                </a:lnTo>
                <a:lnTo>
                  <a:pt x="984" y="2745"/>
                </a:lnTo>
                <a:close/>
                <a:moveTo>
                  <a:pt x="737" y="3300"/>
                </a:moveTo>
                <a:lnTo>
                  <a:pt x="745" y="3304"/>
                </a:lnTo>
                <a:lnTo>
                  <a:pt x="754" y="3304"/>
                </a:lnTo>
                <a:lnTo>
                  <a:pt x="766" y="3302"/>
                </a:lnTo>
                <a:lnTo>
                  <a:pt x="779" y="3300"/>
                </a:lnTo>
                <a:lnTo>
                  <a:pt x="785" y="3296"/>
                </a:lnTo>
                <a:lnTo>
                  <a:pt x="790" y="3293"/>
                </a:lnTo>
                <a:lnTo>
                  <a:pt x="800" y="3285"/>
                </a:lnTo>
                <a:lnTo>
                  <a:pt x="809" y="3277"/>
                </a:lnTo>
                <a:lnTo>
                  <a:pt x="817" y="3266"/>
                </a:lnTo>
                <a:lnTo>
                  <a:pt x="826" y="3255"/>
                </a:lnTo>
                <a:lnTo>
                  <a:pt x="832" y="3243"/>
                </a:lnTo>
                <a:lnTo>
                  <a:pt x="838" y="3228"/>
                </a:lnTo>
                <a:lnTo>
                  <a:pt x="845" y="3213"/>
                </a:lnTo>
                <a:lnTo>
                  <a:pt x="849" y="3200"/>
                </a:lnTo>
                <a:lnTo>
                  <a:pt x="851" y="3186"/>
                </a:lnTo>
                <a:lnTo>
                  <a:pt x="855" y="3171"/>
                </a:lnTo>
                <a:lnTo>
                  <a:pt x="855" y="3156"/>
                </a:lnTo>
                <a:lnTo>
                  <a:pt x="857" y="3143"/>
                </a:lnTo>
                <a:lnTo>
                  <a:pt x="855" y="3130"/>
                </a:lnTo>
                <a:lnTo>
                  <a:pt x="857" y="3126"/>
                </a:lnTo>
                <a:lnTo>
                  <a:pt x="862" y="3124"/>
                </a:lnTo>
                <a:lnTo>
                  <a:pt x="866" y="3124"/>
                </a:lnTo>
                <a:lnTo>
                  <a:pt x="870" y="3122"/>
                </a:lnTo>
                <a:lnTo>
                  <a:pt x="878" y="3124"/>
                </a:lnTo>
                <a:lnTo>
                  <a:pt x="881" y="3126"/>
                </a:lnTo>
                <a:lnTo>
                  <a:pt x="885" y="3128"/>
                </a:lnTo>
                <a:lnTo>
                  <a:pt x="889" y="3137"/>
                </a:lnTo>
                <a:lnTo>
                  <a:pt x="889" y="3141"/>
                </a:lnTo>
                <a:lnTo>
                  <a:pt x="891" y="3150"/>
                </a:lnTo>
                <a:lnTo>
                  <a:pt x="889" y="3166"/>
                </a:lnTo>
                <a:lnTo>
                  <a:pt x="887" y="3183"/>
                </a:lnTo>
                <a:lnTo>
                  <a:pt x="885" y="3200"/>
                </a:lnTo>
                <a:lnTo>
                  <a:pt x="881" y="3217"/>
                </a:lnTo>
                <a:lnTo>
                  <a:pt x="876" y="3232"/>
                </a:lnTo>
                <a:lnTo>
                  <a:pt x="870" y="3247"/>
                </a:lnTo>
                <a:lnTo>
                  <a:pt x="864" y="3262"/>
                </a:lnTo>
                <a:lnTo>
                  <a:pt x="855" y="3274"/>
                </a:lnTo>
                <a:lnTo>
                  <a:pt x="847" y="3287"/>
                </a:lnTo>
                <a:lnTo>
                  <a:pt x="838" y="3300"/>
                </a:lnTo>
                <a:lnTo>
                  <a:pt x="828" y="3308"/>
                </a:lnTo>
                <a:lnTo>
                  <a:pt x="817" y="3319"/>
                </a:lnTo>
                <a:lnTo>
                  <a:pt x="806" y="3325"/>
                </a:lnTo>
                <a:lnTo>
                  <a:pt x="794" y="3332"/>
                </a:lnTo>
                <a:lnTo>
                  <a:pt x="781" y="3336"/>
                </a:lnTo>
                <a:lnTo>
                  <a:pt x="768" y="3338"/>
                </a:lnTo>
                <a:lnTo>
                  <a:pt x="758" y="3327"/>
                </a:lnTo>
                <a:lnTo>
                  <a:pt x="737" y="3300"/>
                </a:lnTo>
                <a:close/>
                <a:moveTo>
                  <a:pt x="665" y="3209"/>
                </a:moveTo>
                <a:lnTo>
                  <a:pt x="667" y="3200"/>
                </a:lnTo>
                <a:lnTo>
                  <a:pt x="669" y="3192"/>
                </a:lnTo>
                <a:lnTo>
                  <a:pt x="673" y="3181"/>
                </a:lnTo>
                <a:lnTo>
                  <a:pt x="677" y="3173"/>
                </a:lnTo>
                <a:lnTo>
                  <a:pt x="686" y="3158"/>
                </a:lnTo>
                <a:lnTo>
                  <a:pt x="699" y="3145"/>
                </a:lnTo>
                <a:lnTo>
                  <a:pt x="705" y="3139"/>
                </a:lnTo>
                <a:lnTo>
                  <a:pt x="711" y="3133"/>
                </a:lnTo>
                <a:lnTo>
                  <a:pt x="718" y="3128"/>
                </a:lnTo>
                <a:lnTo>
                  <a:pt x="726" y="3124"/>
                </a:lnTo>
                <a:lnTo>
                  <a:pt x="735" y="3122"/>
                </a:lnTo>
                <a:lnTo>
                  <a:pt x="743" y="3120"/>
                </a:lnTo>
                <a:lnTo>
                  <a:pt x="749" y="3118"/>
                </a:lnTo>
                <a:lnTo>
                  <a:pt x="760" y="3118"/>
                </a:lnTo>
                <a:lnTo>
                  <a:pt x="771" y="3118"/>
                </a:lnTo>
                <a:lnTo>
                  <a:pt x="777" y="3120"/>
                </a:lnTo>
                <a:lnTo>
                  <a:pt x="781" y="3122"/>
                </a:lnTo>
                <a:lnTo>
                  <a:pt x="792" y="3126"/>
                </a:lnTo>
                <a:lnTo>
                  <a:pt x="798" y="3135"/>
                </a:lnTo>
                <a:lnTo>
                  <a:pt x="804" y="3141"/>
                </a:lnTo>
                <a:lnTo>
                  <a:pt x="809" y="3152"/>
                </a:lnTo>
                <a:lnTo>
                  <a:pt x="813" y="3162"/>
                </a:lnTo>
                <a:lnTo>
                  <a:pt x="813" y="3175"/>
                </a:lnTo>
                <a:lnTo>
                  <a:pt x="813" y="3181"/>
                </a:lnTo>
                <a:lnTo>
                  <a:pt x="811" y="3190"/>
                </a:lnTo>
                <a:lnTo>
                  <a:pt x="809" y="3196"/>
                </a:lnTo>
                <a:lnTo>
                  <a:pt x="806" y="3205"/>
                </a:lnTo>
                <a:lnTo>
                  <a:pt x="802" y="3211"/>
                </a:lnTo>
                <a:lnTo>
                  <a:pt x="798" y="3217"/>
                </a:lnTo>
                <a:lnTo>
                  <a:pt x="787" y="3228"/>
                </a:lnTo>
                <a:lnTo>
                  <a:pt x="781" y="3234"/>
                </a:lnTo>
                <a:lnTo>
                  <a:pt x="775" y="3238"/>
                </a:lnTo>
                <a:lnTo>
                  <a:pt x="760" y="3245"/>
                </a:lnTo>
                <a:lnTo>
                  <a:pt x="754" y="3249"/>
                </a:lnTo>
                <a:lnTo>
                  <a:pt x="745" y="3251"/>
                </a:lnTo>
                <a:lnTo>
                  <a:pt x="730" y="3251"/>
                </a:lnTo>
                <a:lnTo>
                  <a:pt x="724" y="3251"/>
                </a:lnTo>
                <a:lnTo>
                  <a:pt x="722" y="3249"/>
                </a:lnTo>
                <a:lnTo>
                  <a:pt x="720" y="3247"/>
                </a:lnTo>
                <a:lnTo>
                  <a:pt x="718" y="3243"/>
                </a:lnTo>
                <a:lnTo>
                  <a:pt x="715" y="3241"/>
                </a:lnTo>
                <a:lnTo>
                  <a:pt x="715" y="3232"/>
                </a:lnTo>
                <a:lnTo>
                  <a:pt x="715" y="3226"/>
                </a:lnTo>
                <a:lnTo>
                  <a:pt x="718" y="3224"/>
                </a:lnTo>
                <a:lnTo>
                  <a:pt x="720" y="3224"/>
                </a:lnTo>
                <a:lnTo>
                  <a:pt x="732" y="3219"/>
                </a:lnTo>
                <a:lnTo>
                  <a:pt x="743" y="3215"/>
                </a:lnTo>
                <a:lnTo>
                  <a:pt x="754" y="3209"/>
                </a:lnTo>
                <a:lnTo>
                  <a:pt x="764" y="3202"/>
                </a:lnTo>
                <a:lnTo>
                  <a:pt x="771" y="3196"/>
                </a:lnTo>
                <a:lnTo>
                  <a:pt x="775" y="3192"/>
                </a:lnTo>
                <a:lnTo>
                  <a:pt x="777" y="3188"/>
                </a:lnTo>
                <a:lnTo>
                  <a:pt x="779" y="3179"/>
                </a:lnTo>
                <a:lnTo>
                  <a:pt x="781" y="3171"/>
                </a:lnTo>
                <a:lnTo>
                  <a:pt x="781" y="3164"/>
                </a:lnTo>
                <a:lnTo>
                  <a:pt x="779" y="3160"/>
                </a:lnTo>
                <a:lnTo>
                  <a:pt x="777" y="3156"/>
                </a:lnTo>
                <a:lnTo>
                  <a:pt x="775" y="3154"/>
                </a:lnTo>
                <a:lnTo>
                  <a:pt x="771" y="3152"/>
                </a:lnTo>
                <a:lnTo>
                  <a:pt x="766" y="3150"/>
                </a:lnTo>
                <a:lnTo>
                  <a:pt x="756" y="3147"/>
                </a:lnTo>
                <a:lnTo>
                  <a:pt x="745" y="3150"/>
                </a:lnTo>
                <a:lnTo>
                  <a:pt x="741" y="3152"/>
                </a:lnTo>
                <a:lnTo>
                  <a:pt x="735" y="3154"/>
                </a:lnTo>
                <a:lnTo>
                  <a:pt x="730" y="3158"/>
                </a:lnTo>
                <a:lnTo>
                  <a:pt x="726" y="3162"/>
                </a:lnTo>
                <a:lnTo>
                  <a:pt x="715" y="3173"/>
                </a:lnTo>
                <a:lnTo>
                  <a:pt x="711" y="3179"/>
                </a:lnTo>
                <a:lnTo>
                  <a:pt x="707" y="3186"/>
                </a:lnTo>
                <a:lnTo>
                  <a:pt x="703" y="3198"/>
                </a:lnTo>
                <a:lnTo>
                  <a:pt x="699" y="3215"/>
                </a:lnTo>
                <a:lnTo>
                  <a:pt x="696" y="3224"/>
                </a:lnTo>
                <a:lnTo>
                  <a:pt x="696" y="3232"/>
                </a:lnTo>
                <a:lnTo>
                  <a:pt x="696" y="3243"/>
                </a:lnTo>
                <a:lnTo>
                  <a:pt x="699" y="3253"/>
                </a:lnTo>
                <a:lnTo>
                  <a:pt x="679" y="3228"/>
                </a:lnTo>
                <a:lnTo>
                  <a:pt x="665" y="3209"/>
                </a:lnTo>
                <a:close/>
                <a:moveTo>
                  <a:pt x="984" y="3336"/>
                </a:moveTo>
                <a:lnTo>
                  <a:pt x="978" y="3334"/>
                </a:lnTo>
                <a:lnTo>
                  <a:pt x="969" y="3327"/>
                </a:lnTo>
                <a:lnTo>
                  <a:pt x="953" y="3313"/>
                </a:lnTo>
                <a:lnTo>
                  <a:pt x="934" y="3293"/>
                </a:lnTo>
                <a:lnTo>
                  <a:pt x="914" y="3272"/>
                </a:lnTo>
                <a:lnTo>
                  <a:pt x="908" y="3264"/>
                </a:lnTo>
                <a:lnTo>
                  <a:pt x="904" y="3257"/>
                </a:lnTo>
                <a:lnTo>
                  <a:pt x="898" y="3245"/>
                </a:lnTo>
                <a:lnTo>
                  <a:pt x="895" y="3238"/>
                </a:lnTo>
                <a:lnTo>
                  <a:pt x="895" y="3234"/>
                </a:lnTo>
                <a:lnTo>
                  <a:pt x="898" y="3226"/>
                </a:lnTo>
                <a:lnTo>
                  <a:pt x="900" y="3219"/>
                </a:lnTo>
                <a:lnTo>
                  <a:pt x="902" y="3211"/>
                </a:lnTo>
                <a:lnTo>
                  <a:pt x="908" y="3205"/>
                </a:lnTo>
                <a:lnTo>
                  <a:pt x="919" y="3190"/>
                </a:lnTo>
                <a:lnTo>
                  <a:pt x="938" y="3169"/>
                </a:lnTo>
                <a:lnTo>
                  <a:pt x="980" y="3120"/>
                </a:lnTo>
                <a:lnTo>
                  <a:pt x="984" y="3122"/>
                </a:lnTo>
                <a:lnTo>
                  <a:pt x="991" y="3124"/>
                </a:lnTo>
                <a:lnTo>
                  <a:pt x="997" y="3128"/>
                </a:lnTo>
                <a:lnTo>
                  <a:pt x="1001" y="3133"/>
                </a:lnTo>
                <a:lnTo>
                  <a:pt x="1001" y="3139"/>
                </a:lnTo>
                <a:lnTo>
                  <a:pt x="999" y="3145"/>
                </a:lnTo>
                <a:lnTo>
                  <a:pt x="999" y="3150"/>
                </a:lnTo>
                <a:lnTo>
                  <a:pt x="997" y="3152"/>
                </a:lnTo>
                <a:lnTo>
                  <a:pt x="967" y="3188"/>
                </a:lnTo>
                <a:lnTo>
                  <a:pt x="948" y="3207"/>
                </a:lnTo>
                <a:lnTo>
                  <a:pt x="936" y="3224"/>
                </a:lnTo>
                <a:lnTo>
                  <a:pt x="934" y="3228"/>
                </a:lnTo>
                <a:lnTo>
                  <a:pt x="931" y="3232"/>
                </a:lnTo>
                <a:lnTo>
                  <a:pt x="934" y="3236"/>
                </a:lnTo>
                <a:lnTo>
                  <a:pt x="936" y="3243"/>
                </a:lnTo>
                <a:lnTo>
                  <a:pt x="948" y="3255"/>
                </a:lnTo>
                <a:lnTo>
                  <a:pt x="963" y="3272"/>
                </a:lnTo>
                <a:lnTo>
                  <a:pt x="982" y="3291"/>
                </a:lnTo>
                <a:lnTo>
                  <a:pt x="1001" y="3310"/>
                </a:lnTo>
                <a:lnTo>
                  <a:pt x="1003" y="3313"/>
                </a:lnTo>
                <a:lnTo>
                  <a:pt x="1005" y="3317"/>
                </a:lnTo>
                <a:lnTo>
                  <a:pt x="1003" y="3319"/>
                </a:lnTo>
                <a:lnTo>
                  <a:pt x="1003" y="3323"/>
                </a:lnTo>
                <a:lnTo>
                  <a:pt x="997" y="3329"/>
                </a:lnTo>
                <a:lnTo>
                  <a:pt x="991" y="3334"/>
                </a:lnTo>
                <a:lnTo>
                  <a:pt x="986" y="3336"/>
                </a:lnTo>
                <a:lnTo>
                  <a:pt x="984" y="3336"/>
                </a:lnTo>
                <a:close/>
                <a:moveTo>
                  <a:pt x="3033" y="2747"/>
                </a:moveTo>
                <a:lnTo>
                  <a:pt x="3025" y="2747"/>
                </a:lnTo>
                <a:lnTo>
                  <a:pt x="3016" y="2745"/>
                </a:lnTo>
                <a:lnTo>
                  <a:pt x="3008" y="2743"/>
                </a:lnTo>
                <a:lnTo>
                  <a:pt x="2999" y="2739"/>
                </a:lnTo>
                <a:lnTo>
                  <a:pt x="2991" y="2735"/>
                </a:lnTo>
                <a:lnTo>
                  <a:pt x="2983" y="2730"/>
                </a:lnTo>
                <a:lnTo>
                  <a:pt x="2976" y="2724"/>
                </a:lnTo>
                <a:lnTo>
                  <a:pt x="2970" y="2718"/>
                </a:lnTo>
                <a:lnTo>
                  <a:pt x="2963" y="2709"/>
                </a:lnTo>
                <a:lnTo>
                  <a:pt x="2959" y="2701"/>
                </a:lnTo>
                <a:lnTo>
                  <a:pt x="2951" y="2684"/>
                </a:lnTo>
                <a:lnTo>
                  <a:pt x="2947" y="2673"/>
                </a:lnTo>
                <a:lnTo>
                  <a:pt x="2944" y="2663"/>
                </a:lnTo>
                <a:lnTo>
                  <a:pt x="2944" y="2652"/>
                </a:lnTo>
                <a:lnTo>
                  <a:pt x="2944" y="2642"/>
                </a:lnTo>
                <a:lnTo>
                  <a:pt x="2944" y="2631"/>
                </a:lnTo>
                <a:lnTo>
                  <a:pt x="2944" y="2620"/>
                </a:lnTo>
                <a:lnTo>
                  <a:pt x="2949" y="2608"/>
                </a:lnTo>
                <a:lnTo>
                  <a:pt x="2951" y="2597"/>
                </a:lnTo>
                <a:lnTo>
                  <a:pt x="2955" y="2589"/>
                </a:lnTo>
                <a:lnTo>
                  <a:pt x="2959" y="2578"/>
                </a:lnTo>
                <a:lnTo>
                  <a:pt x="2966" y="2570"/>
                </a:lnTo>
                <a:lnTo>
                  <a:pt x="2972" y="2561"/>
                </a:lnTo>
                <a:lnTo>
                  <a:pt x="2978" y="2553"/>
                </a:lnTo>
                <a:lnTo>
                  <a:pt x="2987" y="2546"/>
                </a:lnTo>
                <a:lnTo>
                  <a:pt x="2993" y="2540"/>
                </a:lnTo>
                <a:lnTo>
                  <a:pt x="3002" y="2536"/>
                </a:lnTo>
                <a:lnTo>
                  <a:pt x="3010" y="2531"/>
                </a:lnTo>
                <a:lnTo>
                  <a:pt x="3021" y="2527"/>
                </a:lnTo>
                <a:lnTo>
                  <a:pt x="3029" y="2527"/>
                </a:lnTo>
                <a:lnTo>
                  <a:pt x="3040" y="2525"/>
                </a:lnTo>
                <a:lnTo>
                  <a:pt x="3052" y="2527"/>
                </a:lnTo>
                <a:lnTo>
                  <a:pt x="3057" y="2527"/>
                </a:lnTo>
                <a:lnTo>
                  <a:pt x="3063" y="2529"/>
                </a:lnTo>
                <a:lnTo>
                  <a:pt x="3071" y="2536"/>
                </a:lnTo>
                <a:lnTo>
                  <a:pt x="3080" y="2542"/>
                </a:lnTo>
                <a:lnTo>
                  <a:pt x="3086" y="2551"/>
                </a:lnTo>
                <a:lnTo>
                  <a:pt x="3091" y="2561"/>
                </a:lnTo>
                <a:lnTo>
                  <a:pt x="3093" y="2572"/>
                </a:lnTo>
                <a:lnTo>
                  <a:pt x="3093" y="2582"/>
                </a:lnTo>
                <a:lnTo>
                  <a:pt x="3093" y="2591"/>
                </a:lnTo>
                <a:lnTo>
                  <a:pt x="3093" y="2597"/>
                </a:lnTo>
                <a:lnTo>
                  <a:pt x="3091" y="2606"/>
                </a:lnTo>
                <a:lnTo>
                  <a:pt x="3086" y="2612"/>
                </a:lnTo>
                <a:lnTo>
                  <a:pt x="3082" y="2618"/>
                </a:lnTo>
                <a:lnTo>
                  <a:pt x="3078" y="2625"/>
                </a:lnTo>
                <a:lnTo>
                  <a:pt x="3067" y="2637"/>
                </a:lnTo>
                <a:lnTo>
                  <a:pt x="3061" y="2642"/>
                </a:lnTo>
                <a:lnTo>
                  <a:pt x="3055" y="2646"/>
                </a:lnTo>
                <a:lnTo>
                  <a:pt x="3042" y="2654"/>
                </a:lnTo>
                <a:lnTo>
                  <a:pt x="3033" y="2656"/>
                </a:lnTo>
                <a:lnTo>
                  <a:pt x="3027" y="2658"/>
                </a:lnTo>
                <a:lnTo>
                  <a:pt x="3012" y="2661"/>
                </a:lnTo>
                <a:lnTo>
                  <a:pt x="3006" y="2658"/>
                </a:lnTo>
                <a:lnTo>
                  <a:pt x="3002" y="2656"/>
                </a:lnTo>
                <a:lnTo>
                  <a:pt x="2999" y="2654"/>
                </a:lnTo>
                <a:lnTo>
                  <a:pt x="2997" y="2652"/>
                </a:lnTo>
                <a:lnTo>
                  <a:pt x="2997" y="2648"/>
                </a:lnTo>
                <a:lnTo>
                  <a:pt x="2995" y="2642"/>
                </a:lnTo>
                <a:lnTo>
                  <a:pt x="2997" y="2635"/>
                </a:lnTo>
                <a:lnTo>
                  <a:pt x="2997" y="2633"/>
                </a:lnTo>
                <a:lnTo>
                  <a:pt x="2999" y="2631"/>
                </a:lnTo>
                <a:lnTo>
                  <a:pt x="3012" y="2629"/>
                </a:lnTo>
                <a:lnTo>
                  <a:pt x="3025" y="2625"/>
                </a:lnTo>
                <a:lnTo>
                  <a:pt x="3035" y="2618"/>
                </a:lnTo>
                <a:lnTo>
                  <a:pt x="3044" y="2612"/>
                </a:lnTo>
                <a:lnTo>
                  <a:pt x="3052" y="2603"/>
                </a:lnTo>
                <a:lnTo>
                  <a:pt x="3055" y="2599"/>
                </a:lnTo>
                <a:lnTo>
                  <a:pt x="3057" y="2595"/>
                </a:lnTo>
                <a:lnTo>
                  <a:pt x="3061" y="2587"/>
                </a:lnTo>
                <a:lnTo>
                  <a:pt x="3063" y="2578"/>
                </a:lnTo>
                <a:lnTo>
                  <a:pt x="3061" y="2574"/>
                </a:lnTo>
                <a:lnTo>
                  <a:pt x="3061" y="2570"/>
                </a:lnTo>
                <a:lnTo>
                  <a:pt x="3059" y="2565"/>
                </a:lnTo>
                <a:lnTo>
                  <a:pt x="3055" y="2561"/>
                </a:lnTo>
                <a:lnTo>
                  <a:pt x="3052" y="2559"/>
                </a:lnTo>
                <a:lnTo>
                  <a:pt x="3048" y="2557"/>
                </a:lnTo>
                <a:lnTo>
                  <a:pt x="3038" y="2555"/>
                </a:lnTo>
                <a:lnTo>
                  <a:pt x="3027" y="2557"/>
                </a:lnTo>
                <a:lnTo>
                  <a:pt x="3021" y="2559"/>
                </a:lnTo>
                <a:lnTo>
                  <a:pt x="3016" y="2563"/>
                </a:lnTo>
                <a:lnTo>
                  <a:pt x="3010" y="2565"/>
                </a:lnTo>
                <a:lnTo>
                  <a:pt x="3006" y="2570"/>
                </a:lnTo>
                <a:lnTo>
                  <a:pt x="2997" y="2580"/>
                </a:lnTo>
                <a:lnTo>
                  <a:pt x="2993" y="2587"/>
                </a:lnTo>
                <a:lnTo>
                  <a:pt x="2989" y="2593"/>
                </a:lnTo>
                <a:lnTo>
                  <a:pt x="2983" y="2608"/>
                </a:lnTo>
                <a:lnTo>
                  <a:pt x="2978" y="2623"/>
                </a:lnTo>
                <a:lnTo>
                  <a:pt x="2978" y="2631"/>
                </a:lnTo>
                <a:lnTo>
                  <a:pt x="2976" y="2639"/>
                </a:lnTo>
                <a:lnTo>
                  <a:pt x="2978" y="2654"/>
                </a:lnTo>
                <a:lnTo>
                  <a:pt x="2980" y="2663"/>
                </a:lnTo>
                <a:lnTo>
                  <a:pt x="2980" y="2669"/>
                </a:lnTo>
                <a:lnTo>
                  <a:pt x="2987" y="2682"/>
                </a:lnTo>
                <a:lnTo>
                  <a:pt x="2993" y="2692"/>
                </a:lnTo>
                <a:lnTo>
                  <a:pt x="3002" y="2701"/>
                </a:lnTo>
                <a:lnTo>
                  <a:pt x="3006" y="2703"/>
                </a:lnTo>
                <a:lnTo>
                  <a:pt x="3012" y="2707"/>
                </a:lnTo>
                <a:lnTo>
                  <a:pt x="3023" y="2711"/>
                </a:lnTo>
                <a:lnTo>
                  <a:pt x="3029" y="2711"/>
                </a:lnTo>
                <a:lnTo>
                  <a:pt x="3035" y="2711"/>
                </a:lnTo>
                <a:lnTo>
                  <a:pt x="3048" y="2711"/>
                </a:lnTo>
                <a:lnTo>
                  <a:pt x="3059" y="2707"/>
                </a:lnTo>
                <a:lnTo>
                  <a:pt x="3065" y="2705"/>
                </a:lnTo>
                <a:lnTo>
                  <a:pt x="3071" y="2701"/>
                </a:lnTo>
                <a:lnTo>
                  <a:pt x="3080" y="2694"/>
                </a:lnTo>
                <a:lnTo>
                  <a:pt x="3091" y="2686"/>
                </a:lnTo>
                <a:lnTo>
                  <a:pt x="3099" y="2675"/>
                </a:lnTo>
                <a:lnTo>
                  <a:pt x="3107" y="2663"/>
                </a:lnTo>
                <a:lnTo>
                  <a:pt x="3114" y="2650"/>
                </a:lnTo>
                <a:lnTo>
                  <a:pt x="3120" y="2637"/>
                </a:lnTo>
                <a:lnTo>
                  <a:pt x="3124" y="2623"/>
                </a:lnTo>
                <a:lnTo>
                  <a:pt x="3129" y="2608"/>
                </a:lnTo>
                <a:lnTo>
                  <a:pt x="3133" y="2593"/>
                </a:lnTo>
                <a:lnTo>
                  <a:pt x="3135" y="2578"/>
                </a:lnTo>
                <a:lnTo>
                  <a:pt x="3137" y="2565"/>
                </a:lnTo>
                <a:lnTo>
                  <a:pt x="3137" y="2551"/>
                </a:lnTo>
                <a:lnTo>
                  <a:pt x="3137" y="2538"/>
                </a:lnTo>
                <a:lnTo>
                  <a:pt x="3139" y="2536"/>
                </a:lnTo>
                <a:lnTo>
                  <a:pt x="3141" y="2534"/>
                </a:lnTo>
                <a:lnTo>
                  <a:pt x="3146" y="2531"/>
                </a:lnTo>
                <a:lnTo>
                  <a:pt x="3150" y="2531"/>
                </a:lnTo>
                <a:lnTo>
                  <a:pt x="3158" y="2531"/>
                </a:lnTo>
                <a:lnTo>
                  <a:pt x="3162" y="2534"/>
                </a:lnTo>
                <a:lnTo>
                  <a:pt x="3165" y="2536"/>
                </a:lnTo>
                <a:lnTo>
                  <a:pt x="3169" y="2544"/>
                </a:lnTo>
                <a:lnTo>
                  <a:pt x="3171" y="2551"/>
                </a:lnTo>
                <a:lnTo>
                  <a:pt x="3171" y="2557"/>
                </a:lnTo>
                <a:lnTo>
                  <a:pt x="3171" y="2576"/>
                </a:lnTo>
                <a:lnTo>
                  <a:pt x="3169" y="2595"/>
                </a:lnTo>
                <a:lnTo>
                  <a:pt x="3165" y="2612"/>
                </a:lnTo>
                <a:lnTo>
                  <a:pt x="3160" y="2629"/>
                </a:lnTo>
                <a:lnTo>
                  <a:pt x="3154" y="2646"/>
                </a:lnTo>
                <a:lnTo>
                  <a:pt x="3148" y="2661"/>
                </a:lnTo>
                <a:lnTo>
                  <a:pt x="3141" y="2675"/>
                </a:lnTo>
                <a:lnTo>
                  <a:pt x="3131" y="2690"/>
                </a:lnTo>
                <a:lnTo>
                  <a:pt x="3122" y="2703"/>
                </a:lnTo>
                <a:lnTo>
                  <a:pt x="3118" y="2709"/>
                </a:lnTo>
                <a:lnTo>
                  <a:pt x="3112" y="2714"/>
                </a:lnTo>
                <a:lnTo>
                  <a:pt x="3101" y="2724"/>
                </a:lnTo>
                <a:lnTo>
                  <a:pt x="3088" y="2733"/>
                </a:lnTo>
                <a:lnTo>
                  <a:pt x="3076" y="2739"/>
                </a:lnTo>
                <a:lnTo>
                  <a:pt x="3063" y="2743"/>
                </a:lnTo>
                <a:lnTo>
                  <a:pt x="3048" y="2747"/>
                </a:lnTo>
                <a:lnTo>
                  <a:pt x="3033" y="2747"/>
                </a:lnTo>
                <a:close/>
                <a:moveTo>
                  <a:pt x="3264" y="2745"/>
                </a:moveTo>
                <a:lnTo>
                  <a:pt x="3260" y="2743"/>
                </a:lnTo>
                <a:lnTo>
                  <a:pt x="3251" y="2737"/>
                </a:lnTo>
                <a:lnTo>
                  <a:pt x="3234" y="2722"/>
                </a:lnTo>
                <a:lnTo>
                  <a:pt x="3213" y="2701"/>
                </a:lnTo>
                <a:lnTo>
                  <a:pt x="3196" y="2682"/>
                </a:lnTo>
                <a:lnTo>
                  <a:pt x="3188" y="2673"/>
                </a:lnTo>
                <a:lnTo>
                  <a:pt x="3184" y="2665"/>
                </a:lnTo>
                <a:lnTo>
                  <a:pt x="3179" y="2654"/>
                </a:lnTo>
                <a:lnTo>
                  <a:pt x="3177" y="2648"/>
                </a:lnTo>
                <a:lnTo>
                  <a:pt x="3177" y="2642"/>
                </a:lnTo>
                <a:lnTo>
                  <a:pt x="3177" y="2635"/>
                </a:lnTo>
                <a:lnTo>
                  <a:pt x="3179" y="2629"/>
                </a:lnTo>
                <a:lnTo>
                  <a:pt x="3184" y="2620"/>
                </a:lnTo>
                <a:lnTo>
                  <a:pt x="3188" y="2612"/>
                </a:lnTo>
                <a:lnTo>
                  <a:pt x="3201" y="2597"/>
                </a:lnTo>
                <a:lnTo>
                  <a:pt x="3218" y="2576"/>
                </a:lnTo>
                <a:lnTo>
                  <a:pt x="3260" y="2529"/>
                </a:lnTo>
                <a:lnTo>
                  <a:pt x="3266" y="2529"/>
                </a:lnTo>
                <a:lnTo>
                  <a:pt x="3273" y="2531"/>
                </a:lnTo>
                <a:lnTo>
                  <a:pt x="3277" y="2536"/>
                </a:lnTo>
                <a:lnTo>
                  <a:pt x="3281" y="2542"/>
                </a:lnTo>
                <a:lnTo>
                  <a:pt x="3283" y="2546"/>
                </a:lnTo>
                <a:lnTo>
                  <a:pt x="3281" y="2553"/>
                </a:lnTo>
                <a:lnTo>
                  <a:pt x="3279" y="2557"/>
                </a:lnTo>
                <a:lnTo>
                  <a:pt x="3277" y="2561"/>
                </a:lnTo>
                <a:lnTo>
                  <a:pt x="3247" y="2595"/>
                </a:lnTo>
                <a:lnTo>
                  <a:pt x="3230" y="2616"/>
                </a:lnTo>
                <a:lnTo>
                  <a:pt x="3218" y="2631"/>
                </a:lnTo>
                <a:lnTo>
                  <a:pt x="3213" y="2635"/>
                </a:lnTo>
                <a:lnTo>
                  <a:pt x="3213" y="2639"/>
                </a:lnTo>
                <a:lnTo>
                  <a:pt x="3215" y="2646"/>
                </a:lnTo>
                <a:lnTo>
                  <a:pt x="3218" y="2650"/>
                </a:lnTo>
                <a:lnTo>
                  <a:pt x="3228" y="2663"/>
                </a:lnTo>
                <a:lnTo>
                  <a:pt x="3245" y="2682"/>
                </a:lnTo>
                <a:lnTo>
                  <a:pt x="3264" y="2701"/>
                </a:lnTo>
                <a:lnTo>
                  <a:pt x="3283" y="2718"/>
                </a:lnTo>
                <a:lnTo>
                  <a:pt x="3285" y="2722"/>
                </a:lnTo>
                <a:lnTo>
                  <a:pt x="3285" y="2724"/>
                </a:lnTo>
                <a:lnTo>
                  <a:pt x="3285" y="2728"/>
                </a:lnTo>
                <a:lnTo>
                  <a:pt x="3283" y="2730"/>
                </a:lnTo>
                <a:lnTo>
                  <a:pt x="3279" y="2737"/>
                </a:lnTo>
                <a:lnTo>
                  <a:pt x="3273" y="2743"/>
                </a:lnTo>
                <a:lnTo>
                  <a:pt x="3268" y="2743"/>
                </a:lnTo>
                <a:lnTo>
                  <a:pt x="3264" y="2745"/>
                </a:lnTo>
                <a:close/>
                <a:moveTo>
                  <a:pt x="3033" y="3340"/>
                </a:moveTo>
                <a:lnTo>
                  <a:pt x="3025" y="3340"/>
                </a:lnTo>
                <a:lnTo>
                  <a:pt x="3016" y="3338"/>
                </a:lnTo>
                <a:lnTo>
                  <a:pt x="3008" y="3336"/>
                </a:lnTo>
                <a:lnTo>
                  <a:pt x="2999" y="3332"/>
                </a:lnTo>
                <a:lnTo>
                  <a:pt x="2991" y="3327"/>
                </a:lnTo>
                <a:lnTo>
                  <a:pt x="2983" y="3321"/>
                </a:lnTo>
                <a:lnTo>
                  <a:pt x="2976" y="3315"/>
                </a:lnTo>
                <a:lnTo>
                  <a:pt x="2970" y="3308"/>
                </a:lnTo>
                <a:lnTo>
                  <a:pt x="2963" y="3302"/>
                </a:lnTo>
                <a:lnTo>
                  <a:pt x="2959" y="3293"/>
                </a:lnTo>
                <a:lnTo>
                  <a:pt x="2951" y="3274"/>
                </a:lnTo>
                <a:lnTo>
                  <a:pt x="2947" y="3266"/>
                </a:lnTo>
                <a:lnTo>
                  <a:pt x="2944" y="3255"/>
                </a:lnTo>
                <a:lnTo>
                  <a:pt x="2944" y="3245"/>
                </a:lnTo>
                <a:lnTo>
                  <a:pt x="2944" y="3234"/>
                </a:lnTo>
                <a:lnTo>
                  <a:pt x="2944" y="3222"/>
                </a:lnTo>
                <a:lnTo>
                  <a:pt x="2944" y="3211"/>
                </a:lnTo>
                <a:lnTo>
                  <a:pt x="2949" y="3200"/>
                </a:lnTo>
                <a:lnTo>
                  <a:pt x="2951" y="3190"/>
                </a:lnTo>
                <a:lnTo>
                  <a:pt x="2955" y="3179"/>
                </a:lnTo>
                <a:lnTo>
                  <a:pt x="2959" y="3171"/>
                </a:lnTo>
                <a:lnTo>
                  <a:pt x="2966" y="3160"/>
                </a:lnTo>
                <a:lnTo>
                  <a:pt x="2972" y="3152"/>
                </a:lnTo>
                <a:lnTo>
                  <a:pt x="2978" y="3145"/>
                </a:lnTo>
                <a:lnTo>
                  <a:pt x="2987" y="3139"/>
                </a:lnTo>
                <a:lnTo>
                  <a:pt x="2993" y="3133"/>
                </a:lnTo>
                <a:lnTo>
                  <a:pt x="3002" y="3126"/>
                </a:lnTo>
                <a:lnTo>
                  <a:pt x="3010" y="3122"/>
                </a:lnTo>
                <a:lnTo>
                  <a:pt x="3021" y="3120"/>
                </a:lnTo>
                <a:lnTo>
                  <a:pt x="3029" y="3118"/>
                </a:lnTo>
                <a:lnTo>
                  <a:pt x="3040" y="3118"/>
                </a:lnTo>
                <a:lnTo>
                  <a:pt x="3052" y="3118"/>
                </a:lnTo>
                <a:lnTo>
                  <a:pt x="3057" y="3120"/>
                </a:lnTo>
                <a:lnTo>
                  <a:pt x="3063" y="3122"/>
                </a:lnTo>
                <a:lnTo>
                  <a:pt x="3071" y="3126"/>
                </a:lnTo>
                <a:lnTo>
                  <a:pt x="3080" y="3135"/>
                </a:lnTo>
                <a:lnTo>
                  <a:pt x="3086" y="3141"/>
                </a:lnTo>
                <a:lnTo>
                  <a:pt x="3091" y="3152"/>
                </a:lnTo>
                <a:lnTo>
                  <a:pt x="3093" y="3162"/>
                </a:lnTo>
                <a:lnTo>
                  <a:pt x="3093" y="3175"/>
                </a:lnTo>
                <a:lnTo>
                  <a:pt x="3093" y="3181"/>
                </a:lnTo>
                <a:lnTo>
                  <a:pt x="3093" y="3190"/>
                </a:lnTo>
                <a:lnTo>
                  <a:pt x="3091" y="3196"/>
                </a:lnTo>
                <a:lnTo>
                  <a:pt x="3086" y="3205"/>
                </a:lnTo>
                <a:lnTo>
                  <a:pt x="3082" y="3211"/>
                </a:lnTo>
                <a:lnTo>
                  <a:pt x="3078" y="3217"/>
                </a:lnTo>
                <a:lnTo>
                  <a:pt x="3067" y="3228"/>
                </a:lnTo>
                <a:lnTo>
                  <a:pt x="3061" y="3234"/>
                </a:lnTo>
                <a:lnTo>
                  <a:pt x="3055" y="3238"/>
                </a:lnTo>
                <a:lnTo>
                  <a:pt x="3042" y="3245"/>
                </a:lnTo>
                <a:lnTo>
                  <a:pt x="3033" y="3249"/>
                </a:lnTo>
                <a:lnTo>
                  <a:pt x="3027" y="3251"/>
                </a:lnTo>
                <a:lnTo>
                  <a:pt x="3012" y="3251"/>
                </a:lnTo>
                <a:lnTo>
                  <a:pt x="3006" y="3251"/>
                </a:lnTo>
                <a:lnTo>
                  <a:pt x="3002" y="3249"/>
                </a:lnTo>
                <a:lnTo>
                  <a:pt x="2999" y="3247"/>
                </a:lnTo>
                <a:lnTo>
                  <a:pt x="2997" y="3243"/>
                </a:lnTo>
                <a:lnTo>
                  <a:pt x="2997" y="3241"/>
                </a:lnTo>
                <a:lnTo>
                  <a:pt x="2995" y="3232"/>
                </a:lnTo>
                <a:lnTo>
                  <a:pt x="2997" y="3226"/>
                </a:lnTo>
                <a:lnTo>
                  <a:pt x="2997" y="3224"/>
                </a:lnTo>
                <a:lnTo>
                  <a:pt x="2999" y="3224"/>
                </a:lnTo>
                <a:lnTo>
                  <a:pt x="3012" y="3219"/>
                </a:lnTo>
                <a:lnTo>
                  <a:pt x="3025" y="3215"/>
                </a:lnTo>
                <a:lnTo>
                  <a:pt x="3035" y="3209"/>
                </a:lnTo>
                <a:lnTo>
                  <a:pt x="3044" y="3202"/>
                </a:lnTo>
                <a:lnTo>
                  <a:pt x="3052" y="3196"/>
                </a:lnTo>
                <a:lnTo>
                  <a:pt x="3055" y="3192"/>
                </a:lnTo>
                <a:lnTo>
                  <a:pt x="3057" y="3188"/>
                </a:lnTo>
                <a:lnTo>
                  <a:pt x="3061" y="3179"/>
                </a:lnTo>
                <a:lnTo>
                  <a:pt x="3063" y="3171"/>
                </a:lnTo>
                <a:lnTo>
                  <a:pt x="3061" y="3164"/>
                </a:lnTo>
                <a:lnTo>
                  <a:pt x="3061" y="3160"/>
                </a:lnTo>
                <a:lnTo>
                  <a:pt x="3059" y="3156"/>
                </a:lnTo>
                <a:lnTo>
                  <a:pt x="3055" y="3154"/>
                </a:lnTo>
                <a:lnTo>
                  <a:pt x="3052" y="3152"/>
                </a:lnTo>
                <a:lnTo>
                  <a:pt x="3048" y="3150"/>
                </a:lnTo>
                <a:lnTo>
                  <a:pt x="3038" y="3147"/>
                </a:lnTo>
                <a:lnTo>
                  <a:pt x="3027" y="3150"/>
                </a:lnTo>
                <a:lnTo>
                  <a:pt x="3021" y="3152"/>
                </a:lnTo>
                <a:lnTo>
                  <a:pt x="3016" y="3154"/>
                </a:lnTo>
                <a:lnTo>
                  <a:pt x="3010" y="3158"/>
                </a:lnTo>
                <a:lnTo>
                  <a:pt x="3006" y="3162"/>
                </a:lnTo>
                <a:lnTo>
                  <a:pt x="2997" y="3173"/>
                </a:lnTo>
                <a:lnTo>
                  <a:pt x="2993" y="3179"/>
                </a:lnTo>
                <a:lnTo>
                  <a:pt x="2989" y="3186"/>
                </a:lnTo>
                <a:lnTo>
                  <a:pt x="2983" y="3198"/>
                </a:lnTo>
                <a:lnTo>
                  <a:pt x="2978" y="3215"/>
                </a:lnTo>
                <a:lnTo>
                  <a:pt x="2978" y="3224"/>
                </a:lnTo>
                <a:lnTo>
                  <a:pt x="2976" y="3232"/>
                </a:lnTo>
                <a:lnTo>
                  <a:pt x="2978" y="3247"/>
                </a:lnTo>
                <a:lnTo>
                  <a:pt x="2980" y="3253"/>
                </a:lnTo>
                <a:lnTo>
                  <a:pt x="2980" y="3262"/>
                </a:lnTo>
                <a:lnTo>
                  <a:pt x="2987" y="3272"/>
                </a:lnTo>
                <a:lnTo>
                  <a:pt x="2993" y="3283"/>
                </a:lnTo>
                <a:lnTo>
                  <a:pt x="3002" y="3291"/>
                </a:lnTo>
                <a:lnTo>
                  <a:pt x="3006" y="3296"/>
                </a:lnTo>
                <a:lnTo>
                  <a:pt x="3012" y="3298"/>
                </a:lnTo>
                <a:lnTo>
                  <a:pt x="3023" y="3302"/>
                </a:lnTo>
                <a:lnTo>
                  <a:pt x="3029" y="3304"/>
                </a:lnTo>
                <a:lnTo>
                  <a:pt x="3035" y="3304"/>
                </a:lnTo>
                <a:lnTo>
                  <a:pt x="3048" y="3302"/>
                </a:lnTo>
                <a:lnTo>
                  <a:pt x="3059" y="3300"/>
                </a:lnTo>
                <a:lnTo>
                  <a:pt x="3065" y="3296"/>
                </a:lnTo>
                <a:lnTo>
                  <a:pt x="3071" y="3293"/>
                </a:lnTo>
                <a:lnTo>
                  <a:pt x="3080" y="3285"/>
                </a:lnTo>
                <a:lnTo>
                  <a:pt x="3091" y="3277"/>
                </a:lnTo>
                <a:lnTo>
                  <a:pt x="3099" y="3266"/>
                </a:lnTo>
                <a:lnTo>
                  <a:pt x="3107" y="3255"/>
                </a:lnTo>
                <a:lnTo>
                  <a:pt x="3114" y="3243"/>
                </a:lnTo>
                <a:lnTo>
                  <a:pt x="3120" y="3228"/>
                </a:lnTo>
                <a:lnTo>
                  <a:pt x="3124" y="3213"/>
                </a:lnTo>
                <a:lnTo>
                  <a:pt x="3129" y="3200"/>
                </a:lnTo>
                <a:lnTo>
                  <a:pt x="3133" y="3186"/>
                </a:lnTo>
                <a:lnTo>
                  <a:pt x="3135" y="3171"/>
                </a:lnTo>
                <a:lnTo>
                  <a:pt x="3137" y="3156"/>
                </a:lnTo>
                <a:lnTo>
                  <a:pt x="3137" y="3143"/>
                </a:lnTo>
                <a:lnTo>
                  <a:pt x="3137" y="3130"/>
                </a:lnTo>
                <a:lnTo>
                  <a:pt x="3139" y="3126"/>
                </a:lnTo>
                <a:lnTo>
                  <a:pt x="3141" y="3124"/>
                </a:lnTo>
                <a:lnTo>
                  <a:pt x="3146" y="3124"/>
                </a:lnTo>
                <a:lnTo>
                  <a:pt x="3150" y="3122"/>
                </a:lnTo>
                <a:lnTo>
                  <a:pt x="3158" y="3124"/>
                </a:lnTo>
                <a:lnTo>
                  <a:pt x="3162" y="3126"/>
                </a:lnTo>
                <a:lnTo>
                  <a:pt x="3165" y="3128"/>
                </a:lnTo>
                <a:lnTo>
                  <a:pt x="3169" y="3137"/>
                </a:lnTo>
                <a:lnTo>
                  <a:pt x="3171" y="3141"/>
                </a:lnTo>
                <a:lnTo>
                  <a:pt x="3171" y="3150"/>
                </a:lnTo>
                <a:lnTo>
                  <a:pt x="3171" y="3166"/>
                </a:lnTo>
                <a:lnTo>
                  <a:pt x="3169" y="3186"/>
                </a:lnTo>
                <a:lnTo>
                  <a:pt x="3165" y="3205"/>
                </a:lnTo>
                <a:lnTo>
                  <a:pt x="3160" y="3222"/>
                </a:lnTo>
                <a:lnTo>
                  <a:pt x="3154" y="3238"/>
                </a:lnTo>
                <a:lnTo>
                  <a:pt x="3148" y="3253"/>
                </a:lnTo>
                <a:lnTo>
                  <a:pt x="3141" y="3268"/>
                </a:lnTo>
                <a:lnTo>
                  <a:pt x="3131" y="3283"/>
                </a:lnTo>
                <a:lnTo>
                  <a:pt x="3122" y="3293"/>
                </a:lnTo>
                <a:lnTo>
                  <a:pt x="3118" y="3300"/>
                </a:lnTo>
                <a:lnTo>
                  <a:pt x="3112" y="3306"/>
                </a:lnTo>
                <a:lnTo>
                  <a:pt x="3101" y="3315"/>
                </a:lnTo>
                <a:lnTo>
                  <a:pt x="3088" y="3323"/>
                </a:lnTo>
                <a:lnTo>
                  <a:pt x="3076" y="3332"/>
                </a:lnTo>
                <a:lnTo>
                  <a:pt x="3063" y="3336"/>
                </a:lnTo>
                <a:lnTo>
                  <a:pt x="3048" y="3338"/>
                </a:lnTo>
                <a:lnTo>
                  <a:pt x="3033" y="3340"/>
                </a:lnTo>
                <a:close/>
                <a:moveTo>
                  <a:pt x="3264" y="3336"/>
                </a:moveTo>
                <a:lnTo>
                  <a:pt x="3260" y="3334"/>
                </a:lnTo>
                <a:lnTo>
                  <a:pt x="3251" y="3327"/>
                </a:lnTo>
                <a:lnTo>
                  <a:pt x="3234" y="3313"/>
                </a:lnTo>
                <a:lnTo>
                  <a:pt x="3213" y="3293"/>
                </a:lnTo>
                <a:lnTo>
                  <a:pt x="3196" y="3272"/>
                </a:lnTo>
                <a:lnTo>
                  <a:pt x="3188" y="3264"/>
                </a:lnTo>
                <a:lnTo>
                  <a:pt x="3184" y="3257"/>
                </a:lnTo>
                <a:lnTo>
                  <a:pt x="3179" y="3245"/>
                </a:lnTo>
                <a:lnTo>
                  <a:pt x="3177" y="3238"/>
                </a:lnTo>
                <a:lnTo>
                  <a:pt x="3177" y="3234"/>
                </a:lnTo>
                <a:lnTo>
                  <a:pt x="3177" y="3226"/>
                </a:lnTo>
                <a:lnTo>
                  <a:pt x="3179" y="3219"/>
                </a:lnTo>
                <a:lnTo>
                  <a:pt x="3184" y="3211"/>
                </a:lnTo>
                <a:lnTo>
                  <a:pt x="3188" y="3205"/>
                </a:lnTo>
                <a:lnTo>
                  <a:pt x="3201" y="3190"/>
                </a:lnTo>
                <a:lnTo>
                  <a:pt x="3218" y="3169"/>
                </a:lnTo>
                <a:lnTo>
                  <a:pt x="3260" y="3120"/>
                </a:lnTo>
                <a:lnTo>
                  <a:pt x="3266" y="3122"/>
                </a:lnTo>
                <a:lnTo>
                  <a:pt x="3273" y="3124"/>
                </a:lnTo>
                <a:lnTo>
                  <a:pt x="3277" y="3128"/>
                </a:lnTo>
                <a:lnTo>
                  <a:pt x="3281" y="3133"/>
                </a:lnTo>
                <a:lnTo>
                  <a:pt x="3283" y="3139"/>
                </a:lnTo>
                <a:lnTo>
                  <a:pt x="3281" y="3145"/>
                </a:lnTo>
                <a:lnTo>
                  <a:pt x="3279" y="3150"/>
                </a:lnTo>
                <a:lnTo>
                  <a:pt x="3277" y="3152"/>
                </a:lnTo>
                <a:lnTo>
                  <a:pt x="3247" y="3188"/>
                </a:lnTo>
                <a:lnTo>
                  <a:pt x="3230" y="3207"/>
                </a:lnTo>
                <a:lnTo>
                  <a:pt x="3218" y="3224"/>
                </a:lnTo>
                <a:lnTo>
                  <a:pt x="3213" y="3228"/>
                </a:lnTo>
                <a:lnTo>
                  <a:pt x="3213" y="3232"/>
                </a:lnTo>
                <a:lnTo>
                  <a:pt x="3215" y="3236"/>
                </a:lnTo>
                <a:lnTo>
                  <a:pt x="3218" y="3243"/>
                </a:lnTo>
                <a:lnTo>
                  <a:pt x="3228" y="3255"/>
                </a:lnTo>
                <a:lnTo>
                  <a:pt x="3245" y="3272"/>
                </a:lnTo>
                <a:lnTo>
                  <a:pt x="3264" y="3291"/>
                </a:lnTo>
                <a:lnTo>
                  <a:pt x="3283" y="3310"/>
                </a:lnTo>
                <a:lnTo>
                  <a:pt x="3285" y="3313"/>
                </a:lnTo>
                <a:lnTo>
                  <a:pt x="3285" y="3317"/>
                </a:lnTo>
                <a:lnTo>
                  <a:pt x="3285" y="3319"/>
                </a:lnTo>
                <a:lnTo>
                  <a:pt x="3283" y="3323"/>
                </a:lnTo>
                <a:lnTo>
                  <a:pt x="3279" y="3329"/>
                </a:lnTo>
                <a:lnTo>
                  <a:pt x="3273" y="3334"/>
                </a:lnTo>
                <a:lnTo>
                  <a:pt x="3268" y="3336"/>
                </a:lnTo>
                <a:lnTo>
                  <a:pt x="3264" y="3336"/>
                </a:lnTo>
                <a:close/>
                <a:moveTo>
                  <a:pt x="3124" y="3793"/>
                </a:moveTo>
                <a:lnTo>
                  <a:pt x="3131" y="3770"/>
                </a:lnTo>
                <a:lnTo>
                  <a:pt x="3135" y="3746"/>
                </a:lnTo>
                <a:lnTo>
                  <a:pt x="3137" y="3736"/>
                </a:lnTo>
                <a:lnTo>
                  <a:pt x="3137" y="3725"/>
                </a:lnTo>
                <a:lnTo>
                  <a:pt x="3137" y="3704"/>
                </a:lnTo>
                <a:lnTo>
                  <a:pt x="3139" y="3702"/>
                </a:lnTo>
                <a:lnTo>
                  <a:pt x="3141" y="3700"/>
                </a:lnTo>
                <a:lnTo>
                  <a:pt x="3146" y="3698"/>
                </a:lnTo>
                <a:lnTo>
                  <a:pt x="3150" y="3698"/>
                </a:lnTo>
                <a:lnTo>
                  <a:pt x="3158" y="3698"/>
                </a:lnTo>
                <a:lnTo>
                  <a:pt x="3162" y="3700"/>
                </a:lnTo>
                <a:lnTo>
                  <a:pt x="3165" y="3702"/>
                </a:lnTo>
                <a:lnTo>
                  <a:pt x="3169" y="3710"/>
                </a:lnTo>
                <a:lnTo>
                  <a:pt x="3171" y="3717"/>
                </a:lnTo>
                <a:lnTo>
                  <a:pt x="3171" y="3723"/>
                </a:lnTo>
                <a:lnTo>
                  <a:pt x="3171" y="3740"/>
                </a:lnTo>
                <a:lnTo>
                  <a:pt x="3169" y="3759"/>
                </a:lnTo>
                <a:lnTo>
                  <a:pt x="3165" y="3776"/>
                </a:lnTo>
                <a:lnTo>
                  <a:pt x="3160" y="3793"/>
                </a:lnTo>
                <a:lnTo>
                  <a:pt x="3139" y="3793"/>
                </a:lnTo>
                <a:lnTo>
                  <a:pt x="3124" y="3793"/>
                </a:lnTo>
                <a:close/>
                <a:moveTo>
                  <a:pt x="2944" y="3793"/>
                </a:moveTo>
                <a:lnTo>
                  <a:pt x="2949" y="3772"/>
                </a:lnTo>
                <a:lnTo>
                  <a:pt x="2951" y="3763"/>
                </a:lnTo>
                <a:lnTo>
                  <a:pt x="2955" y="3753"/>
                </a:lnTo>
                <a:lnTo>
                  <a:pt x="2959" y="3744"/>
                </a:lnTo>
                <a:lnTo>
                  <a:pt x="2963" y="3736"/>
                </a:lnTo>
                <a:lnTo>
                  <a:pt x="2970" y="3730"/>
                </a:lnTo>
                <a:lnTo>
                  <a:pt x="2976" y="3721"/>
                </a:lnTo>
                <a:lnTo>
                  <a:pt x="2983" y="3715"/>
                </a:lnTo>
                <a:lnTo>
                  <a:pt x="2989" y="3708"/>
                </a:lnTo>
                <a:lnTo>
                  <a:pt x="2997" y="3704"/>
                </a:lnTo>
                <a:lnTo>
                  <a:pt x="3006" y="3700"/>
                </a:lnTo>
                <a:lnTo>
                  <a:pt x="3014" y="3696"/>
                </a:lnTo>
                <a:lnTo>
                  <a:pt x="3023" y="3694"/>
                </a:lnTo>
                <a:lnTo>
                  <a:pt x="3031" y="3691"/>
                </a:lnTo>
                <a:lnTo>
                  <a:pt x="3040" y="3691"/>
                </a:lnTo>
                <a:lnTo>
                  <a:pt x="3052" y="3694"/>
                </a:lnTo>
                <a:lnTo>
                  <a:pt x="3057" y="3694"/>
                </a:lnTo>
                <a:lnTo>
                  <a:pt x="3063" y="3696"/>
                </a:lnTo>
                <a:lnTo>
                  <a:pt x="3071" y="3702"/>
                </a:lnTo>
                <a:lnTo>
                  <a:pt x="3080" y="3708"/>
                </a:lnTo>
                <a:lnTo>
                  <a:pt x="3086" y="3717"/>
                </a:lnTo>
                <a:lnTo>
                  <a:pt x="3091" y="3725"/>
                </a:lnTo>
                <a:lnTo>
                  <a:pt x="3093" y="3738"/>
                </a:lnTo>
                <a:lnTo>
                  <a:pt x="3093" y="3749"/>
                </a:lnTo>
                <a:lnTo>
                  <a:pt x="3093" y="3761"/>
                </a:lnTo>
                <a:lnTo>
                  <a:pt x="3088" y="3772"/>
                </a:lnTo>
                <a:lnTo>
                  <a:pt x="3084" y="3782"/>
                </a:lnTo>
                <a:lnTo>
                  <a:pt x="3078" y="3793"/>
                </a:lnTo>
                <a:lnTo>
                  <a:pt x="3019" y="3793"/>
                </a:lnTo>
                <a:lnTo>
                  <a:pt x="3027" y="3789"/>
                </a:lnTo>
                <a:lnTo>
                  <a:pt x="3035" y="3785"/>
                </a:lnTo>
                <a:lnTo>
                  <a:pt x="3044" y="3778"/>
                </a:lnTo>
                <a:lnTo>
                  <a:pt x="3050" y="3772"/>
                </a:lnTo>
                <a:lnTo>
                  <a:pt x="3055" y="3765"/>
                </a:lnTo>
                <a:lnTo>
                  <a:pt x="3059" y="3759"/>
                </a:lnTo>
                <a:lnTo>
                  <a:pt x="3061" y="3751"/>
                </a:lnTo>
                <a:lnTo>
                  <a:pt x="3063" y="3744"/>
                </a:lnTo>
                <a:lnTo>
                  <a:pt x="3061" y="3740"/>
                </a:lnTo>
                <a:lnTo>
                  <a:pt x="3061" y="3734"/>
                </a:lnTo>
                <a:lnTo>
                  <a:pt x="3059" y="3732"/>
                </a:lnTo>
                <a:lnTo>
                  <a:pt x="3055" y="3727"/>
                </a:lnTo>
                <a:lnTo>
                  <a:pt x="3052" y="3725"/>
                </a:lnTo>
                <a:lnTo>
                  <a:pt x="3048" y="3723"/>
                </a:lnTo>
                <a:lnTo>
                  <a:pt x="3038" y="3721"/>
                </a:lnTo>
                <a:lnTo>
                  <a:pt x="3027" y="3723"/>
                </a:lnTo>
                <a:lnTo>
                  <a:pt x="3023" y="3725"/>
                </a:lnTo>
                <a:lnTo>
                  <a:pt x="3019" y="3727"/>
                </a:lnTo>
                <a:lnTo>
                  <a:pt x="3010" y="3734"/>
                </a:lnTo>
                <a:lnTo>
                  <a:pt x="2999" y="3742"/>
                </a:lnTo>
                <a:lnTo>
                  <a:pt x="2993" y="3753"/>
                </a:lnTo>
                <a:lnTo>
                  <a:pt x="2989" y="3759"/>
                </a:lnTo>
                <a:lnTo>
                  <a:pt x="2987" y="3765"/>
                </a:lnTo>
                <a:lnTo>
                  <a:pt x="2983" y="3772"/>
                </a:lnTo>
                <a:lnTo>
                  <a:pt x="2980" y="3778"/>
                </a:lnTo>
                <a:lnTo>
                  <a:pt x="2978" y="3793"/>
                </a:lnTo>
                <a:lnTo>
                  <a:pt x="2944" y="3793"/>
                </a:lnTo>
                <a:close/>
                <a:moveTo>
                  <a:pt x="3179" y="3793"/>
                </a:moveTo>
                <a:lnTo>
                  <a:pt x="3184" y="3785"/>
                </a:lnTo>
                <a:lnTo>
                  <a:pt x="3188" y="3778"/>
                </a:lnTo>
                <a:lnTo>
                  <a:pt x="3201" y="3763"/>
                </a:lnTo>
                <a:lnTo>
                  <a:pt x="3218" y="3742"/>
                </a:lnTo>
                <a:lnTo>
                  <a:pt x="3260" y="3696"/>
                </a:lnTo>
                <a:lnTo>
                  <a:pt x="3266" y="3696"/>
                </a:lnTo>
                <a:lnTo>
                  <a:pt x="3273" y="3698"/>
                </a:lnTo>
                <a:lnTo>
                  <a:pt x="3277" y="3702"/>
                </a:lnTo>
                <a:lnTo>
                  <a:pt x="3281" y="3708"/>
                </a:lnTo>
                <a:lnTo>
                  <a:pt x="3283" y="3713"/>
                </a:lnTo>
                <a:lnTo>
                  <a:pt x="3281" y="3719"/>
                </a:lnTo>
                <a:lnTo>
                  <a:pt x="3279" y="3723"/>
                </a:lnTo>
                <a:lnTo>
                  <a:pt x="3277" y="3727"/>
                </a:lnTo>
                <a:lnTo>
                  <a:pt x="3251" y="3757"/>
                </a:lnTo>
                <a:lnTo>
                  <a:pt x="3234" y="3776"/>
                </a:lnTo>
                <a:lnTo>
                  <a:pt x="3220" y="3793"/>
                </a:lnTo>
                <a:lnTo>
                  <a:pt x="3179" y="3793"/>
                </a:lnTo>
                <a:close/>
                <a:moveTo>
                  <a:pt x="1198" y="2747"/>
                </a:moveTo>
                <a:lnTo>
                  <a:pt x="1190" y="2747"/>
                </a:lnTo>
                <a:lnTo>
                  <a:pt x="1181" y="2745"/>
                </a:lnTo>
                <a:lnTo>
                  <a:pt x="1173" y="2743"/>
                </a:lnTo>
                <a:lnTo>
                  <a:pt x="1164" y="2739"/>
                </a:lnTo>
                <a:lnTo>
                  <a:pt x="1156" y="2735"/>
                </a:lnTo>
                <a:lnTo>
                  <a:pt x="1147" y="2730"/>
                </a:lnTo>
                <a:lnTo>
                  <a:pt x="1141" y="2724"/>
                </a:lnTo>
                <a:lnTo>
                  <a:pt x="1135" y="2718"/>
                </a:lnTo>
                <a:lnTo>
                  <a:pt x="1128" y="2709"/>
                </a:lnTo>
                <a:lnTo>
                  <a:pt x="1124" y="2701"/>
                </a:lnTo>
                <a:lnTo>
                  <a:pt x="1116" y="2684"/>
                </a:lnTo>
                <a:lnTo>
                  <a:pt x="1111" y="2673"/>
                </a:lnTo>
                <a:lnTo>
                  <a:pt x="1109" y="2663"/>
                </a:lnTo>
                <a:lnTo>
                  <a:pt x="1109" y="2652"/>
                </a:lnTo>
                <a:lnTo>
                  <a:pt x="1109" y="2642"/>
                </a:lnTo>
                <a:lnTo>
                  <a:pt x="1109" y="2631"/>
                </a:lnTo>
                <a:lnTo>
                  <a:pt x="1109" y="2620"/>
                </a:lnTo>
                <a:lnTo>
                  <a:pt x="1113" y="2608"/>
                </a:lnTo>
                <a:lnTo>
                  <a:pt x="1116" y="2597"/>
                </a:lnTo>
                <a:lnTo>
                  <a:pt x="1120" y="2589"/>
                </a:lnTo>
                <a:lnTo>
                  <a:pt x="1124" y="2578"/>
                </a:lnTo>
                <a:lnTo>
                  <a:pt x="1130" y="2570"/>
                </a:lnTo>
                <a:lnTo>
                  <a:pt x="1137" y="2561"/>
                </a:lnTo>
                <a:lnTo>
                  <a:pt x="1143" y="2553"/>
                </a:lnTo>
                <a:lnTo>
                  <a:pt x="1149" y="2546"/>
                </a:lnTo>
                <a:lnTo>
                  <a:pt x="1158" y="2540"/>
                </a:lnTo>
                <a:lnTo>
                  <a:pt x="1166" y="2536"/>
                </a:lnTo>
                <a:lnTo>
                  <a:pt x="1175" y="2531"/>
                </a:lnTo>
                <a:lnTo>
                  <a:pt x="1185" y="2527"/>
                </a:lnTo>
                <a:lnTo>
                  <a:pt x="1194" y="2527"/>
                </a:lnTo>
                <a:lnTo>
                  <a:pt x="1204" y="2525"/>
                </a:lnTo>
                <a:lnTo>
                  <a:pt x="1217" y="2527"/>
                </a:lnTo>
                <a:lnTo>
                  <a:pt x="1221" y="2527"/>
                </a:lnTo>
                <a:lnTo>
                  <a:pt x="1228" y="2529"/>
                </a:lnTo>
                <a:lnTo>
                  <a:pt x="1236" y="2536"/>
                </a:lnTo>
                <a:lnTo>
                  <a:pt x="1245" y="2542"/>
                </a:lnTo>
                <a:lnTo>
                  <a:pt x="1251" y="2551"/>
                </a:lnTo>
                <a:lnTo>
                  <a:pt x="1255" y="2561"/>
                </a:lnTo>
                <a:lnTo>
                  <a:pt x="1257" y="2572"/>
                </a:lnTo>
                <a:lnTo>
                  <a:pt x="1257" y="2582"/>
                </a:lnTo>
                <a:lnTo>
                  <a:pt x="1257" y="2591"/>
                </a:lnTo>
                <a:lnTo>
                  <a:pt x="1257" y="2597"/>
                </a:lnTo>
                <a:lnTo>
                  <a:pt x="1253" y="2606"/>
                </a:lnTo>
                <a:lnTo>
                  <a:pt x="1251" y="2612"/>
                </a:lnTo>
                <a:lnTo>
                  <a:pt x="1247" y="2618"/>
                </a:lnTo>
                <a:lnTo>
                  <a:pt x="1243" y="2625"/>
                </a:lnTo>
                <a:lnTo>
                  <a:pt x="1232" y="2637"/>
                </a:lnTo>
                <a:lnTo>
                  <a:pt x="1226" y="2642"/>
                </a:lnTo>
                <a:lnTo>
                  <a:pt x="1219" y="2646"/>
                </a:lnTo>
                <a:lnTo>
                  <a:pt x="1207" y="2654"/>
                </a:lnTo>
                <a:lnTo>
                  <a:pt x="1198" y="2656"/>
                </a:lnTo>
                <a:lnTo>
                  <a:pt x="1192" y="2658"/>
                </a:lnTo>
                <a:lnTo>
                  <a:pt x="1177" y="2661"/>
                </a:lnTo>
                <a:lnTo>
                  <a:pt x="1171" y="2658"/>
                </a:lnTo>
                <a:lnTo>
                  <a:pt x="1166" y="2656"/>
                </a:lnTo>
                <a:lnTo>
                  <a:pt x="1164" y="2654"/>
                </a:lnTo>
                <a:lnTo>
                  <a:pt x="1162" y="2652"/>
                </a:lnTo>
                <a:lnTo>
                  <a:pt x="1162" y="2648"/>
                </a:lnTo>
                <a:lnTo>
                  <a:pt x="1160" y="2642"/>
                </a:lnTo>
                <a:lnTo>
                  <a:pt x="1160" y="2635"/>
                </a:lnTo>
                <a:lnTo>
                  <a:pt x="1162" y="2633"/>
                </a:lnTo>
                <a:lnTo>
                  <a:pt x="1164" y="2631"/>
                </a:lnTo>
                <a:lnTo>
                  <a:pt x="1177" y="2629"/>
                </a:lnTo>
                <a:lnTo>
                  <a:pt x="1190" y="2625"/>
                </a:lnTo>
                <a:lnTo>
                  <a:pt x="1200" y="2618"/>
                </a:lnTo>
                <a:lnTo>
                  <a:pt x="1209" y="2612"/>
                </a:lnTo>
                <a:lnTo>
                  <a:pt x="1217" y="2603"/>
                </a:lnTo>
                <a:lnTo>
                  <a:pt x="1219" y="2599"/>
                </a:lnTo>
                <a:lnTo>
                  <a:pt x="1221" y="2595"/>
                </a:lnTo>
                <a:lnTo>
                  <a:pt x="1226" y="2587"/>
                </a:lnTo>
                <a:lnTo>
                  <a:pt x="1226" y="2578"/>
                </a:lnTo>
                <a:lnTo>
                  <a:pt x="1226" y="2574"/>
                </a:lnTo>
                <a:lnTo>
                  <a:pt x="1226" y="2570"/>
                </a:lnTo>
                <a:lnTo>
                  <a:pt x="1224" y="2565"/>
                </a:lnTo>
                <a:lnTo>
                  <a:pt x="1219" y="2561"/>
                </a:lnTo>
                <a:lnTo>
                  <a:pt x="1217" y="2559"/>
                </a:lnTo>
                <a:lnTo>
                  <a:pt x="1213" y="2557"/>
                </a:lnTo>
                <a:lnTo>
                  <a:pt x="1202" y="2555"/>
                </a:lnTo>
                <a:lnTo>
                  <a:pt x="1192" y="2557"/>
                </a:lnTo>
                <a:lnTo>
                  <a:pt x="1185" y="2559"/>
                </a:lnTo>
                <a:lnTo>
                  <a:pt x="1181" y="2563"/>
                </a:lnTo>
                <a:lnTo>
                  <a:pt x="1175" y="2565"/>
                </a:lnTo>
                <a:lnTo>
                  <a:pt x="1171" y="2570"/>
                </a:lnTo>
                <a:lnTo>
                  <a:pt x="1162" y="2580"/>
                </a:lnTo>
                <a:lnTo>
                  <a:pt x="1158" y="2587"/>
                </a:lnTo>
                <a:lnTo>
                  <a:pt x="1154" y="2593"/>
                </a:lnTo>
                <a:lnTo>
                  <a:pt x="1147" y="2608"/>
                </a:lnTo>
                <a:lnTo>
                  <a:pt x="1143" y="2623"/>
                </a:lnTo>
                <a:lnTo>
                  <a:pt x="1143" y="2631"/>
                </a:lnTo>
                <a:lnTo>
                  <a:pt x="1141" y="2639"/>
                </a:lnTo>
                <a:lnTo>
                  <a:pt x="1143" y="2654"/>
                </a:lnTo>
                <a:lnTo>
                  <a:pt x="1145" y="2663"/>
                </a:lnTo>
                <a:lnTo>
                  <a:pt x="1145" y="2669"/>
                </a:lnTo>
                <a:lnTo>
                  <a:pt x="1152" y="2682"/>
                </a:lnTo>
                <a:lnTo>
                  <a:pt x="1158" y="2692"/>
                </a:lnTo>
                <a:lnTo>
                  <a:pt x="1166" y="2701"/>
                </a:lnTo>
                <a:lnTo>
                  <a:pt x="1171" y="2703"/>
                </a:lnTo>
                <a:lnTo>
                  <a:pt x="1177" y="2707"/>
                </a:lnTo>
                <a:lnTo>
                  <a:pt x="1188" y="2711"/>
                </a:lnTo>
                <a:lnTo>
                  <a:pt x="1194" y="2711"/>
                </a:lnTo>
                <a:lnTo>
                  <a:pt x="1200" y="2711"/>
                </a:lnTo>
                <a:lnTo>
                  <a:pt x="1213" y="2711"/>
                </a:lnTo>
                <a:lnTo>
                  <a:pt x="1224" y="2707"/>
                </a:lnTo>
                <a:lnTo>
                  <a:pt x="1230" y="2705"/>
                </a:lnTo>
                <a:lnTo>
                  <a:pt x="1236" y="2701"/>
                </a:lnTo>
                <a:lnTo>
                  <a:pt x="1245" y="2694"/>
                </a:lnTo>
                <a:lnTo>
                  <a:pt x="1255" y="2686"/>
                </a:lnTo>
                <a:lnTo>
                  <a:pt x="1264" y="2675"/>
                </a:lnTo>
                <a:lnTo>
                  <a:pt x="1272" y="2663"/>
                </a:lnTo>
                <a:lnTo>
                  <a:pt x="1279" y="2650"/>
                </a:lnTo>
                <a:lnTo>
                  <a:pt x="1285" y="2637"/>
                </a:lnTo>
                <a:lnTo>
                  <a:pt x="1289" y="2623"/>
                </a:lnTo>
                <a:lnTo>
                  <a:pt x="1293" y="2608"/>
                </a:lnTo>
                <a:lnTo>
                  <a:pt x="1298" y="2593"/>
                </a:lnTo>
                <a:lnTo>
                  <a:pt x="1300" y="2578"/>
                </a:lnTo>
                <a:lnTo>
                  <a:pt x="1302" y="2565"/>
                </a:lnTo>
                <a:lnTo>
                  <a:pt x="1302" y="2551"/>
                </a:lnTo>
                <a:lnTo>
                  <a:pt x="1302" y="2538"/>
                </a:lnTo>
                <a:lnTo>
                  <a:pt x="1304" y="2536"/>
                </a:lnTo>
                <a:lnTo>
                  <a:pt x="1306" y="2534"/>
                </a:lnTo>
                <a:lnTo>
                  <a:pt x="1310" y="2531"/>
                </a:lnTo>
                <a:lnTo>
                  <a:pt x="1315" y="2531"/>
                </a:lnTo>
                <a:lnTo>
                  <a:pt x="1323" y="2531"/>
                </a:lnTo>
                <a:lnTo>
                  <a:pt x="1327" y="2534"/>
                </a:lnTo>
                <a:lnTo>
                  <a:pt x="1329" y="2536"/>
                </a:lnTo>
                <a:lnTo>
                  <a:pt x="1334" y="2544"/>
                </a:lnTo>
                <a:lnTo>
                  <a:pt x="1336" y="2551"/>
                </a:lnTo>
                <a:lnTo>
                  <a:pt x="1336" y="2557"/>
                </a:lnTo>
                <a:lnTo>
                  <a:pt x="1336" y="2576"/>
                </a:lnTo>
                <a:lnTo>
                  <a:pt x="1334" y="2595"/>
                </a:lnTo>
                <a:lnTo>
                  <a:pt x="1329" y="2612"/>
                </a:lnTo>
                <a:lnTo>
                  <a:pt x="1325" y="2629"/>
                </a:lnTo>
                <a:lnTo>
                  <a:pt x="1319" y="2646"/>
                </a:lnTo>
                <a:lnTo>
                  <a:pt x="1312" y="2661"/>
                </a:lnTo>
                <a:lnTo>
                  <a:pt x="1304" y="2675"/>
                </a:lnTo>
                <a:lnTo>
                  <a:pt x="1295" y="2690"/>
                </a:lnTo>
                <a:lnTo>
                  <a:pt x="1287" y="2703"/>
                </a:lnTo>
                <a:lnTo>
                  <a:pt x="1283" y="2709"/>
                </a:lnTo>
                <a:lnTo>
                  <a:pt x="1276" y="2714"/>
                </a:lnTo>
                <a:lnTo>
                  <a:pt x="1266" y="2724"/>
                </a:lnTo>
                <a:lnTo>
                  <a:pt x="1253" y="2733"/>
                </a:lnTo>
                <a:lnTo>
                  <a:pt x="1240" y="2739"/>
                </a:lnTo>
                <a:lnTo>
                  <a:pt x="1228" y="2743"/>
                </a:lnTo>
                <a:lnTo>
                  <a:pt x="1213" y="2747"/>
                </a:lnTo>
                <a:lnTo>
                  <a:pt x="1198" y="2747"/>
                </a:lnTo>
                <a:close/>
                <a:moveTo>
                  <a:pt x="1429" y="2745"/>
                </a:moveTo>
                <a:lnTo>
                  <a:pt x="1425" y="2743"/>
                </a:lnTo>
                <a:lnTo>
                  <a:pt x="1416" y="2737"/>
                </a:lnTo>
                <a:lnTo>
                  <a:pt x="1399" y="2722"/>
                </a:lnTo>
                <a:lnTo>
                  <a:pt x="1378" y="2701"/>
                </a:lnTo>
                <a:lnTo>
                  <a:pt x="1361" y="2682"/>
                </a:lnTo>
                <a:lnTo>
                  <a:pt x="1353" y="2673"/>
                </a:lnTo>
                <a:lnTo>
                  <a:pt x="1348" y="2665"/>
                </a:lnTo>
                <a:lnTo>
                  <a:pt x="1344" y="2654"/>
                </a:lnTo>
                <a:lnTo>
                  <a:pt x="1342" y="2648"/>
                </a:lnTo>
                <a:lnTo>
                  <a:pt x="1342" y="2642"/>
                </a:lnTo>
                <a:lnTo>
                  <a:pt x="1342" y="2635"/>
                </a:lnTo>
                <a:lnTo>
                  <a:pt x="1344" y="2629"/>
                </a:lnTo>
                <a:lnTo>
                  <a:pt x="1348" y="2620"/>
                </a:lnTo>
                <a:lnTo>
                  <a:pt x="1353" y="2612"/>
                </a:lnTo>
                <a:lnTo>
                  <a:pt x="1365" y="2597"/>
                </a:lnTo>
                <a:lnTo>
                  <a:pt x="1382" y="2576"/>
                </a:lnTo>
                <a:lnTo>
                  <a:pt x="1425" y="2529"/>
                </a:lnTo>
                <a:lnTo>
                  <a:pt x="1431" y="2529"/>
                </a:lnTo>
                <a:lnTo>
                  <a:pt x="1437" y="2531"/>
                </a:lnTo>
                <a:lnTo>
                  <a:pt x="1442" y="2536"/>
                </a:lnTo>
                <a:lnTo>
                  <a:pt x="1446" y="2542"/>
                </a:lnTo>
                <a:lnTo>
                  <a:pt x="1448" y="2546"/>
                </a:lnTo>
                <a:lnTo>
                  <a:pt x="1446" y="2553"/>
                </a:lnTo>
                <a:lnTo>
                  <a:pt x="1444" y="2557"/>
                </a:lnTo>
                <a:lnTo>
                  <a:pt x="1442" y="2561"/>
                </a:lnTo>
                <a:lnTo>
                  <a:pt x="1412" y="2595"/>
                </a:lnTo>
                <a:lnTo>
                  <a:pt x="1395" y="2616"/>
                </a:lnTo>
                <a:lnTo>
                  <a:pt x="1382" y="2631"/>
                </a:lnTo>
                <a:lnTo>
                  <a:pt x="1378" y="2635"/>
                </a:lnTo>
                <a:lnTo>
                  <a:pt x="1378" y="2639"/>
                </a:lnTo>
                <a:lnTo>
                  <a:pt x="1378" y="2646"/>
                </a:lnTo>
                <a:lnTo>
                  <a:pt x="1382" y="2650"/>
                </a:lnTo>
                <a:lnTo>
                  <a:pt x="1393" y="2663"/>
                </a:lnTo>
                <a:lnTo>
                  <a:pt x="1410" y="2682"/>
                </a:lnTo>
                <a:lnTo>
                  <a:pt x="1429" y="2701"/>
                </a:lnTo>
                <a:lnTo>
                  <a:pt x="1448" y="2718"/>
                </a:lnTo>
                <a:lnTo>
                  <a:pt x="1450" y="2722"/>
                </a:lnTo>
                <a:lnTo>
                  <a:pt x="1450" y="2724"/>
                </a:lnTo>
                <a:lnTo>
                  <a:pt x="1450" y="2728"/>
                </a:lnTo>
                <a:lnTo>
                  <a:pt x="1448" y="2730"/>
                </a:lnTo>
                <a:lnTo>
                  <a:pt x="1444" y="2737"/>
                </a:lnTo>
                <a:lnTo>
                  <a:pt x="1437" y="2743"/>
                </a:lnTo>
                <a:lnTo>
                  <a:pt x="1433" y="2743"/>
                </a:lnTo>
                <a:lnTo>
                  <a:pt x="1429" y="2745"/>
                </a:lnTo>
                <a:close/>
                <a:moveTo>
                  <a:pt x="1198" y="3340"/>
                </a:moveTo>
                <a:lnTo>
                  <a:pt x="1190" y="3340"/>
                </a:lnTo>
                <a:lnTo>
                  <a:pt x="1181" y="3338"/>
                </a:lnTo>
                <a:lnTo>
                  <a:pt x="1173" y="3336"/>
                </a:lnTo>
                <a:lnTo>
                  <a:pt x="1164" y="3332"/>
                </a:lnTo>
                <a:lnTo>
                  <a:pt x="1156" y="3327"/>
                </a:lnTo>
                <a:lnTo>
                  <a:pt x="1147" y="3321"/>
                </a:lnTo>
                <a:lnTo>
                  <a:pt x="1141" y="3315"/>
                </a:lnTo>
                <a:lnTo>
                  <a:pt x="1135" y="3308"/>
                </a:lnTo>
                <a:lnTo>
                  <a:pt x="1128" y="3302"/>
                </a:lnTo>
                <a:lnTo>
                  <a:pt x="1124" y="3293"/>
                </a:lnTo>
                <a:lnTo>
                  <a:pt x="1116" y="3274"/>
                </a:lnTo>
                <a:lnTo>
                  <a:pt x="1111" y="3266"/>
                </a:lnTo>
                <a:lnTo>
                  <a:pt x="1109" y="3255"/>
                </a:lnTo>
                <a:lnTo>
                  <a:pt x="1109" y="3245"/>
                </a:lnTo>
                <a:lnTo>
                  <a:pt x="1109" y="3234"/>
                </a:lnTo>
                <a:lnTo>
                  <a:pt x="1109" y="3222"/>
                </a:lnTo>
                <a:lnTo>
                  <a:pt x="1109" y="3211"/>
                </a:lnTo>
                <a:lnTo>
                  <a:pt x="1113" y="3200"/>
                </a:lnTo>
                <a:lnTo>
                  <a:pt x="1116" y="3190"/>
                </a:lnTo>
                <a:lnTo>
                  <a:pt x="1120" y="3179"/>
                </a:lnTo>
                <a:lnTo>
                  <a:pt x="1124" y="3171"/>
                </a:lnTo>
                <a:lnTo>
                  <a:pt x="1130" y="3160"/>
                </a:lnTo>
                <a:lnTo>
                  <a:pt x="1137" y="3152"/>
                </a:lnTo>
                <a:lnTo>
                  <a:pt x="1143" y="3145"/>
                </a:lnTo>
                <a:lnTo>
                  <a:pt x="1149" y="3139"/>
                </a:lnTo>
                <a:lnTo>
                  <a:pt x="1158" y="3133"/>
                </a:lnTo>
                <a:lnTo>
                  <a:pt x="1166" y="3126"/>
                </a:lnTo>
                <a:lnTo>
                  <a:pt x="1175" y="3122"/>
                </a:lnTo>
                <a:lnTo>
                  <a:pt x="1185" y="3120"/>
                </a:lnTo>
                <a:lnTo>
                  <a:pt x="1194" y="3118"/>
                </a:lnTo>
                <a:lnTo>
                  <a:pt x="1204" y="3118"/>
                </a:lnTo>
                <a:lnTo>
                  <a:pt x="1217" y="3118"/>
                </a:lnTo>
                <a:lnTo>
                  <a:pt x="1221" y="3120"/>
                </a:lnTo>
                <a:lnTo>
                  <a:pt x="1228" y="3122"/>
                </a:lnTo>
                <a:lnTo>
                  <a:pt x="1236" y="3126"/>
                </a:lnTo>
                <a:lnTo>
                  <a:pt x="1245" y="3135"/>
                </a:lnTo>
                <a:lnTo>
                  <a:pt x="1251" y="3141"/>
                </a:lnTo>
                <a:lnTo>
                  <a:pt x="1255" y="3152"/>
                </a:lnTo>
                <a:lnTo>
                  <a:pt x="1257" y="3162"/>
                </a:lnTo>
                <a:lnTo>
                  <a:pt x="1257" y="3175"/>
                </a:lnTo>
                <a:lnTo>
                  <a:pt x="1257" y="3181"/>
                </a:lnTo>
                <a:lnTo>
                  <a:pt x="1257" y="3190"/>
                </a:lnTo>
                <a:lnTo>
                  <a:pt x="1253" y="3196"/>
                </a:lnTo>
                <a:lnTo>
                  <a:pt x="1251" y="3205"/>
                </a:lnTo>
                <a:lnTo>
                  <a:pt x="1247" y="3211"/>
                </a:lnTo>
                <a:lnTo>
                  <a:pt x="1243" y="3217"/>
                </a:lnTo>
                <a:lnTo>
                  <a:pt x="1232" y="3228"/>
                </a:lnTo>
                <a:lnTo>
                  <a:pt x="1226" y="3234"/>
                </a:lnTo>
                <a:lnTo>
                  <a:pt x="1219" y="3238"/>
                </a:lnTo>
                <a:lnTo>
                  <a:pt x="1207" y="3245"/>
                </a:lnTo>
                <a:lnTo>
                  <a:pt x="1198" y="3249"/>
                </a:lnTo>
                <a:lnTo>
                  <a:pt x="1192" y="3251"/>
                </a:lnTo>
                <a:lnTo>
                  <a:pt x="1177" y="3251"/>
                </a:lnTo>
                <a:lnTo>
                  <a:pt x="1171" y="3251"/>
                </a:lnTo>
                <a:lnTo>
                  <a:pt x="1166" y="3249"/>
                </a:lnTo>
                <a:lnTo>
                  <a:pt x="1164" y="3247"/>
                </a:lnTo>
                <a:lnTo>
                  <a:pt x="1162" y="3243"/>
                </a:lnTo>
                <a:lnTo>
                  <a:pt x="1162" y="3241"/>
                </a:lnTo>
                <a:lnTo>
                  <a:pt x="1160" y="3232"/>
                </a:lnTo>
                <a:lnTo>
                  <a:pt x="1160" y="3226"/>
                </a:lnTo>
                <a:lnTo>
                  <a:pt x="1162" y="3224"/>
                </a:lnTo>
                <a:lnTo>
                  <a:pt x="1164" y="3224"/>
                </a:lnTo>
                <a:lnTo>
                  <a:pt x="1177" y="3219"/>
                </a:lnTo>
                <a:lnTo>
                  <a:pt x="1190" y="3215"/>
                </a:lnTo>
                <a:lnTo>
                  <a:pt x="1200" y="3209"/>
                </a:lnTo>
                <a:lnTo>
                  <a:pt x="1209" y="3202"/>
                </a:lnTo>
                <a:lnTo>
                  <a:pt x="1217" y="3196"/>
                </a:lnTo>
                <a:lnTo>
                  <a:pt x="1219" y="3192"/>
                </a:lnTo>
                <a:lnTo>
                  <a:pt x="1221" y="3188"/>
                </a:lnTo>
                <a:lnTo>
                  <a:pt x="1226" y="3179"/>
                </a:lnTo>
                <a:lnTo>
                  <a:pt x="1226" y="3171"/>
                </a:lnTo>
                <a:lnTo>
                  <a:pt x="1226" y="3164"/>
                </a:lnTo>
                <a:lnTo>
                  <a:pt x="1226" y="3160"/>
                </a:lnTo>
                <a:lnTo>
                  <a:pt x="1224" y="3156"/>
                </a:lnTo>
                <a:lnTo>
                  <a:pt x="1219" y="3154"/>
                </a:lnTo>
                <a:lnTo>
                  <a:pt x="1217" y="3152"/>
                </a:lnTo>
                <a:lnTo>
                  <a:pt x="1213" y="3150"/>
                </a:lnTo>
                <a:lnTo>
                  <a:pt x="1202" y="3147"/>
                </a:lnTo>
                <a:lnTo>
                  <a:pt x="1192" y="3150"/>
                </a:lnTo>
                <a:lnTo>
                  <a:pt x="1185" y="3152"/>
                </a:lnTo>
                <a:lnTo>
                  <a:pt x="1181" y="3154"/>
                </a:lnTo>
                <a:lnTo>
                  <a:pt x="1175" y="3158"/>
                </a:lnTo>
                <a:lnTo>
                  <a:pt x="1171" y="3162"/>
                </a:lnTo>
                <a:lnTo>
                  <a:pt x="1162" y="3173"/>
                </a:lnTo>
                <a:lnTo>
                  <a:pt x="1158" y="3179"/>
                </a:lnTo>
                <a:lnTo>
                  <a:pt x="1154" y="3186"/>
                </a:lnTo>
                <a:lnTo>
                  <a:pt x="1147" y="3198"/>
                </a:lnTo>
                <a:lnTo>
                  <a:pt x="1143" y="3215"/>
                </a:lnTo>
                <a:lnTo>
                  <a:pt x="1143" y="3224"/>
                </a:lnTo>
                <a:lnTo>
                  <a:pt x="1141" y="3232"/>
                </a:lnTo>
                <a:lnTo>
                  <a:pt x="1143" y="3247"/>
                </a:lnTo>
                <a:lnTo>
                  <a:pt x="1145" y="3253"/>
                </a:lnTo>
                <a:lnTo>
                  <a:pt x="1145" y="3262"/>
                </a:lnTo>
                <a:lnTo>
                  <a:pt x="1152" y="3272"/>
                </a:lnTo>
                <a:lnTo>
                  <a:pt x="1158" y="3283"/>
                </a:lnTo>
                <a:lnTo>
                  <a:pt x="1166" y="3291"/>
                </a:lnTo>
                <a:lnTo>
                  <a:pt x="1171" y="3296"/>
                </a:lnTo>
                <a:lnTo>
                  <a:pt x="1177" y="3298"/>
                </a:lnTo>
                <a:lnTo>
                  <a:pt x="1188" y="3302"/>
                </a:lnTo>
                <a:lnTo>
                  <a:pt x="1194" y="3304"/>
                </a:lnTo>
                <a:lnTo>
                  <a:pt x="1200" y="3304"/>
                </a:lnTo>
                <a:lnTo>
                  <a:pt x="1213" y="3302"/>
                </a:lnTo>
                <a:lnTo>
                  <a:pt x="1224" y="3300"/>
                </a:lnTo>
                <a:lnTo>
                  <a:pt x="1230" y="3296"/>
                </a:lnTo>
                <a:lnTo>
                  <a:pt x="1236" y="3293"/>
                </a:lnTo>
                <a:lnTo>
                  <a:pt x="1245" y="3285"/>
                </a:lnTo>
                <a:lnTo>
                  <a:pt x="1255" y="3277"/>
                </a:lnTo>
                <a:lnTo>
                  <a:pt x="1264" y="3266"/>
                </a:lnTo>
                <a:lnTo>
                  <a:pt x="1272" y="3255"/>
                </a:lnTo>
                <a:lnTo>
                  <a:pt x="1279" y="3243"/>
                </a:lnTo>
                <a:lnTo>
                  <a:pt x="1285" y="3228"/>
                </a:lnTo>
                <a:lnTo>
                  <a:pt x="1289" y="3213"/>
                </a:lnTo>
                <a:lnTo>
                  <a:pt x="1293" y="3200"/>
                </a:lnTo>
                <a:lnTo>
                  <a:pt x="1298" y="3186"/>
                </a:lnTo>
                <a:lnTo>
                  <a:pt x="1300" y="3171"/>
                </a:lnTo>
                <a:lnTo>
                  <a:pt x="1302" y="3156"/>
                </a:lnTo>
                <a:lnTo>
                  <a:pt x="1302" y="3143"/>
                </a:lnTo>
                <a:lnTo>
                  <a:pt x="1302" y="3130"/>
                </a:lnTo>
                <a:lnTo>
                  <a:pt x="1304" y="3126"/>
                </a:lnTo>
                <a:lnTo>
                  <a:pt x="1306" y="3124"/>
                </a:lnTo>
                <a:lnTo>
                  <a:pt x="1310" y="3124"/>
                </a:lnTo>
                <a:lnTo>
                  <a:pt x="1315" y="3122"/>
                </a:lnTo>
                <a:lnTo>
                  <a:pt x="1323" y="3124"/>
                </a:lnTo>
                <a:lnTo>
                  <a:pt x="1327" y="3126"/>
                </a:lnTo>
                <a:lnTo>
                  <a:pt x="1329" y="3128"/>
                </a:lnTo>
                <a:lnTo>
                  <a:pt x="1334" y="3137"/>
                </a:lnTo>
                <a:lnTo>
                  <a:pt x="1336" y="3141"/>
                </a:lnTo>
                <a:lnTo>
                  <a:pt x="1336" y="3150"/>
                </a:lnTo>
                <a:lnTo>
                  <a:pt x="1336" y="3166"/>
                </a:lnTo>
                <a:lnTo>
                  <a:pt x="1334" y="3186"/>
                </a:lnTo>
                <a:lnTo>
                  <a:pt x="1329" y="3205"/>
                </a:lnTo>
                <a:lnTo>
                  <a:pt x="1325" y="3222"/>
                </a:lnTo>
                <a:lnTo>
                  <a:pt x="1319" y="3238"/>
                </a:lnTo>
                <a:lnTo>
                  <a:pt x="1312" y="3253"/>
                </a:lnTo>
                <a:lnTo>
                  <a:pt x="1304" y="3268"/>
                </a:lnTo>
                <a:lnTo>
                  <a:pt x="1295" y="3283"/>
                </a:lnTo>
                <a:lnTo>
                  <a:pt x="1287" y="3293"/>
                </a:lnTo>
                <a:lnTo>
                  <a:pt x="1283" y="3300"/>
                </a:lnTo>
                <a:lnTo>
                  <a:pt x="1276" y="3306"/>
                </a:lnTo>
                <a:lnTo>
                  <a:pt x="1266" y="3315"/>
                </a:lnTo>
                <a:lnTo>
                  <a:pt x="1253" y="3323"/>
                </a:lnTo>
                <a:lnTo>
                  <a:pt x="1240" y="3332"/>
                </a:lnTo>
                <a:lnTo>
                  <a:pt x="1228" y="3336"/>
                </a:lnTo>
                <a:lnTo>
                  <a:pt x="1213" y="3338"/>
                </a:lnTo>
                <a:lnTo>
                  <a:pt x="1198" y="3340"/>
                </a:lnTo>
                <a:close/>
                <a:moveTo>
                  <a:pt x="1429" y="3336"/>
                </a:moveTo>
                <a:lnTo>
                  <a:pt x="1425" y="3334"/>
                </a:lnTo>
                <a:lnTo>
                  <a:pt x="1416" y="3327"/>
                </a:lnTo>
                <a:lnTo>
                  <a:pt x="1399" y="3313"/>
                </a:lnTo>
                <a:lnTo>
                  <a:pt x="1378" y="3293"/>
                </a:lnTo>
                <a:lnTo>
                  <a:pt x="1361" y="3272"/>
                </a:lnTo>
                <a:lnTo>
                  <a:pt x="1353" y="3264"/>
                </a:lnTo>
                <a:lnTo>
                  <a:pt x="1348" y="3257"/>
                </a:lnTo>
                <a:lnTo>
                  <a:pt x="1344" y="3245"/>
                </a:lnTo>
                <a:lnTo>
                  <a:pt x="1342" y="3238"/>
                </a:lnTo>
                <a:lnTo>
                  <a:pt x="1342" y="3234"/>
                </a:lnTo>
                <a:lnTo>
                  <a:pt x="1342" y="3226"/>
                </a:lnTo>
                <a:lnTo>
                  <a:pt x="1344" y="3219"/>
                </a:lnTo>
                <a:lnTo>
                  <a:pt x="1348" y="3211"/>
                </a:lnTo>
                <a:lnTo>
                  <a:pt x="1353" y="3205"/>
                </a:lnTo>
                <a:lnTo>
                  <a:pt x="1365" y="3190"/>
                </a:lnTo>
                <a:lnTo>
                  <a:pt x="1382" y="3169"/>
                </a:lnTo>
                <a:lnTo>
                  <a:pt x="1425" y="3120"/>
                </a:lnTo>
                <a:lnTo>
                  <a:pt x="1431" y="3122"/>
                </a:lnTo>
                <a:lnTo>
                  <a:pt x="1437" y="3124"/>
                </a:lnTo>
                <a:lnTo>
                  <a:pt x="1442" y="3128"/>
                </a:lnTo>
                <a:lnTo>
                  <a:pt x="1446" y="3133"/>
                </a:lnTo>
                <a:lnTo>
                  <a:pt x="1448" y="3139"/>
                </a:lnTo>
                <a:lnTo>
                  <a:pt x="1446" y="3145"/>
                </a:lnTo>
                <a:lnTo>
                  <a:pt x="1444" y="3150"/>
                </a:lnTo>
                <a:lnTo>
                  <a:pt x="1442" y="3152"/>
                </a:lnTo>
                <a:lnTo>
                  <a:pt x="1412" y="3188"/>
                </a:lnTo>
                <a:lnTo>
                  <a:pt x="1395" y="3207"/>
                </a:lnTo>
                <a:lnTo>
                  <a:pt x="1382" y="3224"/>
                </a:lnTo>
                <a:lnTo>
                  <a:pt x="1378" y="3228"/>
                </a:lnTo>
                <a:lnTo>
                  <a:pt x="1378" y="3232"/>
                </a:lnTo>
                <a:lnTo>
                  <a:pt x="1378" y="3236"/>
                </a:lnTo>
                <a:lnTo>
                  <a:pt x="1382" y="3243"/>
                </a:lnTo>
                <a:lnTo>
                  <a:pt x="1393" y="3255"/>
                </a:lnTo>
                <a:lnTo>
                  <a:pt x="1410" y="3272"/>
                </a:lnTo>
                <a:lnTo>
                  <a:pt x="1429" y="3291"/>
                </a:lnTo>
                <a:lnTo>
                  <a:pt x="1448" y="3310"/>
                </a:lnTo>
                <a:lnTo>
                  <a:pt x="1450" y="3313"/>
                </a:lnTo>
                <a:lnTo>
                  <a:pt x="1450" y="3317"/>
                </a:lnTo>
                <a:lnTo>
                  <a:pt x="1450" y="3319"/>
                </a:lnTo>
                <a:lnTo>
                  <a:pt x="1448" y="3323"/>
                </a:lnTo>
                <a:lnTo>
                  <a:pt x="1444" y="3329"/>
                </a:lnTo>
                <a:lnTo>
                  <a:pt x="1437" y="3334"/>
                </a:lnTo>
                <a:lnTo>
                  <a:pt x="1433" y="3336"/>
                </a:lnTo>
                <a:lnTo>
                  <a:pt x="1429" y="3336"/>
                </a:lnTo>
                <a:close/>
                <a:moveTo>
                  <a:pt x="1302" y="3713"/>
                </a:moveTo>
                <a:lnTo>
                  <a:pt x="1302" y="3704"/>
                </a:lnTo>
                <a:lnTo>
                  <a:pt x="1304" y="3702"/>
                </a:lnTo>
                <a:lnTo>
                  <a:pt x="1306" y="3700"/>
                </a:lnTo>
                <a:lnTo>
                  <a:pt x="1310" y="3698"/>
                </a:lnTo>
                <a:lnTo>
                  <a:pt x="1315" y="3698"/>
                </a:lnTo>
                <a:lnTo>
                  <a:pt x="1323" y="3698"/>
                </a:lnTo>
                <a:lnTo>
                  <a:pt x="1327" y="3700"/>
                </a:lnTo>
                <a:lnTo>
                  <a:pt x="1329" y="3702"/>
                </a:lnTo>
                <a:lnTo>
                  <a:pt x="1334" y="3710"/>
                </a:lnTo>
                <a:lnTo>
                  <a:pt x="1336" y="3717"/>
                </a:lnTo>
                <a:lnTo>
                  <a:pt x="1336" y="3723"/>
                </a:lnTo>
                <a:lnTo>
                  <a:pt x="1319" y="3719"/>
                </a:lnTo>
                <a:lnTo>
                  <a:pt x="1302" y="3713"/>
                </a:lnTo>
                <a:close/>
                <a:moveTo>
                  <a:pt x="1386" y="3738"/>
                </a:moveTo>
                <a:lnTo>
                  <a:pt x="1406" y="3717"/>
                </a:lnTo>
                <a:lnTo>
                  <a:pt x="1425" y="3696"/>
                </a:lnTo>
                <a:lnTo>
                  <a:pt x="1431" y="3696"/>
                </a:lnTo>
                <a:lnTo>
                  <a:pt x="1437" y="3698"/>
                </a:lnTo>
                <a:lnTo>
                  <a:pt x="1442" y="3702"/>
                </a:lnTo>
                <a:lnTo>
                  <a:pt x="1446" y="3708"/>
                </a:lnTo>
                <a:lnTo>
                  <a:pt x="1448" y="3713"/>
                </a:lnTo>
                <a:lnTo>
                  <a:pt x="1446" y="3719"/>
                </a:lnTo>
                <a:lnTo>
                  <a:pt x="1444" y="3723"/>
                </a:lnTo>
                <a:lnTo>
                  <a:pt x="1442" y="3727"/>
                </a:lnTo>
                <a:lnTo>
                  <a:pt x="1425" y="3746"/>
                </a:lnTo>
                <a:lnTo>
                  <a:pt x="1412" y="3744"/>
                </a:lnTo>
                <a:lnTo>
                  <a:pt x="1386" y="3738"/>
                </a:lnTo>
                <a:close/>
                <a:moveTo>
                  <a:pt x="3480" y="2747"/>
                </a:moveTo>
                <a:lnTo>
                  <a:pt x="3469" y="2747"/>
                </a:lnTo>
                <a:lnTo>
                  <a:pt x="3461" y="2745"/>
                </a:lnTo>
                <a:lnTo>
                  <a:pt x="3452" y="2743"/>
                </a:lnTo>
                <a:lnTo>
                  <a:pt x="3444" y="2739"/>
                </a:lnTo>
                <a:lnTo>
                  <a:pt x="3436" y="2735"/>
                </a:lnTo>
                <a:lnTo>
                  <a:pt x="3429" y="2730"/>
                </a:lnTo>
                <a:lnTo>
                  <a:pt x="3423" y="2724"/>
                </a:lnTo>
                <a:lnTo>
                  <a:pt x="3416" y="2718"/>
                </a:lnTo>
                <a:lnTo>
                  <a:pt x="3410" y="2709"/>
                </a:lnTo>
                <a:lnTo>
                  <a:pt x="3404" y="2701"/>
                </a:lnTo>
                <a:lnTo>
                  <a:pt x="3395" y="2684"/>
                </a:lnTo>
                <a:lnTo>
                  <a:pt x="3393" y="2673"/>
                </a:lnTo>
                <a:lnTo>
                  <a:pt x="3391" y="2663"/>
                </a:lnTo>
                <a:lnTo>
                  <a:pt x="3389" y="2652"/>
                </a:lnTo>
                <a:lnTo>
                  <a:pt x="3389" y="2642"/>
                </a:lnTo>
                <a:lnTo>
                  <a:pt x="3389" y="2631"/>
                </a:lnTo>
                <a:lnTo>
                  <a:pt x="3391" y="2620"/>
                </a:lnTo>
                <a:lnTo>
                  <a:pt x="3393" y="2608"/>
                </a:lnTo>
                <a:lnTo>
                  <a:pt x="3397" y="2597"/>
                </a:lnTo>
                <a:lnTo>
                  <a:pt x="3400" y="2589"/>
                </a:lnTo>
                <a:lnTo>
                  <a:pt x="3406" y="2578"/>
                </a:lnTo>
                <a:lnTo>
                  <a:pt x="3410" y="2570"/>
                </a:lnTo>
                <a:lnTo>
                  <a:pt x="3416" y="2561"/>
                </a:lnTo>
                <a:lnTo>
                  <a:pt x="3425" y="2553"/>
                </a:lnTo>
                <a:lnTo>
                  <a:pt x="3431" y="2546"/>
                </a:lnTo>
                <a:lnTo>
                  <a:pt x="3440" y="2540"/>
                </a:lnTo>
                <a:lnTo>
                  <a:pt x="3448" y="2536"/>
                </a:lnTo>
                <a:lnTo>
                  <a:pt x="3457" y="2531"/>
                </a:lnTo>
                <a:lnTo>
                  <a:pt x="3465" y="2527"/>
                </a:lnTo>
                <a:lnTo>
                  <a:pt x="3476" y="2527"/>
                </a:lnTo>
                <a:lnTo>
                  <a:pt x="3486" y="2525"/>
                </a:lnTo>
                <a:lnTo>
                  <a:pt x="3497" y="2527"/>
                </a:lnTo>
                <a:lnTo>
                  <a:pt x="3503" y="2527"/>
                </a:lnTo>
                <a:lnTo>
                  <a:pt x="3508" y="2529"/>
                </a:lnTo>
                <a:lnTo>
                  <a:pt x="3518" y="2536"/>
                </a:lnTo>
                <a:lnTo>
                  <a:pt x="3524" y="2542"/>
                </a:lnTo>
                <a:lnTo>
                  <a:pt x="3531" y="2551"/>
                </a:lnTo>
                <a:lnTo>
                  <a:pt x="3535" y="2561"/>
                </a:lnTo>
                <a:lnTo>
                  <a:pt x="3539" y="2572"/>
                </a:lnTo>
                <a:lnTo>
                  <a:pt x="3539" y="2582"/>
                </a:lnTo>
                <a:lnTo>
                  <a:pt x="3539" y="2591"/>
                </a:lnTo>
                <a:lnTo>
                  <a:pt x="3537" y="2597"/>
                </a:lnTo>
                <a:lnTo>
                  <a:pt x="3535" y="2606"/>
                </a:lnTo>
                <a:lnTo>
                  <a:pt x="3533" y="2612"/>
                </a:lnTo>
                <a:lnTo>
                  <a:pt x="3529" y="2618"/>
                </a:lnTo>
                <a:lnTo>
                  <a:pt x="3524" y="2625"/>
                </a:lnTo>
                <a:lnTo>
                  <a:pt x="3514" y="2637"/>
                </a:lnTo>
                <a:lnTo>
                  <a:pt x="3508" y="2642"/>
                </a:lnTo>
                <a:lnTo>
                  <a:pt x="3501" y="2646"/>
                </a:lnTo>
                <a:lnTo>
                  <a:pt x="3486" y="2654"/>
                </a:lnTo>
                <a:lnTo>
                  <a:pt x="3480" y="2656"/>
                </a:lnTo>
                <a:lnTo>
                  <a:pt x="3472" y="2658"/>
                </a:lnTo>
                <a:lnTo>
                  <a:pt x="3457" y="2661"/>
                </a:lnTo>
                <a:lnTo>
                  <a:pt x="3450" y="2658"/>
                </a:lnTo>
                <a:lnTo>
                  <a:pt x="3448" y="2656"/>
                </a:lnTo>
                <a:lnTo>
                  <a:pt x="3446" y="2654"/>
                </a:lnTo>
                <a:lnTo>
                  <a:pt x="3444" y="2652"/>
                </a:lnTo>
                <a:lnTo>
                  <a:pt x="3442" y="2648"/>
                </a:lnTo>
                <a:lnTo>
                  <a:pt x="3442" y="2642"/>
                </a:lnTo>
                <a:lnTo>
                  <a:pt x="3442" y="2635"/>
                </a:lnTo>
                <a:lnTo>
                  <a:pt x="3444" y="2633"/>
                </a:lnTo>
                <a:lnTo>
                  <a:pt x="3446" y="2631"/>
                </a:lnTo>
                <a:lnTo>
                  <a:pt x="3459" y="2629"/>
                </a:lnTo>
                <a:lnTo>
                  <a:pt x="3469" y="2625"/>
                </a:lnTo>
                <a:lnTo>
                  <a:pt x="3480" y="2618"/>
                </a:lnTo>
                <a:lnTo>
                  <a:pt x="3491" y="2612"/>
                </a:lnTo>
                <a:lnTo>
                  <a:pt x="3497" y="2603"/>
                </a:lnTo>
                <a:lnTo>
                  <a:pt x="3501" y="2599"/>
                </a:lnTo>
                <a:lnTo>
                  <a:pt x="3503" y="2595"/>
                </a:lnTo>
                <a:lnTo>
                  <a:pt x="3505" y="2587"/>
                </a:lnTo>
                <a:lnTo>
                  <a:pt x="3508" y="2578"/>
                </a:lnTo>
                <a:lnTo>
                  <a:pt x="3508" y="2574"/>
                </a:lnTo>
                <a:lnTo>
                  <a:pt x="3505" y="2570"/>
                </a:lnTo>
                <a:lnTo>
                  <a:pt x="3503" y="2565"/>
                </a:lnTo>
                <a:lnTo>
                  <a:pt x="3501" y="2561"/>
                </a:lnTo>
                <a:lnTo>
                  <a:pt x="3497" y="2559"/>
                </a:lnTo>
                <a:lnTo>
                  <a:pt x="3493" y="2557"/>
                </a:lnTo>
                <a:lnTo>
                  <a:pt x="3482" y="2555"/>
                </a:lnTo>
                <a:lnTo>
                  <a:pt x="3472" y="2557"/>
                </a:lnTo>
                <a:lnTo>
                  <a:pt x="3467" y="2559"/>
                </a:lnTo>
                <a:lnTo>
                  <a:pt x="3461" y="2563"/>
                </a:lnTo>
                <a:lnTo>
                  <a:pt x="3457" y="2565"/>
                </a:lnTo>
                <a:lnTo>
                  <a:pt x="3452" y="2570"/>
                </a:lnTo>
                <a:lnTo>
                  <a:pt x="3442" y="2580"/>
                </a:lnTo>
                <a:lnTo>
                  <a:pt x="3438" y="2587"/>
                </a:lnTo>
                <a:lnTo>
                  <a:pt x="3433" y="2593"/>
                </a:lnTo>
                <a:lnTo>
                  <a:pt x="3429" y="2608"/>
                </a:lnTo>
                <a:lnTo>
                  <a:pt x="3425" y="2623"/>
                </a:lnTo>
                <a:lnTo>
                  <a:pt x="3423" y="2631"/>
                </a:lnTo>
                <a:lnTo>
                  <a:pt x="3423" y="2639"/>
                </a:lnTo>
                <a:lnTo>
                  <a:pt x="3423" y="2654"/>
                </a:lnTo>
                <a:lnTo>
                  <a:pt x="3425" y="2663"/>
                </a:lnTo>
                <a:lnTo>
                  <a:pt x="3427" y="2669"/>
                </a:lnTo>
                <a:lnTo>
                  <a:pt x="3431" y="2682"/>
                </a:lnTo>
                <a:lnTo>
                  <a:pt x="3438" y="2692"/>
                </a:lnTo>
                <a:lnTo>
                  <a:pt x="3446" y="2701"/>
                </a:lnTo>
                <a:lnTo>
                  <a:pt x="3452" y="2703"/>
                </a:lnTo>
                <a:lnTo>
                  <a:pt x="3457" y="2707"/>
                </a:lnTo>
                <a:lnTo>
                  <a:pt x="3467" y="2711"/>
                </a:lnTo>
                <a:lnTo>
                  <a:pt x="3474" y="2711"/>
                </a:lnTo>
                <a:lnTo>
                  <a:pt x="3480" y="2711"/>
                </a:lnTo>
                <a:lnTo>
                  <a:pt x="3493" y="2711"/>
                </a:lnTo>
                <a:lnTo>
                  <a:pt x="3505" y="2707"/>
                </a:lnTo>
                <a:lnTo>
                  <a:pt x="3512" y="2705"/>
                </a:lnTo>
                <a:lnTo>
                  <a:pt x="3516" y="2701"/>
                </a:lnTo>
                <a:lnTo>
                  <a:pt x="3527" y="2694"/>
                </a:lnTo>
                <a:lnTo>
                  <a:pt x="3535" y="2686"/>
                </a:lnTo>
                <a:lnTo>
                  <a:pt x="3543" y="2675"/>
                </a:lnTo>
                <a:lnTo>
                  <a:pt x="3552" y="2663"/>
                </a:lnTo>
                <a:lnTo>
                  <a:pt x="3558" y="2650"/>
                </a:lnTo>
                <a:lnTo>
                  <a:pt x="3565" y="2637"/>
                </a:lnTo>
                <a:lnTo>
                  <a:pt x="3571" y="2623"/>
                </a:lnTo>
                <a:lnTo>
                  <a:pt x="3575" y="2608"/>
                </a:lnTo>
                <a:lnTo>
                  <a:pt x="3577" y="2593"/>
                </a:lnTo>
                <a:lnTo>
                  <a:pt x="3582" y="2578"/>
                </a:lnTo>
                <a:lnTo>
                  <a:pt x="3582" y="2565"/>
                </a:lnTo>
                <a:lnTo>
                  <a:pt x="3584" y="2551"/>
                </a:lnTo>
                <a:lnTo>
                  <a:pt x="3582" y="2538"/>
                </a:lnTo>
                <a:lnTo>
                  <a:pt x="3584" y="2536"/>
                </a:lnTo>
                <a:lnTo>
                  <a:pt x="3588" y="2534"/>
                </a:lnTo>
                <a:lnTo>
                  <a:pt x="3592" y="2531"/>
                </a:lnTo>
                <a:lnTo>
                  <a:pt x="3596" y="2531"/>
                </a:lnTo>
                <a:lnTo>
                  <a:pt x="3601" y="2531"/>
                </a:lnTo>
                <a:lnTo>
                  <a:pt x="3605" y="2534"/>
                </a:lnTo>
                <a:lnTo>
                  <a:pt x="3609" y="2536"/>
                </a:lnTo>
                <a:lnTo>
                  <a:pt x="3613" y="2540"/>
                </a:lnTo>
                <a:lnTo>
                  <a:pt x="3613" y="2599"/>
                </a:lnTo>
                <a:lnTo>
                  <a:pt x="3609" y="2614"/>
                </a:lnTo>
                <a:lnTo>
                  <a:pt x="3605" y="2629"/>
                </a:lnTo>
                <a:lnTo>
                  <a:pt x="3601" y="2644"/>
                </a:lnTo>
                <a:lnTo>
                  <a:pt x="3596" y="2656"/>
                </a:lnTo>
                <a:lnTo>
                  <a:pt x="3590" y="2669"/>
                </a:lnTo>
                <a:lnTo>
                  <a:pt x="3582" y="2682"/>
                </a:lnTo>
                <a:lnTo>
                  <a:pt x="3575" y="2694"/>
                </a:lnTo>
                <a:lnTo>
                  <a:pt x="3567" y="2705"/>
                </a:lnTo>
                <a:lnTo>
                  <a:pt x="3558" y="2714"/>
                </a:lnTo>
                <a:lnTo>
                  <a:pt x="3548" y="2722"/>
                </a:lnTo>
                <a:lnTo>
                  <a:pt x="3537" y="2730"/>
                </a:lnTo>
                <a:lnTo>
                  <a:pt x="3527" y="2737"/>
                </a:lnTo>
                <a:lnTo>
                  <a:pt x="3516" y="2741"/>
                </a:lnTo>
                <a:lnTo>
                  <a:pt x="3505" y="2745"/>
                </a:lnTo>
                <a:lnTo>
                  <a:pt x="3493" y="2747"/>
                </a:lnTo>
                <a:lnTo>
                  <a:pt x="3480" y="2747"/>
                </a:lnTo>
                <a:close/>
                <a:moveTo>
                  <a:pt x="3480" y="3340"/>
                </a:moveTo>
                <a:lnTo>
                  <a:pt x="3469" y="3340"/>
                </a:lnTo>
                <a:lnTo>
                  <a:pt x="3461" y="3338"/>
                </a:lnTo>
                <a:lnTo>
                  <a:pt x="3452" y="3336"/>
                </a:lnTo>
                <a:lnTo>
                  <a:pt x="3444" y="3332"/>
                </a:lnTo>
                <a:lnTo>
                  <a:pt x="3436" y="3327"/>
                </a:lnTo>
                <a:lnTo>
                  <a:pt x="3429" y="3321"/>
                </a:lnTo>
                <a:lnTo>
                  <a:pt x="3423" y="3315"/>
                </a:lnTo>
                <a:lnTo>
                  <a:pt x="3416" y="3308"/>
                </a:lnTo>
                <a:lnTo>
                  <a:pt x="3410" y="3302"/>
                </a:lnTo>
                <a:lnTo>
                  <a:pt x="3404" y="3293"/>
                </a:lnTo>
                <a:lnTo>
                  <a:pt x="3395" y="3274"/>
                </a:lnTo>
                <a:lnTo>
                  <a:pt x="3393" y="3266"/>
                </a:lnTo>
                <a:lnTo>
                  <a:pt x="3391" y="3255"/>
                </a:lnTo>
                <a:lnTo>
                  <a:pt x="3389" y="3245"/>
                </a:lnTo>
                <a:lnTo>
                  <a:pt x="3389" y="3234"/>
                </a:lnTo>
                <a:lnTo>
                  <a:pt x="3389" y="3222"/>
                </a:lnTo>
                <a:lnTo>
                  <a:pt x="3391" y="3211"/>
                </a:lnTo>
                <a:lnTo>
                  <a:pt x="3393" y="3200"/>
                </a:lnTo>
                <a:lnTo>
                  <a:pt x="3397" y="3190"/>
                </a:lnTo>
                <a:lnTo>
                  <a:pt x="3400" y="3179"/>
                </a:lnTo>
                <a:lnTo>
                  <a:pt x="3406" y="3171"/>
                </a:lnTo>
                <a:lnTo>
                  <a:pt x="3410" y="3160"/>
                </a:lnTo>
                <a:lnTo>
                  <a:pt x="3416" y="3152"/>
                </a:lnTo>
                <a:lnTo>
                  <a:pt x="3425" y="3145"/>
                </a:lnTo>
                <a:lnTo>
                  <a:pt x="3431" y="3139"/>
                </a:lnTo>
                <a:lnTo>
                  <a:pt x="3440" y="3133"/>
                </a:lnTo>
                <a:lnTo>
                  <a:pt x="3448" y="3126"/>
                </a:lnTo>
                <a:lnTo>
                  <a:pt x="3457" y="3122"/>
                </a:lnTo>
                <a:lnTo>
                  <a:pt x="3465" y="3120"/>
                </a:lnTo>
                <a:lnTo>
                  <a:pt x="3476" y="3118"/>
                </a:lnTo>
                <a:lnTo>
                  <a:pt x="3486" y="3118"/>
                </a:lnTo>
                <a:lnTo>
                  <a:pt x="3497" y="3118"/>
                </a:lnTo>
                <a:lnTo>
                  <a:pt x="3503" y="3120"/>
                </a:lnTo>
                <a:lnTo>
                  <a:pt x="3508" y="3122"/>
                </a:lnTo>
                <a:lnTo>
                  <a:pt x="3518" y="3126"/>
                </a:lnTo>
                <a:lnTo>
                  <a:pt x="3524" y="3135"/>
                </a:lnTo>
                <a:lnTo>
                  <a:pt x="3531" y="3141"/>
                </a:lnTo>
                <a:lnTo>
                  <a:pt x="3535" y="3152"/>
                </a:lnTo>
                <a:lnTo>
                  <a:pt x="3539" y="3162"/>
                </a:lnTo>
                <a:lnTo>
                  <a:pt x="3539" y="3175"/>
                </a:lnTo>
                <a:lnTo>
                  <a:pt x="3539" y="3181"/>
                </a:lnTo>
                <a:lnTo>
                  <a:pt x="3537" y="3190"/>
                </a:lnTo>
                <a:lnTo>
                  <a:pt x="3535" y="3196"/>
                </a:lnTo>
                <a:lnTo>
                  <a:pt x="3533" y="3205"/>
                </a:lnTo>
                <a:lnTo>
                  <a:pt x="3529" y="3211"/>
                </a:lnTo>
                <a:lnTo>
                  <a:pt x="3524" y="3217"/>
                </a:lnTo>
                <a:lnTo>
                  <a:pt x="3514" y="3228"/>
                </a:lnTo>
                <a:lnTo>
                  <a:pt x="3508" y="3234"/>
                </a:lnTo>
                <a:lnTo>
                  <a:pt x="3501" y="3238"/>
                </a:lnTo>
                <a:lnTo>
                  <a:pt x="3486" y="3245"/>
                </a:lnTo>
                <a:lnTo>
                  <a:pt x="3480" y="3249"/>
                </a:lnTo>
                <a:lnTo>
                  <a:pt x="3472" y="3251"/>
                </a:lnTo>
                <a:lnTo>
                  <a:pt x="3457" y="3251"/>
                </a:lnTo>
                <a:lnTo>
                  <a:pt x="3450" y="3251"/>
                </a:lnTo>
                <a:lnTo>
                  <a:pt x="3448" y="3249"/>
                </a:lnTo>
                <a:lnTo>
                  <a:pt x="3446" y="3247"/>
                </a:lnTo>
                <a:lnTo>
                  <a:pt x="3444" y="3243"/>
                </a:lnTo>
                <a:lnTo>
                  <a:pt x="3442" y="3241"/>
                </a:lnTo>
                <a:lnTo>
                  <a:pt x="3442" y="3232"/>
                </a:lnTo>
                <a:lnTo>
                  <a:pt x="3442" y="3226"/>
                </a:lnTo>
                <a:lnTo>
                  <a:pt x="3444" y="3224"/>
                </a:lnTo>
                <a:lnTo>
                  <a:pt x="3446" y="3224"/>
                </a:lnTo>
                <a:lnTo>
                  <a:pt x="3459" y="3219"/>
                </a:lnTo>
                <a:lnTo>
                  <a:pt x="3469" y="3215"/>
                </a:lnTo>
                <a:lnTo>
                  <a:pt x="3480" y="3209"/>
                </a:lnTo>
                <a:lnTo>
                  <a:pt x="3491" y="3202"/>
                </a:lnTo>
                <a:lnTo>
                  <a:pt x="3497" y="3196"/>
                </a:lnTo>
                <a:lnTo>
                  <a:pt x="3501" y="3192"/>
                </a:lnTo>
                <a:lnTo>
                  <a:pt x="3503" y="3188"/>
                </a:lnTo>
                <a:lnTo>
                  <a:pt x="3505" y="3179"/>
                </a:lnTo>
                <a:lnTo>
                  <a:pt x="3508" y="3171"/>
                </a:lnTo>
                <a:lnTo>
                  <a:pt x="3508" y="3164"/>
                </a:lnTo>
                <a:lnTo>
                  <a:pt x="3505" y="3160"/>
                </a:lnTo>
                <a:lnTo>
                  <a:pt x="3503" y="3156"/>
                </a:lnTo>
                <a:lnTo>
                  <a:pt x="3501" y="3154"/>
                </a:lnTo>
                <a:lnTo>
                  <a:pt x="3497" y="3152"/>
                </a:lnTo>
                <a:lnTo>
                  <a:pt x="3493" y="3150"/>
                </a:lnTo>
                <a:lnTo>
                  <a:pt x="3482" y="3147"/>
                </a:lnTo>
                <a:lnTo>
                  <a:pt x="3472" y="3150"/>
                </a:lnTo>
                <a:lnTo>
                  <a:pt x="3467" y="3152"/>
                </a:lnTo>
                <a:lnTo>
                  <a:pt x="3461" y="3154"/>
                </a:lnTo>
                <a:lnTo>
                  <a:pt x="3457" y="3158"/>
                </a:lnTo>
                <a:lnTo>
                  <a:pt x="3452" y="3162"/>
                </a:lnTo>
                <a:lnTo>
                  <a:pt x="3442" y="3173"/>
                </a:lnTo>
                <a:lnTo>
                  <a:pt x="3438" y="3179"/>
                </a:lnTo>
                <a:lnTo>
                  <a:pt x="3433" y="3186"/>
                </a:lnTo>
                <a:lnTo>
                  <a:pt x="3429" y="3198"/>
                </a:lnTo>
                <a:lnTo>
                  <a:pt x="3425" y="3215"/>
                </a:lnTo>
                <a:lnTo>
                  <a:pt x="3423" y="3224"/>
                </a:lnTo>
                <a:lnTo>
                  <a:pt x="3423" y="3232"/>
                </a:lnTo>
                <a:lnTo>
                  <a:pt x="3423" y="3247"/>
                </a:lnTo>
                <a:lnTo>
                  <a:pt x="3425" y="3253"/>
                </a:lnTo>
                <a:lnTo>
                  <a:pt x="3427" y="3262"/>
                </a:lnTo>
                <a:lnTo>
                  <a:pt x="3431" y="3272"/>
                </a:lnTo>
                <a:lnTo>
                  <a:pt x="3438" y="3283"/>
                </a:lnTo>
                <a:lnTo>
                  <a:pt x="3446" y="3291"/>
                </a:lnTo>
                <a:lnTo>
                  <a:pt x="3452" y="3296"/>
                </a:lnTo>
                <a:lnTo>
                  <a:pt x="3457" y="3298"/>
                </a:lnTo>
                <a:lnTo>
                  <a:pt x="3467" y="3302"/>
                </a:lnTo>
                <a:lnTo>
                  <a:pt x="3474" y="3304"/>
                </a:lnTo>
                <a:lnTo>
                  <a:pt x="3480" y="3304"/>
                </a:lnTo>
                <a:lnTo>
                  <a:pt x="3493" y="3302"/>
                </a:lnTo>
                <a:lnTo>
                  <a:pt x="3505" y="3300"/>
                </a:lnTo>
                <a:lnTo>
                  <a:pt x="3512" y="3296"/>
                </a:lnTo>
                <a:lnTo>
                  <a:pt x="3516" y="3293"/>
                </a:lnTo>
                <a:lnTo>
                  <a:pt x="3527" y="3285"/>
                </a:lnTo>
                <a:lnTo>
                  <a:pt x="3535" y="3277"/>
                </a:lnTo>
                <a:lnTo>
                  <a:pt x="3543" y="3266"/>
                </a:lnTo>
                <a:lnTo>
                  <a:pt x="3552" y="3255"/>
                </a:lnTo>
                <a:lnTo>
                  <a:pt x="3558" y="3243"/>
                </a:lnTo>
                <a:lnTo>
                  <a:pt x="3565" y="3228"/>
                </a:lnTo>
                <a:lnTo>
                  <a:pt x="3571" y="3213"/>
                </a:lnTo>
                <a:lnTo>
                  <a:pt x="3575" y="3200"/>
                </a:lnTo>
                <a:lnTo>
                  <a:pt x="3577" y="3186"/>
                </a:lnTo>
                <a:lnTo>
                  <a:pt x="3582" y="3171"/>
                </a:lnTo>
                <a:lnTo>
                  <a:pt x="3582" y="3156"/>
                </a:lnTo>
                <a:lnTo>
                  <a:pt x="3584" y="3143"/>
                </a:lnTo>
                <a:lnTo>
                  <a:pt x="3582" y="3130"/>
                </a:lnTo>
                <a:lnTo>
                  <a:pt x="3584" y="3126"/>
                </a:lnTo>
                <a:lnTo>
                  <a:pt x="3588" y="3124"/>
                </a:lnTo>
                <a:lnTo>
                  <a:pt x="3592" y="3124"/>
                </a:lnTo>
                <a:lnTo>
                  <a:pt x="3596" y="3122"/>
                </a:lnTo>
                <a:lnTo>
                  <a:pt x="3601" y="3124"/>
                </a:lnTo>
                <a:lnTo>
                  <a:pt x="3605" y="3124"/>
                </a:lnTo>
                <a:lnTo>
                  <a:pt x="3609" y="3126"/>
                </a:lnTo>
                <a:lnTo>
                  <a:pt x="3613" y="3130"/>
                </a:lnTo>
                <a:lnTo>
                  <a:pt x="3613" y="3190"/>
                </a:lnTo>
                <a:lnTo>
                  <a:pt x="3609" y="3205"/>
                </a:lnTo>
                <a:lnTo>
                  <a:pt x="3605" y="3219"/>
                </a:lnTo>
                <a:lnTo>
                  <a:pt x="3601" y="3234"/>
                </a:lnTo>
                <a:lnTo>
                  <a:pt x="3596" y="3249"/>
                </a:lnTo>
                <a:lnTo>
                  <a:pt x="3590" y="3262"/>
                </a:lnTo>
                <a:lnTo>
                  <a:pt x="3582" y="3274"/>
                </a:lnTo>
                <a:lnTo>
                  <a:pt x="3575" y="3285"/>
                </a:lnTo>
                <a:lnTo>
                  <a:pt x="3567" y="3296"/>
                </a:lnTo>
                <a:lnTo>
                  <a:pt x="3558" y="3306"/>
                </a:lnTo>
                <a:lnTo>
                  <a:pt x="3548" y="3315"/>
                </a:lnTo>
                <a:lnTo>
                  <a:pt x="3537" y="3321"/>
                </a:lnTo>
                <a:lnTo>
                  <a:pt x="3527" y="3327"/>
                </a:lnTo>
                <a:lnTo>
                  <a:pt x="3516" y="3334"/>
                </a:lnTo>
                <a:lnTo>
                  <a:pt x="3505" y="3336"/>
                </a:lnTo>
                <a:lnTo>
                  <a:pt x="3493" y="3338"/>
                </a:lnTo>
                <a:lnTo>
                  <a:pt x="3480" y="3340"/>
                </a:lnTo>
                <a:close/>
                <a:moveTo>
                  <a:pt x="3569" y="3793"/>
                </a:moveTo>
                <a:lnTo>
                  <a:pt x="3575" y="3770"/>
                </a:lnTo>
                <a:lnTo>
                  <a:pt x="3579" y="3746"/>
                </a:lnTo>
                <a:lnTo>
                  <a:pt x="3582" y="3736"/>
                </a:lnTo>
                <a:lnTo>
                  <a:pt x="3584" y="3725"/>
                </a:lnTo>
                <a:lnTo>
                  <a:pt x="3582" y="3704"/>
                </a:lnTo>
                <a:lnTo>
                  <a:pt x="3584" y="3702"/>
                </a:lnTo>
                <a:lnTo>
                  <a:pt x="3588" y="3700"/>
                </a:lnTo>
                <a:lnTo>
                  <a:pt x="3592" y="3698"/>
                </a:lnTo>
                <a:lnTo>
                  <a:pt x="3596" y="3698"/>
                </a:lnTo>
                <a:lnTo>
                  <a:pt x="3601" y="3698"/>
                </a:lnTo>
                <a:lnTo>
                  <a:pt x="3605" y="3700"/>
                </a:lnTo>
                <a:lnTo>
                  <a:pt x="3609" y="3702"/>
                </a:lnTo>
                <a:lnTo>
                  <a:pt x="3613" y="3706"/>
                </a:lnTo>
                <a:lnTo>
                  <a:pt x="3613" y="3765"/>
                </a:lnTo>
                <a:lnTo>
                  <a:pt x="3609" y="3778"/>
                </a:lnTo>
                <a:lnTo>
                  <a:pt x="3607" y="3793"/>
                </a:lnTo>
                <a:lnTo>
                  <a:pt x="3569" y="3793"/>
                </a:lnTo>
                <a:close/>
                <a:moveTo>
                  <a:pt x="3389" y="3793"/>
                </a:moveTo>
                <a:lnTo>
                  <a:pt x="3393" y="3772"/>
                </a:lnTo>
                <a:lnTo>
                  <a:pt x="3397" y="3763"/>
                </a:lnTo>
                <a:lnTo>
                  <a:pt x="3402" y="3753"/>
                </a:lnTo>
                <a:lnTo>
                  <a:pt x="3406" y="3744"/>
                </a:lnTo>
                <a:lnTo>
                  <a:pt x="3410" y="3736"/>
                </a:lnTo>
                <a:lnTo>
                  <a:pt x="3416" y="3730"/>
                </a:lnTo>
                <a:lnTo>
                  <a:pt x="3421" y="3721"/>
                </a:lnTo>
                <a:lnTo>
                  <a:pt x="3429" y="3715"/>
                </a:lnTo>
                <a:lnTo>
                  <a:pt x="3436" y="3708"/>
                </a:lnTo>
                <a:lnTo>
                  <a:pt x="3442" y="3704"/>
                </a:lnTo>
                <a:lnTo>
                  <a:pt x="3450" y="3700"/>
                </a:lnTo>
                <a:lnTo>
                  <a:pt x="3459" y="3696"/>
                </a:lnTo>
                <a:lnTo>
                  <a:pt x="3467" y="3694"/>
                </a:lnTo>
                <a:lnTo>
                  <a:pt x="3476" y="3691"/>
                </a:lnTo>
                <a:lnTo>
                  <a:pt x="3486" y="3691"/>
                </a:lnTo>
                <a:lnTo>
                  <a:pt x="3497" y="3694"/>
                </a:lnTo>
                <a:lnTo>
                  <a:pt x="3503" y="3694"/>
                </a:lnTo>
                <a:lnTo>
                  <a:pt x="3508" y="3696"/>
                </a:lnTo>
                <a:lnTo>
                  <a:pt x="3518" y="3702"/>
                </a:lnTo>
                <a:lnTo>
                  <a:pt x="3524" y="3708"/>
                </a:lnTo>
                <a:lnTo>
                  <a:pt x="3531" y="3717"/>
                </a:lnTo>
                <a:lnTo>
                  <a:pt x="3535" y="3725"/>
                </a:lnTo>
                <a:lnTo>
                  <a:pt x="3539" y="3738"/>
                </a:lnTo>
                <a:lnTo>
                  <a:pt x="3539" y="3749"/>
                </a:lnTo>
                <a:lnTo>
                  <a:pt x="3537" y="3761"/>
                </a:lnTo>
                <a:lnTo>
                  <a:pt x="3535" y="3772"/>
                </a:lnTo>
                <a:lnTo>
                  <a:pt x="3529" y="3782"/>
                </a:lnTo>
                <a:lnTo>
                  <a:pt x="3522" y="3793"/>
                </a:lnTo>
                <a:lnTo>
                  <a:pt x="3463" y="3793"/>
                </a:lnTo>
                <a:lnTo>
                  <a:pt x="3474" y="3789"/>
                </a:lnTo>
                <a:lnTo>
                  <a:pt x="3482" y="3785"/>
                </a:lnTo>
                <a:lnTo>
                  <a:pt x="3488" y="3778"/>
                </a:lnTo>
                <a:lnTo>
                  <a:pt x="3495" y="3772"/>
                </a:lnTo>
                <a:lnTo>
                  <a:pt x="3501" y="3765"/>
                </a:lnTo>
                <a:lnTo>
                  <a:pt x="3503" y="3759"/>
                </a:lnTo>
                <a:lnTo>
                  <a:pt x="3508" y="3751"/>
                </a:lnTo>
                <a:lnTo>
                  <a:pt x="3508" y="3744"/>
                </a:lnTo>
                <a:lnTo>
                  <a:pt x="3508" y="3740"/>
                </a:lnTo>
                <a:lnTo>
                  <a:pt x="3505" y="3734"/>
                </a:lnTo>
                <a:lnTo>
                  <a:pt x="3503" y="3732"/>
                </a:lnTo>
                <a:lnTo>
                  <a:pt x="3501" y="3727"/>
                </a:lnTo>
                <a:lnTo>
                  <a:pt x="3497" y="3725"/>
                </a:lnTo>
                <a:lnTo>
                  <a:pt x="3493" y="3723"/>
                </a:lnTo>
                <a:lnTo>
                  <a:pt x="3482" y="3721"/>
                </a:lnTo>
                <a:lnTo>
                  <a:pt x="3474" y="3723"/>
                </a:lnTo>
                <a:lnTo>
                  <a:pt x="3469" y="3725"/>
                </a:lnTo>
                <a:lnTo>
                  <a:pt x="3463" y="3727"/>
                </a:lnTo>
                <a:lnTo>
                  <a:pt x="3455" y="3734"/>
                </a:lnTo>
                <a:lnTo>
                  <a:pt x="3446" y="3742"/>
                </a:lnTo>
                <a:lnTo>
                  <a:pt x="3438" y="3753"/>
                </a:lnTo>
                <a:lnTo>
                  <a:pt x="3436" y="3759"/>
                </a:lnTo>
                <a:lnTo>
                  <a:pt x="3431" y="3765"/>
                </a:lnTo>
                <a:lnTo>
                  <a:pt x="3429" y="3772"/>
                </a:lnTo>
                <a:lnTo>
                  <a:pt x="3427" y="3778"/>
                </a:lnTo>
                <a:lnTo>
                  <a:pt x="3423" y="3793"/>
                </a:lnTo>
                <a:lnTo>
                  <a:pt x="3389" y="3793"/>
                </a:lnTo>
                <a:close/>
                <a:moveTo>
                  <a:pt x="1835" y="2451"/>
                </a:moveTo>
                <a:lnTo>
                  <a:pt x="1825" y="2451"/>
                </a:lnTo>
                <a:lnTo>
                  <a:pt x="1816" y="2449"/>
                </a:lnTo>
                <a:lnTo>
                  <a:pt x="1808" y="2447"/>
                </a:lnTo>
                <a:lnTo>
                  <a:pt x="1799" y="2445"/>
                </a:lnTo>
                <a:lnTo>
                  <a:pt x="1791" y="2440"/>
                </a:lnTo>
                <a:lnTo>
                  <a:pt x="1784" y="2434"/>
                </a:lnTo>
                <a:lnTo>
                  <a:pt x="1778" y="2428"/>
                </a:lnTo>
                <a:lnTo>
                  <a:pt x="1772" y="2421"/>
                </a:lnTo>
                <a:lnTo>
                  <a:pt x="1765" y="2413"/>
                </a:lnTo>
                <a:lnTo>
                  <a:pt x="1759" y="2407"/>
                </a:lnTo>
                <a:lnTo>
                  <a:pt x="1751" y="2388"/>
                </a:lnTo>
                <a:lnTo>
                  <a:pt x="1748" y="2377"/>
                </a:lnTo>
                <a:lnTo>
                  <a:pt x="1746" y="2369"/>
                </a:lnTo>
                <a:lnTo>
                  <a:pt x="1744" y="2358"/>
                </a:lnTo>
                <a:lnTo>
                  <a:pt x="1744" y="2345"/>
                </a:lnTo>
                <a:lnTo>
                  <a:pt x="1744" y="2335"/>
                </a:lnTo>
                <a:lnTo>
                  <a:pt x="1746" y="2324"/>
                </a:lnTo>
                <a:lnTo>
                  <a:pt x="1748" y="2313"/>
                </a:lnTo>
                <a:lnTo>
                  <a:pt x="1753" y="2303"/>
                </a:lnTo>
                <a:lnTo>
                  <a:pt x="1755" y="2292"/>
                </a:lnTo>
                <a:lnTo>
                  <a:pt x="1761" y="2282"/>
                </a:lnTo>
                <a:lnTo>
                  <a:pt x="1765" y="2273"/>
                </a:lnTo>
                <a:lnTo>
                  <a:pt x="1772" y="2265"/>
                </a:lnTo>
                <a:lnTo>
                  <a:pt x="1778" y="2258"/>
                </a:lnTo>
                <a:lnTo>
                  <a:pt x="1787" y="2250"/>
                </a:lnTo>
                <a:lnTo>
                  <a:pt x="1795" y="2244"/>
                </a:lnTo>
                <a:lnTo>
                  <a:pt x="1804" y="2239"/>
                </a:lnTo>
                <a:lnTo>
                  <a:pt x="1812" y="2235"/>
                </a:lnTo>
                <a:lnTo>
                  <a:pt x="1820" y="2233"/>
                </a:lnTo>
                <a:lnTo>
                  <a:pt x="1831" y="2231"/>
                </a:lnTo>
                <a:lnTo>
                  <a:pt x="1842" y="2229"/>
                </a:lnTo>
                <a:lnTo>
                  <a:pt x="1852" y="2231"/>
                </a:lnTo>
                <a:lnTo>
                  <a:pt x="1859" y="2233"/>
                </a:lnTo>
                <a:lnTo>
                  <a:pt x="1863" y="2235"/>
                </a:lnTo>
                <a:lnTo>
                  <a:pt x="1873" y="2239"/>
                </a:lnTo>
                <a:lnTo>
                  <a:pt x="1880" y="2246"/>
                </a:lnTo>
                <a:lnTo>
                  <a:pt x="1886" y="2254"/>
                </a:lnTo>
                <a:lnTo>
                  <a:pt x="1890" y="2265"/>
                </a:lnTo>
                <a:lnTo>
                  <a:pt x="1892" y="2275"/>
                </a:lnTo>
                <a:lnTo>
                  <a:pt x="1895" y="2286"/>
                </a:lnTo>
                <a:lnTo>
                  <a:pt x="1895" y="2294"/>
                </a:lnTo>
                <a:lnTo>
                  <a:pt x="1892" y="2303"/>
                </a:lnTo>
                <a:lnTo>
                  <a:pt x="1890" y="2309"/>
                </a:lnTo>
                <a:lnTo>
                  <a:pt x="1888" y="2316"/>
                </a:lnTo>
                <a:lnTo>
                  <a:pt x="1884" y="2322"/>
                </a:lnTo>
                <a:lnTo>
                  <a:pt x="1880" y="2328"/>
                </a:lnTo>
                <a:lnTo>
                  <a:pt x="1869" y="2341"/>
                </a:lnTo>
                <a:lnTo>
                  <a:pt x="1863" y="2345"/>
                </a:lnTo>
                <a:lnTo>
                  <a:pt x="1856" y="2352"/>
                </a:lnTo>
                <a:lnTo>
                  <a:pt x="1842" y="2358"/>
                </a:lnTo>
                <a:lnTo>
                  <a:pt x="1835" y="2360"/>
                </a:lnTo>
                <a:lnTo>
                  <a:pt x="1827" y="2362"/>
                </a:lnTo>
                <a:lnTo>
                  <a:pt x="1812" y="2364"/>
                </a:lnTo>
                <a:lnTo>
                  <a:pt x="1806" y="2362"/>
                </a:lnTo>
                <a:lnTo>
                  <a:pt x="1804" y="2362"/>
                </a:lnTo>
                <a:lnTo>
                  <a:pt x="1801" y="2358"/>
                </a:lnTo>
                <a:lnTo>
                  <a:pt x="1799" y="2356"/>
                </a:lnTo>
                <a:lnTo>
                  <a:pt x="1797" y="2354"/>
                </a:lnTo>
                <a:lnTo>
                  <a:pt x="1797" y="2345"/>
                </a:lnTo>
                <a:lnTo>
                  <a:pt x="1797" y="2339"/>
                </a:lnTo>
                <a:lnTo>
                  <a:pt x="1799" y="2337"/>
                </a:lnTo>
                <a:lnTo>
                  <a:pt x="1801" y="2335"/>
                </a:lnTo>
                <a:lnTo>
                  <a:pt x="1814" y="2333"/>
                </a:lnTo>
                <a:lnTo>
                  <a:pt x="1825" y="2328"/>
                </a:lnTo>
                <a:lnTo>
                  <a:pt x="1835" y="2322"/>
                </a:lnTo>
                <a:lnTo>
                  <a:pt x="1846" y="2316"/>
                </a:lnTo>
                <a:lnTo>
                  <a:pt x="1852" y="2307"/>
                </a:lnTo>
                <a:lnTo>
                  <a:pt x="1856" y="2303"/>
                </a:lnTo>
                <a:lnTo>
                  <a:pt x="1859" y="2299"/>
                </a:lnTo>
                <a:lnTo>
                  <a:pt x="1861" y="2290"/>
                </a:lnTo>
                <a:lnTo>
                  <a:pt x="1863" y="2282"/>
                </a:lnTo>
                <a:lnTo>
                  <a:pt x="1863" y="2277"/>
                </a:lnTo>
                <a:lnTo>
                  <a:pt x="1861" y="2273"/>
                </a:lnTo>
                <a:lnTo>
                  <a:pt x="1859" y="2269"/>
                </a:lnTo>
                <a:lnTo>
                  <a:pt x="1856" y="2265"/>
                </a:lnTo>
                <a:lnTo>
                  <a:pt x="1852" y="2263"/>
                </a:lnTo>
                <a:lnTo>
                  <a:pt x="1848" y="2261"/>
                </a:lnTo>
                <a:lnTo>
                  <a:pt x="1837" y="2261"/>
                </a:lnTo>
                <a:lnTo>
                  <a:pt x="1827" y="2261"/>
                </a:lnTo>
                <a:lnTo>
                  <a:pt x="1823" y="2263"/>
                </a:lnTo>
                <a:lnTo>
                  <a:pt x="1816" y="2267"/>
                </a:lnTo>
                <a:lnTo>
                  <a:pt x="1812" y="2271"/>
                </a:lnTo>
                <a:lnTo>
                  <a:pt x="1808" y="2275"/>
                </a:lnTo>
                <a:lnTo>
                  <a:pt x="1797" y="2284"/>
                </a:lnTo>
                <a:lnTo>
                  <a:pt x="1793" y="2290"/>
                </a:lnTo>
                <a:lnTo>
                  <a:pt x="1789" y="2297"/>
                </a:lnTo>
                <a:lnTo>
                  <a:pt x="1782" y="2311"/>
                </a:lnTo>
                <a:lnTo>
                  <a:pt x="1780" y="2328"/>
                </a:lnTo>
                <a:lnTo>
                  <a:pt x="1778" y="2337"/>
                </a:lnTo>
                <a:lnTo>
                  <a:pt x="1778" y="2345"/>
                </a:lnTo>
                <a:lnTo>
                  <a:pt x="1778" y="2360"/>
                </a:lnTo>
                <a:lnTo>
                  <a:pt x="1780" y="2366"/>
                </a:lnTo>
                <a:lnTo>
                  <a:pt x="1782" y="2373"/>
                </a:lnTo>
                <a:lnTo>
                  <a:pt x="1787" y="2385"/>
                </a:lnTo>
                <a:lnTo>
                  <a:pt x="1793" y="2396"/>
                </a:lnTo>
                <a:lnTo>
                  <a:pt x="1801" y="2404"/>
                </a:lnTo>
                <a:lnTo>
                  <a:pt x="1808" y="2409"/>
                </a:lnTo>
                <a:lnTo>
                  <a:pt x="1812" y="2411"/>
                </a:lnTo>
                <a:lnTo>
                  <a:pt x="1823" y="2415"/>
                </a:lnTo>
                <a:lnTo>
                  <a:pt x="1829" y="2415"/>
                </a:lnTo>
                <a:lnTo>
                  <a:pt x="1835" y="2417"/>
                </a:lnTo>
                <a:lnTo>
                  <a:pt x="1848" y="2415"/>
                </a:lnTo>
                <a:lnTo>
                  <a:pt x="1861" y="2411"/>
                </a:lnTo>
                <a:lnTo>
                  <a:pt x="1865" y="2409"/>
                </a:lnTo>
                <a:lnTo>
                  <a:pt x="1871" y="2407"/>
                </a:lnTo>
                <a:lnTo>
                  <a:pt x="1882" y="2398"/>
                </a:lnTo>
                <a:lnTo>
                  <a:pt x="1890" y="2390"/>
                </a:lnTo>
                <a:lnTo>
                  <a:pt x="1899" y="2379"/>
                </a:lnTo>
                <a:lnTo>
                  <a:pt x="1907" y="2366"/>
                </a:lnTo>
                <a:lnTo>
                  <a:pt x="1914" y="2354"/>
                </a:lnTo>
                <a:lnTo>
                  <a:pt x="1920" y="2341"/>
                </a:lnTo>
                <a:lnTo>
                  <a:pt x="1926" y="2326"/>
                </a:lnTo>
                <a:lnTo>
                  <a:pt x="1931" y="2311"/>
                </a:lnTo>
                <a:lnTo>
                  <a:pt x="1933" y="2297"/>
                </a:lnTo>
                <a:lnTo>
                  <a:pt x="1937" y="2284"/>
                </a:lnTo>
                <a:lnTo>
                  <a:pt x="1937" y="2269"/>
                </a:lnTo>
                <a:lnTo>
                  <a:pt x="1939" y="2256"/>
                </a:lnTo>
                <a:lnTo>
                  <a:pt x="1937" y="2242"/>
                </a:lnTo>
                <a:lnTo>
                  <a:pt x="1939" y="2239"/>
                </a:lnTo>
                <a:lnTo>
                  <a:pt x="1943" y="2237"/>
                </a:lnTo>
                <a:lnTo>
                  <a:pt x="1945" y="2235"/>
                </a:lnTo>
                <a:lnTo>
                  <a:pt x="1952" y="2235"/>
                </a:lnTo>
                <a:lnTo>
                  <a:pt x="1960" y="2237"/>
                </a:lnTo>
                <a:lnTo>
                  <a:pt x="1962" y="2237"/>
                </a:lnTo>
                <a:lnTo>
                  <a:pt x="1966" y="2242"/>
                </a:lnTo>
                <a:lnTo>
                  <a:pt x="1971" y="2248"/>
                </a:lnTo>
                <a:lnTo>
                  <a:pt x="1971" y="2254"/>
                </a:lnTo>
                <a:lnTo>
                  <a:pt x="1971" y="2261"/>
                </a:lnTo>
                <a:lnTo>
                  <a:pt x="1971" y="2280"/>
                </a:lnTo>
                <a:lnTo>
                  <a:pt x="1969" y="2299"/>
                </a:lnTo>
                <a:lnTo>
                  <a:pt x="1964" y="2316"/>
                </a:lnTo>
                <a:lnTo>
                  <a:pt x="1960" y="2333"/>
                </a:lnTo>
                <a:lnTo>
                  <a:pt x="1956" y="2349"/>
                </a:lnTo>
                <a:lnTo>
                  <a:pt x="1950" y="2366"/>
                </a:lnTo>
                <a:lnTo>
                  <a:pt x="1941" y="2381"/>
                </a:lnTo>
                <a:lnTo>
                  <a:pt x="1933" y="2394"/>
                </a:lnTo>
                <a:lnTo>
                  <a:pt x="1922" y="2407"/>
                </a:lnTo>
                <a:lnTo>
                  <a:pt x="1918" y="2413"/>
                </a:lnTo>
                <a:lnTo>
                  <a:pt x="1914" y="2417"/>
                </a:lnTo>
                <a:lnTo>
                  <a:pt x="1901" y="2428"/>
                </a:lnTo>
                <a:lnTo>
                  <a:pt x="1890" y="2436"/>
                </a:lnTo>
                <a:lnTo>
                  <a:pt x="1878" y="2443"/>
                </a:lnTo>
                <a:lnTo>
                  <a:pt x="1863" y="2449"/>
                </a:lnTo>
                <a:lnTo>
                  <a:pt x="1850" y="2451"/>
                </a:lnTo>
                <a:lnTo>
                  <a:pt x="1835" y="2451"/>
                </a:lnTo>
                <a:close/>
                <a:moveTo>
                  <a:pt x="2066" y="2449"/>
                </a:moveTo>
                <a:lnTo>
                  <a:pt x="2060" y="2447"/>
                </a:lnTo>
                <a:lnTo>
                  <a:pt x="2051" y="2440"/>
                </a:lnTo>
                <a:lnTo>
                  <a:pt x="2034" y="2426"/>
                </a:lnTo>
                <a:lnTo>
                  <a:pt x="2015" y="2407"/>
                </a:lnTo>
                <a:lnTo>
                  <a:pt x="1996" y="2385"/>
                </a:lnTo>
                <a:lnTo>
                  <a:pt x="1990" y="2377"/>
                </a:lnTo>
                <a:lnTo>
                  <a:pt x="1986" y="2371"/>
                </a:lnTo>
                <a:lnTo>
                  <a:pt x="1979" y="2358"/>
                </a:lnTo>
                <a:lnTo>
                  <a:pt x="1977" y="2352"/>
                </a:lnTo>
                <a:lnTo>
                  <a:pt x="1977" y="2345"/>
                </a:lnTo>
                <a:lnTo>
                  <a:pt x="1979" y="2339"/>
                </a:lnTo>
                <a:lnTo>
                  <a:pt x="1981" y="2333"/>
                </a:lnTo>
                <a:lnTo>
                  <a:pt x="1983" y="2324"/>
                </a:lnTo>
                <a:lnTo>
                  <a:pt x="1990" y="2316"/>
                </a:lnTo>
                <a:lnTo>
                  <a:pt x="2000" y="2301"/>
                </a:lnTo>
                <a:lnTo>
                  <a:pt x="2019" y="2282"/>
                </a:lnTo>
                <a:lnTo>
                  <a:pt x="2062" y="2233"/>
                </a:lnTo>
                <a:lnTo>
                  <a:pt x="2066" y="2233"/>
                </a:lnTo>
                <a:lnTo>
                  <a:pt x="2072" y="2235"/>
                </a:lnTo>
                <a:lnTo>
                  <a:pt x="2079" y="2239"/>
                </a:lnTo>
                <a:lnTo>
                  <a:pt x="2083" y="2246"/>
                </a:lnTo>
                <a:lnTo>
                  <a:pt x="2083" y="2252"/>
                </a:lnTo>
                <a:lnTo>
                  <a:pt x="2081" y="2258"/>
                </a:lnTo>
                <a:lnTo>
                  <a:pt x="2081" y="2261"/>
                </a:lnTo>
                <a:lnTo>
                  <a:pt x="2079" y="2265"/>
                </a:lnTo>
                <a:lnTo>
                  <a:pt x="2049" y="2299"/>
                </a:lnTo>
                <a:lnTo>
                  <a:pt x="2030" y="2320"/>
                </a:lnTo>
                <a:lnTo>
                  <a:pt x="2017" y="2335"/>
                </a:lnTo>
                <a:lnTo>
                  <a:pt x="2015" y="2339"/>
                </a:lnTo>
                <a:lnTo>
                  <a:pt x="2013" y="2343"/>
                </a:lnTo>
                <a:lnTo>
                  <a:pt x="2015" y="2349"/>
                </a:lnTo>
                <a:lnTo>
                  <a:pt x="2017" y="2356"/>
                </a:lnTo>
                <a:lnTo>
                  <a:pt x="2028" y="2366"/>
                </a:lnTo>
                <a:lnTo>
                  <a:pt x="2045" y="2385"/>
                </a:lnTo>
                <a:lnTo>
                  <a:pt x="2064" y="2404"/>
                </a:lnTo>
                <a:lnTo>
                  <a:pt x="2083" y="2424"/>
                </a:lnTo>
                <a:lnTo>
                  <a:pt x="2085" y="2426"/>
                </a:lnTo>
                <a:lnTo>
                  <a:pt x="2087" y="2428"/>
                </a:lnTo>
                <a:lnTo>
                  <a:pt x="2085" y="2432"/>
                </a:lnTo>
                <a:lnTo>
                  <a:pt x="2085" y="2434"/>
                </a:lnTo>
                <a:lnTo>
                  <a:pt x="2079" y="2443"/>
                </a:lnTo>
                <a:lnTo>
                  <a:pt x="2072" y="2447"/>
                </a:lnTo>
                <a:lnTo>
                  <a:pt x="2068" y="2449"/>
                </a:lnTo>
                <a:lnTo>
                  <a:pt x="2066" y="2449"/>
                </a:lnTo>
                <a:close/>
                <a:moveTo>
                  <a:pt x="1835" y="3044"/>
                </a:moveTo>
                <a:lnTo>
                  <a:pt x="1825" y="3044"/>
                </a:lnTo>
                <a:lnTo>
                  <a:pt x="1816" y="3042"/>
                </a:lnTo>
                <a:lnTo>
                  <a:pt x="1808" y="3039"/>
                </a:lnTo>
                <a:lnTo>
                  <a:pt x="1799" y="3035"/>
                </a:lnTo>
                <a:lnTo>
                  <a:pt x="1791" y="3031"/>
                </a:lnTo>
                <a:lnTo>
                  <a:pt x="1784" y="3027"/>
                </a:lnTo>
                <a:lnTo>
                  <a:pt x="1778" y="3020"/>
                </a:lnTo>
                <a:lnTo>
                  <a:pt x="1772" y="3012"/>
                </a:lnTo>
                <a:lnTo>
                  <a:pt x="1765" y="3006"/>
                </a:lnTo>
                <a:lnTo>
                  <a:pt x="1759" y="2997"/>
                </a:lnTo>
                <a:lnTo>
                  <a:pt x="1751" y="2980"/>
                </a:lnTo>
                <a:lnTo>
                  <a:pt x="1748" y="2970"/>
                </a:lnTo>
                <a:lnTo>
                  <a:pt x="1746" y="2959"/>
                </a:lnTo>
                <a:lnTo>
                  <a:pt x="1744" y="2948"/>
                </a:lnTo>
                <a:lnTo>
                  <a:pt x="1744" y="2938"/>
                </a:lnTo>
                <a:lnTo>
                  <a:pt x="1744" y="2927"/>
                </a:lnTo>
                <a:lnTo>
                  <a:pt x="1746" y="2915"/>
                </a:lnTo>
                <a:lnTo>
                  <a:pt x="1748" y="2904"/>
                </a:lnTo>
                <a:lnTo>
                  <a:pt x="1753" y="2893"/>
                </a:lnTo>
                <a:lnTo>
                  <a:pt x="1755" y="2883"/>
                </a:lnTo>
                <a:lnTo>
                  <a:pt x="1761" y="2874"/>
                </a:lnTo>
                <a:lnTo>
                  <a:pt x="1765" y="2866"/>
                </a:lnTo>
                <a:lnTo>
                  <a:pt x="1772" y="2857"/>
                </a:lnTo>
                <a:lnTo>
                  <a:pt x="1778" y="2849"/>
                </a:lnTo>
                <a:lnTo>
                  <a:pt x="1787" y="2843"/>
                </a:lnTo>
                <a:lnTo>
                  <a:pt x="1795" y="2836"/>
                </a:lnTo>
                <a:lnTo>
                  <a:pt x="1804" y="2832"/>
                </a:lnTo>
                <a:lnTo>
                  <a:pt x="1812" y="2828"/>
                </a:lnTo>
                <a:lnTo>
                  <a:pt x="1820" y="2824"/>
                </a:lnTo>
                <a:lnTo>
                  <a:pt x="1831" y="2821"/>
                </a:lnTo>
                <a:lnTo>
                  <a:pt x="1842" y="2821"/>
                </a:lnTo>
                <a:lnTo>
                  <a:pt x="1852" y="2824"/>
                </a:lnTo>
                <a:lnTo>
                  <a:pt x="1859" y="2824"/>
                </a:lnTo>
                <a:lnTo>
                  <a:pt x="1863" y="2826"/>
                </a:lnTo>
                <a:lnTo>
                  <a:pt x="1873" y="2830"/>
                </a:lnTo>
                <a:lnTo>
                  <a:pt x="1880" y="2838"/>
                </a:lnTo>
                <a:lnTo>
                  <a:pt x="1886" y="2847"/>
                </a:lnTo>
                <a:lnTo>
                  <a:pt x="1890" y="2855"/>
                </a:lnTo>
                <a:lnTo>
                  <a:pt x="1892" y="2866"/>
                </a:lnTo>
                <a:lnTo>
                  <a:pt x="1895" y="2879"/>
                </a:lnTo>
                <a:lnTo>
                  <a:pt x="1895" y="2887"/>
                </a:lnTo>
                <a:lnTo>
                  <a:pt x="1892" y="2893"/>
                </a:lnTo>
                <a:lnTo>
                  <a:pt x="1890" y="2900"/>
                </a:lnTo>
                <a:lnTo>
                  <a:pt x="1888" y="2908"/>
                </a:lnTo>
                <a:lnTo>
                  <a:pt x="1884" y="2915"/>
                </a:lnTo>
                <a:lnTo>
                  <a:pt x="1880" y="2921"/>
                </a:lnTo>
                <a:lnTo>
                  <a:pt x="1869" y="2932"/>
                </a:lnTo>
                <a:lnTo>
                  <a:pt x="1863" y="2938"/>
                </a:lnTo>
                <a:lnTo>
                  <a:pt x="1856" y="2942"/>
                </a:lnTo>
                <a:lnTo>
                  <a:pt x="1842" y="2951"/>
                </a:lnTo>
                <a:lnTo>
                  <a:pt x="1835" y="2953"/>
                </a:lnTo>
                <a:lnTo>
                  <a:pt x="1827" y="2955"/>
                </a:lnTo>
                <a:lnTo>
                  <a:pt x="1812" y="2957"/>
                </a:lnTo>
                <a:lnTo>
                  <a:pt x="1806" y="2955"/>
                </a:lnTo>
                <a:lnTo>
                  <a:pt x="1804" y="2953"/>
                </a:lnTo>
                <a:lnTo>
                  <a:pt x="1801" y="2951"/>
                </a:lnTo>
                <a:lnTo>
                  <a:pt x="1799" y="2948"/>
                </a:lnTo>
                <a:lnTo>
                  <a:pt x="1797" y="2944"/>
                </a:lnTo>
                <a:lnTo>
                  <a:pt x="1797" y="2938"/>
                </a:lnTo>
                <a:lnTo>
                  <a:pt x="1797" y="2932"/>
                </a:lnTo>
                <a:lnTo>
                  <a:pt x="1799" y="2929"/>
                </a:lnTo>
                <a:lnTo>
                  <a:pt x="1801" y="2927"/>
                </a:lnTo>
                <a:lnTo>
                  <a:pt x="1814" y="2923"/>
                </a:lnTo>
                <a:lnTo>
                  <a:pt x="1825" y="2919"/>
                </a:lnTo>
                <a:lnTo>
                  <a:pt x="1835" y="2915"/>
                </a:lnTo>
                <a:lnTo>
                  <a:pt x="1846" y="2906"/>
                </a:lnTo>
                <a:lnTo>
                  <a:pt x="1852" y="2900"/>
                </a:lnTo>
                <a:lnTo>
                  <a:pt x="1856" y="2896"/>
                </a:lnTo>
                <a:lnTo>
                  <a:pt x="1859" y="2891"/>
                </a:lnTo>
                <a:lnTo>
                  <a:pt x="1861" y="2883"/>
                </a:lnTo>
                <a:lnTo>
                  <a:pt x="1863" y="2874"/>
                </a:lnTo>
                <a:lnTo>
                  <a:pt x="1863" y="2868"/>
                </a:lnTo>
                <a:lnTo>
                  <a:pt x="1861" y="2864"/>
                </a:lnTo>
                <a:lnTo>
                  <a:pt x="1859" y="2862"/>
                </a:lnTo>
                <a:lnTo>
                  <a:pt x="1856" y="2857"/>
                </a:lnTo>
                <a:lnTo>
                  <a:pt x="1852" y="2855"/>
                </a:lnTo>
                <a:lnTo>
                  <a:pt x="1848" y="2853"/>
                </a:lnTo>
                <a:lnTo>
                  <a:pt x="1837" y="2851"/>
                </a:lnTo>
                <a:lnTo>
                  <a:pt x="1827" y="2853"/>
                </a:lnTo>
                <a:lnTo>
                  <a:pt x="1823" y="2855"/>
                </a:lnTo>
                <a:lnTo>
                  <a:pt x="1816" y="2857"/>
                </a:lnTo>
                <a:lnTo>
                  <a:pt x="1812" y="2862"/>
                </a:lnTo>
                <a:lnTo>
                  <a:pt x="1808" y="2866"/>
                </a:lnTo>
                <a:lnTo>
                  <a:pt x="1797" y="2876"/>
                </a:lnTo>
                <a:lnTo>
                  <a:pt x="1793" y="2883"/>
                </a:lnTo>
                <a:lnTo>
                  <a:pt x="1789" y="2889"/>
                </a:lnTo>
                <a:lnTo>
                  <a:pt x="1782" y="2904"/>
                </a:lnTo>
                <a:lnTo>
                  <a:pt x="1780" y="2919"/>
                </a:lnTo>
                <a:lnTo>
                  <a:pt x="1778" y="2927"/>
                </a:lnTo>
                <a:lnTo>
                  <a:pt x="1778" y="2936"/>
                </a:lnTo>
                <a:lnTo>
                  <a:pt x="1778" y="2951"/>
                </a:lnTo>
                <a:lnTo>
                  <a:pt x="1780" y="2959"/>
                </a:lnTo>
                <a:lnTo>
                  <a:pt x="1782" y="2965"/>
                </a:lnTo>
                <a:lnTo>
                  <a:pt x="1787" y="2978"/>
                </a:lnTo>
                <a:lnTo>
                  <a:pt x="1793" y="2989"/>
                </a:lnTo>
                <a:lnTo>
                  <a:pt x="1801" y="2997"/>
                </a:lnTo>
                <a:lnTo>
                  <a:pt x="1808" y="2999"/>
                </a:lnTo>
                <a:lnTo>
                  <a:pt x="1812" y="3003"/>
                </a:lnTo>
                <a:lnTo>
                  <a:pt x="1823" y="3006"/>
                </a:lnTo>
                <a:lnTo>
                  <a:pt x="1829" y="3008"/>
                </a:lnTo>
                <a:lnTo>
                  <a:pt x="1835" y="3008"/>
                </a:lnTo>
                <a:lnTo>
                  <a:pt x="1848" y="3008"/>
                </a:lnTo>
                <a:lnTo>
                  <a:pt x="1861" y="3003"/>
                </a:lnTo>
                <a:lnTo>
                  <a:pt x="1865" y="3001"/>
                </a:lnTo>
                <a:lnTo>
                  <a:pt x="1871" y="2997"/>
                </a:lnTo>
                <a:lnTo>
                  <a:pt x="1882" y="2991"/>
                </a:lnTo>
                <a:lnTo>
                  <a:pt x="1890" y="2980"/>
                </a:lnTo>
                <a:lnTo>
                  <a:pt x="1899" y="2970"/>
                </a:lnTo>
                <a:lnTo>
                  <a:pt x="1907" y="2959"/>
                </a:lnTo>
                <a:lnTo>
                  <a:pt x="1914" y="2946"/>
                </a:lnTo>
                <a:lnTo>
                  <a:pt x="1920" y="2932"/>
                </a:lnTo>
                <a:lnTo>
                  <a:pt x="1926" y="2919"/>
                </a:lnTo>
                <a:lnTo>
                  <a:pt x="1931" y="2904"/>
                </a:lnTo>
                <a:lnTo>
                  <a:pt x="1933" y="2889"/>
                </a:lnTo>
                <a:lnTo>
                  <a:pt x="1937" y="2874"/>
                </a:lnTo>
                <a:lnTo>
                  <a:pt x="1937" y="2860"/>
                </a:lnTo>
                <a:lnTo>
                  <a:pt x="1939" y="2847"/>
                </a:lnTo>
                <a:lnTo>
                  <a:pt x="1937" y="2834"/>
                </a:lnTo>
                <a:lnTo>
                  <a:pt x="1939" y="2832"/>
                </a:lnTo>
                <a:lnTo>
                  <a:pt x="1943" y="2830"/>
                </a:lnTo>
                <a:lnTo>
                  <a:pt x="1945" y="2828"/>
                </a:lnTo>
                <a:lnTo>
                  <a:pt x="1952" y="2828"/>
                </a:lnTo>
                <a:lnTo>
                  <a:pt x="1960" y="2828"/>
                </a:lnTo>
                <a:lnTo>
                  <a:pt x="1962" y="2830"/>
                </a:lnTo>
                <a:lnTo>
                  <a:pt x="1966" y="2832"/>
                </a:lnTo>
                <a:lnTo>
                  <a:pt x="1971" y="2841"/>
                </a:lnTo>
                <a:lnTo>
                  <a:pt x="1971" y="2847"/>
                </a:lnTo>
                <a:lnTo>
                  <a:pt x="1971" y="2853"/>
                </a:lnTo>
                <a:lnTo>
                  <a:pt x="1971" y="2872"/>
                </a:lnTo>
                <a:lnTo>
                  <a:pt x="1969" y="2889"/>
                </a:lnTo>
                <a:lnTo>
                  <a:pt x="1964" y="2908"/>
                </a:lnTo>
                <a:lnTo>
                  <a:pt x="1960" y="2925"/>
                </a:lnTo>
                <a:lnTo>
                  <a:pt x="1956" y="2942"/>
                </a:lnTo>
                <a:lnTo>
                  <a:pt x="1950" y="2957"/>
                </a:lnTo>
                <a:lnTo>
                  <a:pt x="1941" y="2972"/>
                </a:lnTo>
                <a:lnTo>
                  <a:pt x="1933" y="2987"/>
                </a:lnTo>
                <a:lnTo>
                  <a:pt x="1922" y="2999"/>
                </a:lnTo>
                <a:lnTo>
                  <a:pt x="1918" y="3003"/>
                </a:lnTo>
                <a:lnTo>
                  <a:pt x="1914" y="3010"/>
                </a:lnTo>
                <a:lnTo>
                  <a:pt x="1901" y="3020"/>
                </a:lnTo>
                <a:lnTo>
                  <a:pt x="1890" y="3029"/>
                </a:lnTo>
                <a:lnTo>
                  <a:pt x="1878" y="3035"/>
                </a:lnTo>
                <a:lnTo>
                  <a:pt x="1863" y="3039"/>
                </a:lnTo>
                <a:lnTo>
                  <a:pt x="1850" y="3044"/>
                </a:lnTo>
                <a:lnTo>
                  <a:pt x="1835" y="3044"/>
                </a:lnTo>
                <a:close/>
                <a:moveTo>
                  <a:pt x="2066" y="3039"/>
                </a:moveTo>
                <a:lnTo>
                  <a:pt x="2060" y="3037"/>
                </a:lnTo>
                <a:lnTo>
                  <a:pt x="2051" y="3033"/>
                </a:lnTo>
                <a:lnTo>
                  <a:pt x="2034" y="3016"/>
                </a:lnTo>
                <a:lnTo>
                  <a:pt x="2015" y="2997"/>
                </a:lnTo>
                <a:lnTo>
                  <a:pt x="1996" y="2978"/>
                </a:lnTo>
                <a:lnTo>
                  <a:pt x="1990" y="2968"/>
                </a:lnTo>
                <a:lnTo>
                  <a:pt x="1986" y="2961"/>
                </a:lnTo>
                <a:lnTo>
                  <a:pt x="1979" y="2948"/>
                </a:lnTo>
                <a:lnTo>
                  <a:pt x="1977" y="2944"/>
                </a:lnTo>
                <a:lnTo>
                  <a:pt x="1977" y="2938"/>
                </a:lnTo>
                <a:lnTo>
                  <a:pt x="1979" y="2932"/>
                </a:lnTo>
                <a:lnTo>
                  <a:pt x="1981" y="2923"/>
                </a:lnTo>
                <a:lnTo>
                  <a:pt x="1983" y="2917"/>
                </a:lnTo>
                <a:lnTo>
                  <a:pt x="1990" y="2908"/>
                </a:lnTo>
                <a:lnTo>
                  <a:pt x="2000" y="2893"/>
                </a:lnTo>
                <a:lnTo>
                  <a:pt x="2019" y="2872"/>
                </a:lnTo>
                <a:lnTo>
                  <a:pt x="2062" y="2824"/>
                </a:lnTo>
                <a:lnTo>
                  <a:pt x="2066" y="2826"/>
                </a:lnTo>
                <a:lnTo>
                  <a:pt x="2072" y="2828"/>
                </a:lnTo>
                <a:lnTo>
                  <a:pt x="2079" y="2832"/>
                </a:lnTo>
                <a:lnTo>
                  <a:pt x="2083" y="2836"/>
                </a:lnTo>
                <a:lnTo>
                  <a:pt x="2083" y="2843"/>
                </a:lnTo>
                <a:lnTo>
                  <a:pt x="2081" y="2849"/>
                </a:lnTo>
                <a:lnTo>
                  <a:pt x="2081" y="2853"/>
                </a:lnTo>
                <a:lnTo>
                  <a:pt x="2079" y="2857"/>
                </a:lnTo>
                <a:lnTo>
                  <a:pt x="2049" y="2891"/>
                </a:lnTo>
                <a:lnTo>
                  <a:pt x="2030" y="2910"/>
                </a:lnTo>
                <a:lnTo>
                  <a:pt x="2017" y="2927"/>
                </a:lnTo>
                <a:lnTo>
                  <a:pt x="2015" y="2932"/>
                </a:lnTo>
                <a:lnTo>
                  <a:pt x="2013" y="2936"/>
                </a:lnTo>
                <a:lnTo>
                  <a:pt x="2015" y="2940"/>
                </a:lnTo>
                <a:lnTo>
                  <a:pt x="2017" y="2946"/>
                </a:lnTo>
                <a:lnTo>
                  <a:pt x="2028" y="2959"/>
                </a:lnTo>
                <a:lnTo>
                  <a:pt x="2045" y="2976"/>
                </a:lnTo>
                <a:lnTo>
                  <a:pt x="2064" y="2997"/>
                </a:lnTo>
                <a:lnTo>
                  <a:pt x="2083" y="3014"/>
                </a:lnTo>
                <a:lnTo>
                  <a:pt x="2085" y="3016"/>
                </a:lnTo>
                <a:lnTo>
                  <a:pt x="2087" y="3020"/>
                </a:lnTo>
                <a:lnTo>
                  <a:pt x="2085" y="3023"/>
                </a:lnTo>
                <a:lnTo>
                  <a:pt x="2085" y="3027"/>
                </a:lnTo>
                <a:lnTo>
                  <a:pt x="2079" y="3033"/>
                </a:lnTo>
                <a:lnTo>
                  <a:pt x="2072" y="3037"/>
                </a:lnTo>
                <a:lnTo>
                  <a:pt x="2068" y="3039"/>
                </a:lnTo>
                <a:lnTo>
                  <a:pt x="2066" y="3039"/>
                </a:lnTo>
                <a:close/>
                <a:moveTo>
                  <a:pt x="1835" y="3636"/>
                </a:moveTo>
                <a:lnTo>
                  <a:pt x="1825" y="3634"/>
                </a:lnTo>
                <a:lnTo>
                  <a:pt x="1816" y="3634"/>
                </a:lnTo>
                <a:lnTo>
                  <a:pt x="1808" y="3630"/>
                </a:lnTo>
                <a:lnTo>
                  <a:pt x="1799" y="3628"/>
                </a:lnTo>
                <a:lnTo>
                  <a:pt x="1791" y="3624"/>
                </a:lnTo>
                <a:lnTo>
                  <a:pt x="1784" y="3617"/>
                </a:lnTo>
                <a:lnTo>
                  <a:pt x="1778" y="3611"/>
                </a:lnTo>
                <a:lnTo>
                  <a:pt x="1772" y="3605"/>
                </a:lnTo>
                <a:lnTo>
                  <a:pt x="1765" y="3598"/>
                </a:lnTo>
                <a:lnTo>
                  <a:pt x="1759" y="3590"/>
                </a:lnTo>
                <a:lnTo>
                  <a:pt x="1751" y="3571"/>
                </a:lnTo>
                <a:lnTo>
                  <a:pt x="1748" y="3560"/>
                </a:lnTo>
                <a:lnTo>
                  <a:pt x="1746" y="3552"/>
                </a:lnTo>
                <a:lnTo>
                  <a:pt x="1744" y="3541"/>
                </a:lnTo>
                <a:lnTo>
                  <a:pt x="1744" y="3528"/>
                </a:lnTo>
                <a:lnTo>
                  <a:pt x="1744" y="3518"/>
                </a:lnTo>
                <a:lnTo>
                  <a:pt x="1746" y="3507"/>
                </a:lnTo>
                <a:lnTo>
                  <a:pt x="1748" y="3497"/>
                </a:lnTo>
                <a:lnTo>
                  <a:pt x="1753" y="3486"/>
                </a:lnTo>
                <a:lnTo>
                  <a:pt x="1755" y="3476"/>
                </a:lnTo>
                <a:lnTo>
                  <a:pt x="1761" y="3465"/>
                </a:lnTo>
                <a:lnTo>
                  <a:pt x="1765" y="3456"/>
                </a:lnTo>
                <a:lnTo>
                  <a:pt x="1772" y="3448"/>
                </a:lnTo>
                <a:lnTo>
                  <a:pt x="1778" y="3442"/>
                </a:lnTo>
                <a:lnTo>
                  <a:pt x="1787" y="3433"/>
                </a:lnTo>
                <a:lnTo>
                  <a:pt x="1795" y="3429"/>
                </a:lnTo>
                <a:lnTo>
                  <a:pt x="1804" y="3423"/>
                </a:lnTo>
                <a:lnTo>
                  <a:pt x="1812" y="3418"/>
                </a:lnTo>
                <a:lnTo>
                  <a:pt x="1820" y="3416"/>
                </a:lnTo>
                <a:lnTo>
                  <a:pt x="1831" y="3414"/>
                </a:lnTo>
                <a:lnTo>
                  <a:pt x="1842" y="3414"/>
                </a:lnTo>
                <a:lnTo>
                  <a:pt x="1852" y="3414"/>
                </a:lnTo>
                <a:lnTo>
                  <a:pt x="1859" y="3416"/>
                </a:lnTo>
                <a:lnTo>
                  <a:pt x="1863" y="3418"/>
                </a:lnTo>
                <a:lnTo>
                  <a:pt x="1873" y="3423"/>
                </a:lnTo>
                <a:lnTo>
                  <a:pt x="1880" y="3429"/>
                </a:lnTo>
                <a:lnTo>
                  <a:pt x="1886" y="3437"/>
                </a:lnTo>
                <a:lnTo>
                  <a:pt x="1890" y="3448"/>
                </a:lnTo>
                <a:lnTo>
                  <a:pt x="1892" y="3459"/>
                </a:lnTo>
                <a:lnTo>
                  <a:pt x="1895" y="3471"/>
                </a:lnTo>
                <a:lnTo>
                  <a:pt x="1895" y="3478"/>
                </a:lnTo>
                <a:lnTo>
                  <a:pt x="1892" y="3486"/>
                </a:lnTo>
                <a:lnTo>
                  <a:pt x="1890" y="3492"/>
                </a:lnTo>
                <a:lnTo>
                  <a:pt x="1888" y="3499"/>
                </a:lnTo>
                <a:lnTo>
                  <a:pt x="1884" y="3507"/>
                </a:lnTo>
                <a:lnTo>
                  <a:pt x="1880" y="3514"/>
                </a:lnTo>
                <a:lnTo>
                  <a:pt x="1869" y="3524"/>
                </a:lnTo>
                <a:lnTo>
                  <a:pt x="1863" y="3528"/>
                </a:lnTo>
                <a:lnTo>
                  <a:pt x="1856" y="3535"/>
                </a:lnTo>
                <a:lnTo>
                  <a:pt x="1842" y="3541"/>
                </a:lnTo>
                <a:lnTo>
                  <a:pt x="1835" y="3543"/>
                </a:lnTo>
                <a:lnTo>
                  <a:pt x="1827" y="3545"/>
                </a:lnTo>
                <a:lnTo>
                  <a:pt x="1812" y="3547"/>
                </a:lnTo>
                <a:lnTo>
                  <a:pt x="1806" y="3545"/>
                </a:lnTo>
                <a:lnTo>
                  <a:pt x="1804" y="3545"/>
                </a:lnTo>
                <a:lnTo>
                  <a:pt x="1801" y="3543"/>
                </a:lnTo>
                <a:lnTo>
                  <a:pt x="1799" y="3539"/>
                </a:lnTo>
                <a:lnTo>
                  <a:pt x="1797" y="3537"/>
                </a:lnTo>
                <a:lnTo>
                  <a:pt x="1797" y="3528"/>
                </a:lnTo>
                <a:lnTo>
                  <a:pt x="1797" y="3522"/>
                </a:lnTo>
                <a:lnTo>
                  <a:pt x="1799" y="3520"/>
                </a:lnTo>
                <a:lnTo>
                  <a:pt x="1801" y="3518"/>
                </a:lnTo>
                <a:lnTo>
                  <a:pt x="1814" y="3516"/>
                </a:lnTo>
                <a:lnTo>
                  <a:pt x="1825" y="3511"/>
                </a:lnTo>
                <a:lnTo>
                  <a:pt x="1835" y="3505"/>
                </a:lnTo>
                <a:lnTo>
                  <a:pt x="1846" y="3499"/>
                </a:lnTo>
                <a:lnTo>
                  <a:pt x="1852" y="3490"/>
                </a:lnTo>
                <a:lnTo>
                  <a:pt x="1856" y="3486"/>
                </a:lnTo>
                <a:lnTo>
                  <a:pt x="1859" y="3482"/>
                </a:lnTo>
                <a:lnTo>
                  <a:pt x="1861" y="3473"/>
                </a:lnTo>
                <a:lnTo>
                  <a:pt x="1863" y="3465"/>
                </a:lnTo>
                <a:lnTo>
                  <a:pt x="1863" y="3461"/>
                </a:lnTo>
                <a:lnTo>
                  <a:pt x="1861" y="3456"/>
                </a:lnTo>
                <a:lnTo>
                  <a:pt x="1859" y="3452"/>
                </a:lnTo>
                <a:lnTo>
                  <a:pt x="1856" y="3450"/>
                </a:lnTo>
                <a:lnTo>
                  <a:pt x="1852" y="3446"/>
                </a:lnTo>
                <a:lnTo>
                  <a:pt x="1848" y="3444"/>
                </a:lnTo>
                <a:lnTo>
                  <a:pt x="1837" y="3444"/>
                </a:lnTo>
                <a:lnTo>
                  <a:pt x="1827" y="3446"/>
                </a:lnTo>
                <a:lnTo>
                  <a:pt x="1823" y="3448"/>
                </a:lnTo>
                <a:lnTo>
                  <a:pt x="1816" y="3450"/>
                </a:lnTo>
                <a:lnTo>
                  <a:pt x="1812" y="3454"/>
                </a:lnTo>
                <a:lnTo>
                  <a:pt x="1808" y="3459"/>
                </a:lnTo>
                <a:lnTo>
                  <a:pt x="1797" y="3469"/>
                </a:lnTo>
                <a:lnTo>
                  <a:pt x="1793" y="3473"/>
                </a:lnTo>
                <a:lnTo>
                  <a:pt x="1789" y="3480"/>
                </a:lnTo>
                <a:lnTo>
                  <a:pt x="1782" y="3495"/>
                </a:lnTo>
                <a:lnTo>
                  <a:pt x="1780" y="3511"/>
                </a:lnTo>
                <a:lnTo>
                  <a:pt x="1778" y="3520"/>
                </a:lnTo>
                <a:lnTo>
                  <a:pt x="1778" y="3528"/>
                </a:lnTo>
                <a:lnTo>
                  <a:pt x="1778" y="3543"/>
                </a:lnTo>
                <a:lnTo>
                  <a:pt x="1780" y="3550"/>
                </a:lnTo>
                <a:lnTo>
                  <a:pt x="1782" y="3556"/>
                </a:lnTo>
                <a:lnTo>
                  <a:pt x="1787" y="3569"/>
                </a:lnTo>
                <a:lnTo>
                  <a:pt x="1793" y="3579"/>
                </a:lnTo>
                <a:lnTo>
                  <a:pt x="1801" y="3588"/>
                </a:lnTo>
                <a:lnTo>
                  <a:pt x="1808" y="3592"/>
                </a:lnTo>
                <a:lnTo>
                  <a:pt x="1812" y="3594"/>
                </a:lnTo>
                <a:lnTo>
                  <a:pt x="1823" y="3598"/>
                </a:lnTo>
                <a:lnTo>
                  <a:pt x="1829" y="3598"/>
                </a:lnTo>
                <a:lnTo>
                  <a:pt x="1835" y="3600"/>
                </a:lnTo>
                <a:lnTo>
                  <a:pt x="1848" y="3598"/>
                </a:lnTo>
                <a:lnTo>
                  <a:pt x="1861" y="3594"/>
                </a:lnTo>
                <a:lnTo>
                  <a:pt x="1865" y="3592"/>
                </a:lnTo>
                <a:lnTo>
                  <a:pt x="1871" y="3590"/>
                </a:lnTo>
                <a:lnTo>
                  <a:pt x="1882" y="3581"/>
                </a:lnTo>
                <a:lnTo>
                  <a:pt x="1890" y="3573"/>
                </a:lnTo>
                <a:lnTo>
                  <a:pt x="1899" y="3562"/>
                </a:lnTo>
                <a:lnTo>
                  <a:pt x="1907" y="3550"/>
                </a:lnTo>
                <a:lnTo>
                  <a:pt x="1914" y="3537"/>
                </a:lnTo>
                <a:lnTo>
                  <a:pt x="1920" y="3524"/>
                </a:lnTo>
                <a:lnTo>
                  <a:pt x="1926" y="3509"/>
                </a:lnTo>
                <a:lnTo>
                  <a:pt x="1931" y="3495"/>
                </a:lnTo>
                <a:lnTo>
                  <a:pt x="1933" y="3482"/>
                </a:lnTo>
                <a:lnTo>
                  <a:pt x="1937" y="3467"/>
                </a:lnTo>
                <a:lnTo>
                  <a:pt x="1937" y="3452"/>
                </a:lnTo>
                <a:lnTo>
                  <a:pt x="1939" y="3440"/>
                </a:lnTo>
                <a:lnTo>
                  <a:pt x="1937" y="3427"/>
                </a:lnTo>
                <a:lnTo>
                  <a:pt x="1939" y="3423"/>
                </a:lnTo>
                <a:lnTo>
                  <a:pt x="1943" y="3420"/>
                </a:lnTo>
                <a:lnTo>
                  <a:pt x="1945" y="3418"/>
                </a:lnTo>
                <a:lnTo>
                  <a:pt x="1952" y="3418"/>
                </a:lnTo>
                <a:lnTo>
                  <a:pt x="1960" y="3420"/>
                </a:lnTo>
                <a:lnTo>
                  <a:pt x="1962" y="3423"/>
                </a:lnTo>
                <a:lnTo>
                  <a:pt x="1966" y="3425"/>
                </a:lnTo>
                <a:lnTo>
                  <a:pt x="1971" y="3431"/>
                </a:lnTo>
                <a:lnTo>
                  <a:pt x="1971" y="3437"/>
                </a:lnTo>
                <a:lnTo>
                  <a:pt x="1971" y="3444"/>
                </a:lnTo>
                <a:lnTo>
                  <a:pt x="1971" y="3463"/>
                </a:lnTo>
                <a:lnTo>
                  <a:pt x="1969" y="3482"/>
                </a:lnTo>
                <a:lnTo>
                  <a:pt x="1964" y="3499"/>
                </a:lnTo>
                <a:lnTo>
                  <a:pt x="1960" y="3518"/>
                </a:lnTo>
                <a:lnTo>
                  <a:pt x="1956" y="3533"/>
                </a:lnTo>
                <a:lnTo>
                  <a:pt x="1950" y="3550"/>
                </a:lnTo>
                <a:lnTo>
                  <a:pt x="1941" y="3564"/>
                </a:lnTo>
                <a:lnTo>
                  <a:pt x="1933" y="3577"/>
                </a:lnTo>
                <a:lnTo>
                  <a:pt x="1922" y="3590"/>
                </a:lnTo>
                <a:lnTo>
                  <a:pt x="1918" y="3596"/>
                </a:lnTo>
                <a:lnTo>
                  <a:pt x="1914" y="3603"/>
                </a:lnTo>
                <a:lnTo>
                  <a:pt x="1901" y="3611"/>
                </a:lnTo>
                <a:lnTo>
                  <a:pt x="1890" y="3619"/>
                </a:lnTo>
                <a:lnTo>
                  <a:pt x="1878" y="3626"/>
                </a:lnTo>
                <a:lnTo>
                  <a:pt x="1863" y="3632"/>
                </a:lnTo>
                <a:lnTo>
                  <a:pt x="1850" y="3634"/>
                </a:lnTo>
                <a:lnTo>
                  <a:pt x="1835" y="3636"/>
                </a:lnTo>
                <a:close/>
                <a:moveTo>
                  <a:pt x="2066" y="3632"/>
                </a:moveTo>
                <a:lnTo>
                  <a:pt x="2060" y="3630"/>
                </a:lnTo>
                <a:lnTo>
                  <a:pt x="2051" y="3624"/>
                </a:lnTo>
                <a:lnTo>
                  <a:pt x="2034" y="3609"/>
                </a:lnTo>
                <a:lnTo>
                  <a:pt x="2015" y="3590"/>
                </a:lnTo>
                <a:lnTo>
                  <a:pt x="1996" y="3569"/>
                </a:lnTo>
                <a:lnTo>
                  <a:pt x="1990" y="3560"/>
                </a:lnTo>
                <a:lnTo>
                  <a:pt x="1986" y="3554"/>
                </a:lnTo>
                <a:lnTo>
                  <a:pt x="1979" y="3541"/>
                </a:lnTo>
                <a:lnTo>
                  <a:pt x="1977" y="3535"/>
                </a:lnTo>
                <a:lnTo>
                  <a:pt x="1977" y="3528"/>
                </a:lnTo>
                <a:lnTo>
                  <a:pt x="1979" y="3522"/>
                </a:lnTo>
                <a:lnTo>
                  <a:pt x="1981" y="3516"/>
                </a:lnTo>
                <a:lnTo>
                  <a:pt x="1983" y="3507"/>
                </a:lnTo>
                <a:lnTo>
                  <a:pt x="1990" y="3499"/>
                </a:lnTo>
                <a:lnTo>
                  <a:pt x="2000" y="3484"/>
                </a:lnTo>
                <a:lnTo>
                  <a:pt x="2019" y="3465"/>
                </a:lnTo>
                <a:lnTo>
                  <a:pt x="2062" y="3416"/>
                </a:lnTo>
                <a:lnTo>
                  <a:pt x="2066" y="3416"/>
                </a:lnTo>
                <a:lnTo>
                  <a:pt x="2072" y="3420"/>
                </a:lnTo>
                <a:lnTo>
                  <a:pt x="2079" y="3423"/>
                </a:lnTo>
                <a:lnTo>
                  <a:pt x="2083" y="3429"/>
                </a:lnTo>
                <a:lnTo>
                  <a:pt x="2083" y="3435"/>
                </a:lnTo>
                <a:lnTo>
                  <a:pt x="2081" y="3442"/>
                </a:lnTo>
                <a:lnTo>
                  <a:pt x="2081" y="3444"/>
                </a:lnTo>
                <a:lnTo>
                  <a:pt x="2079" y="3448"/>
                </a:lnTo>
                <a:lnTo>
                  <a:pt x="2049" y="3482"/>
                </a:lnTo>
                <a:lnTo>
                  <a:pt x="2030" y="3503"/>
                </a:lnTo>
                <a:lnTo>
                  <a:pt x="2017" y="3518"/>
                </a:lnTo>
                <a:lnTo>
                  <a:pt x="2015" y="3522"/>
                </a:lnTo>
                <a:lnTo>
                  <a:pt x="2013" y="3528"/>
                </a:lnTo>
                <a:lnTo>
                  <a:pt x="2015" y="3533"/>
                </a:lnTo>
                <a:lnTo>
                  <a:pt x="2017" y="3539"/>
                </a:lnTo>
                <a:lnTo>
                  <a:pt x="2028" y="3552"/>
                </a:lnTo>
                <a:lnTo>
                  <a:pt x="2045" y="3569"/>
                </a:lnTo>
                <a:lnTo>
                  <a:pt x="2064" y="3588"/>
                </a:lnTo>
                <a:lnTo>
                  <a:pt x="2083" y="3607"/>
                </a:lnTo>
                <a:lnTo>
                  <a:pt x="2085" y="3609"/>
                </a:lnTo>
                <a:lnTo>
                  <a:pt x="2087" y="3611"/>
                </a:lnTo>
                <a:lnTo>
                  <a:pt x="2085" y="3615"/>
                </a:lnTo>
                <a:lnTo>
                  <a:pt x="2085" y="3617"/>
                </a:lnTo>
                <a:lnTo>
                  <a:pt x="2079" y="3626"/>
                </a:lnTo>
                <a:lnTo>
                  <a:pt x="2072" y="3630"/>
                </a:lnTo>
                <a:lnTo>
                  <a:pt x="2068" y="3632"/>
                </a:lnTo>
                <a:lnTo>
                  <a:pt x="2066" y="3632"/>
                </a:lnTo>
                <a:close/>
                <a:moveTo>
                  <a:pt x="476" y="2451"/>
                </a:moveTo>
                <a:lnTo>
                  <a:pt x="466" y="2451"/>
                </a:lnTo>
                <a:lnTo>
                  <a:pt x="457" y="2449"/>
                </a:lnTo>
                <a:lnTo>
                  <a:pt x="449" y="2447"/>
                </a:lnTo>
                <a:lnTo>
                  <a:pt x="440" y="2445"/>
                </a:lnTo>
                <a:lnTo>
                  <a:pt x="432" y="2440"/>
                </a:lnTo>
                <a:lnTo>
                  <a:pt x="425" y="2434"/>
                </a:lnTo>
                <a:lnTo>
                  <a:pt x="417" y="2428"/>
                </a:lnTo>
                <a:lnTo>
                  <a:pt x="411" y="2421"/>
                </a:lnTo>
                <a:lnTo>
                  <a:pt x="406" y="2413"/>
                </a:lnTo>
                <a:lnTo>
                  <a:pt x="400" y="2407"/>
                </a:lnTo>
                <a:lnTo>
                  <a:pt x="392" y="2388"/>
                </a:lnTo>
                <a:lnTo>
                  <a:pt x="389" y="2377"/>
                </a:lnTo>
                <a:lnTo>
                  <a:pt x="387" y="2369"/>
                </a:lnTo>
                <a:lnTo>
                  <a:pt x="385" y="2358"/>
                </a:lnTo>
                <a:lnTo>
                  <a:pt x="385" y="2345"/>
                </a:lnTo>
                <a:lnTo>
                  <a:pt x="385" y="2335"/>
                </a:lnTo>
                <a:lnTo>
                  <a:pt x="387" y="2324"/>
                </a:lnTo>
                <a:lnTo>
                  <a:pt x="389" y="2313"/>
                </a:lnTo>
                <a:lnTo>
                  <a:pt x="392" y="2303"/>
                </a:lnTo>
                <a:lnTo>
                  <a:pt x="396" y="2292"/>
                </a:lnTo>
                <a:lnTo>
                  <a:pt x="402" y="2282"/>
                </a:lnTo>
                <a:lnTo>
                  <a:pt x="406" y="2273"/>
                </a:lnTo>
                <a:lnTo>
                  <a:pt x="413" y="2265"/>
                </a:lnTo>
                <a:lnTo>
                  <a:pt x="419" y="2258"/>
                </a:lnTo>
                <a:lnTo>
                  <a:pt x="428" y="2250"/>
                </a:lnTo>
                <a:lnTo>
                  <a:pt x="434" y="2244"/>
                </a:lnTo>
                <a:lnTo>
                  <a:pt x="442" y="2239"/>
                </a:lnTo>
                <a:lnTo>
                  <a:pt x="453" y="2235"/>
                </a:lnTo>
                <a:lnTo>
                  <a:pt x="461" y="2233"/>
                </a:lnTo>
                <a:lnTo>
                  <a:pt x="472" y="2231"/>
                </a:lnTo>
                <a:lnTo>
                  <a:pt x="481" y="2229"/>
                </a:lnTo>
                <a:lnTo>
                  <a:pt x="493" y="2231"/>
                </a:lnTo>
                <a:lnTo>
                  <a:pt x="500" y="2233"/>
                </a:lnTo>
                <a:lnTo>
                  <a:pt x="504" y="2235"/>
                </a:lnTo>
                <a:lnTo>
                  <a:pt x="512" y="2239"/>
                </a:lnTo>
                <a:lnTo>
                  <a:pt x="521" y="2246"/>
                </a:lnTo>
                <a:lnTo>
                  <a:pt x="527" y="2254"/>
                </a:lnTo>
                <a:lnTo>
                  <a:pt x="531" y="2265"/>
                </a:lnTo>
                <a:lnTo>
                  <a:pt x="533" y="2275"/>
                </a:lnTo>
                <a:lnTo>
                  <a:pt x="536" y="2286"/>
                </a:lnTo>
                <a:lnTo>
                  <a:pt x="533" y="2294"/>
                </a:lnTo>
                <a:lnTo>
                  <a:pt x="533" y="2303"/>
                </a:lnTo>
                <a:lnTo>
                  <a:pt x="531" y="2309"/>
                </a:lnTo>
                <a:lnTo>
                  <a:pt x="527" y="2316"/>
                </a:lnTo>
                <a:lnTo>
                  <a:pt x="525" y="2322"/>
                </a:lnTo>
                <a:lnTo>
                  <a:pt x="519" y="2328"/>
                </a:lnTo>
                <a:lnTo>
                  <a:pt x="508" y="2341"/>
                </a:lnTo>
                <a:lnTo>
                  <a:pt x="504" y="2345"/>
                </a:lnTo>
                <a:lnTo>
                  <a:pt x="497" y="2352"/>
                </a:lnTo>
                <a:lnTo>
                  <a:pt x="483" y="2358"/>
                </a:lnTo>
                <a:lnTo>
                  <a:pt x="476" y="2360"/>
                </a:lnTo>
                <a:lnTo>
                  <a:pt x="468" y="2362"/>
                </a:lnTo>
                <a:lnTo>
                  <a:pt x="453" y="2364"/>
                </a:lnTo>
                <a:lnTo>
                  <a:pt x="447" y="2362"/>
                </a:lnTo>
                <a:lnTo>
                  <a:pt x="445" y="2362"/>
                </a:lnTo>
                <a:lnTo>
                  <a:pt x="440" y="2358"/>
                </a:lnTo>
                <a:lnTo>
                  <a:pt x="440" y="2356"/>
                </a:lnTo>
                <a:lnTo>
                  <a:pt x="438" y="2354"/>
                </a:lnTo>
                <a:lnTo>
                  <a:pt x="436" y="2345"/>
                </a:lnTo>
                <a:lnTo>
                  <a:pt x="438" y="2339"/>
                </a:lnTo>
                <a:lnTo>
                  <a:pt x="438" y="2337"/>
                </a:lnTo>
                <a:lnTo>
                  <a:pt x="440" y="2335"/>
                </a:lnTo>
                <a:lnTo>
                  <a:pt x="453" y="2333"/>
                </a:lnTo>
                <a:lnTo>
                  <a:pt x="466" y="2328"/>
                </a:lnTo>
                <a:lnTo>
                  <a:pt x="476" y="2322"/>
                </a:lnTo>
                <a:lnTo>
                  <a:pt x="485" y="2316"/>
                </a:lnTo>
                <a:lnTo>
                  <a:pt x="493" y="2307"/>
                </a:lnTo>
                <a:lnTo>
                  <a:pt x="495" y="2303"/>
                </a:lnTo>
                <a:lnTo>
                  <a:pt x="500" y="2299"/>
                </a:lnTo>
                <a:lnTo>
                  <a:pt x="502" y="2290"/>
                </a:lnTo>
                <a:lnTo>
                  <a:pt x="504" y="2282"/>
                </a:lnTo>
                <a:lnTo>
                  <a:pt x="504" y="2277"/>
                </a:lnTo>
                <a:lnTo>
                  <a:pt x="502" y="2273"/>
                </a:lnTo>
                <a:lnTo>
                  <a:pt x="500" y="2269"/>
                </a:lnTo>
                <a:lnTo>
                  <a:pt x="497" y="2265"/>
                </a:lnTo>
                <a:lnTo>
                  <a:pt x="493" y="2263"/>
                </a:lnTo>
                <a:lnTo>
                  <a:pt x="489" y="2261"/>
                </a:lnTo>
                <a:lnTo>
                  <a:pt x="478" y="2261"/>
                </a:lnTo>
                <a:lnTo>
                  <a:pt x="468" y="2261"/>
                </a:lnTo>
                <a:lnTo>
                  <a:pt x="464" y="2263"/>
                </a:lnTo>
                <a:lnTo>
                  <a:pt x="457" y="2267"/>
                </a:lnTo>
                <a:lnTo>
                  <a:pt x="453" y="2271"/>
                </a:lnTo>
                <a:lnTo>
                  <a:pt x="447" y="2275"/>
                </a:lnTo>
                <a:lnTo>
                  <a:pt x="438" y="2284"/>
                </a:lnTo>
                <a:lnTo>
                  <a:pt x="434" y="2290"/>
                </a:lnTo>
                <a:lnTo>
                  <a:pt x="430" y="2297"/>
                </a:lnTo>
                <a:lnTo>
                  <a:pt x="423" y="2311"/>
                </a:lnTo>
                <a:lnTo>
                  <a:pt x="419" y="2328"/>
                </a:lnTo>
                <a:lnTo>
                  <a:pt x="419" y="2337"/>
                </a:lnTo>
                <a:lnTo>
                  <a:pt x="419" y="2345"/>
                </a:lnTo>
                <a:lnTo>
                  <a:pt x="419" y="2360"/>
                </a:lnTo>
                <a:lnTo>
                  <a:pt x="421" y="2366"/>
                </a:lnTo>
                <a:lnTo>
                  <a:pt x="423" y="2373"/>
                </a:lnTo>
                <a:lnTo>
                  <a:pt x="428" y="2385"/>
                </a:lnTo>
                <a:lnTo>
                  <a:pt x="434" y="2396"/>
                </a:lnTo>
                <a:lnTo>
                  <a:pt x="442" y="2404"/>
                </a:lnTo>
                <a:lnTo>
                  <a:pt x="447" y="2409"/>
                </a:lnTo>
                <a:lnTo>
                  <a:pt x="453" y="2411"/>
                </a:lnTo>
                <a:lnTo>
                  <a:pt x="464" y="2415"/>
                </a:lnTo>
                <a:lnTo>
                  <a:pt x="470" y="2415"/>
                </a:lnTo>
                <a:lnTo>
                  <a:pt x="476" y="2417"/>
                </a:lnTo>
                <a:lnTo>
                  <a:pt x="489" y="2415"/>
                </a:lnTo>
                <a:lnTo>
                  <a:pt x="502" y="2411"/>
                </a:lnTo>
                <a:lnTo>
                  <a:pt x="506" y="2409"/>
                </a:lnTo>
                <a:lnTo>
                  <a:pt x="512" y="2407"/>
                </a:lnTo>
                <a:lnTo>
                  <a:pt x="523" y="2398"/>
                </a:lnTo>
                <a:lnTo>
                  <a:pt x="531" y="2390"/>
                </a:lnTo>
                <a:lnTo>
                  <a:pt x="540" y="2379"/>
                </a:lnTo>
                <a:lnTo>
                  <a:pt x="548" y="2366"/>
                </a:lnTo>
                <a:lnTo>
                  <a:pt x="555" y="2354"/>
                </a:lnTo>
                <a:lnTo>
                  <a:pt x="561" y="2341"/>
                </a:lnTo>
                <a:lnTo>
                  <a:pt x="567" y="2326"/>
                </a:lnTo>
                <a:lnTo>
                  <a:pt x="572" y="2311"/>
                </a:lnTo>
                <a:lnTo>
                  <a:pt x="574" y="2297"/>
                </a:lnTo>
                <a:lnTo>
                  <a:pt x="576" y="2284"/>
                </a:lnTo>
                <a:lnTo>
                  <a:pt x="578" y="2269"/>
                </a:lnTo>
                <a:lnTo>
                  <a:pt x="578" y="2256"/>
                </a:lnTo>
                <a:lnTo>
                  <a:pt x="578" y="2242"/>
                </a:lnTo>
                <a:lnTo>
                  <a:pt x="580" y="2239"/>
                </a:lnTo>
                <a:lnTo>
                  <a:pt x="582" y="2237"/>
                </a:lnTo>
                <a:lnTo>
                  <a:pt x="586" y="2235"/>
                </a:lnTo>
                <a:lnTo>
                  <a:pt x="593" y="2235"/>
                </a:lnTo>
                <a:lnTo>
                  <a:pt x="599" y="2237"/>
                </a:lnTo>
                <a:lnTo>
                  <a:pt x="603" y="2237"/>
                </a:lnTo>
                <a:lnTo>
                  <a:pt x="608" y="2242"/>
                </a:lnTo>
                <a:lnTo>
                  <a:pt x="612" y="2248"/>
                </a:lnTo>
                <a:lnTo>
                  <a:pt x="612" y="2254"/>
                </a:lnTo>
                <a:lnTo>
                  <a:pt x="612" y="2261"/>
                </a:lnTo>
                <a:lnTo>
                  <a:pt x="612" y="2280"/>
                </a:lnTo>
                <a:lnTo>
                  <a:pt x="610" y="2299"/>
                </a:lnTo>
                <a:lnTo>
                  <a:pt x="605" y="2316"/>
                </a:lnTo>
                <a:lnTo>
                  <a:pt x="601" y="2333"/>
                </a:lnTo>
                <a:lnTo>
                  <a:pt x="595" y="2349"/>
                </a:lnTo>
                <a:lnTo>
                  <a:pt x="588" y="2366"/>
                </a:lnTo>
                <a:lnTo>
                  <a:pt x="582" y="2381"/>
                </a:lnTo>
                <a:lnTo>
                  <a:pt x="574" y="2394"/>
                </a:lnTo>
                <a:lnTo>
                  <a:pt x="563" y="2407"/>
                </a:lnTo>
                <a:lnTo>
                  <a:pt x="559" y="2413"/>
                </a:lnTo>
                <a:lnTo>
                  <a:pt x="552" y="2417"/>
                </a:lnTo>
                <a:lnTo>
                  <a:pt x="542" y="2428"/>
                </a:lnTo>
                <a:lnTo>
                  <a:pt x="529" y="2436"/>
                </a:lnTo>
                <a:lnTo>
                  <a:pt x="516" y="2443"/>
                </a:lnTo>
                <a:lnTo>
                  <a:pt x="504" y="2449"/>
                </a:lnTo>
                <a:lnTo>
                  <a:pt x="489" y="2451"/>
                </a:lnTo>
                <a:lnTo>
                  <a:pt x="476" y="2451"/>
                </a:lnTo>
                <a:close/>
                <a:moveTo>
                  <a:pt x="707" y="2449"/>
                </a:moveTo>
                <a:lnTo>
                  <a:pt x="701" y="2447"/>
                </a:lnTo>
                <a:lnTo>
                  <a:pt x="692" y="2440"/>
                </a:lnTo>
                <a:lnTo>
                  <a:pt x="675" y="2426"/>
                </a:lnTo>
                <a:lnTo>
                  <a:pt x="656" y="2407"/>
                </a:lnTo>
                <a:lnTo>
                  <a:pt x="637" y="2385"/>
                </a:lnTo>
                <a:lnTo>
                  <a:pt x="631" y="2377"/>
                </a:lnTo>
                <a:lnTo>
                  <a:pt x="624" y="2371"/>
                </a:lnTo>
                <a:lnTo>
                  <a:pt x="620" y="2358"/>
                </a:lnTo>
                <a:lnTo>
                  <a:pt x="618" y="2352"/>
                </a:lnTo>
                <a:lnTo>
                  <a:pt x="618" y="2345"/>
                </a:lnTo>
                <a:lnTo>
                  <a:pt x="618" y="2339"/>
                </a:lnTo>
                <a:lnTo>
                  <a:pt x="620" y="2333"/>
                </a:lnTo>
                <a:lnTo>
                  <a:pt x="624" y="2324"/>
                </a:lnTo>
                <a:lnTo>
                  <a:pt x="629" y="2316"/>
                </a:lnTo>
                <a:lnTo>
                  <a:pt x="641" y="2301"/>
                </a:lnTo>
                <a:lnTo>
                  <a:pt x="658" y="2282"/>
                </a:lnTo>
                <a:lnTo>
                  <a:pt x="701" y="2233"/>
                </a:lnTo>
                <a:lnTo>
                  <a:pt x="707" y="2233"/>
                </a:lnTo>
                <a:lnTo>
                  <a:pt x="713" y="2235"/>
                </a:lnTo>
                <a:lnTo>
                  <a:pt x="720" y="2239"/>
                </a:lnTo>
                <a:lnTo>
                  <a:pt x="722" y="2246"/>
                </a:lnTo>
                <a:lnTo>
                  <a:pt x="724" y="2252"/>
                </a:lnTo>
                <a:lnTo>
                  <a:pt x="722" y="2258"/>
                </a:lnTo>
                <a:lnTo>
                  <a:pt x="720" y="2261"/>
                </a:lnTo>
                <a:lnTo>
                  <a:pt x="718" y="2265"/>
                </a:lnTo>
                <a:lnTo>
                  <a:pt x="688" y="2299"/>
                </a:lnTo>
                <a:lnTo>
                  <a:pt x="671" y="2320"/>
                </a:lnTo>
                <a:lnTo>
                  <a:pt x="658" y="2335"/>
                </a:lnTo>
                <a:lnTo>
                  <a:pt x="656" y="2339"/>
                </a:lnTo>
                <a:lnTo>
                  <a:pt x="654" y="2343"/>
                </a:lnTo>
                <a:lnTo>
                  <a:pt x="656" y="2349"/>
                </a:lnTo>
                <a:lnTo>
                  <a:pt x="658" y="2356"/>
                </a:lnTo>
                <a:lnTo>
                  <a:pt x="669" y="2366"/>
                </a:lnTo>
                <a:lnTo>
                  <a:pt x="686" y="2385"/>
                </a:lnTo>
                <a:lnTo>
                  <a:pt x="705" y="2404"/>
                </a:lnTo>
                <a:lnTo>
                  <a:pt x="724" y="2424"/>
                </a:lnTo>
                <a:lnTo>
                  <a:pt x="726" y="2426"/>
                </a:lnTo>
                <a:lnTo>
                  <a:pt x="726" y="2428"/>
                </a:lnTo>
                <a:lnTo>
                  <a:pt x="726" y="2432"/>
                </a:lnTo>
                <a:lnTo>
                  <a:pt x="724" y="2434"/>
                </a:lnTo>
                <a:lnTo>
                  <a:pt x="720" y="2443"/>
                </a:lnTo>
                <a:lnTo>
                  <a:pt x="713" y="2447"/>
                </a:lnTo>
                <a:lnTo>
                  <a:pt x="709" y="2449"/>
                </a:lnTo>
                <a:lnTo>
                  <a:pt x="707" y="2449"/>
                </a:lnTo>
                <a:close/>
                <a:moveTo>
                  <a:pt x="527" y="2987"/>
                </a:moveTo>
                <a:lnTo>
                  <a:pt x="533" y="2980"/>
                </a:lnTo>
                <a:lnTo>
                  <a:pt x="540" y="2972"/>
                </a:lnTo>
                <a:lnTo>
                  <a:pt x="546" y="2963"/>
                </a:lnTo>
                <a:lnTo>
                  <a:pt x="550" y="2955"/>
                </a:lnTo>
                <a:lnTo>
                  <a:pt x="559" y="2936"/>
                </a:lnTo>
                <a:lnTo>
                  <a:pt x="567" y="2915"/>
                </a:lnTo>
                <a:lnTo>
                  <a:pt x="574" y="2893"/>
                </a:lnTo>
                <a:lnTo>
                  <a:pt x="576" y="2872"/>
                </a:lnTo>
                <a:lnTo>
                  <a:pt x="578" y="2853"/>
                </a:lnTo>
                <a:lnTo>
                  <a:pt x="578" y="2834"/>
                </a:lnTo>
                <a:lnTo>
                  <a:pt x="580" y="2832"/>
                </a:lnTo>
                <a:lnTo>
                  <a:pt x="582" y="2830"/>
                </a:lnTo>
                <a:lnTo>
                  <a:pt x="586" y="2828"/>
                </a:lnTo>
                <a:lnTo>
                  <a:pt x="593" y="2828"/>
                </a:lnTo>
                <a:lnTo>
                  <a:pt x="599" y="2828"/>
                </a:lnTo>
                <a:lnTo>
                  <a:pt x="603" y="2830"/>
                </a:lnTo>
                <a:lnTo>
                  <a:pt x="608" y="2832"/>
                </a:lnTo>
                <a:lnTo>
                  <a:pt x="612" y="2841"/>
                </a:lnTo>
                <a:lnTo>
                  <a:pt x="612" y="2847"/>
                </a:lnTo>
                <a:lnTo>
                  <a:pt x="612" y="2853"/>
                </a:lnTo>
                <a:lnTo>
                  <a:pt x="612" y="2879"/>
                </a:lnTo>
                <a:lnTo>
                  <a:pt x="608" y="2902"/>
                </a:lnTo>
                <a:lnTo>
                  <a:pt x="601" y="2927"/>
                </a:lnTo>
                <a:lnTo>
                  <a:pt x="597" y="2938"/>
                </a:lnTo>
                <a:lnTo>
                  <a:pt x="593" y="2948"/>
                </a:lnTo>
                <a:lnTo>
                  <a:pt x="584" y="2970"/>
                </a:lnTo>
                <a:lnTo>
                  <a:pt x="572" y="2989"/>
                </a:lnTo>
                <a:lnTo>
                  <a:pt x="565" y="2997"/>
                </a:lnTo>
                <a:lnTo>
                  <a:pt x="559" y="3003"/>
                </a:lnTo>
                <a:lnTo>
                  <a:pt x="550" y="3012"/>
                </a:lnTo>
                <a:lnTo>
                  <a:pt x="544" y="3018"/>
                </a:lnTo>
                <a:lnTo>
                  <a:pt x="533" y="2999"/>
                </a:lnTo>
                <a:lnTo>
                  <a:pt x="527" y="2987"/>
                </a:lnTo>
                <a:close/>
                <a:moveTo>
                  <a:pt x="459" y="2826"/>
                </a:moveTo>
                <a:lnTo>
                  <a:pt x="470" y="2821"/>
                </a:lnTo>
                <a:lnTo>
                  <a:pt x="481" y="2821"/>
                </a:lnTo>
                <a:lnTo>
                  <a:pt x="493" y="2824"/>
                </a:lnTo>
                <a:lnTo>
                  <a:pt x="500" y="2824"/>
                </a:lnTo>
                <a:lnTo>
                  <a:pt x="504" y="2826"/>
                </a:lnTo>
                <a:lnTo>
                  <a:pt x="512" y="2830"/>
                </a:lnTo>
                <a:lnTo>
                  <a:pt x="521" y="2838"/>
                </a:lnTo>
                <a:lnTo>
                  <a:pt x="527" y="2847"/>
                </a:lnTo>
                <a:lnTo>
                  <a:pt x="531" y="2855"/>
                </a:lnTo>
                <a:lnTo>
                  <a:pt x="533" y="2866"/>
                </a:lnTo>
                <a:lnTo>
                  <a:pt x="536" y="2879"/>
                </a:lnTo>
                <a:lnTo>
                  <a:pt x="533" y="2887"/>
                </a:lnTo>
                <a:lnTo>
                  <a:pt x="533" y="2896"/>
                </a:lnTo>
                <a:lnTo>
                  <a:pt x="527" y="2910"/>
                </a:lnTo>
                <a:lnTo>
                  <a:pt x="521" y="2919"/>
                </a:lnTo>
                <a:lnTo>
                  <a:pt x="516" y="2925"/>
                </a:lnTo>
                <a:lnTo>
                  <a:pt x="510" y="2932"/>
                </a:lnTo>
                <a:lnTo>
                  <a:pt x="504" y="2938"/>
                </a:lnTo>
                <a:lnTo>
                  <a:pt x="491" y="2908"/>
                </a:lnTo>
                <a:lnTo>
                  <a:pt x="489" y="2904"/>
                </a:lnTo>
                <a:lnTo>
                  <a:pt x="495" y="2898"/>
                </a:lnTo>
                <a:lnTo>
                  <a:pt x="500" y="2889"/>
                </a:lnTo>
                <a:lnTo>
                  <a:pt x="502" y="2881"/>
                </a:lnTo>
                <a:lnTo>
                  <a:pt x="504" y="2874"/>
                </a:lnTo>
                <a:lnTo>
                  <a:pt x="504" y="2868"/>
                </a:lnTo>
                <a:lnTo>
                  <a:pt x="502" y="2864"/>
                </a:lnTo>
                <a:lnTo>
                  <a:pt x="500" y="2862"/>
                </a:lnTo>
                <a:lnTo>
                  <a:pt x="497" y="2857"/>
                </a:lnTo>
                <a:lnTo>
                  <a:pt x="493" y="2855"/>
                </a:lnTo>
                <a:lnTo>
                  <a:pt x="489" y="2853"/>
                </a:lnTo>
                <a:lnTo>
                  <a:pt x="478" y="2851"/>
                </a:lnTo>
                <a:lnTo>
                  <a:pt x="470" y="2853"/>
                </a:lnTo>
                <a:lnTo>
                  <a:pt x="466" y="2841"/>
                </a:lnTo>
                <a:lnTo>
                  <a:pt x="459" y="2826"/>
                </a:lnTo>
                <a:close/>
                <a:moveTo>
                  <a:pt x="707" y="3039"/>
                </a:moveTo>
                <a:lnTo>
                  <a:pt x="701" y="3037"/>
                </a:lnTo>
                <a:lnTo>
                  <a:pt x="692" y="3033"/>
                </a:lnTo>
                <a:lnTo>
                  <a:pt x="675" y="3016"/>
                </a:lnTo>
                <a:lnTo>
                  <a:pt x="656" y="2997"/>
                </a:lnTo>
                <a:lnTo>
                  <a:pt x="637" y="2978"/>
                </a:lnTo>
                <a:lnTo>
                  <a:pt x="631" y="2968"/>
                </a:lnTo>
                <a:lnTo>
                  <a:pt x="624" y="2961"/>
                </a:lnTo>
                <a:lnTo>
                  <a:pt x="620" y="2948"/>
                </a:lnTo>
                <a:lnTo>
                  <a:pt x="618" y="2944"/>
                </a:lnTo>
                <a:lnTo>
                  <a:pt x="618" y="2938"/>
                </a:lnTo>
                <a:lnTo>
                  <a:pt x="618" y="2932"/>
                </a:lnTo>
                <a:lnTo>
                  <a:pt x="620" y="2923"/>
                </a:lnTo>
                <a:lnTo>
                  <a:pt x="624" y="2917"/>
                </a:lnTo>
                <a:lnTo>
                  <a:pt x="629" y="2908"/>
                </a:lnTo>
                <a:lnTo>
                  <a:pt x="641" y="2893"/>
                </a:lnTo>
                <a:lnTo>
                  <a:pt x="658" y="2872"/>
                </a:lnTo>
                <a:lnTo>
                  <a:pt x="701" y="2824"/>
                </a:lnTo>
                <a:lnTo>
                  <a:pt x="707" y="2826"/>
                </a:lnTo>
                <a:lnTo>
                  <a:pt x="713" y="2828"/>
                </a:lnTo>
                <a:lnTo>
                  <a:pt x="720" y="2832"/>
                </a:lnTo>
                <a:lnTo>
                  <a:pt x="722" y="2836"/>
                </a:lnTo>
                <a:lnTo>
                  <a:pt x="724" y="2843"/>
                </a:lnTo>
                <a:lnTo>
                  <a:pt x="722" y="2849"/>
                </a:lnTo>
                <a:lnTo>
                  <a:pt x="720" y="2853"/>
                </a:lnTo>
                <a:lnTo>
                  <a:pt x="718" y="2857"/>
                </a:lnTo>
                <a:lnTo>
                  <a:pt x="688" y="2891"/>
                </a:lnTo>
                <a:lnTo>
                  <a:pt x="671" y="2910"/>
                </a:lnTo>
                <a:lnTo>
                  <a:pt x="658" y="2927"/>
                </a:lnTo>
                <a:lnTo>
                  <a:pt x="656" y="2932"/>
                </a:lnTo>
                <a:lnTo>
                  <a:pt x="654" y="2936"/>
                </a:lnTo>
                <a:lnTo>
                  <a:pt x="656" y="2940"/>
                </a:lnTo>
                <a:lnTo>
                  <a:pt x="658" y="2946"/>
                </a:lnTo>
                <a:lnTo>
                  <a:pt x="669" y="2959"/>
                </a:lnTo>
                <a:lnTo>
                  <a:pt x="686" y="2976"/>
                </a:lnTo>
                <a:lnTo>
                  <a:pt x="705" y="2997"/>
                </a:lnTo>
                <a:lnTo>
                  <a:pt x="724" y="3014"/>
                </a:lnTo>
                <a:lnTo>
                  <a:pt x="726" y="3016"/>
                </a:lnTo>
                <a:lnTo>
                  <a:pt x="726" y="3020"/>
                </a:lnTo>
                <a:lnTo>
                  <a:pt x="726" y="3023"/>
                </a:lnTo>
                <a:lnTo>
                  <a:pt x="724" y="3027"/>
                </a:lnTo>
                <a:lnTo>
                  <a:pt x="720" y="3033"/>
                </a:lnTo>
                <a:lnTo>
                  <a:pt x="713" y="3037"/>
                </a:lnTo>
                <a:lnTo>
                  <a:pt x="709" y="3039"/>
                </a:lnTo>
                <a:lnTo>
                  <a:pt x="707" y="3039"/>
                </a:lnTo>
                <a:close/>
                <a:moveTo>
                  <a:pt x="2756" y="2451"/>
                </a:moveTo>
                <a:lnTo>
                  <a:pt x="2748" y="2451"/>
                </a:lnTo>
                <a:lnTo>
                  <a:pt x="2739" y="2449"/>
                </a:lnTo>
                <a:lnTo>
                  <a:pt x="2729" y="2447"/>
                </a:lnTo>
                <a:lnTo>
                  <a:pt x="2720" y="2445"/>
                </a:lnTo>
                <a:lnTo>
                  <a:pt x="2714" y="2440"/>
                </a:lnTo>
                <a:lnTo>
                  <a:pt x="2705" y="2434"/>
                </a:lnTo>
                <a:lnTo>
                  <a:pt x="2699" y="2428"/>
                </a:lnTo>
                <a:lnTo>
                  <a:pt x="2693" y="2421"/>
                </a:lnTo>
                <a:lnTo>
                  <a:pt x="2686" y="2413"/>
                </a:lnTo>
                <a:lnTo>
                  <a:pt x="2682" y="2407"/>
                </a:lnTo>
                <a:lnTo>
                  <a:pt x="2673" y="2388"/>
                </a:lnTo>
                <a:lnTo>
                  <a:pt x="2669" y="2377"/>
                </a:lnTo>
                <a:lnTo>
                  <a:pt x="2667" y="2369"/>
                </a:lnTo>
                <a:lnTo>
                  <a:pt x="2667" y="2358"/>
                </a:lnTo>
                <a:lnTo>
                  <a:pt x="2665" y="2345"/>
                </a:lnTo>
                <a:lnTo>
                  <a:pt x="2667" y="2335"/>
                </a:lnTo>
                <a:lnTo>
                  <a:pt x="2667" y="2324"/>
                </a:lnTo>
                <a:lnTo>
                  <a:pt x="2669" y="2313"/>
                </a:lnTo>
                <a:lnTo>
                  <a:pt x="2673" y="2303"/>
                </a:lnTo>
                <a:lnTo>
                  <a:pt x="2678" y="2292"/>
                </a:lnTo>
                <a:lnTo>
                  <a:pt x="2682" y="2282"/>
                </a:lnTo>
                <a:lnTo>
                  <a:pt x="2688" y="2273"/>
                </a:lnTo>
                <a:lnTo>
                  <a:pt x="2695" y="2265"/>
                </a:lnTo>
                <a:lnTo>
                  <a:pt x="2701" y="2258"/>
                </a:lnTo>
                <a:lnTo>
                  <a:pt x="2707" y="2250"/>
                </a:lnTo>
                <a:lnTo>
                  <a:pt x="2716" y="2244"/>
                </a:lnTo>
                <a:lnTo>
                  <a:pt x="2724" y="2239"/>
                </a:lnTo>
                <a:lnTo>
                  <a:pt x="2733" y="2235"/>
                </a:lnTo>
                <a:lnTo>
                  <a:pt x="2743" y="2233"/>
                </a:lnTo>
                <a:lnTo>
                  <a:pt x="2752" y="2231"/>
                </a:lnTo>
                <a:lnTo>
                  <a:pt x="2762" y="2229"/>
                </a:lnTo>
                <a:lnTo>
                  <a:pt x="2775" y="2231"/>
                </a:lnTo>
                <a:lnTo>
                  <a:pt x="2779" y="2233"/>
                </a:lnTo>
                <a:lnTo>
                  <a:pt x="2786" y="2235"/>
                </a:lnTo>
                <a:lnTo>
                  <a:pt x="2794" y="2239"/>
                </a:lnTo>
                <a:lnTo>
                  <a:pt x="2803" y="2246"/>
                </a:lnTo>
                <a:lnTo>
                  <a:pt x="2807" y="2254"/>
                </a:lnTo>
                <a:lnTo>
                  <a:pt x="2813" y="2265"/>
                </a:lnTo>
                <a:lnTo>
                  <a:pt x="2815" y="2275"/>
                </a:lnTo>
                <a:lnTo>
                  <a:pt x="2815" y="2286"/>
                </a:lnTo>
                <a:lnTo>
                  <a:pt x="2815" y="2294"/>
                </a:lnTo>
                <a:lnTo>
                  <a:pt x="2813" y="2303"/>
                </a:lnTo>
                <a:lnTo>
                  <a:pt x="2811" y="2309"/>
                </a:lnTo>
                <a:lnTo>
                  <a:pt x="2809" y="2316"/>
                </a:lnTo>
                <a:lnTo>
                  <a:pt x="2805" y="2322"/>
                </a:lnTo>
                <a:lnTo>
                  <a:pt x="2801" y="2328"/>
                </a:lnTo>
                <a:lnTo>
                  <a:pt x="2790" y="2341"/>
                </a:lnTo>
                <a:lnTo>
                  <a:pt x="2784" y="2345"/>
                </a:lnTo>
                <a:lnTo>
                  <a:pt x="2777" y="2352"/>
                </a:lnTo>
                <a:lnTo>
                  <a:pt x="2765" y="2358"/>
                </a:lnTo>
                <a:lnTo>
                  <a:pt x="2756" y="2360"/>
                </a:lnTo>
                <a:lnTo>
                  <a:pt x="2750" y="2362"/>
                </a:lnTo>
                <a:lnTo>
                  <a:pt x="2733" y="2364"/>
                </a:lnTo>
                <a:lnTo>
                  <a:pt x="2726" y="2362"/>
                </a:lnTo>
                <a:lnTo>
                  <a:pt x="2724" y="2362"/>
                </a:lnTo>
                <a:lnTo>
                  <a:pt x="2722" y="2358"/>
                </a:lnTo>
                <a:lnTo>
                  <a:pt x="2720" y="2356"/>
                </a:lnTo>
                <a:lnTo>
                  <a:pt x="2718" y="2354"/>
                </a:lnTo>
                <a:lnTo>
                  <a:pt x="2718" y="2345"/>
                </a:lnTo>
                <a:lnTo>
                  <a:pt x="2718" y="2339"/>
                </a:lnTo>
                <a:lnTo>
                  <a:pt x="2720" y="2337"/>
                </a:lnTo>
                <a:lnTo>
                  <a:pt x="2722" y="2335"/>
                </a:lnTo>
                <a:lnTo>
                  <a:pt x="2735" y="2333"/>
                </a:lnTo>
                <a:lnTo>
                  <a:pt x="2748" y="2328"/>
                </a:lnTo>
                <a:lnTo>
                  <a:pt x="2758" y="2322"/>
                </a:lnTo>
                <a:lnTo>
                  <a:pt x="2767" y="2316"/>
                </a:lnTo>
                <a:lnTo>
                  <a:pt x="2773" y="2307"/>
                </a:lnTo>
                <a:lnTo>
                  <a:pt x="2777" y="2303"/>
                </a:lnTo>
                <a:lnTo>
                  <a:pt x="2779" y="2299"/>
                </a:lnTo>
                <a:lnTo>
                  <a:pt x="2784" y="2290"/>
                </a:lnTo>
                <a:lnTo>
                  <a:pt x="2784" y="2282"/>
                </a:lnTo>
                <a:lnTo>
                  <a:pt x="2784" y="2277"/>
                </a:lnTo>
                <a:lnTo>
                  <a:pt x="2781" y="2273"/>
                </a:lnTo>
                <a:lnTo>
                  <a:pt x="2781" y="2269"/>
                </a:lnTo>
                <a:lnTo>
                  <a:pt x="2777" y="2265"/>
                </a:lnTo>
                <a:lnTo>
                  <a:pt x="2775" y="2263"/>
                </a:lnTo>
                <a:lnTo>
                  <a:pt x="2771" y="2261"/>
                </a:lnTo>
                <a:lnTo>
                  <a:pt x="2760" y="2261"/>
                </a:lnTo>
                <a:lnTo>
                  <a:pt x="2750" y="2261"/>
                </a:lnTo>
                <a:lnTo>
                  <a:pt x="2743" y="2263"/>
                </a:lnTo>
                <a:lnTo>
                  <a:pt x="2739" y="2267"/>
                </a:lnTo>
                <a:lnTo>
                  <a:pt x="2733" y="2271"/>
                </a:lnTo>
                <a:lnTo>
                  <a:pt x="2729" y="2275"/>
                </a:lnTo>
                <a:lnTo>
                  <a:pt x="2718" y="2284"/>
                </a:lnTo>
                <a:lnTo>
                  <a:pt x="2716" y="2290"/>
                </a:lnTo>
                <a:lnTo>
                  <a:pt x="2712" y="2297"/>
                </a:lnTo>
                <a:lnTo>
                  <a:pt x="2705" y="2311"/>
                </a:lnTo>
                <a:lnTo>
                  <a:pt x="2701" y="2328"/>
                </a:lnTo>
                <a:lnTo>
                  <a:pt x="2699" y="2337"/>
                </a:lnTo>
                <a:lnTo>
                  <a:pt x="2699" y="2345"/>
                </a:lnTo>
                <a:lnTo>
                  <a:pt x="2701" y="2360"/>
                </a:lnTo>
                <a:lnTo>
                  <a:pt x="2701" y="2366"/>
                </a:lnTo>
                <a:lnTo>
                  <a:pt x="2703" y="2373"/>
                </a:lnTo>
                <a:lnTo>
                  <a:pt x="2709" y="2385"/>
                </a:lnTo>
                <a:lnTo>
                  <a:pt x="2716" y="2396"/>
                </a:lnTo>
                <a:lnTo>
                  <a:pt x="2724" y="2404"/>
                </a:lnTo>
                <a:lnTo>
                  <a:pt x="2729" y="2409"/>
                </a:lnTo>
                <a:lnTo>
                  <a:pt x="2733" y="2411"/>
                </a:lnTo>
                <a:lnTo>
                  <a:pt x="2745" y="2415"/>
                </a:lnTo>
                <a:lnTo>
                  <a:pt x="2752" y="2415"/>
                </a:lnTo>
                <a:lnTo>
                  <a:pt x="2758" y="2417"/>
                </a:lnTo>
                <a:lnTo>
                  <a:pt x="2771" y="2415"/>
                </a:lnTo>
                <a:lnTo>
                  <a:pt x="2781" y="2411"/>
                </a:lnTo>
                <a:lnTo>
                  <a:pt x="2788" y="2409"/>
                </a:lnTo>
                <a:lnTo>
                  <a:pt x="2792" y="2407"/>
                </a:lnTo>
                <a:lnTo>
                  <a:pt x="2803" y="2398"/>
                </a:lnTo>
                <a:lnTo>
                  <a:pt x="2813" y="2390"/>
                </a:lnTo>
                <a:lnTo>
                  <a:pt x="2822" y="2379"/>
                </a:lnTo>
                <a:lnTo>
                  <a:pt x="2828" y="2366"/>
                </a:lnTo>
                <a:lnTo>
                  <a:pt x="2836" y="2354"/>
                </a:lnTo>
                <a:lnTo>
                  <a:pt x="2843" y="2341"/>
                </a:lnTo>
                <a:lnTo>
                  <a:pt x="2847" y="2326"/>
                </a:lnTo>
                <a:lnTo>
                  <a:pt x="2851" y="2311"/>
                </a:lnTo>
                <a:lnTo>
                  <a:pt x="2856" y="2297"/>
                </a:lnTo>
                <a:lnTo>
                  <a:pt x="2858" y="2284"/>
                </a:lnTo>
                <a:lnTo>
                  <a:pt x="2860" y="2269"/>
                </a:lnTo>
                <a:lnTo>
                  <a:pt x="2860" y="2256"/>
                </a:lnTo>
                <a:lnTo>
                  <a:pt x="2860" y="2242"/>
                </a:lnTo>
                <a:lnTo>
                  <a:pt x="2862" y="2239"/>
                </a:lnTo>
                <a:lnTo>
                  <a:pt x="2864" y="2237"/>
                </a:lnTo>
                <a:lnTo>
                  <a:pt x="2868" y="2235"/>
                </a:lnTo>
                <a:lnTo>
                  <a:pt x="2872" y="2235"/>
                </a:lnTo>
                <a:lnTo>
                  <a:pt x="2881" y="2237"/>
                </a:lnTo>
                <a:lnTo>
                  <a:pt x="2885" y="2237"/>
                </a:lnTo>
                <a:lnTo>
                  <a:pt x="2887" y="2242"/>
                </a:lnTo>
                <a:lnTo>
                  <a:pt x="2892" y="2248"/>
                </a:lnTo>
                <a:lnTo>
                  <a:pt x="2894" y="2254"/>
                </a:lnTo>
                <a:lnTo>
                  <a:pt x="2894" y="2261"/>
                </a:lnTo>
                <a:lnTo>
                  <a:pt x="2892" y="2280"/>
                </a:lnTo>
                <a:lnTo>
                  <a:pt x="2889" y="2299"/>
                </a:lnTo>
                <a:lnTo>
                  <a:pt x="2887" y="2316"/>
                </a:lnTo>
                <a:lnTo>
                  <a:pt x="2883" y="2333"/>
                </a:lnTo>
                <a:lnTo>
                  <a:pt x="2877" y="2349"/>
                </a:lnTo>
                <a:lnTo>
                  <a:pt x="2870" y="2366"/>
                </a:lnTo>
                <a:lnTo>
                  <a:pt x="2862" y="2381"/>
                </a:lnTo>
                <a:lnTo>
                  <a:pt x="2853" y="2394"/>
                </a:lnTo>
                <a:lnTo>
                  <a:pt x="2845" y="2407"/>
                </a:lnTo>
                <a:lnTo>
                  <a:pt x="2839" y="2413"/>
                </a:lnTo>
                <a:lnTo>
                  <a:pt x="2834" y="2417"/>
                </a:lnTo>
                <a:lnTo>
                  <a:pt x="2824" y="2428"/>
                </a:lnTo>
                <a:lnTo>
                  <a:pt x="2811" y="2436"/>
                </a:lnTo>
                <a:lnTo>
                  <a:pt x="2798" y="2443"/>
                </a:lnTo>
                <a:lnTo>
                  <a:pt x="2786" y="2449"/>
                </a:lnTo>
                <a:lnTo>
                  <a:pt x="2771" y="2451"/>
                </a:lnTo>
                <a:lnTo>
                  <a:pt x="2756" y="2451"/>
                </a:lnTo>
                <a:close/>
                <a:moveTo>
                  <a:pt x="2987" y="2449"/>
                </a:moveTo>
                <a:lnTo>
                  <a:pt x="2980" y="2447"/>
                </a:lnTo>
                <a:lnTo>
                  <a:pt x="2972" y="2440"/>
                </a:lnTo>
                <a:lnTo>
                  <a:pt x="2957" y="2426"/>
                </a:lnTo>
                <a:lnTo>
                  <a:pt x="2936" y="2407"/>
                </a:lnTo>
                <a:lnTo>
                  <a:pt x="2919" y="2385"/>
                </a:lnTo>
                <a:lnTo>
                  <a:pt x="2911" y="2377"/>
                </a:lnTo>
                <a:lnTo>
                  <a:pt x="2906" y="2371"/>
                </a:lnTo>
                <a:lnTo>
                  <a:pt x="2900" y="2358"/>
                </a:lnTo>
                <a:lnTo>
                  <a:pt x="2900" y="2352"/>
                </a:lnTo>
                <a:lnTo>
                  <a:pt x="2900" y="2345"/>
                </a:lnTo>
                <a:lnTo>
                  <a:pt x="2900" y="2339"/>
                </a:lnTo>
                <a:lnTo>
                  <a:pt x="2902" y="2333"/>
                </a:lnTo>
                <a:lnTo>
                  <a:pt x="2904" y="2324"/>
                </a:lnTo>
                <a:lnTo>
                  <a:pt x="2911" y="2316"/>
                </a:lnTo>
                <a:lnTo>
                  <a:pt x="2921" y="2301"/>
                </a:lnTo>
                <a:lnTo>
                  <a:pt x="2940" y="2282"/>
                </a:lnTo>
                <a:lnTo>
                  <a:pt x="2983" y="2233"/>
                </a:lnTo>
                <a:lnTo>
                  <a:pt x="2989" y="2233"/>
                </a:lnTo>
                <a:lnTo>
                  <a:pt x="2995" y="2235"/>
                </a:lnTo>
                <a:lnTo>
                  <a:pt x="2999" y="2239"/>
                </a:lnTo>
                <a:lnTo>
                  <a:pt x="3004" y="2246"/>
                </a:lnTo>
                <a:lnTo>
                  <a:pt x="3004" y="2252"/>
                </a:lnTo>
                <a:lnTo>
                  <a:pt x="3004" y="2258"/>
                </a:lnTo>
                <a:lnTo>
                  <a:pt x="3002" y="2261"/>
                </a:lnTo>
                <a:lnTo>
                  <a:pt x="2999" y="2265"/>
                </a:lnTo>
                <a:lnTo>
                  <a:pt x="2970" y="2299"/>
                </a:lnTo>
                <a:lnTo>
                  <a:pt x="2951" y="2320"/>
                </a:lnTo>
                <a:lnTo>
                  <a:pt x="2938" y="2335"/>
                </a:lnTo>
                <a:lnTo>
                  <a:pt x="2936" y="2339"/>
                </a:lnTo>
                <a:lnTo>
                  <a:pt x="2936" y="2343"/>
                </a:lnTo>
                <a:lnTo>
                  <a:pt x="2936" y="2349"/>
                </a:lnTo>
                <a:lnTo>
                  <a:pt x="2940" y="2356"/>
                </a:lnTo>
                <a:lnTo>
                  <a:pt x="2951" y="2366"/>
                </a:lnTo>
                <a:lnTo>
                  <a:pt x="2968" y="2385"/>
                </a:lnTo>
                <a:lnTo>
                  <a:pt x="2987" y="2404"/>
                </a:lnTo>
                <a:lnTo>
                  <a:pt x="3006" y="2424"/>
                </a:lnTo>
                <a:lnTo>
                  <a:pt x="3008" y="2426"/>
                </a:lnTo>
                <a:lnTo>
                  <a:pt x="3008" y="2428"/>
                </a:lnTo>
                <a:lnTo>
                  <a:pt x="3008" y="2432"/>
                </a:lnTo>
                <a:lnTo>
                  <a:pt x="3006" y="2434"/>
                </a:lnTo>
                <a:lnTo>
                  <a:pt x="3002" y="2443"/>
                </a:lnTo>
                <a:lnTo>
                  <a:pt x="2993" y="2447"/>
                </a:lnTo>
                <a:lnTo>
                  <a:pt x="2991" y="2449"/>
                </a:lnTo>
                <a:lnTo>
                  <a:pt x="2987" y="2449"/>
                </a:lnTo>
                <a:close/>
                <a:moveTo>
                  <a:pt x="2756" y="3044"/>
                </a:moveTo>
                <a:lnTo>
                  <a:pt x="2748" y="3044"/>
                </a:lnTo>
                <a:lnTo>
                  <a:pt x="2739" y="3042"/>
                </a:lnTo>
                <a:lnTo>
                  <a:pt x="2729" y="3039"/>
                </a:lnTo>
                <a:lnTo>
                  <a:pt x="2720" y="3035"/>
                </a:lnTo>
                <a:lnTo>
                  <a:pt x="2714" y="3031"/>
                </a:lnTo>
                <a:lnTo>
                  <a:pt x="2705" y="3027"/>
                </a:lnTo>
                <a:lnTo>
                  <a:pt x="2699" y="3020"/>
                </a:lnTo>
                <a:lnTo>
                  <a:pt x="2693" y="3012"/>
                </a:lnTo>
                <a:lnTo>
                  <a:pt x="2686" y="3006"/>
                </a:lnTo>
                <a:lnTo>
                  <a:pt x="2682" y="2997"/>
                </a:lnTo>
                <a:lnTo>
                  <a:pt x="2673" y="2980"/>
                </a:lnTo>
                <a:lnTo>
                  <a:pt x="2669" y="2970"/>
                </a:lnTo>
                <a:lnTo>
                  <a:pt x="2667" y="2959"/>
                </a:lnTo>
                <a:lnTo>
                  <a:pt x="2667" y="2948"/>
                </a:lnTo>
                <a:lnTo>
                  <a:pt x="2665" y="2938"/>
                </a:lnTo>
                <a:lnTo>
                  <a:pt x="2667" y="2927"/>
                </a:lnTo>
                <a:lnTo>
                  <a:pt x="2667" y="2915"/>
                </a:lnTo>
                <a:lnTo>
                  <a:pt x="2669" y="2904"/>
                </a:lnTo>
                <a:lnTo>
                  <a:pt x="2673" y="2893"/>
                </a:lnTo>
                <a:lnTo>
                  <a:pt x="2678" y="2883"/>
                </a:lnTo>
                <a:lnTo>
                  <a:pt x="2682" y="2874"/>
                </a:lnTo>
                <a:lnTo>
                  <a:pt x="2688" y="2866"/>
                </a:lnTo>
                <a:lnTo>
                  <a:pt x="2695" y="2857"/>
                </a:lnTo>
                <a:lnTo>
                  <a:pt x="2701" y="2849"/>
                </a:lnTo>
                <a:lnTo>
                  <a:pt x="2707" y="2843"/>
                </a:lnTo>
                <a:lnTo>
                  <a:pt x="2716" y="2836"/>
                </a:lnTo>
                <a:lnTo>
                  <a:pt x="2724" y="2832"/>
                </a:lnTo>
                <a:lnTo>
                  <a:pt x="2733" y="2828"/>
                </a:lnTo>
                <a:lnTo>
                  <a:pt x="2743" y="2824"/>
                </a:lnTo>
                <a:lnTo>
                  <a:pt x="2752" y="2821"/>
                </a:lnTo>
                <a:lnTo>
                  <a:pt x="2762" y="2821"/>
                </a:lnTo>
                <a:lnTo>
                  <a:pt x="2775" y="2824"/>
                </a:lnTo>
                <a:lnTo>
                  <a:pt x="2779" y="2824"/>
                </a:lnTo>
                <a:lnTo>
                  <a:pt x="2786" y="2826"/>
                </a:lnTo>
                <a:lnTo>
                  <a:pt x="2794" y="2830"/>
                </a:lnTo>
                <a:lnTo>
                  <a:pt x="2803" y="2838"/>
                </a:lnTo>
                <a:lnTo>
                  <a:pt x="2807" y="2847"/>
                </a:lnTo>
                <a:lnTo>
                  <a:pt x="2813" y="2855"/>
                </a:lnTo>
                <a:lnTo>
                  <a:pt x="2815" y="2866"/>
                </a:lnTo>
                <a:lnTo>
                  <a:pt x="2815" y="2879"/>
                </a:lnTo>
                <a:lnTo>
                  <a:pt x="2815" y="2887"/>
                </a:lnTo>
                <a:lnTo>
                  <a:pt x="2813" y="2893"/>
                </a:lnTo>
                <a:lnTo>
                  <a:pt x="2811" y="2900"/>
                </a:lnTo>
                <a:lnTo>
                  <a:pt x="2809" y="2908"/>
                </a:lnTo>
                <a:lnTo>
                  <a:pt x="2805" y="2915"/>
                </a:lnTo>
                <a:lnTo>
                  <a:pt x="2801" y="2921"/>
                </a:lnTo>
                <a:lnTo>
                  <a:pt x="2790" y="2932"/>
                </a:lnTo>
                <a:lnTo>
                  <a:pt x="2784" y="2938"/>
                </a:lnTo>
                <a:lnTo>
                  <a:pt x="2777" y="2942"/>
                </a:lnTo>
                <a:lnTo>
                  <a:pt x="2765" y="2951"/>
                </a:lnTo>
                <a:lnTo>
                  <a:pt x="2756" y="2953"/>
                </a:lnTo>
                <a:lnTo>
                  <a:pt x="2750" y="2955"/>
                </a:lnTo>
                <a:lnTo>
                  <a:pt x="2733" y="2957"/>
                </a:lnTo>
                <a:lnTo>
                  <a:pt x="2726" y="2955"/>
                </a:lnTo>
                <a:lnTo>
                  <a:pt x="2724" y="2953"/>
                </a:lnTo>
                <a:lnTo>
                  <a:pt x="2722" y="2951"/>
                </a:lnTo>
                <a:lnTo>
                  <a:pt x="2720" y="2948"/>
                </a:lnTo>
                <a:lnTo>
                  <a:pt x="2718" y="2944"/>
                </a:lnTo>
                <a:lnTo>
                  <a:pt x="2718" y="2938"/>
                </a:lnTo>
                <a:lnTo>
                  <a:pt x="2718" y="2932"/>
                </a:lnTo>
                <a:lnTo>
                  <a:pt x="2720" y="2929"/>
                </a:lnTo>
                <a:lnTo>
                  <a:pt x="2722" y="2927"/>
                </a:lnTo>
                <a:lnTo>
                  <a:pt x="2735" y="2923"/>
                </a:lnTo>
                <a:lnTo>
                  <a:pt x="2748" y="2919"/>
                </a:lnTo>
                <a:lnTo>
                  <a:pt x="2758" y="2915"/>
                </a:lnTo>
                <a:lnTo>
                  <a:pt x="2767" y="2906"/>
                </a:lnTo>
                <a:lnTo>
                  <a:pt x="2773" y="2900"/>
                </a:lnTo>
                <a:lnTo>
                  <a:pt x="2777" y="2896"/>
                </a:lnTo>
                <a:lnTo>
                  <a:pt x="2779" y="2891"/>
                </a:lnTo>
                <a:lnTo>
                  <a:pt x="2784" y="2883"/>
                </a:lnTo>
                <a:lnTo>
                  <a:pt x="2784" y="2874"/>
                </a:lnTo>
                <a:lnTo>
                  <a:pt x="2784" y="2868"/>
                </a:lnTo>
                <a:lnTo>
                  <a:pt x="2781" y="2864"/>
                </a:lnTo>
                <a:lnTo>
                  <a:pt x="2781" y="2862"/>
                </a:lnTo>
                <a:lnTo>
                  <a:pt x="2777" y="2857"/>
                </a:lnTo>
                <a:lnTo>
                  <a:pt x="2775" y="2855"/>
                </a:lnTo>
                <a:lnTo>
                  <a:pt x="2771" y="2853"/>
                </a:lnTo>
                <a:lnTo>
                  <a:pt x="2760" y="2851"/>
                </a:lnTo>
                <a:lnTo>
                  <a:pt x="2750" y="2853"/>
                </a:lnTo>
                <a:lnTo>
                  <a:pt x="2743" y="2855"/>
                </a:lnTo>
                <a:lnTo>
                  <a:pt x="2739" y="2857"/>
                </a:lnTo>
                <a:lnTo>
                  <a:pt x="2733" y="2862"/>
                </a:lnTo>
                <a:lnTo>
                  <a:pt x="2729" y="2866"/>
                </a:lnTo>
                <a:lnTo>
                  <a:pt x="2718" y="2876"/>
                </a:lnTo>
                <a:lnTo>
                  <a:pt x="2716" y="2883"/>
                </a:lnTo>
                <a:lnTo>
                  <a:pt x="2712" y="2889"/>
                </a:lnTo>
                <a:lnTo>
                  <a:pt x="2705" y="2904"/>
                </a:lnTo>
                <a:lnTo>
                  <a:pt x="2701" y="2919"/>
                </a:lnTo>
                <a:lnTo>
                  <a:pt x="2699" y="2927"/>
                </a:lnTo>
                <a:lnTo>
                  <a:pt x="2699" y="2936"/>
                </a:lnTo>
                <a:lnTo>
                  <a:pt x="2701" y="2951"/>
                </a:lnTo>
                <a:lnTo>
                  <a:pt x="2701" y="2959"/>
                </a:lnTo>
                <a:lnTo>
                  <a:pt x="2703" y="2965"/>
                </a:lnTo>
                <a:lnTo>
                  <a:pt x="2709" y="2978"/>
                </a:lnTo>
                <a:lnTo>
                  <a:pt x="2716" y="2989"/>
                </a:lnTo>
                <a:lnTo>
                  <a:pt x="2724" y="2997"/>
                </a:lnTo>
                <a:lnTo>
                  <a:pt x="2729" y="2999"/>
                </a:lnTo>
                <a:lnTo>
                  <a:pt x="2733" y="3003"/>
                </a:lnTo>
                <a:lnTo>
                  <a:pt x="2745" y="3006"/>
                </a:lnTo>
                <a:lnTo>
                  <a:pt x="2752" y="3008"/>
                </a:lnTo>
                <a:lnTo>
                  <a:pt x="2758" y="3008"/>
                </a:lnTo>
                <a:lnTo>
                  <a:pt x="2771" y="3008"/>
                </a:lnTo>
                <a:lnTo>
                  <a:pt x="2781" y="3003"/>
                </a:lnTo>
                <a:lnTo>
                  <a:pt x="2788" y="3001"/>
                </a:lnTo>
                <a:lnTo>
                  <a:pt x="2792" y="2997"/>
                </a:lnTo>
                <a:lnTo>
                  <a:pt x="2803" y="2991"/>
                </a:lnTo>
                <a:lnTo>
                  <a:pt x="2813" y="2980"/>
                </a:lnTo>
                <a:lnTo>
                  <a:pt x="2822" y="2970"/>
                </a:lnTo>
                <a:lnTo>
                  <a:pt x="2828" y="2959"/>
                </a:lnTo>
                <a:lnTo>
                  <a:pt x="2836" y="2946"/>
                </a:lnTo>
                <a:lnTo>
                  <a:pt x="2843" y="2932"/>
                </a:lnTo>
                <a:lnTo>
                  <a:pt x="2847" y="2919"/>
                </a:lnTo>
                <a:lnTo>
                  <a:pt x="2851" y="2904"/>
                </a:lnTo>
                <a:lnTo>
                  <a:pt x="2856" y="2889"/>
                </a:lnTo>
                <a:lnTo>
                  <a:pt x="2858" y="2874"/>
                </a:lnTo>
                <a:lnTo>
                  <a:pt x="2860" y="2860"/>
                </a:lnTo>
                <a:lnTo>
                  <a:pt x="2860" y="2847"/>
                </a:lnTo>
                <a:lnTo>
                  <a:pt x="2860" y="2834"/>
                </a:lnTo>
                <a:lnTo>
                  <a:pt x="2862" y="2832"/>
                </a:lnTo>
                <a:lnTo>
                  <a:pt x="2864" y="2830"/>
                </a:lnTo>
                <a:lnTo>
                  <a:pt x="2868" y="2828"/>
                </a:lnTo>
                <a:lnTo>
                  <a:pt x="2872" y="2828"/>
                </a:lnTo>
                <a:lnTo>
                  <a:pt x="2881" y="2828"/>
                </a:lnTo>
                <a:lnTo>
                  <a:pt x="2885" y="2830"/>
                </a:lnTo>
                <a:lnTo>
                  <a:pt x="2887" y="2832"/>
                </a:lnTo>
                <a:lnTo>
                  <a:pt x="2892" y="2841"/>
                </a:lnTo>
                <a:lnTo>
                  <a:pt x="2894" y="2847"/>
                </a:lnTo>
                <a:lnTo>
                  <a:pt x="2894" y="2853"/>
                </a:lnTo>
                <a:lnTo>
                  <a:pt x="2892" y="2872"/>
                </a:lnTo>
                <a:lnTo>
                  <a:pt x="2889" y="2889"/>
                </a:lnTo>
                <a:lnTo>
                  <a:pt x="2887" y="2908"/>
                </a:lnTo>
                <a:lnTo>
                  <a:pt x="2883" y="2925"/>
                </a:lnTo>
                <a:lnTo>
                  <a:pt x="2877" y="2942"/>
                </a:lnTo>
                <a:lnTo>
                  <a:pt x="2870" y="2957"/>
                </a:lnTo>
                <a:lnTo>
                  <a:pt x="2862" y="2972"/>
                </a:lnTo>
                <a:lnTo>
                  <a:pt x="2853" y="2987"/>
                </a:lnTo>
                <a:lnTo>
                  <a:pt x="2845" y="2999"/>
                </a:lnTo>
                <a:lnTo>
                  <a:pt x="2839" y="3003"/>
                </a:lnTo>
                <a:lnTo>
                  <a:pt x="2834" y="3010"/>
                </a:lnTo>
                <a:lnTo>
                  <a:pt x="2824" y="3020"/>
                </a:lnTo>
                <a:lnTo>
                  <a:pt x="2811" y="3029"/>
                </a:lnTo>
                <a:lnTo>
                  <a:pt x="2798" y="3035"/>
                </a:lnTo>
                <a:lnTo>
                  <a:pt x="2786" y="3039"/>
                </a:lnTo>
                <a:lnTo>
                  <a:pt x="2771" y="3044"/>
                </a:lnTo>
                <a:lnTo>
                  <a:pt x="2756" y="3044"/>
                </a:lnTo>
                <a:close/>
                <a:moveTo>
                  <a:pt x="2987" y="3039"/>
                </a:moveTo>
                <a:lnTo>
                  <a:pt x="2980" y="3037"/>
                </a:lnTo>
                <a:lnTo>
                  <a:pt x="2972" y="3033"/>
                </a:lnTo>
                <a:lnTo>
                  <a:pt x="2957" y="3016"/>
                </a:lnTo>
                <a:lnTo>
                  <a:pt x="2936" y="2997"/>
                </a:lnTo>
                <a:lnTo>
                  <a:pt x="2919" y="2978"/>
                </a:lnTo>
                <a:lnTo>
                  <a:pt x="2911" y="2968"/>
                </a:lnTo>
                <a:lnTo>
                  <a:pt x="2906" y="2961"/>
                </a:lnTo>
                <a:lnTo>
                  <a:pt x="2900" y="2948"/>
                </a:lnTo>
                <a:lnTo>
                  <a:pt x="2900" y="2944"/>
                </a:lnTo>
                <a:lnTo>
                  <a:pt x="2900" y="2938"/>
                </a:lnTo>
                <a:lnTo>
                  <a:pt x="2900" y="2932"/>
                </a:lnTo>
                <a:lnTo>
                  <a:pt x="2902" y="2923"/>
                </a:lnTo>
                <a:lnTo>
                  <a:pt x="2904" y="2917"/>
                </a:lnTo>
                <a:lnTo>
                  <a:pt x="2911" y="2908"/>
                </a:lnTo>
                <a:lnTo>
                  <a:pt x="2921" y="2893"/>
                </a:lnTo>
                <a:lnTo>
                  <a:pt x="2940" y="2872"/>
                </a:lnTo>
                <a:lnTo>
                  <a:pt x="2983" y="2824"/>
                </a:lnTo>
                <a:lnTo>
                  <a:pt x="2989" y="2826"/>
                </a:lnTo>
                <a:lnTo>
                  <a:pt x="2995" y="2828"/>
                </a:lnTo>
                <a:lnTo>
                  <a:pt x="2999" y="2832"/>
                </a:lnTo>
                <a:lnTo>
                  <a:pt x="3004" y="2836"/>
                </a:lnTo>
                <a:lnTo>
                  <a:pt x="3004" y="2843"/>
                </a:lnTo>
                <a:lnTo>
                  <a:pt x="3004" y="2849"/>
                </a:lnTo>
                <a:lnTo>
                  <a:pt x="3002" y="2853"/>
                </a:lnTo>
                <a:lnTo>
                  <a:pt x="2999" y="2857"/>
                </a:lnTo>
                <a:lnTo>
                  <a:pt x="2970" y="2891"/>
                </a:lnTo>
                <a:lnTo>
                  <a:pt x="2951" y="2910"/>
                </a:lnTo>
                <a:lnTo>
                  <a:pt x="2938" y="2927"/>
                </a:lnTo>
                <a:lnTo>
                  <a:pt x="2936" y="2932"/>
                </a:lnTo>
                <a:lnTo>
                  <a:pt x="2936" y="2936"/>
                </a:lnTo>
                <a:lnTo>
                  <a:pt x="2936" y="2940"/>
                </a:lnTo>
                <a:lnTo>
                  <a:pt x="2940" y="2946"/>
                </a:lnTo>
                <a:lnTo>
                  <a:pt x="2951" y="2959"/>
                </a:lnTo>
                <a:lnTo>
                  <a:pt x="2968" y="2976"/>
                </a:lnTo>
                <a:lnTo>
                  <a:pt x="2987" y="2997"/>
                </a:lnTo>
                <a:lnTo>
                  <a:pt x="3006" y="3014"/>
                </a:lnTo>
                <a:lnTo>
                  <a:pt x="3008" y="3016"/>
                </a:lnTo>
                <a:lnTo>
                  <a:pt x="3008" y="3020"/>
                </a:lnTo>
                <a:lnTo>
                  <a:pt x="3008" y="3023"/>
                </a:lnTo>
                <a:lnTo>
                  <a:pt x="3006" y="3027"/>
                </a:lnTo>
                <a:lnTo>
                  <a:pt x="3002" y="3033"/>
                </a:lnTo>
                <a:lnTo>
                  <a:pt x="2993" y="3037"/>
                </a:lnTo>
                <a:lnTo>
                  <a:pt x="2991" y="3039"/>
                </a:lnTo>
                <a:lnTo>
                  <a:pt x="2987" y="3039"/>
                </a:lnTo>
                <a:close/>
                <a:moveTo>
                  <a:pt x="2756" y="3636"/>
                </a:moveTo>
                <a:lnTo>
                  <a:pt x="2748" y="3634"/>
                </a:lnTo>
                <a:lnTo>
                  <a:pt x="2739" y="3634"/>
                </a:lnTo>
                <a:lnTo>
                  <a:pt x="2729" y="3630"/>
                </a:lnTo>
                <a:lnTo>
                  <a:pt x="2720" y="3628"/>
                </a:lnTo>
                <a:lnTo>
                  <a:pt x="2714" y="3624"/>
                </a:lnTo>
                <a:lnTo>
                  <a:pt x="2705" y="3617"/>
                </a:lnTo>
                <a:lnTo>
                  <a:pt x="2699" y="3611"/>
                </a:lnTo>
                <a:lnTo>
                  <a:pt x="2693" y="3605"/>
                </a:lnTo>
                <a:lnTo>
                  <a:pt x="2686" y="3598"/>
                </a:lnTo>
                <a:lnTo>
                  <a:pt x="2682" y="3590"/>
                </a:lnTo>
                <a:lnTo>
                  <a:pt x="2673" y="3571"/>
                </a:lnTo>
                <a:lnTo>
                  <a:pt x="2669" y="3560"/>
                </a:lnTo>
                <a:lnTo>
                  <a:pt x="2667" y="3552"/>
                </a:lnTo>
                <a:lnTo>
                  <a:pt x="2667" y="3541"/>
                </a:lnTo>
                <a:lnTo>
                  <a:pt x="2665" y="3528"/>
                </a:lnTo>
                <a:lnTo>
                  <a:pt x="2667" y="3518"/>
                </a:lnTo>
                <a:lnTo>
                  <a:pt x="2667" y="3507"/>
                </a:lnTo>
                <a:lnTo>
                  <a:pt x="2669" y="3497"/>
                </a:lnTo>
                <a:lnTo>
                  <a:pt x="2673" y="3486"/>
                </a:lnTo>
                <a:lnTo>
                  <a:pt x="2678" y="3476"/>
                </a:lnTo>
                <a:lnTo>
                  <a:pt x="2682" y="3465"/>
                </a:lnTo>
                <a:lnTo>
                  <a:pt x="2688" y="3456"/>
                </a:lnTo>
                <a:lnTo>
                  <a:pt x="2695" y="3448"/>
                </a:lnTo>
                <a:lnTo>
                  <a:pt x="2701" y="3442"/>
                </a:lnTo>
                <a:lnTo>
                  <a:pt x="2707" y="3433"/>
                </a:lnTo>
                <a:lnTo>
                  <a:pt x="2716" y="3429"/>
                </a:lnTo>
                <a:lnTo>
                  <a:pt x="2724" y="3423"/>
                </a:lnTo>
                <a:lnTo>
                  <a:pt x="2733" y="3418"/>
                </a:lnTo>
                <a:lnTo>
                  <a:pt x="2743" y="3416"/>
                </a:lnTo>
                <a:lnTo>
                  <a:pt x="2752" y="3414"/>
                </a:lnTo>
                <a:lnTo>
                  <a:pt x="2762" y="3414"/>
                </a:lnTo>
                <a:lnTo>
                  <a:pt x="2775" y="3414"/>
                </a:lnTo>
                <a:lnTo>
                  <a:pt x="2779" y="3416"/>
                </a:lnTo>
                <a:lnTo>
                  <a:pt x="2786" y="3418"/>
                </a:lnTo>
                <a:lnTo>
                  <a:pt x="2794" y="3423"/>
                </a:lnTo>
                <a:lnTo>
                  <a:pt x="2803" y="3429"/>
                </a:lnTo>
                <a:lnTo>
                  <a:pt x="2807" y="3437"/>
                </a:lnTo>
                <a:lnTo>
                  <a:pt x="2813" y="3448"/>
                </a:lnTo>
                <a:lnTo>
                  <a:pt x="2815" y="3459"/>
                </a:lnTo>
                <a:lnTo>
                  <a:pt x="2815" y="3471"/>
                </a:lnTo>
                <a:lnTo>
                  <a:pt x="2815" y="3478"/>
                </a:lnTo>
                <a:lnTo>
                  <a:pt x="2813" y="3486"/>
                </a:lnTo>
                <a:lnTo>
                  <a:pt x="2811" y="3492"/>
                </a:lnTo>
                <a:lnTo>
                  <a:pt x="2809" y="3499"/>
                </a:lnTo>
                <a:lnTo>
                  <a:pt x="2805" y="3507"/>
                </a:lnTo>
                <a:lnTo>
                  <a:pt x="2801" y="3514"/>
                </a:lnTo>
                <a:lnTo>
                  <a:pt x="2790" y="3524"/>
                </a:lnTo>
                <a:lnTo>
                  <a:pt x="2784" y="3528"/>
                </a:lnTo>
                <a:lnTo>
                  <a:pt x="2777" y="3535"/>
                </a:lnTo>
                <a:lnTo>
                  <a:pt x="2765" y="3541"/>
                </a:lnTo>
                <a:lnTo>
                  <a:pt x="2756" y="3543"/>
                </a:lnTo>
                <a:lnTo>
                  <a:pt x="2750" y="3545"/>
                </a:lnTo>
                <a:lnTo>
                  <a:pt x="2733" y="3547"/>
                </a:lnTo>
                <a:lnTo>
                  <a:pt x="2726" y="3545"/>
                </a:lnTo>
                <a:lnTo>
                  <a:pt x="2724" y="3545"/>
                </a:lnTo>
                <a:lnTo>
                  <a:pt x="2722" y="3543"/>
                </a:lnTo>
                <a:lnTo>
                  <a:pt x="2720" y="3539"/>
                </a:lnTo>
                <a:lnTo>
                  <a:pt x="2718" y="3537"/>
                </a:lnTo>
                <a:lnTo>
                  <a:pt x="2718" y="3528"/>
                </a:lnTo>
                <a:lnTo>
                  <a:pt x="2718" y="3522"/>
                </a:lnTo>
                <a:lnTo>
                  <a:pt x="2720" y="3520"/>
                </a:lnTo>
                <a:lnTo>
                  <a:pt x="2722" y="3518"/>
                </a:lnTo>
                <a:lnTo>
                  <a:pt x="2735" y="3516"/>
                </a:lnTo>
                <a:lnTo>
                  <a:pt x="2748" y="3511"/>
                </a:lnTo>
                <a:lnTo>
                  <a:pt x="2758" y="3505"/>
                </a:lnTo>
                <a:lnTo>
                  <a:pt x="2767" y="3499"/>
                </a:lnTo>
                <a:lnTo>
                  <a:pt x="2773" y="3490"/>
                </a:lnTo>
                <a:lnTo>
                  <a:pt x="2777" y="3486"/>
                </a:lnTo>
                <a:lnTo>
                  <a:pt x="2779" y="3482"/>
                </a:lnTo>
                <a:lnTo>
                  <a:pt x="2784" y="3473"/>
                </a:lnTo>
                <a:lnTo>
                  <a:pt x="2784" y="3465"/>
                </a:lnTo>
                <a:lnTo>
                  <a:pt x="2784" y="3461"/>
                </a:lnTo>
                <a:lnTo>
                  <a:pt x="2781" y="3456"/>
                </a:lnTo>
                <a:lnTo>
                  <a:pt x="2781" y="3452"/>
                </a:lnTo>
                <a:lnTo>
                  <a:pt x="2777" y="3450"/>
                </a:lnTo>
                <a:lnTo>
                  <a:pt x="2775" y="3446"/>
                </a:lnTo>
                <a:lnTo>
                  <a:pt x="2771" y="3444"/>
                </a:lnTo>
                <a:lnTo>
                  <a:pt x="2760" y="3444"/>
                </a:lnTo>
                <a:lnTo>
                  <a:pt x="2750" y="3446"/>
                </a:lnTo>
                <a:lnTo>
                  <a:pt x="2743" y="3448"/>
                </a:lnTo>
                <a:lnTo>
                  <a:pt x="2739" y="3450"/>
                </a:lnTo>
                <a:lnTo>
                  <a:pt x="2733" y="3454"/>
                </a:lnTo>
                <a:lnTo>
                  <a:pt x="2729" y="3459"/>
                </a:lnTo>
                <a:lnTo>
                  <a:pt x="2718" y="3469"/>
                </a:lnTo>
                <a:lnTo>
                  <a:pt x="2716" y="3473"/>
                </a:lnTo>
                <a:lnTo>
                  <a:pt x="2712" y="3480"/>
                </a:lnTo>
                <a:lnTo>
                  <a:pt x="2705" y="3495"/>
                </a:lnTo>
                <a:lnTo>
                  <a:pt x="2701" y="3511"/>
                </a:lnTo>
                <a:lnTo>
                  <a:pt x="2699" y="3520"/>
                </a:lnTo>
                <a:lnTo>
                  <a:pt x="2699" y="3528"/>
                </a:lnTo>
                <a:lnTo>
                  <a:pt x="2701" y="3543"/>
                </a:lnTo>
                <a:lnTo>
                  <a:pt x="2701" y="3550"/>
                </a:lnTo>
                <a:lnTo>
                  <a:pt x="2703" y="3556"/>
                </a:lnTo>
                <a:lnTo>
                  <a:pt x="2709" y="3569"/>
                </a:lnTo>
                <a:lnTo>
                  <a:pt x="2716" y="3579"/>
                </a:lnTo>
                <a:lnTo>
                  <a:pt x="2724" y="3588"/>
                </a:lnTo>
                <a:lnTo>
                  <a:pt x="2729" y="3592"/>
                </a:lnTo>
                <a:lnTo>
                  <a:pt x="2733" y="3594"/>
                </a:lnTo>
                <a:lnTo>
                  <a:pt x="2745" y="3598"/>
                </a:lnTo>
                <a:lnTo>
                  <a:pt x="2752" y="3598"/>
                </a:lnTo>
                <a:lnTo>
                  <a:pt x="2758" y="3600"/>
                </a:lnTo>
                <a:lnTo>
                  <a:pt x="2771" y="3598"/>
                </a:lnTo>
                <a:lnTo>
                  <a:pt x="2781" y="3594"/>
                </a:lnTo>
                <a:lnTo>
                  <a:pt x="2788" y="3592"/>
                </a:lnTo>
                <a:lnTo>
                  <a:pt x="2792" y="3590"/>
                </a:lnTo>
                <a:lnTo>
                  <a:pt x="2803" y="3581"/>
                </a:lnTo>
                <a:lnTo>
                  <a:pt x="2813" y="3573"/>
                </a:lnTo>
                <a:lnTo>
                  <a:pt x="2822" y="3562"/>
                </a:lnTo>
                <a:lnTo>
                  <a:pt x="2828" y="3550"/>
                </a:lnTo>
                <a:lnTo>
                  <a:pt x="2836" y="3537"/>
                </a:lnTo>
                <a:lnTo>
                  <a:pt x="2843" y="3524"/>
                </a:lnTo>
                <a:lnTo>
                  <a:pt x="2847" y="3509"/>
                </a:lnTo>
                <a:lnTo>
                  <a:pt x="2851" y="3495"/>
                </a:lnTo>
                <a:lnTo>
                  <a:pt x="2856" y="3482"/>
                </a:lnTo>
                <a:lnTo>
                  <a:pt x="2858" y="3467"/>
                </a:lnTo>
                <a:lnTo>
                  <a:pt x="2860" y="3452"/>
                </a:lnTo>
                <a:lnTo>
                  <a:pt x="2860" y="3440"/>
                </a:lnTo>
                <a:lnTo>
                  <a:pt x="2860" y="3427"/>
                </a:lnTo>
                <a:lnTo>
                  <a:pt x="2862" y="3423"/>
                </a:lnTo>
                <a:lnTo>
                  <a:pt x="2864" y="3420"/>
                </a:lnTo>
                <a:lnTo>
                  <a:pt x="2868" y="3418"/>
                </a:lnTo>
                <a:lnTo>
                  <a:pt x="2872" y="3418"/>
                </a:lnTo>
                <a:lnTo>
                  <a:pt x="2881" y="3420"/>
                </a:lnTo>
                <a:lnTo>
                  <a:pt x="2885" y="3423"/>
                </a:lnTo>
                <a:lnTo>
                  <a:pt x="2887" y="3425"/>
                </a:lnTo>
                <a:lnTo>
                  <a:pt x="2892" y="3431"/>
                </a:lnTo>
                <a:lnTo>
                  <a:pt x="2894" y="3437"/>
                </a:lnTo>
                <a:lnTo>
                  <a:pt x="2894" y="3444"/>
                </a:lnTo>
                <a:lnTo>
                  <a:pt x="2892" y="3463"/>
                </a:lnTo>
                <a:lnTo>
                  <a:pt x="2889" y="3482"/>
                </a:lnTo>
                <a:lnTo>
                  <a:pt x="2887" y="3499"/>
                </a:lnTo>
                <a:lnTo>
                  <a:pt x="2883" y="3518"/>
                </a:lnTo>
                <a:lnTo>
                  <a:pt x="2877" y="3533"/>
                </a:lnTo>
                <a:lnTo>
                  <a:pt x="2870" y="3550"/>
                </a:lnTo>
                <a:lnTo>
                  <a:pt x="2862" y="3564"/>
                </a:lnTo>
                <a:lnTo>
                  <a:pt x="2853" y="3577"/>
                </a:lnTo>
                <a:lnTo>
                  <a:pt x="2845" y="3590"/>
                </a:lnTo>
                <a:lnTo>
                  <a:pt x="2839" y="3596"/>
                </a:lnTo>
                <a:lnTo>
                  <a:pt x="2834" y="3603"/>
                </a:lnTo>
                <a:lnTo>
                  <a:pt x="2824" y="3611"/>
                </a:lnTo>
                <a:lnTo>
                  <a:pt x="2811" y="3619"/>
                </a:lnTo>
                <a:lnTo>
                  <a:pt x="2798" y="3626"/>
                </a:lnTo>
                <a:lnTo>
                  <a:pt x="2786" y="3632"/>
                </a:lnTo>
                <a:lnTo>
                  <a:pt x="2771" y="3634"/>
                </a:lnTo>
                <a:lnTo>
                  <a:pt x="2756" y="3636"/>
                </a:lnTo>
                <a:close/>
                <a:moveTo>
                  <a:pt x="2987" y="3632"/>
                </a:moveTo>
                <a:lnTo>
                  <a:pt x="2980" y="3630"/>
                </a:lnTo>
                <a:lnTo>
                  <a:pt x="2972" y="3624"/>
                </a:lnTo>
                <a:lnTo>
                  <a:pt x="2957" y="3609"/>
                </a:lnTo>
                <a:lnTo>
                  <a:pt x="2936" y="3590"/>
                </a:lnTo>
                <a:lnTo>
                  <a:pt x="2919" y="3569"/>
                </a:lnTo>
                <a:lnTo>
                  <a:pt x="2911" y="3560"/>
                </a:lnTo>
                <a:lnTo>
                  <a:pt x="2906" y="3554"/>
                </a:lnTo>
                <a:lnTo>
                  <a:pt x="2900" y="3541"/>
                </a:lnTo>
                <a:lnTo>
                  <a:pt x="2900" y="3535"/>
                </a:lnTo>
                <a:lnTo>
                  <a:pt x="2900" y="3528"/>
                </a:lnTo>
                <a:lnTo>
                  <a:pt x="2900" y="3522"/>
                </a:lnTo>
                <a:lnTo>
                  <a:pt x="2902" y="3516"/>
                </a:lnTo>
                <a:lnTo>
                  <a:pt x="2904" y="3507"/>
                </a:lnTo>
                <a:lnTo>
                  <a:pt x="2911" y="3499"/>
                </a:lnTo>
                <a:lnTo>
                  <a:pt x="2921" y="3484"/>
                </a:lnTo>
                <a:lnTo>
                  <a:pt x="2940" y="3465"/>
                </a:lnTo>
                <a:lnTo>
                  <a:pt x="2983" y="3416"/>
                </a:lnTo>
                <a:lnTo>
                  <a:pt x="2989" y="3416"/>
                </a:lnTo>
                <a:lnTo>
                  <a:pt x="2995" y="3420"/>
                </a:lnTo>
                <a:lnTo>
                  <a:pt x="2999" y="3423"/>
                </a:lnTo>
                <a:lnTo>
                  <a:pt x="3004" y="3429"/>
                </a:lnTo>
                <a:lnTo>
                  <a:pt x="3004" y="3435"/>
                </a:lnTo>
                <a:lnTo>
                  <a:pt x="3004" y="3442"/>
                </a:lnTo>
                <a:lnTo>
                  <a:pt x="3002" y="3444"/>
                </a:lnTo>
                <a:lnTo>
                  <a:pt x="2999" y="3448"/>
                </a:lnTo>
                <a:lnTo>
                  <a:pt x="2970" y="3482"/>
                </a:lnTo>
                <a:lnTo>
                  <a:pt x="2951" y="3503"/>
                </a:lnTo>
                <a:lnTo>
                  <a:pt x="2938" y="3518"/>
                </a:lnTo>
                <a:lnTo>
                  <a:pt x="2936" y="3522"/>
                </a:lnTo>
                <a:lnTo>
                  <a:pt x="2936" y="3528"/>
                </a:lnTo>
                <a:lnTo>
                  <a:pt x="2936" y="3533"/>
                </a:lnTo>
                <a:lnTo>
                  <a:pt x="2940" y="3539"/>
                </a:lnTo>
                <a:lnTo>
                  <a:pt x="2951" y="3552"/>
                </a:lnTo>
                <a:lnTo>
                  <a:pt x="2968" y="3569"/>
                </a:lnTo>
                <a:lnTo>
                  <a:pt x="2987" y="3588"/>
                </a:lnTo>
                <a:lnTo>
                  <a:pt x="3006" y="3607"/>
                </a:lnTo>
                <a:lnTo>
                  <a:pt x="3008" y="3609"/>
                </a:lnTo>
                <a:lnTo>
                  <a:pt x="3008" y="3611"/>
                </a:lnTo>
                <a:lnTo>
                  <a:pt x="3008" y="3615"/>
                </a:lnTo>
                <a:lnTo>
                  <a:pt x="3006" y="3617"/>
                </a:lnTo>
                <a:lnTo>
                  <a:pt x="3002" y="3626"/>
                </a:lnTo>
                <a:lnTo>
                  <a:pt x="2993" y="3630"/>
                </a:lnTo>
                <a:lnTo>
                  <a:pt x="2991" y="3632"/>
                </a:lnTo>
                <a:lnTo>
                  <a:pt x="2987" y="3632"/>
                </a:lnTo>
                <a:close/>
                <a:moveTo>
                  <a:pt x="2292" y="2451"/>
                </a:moveTo>
                <a:lnTo>
                  <a:pt x="2284" y="2451"/>
                </a:lnTo>
                <a:lnTo>
                  <a:pt x="2276" y="2449"/>
                </a:lnTo>
                <a:lnTo>
                  <a:pt x="2267" y="2447"/>
                </a:lnTo>
                <a:lnTo>
                  <a:pt x="2259" y="2445"/>
                </a:lnTo>
                <a:lnTo>
                  <a:pt x="2250" y="2440"/>
                </a:lnTo>
                <a:lnTo>
                  <a:pt x="2244" y="2434"/>
                </a:lnTo>
                <a:lnTo>
                  <a:pt x="2235" y="2428"/>
                </a:lnTo>
                <a:lnTo>
                  <a:pt x="2229" y="2421"/>
                </a:lnTo>
                <a:lnTo>
                  <a:pt x="2223" y="2413"/>
                </a:lnTo>
                <a:lnTo>
                  <a:pt x="2218" y="2407"/>
                </a:lnTo>
                <a:lnTo>
                  <a:pt x="2210" y="2388"/>
                </a:lnTo>
                <a:lnTo>
                  <a:pt x="2208" y="2377"/>
                </a:lnTo>
                <a:lnTo>
                  <a:pt x="2206" y="2369"/>
                </a:lnTo>
                <a:lnTo>
                  <a:pt x="2204" y="2358"/>
                </a:lnTo>
                <a:lnTo>
                  <a:pt x="2204" y="2345"/>
                </a:lnTo>
                <a:lnTo>
                  <a:pt x="2204" y="2335"/>
                </a:lnTo>
                <a:lnTo>
                  <a:pt x="2206" y="2324"/>
                </a:lnTo>
                <a:lnTo>
                  <a:pt x="2208" y="2313"/>
                </a:lnTo>
                <a:lnTo>
                  <a:pt x="2210" y="2303"/>
                </a:lnTo>
                <a:lnTo>
                  <a:pt x="2214" y="2292"/>
                </a:lnTo>
                <a:lnTo>
                  <a:pt x="2218" y="2282"/>
                </a:lnTo>
                <a:lnTo>
                  <a:pt x="2225" y="2273"/>
                </a:lnTo>
                <a:lnTo>
                  <a:pt x="2231" y="2265"/>
                </a:lnTo>
                <a:lnTo>
                  <a:pt x="2237" y="2258"/>
                </a:lnTo>
                <a:lnTo>
                  <a:pt x="2246" y="2250"/>
                </a:lnTo>
                <a:lnTo>
                  <a:pt x="2252" y="2244"/>
                </a:lnTo>
                <a:lnTo>
                  <a:pt x="2261" y="2239"/>
                </a:lnTo>
                <a:lnTo>
                  <a:pt x="2271" y="2235"/>
                </a:lnTo>
                <a:lnTo>
                  <a:pt x="2280" y="2233"/>
                </a:lnTo>
                <a:lnTo>
                  <a:pt x="2288" y="2231"/>
                </a:lnTo>
                <a:lnTo>
                  <a:pt x="2299" y="2229"/>
                </a:lnTo>
                <a:lnTo>
                  <a:pt x="2312" y="2231"/>
                </a:lnTo>
                <a:lnTo>
                  <a:pt x="2316" y="2233"/>
                </a:lnTo>
                <a:lnTo>
                  <a:pt x="2322" y="2235"/>
                </a:lnTo>
                <a:lnTo>
                  <a:pt x="2331" y="2239"/>
                </a:lnTo>
                <a:lnTo>
                  <a:pt x="2339" y="2246"/>
                </a:lnTo>
                <a:lnTo>
                  <a:pt x="2345" y="2254"/>
                </a:lnTo>
                <a:lnTo>
                  <a:pt x="2350" y="2265"/>
                </a:lnTo>
                <a:lnTo>
                  <a:pt x="2352" y="2275"/>
                </a:lnTo>
                <a:lnTo>
                  <a:pt x="2354" y="2286"/>
                </a:lnTo>
                <a:lnTo>
                  <a:pt x="2352" y="2294"/>
                </a:lnTo>
                <a:lnTo>
                  <a:pt x="2352" y="2303"/>
                </a:lnTo>
                <a:lnTo>
                  <a:pt x="2350" y="2309"/>
                </a:lnTo>
                <a:lnTo>
                  <a:pt x="2345" y="2316"/>
                </a:lnTo>
                <a:lnTo>
                  <a:pt x="2341" y="2322"/>
                </a:lnTo>
                <a:lnTo>
                  <a:pt x="2337" y="2328"/>
                </a:lnTo>
                <a:lnTo>
                  <a:pt x="2326" y="2341"/>
                </a:lnTo>
                <a:lnTo>
                  <a:pt x="2320" y="2345"/>
                </a:lnTo>
                <a:lnTo>
                  <a:pt x="2314" y="2352"/>
                </a:lnTo>
                <a:lnTo>
                  <a:pt x="2301" y="2358"/>
                </a:lnTo>
                <a:lnTo>
                  <a:pt x="2292" y="2360"/>
                </a:lnTo>
                <a:lnTo>
                  <a:pt x="2286" y="2362"/>
                </a:lnTo>
                <a:lnTo>
                  <a:pt x="2271" y="2364"/>
                </a:lnTo>
                <a:lnTo>
                  <a:pt x="2265" y="2362"/>
                </a:lnTo>
                <a:lnTo>
                  <a:pt x="2261" y="2362"/>
                </a:lnTo>
                <a:lnTo>
                  <a:pt x="2259" y="2358"/>
                </a:lnTo>
                <a:lnTo>
                  <a:pt x="2256" y="2356"/>
                </a:lnTo>
                <a:lnTo>
                  <a:pt x="2256" y="2354"/>
                </a:lnTo>
                <a:lnTo>
                  <a:pt x="2254" y="2345"/>
                </a:lnTo>
                <a:lnTo>
                  <a:pt x="2256" y="2339"/>
                </a:lnTo>
                <a:lnTo>
                  <a:pt x="2256" y="2337"/>
                </a:lnTo>
                <a:lnTo>
                  <a:pt x="2259" y="2335"/>
                </a:lnTo>
                <a:lnTo>
                  <a:pt x="2271" y="2333"/>
                </a:lnTo>
                <a:lnTo>
                  <a:pt x="2284" y="2328"/>
                </a:lnTo>
                <a:lnTo>
                  <a:pt x="2295" y="2322"/>
                </a:lnTo>
                <a:lnTo>
                  <a:pt x="2303" y="2316"/>
                </a:lnTo>
                <a:lnTo>
                  <a:pt x="2312" y="2307"/>
                </a:lnTo>
                <a:lnTo>
                  <a:pt x="2314" y="2303"/>
                </a:lnTo>
                <a:lnTo>
                  <a:pt x="2316" y="2299"/>
                </a:lnTo>
                <a:lnTo>
                  <a:pt x="2320" y="2290"/>
                </a:lnTo>
                <a:lnTo>
                  <a:pt x="2322" y="2282"/>
                </a:lnTo>
                <a:lnTo>
                  <a:pt x="2320" y="2277"/>
                </a:lnTo>
                <a:lnTo>
                  <a:pt x="2320" y="2273"/>
                </a:lnTo>
                <a:lnTo>
                  <a:pt x="2318" y="2269"/>
                </a:lnTo>
                <a:lnTo>
                  <a:pt x="2316" y="2265"/>
                </a:lnTo>
                <a:lnTo>
                  <a:pt x="2312" y="2263"/>
                </a:lnTo>
                <a:lnTo>
                  <a:pt x="2307" y="2261"/>
                </a:lnTo>
                <a:lnTo>
                  <a:pt x="2297" y="2261"/>
                </a:lnTo>
                <a:lnTo>
                  <a:pt x="2286" y="2261"/>
                </a:lnTo>
                <a:lnTo>
                  <a:pt x="2282" y="2263"/>
                </a:lnTo>
                <a:lnTo>
                  <a:pt x="2276" y="2267"/>
                </a:lnTo>
                <a:lnTo>
                  <a:pt x="2271" y="2271"/>
                </a:lnTo>
                <a:lnTo>
                  <a:pt x="2265" y="2275"/>
                </a:lnTo>
                <a:lnTo>
                  <a:pt x="2256" y="2284"/>
                </a:lnTo>
                <a:lnTo>
                  <a:pt x="2252" y="2290"/>
                </a:lnTo>
                <a:lnTo>
                  <a:pt x="2248" y="2297"/>
                </a:lnTo>
                <a:lnTo>
                  <a:pt x="2242" y="2311"/>
                </a:lnTo>
                <a:lnTo>
                  <a:pt x="2237" y="2328"/>
                </a:lnTo>
                <a:lnTo>
                  <a:pt x="2237" y="2337"/>
                </a:lnTo>
                <a:lnTo>
                  <a:pt x="2237" y="2345"/>
                </a:lnTo>
                <a:lnTo>
                  <a:pt x="2237" y="2360"/>
                </a:lnTo>
                <a:lnTo>
                  <a:pt x="2240" y="2366"/>
                </a:lnTo>
                <a:lnTo>
                  <a:pt x="2242" y="2373"/>
                </a:lnTo>
                <a:lnTo>
                  <a:pt x="2246" y="2385"/>
                </a:lnTo>
                <a:lnTo>
                  <a:pt x="2252" y="2396"/>
                </a:lnTo>
                <a:lnTo>
                  <a:pt x="2261" y="2404"/>
                </a:lnTo>
                <a:lnTo>
                  <a:pt x="2265" y="2409"/>
                </a:lnTo>
                <a:lnTo>
                  <a:pt x="2271" y="2411"/>
                </a:lnTo>
                <a:lnTo>
                  <a:pt x="2282" y="2415"/>
                </a:lnTo>
                <a:lnTo>
                  <a:pt x="2288" y="2415"/>
                </a:lnTo>
                <a:lnTo>
                  <a:pt x="2295" y="2417"/>
                </a:lnTo>
                <a:lnTo>
                  <a:pt x="2307" y="2415"/>
                </a:lnTo>
                <a:lnTo>
                  <a:pt x="2318" y="2411"/>
                </a:lnTo>
                <a:lnTo>
                  <a:pt x="2324" y="2409"/>
                </a:lnTo>
                <a:lnTo>
                  <a:pt x="2331" y="2407"/>
                </a:lnTo>
                <a:lnTo>
                  <a:pt x="2341" y="2398"/>
                </a:lnTo>
                <a:lnTo>
                  <a:pt x="2350" y="2390"/>
                </a:lnTo>
                <a:lnTo>
                  <a:pt x="2358" y="2379"/>
                </a:lnTo>
                <a:lnTo>
                  <a:pt x="2367" y="2366"/>
                </a:lnTo>
                <a:lnTo>
                  <a:pt x="2373" y="2354"/>
                </a:lnTo>
                <a:lnTo>
                  <a:pt x="2379" y="2341"/>
                </a:lnTo>
                <a:lnTo>
                  <a:pt x="2383" y="2326"/>
                </a:lnTo>
                <a:lnTo>
                  <a:pt x="2388" y="2311"/>
                </a:lnTo>
                <a:lnTo>
                  <a:pt x="2392" y="2297"/>
                </a:lnTo>
                <a:lnTo>
                  <a:pt x="2394" y="2284"/>
                </a:lnTo>
                <a:lnTo>
                  <a:pt x="2396" y="2269"/>
                </a:lnTo>
                <a:lnTo>
                  <a:pt x="2396" y="2256"/>
                </a:lnTo>
                <a:lnTo>
                  <a:pt x="2396" y="2242"/>
                </a:lnTo>
                <a:lnTo>
                  <a:pt x="2398" y="2239"/>
                </a:lnTo>
                <a:lnTo>
                  <a:pt x="2400" y="2237"/>
                </a:lnTo>
                <a:lnTo>
                  <a:pt x="2405" y="2235"/>
                </a:lnTo>
                <a:lnTo>
                  <a:pt x="2409" y="2235"/>
                </a:lnTo>
                <a:lnTo>
                  <a:pt x="2417" y="2237"/>
                </a:lnTo>
                <a:lnTo>
                  <a:pt x="2422" y="2237"/>
                </a:lnTo>
                <a:lnTo>
                  <a:pt x="2424" y="2242"/>
                </a:lnTo>
                <a:lnTo>
                  <a:pt x="2428" y="2248"/>
                </a:lnTo>
                <a:lnTo>
                  <a:pt x="2430" y="2254"/>
                </a:lnTo>
                <a:lnTo>
                  <a:pt x="2430" y="2261"/>
                </a:lnTo>
                <a:lnTo>
                  <a:pt x="2430" y="2280"/>
                </a:lnTo>
                <a:lnTo>
                  <a:pt x="2428" y="2299"/>
                </a:lnTo>
                <a:lnTo>
                  <a:pt x="2424" y="2316"/>
                </a:lnTo>
                <a:lnTo>
                  <a:pt x="2419" y="2333"/>
                </a:lnTo>
                <a:lnTo>
                  <a:pt x="2413" y="2349"/>
                </a:lnTo>
                <a:lnTo>
                  <a:pt x="2407" y="2366"/>
                </a:lnTo>
                <a:lnTo>
                  <a:pt x="2400" y="2381"/>
                </a:lnTo>
                <a:lnTo>
                  <a:pt x="2392" y="2394"/>
                </a:lnTo>
                <a:lnTo>
                  <a:pt x="2381" y="2407"/>
                </a:lnTo>
                <a:lnTo>
                  <a:pt x="2377" y="2413"/>
                </a:lnTo>
                <a:lnTo>
                  <a:pt x="2371" y="2417"/>
                </a:lnTo>
                <a:lnTo>
                  <a:pt x="2360" y="2428"/>
                </a:lnTo>
                <a:lnTo>
                  <a:pt x="2348" y="2436"/>
                </a:lnTo>
                <a:lnTo>
                  <a:pt x="2335" y="2443"/>
                </a:lnTo>
                <a:lnTo>
                  <a:pt x="2322" y="2449"/>
                </a:lnTo>
                <a:lnTo>
                  <a:pt x="2307" y="2451"/>
                </a:lnTo>
                <a:lnTo>
                  <a:pt x="2292" y="2451"/>
                </a:lnTo>
                <a:close/>
                <a:moveTo>
                  <a:pt x="2523" y="2449"/>
                </a:moveTo>
                <a:lnTo>
                  <a:pt x="2519" y="2447"/>
                </a:lnTo>
                <a:lnTo>
                  <a:pt x="2511" y="2440"/>
                </a:lnTo>
                <a:lnTo>
                  <a:pt x="2494" y="2426"/>
                </a:lnTo>
                <a:lnTo>
                  <a:pt x="2472" y="2407"/>
                </a:lnTo>
                <a:lnTo>
                  <a:pt x="2455" y="2385"/>
                </a:lnTo>
                <a:lnTo>
                  <a:pt x="2449" y="2377"/>
                </a:lnTo>
                <a:lnTo>
                  <a:pt x="2443" y="2371"/>
                </a:lnTo>
                <a:lnTo>
                  <a:pt x="2439" y="2358"/>
                </a:lnTo>
                <a:lnTo>
                  <a:pt x="2436" y="2352"/>
                </a:lnTo>
                <a:lnTo>
                  <a:pt x="2436" y="2345"/>
                </a:lnTo>
                <a:lnTo>
                  <a:pt x="2436" y="2339"/>
                </a:lnTo>
                <a:lnTo>
                  <a:pt x="2439" y="2333"/>
                </a:lnTo>
                <a:lnTo>
                  <a:pt x="2443" y="2324"/>
                </a:lnTo>
                <a:lnTo>
                  <a:pt x="2447" y="2316"/>
                </a:lnTo>
                <a:lnTo>
                  <a:pt x="2460" y="2301"/>
                </a:lnTo>
                <a:lnTo>
                  <a:pt x="2477" y="2282"/>
                </a:lnTo>
                <a:lnTo>
                  <a:pt x="2519" y="2233"/>
                </a:lnTo>
                <a:lnTo>
                  <a:pt x="2525" y="2233"/>
                </a:lnTo>
                <a:lnTo>
                  <a:pt x="2532" y="2235"/>
                </a:lnTo>
                <a:lnTo>
                  <a:pt x="2536" y="2239"/>
                </a:lnTo>
                <a:lnTo>
                  <a:pt x="2540" y="2246"/>
                </a:lnTo>
                <a:lnTo>
                  <a:pt x="2542" y="2252"/>
                </a:lnTo>
                <a:lnTo>
                  <a:pt x="2540" y="2258"/>
                </a:lnTo>
                <a:lnTo>
                  <a:pt x="2538" y="2261"/>
                </a:lnTo>
                <a:lnTo>
                  <a:pt x="2536" y="2265"/>
                </a:lnTo>
                <a:lnTo>
                  <a:pt x="2506" y="2299"/>
                </a:lnTo>
                <a:lnTo>
                  <a:pt x="2489" y="2320"/>
                </a:lnTo>
                <a:lnTo>
                  <a:pt x="2477" y="2335"/>
                </a:lnTo>
                <a:lnTo>
                  <a:pt x="2472" y="2339"/>
                </a:lnTo>
                <a:lnTo>
                  <a:pt x="2472" y="2343"/>
                </a:lnTo>
                <a:lnTo>
                  <a:pt x="2475" y="2349"/>
                </a:lnTo>
                <a:lnTo>
                  <a:pt x="2477" y="2356"/>
                </a:lnTo>
                <a:lnTo>
                  <a:pt x="2487" y="2366"/>
                </a:lnTo>
                <a:lnTo>
                  <a:pt x="2504" y="2385"/>
                </a:lnTo>
                <a:lnTo>
                  <a:pt x="2523" y="2404"/>
                </a:lnTo>
                <a:lnTo>
                  <a:pt x="2542" y="2424"/>
                </a:lnTo>
                <a:lnTo>
                  <a:pt x="2544" y="2426"/>
                </a:lnTo>
                <a:lnTo>
                  <a:pt x="2544" y="2428"/>
                </a:lnTo>
                <a:lnTo>
                  <a:pt x="2544" y="2432"/>
                </a:lnTo>
                <a:lnTo>
                  <a:pt x="2542" y="2434"/>
                </a:lnTo>
                <a:lnTo>
                  <a:pt x="2538" y="2443"/>
                </a:lnTo>
                <a:lnTo>
                  <a:pt x="2532" y="2447"/>
                </a:lnTo>
                <a:lnTo>
                  <a:pt x="2527" y="2449"/>
                </a:lnTo>
                <a:lnTo>
                  <a:pt x="2523" y="2449"/>
                </a:lnTo>
                <a:close/>
                <a:moveTo>
                  <a:pt x="2292" y="3044"/>
                </a:moveTo>
                <a:lnTo>
                  <a:pt x="2284" y="3044"/>
                </a:lnTo>
                <a:lnTo>
                  <a:pt x="2276" y="3042"/>
                </a:lnTo>
                <a:lnTo>
                  <a:pt x="2267" y="3039"/>
                </a:lnTo>
                <a:lnTo>
                  <a:pt x="2259" y="3035"/>
                </a:lnTo>
                <a:lnTo>
                  <a:pt x="2250" y="3031"/>
                </a:lnTo>
                <a:lnTo>
                  <a:pt x="2244" y="3027"/>
                </a:lnTo>
                <a:lnTo>
                  <a:pt x="2235" y="3020"/>
                </a:lnTo>
                <a:lnTo>
                  <a:pt x="2229" y="3012"/>
                </a:lnTo>
                <a:lnTo>
                  <a:pt x="2223" y="3006"/>
                </a:lnTo>
                <a:lnTo>
                  <a:pt x="2218" y="2997"/>
                </a:lnTo>
                <a:lnTo>
                  <a:pt x="2210" y="2980"/>
                </a:lnTo>
                <a:lnTo>
                  <a:pt x="2208" y="2970"/>
                </a:lnTo>
                <a:lnTo>
                  <a:pt x="2206" y="2959"/>
                </a:lnTo>
                <a:lnTo>
                  <a:pt x="2204" y="2948"/>
                </a:lnTo>
                <a:lnTo>
                  <a:pt x="2204" y="2938"/>
                </a:lnTo>
                <a:lnTo>
                  <a:pt x="2204" y="2927"/>
                </a:lnTo>
                <a:lnTo>
                  <a:pt x="2206" y="2915"/>
                </a:lnTo>
                <a:lnTo>
                  <a:pt x="2208" y="2904"/>
                </a:lnTo>
                <a:lnTo>
                  <a:pt x="2210" y="2893"/>
                </a:lnTo>
                <a:lnTo>
                  <a:pt x="2214" y="2883"/>
                </a:lnTo>
                <a:lnTo>
                  <a:pt x="2218" y="2874"/>
                </a:lnTo>
                <a:lnTo>
                  <a:pt x="2225" y="2866"/>
                </a:lnTo>
                <a:lnTo>
                  <a:pt x="2231" y="2857"/>
                </a:lnTo>
                <a:lnTo>
                  <a:pt x="2237" y="2849"/>
                </a:lnTo>
                <a:lnTo>
                  <a:pt x="2246" y="2843"/>
                </a:lnTo>
                <a:lnTo>
                  <a:pt x="2252" y="2836"/>
                </a:lnTo>
                <a:lnTo>
                  <a:pt x="2261" y="2832"/>
                </a:lnTo>
                <a:lnTo>
                  <a:pt x="2271" y="2828"/>
                </a:lnTo>
                <a:lnTo>
                  <a:pt x="2280" y="2824"/>
                </a:lnTo>
                <a:lnTo>
                  <a:pt x="2288" y="2821"/>
                </a:lnTo>
                <a:lnTo>
                  <a:pt x="2299" y="2821"/>
                </a:lnTo>
                <a:lnTo>
                  <a:pt x="2312" y="2824"/>
                </a:lnTo>
                <a:lnTo>
                  <a:pt x="2316" y="2824"/>
                </a:lnTo>
                <a:lnTo>
                  <a:pt x="2322" y="2826"/>
                </a:lnTo>
                <a:lnTo>
                  <a:pt x="2331" y="2830"/>
                </a:lnTo>
                <a:lnTo>
                  <a:pt x="2339" y="2838"/>
                </a:lnTo>
                <a:lnTo>
                  <a:pt x="2345" y="2847"/>
                </a:lnTo>
                <a:lnTo>
                  <a:pt x="2350" y="2855"/>
                </a:lnTo>
                <a:lnTo>
                  <a:pt x="2352" y="2866"/>
                </a:lnTo>
                <a:lnTo>
                  <a:pt x="2354" y="2879"/>
                </a:lnTo>
                <a:lnTo>
                  <a:pt x="2352" y="2887"/>
                </a:lnTo>
                <a:lnTo>
                  <a:pt x="2352" y="2893"/>
                </a:lnTo>
                <a:lnTo>
                  <a:pt x="2350" y="2900"/>
                </a:lnTo>
                <a:lnTo>
                  <a:pt x="2345" y="2908"/>
                </a:lnTo>
                <a:lnTo>
                  <a:pt x="2341" y="2915"/>
                </a:lnTo>
                <a:lnTo>
                  <a:pt x="2337" y="2921"/>
                </a:lnTo>
                <a:lnTo>
                  <a:pt x="2326" y="2932"/>
                </a:lnTo>
                <a:lnTo>
                  <a:pt x="2320" y="2938"/>
                </a:lnTo>
                <a:lnTo>
                  <a:pt x="2314" y="2942"/>
                </a:lnTo>
                <a:lnTo>
                  <a:pt x="2301" y="2951"/>
                </a:lnTo>
                <a:lnTo>
                  <a:pt x="2292" y="2953"/>
                </a:lnTo>
                <a:lnTo>
                  <a:pt x="2286" y="2955"/>
                </a:lnTo>
                <a:lnTo>
                  <a:pt x="2271" y="2957"/>
                </a:lnTo>
                <a:lnTo>
                  <a:pt x="2265" y="2955"/>
                </a:lnTo>
                <a:lnTo>
                  <a:pt x="2261" y="2953"/>
                </a:lnTo>
                <a:lnTo>
                  <a:pt x="2259" y="2951"/>
                </a:lnTo>
                <a:lnTo>
                  <a:pt x="2256" y="2948"/>
                </a:lnTo>
                <a:lnTo>
                  <a:pt x="2256" y="2944"/>
                </a:lnTo>
                <a:lnTo>
                  <a:pt x="2254" y="2938"/>
                </a:lnTo>
                <a:lnTo>
                  <a:pt x="2256" y="2932"/>
                </a:lnTo>
                <a:lnTo>
                  <a:pt x="2256" y="2929"/>
                </a:lnTo>
                <a:lnTo>
                  <a:pt x="2259" y="2927"/>
                </a:lnTo>
                <a:lnTo>
                  <a:pt x="2271" y="2923"/>
                </a:lnTo>
                <a:lnTo>
                  <a:pt x="2284" y="2919"/>
                </a:lnTo>
                <a:lnTo>
                  <a:pt x="2295" y="2915"/>
                </a:lnTo>
                <a:lnTo>
                  <a:pt x="2303" y="2906"/>
                </a:lnTo>
                <a:lnTo>
                  <a:pt x="2312" y="2900"/>
                </a:lnTo>
                <a:lnTo>
                  <a:pt x="2314" y="2896"/>
                </a:lnTo>
                <a:lnTo>
                  <a:pt x="2316" y="2891"/>
                </a:lnTo>
                <a:lnTo>
                  <a:pt x="2320" y="2883"/>
                </a:lnTo>
                <a:lnTo>
                  <a:pt x="2322" y="2874"/>
                </a:lnTo>
                <a:lnTo>
                  <a:pt x="2320" y="2868"/>
                </a:lnTo>
                <a:lnTo>
                  <a:pt x="2320" y="2864"/>
                </a:lnTo>
                <a:lnTo>
                  <a:pt x="2318" y="2862"/>
                </a:lnTo>
                <a:lnTo>
                  <a:pt x="2316" y="2857"/>
                </a:lnTo>
                <a:lnTo>
                  <a:pt x="2312" y="2855"/>
                </a:lnTo>
                <a:lnTo>
                  <a:pt x="2307" y="2853"/>
                </a:lnTo>
                <a:lnTo>
                  <a:pt x="2297" y="2851"/>
                </a:lnTo>
                <a:lnTo>
                  <a:pt x="2286" y="2853"/>
                </a:lnTo>
                <a:lnTo>
                  <a:pt x="2282" y="2855"/>
                </a:lnTo>
                <a:lnTo>
                  <a:pt x="2276" y="2857"/>
                </a:lnTo>
                <a:lnTo>
                  <a:pt x="2271" y="2862"/>
                </a:lnTo>
                <a:lnTo>
                  <a:pt x="2265" y="2866"/>
                </a:lnTo>
                <a:lnTo>
                  <a:pt x="2256" y="2876"/>
                </a:lnTo>
                <a:lnTo>
                  <a:pt x="2252" y="2883"/>
                </a:lnTo>
                <a:lnTo>
                  <a:pt x="2248" y="2889"/>
                </a:lnTo>
                <a:lnTo>
                  <a:pt x="2242" y="2904"/>
                </a:lnTo>
                <a:lnTo>
                  <a:pt x="2237" y="2919"/>
                </a:lnTo>
                <a:lnTo>
                  <a:pt x="2237" y="2927"/>
                </a:lnTo>
                <a:lnTo>
                  <a:pt x="2237" y="2936"/>
                </a:lnTo>
                <a:lnTo>
                  <a:pt x="2237" y="2951"/>
                </a:lnTo>
                <a:lnTo>
                  <a:pt x="2240" y="2959"/>
                </a:lnTo>
                <a:lnTo>
                  <a:pt x="2242" y="2965"/>
                </a:lnTo>
                <a:lnTo>
                  <a:pt x="2246" y="2978"/>
                </a:lnTo>
                <a:lnTo>
                  <a:pt x="2252" y="2989"/>
                </a:lnTo>
                <a:lnTo>
                  <a:pt x="2261" y="2997"/>
                </a:lnTo>
                <a:lnTo>
                  <a:pt x="2265" y="2999"/>
                </a:lnTo>
                <a:lnTo>
                  <a:pt x="2271" y="3003"/>
                </a:lnTo>
                <a:lnTo>
                  <a:pt x="2282" y="3006"/>
                </a:lnTo>
                <a:lnTo>
                  <a:pt x="2288" y="3008"/>
                </a:lnTo>
                <a:lnTo>
                  <a:pt x="2295" y="3008"/>
                </a:lnTo>
                <a:lnTo>
                  <a:pt x="2307" y="3008"/>
                </a:lnTo>
                <a:lnTo>
                  <a:pt x="2318" y="3003"/>
                </a:lnTo>
                <a:lnTo>
                  <a:pt x="2324" y="3001"/>
                </a:lnTo>
                <a:lnTo>
                  <a:pt x="2331" y="2997"/>
                </a:lnTo>
                <a:lnTo>
                  <a:pt x="2341" y="2991"/>
                </a:lnTo>
                <a:lnTo>
                  <a:pt x="2350" y="2980"/>
                </a:lnTo>
                <a:lnTo>
                  <a:pt x="2358" y="2970"/>
                </a:lnTo>
                <a:lnTo>
                  <a:pt x="2367" y="2959"/>
                </a:lnTo>
                <a:lnTo>
                  <a:pt x="2373" y="2946"/>
                </a:lnTo>
                <a:lnTo>
                  <a:pt x="2379" y="2932"/>
                </a:lnTo>
                <a:lnTo>
                  <a:pt x="2383" y="2919"/>
                </a:lnTo>
                <a:lnTo>
                  <a:pt x="2388" y="2904"/>
                </a:lnTo>
                <a:lnTo>
                  <a:pt x="2392" y="2889"/>
                </a:lnTo>
                <a:lnTo>
                  <a:pt x="2394" y="2874"/>
                </a:lnTo>
                <a:lnTo>
                  <a:pt x="2396" y="2860"/>
                </a:lnTo>
                <a:lnTo>
                  <a:pt x="2396" y="2847"/>
                </a:lnTo>
                <a:lnTo>
                  <a:pt x="2396" y="2834"/>
                </a:lnTo>
                <a:lnTo>
                  <a:pt x="2398" y="2832"/>
                </a:lnTo>
                <a:lnTo>
                  <a:pt x="2400" y="2830"/>
                </a:lnTo>
                <a:lnTo>
                  <a:pt x="2405" y="2828"/>
                </a:lnTo>
                <a:lnTo>
                  <a:pt x="2409" y="2828"/>
                </a:lnTo>
                <a:lnTo>
                  <a:pt x="2417" y="2828"/>
                </a:lnTo>
                <a:lnTo>
                  <a:pt x="2422" y="2830"/>
                </a:lnTo>
                <a:lnTo>
                  <a:pt x="2424" y="2832"/>
                </a:lnTo>
                <a:lnTo>
                  <a:pt x="2428" y="2841"/>
                </a:lnTo>
                <a:lnTo>
                  <a:pt x="2430" y="2847"/>
                </a:lnTo>
                <a:lnTo>
                  <a:pt x="2430" y="2853"/>
                </a:lnTo>
                <a:lnTo>
                  <a:pt x="2430" y="2872"/>
                </a:lnTo>
                <a:lnTo>
                  <a:pt x="2428" y="2889"/>
                </a:lnTo>
                <a:lnTo>
                  <a:pt x="2424" y="2908"/>
                </a:lnTo>
                <a:lnTo>
                  <a:pt x="2419" y="2925"/>
                </a:lnTo>
                <a:lnTo>
                  <a:pt x="2413" y="2942"/>
                </a:lnTo>
                <a:lnTo>
                  <a:pt x="2407" y="2957"/>
                </a:lnTo>
                <a:lnTo>
                  <a:pt x="2400" y="2972"/>
                </a:lnTo>
                <a:lnTo>
                  <a:pt x="2392" y="2987"/>
                </a:lnTo>
                <a:lnTo>
                  <a:pt x="2381" y="2999"/>
                </a:lnTo>
                <a:lnTo>
                  <a:pt x="2377" y="3003"/>
                </a:lnTo>
                <a:lnTo>
                  <a:pt x="2371" y="3010"/>
                </a:lnTo>
                <a:lnTo>
                  <a:pt x="2360" y="3020"/>
                </a:lnTo>
                <a:lnTo>
                  <a:pt x="2348" y="3029"/>
                </a:lnTo>
                <a:lnTo>
                  <a:pt x="2335" y="3035"/>
                </a:lnTo>
                <a:lnTo>
                  <a:pt x="2322" y="3039"/>
                </a:lnTo>
                <a:lnTo>
                  <a:pt x="2307" y="3044"/>
                </a:lnTo>
                <a:lnTo>
                  <a:pt x="2292" y="3044"/>
                </a:lnTo>
                <a:close/>
                <a:moveTo>
                  <a:pt x="2523" y="3039"/>
                </a:moveTo>
                <a:lnTo>
                  <a:pt x="2519" y="3037"/>
                </a:lnTo>
                <a:lnTo>
                  <a:pt x="2511" y="3033"/>
                </a:lnTo>
                <a:lnTo>
                  <a:pt x="2494" y="3016"/>
                </a:lnTo>
                <a:lnTo>
                  <a:pt x="2472" y="2997"/>
                </a:lnTo>
                <a:lnTo>
                  <a:pt x="2455" y="2978"/>
                </a:lnTo>
                <a:lnTo>
                  <a:pt x="2449" y="2968"/>
                </a:lnTo>
                <a:lnTo>
                  <a:pt x="2443" y="2961"/>
                </a:lnTo>
                <a:lnTo>
                  <a:pt x="2439" y="2948"/>
                </a:lnTo>
                <a:lnTo>
                  <a:pt x="2436" y="2944"/>
                </a:lnTo>
                <a:lnTo>
                  <a:pt x="2436" y="2938"/>
                </a:lnTo>
                <a:lnTo>
                  <a:pt x="2436" y="2932"/>
                </a:lnTo>
                <a:lnTo>
                  <a:pt x="2439" y="2923"/>
                </a:lnTo>
                <a:lnTo>
                  <a:pt x="2443" y="2917"/>
                </a:lnTo>
                <a:lnTo>
                  <a:pt x="2447" y="2908"/>
                </a:lnTo>
                <a:lnTo>
                  <a:pt x="2460" y="2893"/>
                </a:lnTo>
                <a:lnTo>
                  <a:pt x="2477" y="2872"/>
                </a:lnTo>
                <a:lnTo>
                  <a:pt x="2519" y="2824"/>
                </a:lnTo>
                <a:lnTo>
                  <a:pt x="2525" y="2826"/>
                </a:lnTo>
                <a:lnTo>
                  <a:pt x="2532" y="2828"/>
                </a:lnTo>
                <a:lnTo>
                  <a:pt x="2536" y="2832"/>
                </a:lnTo>
                <a:lnTo>
                  <a:pt x="2540" y="2836"/>
                </a:lnTo>
                <a:lnTo>
                  <a:pt x="2542" y="2843"/>
                </a:lnTo>
                <a:lnTo>
                  <a:pt x="2540" y="2849"/>
                </a:lnTo>
                <a:lnTo>
                  <a:pt x="2538" y="2853"/>
                </a:lnTo>
                <a:lnTo>
                  <a:pt x="2536" y="2857"/>
                </a:lnTo>
                <a:lnTo>
                  <a:pt x="2506" y="2891"/>
                </a:lnTo>
                <a:lnTo>
                  <a:pt x="2489" y="2910"/>
                </a:lnTo>
                <a:lnTo>
                  <a:pt x="2477" y="2927"/>
                </a:lnTo>
                <a:lnTo>
                  <a:pt x="2472" y="2932"/>
                </a:lnTo>
                <a:lnTo>
                  <a:pt x="2472" y="2936"/>
                </a:lnTo>
                <a:lnTo>
                  <a:pt x="2475" y="2940"/>
                </a:lnTo>
                <a:lnTo>
                  <a:pt x="2477" y="2946"/>
                </a:lnTo>
                <a:lnTo>
                  <a:pt x="2487" y="2959"/>
                </a:lnTo>
                <a:lnTo>
                  <a:pt x="2504" y="2976"/>
                </a:lnTo>
                <a:lnTo>
                  <a:pt x="2523" y="2997"/>
                </a:lnTo>
                <a:lnTo>
                  <a:pt x="2542" y="3014"/>
                </a:lnTo>
                <a:lnTo>
                  <a:pt x="2544" y="3016"/>
                </a:lnTo>
                <a:lnTo>
                  <a:pt x="2544" y="3020"/>
                </a:lnTo>
                <a:lnTo>
                  <a:pt x="2544" y="3023"/>
                </a:lnTo>
                <a:lnTo>
                  <a:pt x="2542" y="3027"/>
                </a:lnTo>
                <a:lnTo>
                  <a:pt x="2538" y="3033"/>
                </a:lnTo>
                <a:lnTo>
                  <a:pt x="2532" y="3037"/>
                </a:lnTo>
                <a:lnTo>
                  <a:pt x="2527" y="3039"/>
                </a:lnTo>
                <a:lnTo>
                  <a:pt x="2523" y="3039"/>
                </a:lnTo>
                <a:close/>
                <a:moveTo>
                  <a:pt x="2292" y="3636"/>
                </a:moveTo>
                <a:lnTo>
                  <a:pt x="2284" y="3634"/>
                </a:lnTo>
                <a:lnTo>
                  <a:pt x="2276" y="3634"/>
                </a:lnTo>
                <a:lnTo>
                  <a:pt x="2267" y="3630"/>
                </a:lnTo>
                <a:lnTo>
                  <a:pt x="2259" y="3628"/>
                </a:lnTo>
                <a:lnTo>
                  <a:pt x="2250" y="3624"/>
                </a:lnTo>
                <a:lnTo>
                  <a:pt x="2244" y="3617"/>
                </a:lnTo>
                <a:lnTo>
                  <a:pt x="2235" y="3611"/>
                </a:lnTo>
                <a:lnTo>
                  <a:pt x="2229" y="3605"/>
                </a:lnTo>
                <a:lnTo>
                  <a:pt x="2223" y="3598"/>
                </a:lnTo>
                <a:lnTo>
                  <a:pt x="2218" y="3590"/>
                </a:lnTo>
                <a:lnTo>
                  <a:pt x="2210" y="3571"/>
                </a:lnTo>
                <a:lnTo>
                  <a:pt x="2208" y="3560"/>
                </a:lnTo>
                <a:lnTo>
                  <a:pt x="2206" y="3552"/>
                </a:lnTo>
                <a:lnTo>
                  <a:pt x="2204" y="3541"/>
                </a:lnTo>
                <a:lnTo>
                  <a:pt x="2204" y="3528"/>
                </a:lnTo>
                <a:lnTo>
                  <a:pt x="2204" y="3518"/>
                </a:lnTo>
                <a:lnTo>
                  <a:pt x="2206" y="3507"/>
                </a:lnTo>
                <a:lnTo>
                  <a:pt x="2208" y="3497"/>
                </a:lnTo>
                <a:lnTo>
                  <a:pt x="2210" y="3486"/>
                </a:lnTo>
                <a:lnTo>
                  <a:pt x="2214" y="3476"/>
                </a:lnTo>
                <a:lnTo>
                  <a:pt x="2218" y="3465"/>
                </a:lnTo>
                <a:lnTo>
                  <a:pt x="2225" y="3456"/>
                </a:lnTo>
                <a:lnTo>
                  <a:pt x="2231" y="3448"/>
                </a:lnTo>
                <a:lnTo>
                  <a:pt x="2237" y="3442"/>
                </a:lnTo>
                <a:lnTo>
                  <a:pt x="2246" y="3433"/>
                </a:lnTo>
                <a:lnTo>
                  <a:pt x="2252" y="3429"/>
                </a:lnTo>
                <a:lnTo>
                  <a:pt x="2261" y="3423"/>
                </a:lnTo>
                <a:lnTo>
                  <a:pt x="2271" y="3418"/>
                </a:lnTo>
                <a:lnTo>
                  <a:pt x="2280" y="3416"/>
                </a:lnTo>
                <a:lnTo>
                  <a:pt x="2288" y="3414"/>
                </a:lnTo>
                <a:lnTo>
                  <a:pt x="2299" y="3414"/>
                </a:lnTo>
                <a:lnTo>
                  <a:pt x="2312" y="3414"/>
                </a:lnTo>
                <a:lnTo>
                  <a:pt x="2316" y="3416"/>
                </a:lnTo>
                <a:lnTo>
                  <a:pt x="2322" y="3418"/>
                </a:lnTo>
                <a:lnTo>
                  <a:pt x="2331" y="3423"/>
                </a:lnTo>
                <a:lnTo>
                  <a:pt x="2339" y="3429"/>
                </a:lnTo>
                <a:lnTo>
                  <a:pt x="2345" y="3437"/>
                </a:lnTo>
                <a:lnTo>
                  <a:pt x="2350" y="3448"/>
                </a:lnTo>
                <a:lnTo>
                  <a:pt x="2352" y="3459"/>
                </a:lnTo>
                <a:lnTo>
                  <a:pt x="2354" y="3471"/>
                </a:lnTo>
                <a:lnTo>
                  <a:pt x="2352" y="3478"/>
                </a:lnTo>
                <a:lnTo>
                  <a:pt x="2352" y="3486"/>
                </a:lnTo>
                <a:lnTo>
                  <a:pt x="2350" y="3492"/>
                </a:lnTo>
                <a:lnTo>
                  <a:pt x="2345" y="3499"/>
                </a:lnTo>
                <a:lnTo>
                  <a:pt x="2341" y="3507"/>
                </a:lnTo>
                <a:lnTo>
                  <a:pt x="2337" y="3514"/>
                </a:lnTo>
                <a:lnTo>
                  <a:pt x="2326" y="3524"/>
                </a:lnTo>
                <a:lnTo>
                  <a:pt x="2320" y="3528"/>
                </a:lnTo>
                <a:lnTo>
                  <a:pt x="2314" y="3535"/>
                </a:lnTo>
                <a:lnTo>
                  <a:pt x="2301" y="3541"/>
                </a:lnTo>
                <a:lnTo>
                  <a:pt x="2292" y="3543"/>
                </a:lnTo>
                <a:lnTo>
                  <a:pt x="2286" y="3545"/>
                </a:lnTo>
                <a:lnTo>
                  <a:pt x="2271" y="3547"/>
                </a:lnTo>
                <a:lnTo>
                  <a:pt x="2265" y="3545"/>
                </a:lnTo>
                <a:lnTo>
                  <a:pt x="2261" y="3545"/>
                </a:lnTo>
                <a:lnTo>
                  <a:pt x="2259" y="3543"/>
                </a:lnTo>
                <a:lnTo>
                  <a:pt x="2256" y="3539"/>
                </a:lnTo>
                <a:lnTo>
                  <a:pt x="2256" y="3537"/>
                </a:lnTo>
                <a:lnTo>
                  <a:pt x="2254" y="3528"/>
                </a:lnTo>
                <a:lnTo>
                  <a:pt x="2256" y="3522"/>
                </a:lnTo>
                <a:lnTo>
                  <a:pt x="2256" y="3520"/>
                </a:lnTo>
                <a:lnTo>
                  <a:pt x="2259" y="3518"/>
                </a:lnTo>
                <a:lnTo>
                  <a:pt x="2271" y="3516"/>
                </a:lnTo>
                <a:lnTo>
                  <a:pt x="2284" y="3511"/>
                </a:lnTo>
                <a:lnTo>
                  <a:pt x="2295" y="3505"/>
                </a:lnTo>
                <a:lnTo>
                  <a:pt x="2303" y="3499"/>
                </a:lnTo>
                <a:lnTo>
                  <a:pt x="2312" y="3490"/>
                </a:lnTo>
                <a:lnTo>
                  <a:pt x="2314" y="3486"/>
                </a:lnTo>
                <a:lnTo>
                  <a:pt x="2316" y="3482"/>
                </a:lnTo>
                <a:lnTo>
                  <a:pt x="2320" y="3473"/>
                </a:lnTo>
                <a:lnTo>
                  <a:pt x="2322" y="3465"/>
                </a:lnTo>
                <a:lnTo>
                  <a:pt x="2320" y="3461"/>
                </a:lnTo>
                <a:lnTo>
                  <a:pt x="2320" y="3456"/>
                </a:lnTo>
                <a:lnTo>
                  <a:pt x="2318" y="3452"/>
                </a:lnTo>
                <a:lnTo>
                  <a:pt x="2316" y="3450"/>
                </a:lnTo>
                <a:lnTo>
                  <a:pt x="2312" y="3446"/>
                </a:lnTo>
                <a:lnTo>
                  <a:pt x="2307" y="3444"/>
                </a:lnTo>
                <a:lnTo>
                  <a:pt x="2297" y="3444"/>
                </a:lnTo>
                <a:lnTo>
                  <a:pt x="2286" y="3446"/>
                </a:lnTo>
                <a:lnTo>
                  <a:pt x="2282" y="3448"/>
                </a:lnTo>
                <a:lnTo>
                  <a:pt x="2276" y="3450"/>
                </a:lnTo>
                <a:lnTo>
                  <a:pt x="2271" y="3454"/>
                </a:lnTo>
                <a:lnTo>
                  <a:pt x="2265" y="3459"/>
                </a:lnTo>
                <a:lnTo>
                  <a:pt x="2256" y="3469"/>
                </a:lnTo>
                <a:lnTo>
                  <a:pt x="2252" y="3473"/>
                </a:lnTo>
                <a:lnTo>
                  <a:pt x="2248" y="3480"/>
                </a:lnTo>
                <a:lnTo>
                  <a:pt x="2242" y="3495"/>
                </a:lnTo>
                <a:lnTo>
                  <a:pt x="2237" y="3511"/>
                </a:lnTo>
                <a:lnTo>
                  <a:pt x="2237" y="3520"/>
                </a:lnTo>
                <a:lnTo>
                  <a:pt x="2237" y="3528"/>
                </a:lnTo>
                <a:lnTo>
                  <a:pt x="2237" y="3543"/>
                </a:lnTo>
                <a:lnTo>
                  <a:pt x="2240" y="3550"/>
                </a:lnTo>
                <a:lnTo>
                  <a:pt x="2242" y="3556"/>
                </a:lnTo>
                <a:lnTo>
                  <a:pt x="2246" y="3569"/>
                </a:lnTo>
                <a:lnTo>
                  <a:pt x="2252" y="3579"/>
                </a:lnTo>
                <a:lnTo>
                  <a:pt x="2261" y="3588"/>
                </a:lnTo>
                <a:lnTo>
                  <a:pt x="2265" y="3592"/>
                </a:lnTo>
                <a:lnTo>
                  <a:pt x="2271" y="3594"/>
                </a:lnTo>
                <a:lnTo>
                  <a:pt x="2282" y="3598"/>
                </a:lnTo>
                <a:lnTo>
                  <a:pt x="2288" y="3598"/>
                </a:lnTo>
                <a:lnTo>
                  <a:pt x="2295" y="3600"/>
                </a:lnTo>
                <a:lnTo>
                  <a:pt x="2307" y="3598"/>
                </a:lnTo>
                <a:lnTo>
                  <a:pt x="2318" y="3594"/>
                </a:lnTo>
                <a:lnTo>
                  <a:pt x="2324" y="3592"/>
                </a:lnTo>
                <a:lnTo>
                  <a:pt x="2331" y="3590"/>
                </a:lnTo>
                <a:lnTo>
                  <a:pt x="2341" y="3581"/>
                </a:lnTo>
                <a:lnTo>
                  <a:pt x="2350" y="3573"/>
                </a:lnTo>
                <a:lnTo>
                  <a:pt x="2358" y="3562"/>
                </a:lnTo>
                <a:lnTo>
                  <a:pt x="2367" y="3550"/>
                </a:lnTo>
                <a:lnTo>
                  <a:pt x="2373" y="3537"/>
                </a:lnTo>
                <a:lnTo>
                  <a:pt x="2379" y="3524"/>
                </a:lnTo>
                <a:lnTo>
                  <a:pt x="2383" y="3509"/>
                </a:lnTo>
                <a:lnTo>
                  <a:pt x="2388" y="3495"/>
                </a:lnTo>
                <a:lnTo>
                  <a:pt x="2392" y="3482"/>
                </a:lnTo>
                <a:lnTo>
                  <a:pt x="2394" y="3467"/>
                </a:lnTo>
                <a:lnTo>
                  <a:pt x="2396" y="3452"/>
                </a:lnTo>
                <a:lnTo>
                  <a:pt x="2396" y="3440"/>
                </a:lnTo>
                <a:lnTo>
                  <a:pt x="2396" y="3427"/>
                </a:lnTo>
                <a:lnTo>
                  <a:pt x="2398" y="3423"/>
                </a:lnTo>
                <a:lnTo>
                  <a:pt x="2400" y="3420"/>
                </a:lnTo>
                <a:lnTo>
                  <a:pt x="2405" y="3418"/>
                </a:lnTo>
                <a:lnTo>
                  <a:pt x="2409" y="3418"/>
                </a:lnTo>
                <a:lnTo>
                  <a:pt x="2417" y="3420"/>
                </a:lnTo>
                <a:lnTo>
                  <a:pt x="2422" y="3423"/>
                </a:lnTo>
                <a:lnTo>
                  <a:pt x="2424" y="3425"/>
                </a:lnTo>
                <a:lnTo>
                  <a:pt x="2428" y="3431"/>
                </a:lnTo>
                <a:lnTo>
                  <a:pt x="2430" y="3437"/>
                </a:lnTo>
                <a:lnTo>
                  <a:pt x="2430" y="3444"/>
                </a:lnTo>
                <a:lnTo>
                  <a:pt x="2430" y="3463"/>
                </a:lnTo>
                <a:lnTo>
                  <a:pt x="2428" y="3482"/>
                </a:lnTo>
                <a:lnTo>
                  <a:pt x="2424" y="3499"/>
                </a:lnTo>
                <a:lnTo>
                  <a:pt x="2419" y="3518"/>
                </a:lnTo>
                <a:lnTo>
                  <a:pt x="2413" y="3533"/>
                </a:lnTo>
                <a:lnTo>
                  <a:pt x="2407" y="3550"/>
                </a:lnTo>
                <a:lnTo>
                  <a:pt x="2400" y="3564"/>
                </a:lnTo>
                <a:lnTo>
                  <a:pt x="2392" y="3577"/>
                </a:lnTo>
                <a:lnTo>
                  <a:pt x="2381" y="3590"/>
                </a:lnTo>
                <a:lnTo>
                  <a:pt x="2377" y="3596"/>
                </a:lnTo>
                <a:lnTo>
                  <a:pt x="2371" y="3603"/>
                </a:lnTo>
                <a:lnTo>
                  <a:pt x="2360" y="3611"/>
                </a:lnTo>
                <a:lnTo>
                  <a:pt x="2348" y="3619"/>
                </a:lnTo>
                <a:lnTo>
                  <a:pt x="2335" y="3626"/>
                </a:lnTo>
                <a:lnTo>
                  <a:pt x="2322" y="3632"/>
                </a:lnTo>
                <a:lnTo>
                  <a:pt x="2307" y="3634"/>
                </a:lnTo>
                <a:lnTo>
                  <a:pt x="2292" y="3636"/>
                </a:lnTo>
                <a:close/>
                <a:moveTo>
                  <a:pt x="2523" y="3632"/>
                </a:moveTo>
                <a:lnTo>
                  <a:pt x="2519" y="3630"/>
                </a:lnTo>
                <a:lnTo>
                  <a:pt x="2511" y="3624"/>
                </a:lnTo>
                <a:lnTo>
                  <a:pt x="2494" y="3609"/>
                </a:lnTo>
                <a:lnTo>
                  <a:pt x="2472" y="3590"/>
                </a:lnTo>
                <a:lnTo>
                  <a:pt x="2455" y="3569"/>
                </a:lnTo>
                <a:lnTo>
                  <a:pt x="2449" y="3560"/>
                </a:lnTo>
                <a:lnTo>
                  <a:pt x="2443" y="3554"/>
                </a:lnTo>
                <a:lnTo>
                  <a:pt x="2439" y="3541"/>
                </a:lnTo>
                <a:lnTo>
                  <a:pt x="2436" y="3535"/>
                </a:lnTo>
                <a:lnTo>
                  <a:pt x="2436" y="3528"/>
                </a:lnTo>
                <a:lnTo>
                  <a:pt x="2436" y="3522"/>
                </a:lnTo>
                <a:lnTo>
                  <a:pt x="2439" y="3516"/>
                </a:lnTo>
                <a:lnTo>
                  <a:pt x="2443" y="3507"/>
                </a:lnTo>
                <a:lnTo>
                  <a:pt x="2447" y="3499"/>
                </a:lnTo>
                <a:lnTo>
                  <a:pt x="2460" y="3484"/>
                </a:lnTo>
                <a:lnTo>
                  <a:pt x="2477" y="3465"/>
                </a:lnTo>
                <a:lnTo>
                  <a:pt x="2519" y="3416"/>
                </a:lnTo>
                <a:lnTo>
                  <a:pt x="2525" y="3416"/>
                </a:lnTo>
                <a:lnTo>
                  <a:pt x="2532" y="3420"/>
                </a:lnTo>
                <a:lnTo>
                  <a:pt x="2536" y="3423"/>
                </a:lnTo>
                <a:lnTo>
                  <a:pt x="2540" y="3429"/>
                </a:lnTo>
                <a:lnTo>
                  <a:pt x="2542" y="3435"/>
                </a:lnTo>
                <a:lnTo>
                  <a:pt x="2540" y="3442"/>
                </a:lnTo>
                <a:lnTo>
                  <a:pt x="2538" y="3444"/>
                </a:lnTo>
                <a:lnTo>
                  <a:pt x="2536" y="3448"/>
                </a:lnTo>
                <a:lnTo>
                  <a:pt x="2506" y="3482"/>
                </a:lnTo>
                <a:lnTo>
                  <a:pt x="2489" y="3503"/>
                </a:lnTo>
                <a:lnTo>
                  <a:pt x="2477" y="3518"/>
                </a:lnTo>
                <a:lnTo>
                  <a:pt x="2472" y="3522"/>
                </a:lnTo>
                <a:lnTo>
                  <a:pt x="2472" y="3528"/>
                </a:lnTo>
                <a:lnTo>
                  <a:pt x="2475" y="3533"/>
                </a:lnTo>
                <a:lnTo>
                  <a:pt x="2477" y="3539"/>
                </a:lnTo>
                <a:lnTo>
                  <a:pt x="2487" y="3552"/>
                </a:lnTo>
                <a:lnTo>
                  <a:pt x="2504" y="3569"/>
                </a:lnTo>
                <a:lnTo>
                  <a:pt x="2523" y="3588"/>
                </a:lnTo>
                <a:lnTo>
                  <a:pt x="2542" y="3607"/>
                </a:lnTo>
                <a:lnTo>
                  <a:pt x="2544" y="3609"/>
                </a:lnTo>
                <a:lnTo>
                  <a:pt x="2544" y="3611"/>
                </a:lnTo>
                <a:lnTo>
                  <a:pt x="2544" y="3615"/>
                </a:lnTo>
                <a:lnTo>
                  <a:pt x="2542" y="3617"/>
                </a:lnTo>
                <a:lnTo>
                  <a:pt x="2538" y="3626"/>
                </a:lnTo>
                <a:lnTo>
                  <a:pt x="2532" y="3630"/>
                </a:lnTo>
                <a:lnTo>
                  <a:pt x="2527" y="3632"/>
                </a:lnTo>
                <a:lnTo>
                  <a:pt x="2523" y="3632"/>
                </a:lnTo>
                <a:close/>
                <a:moveTo>
                  <a:pt x="934" y="2451"/>
                </a:moveTo>
                <a:lnTo>
                  <a:pt x="925" y="2451"/>
                </a:lnTo>
                <a:lnTo>
                  <a:pt x="917" y="2449"/>
                </a:lnTo>
                <a:lnTo>
                  <a:pt x="908" y="2447"/>
                </a:lnTo>
                <a:lnTo>
                  <a:pt x="900" y="2445"/>
                </a:lnTo>
                <a:lnTo>
                  <a:pt x="891" y="2440"/>
                </a:lnTo>
                <a:lnTo>
                  <a:pt x="883" y="2434"/>
                </a:lnTo>
                <a:lnTo>
                  <a:pt x="876" y="2428"/>
                </a:lnTo>
                <a:lnTo>
                  <a:pt x="870" y="2421"/>
                </a:lnTo>
                <a:lnTo>
                  <a:pt x="864" y="2413"/>
                </a:lnTo>
                <a:lnTo>
                  <a:pt x="859" y="2407"/>
                </a:lnTo>
                <a:lnTo>
                  <a:pt x="851" y="2388"/>
                </a:lnTo>
                <a:lnTo>
                  <a:pt x="847" y="2377"/>
                </a:lnTo>
                <a:lnTo>
                  <a:pt x="845" y="2369"/>
                </a:lnTo>
                <a:lnTo>
                  <a:pt x="845" y="2358"/>
                </a:lnTo>
                <a:lnTo>
                  <a:pt x="842" y="2345"/>
                </a:lnTo>
                <a:lnTo>
                  <a:pt x="845" y="2335"/>
                </a:lnTo>
                <a:lnTo>
                  <a:pt x="845" y="2324"/>
                </a:lnTo>
                <a:lnTo>
                  <a:pt x="847" y="2313"/>
                </a:lnTo>
                <a:lnTo>
                  <a:pt x="851" y="2303"/>
                </a:lnTo>
                <a:lnTo>
                  <a:pt x="855" y="2292"/>
                </a:lnTo>
                <a:lnTo>
                  <a:pt x="859" y="2282"/>
                </a:lnTo>
                <a:lnTo>
                  <a:pt x="866" y="2273"/>
                </a:lnTo>
                <a:lnTo>
                  <a:pt x="872" y="2265"/>
                </a:lnTo>
                <a:lnTo>
                  <a:pt x="878" y="2258"/>
                </a:lnTo>
                <a:lnTo>
                  <a:pt x="885" y="2250"/>
                </a:lnTo>
                <a:lnTo>
                  <a:pt x="893" y="2244"/>
                </a:lnTo>
                <a:lnTo>
                  <a:pt x="902" y="2239"/>
                </a:lnTo>
                <a:lnTo>
                  <a:pt x="910" y="2235"/>
                </a:lnTo>
                <a:lnTo>
                  <a:pt x="921" y="2233"/>
                </a:lnTo>
                <a:lnTo>
                  <a:pt x="929" y="2231"/>
                </a:lnTo>
                <a:lnTo>
                  <a:pt x="940" y="2229"/>
                </a:lnTo>
                <a:lnTo>
                  <a:pt x="953" y="2231"/>
                </a:lnTo>
                <a:lnTo>
                  <a:pt x="957" y="2233"/>
                </a:lnTo>
                <a:lnTo>
                  <a:pt x="963" y="2235"/>
                </a:lnTo>
                <a:lnTo>
                  <a:pt x="972" y="2239"/>
                </a:lnTo>
                <a:lnTo>
                  <a:pt x="980" y="2246"/>
                </a:lnTo>
                <a:lnTo>
                  <a:pt x="986" y="2254"/>
                </a:lnTo>
                <a:lnTo>
                  <a:pt x="991" y="2265"/>
                </a:lnTo>
                <a:lnTo>
                  <a:pt x="993" y="2275"/>
                </a:lnTo>
                <a:lnTo>
                  <a:pt x="993" y="2286"/>
                </a:lnTo>
                <a:lnTo>
                  <a:pt x="993" y="2294"/>
                </a:lnTo>
                <a:lnTo>
                  <a:pt x="991" y="2303"/>
                </a:lnTo>
                <a:lnTo>
                  <a:pt x="989" y="2309"/>
                </a:lnTo>
                <a:lnTo>
                  <a:pt x="986" y="2316"/>
                </a:lnTo>
                <a:lnTo>
                  <a:pt x="982" y="2322"/>
                </a:lnTo>
                <a:lnTo>
                  <a:pt x="978" y="2328"/>
                </a:lnTo>
                <a:lnTo>
                  <a:pt x="967" y="2341"/>
                </a:lnTo>
                <a:lnTo>
                  <a:pt x="961" y="2345"/>
                </a:lnTo>
                <a:lnTo>
                  <a:pt x="955" y="2352"/>
                </a:lnTo>
                <a:lnTo>
                  <a:pt x="942" y="2358"/>
                </a:lnTo>
                <a:lnTo>
                  <a:pt x="934" y="2360"/>
                </a:lnTo>
                <a:lnTo>
                  <a:pt x="927" y="2362"/>
                </a:lnTo>
                <a:lnTo>
                  <a:pt x="910" y="2364"/>
                </a:lnTo>
                <a:lnTo>
                  <a:pt x="906" y="2362"/>
                </a:lnTo>
                <a:lnTo>
                  <a:pt x="902" y="2362"/>
                </a:lnTo>
                <a:lnTo>
                  <a:pt x="900" y="2358"/>
                </a:lnTo>
                <a:lnTo>
                  <a:pt x="898" y="2356"/>
                </a:lnTo>
                <a:lnTo>
                  <a:pt x="898" y="2354"/>
                </a:lnTo>
                <a:lnTo>
                  <a:pt x="895" y="2345"/>
                </a:lnTo>
                <a:lnTo>
                  <a:pt x="895" y="2339"/>
                </a:lnTo>
                <a:lnTo>
                  <a:pt x="898" y="2337"/>
                </a:lnTo>
                <a:lnTo>
                  <a:pt x="900" y="2335"/>
                </a:lnTo>
                <a:lnTo>
                  <a:pt x="912" y="2333"/>
                </a:lnTo>
                <a:lnTo>
                  <a:pt x="925" y="2328"/>
                </a:lnTo>
                <a:lnTo>
                  <a:pt x="936" y="2322"/>
                </a:lnTo>
                <a:lnTo>
                  <a:pt x="944" y="2316"/>
                </a:lnTo>
                <a:lnTo>
                  <a:pt x="953" y="2307"/>
                </a:lnTo>
                <a:lnTo>
                  <a:pt x="955" y="2303"/>
                </a:lnTo>
                <a:lnTo>
                  <a:pt x="957" y="2299"/>
                </a:lnTo>
                <a:lnTo>
                  <a:pt x="961" y="2290"/>
                </a:lnTo>
                <a:lnTo>
                  <a:pt x="961" y="2282"/>
                </a:lnTo>
                <a:lnTo>
                  <a:pt x="961" y="2277"/>
                </a:lnTo>
                <a:lnTo>
                  <a:pt x="961" y="2273"/>
                </a:lnTo>
                <a:lnTo>
                  <a:pt x="959" y="2269"/>
                </a:lnTo>
                <a:lnTo>
                  <a:pt x="955" y="2265"/>
                </a:lnTo>
                <a:lnTo>
                  <a:pt x="953" y="2263"/>
                </a:lnTo>
                <a:lnTo>
                  <a:pt x="948" y="2261"/>
                </a:lnTo>
                <a:lnTo>
                  <a:pt x="938" y="2261"/>
                </a:lnTo>
                <a:lnTo>
                  <a:pt x="927" y="2261"/>
                </a:lnTo>
                <a:lnTo>
                  <a:pt x="921" y="2263"/>
                </a:lnTo>
                <a:lnTo>
                  <a:pt x="917" y="2267"/>
                </a:lnTo>
                <a:lnTo>
                  <a:pt x="910" y="2271"/>
                </a:lnTo>
                <a:lnTo>
                  <a:pt x="906" y="2275"/>
                </a:lnTo>
                <a:lnTo>
                  <a:pt x="898" y="2284"/>
                </a:lnTo>
                <a:lnTo>
                  <a:pt x="893" y="2290"/>
                </a:lnTo>
                <a:lnTo>
                  <a:pt x="889" y="2297"/>
                </a:lnTo>
                <a:lnTo>
                  <a:pt x="883" y="2311"/>
                </a:lnTo>
                <a:lnTo>
                  <a:pt x="878" y="2328"/>
                </a:lnTo>
                <a:lnTo>
                  <a:pt x="878" y="2337"/>
                </a:lnTo>
                <a:lnTo>
                  <a:pt x="876" y="2345"/>
                </a:lnTo>
                <a:lnTo>
                  <a:pt x="878" y="2360"/>
                </a:lnTo>
                <a:lnTo>
                  <a:pt x="878" y="2366"/>
                </a:lnTo>
                <a:lnTo>
                  <a:pt x="881" y="2373"/>
                </a:lnTo>
                <a:lnTo>
                  <a:pt x="887" y="2385"/>
                </a:lnTo>
                <a:lnTo>
                  <a:pt x="893" y="2396"/>
                </a:lnTo>
                <a:lnTo>
                  <a:pt x="902" y="2404"/>
                </a:lnTo>
                <a:lnTo>
                  <a:pt x="906" y="2409"/>
                </a:lnTo>
                <a:lnTo>
                  <a:pt x="910" y="2411"/>
                </a:lnTo>
                <a:lnTo>
                  <a:pt x="923" y="2415"/>
                </a:lnTo>
                <a:lnTo>
                  <a:pt x="929" y="2415"/>
                </a:lnTo>
                <a:lnTo>
                  <a:pt x="936" y="2417"/>
                </a:lnTo>
                <a:lnTo>
                  <a:pt x="948" y="2415"/>
                </a:lnTo>
                <a:lnTo>
                  <a:pt x="959" y="2411"/>
                </a:lnTo>
                <a:lnTo>
                  <a:pt x="965" y="2409"/>
                </a:lnTo>
                <a:lnTo>
                  <a:pt x="969" y="2407"/>
                </a:lnTo>
                <a:lnTo>
                  <a:pt x="980" y="2398"/>
                </a:lnTo>
                <a:lnTo>
                  <a:pt x="991" y="2390"/>
                </a:lnTo>
                <a:lnTo>
                  <a:pt x="999" y="2379"/>
                </a:lnTo>
                <a:lnTo>
                  <a:pt x="1008" y="2366"/>
                </a:lnTo>
                <a:lnTo>
                  <a:pt x="1014" y="2354"/>
                </a:lnTo>
                <a:lnTo>
                  <a:pt x="1020" y="2341"/>
                </a:lnTo>
                <a:lnTo>
                  <a:pt x="1025" y="2326"/>
                </a:lnTo>
                <a:lnTo>
                  <a:pt x="1029" y="2311"/>
                </a:lnTo>
                <a:lnTo>
                  <a:pt x="1033" y="2297"/>
                </a:lnTo>
                <a:lnTo>
                  <a:pt x="1035" y="2284"/>
                </a:lnTo>
                <a:lnTo>
                  <a:pt x="1037" y="2269"/>
                </a:lnTo>
                <a:lnTo>
                  <a:pt x="1037" y="2256"/>
                </a:lnTo>
                <a:lnTo>
                  <a:pt x="1037" y="2242"/>
                </a:lnTo>
                <a:lnTo>
                  <a:pt x="1039" y="2239"/>
                </a:lnTo>
                <a:lnTo>
                  <a:pt x="1041" y="2237"/>
                </a:lnTo>
                <a:lnTo>
                  <a:pt x="1046" y="2235"/>
                </a:lnTo>
                <a:lnTo>
                  <a:pt x="1050" y="2235"/>
                </a:lnTo>
                <a:lnTo>
                  <a:pt x="1058" y="2237"/>
                </a:lnTo>
                <a:lnTo>
                  <a:pt x="1063" y="2237"/>
                </a:lnTo>
                <a:lnTo>
                  <a:pt x="1065" y="2242"/>
                </a:lnTo>
                <a:lnTo>
                  <a:pt x="1069" y="2248"/>
                </a:lnTo>
                <a:lnTo>
                  <a:pt x="1071" y="2254"/>
                </a:lnTo>
                <a:lnTo>
                  <a:pt x="1071" y="2261"/>
                </a:lnTo>
                <a:lnTo>
                  <a:pt x="1071" y="2280"/>
                </a:lnTo>
                <a:lnTo>
                  <a:pt x="1067" y="2299"/>
                </a:lnTo>
                <a:lnTo>
                  <a:pt x="1065" y="2316"/>
                </a:lnTo>
                <a:lnTo>
                  <a:pt x="1061" y="2333"/>
                </a:lnTo>
                <a:lnTo>
                  <a:pt x="1054" y="2349"/>
                </a:lnTo>
                <a:lnTo>
                  <a:pt x="1048" y="2366"/>
                </a:lnTo>
                <a:lnTo>
                  <a:pt x="1039" y="2381"/>
                </a:lnTo>
                <a:lnTo>
                  <a:pt x="1031" y="2394"/>
                </a:lnTo>
                <a:lnTo>
                  <a:pt x="1022" y="2407"/>
                </a:lnTo>
                <a:lnTo>
                  <a:pt x="1016" y="2413"/>
                </a:lnTo>
                <a:lnTo>
                  <a:pt x="1012" y="2417"/>
                </a:lnTo>
                <a:lnTo>
                  <a:pt x="1001" y="2428"/>
                </a:lnTo>
                <a:lnTo>
                  <a:pt x="989" y="2436"/>
                </a:lnTo>
                <a:lnTo>
                  <a:pt x="976" y="2443"/>
                </a:lnTo>
                <a:lnTo>
                  <a:pt x="963" y="2449"/>
                </a:lnTo>
                <a:lnTo>
                  <a:pt x="948" y="2451"/>
                </a:lnTo>
                <a:lnTo>
                  <a:pt x="934" y="2451"/>
                </a:lnTo>
                <a:close/>
                <a:moveTo>
                  <a:pt x="1164" y="2449"/>
                </a:moveTo>
                <a:lnTo>
                  <a:pt x="1160" y="2447"/>
                </a:lnTo>
                <a:lnTo>
                  <a:pt x="1152" y="2440"/>
                </a:lnTo>
                <a:lnTo>
                  <a:pt x="1135" y="2426"/>
                </a:lnTo>
                <a:lnTo>
                  <a:pt x="1113" y="2407"/>
                </a:lnTo>
                <a:lnTo>
                  <a:pt x="1096" y="2385"/>
                </a:lnTo>
                <a:lnTo>
                  <a:pt x="1088" y="2377"/>
                </a:lnTo>
                <a:lnTo>
                  <a:pt x="1084" y="2371"/>
                </a:lnTo>
                <a:lnTo>
                  <a:pt x="1080" y="2358"/>
                </a:lnTo>
                <a:lnTo>
                  <a:pt x="1077" y="2352"/>
                </a:lnTo>
                <a:lnTo>
                  <a:pt x="1077" y="2345"/>
                </a:lnTo>
                <a:lnTo>
                  <a:pt x="1077" y="2339"/>
                </a:lnTo>
                <a:lnTo>
                  <a:pt x="1080" y="2333"/>
                </a:lnTo>
                <a:lnTo>
                  <a:pt x="1084" y="2324"/>
                </a:lnTo>
                <a:lnTo>
                  <a:pt x="1088" y="2316"/>
                </a:lnTo>
                <a:lnTo>
                  <a:pt x="1101" y="2301"/>
                </a:lnTo>
                <a:lnTo>
                  <a:pt x="1118" y="2282"/>
                </a:lnTo>
                <a:lnTo>
                  <a:pt x="1160" y="2233"/>
                </a:lnTo>
                <a:lnTo>
                  <a:pt x="1166" y="2233"/>
                </a:lnTo>
                <a:lnTo>
                  <a:pt x="1173" y="2235"/>
                </a:lnTo>
                <a:lnTo>
                  <a:pt x="1177" y="2239"/>
                </a:lnTo>
                <a:lnTo>
                  <a:pt x="1181" y="2246"/>
                </a:lnTo>
                <a:lnTo>
                  <a:pt x="1183" y="2252"/>
                </a:lnTo>
                <a:lnTo>
                  <a:pt x="1181" y="2258"/>
                </a:lnTo>
                <a:lnTo>
                  <a:pt x="1179" y="2261"/>
                </a:lnTo>
                <a:lnTo>
                  <a:pt x="1177" y="2265"/>
                </a:lnTo>
                <a:lnTo>
                  <a:pt x="1147" y="2299"/>
                </a:lnTo>
                <a:lnTo>
                  <a:pt x="1130" y="2320"/>
                </a:lnTo>
                <a:lnTo>
                  <a:pt x="1118" y="2335"/>
                </a:lnTo>
                <a:lnTo>
                  <a:pt x="1113" y="2339"/>
                </a:lnTo>
                <a:lnTo>
                  <a:pt x="1113" y="2343"/>
                </a:lnTo>
                <a:lnTo>
                  <a:pt x="1113" y="2349"/>
                </a:lnTo>
                <a:lnTo>
                  <a:pt x="1118" y="2356"/>
                </a:lnTo>
                <a:lnTo>
                  <a:pt x="1128" y="2366"/>
                </a:lnTo>
                <a:lnTo>
                  <a:pt x="1145" y="2385"/>
                </a:lnTo>
                <a:lnTo>
                  <a:pt x="1164" y="2404"/>
                </a:lnTo>
                <a:lnTo>
                  <a:pt x="1183" y="2424"/>
                </a:lnTo>
                <a:lnTo>
                  <a:pt x="1185" y="2426"/>
                </a:lnTo>
                <a:lnTo>
                  <a:pt x="1185" y="2428"/>
                </a:lnTo>
                <a:lnTo>
                  <a:pt x="1185" y="2432"/>
                </a:lnTo>
                <a:lnTo>
                  <a:pt x="1183" y="2434"/>
                </a:lnTo>
                <a:lnTo>
                  <a:pt x="1179" y="2443"/>
                </a:lnTo>
                <a:lnTo>
                  <a:pt x="1173" y="2447"/>
                </a:lnTo>
                <a:lnTo>
                  <a:pt x="1168" y="2449"/>
                </a:lnTo>
                <a:lnTo>
                  <a:pt x="1164" y="2449"/>
                </a:lnTo>
                <a:close/>
                <a:moveTo>
                  <a:pt x="934" y="3044"/>
                </a:moveTo>
                <a:lnTo>
                  <a:pt x="925" y="3044"/>
                </a:lnTo>
                <a:lnTo>
                  <a:pt x="917" y="3042"/>
                </a:lnTo>
                <a:lnTo>
                  <a:pt x="908" y="3039"/>
                </a:lnTo>
                <a:lnTo>
                  <a:pt x="900" y="3035"/>
                </a:lnTo>
                <a:lnTo>
                  <a:pt x="891" y="3031"/>
                </a:lnTo>
                <a:lnTo>
                  <a:pt x="883" y="3027"/>
                </a:lnTo>
                <a:lnTo>
                  <a:pt x="876" y="3020"/>
                </a:lnTo>
                <a:lnTo>
                  <a:pt x="870" y="3012"/>
                </a:lnTo>
                <a:lnTo>
                  <a:pt x="864" y="3006"/>
                </a:lnTo>
                <a:lnTo>
                  <a:pt x="859" y="2997"/>
                </a:lnTo>
                <a:lnTo>
                  <a:pt x="851" y="2980"/>
                </a:lnTo>
                <a:lnTo>
                  <a:pt x="847" y="2970"/>
                </a:lnTo>
                <a:lnTo>
                  <a:pt x="845" y="2959"/>
                </a:lnTo>
                <a:lnTo>
                  <a:pt x="845" y="2948"/>
                </a:lnTo>
                <a:lnTo>
                  <a:pt x="842" y="2938"/>
                </a:lnTo>
                <a:lnTo>
                  <a:pt x="845" y="2927"/>
                </a:lnTo>
                <a:lnTo>
                  <a:pt x="845" y="2915"/>
                </a:lnTo>
                <a:lnTo>
                  <a:pt x="847" y="2904"/>
                </a:lnTo>
                <a:lnTo>
                  <a:pt x="851" y="2893"/>
                </a:lnTo>
                <a:lnTo>
                  <a:pt x="855" y="2883"/>
                </a:lnTo>
                <a:lnTo>
                  <a:pt x="859" y="2874"/>
                </a:lnTo>
                <a:lnTo>
                  <a:pt x="866" y="2866"/>
                </a:lnTo>
                <a:lnTo>
                  <a:pt x="872" y="2857"/>
                </a:lnTo>
                <a:lnTo>
                  <a:pt x="878" y="2849"/>
                </a:lnTo>
                <a:lnTo>
                  <a:pt x="885" y="2843"/>
                </a:lnTo>
                <a:lnTo>
                  <a:pt x="893" y="2836"/>
                </a:lnTo>
                <a:lnTo>
                  <a:pt x="902" y="2832"/>
                </a:lnTo>
                <a:lnTo>
                  <a:pt x="910" y="2828"/>
                </a:lnTo>
                <a:lnTo>
                  <a:pt x="921" y="2824"/>
                </a:lnTo>
                <a:lnTo>
                  <a:pt x="929" y="2821"/>
                </a:lnTo>
                <a:lnTo>
                  <a:pt x="940" y="2821"/>
                </a:lnTo>
                <a:lnTo>
                  <a:pt x="953" y="2824"/>
                </a:lnTo>
                <a:lnTo>
                  <a:pt x="957" y="2824"/>
                </a:lnTo>
                <a:lnTo>
                  <a:pt x="963" y="2826"/>
                </a:lnTo>
                <a:lnTo>
                  <a:pt x="972" y="2830"/>
                </a:lnTo>
                <a:lnTo>
                  <a:pt x="980" y="2838"/>
                </a:lnTo>
                <a:lnTo>
                  <a:pt x="986" y="2847"/>
                </a:lnTo>
                <a:lnTo>
                  <a:pt x="991" y="2855"/>
                </a:lnTo>
                <a:lnTo>
                  <a:pt x="993" y="2866"/>
                </a:lnTo>
                <a:lnTo>
                  <a:pt x="993" y="2879"/>
                </a:lnTo>
                <a:lnTo>
                  <a:pt x="993" y="2887"/>
                </a:lnTo>
                <a:lnTo>
                  <a:pt x="991" y="2893"/>
                </a:lnTo>
                <a:lnTo>
                  <a:pt x="989" y="2900"/>
                </a:lnTo>
                <a:lnTo>
                  <a:pt x="986" y="2908"/>
                </a:lnTo>
                <a:lnTo>
                  <a:pt x="982" y="2915"/>
                </a:lnTo>
                <a:lnTo>
                  <a:pt x="978" y="2921"/>
                </a:lnTo>
                <a:lnTo>
                  <a:pt x="967" y="2932"/>
                </a:lnTo>
                <a:lnTo>
                  <a:pt x="961" y="2938"/>
                </a:lnTo>
                <a:lnTo>
                  <a:pt x="955" y="2942"/>
                </a:lnTo>
                <a:lnTo>
                  <a:pt x="942" y="2951"/>
                </a:lnTo>
                <a:lnTo>
                  <a:pt x="934" y="2953"/>
                </a:lnTo>
                <a:lnTo>
                  <a:pt x="927" y="2955"/>
                </a:lnTo>
                <a:lnTo>
                  <a:pt x="910" y="2957"/>
                </a:lnTo>
                <a:lnTo>
                  <a:pt x="906" y="2955"/>
                </a:lnTo>
                <a:lnTo>
                  <a:pt x="902" y="2953"/>
                </a:lnTo>
                <a:lnTo>
                  <a:pt x="900" y="2951"/>
                </a:lnTo>
                <a:lnTo>
                  <a:pt x="898" y="2948"/>
                </a:lnTo>
                <a:lnTo>
                  <a:pt x="898" y="2944"/>
                </a:lnTo>
                <a:lnTo>
                  <a:pt x="895" y="2938"/>
                </a:lnTo>
                <a:lnTo>
                  <a:pt x="895" y="2932"/>
                </a:lnTo>
                <a:lnTo>
                  <a:pt x="898" y="2929"/>
                </a:lnTo>
                <a:lnTo>
                  <a:pt x="900" y="2927"/>
                </a:lnTo>
                <a:lnTo>
                  <a:pt x="912" y="2923"/>
                </a:lnTo>
                <a:lnTo>
                  <a:pt x="925" y="2919"/>
                </a:lnTo>
                <a:lnTo>
                  <a:pt x="936" y="2915"/>
                </a:lnTo>
                <a:lnTo>
                  <a:pt x="944" y="2906"/>
                </a:lnTo>
                <a:lnTo>
                  <a:pt x="953" y="2900"/>
                </a:lnTo>
                <a:lnTo>
                  <a:pt x="955" y="2896"/>
                </a:lnTo>
                <a:lnTo>
                  <a:pt x="957" y="2891"/>
                </a:lnTo>
                <a:lnTo>
                  <a:pt x="961" y="2883"/>
                </a:lnTo>
                <a:lnTo>
                  <a:pt x="961" y="2874"/>
                </a:lnTo>
                <a:lnTo>
                  <a:pt x="961" y="2868"/>
                </a:lnTo>
                <a:lnTo>
                  <a:pt x="961" y="2864"/>
                </a:lnTo>
                <a:lnTo>
                  <a:pt x="959" y="2862"/>
                </a:lnTo>
                <a:lnTo>
                  <a:pt x="955" y="2857"/>
                </a:lnTo>
                <a:lnTo>
                  <a:pt x="953" y="2855"/>
                </a:lnTo>
                <a:lnTo>
                  <a:pt x="948" y="2853"/>
                </a:lnTo>
                <a:lnTo>
                  <a:pt x="938" y="2851"/>
                </a:lnTo>
                <a:lnTo>
                  <a:pt x="927" y="2853"/>
                </a:lnTo>
                <a:lnTo>
                  <a:pt x="921" y="2855"/>
                </a:lnTo>
                <a:lnTo>
                  <a:pt x="917" y="2857"/>
                </a:lnTo>
                <a:lnTo>
                  <a:pt x="910" y="2862"/>
                </a:lnTo>
                <a:lnTo>
                  <a:pt x="906" y="2866"/>
                </a:lnTo>
                <a:lnTo>
                  <a:pt x="898" y="2876"/>
                </a:lnTo>
                <a:lnTo>
                  <a:pt x="893" y="2883"/>
                </a:lnTo>
                <a:lnTo>
                  <a:pt x="889" y="2889"/>
                </a:lnTo>
                <a:lnTo>
                  <a:pt x="883" y="2904"/>
                </a:lnTo>
                <a:lnTo>
                  <a:pt x="878" y="2919"/>
                </a:lnTo>
                <a:lnTo>
                  <a:pt x="878" y="2927"/>
                </a:lnTo>
                <a:lnTo>
                  <a:pt x="876" y="2936"/>
                </a:lnTo>
                <a:lnTo>
                  <a:pt x="878" y="2951"/>
                </a:lnTo>
                <a:lnTo>
                  <a:pt x="878" y="2959"/>
                </a:lnTo>
                <a:lnTo>
                  <a:pt x="881" y="2965"/>
                </a:lnTo>
                <a:lnTo>
                  <a:pt x="887" y="2978"/>
                </a:lnTo>
                <a:lnTo>
                  <a:pt x="893" y="2989"/>
                </a:lnTo>
                <a:lnTo>
                  <a:pt x="902" y="2997"/>
                </a:lnTo>
                <a:lnTo>
                  <a:pt x="906" y="2999"/>
                </a:lnTo>
                <a:lnTo>
                  <a:pt x="910" y="3003"/>
                </a:lnTo>
                <a:lnTo>
                  <a:pt x="923" y="3006"/>
                </a:lnTo>
                <a:lnTo>
                  <a:pt x="929" y="3008"/>
                </a:lnTo>
                <a:lnTo>
                  <a:pt x="936" y="3008"/>
                </a:lnTo>
                <a:lnTo>
                  <a:pt x="948" y="3008"/>
                </a:lnTo>
                <a:lnTo>
                  <a:pt x="959" y="3003"/>
                </a:lnTo>
                <a:lnTo>
                  <a:pt x="965" y="3001"/>
                </a:lnTo>
                <a:lnTo>
                  <a:pt x="969" y="2997"/>
                </a:lnTo>
                <a:lnTo>
                  <a:pt x="980" y="2991"/>
                </a:lnTo>
                <a:lnTo>
                  <a:pt x="991" y="2980"/>
                </a:lnTo>
                <a:lnTo>
                  <a:pt x="999" y="2970"/>
                </a:lnTo>
                <a:lnTo>
                  <a:pt x="1008" y="2959"/>
                </a:lnTo>
                <a:lnTo>
                  <a:pt x="1014" y="2946"/>
                </a:lnTo>
                <a:lnTo>
                  <a:pt x="1020" y="2932"/>
                </a:lnTo>
                <a:lnTo>
                  <a:pt x="1025" y="2919"/>
                </a:lnTo>
                <a:lnTo>
                  <a:pt x="1029" y="2904"/>
                </a:lnTo>
                <a:lnTo>
                  <a:pt x="1033" y="2889"/>
                </a:lnTo>
                <a:lnTo>
                  <a:pt x="1035" y="2874"/>
                </a:lnTo>
                <a:lnTo>
                  <a:pt x="1037" y="2860"/>
                </a:lnTo>
                <a:lnTo>
                  <a:pt x="1037" y="2847"/>
                </a:lnTo>
                <a:lnTo>
                  <a:pt x="1037" y="2834"/>
                </a:lnTo>
                <a:lnTo>
                  <a:pt x="1039" y="2832"/>
                </a:lnTo>
                <a:lnTo>
                  <a:pt x="1041" y="2830"/>
                </a:lnTo>
                <a:lnTo>
                  <a:pt x="1046" y="2828"/>
                </a:lnTo>
                <a:lnTo>
                  <a:pt x="1050" y="2828"/>
                </a:lnTo>
                <a:lnTo>
                  <a:pt x="1058" y="2828"/>
                </a:lnTo>
                <a:lnTo>
                  <a:pt x="1063" y="2830"/>
                </a:lnTo>
                <a:lnTo>
                  <a:pt x="1065" y="2832"/>
                </a:lnTo>
                <a:lnTo>
                  <a:pt x="1069" y="2841"/>
                </a:lnTo>
                <a:lnTo>
                  <a:pt x="1071" y="2847"/>
                </a:lnTo>
                <a:lnTo>
                  <a:pt x="1071" y="2853"/>
                </a:lnTo>
                <a:lnTo>
                  <a:pt x="1071" y="2872"/>
                </a:lnTo>
                <a:lnTo>
                  <a:pt x="1067" y="2889"/>
                </a:lnTo>
                <a:lnTo>
                  <a:pt x="1065" y="2908"/>
                </a:lnTo>
                <a:lnTo>
                  <a:pt x="1061" y="2925"/>
                </a:lnTo>
                <a:lnTo>
                  <a:pt x="1054" y="2942"/>
                </a:lnTo>
                <a:lnTo>
                  <a:pt x="1048" y="2957"/>
                </a:lnTo>
                <a:lnTo>
                  <a:pt x="1039" y="2972"/>
                </a:lnTo>
                <a:lnTo>
                  <a:pt x="1031" y="2987"/>
                </a:lnTo>
                <a:lnTo>
                  <a:pt x="1022" y="2999"/>
                </a:lnTo>
                <a:lnTo>
                  <a:pt x="1016" y="3003"/>
                </a:lnTo>
                <a:lnTo>
                  <a:pt x="1012" y="3010"/>
                </a:lnTo>
                <a:lnTo>
                  <a:pt x="1001" y="3020"/>
                </a:lnTo>
                <a:lnTo>
                  <a:pt x="989" y="3029"/>
                </a:lnTo>
                <a:lnTo>
                  <a:pt x="976" y="3035"/>
                </a:lnTo>
                <a:lnTo>
                  <a:pt x="963" y="3039"/>
                </a:lnTo>
                <a:lnTo>
                  <a:pt x="948" y="3044"/>
                </a:lnTo>
                <a:lnTo>
                  <a:pt x="934" y="3044"/>
                </a:lnTo>
                <a:close/>
                <a:moveTo>
                  <a:pt x="1164" y="3039"/>
                </a:moveTo>
                <a:lnTo>
                  <a:pt x="1160" y="3037"/>
                </a:lnTo>
                <a:lnTo>
                  <a:pt x="1152" y="3033"/>
                </a:lnTo>
                <a:lnTo>
                  <a:pt x="1135" y="3016"/>
                </a:lnTo>
                <a:lnTo>
                  <a:pt x="1113" y="2997"/>
                </a:lnTo>
                <a:lnTo>
                  <a:pt x="1096" y="2978"/>
                </a:lnTo>
                <a:lnTo>
                  <a:pt x="1088" y="2968"/>
                </a:lnTo>
                <a:lnTo>
                  <a:pt x="1084" y="2961"/>
                </a:lnTo>
                <a:lnTo>
                  <a:pt x="1080" y="2948"/>
                </a:lnTo>
                <a:lnTo>
                  <a:pt x="1077" y="2944"/>
                </a:lnTo>
                <a:lnTo>
                  <a:pt x="1077" y="2938"/>
                </a:lnTo>
                <a:lnTo>
                  <a:pt x="1077" y="2932"/>
                </a:lnTo>
                <a:lnTo>
                  <a:pt x="1080" y="2923"/>
                </a:lnTo>
                <a:lnTo>
                  <a:pt x="1084" y="2917"/>
                </a:lnTo>
                <a:lnTo>
                  <a:pt x="1088" y="2908"/>
                </a:lnTo>
                <a:lnTo>
                  <a:pt x="1101" y="2893"/>
                </a:lnTo>
                <a:lnTo>
                  <a:pt x="1118" y="2872"/>
                </a:lnTo>
                <a:lnTo>
                  <a:pt x="1160" y="2824"/>
                </a:lnTo>
                <a:lnTo>
                  <a:pt x="1166" y="2826"/>
                </a:lnTo>
                <a:lnTo>
                  <a:pt x="1173" y="2828"/>
                </a:lnTo>
                <a:lnTo>
                  <a:pt x="1177" y="2832"/>
                </a:lnTo>
                <a:lnTo>
                  <a:pt x="1181" y="2836"/>
                </a:lnTo>
                <a:lnTo>
                  <a:pt x="1183" y="2843"/>
                </a:lnTo>
                <a:lnTo>
                  <a:pt x="1181" y="2849"/>
                </a:lnTo>
                <a:lnTo>
                  <a:pt x="1179" y="2853"/>
                </a:lnTo>
                <a:lnTo>
                  <a:pt x="1177" y="2857"/>
                </a:lnTo>
                <a:lnTo>
                  <a:pt x="1147" y="2891"/>
                </a:lnTo>
                <a:lnTo>
                  <a:pt x="1130" y="2910"/>
                </a:lnTo>
                <a:lnTo>
                  <a:pt x="1118" y="2927"/>
                </a:lnTo>
                <a:lnTo>
                  <a:pt x="1113" y="2932"/>
                </a:lnTo>
                <a:lnTo>
                  <a:pt x="1113" y="2936"/>
                </a:lnTo>
                <a:lnTo>
                  <a:pt x="1113" y="2940"/>
                </a:lnTo>
                <a:lnTo>
                  <a:pt x="1118" y="2946"/>
                </a:lnTo>
                <a:lnTo>
                  <a:pt x="1128" y="2959"/>
                </a:lnTo>
                <a:lnTo>
                  <a:pt x="1145" y="2976"/>
                </a:lnTo>
                <a:lnTo>
                  <a:pt x="1164" y="2997"/>
                </a:lnTo>
                <a:lnTo>
                  <a:pt x="1183" y="3014"/>
                </a:lnTo>
                <a:lnTo>
                  <a:pt x="1185" y="3016"/>
                </a:lnTo>
                <a:lnTo>
                  <a:pt x="1185" y="3020"/>
                </a:lnTo>
                <a:lnTo>
                  <a:pt x="1185" y="3023"/>
                </a:lnTo>
                <a:lnTo>
                  <a:pt x="1183" y="3027"/>
                </a:lnTo>
                <a:lnTo>
                  <a:pt x="1179" y="3033"/>
                </a:lnTo>
                <a:lnTo>
                  <a:pt x="1173" y="3037"/>
                </a:lnTo>
                <a:lnTo>
                  <a:pt x="1168" y="3039"/>
                </a:lnTo>
                <a:lnTo>
                  <a:pt x="1164" y="3039"/>
                </a:lnTo>
                <a:close/>
                <a:moveTo>
                  <a:pt x="1001" y="3558"/>
                </a:moveTo>
                <a:lnTo>
                  <a:pt x="1010" y="3543"/>
                </a:lnTo>
                <a:lnTo>
                  <a:pt x="1018" y="3528"/>
                </a:lnTo>
                <a:lnTo>
                  <a:pt x="1022" y="3520"/>
                </a:lnTo>
                <a:lnTo>
                  <a:pt x="1025" y="3511"/>
                </a:lnTo>
                <a:lnTo>
                  <a:pt x="1029" y="3492"/>
                </a:lnTo>
                <a:lnTo>
                  <a:pt x="1033" y="3476"/>
                </a:lnTo>
                <a:lnTo>
                  <a:pt x="1035" y="3459"/>
                </a:lnTo>
                <a:lnTo>
                  <a:pt x="1037" y="3442"/>
                </a:lnTo>
                <a:lnTo>
                  <a:pt x="1037" y="3427"/>
                </a:lnTo>
                <a:lnTo>
                  <a:pt x="1039" y="3423"/>
                </a:lnTo>
                <a:lnTo>
                  <a:pt x="1041" y="3420"/>
                </a:lnTo>
                <a:lnTo>
                  <a:pt x="1046" y="3418"/>
                </a:lnTo>
                <a:lnTo>
                  <a:pt x="1050" y="3418"/>
                </a:lnTo>
                <a:lnTo>
                  <a:pt x="1058" y="3420"/>
                </a:lnTo>
                <a:lnTo>
                  <a:pt x="1063" y="3423"/>
                </a:lnTo>
                <a:lnTo>
                  <a:pt x="1065" y="3425"/>
                </a:lnTo>
                <a:lnTo>
                  <a:pt x="1069" y="3431"/>
                </a:lnTo>
                <a:lnTo>
                  <a:pt x="1071" y="3437"/>
                </a:lnTo>
                <a:lnTo>
                  <a:pt x="1071" y="3444"/>
                </a:lnTo>
                <a:lnTo>
                  <a:pt x="1069" y="3463"/>
                </a:lnTo>
                <a:lnTo>
                  <a:pt x="1067" y="3482"/>
                </a:lnTo>
                <a:lnTo>
                  <a:pt x="1065" y="3501"/>
                </a:lnTo>
                <a:lnTo>
                  <a:pt x="1061" y="3518"/>
                </a:lnTo>
                <a:lnTo>
                  <a:pt x="1054" y="3535"/>
                </a:lnTo>
                <a:lnTo>
                  <a:pt x="1048" y="3550"/>
                </a:lnTo>
                <a:lnTo>
                  <a:pt x="1039" y="3564"/>
                </a:lnTo>
                <a:lnTo>
                  <a:pt x="1031" y="3579"/>
                </a:lnTo>
                <a:lnTo>
                  <a:pt x="1014" y="3569"/>
                </a:lnTo>
                <a:lnTo>
                  <a:pt x="1001" y="3558"/>
                </a:lnTo>
                <a:close/>
                <a:moveTo>
                  <a:pt x="938" y="3444"/>
                </a:moveTo>
                <a:lnTo>
                  <a:pt x="931" y="3444"/>
                </a:lnTo>
                <a:lnTo>
                  <a:pt x="927" y="3446"/>
                </a:lnTo>
                <a:lnTo>
                  <a:pt x="921" y="3448"/>
                </a:lnTo>
                <a:lnTo>
                  <a:pt x="914" y="3450"/>
                </a:lnTo>
                <a:lnTo>
                  <a:pt x="904" y="3459"/>
                </a:lnTo>
                <a:lnTo>
                  <a:pt x="895" y="3471"/>
                </a:lnTo>
                <a:lnTo>
                  <a:pt x="874" y="3452"/>
                </a:lnTo>
                <a:lnTo>
                  <a:pt x="872" y="3448"/>
                </a:lnTo>
                <a:lnTo>
                  <a:pt x="878" y="3442"/>
                </a:lnTo>
                <a:lnTo>
                  <a:pt x="885" y="3433"/>
                </a:lnTo>
                <a:lnTo>
                  <a:pt x="893" y="3429"/>
                </a:lnTo>
                <a:lnTo>
                  <a:pt x="902" y="3423"/>
                </a:lnTo>
                <a:lnTo>
                  <a:pt x="910" y="3418"/>
                </a:lnTo>
                <a:lnTo>
                  <a:pt x="921" y="3416"/>
                </a:lnTo>
                <a:lnTo>
                  <a:pt x="929" y="3414"/>
                </a:lnTo>
                <a:lnTo>
                  <a:pt x="940" y="3414"/>
                </a:lnTo>
                <a:lnTo>
                  <a:pt x="953" y="3414"/>
                </a:lnTo>
                <a:lnTo>
                  <a:pt x="957" y="3416"/>
                </a:lnTo>
                <a:lnTo>
                  <a:pt x="963" y="3418"/>
                </a:lnTo>
                <a:lnTo>
                  <a:pt x="972" y="3423"/>
                </a:lnTo>
                <a:lnTo>
                  <a:pt x="980" y="3429"/>
                </a:lnTo>
                <a:lnTo>
                  <a:pt x="986" y="3437"/>
                </a:lnTo>
                <a:lnTo>
                  <a:pt x="991" y="3448"/>
                </a:lnTo>
                <a:lnTo>
                  <a:pt x="993" y="3459"/>
                </a:lnTo>
                <a:lnTo>
                  <a:pt x="993" y="3471"/>
                </a:lnTo>
                <a:lnTo>
                  <a:pt x="993" y="3480"/>
                </a:lnTo>
                <a:lnTo>
                  <a:pt x="991" y="3486"/>
                </a:lnTo>
                <a:lnTo>
                  <a:pt x="989" y="3495"/>
                </a:lnTo>
                <a:lnTo>
                  <a:pt x="984" y="3503"/>
                </a:lnTo>
                <a:lnTo>
                  <a:pt x="980" y="3509"/>
                </a:lnTo>
                <a:lnTo>
                  <a:pt x="974" y="3518"/>
                </a:lnTo>
                <a:lnTo>
                  <a:pt x="967" y="3524"/>
                </a:lnTo>
                <a:lnTo>
                  <a:pt x="961" y="3531"/>
                </a:lnTo>
                <a:lnTo>
                  <a:pt x="934" y="3507"/>
                </a:lnTo>
                <a:lnTo>
                  <a:pt x="944" y="3499"/>
                </a:lnTo>
                <a:lnTo>
                  <a:pt x="950" y="3492"/>
                </a:lnTo>
                <a:lnTo>
                  <a:pt x="955" y="3488"/>
                </a:lnTo>
                <a:lnTo>
                  <a:pt x="957" y="3482"/>
                </a:lnTo>
                <a:lnTo>
                  <a:pt x="959" y="3478"/>
                </a:lnTo>
                <a:lnTo>
                  <a:pt x="961" y="3471"/>
                </a:lnTo>
                <a:lnTo>
                  <a:pt x="961" y="3465"/>
                </a:lnTo>
                <a:lnTo>
                  <a:pt x="961" y="3461"/>
                </a:lnTo>
                <a:lnTo>
                  <a:pt x="961" y="3456"/>
                </a:lnTo>
                <a:lnTo>
                  <a:pt x="959" y="3452"/>
                </a:lnTo>
                <a:lnTo>
                  <a:pt x="955" y="3450"/>
                </a:lnTo>
                <a:lnTo>
                  <a:pt x="953" y="3446"/>
                </a:lnTo>
                <a:lnTo>
                  <a:pt x="948" y="3444"/>
                </a:lnTo>
                <a:lnTo>
                  <a:pt x="938" y="3444"/>
                </a:lnTo>
                <a:close/>
                <a:moveTo>
                  <a:pt x="1164" y="3632"/>
                </a:moveTo>
                <a:lnTo>
                  <a:pt x="1160" y="3630"/>
                </a:lnTo>
                <a:lnTo>
                  <a:pt x="1152" y="3624"/>
                </a:lnTo>
                <a:lnTo>
                  <a:pt x="1135" y="3609"/>
                </a:lnTo>
                <a:lnTo>
                  <a:pt x="1113" y="3590"/>
                </a:lnTo>
                <a:lnTo>
                  <a:pt x="1096" y="3569"/>
                </a:lnTo>
                <a:lnTo>
                  <a:pt x="1088" y="3560"/>
                </a:lnTo>
                <a:lnTo>
                  <a:pt x="1084" y="3554"/>
                </a:lnTo>
                <a:lnTo>
                  <a:pt x="1080" y="3541"/>
                </a:lnTo>
                <a:lnTo>
                  <a:pt x="1077" y="3535"/>
                </a:lnTo>
                <a:lnTo>
                  <a:pt x="1077" y="3528"/>
                </a:lnTo>
                <a:lnTo>
                  <a:pt x="1077" y="3522"/>
                </a:lnTo>
                <a:lnTo>
                  <a:pt x="1080" y="3516"/>
                </a:lnTo>
                <a:lnTo>
                  <a:pt x="1084" y="3507"/>
                </a:lnTo>
                <a:lnTo>
                  <a:pt x="1088" y="3499"/>
                </a:lnTo>
                <a:lnTo>
                  <a:pt x="1101" y="3484"/>
                </a:lnTo>
                <a:lnTo>
                  <a:pt x="1118" y="3465"/>
                </a:lnTo>
                <a:lnTo>
                  <a:pt x="1160" y="3416"/>
                </a:lnTo>
                <a:lnTo>
                  <a:pt x="1166" y="3416"/>
                </a:lnTo>
                <a:lnTo>
                  <a:pt x="1173" y="3420"/>
                </a:lnTo>
                <a:lnTo>
                  <a:pt x="1177" y="3423"/>
                </a:lnTo>
                <a:lnTo>
                  <a:pt x="1181" y="3429"/>
                </a:lnTo>
                <a:lnTo>
                  <a:pt x="1183" y="3435"/>
                </a:lnTo>
                <a:lnTo>
                  <a:pt x="1181" y="3442"/>
                </a:lnTo>
                <a:lnTo>
                  <a:pt x="1179" y="3444"/>
                </a:lnTo>
                <a:lnTo>
                  <a:pt x="1177" y="3448"/>
                </a:lnTo>
                <a:lnTo>
                  <a:pt x="1147" y="3482"/>
                </a:lnTo>
                <a:lnTo>
                  <a:pt x="1130" y="3503"/>
                </a:lnTo>
                <a:lnTo>
                  <a:pt x="1118" y="3518"/>
                </a:lnTo>
                <a:lnTo>
                  <a:pt x="1113" y="3522"/>
                </a:lnTo>
                <a:lnTo>
                  <a:pt x="1113" y="3528"/>
                </a:lnTo>
                <a:lnTo>
                  <a:pt x="1113" y="3533"/>
                </a:lnTo>
                <a:lnTo>
                  <a:pt x="1118" y="3539"/>
                </a:lnTo>
                <a:lnTo>
                  <a:pt x="1128" y="3552"/>
                </a:lnTo>
                <a:lnTo>
                  <a:pt x="1145" y="3569"/>
                </a:lnTo>
                <a:lnTo>
                  <a:pt x="1164" y="3588"/>
                </a:lnTo>
                <a:lnTo>
                  <a:pt x="1183" y="3607"/>
                </a:lnTo>
                <a:lnTo>
                  <a:pt x="1185" y="3609"/>
                </a:lnTo>
                <a:lnTo>
                  <a:pt x="1185" y="3611"/>
                </a:lnTo>
                <a:lnTo>
                  <a:pt x="1185" y="3615"/>
                </a:lnTo>
                <a:lnTo>
                  <a:pt x="1183" y="3617"/>
                </a:lnTo>
                <a:lnTo>
                  <a:pt x="1179" y="3626"/>
                </a:lnTo>
                <a:lnTo>
                  <a:pt x="1173" y="3630"/>
                </a:lnTo>
                <a:lnTo>
                  <a:pt x="1168" y="3632"/>
                </a:lnTo>
                <a:lnTo>
                  <a:pt x="1164" y="3632"/>
                </a:lnTo>
                <a:close/>
                <a:moveTo>
                  <a:pt x="3215" y="2451"/>
                </a:moveTo>
                <a:lnTo>
                  <a:pt x="3205" y="2451"/>
                </a:lnTo>
                <a:lnTo>
                  <a:pt x="3196" y="2449"/>
                </a:lnTo>
                <a:lnTo>
                  <a:pt x="3188" y="2447"/>
                </a:lnTo>
                <a:lnTo>
                  <a:pt x="3179" y="2445"/>
                </a:lnTo>
                <a:lnTo>
                  <a:pt x="3171" y="2440"/>
                </a:lnTo>
                <a:lnTo>
                  <a:pt x="3165" y="2434"/>
                </a:lnTo>
                <a:lnTo>
                  <a:pt x="3158" y="2428"/>
                </a:lnTo>
                <a:lnTo>
                  <a:pt x="3152" y="2421"/>
                </a:lnTo>
                <a:lnTo>
                  <a:pt x="3146" y="2413"/>
                </a:lnTo>
                <a:lnTo>
                  <a:pt x="3139" y="2407"/>
                </a:lnTo>
                <a:lnTo>
                  <a:pt x="3131" y="2388"/>
                </a:lnTo>
                <a:lnTo>
                  <a:pt x="3129" y="2377"/>
                </a:lnTo>
                <a:lnTo>
                  <a:pt x="3126" y="2369"/>
                </a:lnTo>
                <a:lnTo>
                  <a:pt x="3124" y="2358"/>
                </a:lnTo>
                <a:lnTo>
                  <a:pt x="3124" y="2345"/>
                </a:lnTo>
                <a:lnTo>
                  <a:pt x="3124" y="2335"/>
                </a:lnTo>
                <a:lnTo>
                  <a:pt x="3126" y="2324"/>
                </a:lnTo>
                <a:lnTo>
                  <a:pt x="3129" y="2313"/>
                </a:lnTo>
                <a:lnTo>
                  <a:pt x="3133" y="2303"/>
                </a:lnTo>
                <a:lnTo>
                  <a:pt x="3135" y="2292"/>
                </a:lnTo>
                <a:lnTo>
                  <a:pt x="3141" y="2282"/>
                </a:lnTo>
                <a:lnTo>
                  <a:pt x="3146" y="2273"/>
                </a:lnTo>
                <a:lnTo>
                  <a:pt x="3152" y="2265"/>
                </a:lnTo>
                <a:lnTo>
                  <a:pt x="3158" y="2258"/>
                </a:lnTo>
                <a:lnTo>
                  <a:pt x="3167" y="2250"/>
                </a:lnTo>
                <a:lnTo>
                  <a:pt x="3175" y="2244"/>
                </a:lnTo>
                <a:lnTo>
                  <a:pt x="3184" y="2239"/>
                </a:lnTo>
                <a:lnTo>
                  <a:pt x="3192" y="2235"/>
                </a:lnTo>
                <a:lnTo>
                  <a:pt x="3201" y="2233"/>
                </a:lnTo>
                <a:lnTo>
                  <a:pt x="3211" y="2231"/>
                </a:lnTo>
                <a:lnTo>
                  <a:pt x="3222" y="2229"/>
                </a:lnTo>
                <a:lnTo>
                  <a:pt x="3232" y="2231"/>
                </a:lnTo>
                <a:lnTo>
                  <a:pt x="3239" y="2233"/>
                </a:lnTo>
                <a:lnTo>
                  <a:pt x="3243" y="2235"/>
                </a:lnTo>
                <a:lnTo>
                  <a:pt x="3253" y="2239"/>
                </a:lnTo>
                <a:lnTo>
                  <a:pt x="3260" y="2246"/>
                </a:lnTo>
                <a:lnTo>
                  <a:pt x="3266" y="2254"/>
                </a:lnTo>
                <a:lnTo>
                  <a:pt x="3270" y="2265"/>
                </a:lnTo>
                <a:lnTo>
                  <a:pt x="3273" y="2275"/>
                </a:lnTo>
                <a:lnTo>
                  <a:pt x="3275" y="2286"/>
                </a:lnTo>
                <a:lnTo>
                  <a:pt x="3275" y="2294"/>
                </a:lnTo>
                <a:lnTo>
                  <a:pt x="3273" y="2303"/>
                </a:lnTo>
                <a:lnTo>
                  <a:pt x="3270" y="2309"/>
                </a:lnTo>
                <a:lnTo>
                  <a:pt x="3268" y="2316"/>
                </a:lnTo>
                <a:lnTo>
                  <a:pt x="3264" y="2322"/>
                </a:lnTo>
                <a:lnTo>
                  <a:pt x="3260" y="2328"/>
                </a:lnTo>
                <a:lnTo>
                  <a:pt x="3249" y="2341"/>
                </a:lnTo>
                <a:lnTo>
                  <a:pt x="3243" y="2345"/>
                </a:lnTo>
                <a:lnTo>
                  <a:pt x="3237" y="2352"/>
                </a:lnTo>
                <a:lnTo>
                  <a:pt x="3222" y="2358"/>
                </a:lnTo>
                <a:lnTo>
                  <a:pt x="3215" y="2360"/>
                </a:lnTo>
                <a:lnTo>
                  <a:pt x="3207" y="2362"/>
                </a:lnTo>
                <a:lnTo>
                  <a:pt x="3192" y="2364"/>
                </a:lnTo>
                <a:lnTo>
                  <a:pt x="3186" y="2362"/>
                </a:lnTo>
                <a:lnTo>
                  <a:pt x="3184" y="2362"/>
                </a:lnTo>
                <a:lnTo>
                  <a:pt x="3182" y="2358"/>
                </a:lnTo>
                <a:lnTo>
                  <a:pt x="3179" y="2356"/>
                </a:lnTo>
                <a:lnTo>
                  <a:pt x="3177" y="2354"/>
                </a:lnTo>
                <a:lnTo>
                  <a:pt x="3175" y="2345"/>
                </a:lnTo>
                <a:lnTo>
                  <a:pt x="3177" y="2339"/>
                </a:lnTo>
                <a:lnTo>
                  <a:pt x="3179" y="2337"/>
                </a:lnTo>
                <a:lnTo>
                  <a:pt x="3182" y="2335"/>
                </a:lnTo>
                <a:lnTo>
                  <a:pt x="3194" y="2333"/>
                </a:lnTo>
                <a:lnTo>
                  <a:pt x="3205" y="2328"/>
                </a:lnTo>
                <a:lnTo>
                  <a:pt x="3215" y="2322"/>
                </a:lnTo>
                <a:lnTo>
                  <a:pt x="3226" y="2316"/>
                </a:lnTo>
                <a:lnTo>
                  <a:pt x="3232" y="2307"/>
                </a:lnTo>
                <a:lnTo>
                  <a:pt x="3237" y="2303"/>
                </a:lnTo>
                <a:lnTo>
                  <a:pt x="3239" y="2299"/>
                </a:lnTo>
                <a:lnTo>
                  <a:pt x="3241" y="2290"/>
                </a:lnTo>
                <a:lnTo>
                  <a:pt x="3243" y="2282"/>
                </a:lnTo>
                <a:lnTo>
                  <a:pt x="3243" y="2277"/>
                </a:lnTo>
                <a:lnTo>
                  <a:pt x="3241" y="2273"/>
                </a:lnTo>
                <a:lnTo>
                  <a:pt x="3239" y="2269"/>
                </a:lnTo>
                <a:lnTo>
                  <a:pt x="3237" y="2265"/>
                </a:lnTo>
                <a:lnTo>
                  <a:pt x="3232" y="2263"/>
                </a:lnTo>
                <a:lnTo>
                  <a:pt x="3228" y="2261"/>
                </a:lnTo>
                <a:lnTo>
                  <a:pt x="3218" y="2261"/>
                </a:lnTo>
                <a:lnTo>
                  <a:pt x="3207" y="2261"/>
                </a:lnTo>
                <a:lnTo>
                  <a:pt x="3203" y="2263"/>
                </a:lnTo>
                <a:lnTo>
                  <a:pt x="3196" y="2267"/>
                </a:lnTo>
                <a:lnTo>
                  <a:pt x="3192" y="2271"/>
                </a:lnTo>
                <a:lnTo>
                  <a:pt x="3188" y="2275"/>
                </a:lnTo>
                <a:lnTo>
                  <a:pt x="3177" y="2284"/>
                </a:lnTo>
                <a:lnTo>
                  <a:pt x="3173" y="2290"/>
                </a:lnTo>
                <a:lnTo>
                  <a:pt x="3169" y="2297"/>
                </a:lnTo>
                <a:lnTo>
                  <a:pt x="3162" y="2311"/>
                </a:lnTo>
                <a:lnTo>
                  <a:pt x="3160" y="2328"/>
                </a:lnTo>
                <a:lnTo>
                  <a:pt x="3158" y="2337"/>
                </a:lnTo>
                <a:lnTo>
                  <a:pt x="3158" y="2345"/>
                </a:lnTo>
                <a:lnTo>
                  <a:pt x="3158" y="2360"/>
                </a:lnTo>
                <a:lnTo>
                  <a:pt x="3160" y="2366"/>
                </a:lnTo>
                <a:lnTo>
                  <a:pt x="3162" y="2373"/>
                </a:lnTo>
                <a:lnTo>
                  <a:pt x="3167" y="2385"/>
                </a:lnTo>
                <a:lnTo>
                  <a:pt x="3173" y="2396"/>
                </a:lnTo>
                <a:lnTo>
                  <a:pt x="3182" y="2404"/>
                </a:lnTo>
                <a:lnTo>
                  <a:pt x="3188" y="2409"/>
                </a:lnTo>
                <a:lnTo>
                  <a:pt x="3192" y="2411"/>
                </a:lnTo>
                <a:lnTo>
                  <a:pt x="3203" y="2415"/>
                </a:lnTo>
                <a:lnTo>
                  <a:pt x="3209" y="2415"/>
                </a:lnTo>
                <a:lnTo>
                  <a:pt x="3215" y="2417"/>
                </a:lnTo>
                <a:lnTo>
                  <a:pt x="3228" y="2415"/>
                </a:lnTo>
                <a:lnTo>
                  <a:pt x="3241" y="2411"/>
                </a:lnTo>
                <a:lnTo>
                  <a:pt x="3245" y="2409"/>
                </a:lnTo>
                <a:lnTo>
                  <a:pt x="3251" y="2407"/>
                </a:lnTo>
                <a:lnTo>
                  <a:pt x="3262" y="2398"/>
                </a:lnTo>
                <a:lnTo>
                  <a:pt x="3270" y="2390"/>
                </a:lnTo>
                <a:lnTo>
                  <a:pt x="3279" y="2379"/>
                </a:lnTo>
                <a:lnTo>
                  <a:pt x="3287" y="2366"/>
                </a:lnTo>
                <a:lnTo>
                  <a:pt x="3294" y="2354"/>
                </a:lnTo>
                <a:lnTo>
                  <a:pt x="3300" y="2341"/>
                </a:lnTo>
                <a:lnTo>
                  <a:pt x="3306" y="2326"/>
                </a:lnTo>
                <a:lnTo>
                  <a:pt x="3311" y="2311"/>
                </a:lnTo>
                <a:lnTo>
                  <a:pt x="3313" y="2297"/>
                </a:lnTo>
                <a:lnTo>
                  <a:pt x="3317" y="2284"/>
                </a:lnTo>
                <a:lnTo>
                  <a:pt x="3317" y="2269"/>
                </a:lnTo>
                <a:lnTo>
                  <a:pt x="3319" y="2256"/>
                </a:lnTo>
                <a:lnTo>
                  <a:pt x="3317" y="2242"/>
                </a:lnTo>
                <a:lnTo>
                  <a:pt x="3319" y="2239"/>
                </a:lnTo>
                <a:lnTo>
                  <a:pt x="3323" y="2237"/>
                </a:lnTo>
                <a:lnTo>
                  <a:pt x="3325" y="2235"/>
                </a:lnTo>
                <a:lnTo>
                  <a:pt x="3332" y="2235"/>
                </a:lnTo>
                <a:lnTo>
                  <a:pt x="3340" y="2237"/>
                </a:lnTo>
                <a:lnTo>
                  <a:pt x="3342" y="2237"/>
                </a:lnTo>
                <a:lnTo>
                  <a:pt x="3347" y="2242"/>
                </a:lnTo>
                <a:lnTo>
                  <a:pt x="3351" y="2248"/>
                </a:lnTo>
                <a:lnTo>
                  <a:pt x="3351" y="2254"/>
                </a:lnTo>
                <a:lnTo>
                  <a:pt x="3351" y="2261"/>
                </a:lnTo>
                <a:lnTo>
                  <a:pt x="3351" y="2280"/>
                </a:lnTo>
                <a:lnTo>
                  <a:pt x="3349" y="2299"/>
                </a:lnTo>
                <a:lnTo>
                  <a:pt x="3345" y="2316"/>
                </a:lnTo>
                <a:lnTo>
                  <a:pt x="3340" y="2333"/>
                </a:lnTo>
                <a:lnTo>
                  <a:pt x="3336" y="2349"/>
                </a:lnTo>
                <a:lnTo>
                  <a:pt x="3330" y="2366"/>
                </a:lnTo>
                <a:lnTo>
                  <a:pt x="3321" y="2381"/>
                </a:lnTo>
                <a:lnTo>
                  <a:pt x="3313" y="2394"/>
                </a:lnTo>
                <a:lnTo>
                  <a:pt x="3302" y="2407"/>
                </a:lnTo>
                <a:lnTo>
                  <a:pt x="3298" y="2413"/>
                </a:lnTo>
                <a:lnTo>
                  <a:pt x="3294" y="2417"/>
                </a:lnTo>
                <a:lnTo>
                  <a:pt x="3281" y="2428"/>
                </a:lnTo>
                <a:lnTo>
                  <a:pt x="3270" y="2436"/>
                </a:lnTo>
                <a:lnTo>
                  <a:pt x="3258" y="2443"/>
                </a:lnTo>
                <a:lnTo>
                  <a:pt x="3243" y="2449"/>
                </a:lnTo>
                <a:lnTo>
                  <a:pt x="3230" y="2451"/>
                </a:lnTo>
                <a:lnTo>
                  <a:pt x="3215" y="2451"/>
                </a:lnTo>
                <a:close/>
                <a:moveTo>
                  <a:pt x="3446" y="2449"/>
                </a:moveTo>
                <a:lnTo>
                  <a:pt x="3440" y="2447"/>
                </a:lnTo>
                <a:lnTo>
                  <a:pt x="3431" y="2440"/>
                </a:lnTo>
                <a:lnTo>
                  <a:pt x="3414" y="2426"/>
                </a:lnTo>
                <a:lnTo>
                  <a:pt x="3395" y="2407"/>
                </a:lnTo>
                <a:lnTo>
                  <a:pt x="3376" y="2385"/>
                </a:lnTo>
                <a:lnTo>
                  <a:pt x="3370" y="2377"/>
                </a:lnTo>
                <a:lnTo>
                  <a:pt x="3366" y="2371"/>
                </a:lnTo>
                <a:lnTo>
                  <a:pt x="3359" y="2358"/>
                </a:lnTo>
                <a:lnTo>
                  <a:pt x="3357" y="2352"/>
                </a:lnTo>
                <a:lnTo>
                  <a:pt x="3357" y="2345"/>
                </a:lnTo>
                <a:lnTo>
                  <a:pt x="3359" y="2339"/>
                </a:lnTo>
                <a:lnTo>
                  <a:pt x="3361" y="2333"/>
                </a:lnTo>
                <a:lnTo>
                  <a:pt x="3364" y="2324"/>
                </a:lnTo>
                <a:lnTo>
                  <a:pt x="3370" y="2316"/>
                </a:lnTo>
                <a:lnTo>
                  <a:pt x="3381" y="2301"/>
                </a:lnTo>
                <a:lnTo>
                  <a:pt x="3400" y="2282"/>
                </a:lnTo>
                <a:lnTo>
                  <a:pt x="3442" y="2233"/>
                </a:lnTo>
                <a:lnTo>
                  <a:pt x="3446" y="2233"/>
                </a:lnTo>
                <a:lnTo>
                  <a:pt x="3452" y="2235"/>
                </a:lnTo>
                <a:lnTo>
                  <a:pt x="3459" y="2239"/>
                </a:lnTo>
                <a:lnTo>
                  <a:pt x="3463" y="2246"/>
                </a:lnTo>
                <a:lnTo>
                  <a:pt x="3463" y="2252"/>
                </a:lnTo>
                <a:lnTo>
                  <a:pt x="3461" y="2258"/>
                </a:lnTo>
                <a:lnTo>
                  <a:pt x="3461" y="2261"/>
                </a:lnTo>
                <a:lnTo>
                  <a:pt x="3459" y="2265"/>
                </a:lnTo>
                <a:lnTo>
                  <a:pt x="3429" y="2299"/>
                </a:lnTo>
                <a:lnTo>
                  <a:pt x="3410" y="2320"/>
                </a:lnTo>
                <a:lnTo>
                  <a:pt x="3397" y="2335"/>
                </a:lnTo>
                <a:lnTo>
                  <a:pt x="3395" y="2339"/>
                </a:lnTo>
                <a:lnTo>
                  <a:pt x="3393" y="2343"/>
                </a:lnTo>
                <a:lnTo>
                  <a:pt x="3395" y="2349"/>
                </a:lnTo>
                <a:lnTo>
                  <a:pt x="3397" y="2356"/>
                </a:lnTo>
                <a:lnTo>
                  <a:pt x="3408" y="2366"/>
                </a:lnTo>
                <a:lnTo>
                  <a:pt x="3425" y="2385"/>
                </a:lnTo>
                <a:lnTo>
                  <a:pt x="3444" y="2404"/>
                </a:lnTo>
                <a:lnTo>
                  <a:pt x="3463" y="2424"/>
                </a:lnTo>
                <a:lnTo>
                  <a:pt x="3465" y="2426"/>
                </a:lnTo>
                <a:lnTo>
                  <a:pt x="3467" y="2428"/>
                </a:lnTo>
                <a:lnTo>
                  <a:pt x="3465" y="2432"/>
                </a:lnTo>
                <a:lnTo>
                  <a:pt x="3465" y="2434"/>
                </a:lnTo>
                <a:lnTo>
                  <a:pt x="3459" y="2443"/>
                </a:lnTo>
                <a:lnTo>
                  <a:pt x="3452" y="2447"/>
                </a:lnTo>
                <a:lnTo>
                  <a:pt x="3448" y="2449"/>
                </a:lnTo>
                <a:lnTo>
                  <a:pt x="3446" y="2449"/>
                </a:lnTo>
                <a:close/>
                <a:moveTo>
                  <a:pt x="3215" y="3044"/>
                </a:moveTo>
                <a:lnTo>
                  <a:pt x="3205" y="3044"/>
                </a:lnTo>
                <a:lnTo>
                  <a:pt x="3196" y="3042"/>
                </a:lnTo>
                <a:lnTo>
                  <a:pt x="3188" y="3039"/>
                </a:lnTo>
                <a:lnTo>
                  <a:pt x="3179" y="3035"/>
                </a:lnTo>
                <a:lnTo>
                  <a:pt x="3171" y="3031"/>
                </a:lnTo>
                <a:lnTo>
                  <a:pt x="3165" y="3027"/>
                </a:lnTo>
                <a:lnTo>
                  <a:pt x="3158" y="3020"/>
                </a:lnTo>
                <a:lnTo>
                  <a:pt x="3152" y="3012"/>
                </a:lnTo>
                <a:lnTo>
                  <a:pt x="3146" y="3006"/>
                </a:lnTo>
                <a:lnTo>
                  <a:pt x="3139" y="2997"/>
                </a:lnTo>
                <a:lnTo>
                  <a:pt x="3131" y="2980"/>
                </a:lnTo>
                <a:lnTo>
                  <a:pt x="3129" y="2970"/>
                </a:lnTo>
                <a:lnTo>
                  <a:pt x="3126" y="2959"/>
                </a:lnTo>
                <a:lnTo>
                  <a:pt x="3124" y="2948"/>
                </a:lnTo>
                <a:lnTo>
                  <a:pt x="3124" y="2938"/>
                </a:lnTo>
                <a:lnTo>
                  <a:pt x="3124" y="2927"/>
                </a:lnTo>
                <a:lnTo>
                  <a:pt x="3126" y="2915"/>
                </a:lnTo>
                <a:lnTo>
                  <a:pt x="3129" y="2904"/>
                </a:lnTo>
                <a:lnTo>
                  <a:pt x="3133" y="2893"/>
                </a:lnTo>
                <a:lnTo>
                  <a:pt x="3135" y="2883"/>
                </a:lnTo>
                <a:lnTo>
                  <a:pt x="3141" y="2874"/>
                </a:lnTo>
                <a:lnTo>
                  <a:pt x="3146" y="2866"/>
                </a:lnTo>
                <a:lnTo>
                  <a:pt x="3152" y="2857"/>
                </a:lnTo>
                <a:lnTo>
                  <a:pt x="3158" y="2849"/>
                </a:lnTo>
                <a:lnTo>
                  <a:pt x="3167" y="2843"/>
                </a:lnTo>
                <a:lnTo>
                  <a:pt x="3175" y="2836"/>
                </a:lnTo>
                <a:lnTo>
                  <a:pt x="3184" y="2832"/>
                </a:lnTo>
                <a:lnTo>
                  <a:pt x="3192" y="2828"/>
                </a:lnTo>
                <a:lnTo>
                  <a:pt x="3201" y="2824"/>
                </a:lnTo>
                <a:lnTo>
                  <a:pt x="3211" y="2821"/>
                </a:lnTo>
                <a:lnTo>
                  <a:pt x="3222" y="2821"/>
                </a:lnTo>
                <a:lnTo>
                  <a:pt x="3232" y="2824"/>
                </a:lnTo>
                <a:lnTo>
                  <a:pt x="3239" y="2824"/>
                </a:lnTo>
                <a:lnTo>
                  <a:pt x="3243" y="2826"/>
                </a:lnTo>
                <a:lnTo>
                  <a:pt x="3253" y="2830"/>
                </a:lnTo>
                <a:lnTo>
                  <a:pt x="3260" y="2838"/>
                </a:lnTo>
                <a:lnTo>
                  <a:pt x="3266" y="2847"/>
                </a:lnTo>
                <a:lnTo>
                  <a:pt x="3270" y="2855"/>
                </a:lnTo>
                <a:lnTo>
                  <a:pt x="3273" y="2866"/>
                </a:lnTo>
                <a:lnTo>
                  <a:pt x="3275" y="2879"/>
                </a:lnTo>
                <a:lnTo>
                  <a:pt x="3275" y="2887"/>
                </a:lnTo>
                <a:lnTo>
                  <a:pt x="3273" y="2893"/>
                </a:lnTo>
                <a:lnTo>
                  <a:pt x="3270" y="2900"/>
                </a:lnTo>
                <a:lnTo>
                  <a:pt x="3268" y="2908"/>
                </a:lnTo>
                <a:lnTo>
                  <a:pt x="3264" y="2915"/>
                </a:lnTo>
                <a:lnTo>
                  <a:pt x="3260" y="2921"/>
                </a:lnTo>
                <a:lnTo>
                  <a:pt x="3249" y="2932"/>
                </a:lnTo>
                <a:lnTo>
                  <a:pt x="3243" y="2938"/>
                </a:lnTo>
                <a:lnTo>
                  <a:pt x="3237" y="2942"/>
                </a:lnTo>
                <a:lnTo>
                  <a:pt x="3222" y="2951"/>
                </a:lnTo>
                <a:lnTo>
                  <a:pt x="3215" y="2953"/>
                </a:lnTo>
                <a:lnTo>
                  <a:pt x="3207" y="2955"/>
                </a:lnTo>
                <a:lnTo>
                  <a:pt x="3192" y="2957"/>
                </a:lnTo>
                <a:lnTo>
                  <a:pt x="3186" y="2955"/>
                </a:lnTo>
                <a:lnTo>
                  <a:pt x="3184" y="2953"/>
                </a:lnTo>
                <a:lnTo>
                  <a:pt x="3182" y="2951"/>
                </a:lnTo>
                <a:lnTo>
                  <a:pt x="3179" y="2948"/>
                </a:lnTo>
                <a:lnTo>
                  <a:pt x="3177" y="2944"/>
                </a:lnTo>
                <a:lnTo>
                  <a:pt x="3175" y="2938"/>
                </a:lnTo>
                <a:lnTo>
                  <a:pt x="3177" y="2932"/>
                </a:lnTo>
                <a:lnTo>
                  <a:pt x="3179" y="2929"/>
                </a:lnTo>
                <a:lnTo>
                  <a:pt x="3182" y="2927"/>
                </a:lnTo>
                <a:lnTo>
                  <a:pt x="3194" y="2923"/>
                </a:lnTo>
                <a:lnTo>
                  <a:pt x="3205" y="2919"/>
                </a:lnTo>
                <a:lnTo>
                  <a:pt x="3215" y="2915"/>
                </a:lnTo>
                <a:lnTo>
                  <a:pt x="3226" y="2906"/>
                </a:lnTo>
                <a:lnTo>
                  <a:pt x="3232" y="2900"/>
                </a:lnTo>
                <a:lnTo>
                  <a:pt x="3237" y="2896"/>
                </a:lnTo>
                <a:lnTo>
                  <a:pt x="3239" y="2891"/>
                </a:lnTo>
                <a:lnTo>
                  <a:pt x="3241" y="2883"/>
                </a:lnTo>
                <a:lnTo>
                  <a:pt x="3243" y="2874"/>
                </a:lnTo>
                <a:lnTo>
                  <a:pt x="3243" y="2868"/>
                </a:lnTo>
                <a:lnTo>
                  <a:pt x="3241" y="2864"/>
                </a:lnTo>
                <a:lnTo>
                  <a:pt x="3239" y="2862"/>
                </a:lnTo>
                <a:lnTo>
                  <a:pt x="3237" y="2857"/>
                </a:lnTo>
                <a:lnTo>
                  <a:pt x="3232" y="2855"/>
                </a:lnTo>
                <a:lnTo>
                  <a:pt x="3228" y="2853"/>
                </a:lnTo>
                <a:lnTo>
                  <a:pt x="3218" y="2851"/>
                </a:lnTo>
                <a:lnTo>
                  <a:pt x="3207" y="2853"/>
                </a:lnTo>
                <a:lnTo>
                  <a:pt x="3203" y="2855"/>
                </a:lnTo>
                <a:lnTo>
                  <a:pt x="3196" y="2857"/>
                </a:lnTo>
                <a:lnTo>
                  <a:pt x="3192" y="2862"/>
                </a:lnTo>
                <a:lnTo>
                  <a:pt x="3188" y="2866"/>
                </a:lnTo>
                <a:lnTo>
                  <a:pt x="3177" y="2876"/>
                </a:lnTo>
                <a:lnTo>
                  <a:pt x="3173" y="2883"/>
                </a:lnTo>
                <a:lnTo>
                  <a:pt x="3169" y="2889"/>
                </a:lnTo>
                <a:lnTo>
                  <a:pt x="3162" y="2904"/>
                </a:lnTo>
                <a:lnTo>
                  <a:pt x="3160" y="2919"/>
                </a:lnTo>
                <a:lnTo>
                  <a:pt x="3158" y="2927"/>
                </a:lnTo>
                <a:lnTo>
                  <a:pt x="3158" y="2936"/>
                </a:lnTo>
                <a:lnTo>
                  <a:pt x="3158" y="2951"/>
                </a:lnTo>
                <a:lnTo>
                  <a:pt x="3160" y="2959"/>
                </a:lnTo>
                <a:lnTo>
                  <a:pt x="3162" y="2965"/>
                </a:lnTo>
                <a:lnTo>
                  <a:pt x="3167" y="2978"/>
                </a:lnTo>
                <a:lnTo>
                  <a:pt x="3173" y="2989"/>
                </a:lnTo>
                <a:lnTo>
                  <a:pt x="3182" y="2997"/>
                </a:lnTo>
                <a:lnTo>
                  <a:pt x="3188" y="2999"/>
                </a:lnTo>
                <a:lnTo>
                  <a:pt x="3192" y="3003"/>
                </a:lnTo>
                <a:lnTo>
                  <a:pt x="3203" y="3006"/>
                </a:lnTo>
                <a:lnTo>
                  <a:pt x="3209" y="3008"/>
                </a:lnTo>
                <a:lnTo>
                  <a:pt x="3215" y="3008"/>
                </a:lnTo>
                <a:lnTo>
                  <a:pt x="3228" y="3008"/>
                </a:lnTo>
                <a:lnTo>
                  <a:pt x="3241" y="3003"/>
                </a:lnTo>
                <a:lnTo>
                  <a:pt x="3245" y="3001"/>
                </a:lnTo>
                <a:lnTo>
                  <a:pt x="3251" y="2997"/>
                </a:lnTo>
                <a:lnTo>
                  <a:pt x="3262" y="2991"/>
                </a:lnTo>
                <a:lnTo>
                  <a:pt x="3270" y="2980"/>
                </a:lnTo>
                <a:lnTo>
                  <a:pt x="3279" y="2970"/>
                </a:lnTo>
                <a:lnTo>
                  <a:pt x="3287" y="2959"/>
                </a:lnTo>
                <a:lnTo>
                  <a:pt x="3294" y="2946"/>
                </a:lnTo>
                <a:lnTo>
                  <a:pt x="3300" y="2932"/>
                </a:lnTo>
                <a:lnTo>
                  <a:pt x="3306" y="2919"/>
                </a:lnTo>
                <a:lnTo>
                  <a:pt x="3311" y="2904"/>
                </a:lnTo>
                <a:lnTo>
                  <a:pt x="3313" y="2889"/>
                </a:lnTo>
                <a:lnTo>
                  <a:pt x="3317" y="2874"/>
                </a:lnTo>
                <a:lnTo>
                  <a:pt x="3317" y="2860"/>
                </a:lnTo>
                <a:lnTo>
                  <a:pt x="3319" y="2847"/>
                </a:lnTo>
                <a:lnTo>
                  <a:pt x="3317" y="2834"/>
                </a:lnTo>
                <a:lnTo>
                  <a:pt x="3319" y="2832"/>
                </a:lnTo>
                <a:lnTo>
                  <a:pt x="3323" y="2830"/>
                </a:lnTo>
                <a:lnTo>
                  <a:pt x="3325" y="2828"/>
                </a:lnTo>
                <a:lnTo>
                  <a:pt x="3332" y="2828"/>
                </a:lnTo>
                <a:lnTo>
                  <a:pt x="3340" y="2828"/>
                </a:lnTo>
                <a:lnTo>
                  <a:pt x="3342" y="2830"/>
                </a:lnTo>
                <a:lnTo>
                  <a:pt x="3347" y="2832"/>
                </a:lnTo>
                <a:lnTo>
                  <a:pt x="3351" y="2841"/>
                </a:lnTo>
                <a:lnTo>
                  <a:pt x="3351" y="2847"/>
                </a:lnTo>
                <a:lnTo>
                  <a:pt x="3351" y="2853"/>
                </a:lnTo>
                <a:lnTo>
                  <a:pt x="3351" y="2872"/>
                </a:lnTo>
                <a:lnTo>
                  <a:pt x="3349" y="2889"/>
                </a:lnTo>
                <a:lnTo>
                  <a:pt x="3345" y="2908"/>
                </a:lnTo>
                <a:lnTo>
                  <a:pt x="3340" y="2925"/>
                </a:lnTo>
                <a:lnTo>
                  <a:pt x="3336" y="2942"/>
                </a:lnTo>
                <a:lnTo>
                  <a:pt x="3330" y="2957"/>
                </a:lnTo>
                <a:lnTo>
                  <a:pt x="3321" y="2972"/>
                </a:lnTo>
                <a:lnTo>
                  <a:pt x="3313" y="2987"/>
                </a:lnTo>
                <a:lnTo>
                  <a:pt x="3302" y="2999"/>
                </a:lnTo>
                <a:lnTo>
                  <a:pt x="3298" y="3003"/>
                </a:lnTo>
                <a:lnTo>
                  <a:pt x="3294" y="3010"/>
                </a:lnTo>
                <a:lnTo>
                  <a:pt x="3281" y="3020"/>
                </a:lnTo>
                <a:lnTo>
                  <a:pt x="3270" y="3029"/>
                </a:lnTo>
                <a:lnTo>
                  <a:pt x="3258" y="3035"/>
                </a:lnTo>
                <a:lnTo>
                  <a:pt x="3243" y="3039"/>
                </a:lnTo>
                <a:lnTo>
                  <a:pt x="3230" y="3044"/>
                </a:lnTo>
                <a:lnTo>
                  <a:pt x="3215" y="3044"/>
                </a:lnTo>
                <a:close/>
                <a:moveTo>
                  <a:pt x="3446" y="3039"/>
                </a:moveTo>
                <a:lnTo>
                  <a:pt x="3440" y="3037"/>
                </a:lnTo>
                <a:lnTo>
                  <a:pt x="3431" y="3033"/>
                </a:lnTo>
                <a:lnTo>
                  <a:pt x="3414" y="3016"/>
                </a:lnTo>
                <a:lnTo>
                  <a:pt x="3395" y="2997"/>
                </a:lnTo>
                <a:lnTo>
                  <a:pt x="3376" y="2978"/>
                </a:lnTo>
                <a:lnTo>
                  <a:pt x="3370" y="2968"/>
                </a:lnTo>
                <a:lnTo>
                  <a:pt x="3366" y="2961"/>
                </a:lnTo>
                <a:lnTo>
                  <a:pt x="3359" y="2948"/>
                </a:lnTo>
                <a:lnTo>
                  <a:pt x="3357" y="2944"/>
                </a:lnTo>
                <a:lnTo>
                  <a:pt x="3357" y="2938"/>
                </a:lnTo>
                <a:lnTo>
                  <a:pt x="3359" y="2932"/>
                </a:lnTo>
                <a:lnTo>
                  <a:pt x="3361" y="2923"/>
                </a:lnTo>
                <a:lnTo>
                  <a:pt x="3364" y="2917"/>
                </a:lnTo>
                <a:lnTo>
                  <a:pt x="3370" y="2908"/>
                </a:lnTo>
                <a:lnTo>
                  <a:pt x="3381" y="2893"/>
                </a:lnTo>
                <a:lnTo>
                  <a:pt x="3400" y="2872"/>
                </a:lnTo>
                <a:lnTo>
                  <a:pt x="3442" y="2824"/>
                </a:lnTo>
                <a:lnTo>
                  <a:pt x="3446" y="2826"/>
                </a:lnTo>
                <a:lnTo>
                  <a:pt x="3452" y="2828"/>
                </a:lnTo>
                <a:lnTo>
                  <a:pt x="3459" y="2832"/>
                </a:lnTo>
                <a:lnTo>
                  <a:pt x="3463" y="2836"/>
                </a:lnTo>
                <a:lnTo>
                  <a:pt x="3463" y="2843"/>
                </a:lnTo>
                <a:lnTo>
                  <a:pt x="3461" y="2849"/>
                </a:lnTo>
                <a:lnTo>
                  <a:pt x="3461" y="2853"/>
                </a:lnTo>
                <a:lnTo>
                  <a:pt x="3459" y="2857"/>
                </a:lnTo>
                <a:lnTo>
                  <a:pt x="3429" y="2891"/>
                </a:lnTo>
                <a:lnTo>
                  <a:pt x="3410" y="2910"/>
                </a:lnTo>
                <a:lnTo>
                  <a:pt x="3397" y="2927"/>
                </a:lnTo>
                <a:lnTo>
                  <a:pt x="3395" y="2932"/>
                </a:lnTo>
                <a:lnTo>
                  <a:pt x="3393" y="2936"/>
                </a:lnTo>
                <a:lnTo>
                  <a:pt x="3395" y="2940"/>
                </a:lnTo>
                <a:lnTo>
                  <a:pt x="3397" y="2946"/>
                </a:lnTo>
                <a:lnTo>
                  <a:pt x="3408" y="2959"/>
                </a:lnTo>
                <a:lnTo>
                  <a:pt x="3425" y="2976"/>
                </a:lnTo>
                <a:lnTo>
                  <a:pt x="3444" y="2997"/>
                </a:lnTo>
                <a:lnTo>
                  <a:pt x="3463" y="3014"/>
                </a:lnTo>
                <a:lnTo>
                  <a:pt x="3465" y="3016"/>
                </a:lnTo>
                <a:lnTo>
                  <a:pt x="3467" y="3020"/>
                </a:lnTo>
                <a:lnTo>
                  <a:pt x="3465" y="3023"/>
                </a:lnTo>
                <a:lnTo>
                  <a:pt x="3465" y="3027"/>
                </a:lnTo>
                <a:lnTo>
                  <a:pt x="3459" y="3033"/>
                </a:lnTo>
                <a:lnTo>
                  <a:pt x="3452" y="3037"/>
                </a:lnTo>
                <a:lnTo>
                  <a:pt x="3448" y="3039"/>
                </a:lnTo>
                <a:lnTo>
                  <a:pt x="3446" y="3039"/>
                </a:lnTo>
                <a:close/>
                <a:moveTo>
                  <a:pt x="3215" y="3636"/>
                </a:moveTo>
                <a:lnTo>
                  <a:pt x="3205" y="3634"/>
                </a:lnTo>
                <a:lnTo>
                  <a:pt x="3196" y="3634"/>
                </a:lnTo>
                <a:lnTo>
                  <a:pt x="3188" y="3630"/>
                </a:lnTo>
                <a:lnTo>
                  <a:pt x="3179" y="3628"/>
                </a:lnTo>
                <a:lnTo>
                  <a:pt x="3171" y="3624"/>
                </a:lnTo>
                <a:lnTo>
                  <a:pt x="3165" y="3617"/>
                </a:lnTo>
                <a:lnTo>
                  <a:pt x="3158" y="3611"/>
                </a:lnTo>
                <a:lnTo>
                  <a:pt x="3152" y="3605"/>
                </a:lnTo>
                <a:lnTo>
                  <a:pt x="3146" y="3598"/>
                </a:lnTo>
                <a:lnTo>
                  <a:pt x="3139" y="3590"/>
                </a:lnTo>
                <a:lnTo>
                  <a:pt x="3131" y="3571"/>
                </a:lnTo>
                <a:lnTo>
                  <a:pt x="3129" y="3560"/>
                </a:lnTo>
                <a:lnTo>
                  <a:pt x="3126" y="3552"/>
                </a:lnTo>
                <a:lnTo>
                  <a:pt x="3124" y="3541"/>
                </a:lnTo>
                <a:lnTo>
                  <a:pt x="3124" y="3528"/>
                </a:lnTo>
                <a:lnTo>
                  <a:pt x="3124" y="3518"/>
                </a:lnTo>
                <a:lnTo>
                  <a:pt x="3126" y="3507"/>
                </a:lnTo>
                <a:lnTo>
                  <a:pt x="3129" y="3497"/>
                </a:lnTo>
                <a:lnTo>
                  <a:pt x="3133" y="3486"/>
                </a:lnTo>
                <a:lnTo>
                  <a:pt x="3135" y="3476"/>
                </a:lnTo>
                <a:lnTo>
                  <a:pt x="3141" y="3465"/>
                </a:lnTo>
                <a:lnTo>
                  <a:pt x="3146" y="3456"/>
                </a:lnTo>
                <a:lnTo>
                  <a:pt x="3152" y="3448"/>
                </a:lnTo>
                <a:lnTo>
                  <a:pt x="3158" y="3442"/>
                </a:lnTo>
                <a:lnTo>
                  <a:pt x="3167" y="3433"/>
                </a:lnTo>
                <a:lnTo>
                  <a:pt x="3175" y="3429"/>
                </a:lnTo>
                <a:lnTo>
                  <a:pt x="3184" y="3423"/>
                </a:lnTo>
                <a:lnTo>
                  <a:pt x="3192" y="3418"/>
                </a:lnTo>
                <a:lnTo>
                  <a:pt x="3201" y="3416"/>
                </a:lnTo>
                <a:lnTo>
                  <a:pt x="3211" y="3414"/>
                </a:lnTo>
                <a:lnTo>
                  <a:pt x="3222" y="3414"/>
                </a:lnTo>
                <a:lnTo>
                  <a:pt x="3232" y="3414"/>
                </a:lnTo>
                <a:lnTo>
                  <a:pt x="3239" y="3416"/>
                </a:lnTo>
                <a:lnTo>
                  <a:pt x="3243" y="3418"/>
                </a:lnTo>
                <a:lnTo>
                  <a:pt x="3253" y="3423"/>
                </a:lnTo>
                <a:lnTo>
                  <a:pt x="3260" y="3429"/>
                </a:lnTo>
                <a:lnTo>
                  <a:pt x="3266" y="3437"/>
                </a:lnTo>
                <a:lnTo>
                  <a:pt x="3270" y="3448"/>
                </a:lnTo>
                <a:lnTo>
                  <a:pt x="3273" y="3459"/>
                </a:lnTo>
                <a:lnTo>
                  <a:pt x="3275" y="3471"/>
                </a:lnTo>
                <a:lnTo>
                  <a:pt x="3275" y="3478"/>
                </a:lnTo>
                <a:lnTo>
                  <a:pt x="3273" y="3486"/>
                </a:lnTo>
                <a:lnTo>
                  <a:pt x="3270" y="3492"/>
                </a:lnTo>
                <a:lnTo>
                  <a:pt x="3268" y="3499"/>
                </a:lnTo>
                <a:lnTo>
                  <a:pt x="3264" y="3507"/>
                </a:lnTo>
                <a:lnTo>
                  <a:pt x="3260" y="3514"/>
                </a:lnTo>
                <a:lnTo>
                  <a:pt x="3249" y="3524"/>
                </a:lnTo>
                <a:lnTo>
                  <a:pt x="3243" y="3528"/>
                </a:lnTo>
                <a:lnTo>
                  <a:pt x="3237" y="3535"/>
                </a:lnTo>
                <a:lnTo>
                  <a:pt x="3222" y="3541"/>
                </a:lnTo>
                <a:lnTo>
                  <a:pt x="3215" y="3543"/>
                </a:lnTo>
                <a:lnTo>
                  <a:pt x="3207" y="3545"/>
                </a:lnTo>
                <a:lnTo>
                  <a:pt x="3192" y="3547"/>
                </a:lnTo>
                <a:lnTo>
                  <a:pt x="3186" y="3545"/>
                </a:lnTo>
                <a:lnTo>
                  <a:pt x="3184" y="3545"/>
                </a:lnTo>
                <a:lnTo>
                  <a:pt x="3182" y="3543"/>
                </a:lnTo>
                <a:lnTo>
                  <a:pt x="3179" y="3539"/>
                </a:lnTo>
                <a:lnTo>
                  <a:pt x="3177" y="3537"/>
                </a:lnTo>
                <a:lnTo>
                  <a:pt x="3175" y="3528"/>
                </a:lnTo>
                <a:lnTo>
                  <a:pt x="3177" y="3522"/>
                </a:lnTo>
                <a:lnTo>
                  <a:pt x="3179" y="3520"/>
                </a:lnTo>
                <a:lnTo>
                  <a:pt x="3182" y="3518"/>
                </a:lnTo>
                <a:lnTo>
                  <a:pt x="3194" y="3516"/>
                </a:lnTo>
                <a:lnTo>
                  <a:pt x="3205" y="3511"/>
                </a:lnTo>
                <a:lnTo>
                  <a:pt x="3215" y="3505"/>
                </a:lnTo>
                <a:lnTo>
                  <a:pt x="3226" y="3499"/>
                </a:lnTo>
                <a:lnTo>
                  <a:pt x="3232" y="3490"/>
                </a:lnTo>
                <a:lnTo>
                  <a:pt x="3237" y="3486"/>
                </a:lnTo>
                <a:lnTo>
                  <a:pt x="3239" y="3482"/>
                </a:lnTo>
                <a:lnTo>
                  <a:pt x="3241" y="3473"/>
                </a:lnTo>
                <a:lnTo>
                  <a:pt x="3243" y="3465"/>
                </a:lnTo>
                <a:lnTo>
                  <a:pt x="3243" y="3461"/>
                </a:lnTo>
                <a:lnTo>
                  <a:pt x="3241" y="3456"/>
                </a:lnTo>
                <a:lnTo>
                  <a:pt x="3239" y="3452"/>
                </a:lnTo>
                <a:lnTo>
                  <a:pt x="3237" y="3450"/>
                </a:lnTo>
                <a:lnTo>
                  <a:pt x="3232" y="3446"/>
                </a:lnTo>
                <a:lnTo>
                  <a:pt x="3228" y="3444"/>
                </a:lnTo>
                <a:lnTo>
                  <a:pt x="3218" y="3444"/>
                </a:lnTo>
                <a:lnTo>
                  <a:pt x="3207" y="3446"/>
                </a:lnTo>
                <a:lnTo>
                  <a:pt x="3203" y="3448"/>
                </a:lnTo>
                <a:lnTo>
                  <a:pt x="3196" y="3450"/>
                </a:lnTo>
                <a:lnTo>
                  <a:pt x="3192" y="3454"/>
                </a:lnTo>
                <a:lnTo>
                  <a:pt x="3188" y="3459"/>
                </a:lnTo>
                <a:lnTo>
                  <a:pt x="3177" y="3469"/>
                </a:lnTo>
                <a:lnTo>
                  <a:pt x="3173" y="3473"/>
                </a:lnTo>
                <a:lnTo>
                  <a:pt x="3169" y="3480"/>
                </a:lnTo>
                <a:lnTo>
                  <a:pt x="3162" y="3495"/>
                </a:lnTo>
                <a:lnTo>
                  <a:pt x="3160" y="3511"/>
                </a:lnTo>
                <a:lnTo>
                  <a:pt x="3158" y="3520"/>
                </a:lnTo>
                <a:lnTo>
                  <a:pt x="3158" y="3528"/>
                </a:lnTo>
                <a:lnTo>
                  <a:pt x="3158" y="3543"/>
                </a:lnTo>
                <a:lnTo>
                  <a:pt x="3160" y="3550"/>
                </a:lnTo>
                <a:lnTo>
                  <a:pt x="3162" y="3556"/>
                </a:lnTo>
                <a:lnTo>
                  <a:pt x="3167" y="3569"/>
                </a:lnTo>
                <a:lnTo>
                  <a:pt x="3173" y="3579"/>
                </a:lnTo>
                <a:lnTo>
                  <a:pt x="3182" y="3588"/>
                </a:lnTo>
                <a:lnTo>
                  <a:pt x="3188" y="3592"/>
                </a:lnTo>
                <a:lnTo>
                  <a:pt x="3192" y="3594"/>
                </a:lnTo>
                <a:lnTo>
                  <a:pt x="3203" y="3598"/>
                </a:lnTo>
                <a:lnTo>
                  <a:pt x="3209" y="3598"/>
                </a:lnTo>
                <a:lnTo>
                  <a:pt x="3215" y="3600"/>
                </a:lnTo>
                <a:lnTo>
                  <a:pt x="3228" y="3598"/>
                </a:lnTo>
                <a:lnTo>
                  <a:pt x="3241" y="3594"/>
                </a:lnTo>
                <a:lnTo>
                  <a:pt x="3245" y="3592"/>
                </a:lnTo>
                <a:lnTo>
                  <a:pt x="3251" y="3590"/>
                </a:lnTo>
                <a:lnTo>
                  <a:pt x="3262" y="3581"/>
                </a:lnTo>
                <a:lnTo>
                  <a:pt x="3270" y="3573"/>
                </a:lnTo>
                <a:lnTo>
                  <a:pt x="3279" y="3562"/>
                </a:lnTo>
                <a:lnTo>
                  <a:pt x="3287" y="3550"/>
                </a:lnTo>
                <a:lnTo>
                  <a:pt x="3294" y="3537"/>
                </a:lnTo>
                <a:lnTo>
                  <a:pt x="3300" y="3524"/>
                </a:lnTo>
                <a:lnTo>
                  <a:pt x="3306" y="3509"/>
                </a:lnTo>
                <a:lnTo>
                  <a:pt x="3311" y="3495"/>
                </a:lnTo>
                <a:lnTo>
                  <a:pt x="3313" y="3482"/>
                </a:lnTo>
                <a:lnTo>
                  <a:pt x="3317" y="3467"/>
                </a:lnTo>
                <a:lnTo>
                  <a:pt x="3317" y="3452"/>
                </a:lnTo>
                <a:lnTo>
                  <a:pt x="3319" y="3440"/>
                </a:lnTo>
                <a:lnTo>
                  <a:pt x="3317" y="3427"/>
                </a:lnTo>
                <a:lnTo>
                  <a:pt x="3319" y="3423"/>
                </a:lnTo>
                <a:lnTo>
                  <a:pt x="3323" y="3420"/>
                </a:lnTo>
                <a:lnTo>
                  <a:pt x="3325" y="3418"/>
                </a:lnTo>
                <a:lnTo>
                  <a:pt x="3332" y="3418"/>
                </a:lnTo>
                <a:lnTo>
                  <a:pt x="3340" y="3420"/>
                </a:lnTo>
                <a:lnTo>
                  <a:pt x="3342" y="3423"/>
                </a:lnTo>
                <a:lnTo>
                  <a:pt x="3347" y="3425"/>
                </a:lnTo>
                <a:lnTo>
                  <a:pt x="3351" y="3431"/>
                </a:lnTo>
                <a:lnTo>
                  <a:pt x="3351" y="3437"/>
                </a:lnTo>
                <a:lnTo>
                  <a:pt x="3351" y="3444"/>
                </a:lnTo>
                <a:lnTo>
                  <a:pt x="3351" y="3463"/>
                </a:lnTo>
                <a:lnTo>
                  <a:pt x="3349" y="3482"/>
                </a:lnTo>
                <a:lnTo>
                  <a:pt x="3345" y="3499"/>
                </a:lnTo>
                <a:lnTo>
                  <a:pt x="3340" y="3518"/>
                </a:lnTo>
                <a:lnTo>
                  <a:pt x="3336" y="3533"/>
                </a:lnTo>
                <a:lnTo>
                  <a:pt x="3330" y="3550"/>
                </a:lnTo>
                <a:lnTo>
                  <a:pt x="3321" y="3564"/>
                </a:lnTo>
                <a:lnTo>
                  <a:pt x="3313" y="3577"/>
                </a:lnTo>
                <a:lnTo>
                  <a:pt x="3302" y="3590"/>
                </a:lnTo>
                <a:lnTo>
                  <a:pt x="3298" y="3596"/>
                </a:lnTo>
                <a:lnTo>
                  <a:pt x="3294" y="3603"/>
                </a:lnTo>
                <a:lnTo>
                  <a:pt x="3281" y="3611"/>
                </a:lnTo>
                <a:lnTo>
                  <a:pt x="3270" y="3619"/>
                </a:lnTo>
                <a:lnTo>
                  <a:pt x="3258" y="3626"/>
                </a:lnTo>
                <a:lnTo>
                  <a:pt x="3243" y="3632"/>
                </a:lnTo>
                <a:lnTo>
                  <a:pt x="3230" y="3634"/>
                </a:lnTo>
                <a:lnTo>
                  <a:pt x="3215" y="3636"/>
                </a:lnTo>
                <a:close/>
                <a:moveTo>
                  <a:pt x="3446" y="3632"/>
                </a:moveTo>
                <a:lnTo>
                  <a:pt x="3440" y="3630"/>
                </a:lnTo>
                <a:lnTo>
                  <a:pt x="3431" y="3624"/>
                </a:lnTo>
                <a:lnTo>
                  <a:pt x="3414" y="3609"/>
                </a:lnTo>
                <a:lnTo>
                  <a:pt x="3395" y="3590"/>
                </a:lnTo>
                <a:lnTo>
                  <a:pt x="3376" y="3569"/>
                </a:lnTo>
                <a:lnTo>
                  <a:pt x="3370" y="3560"/>
                </a:lnTo>
                <a:lnTo>
                  <a:pt x="3366" y="3554"/>
                </a:lnTo>
                <a:lnTo>
                  <a:pt x="3359" y="3541"/>
                </a:lnTo>
                <a:lnTo>
                  <a:pt x="3357" y="3535"/>
                </a:lnTo>
                <a:lnTo>
                  <a:pt x="3357" y="3528"/>
                </a:lnTo>
                <a:lnTo>
                  <a:pt x="3359" y="3522"/>
                </a:lnTo>
                <a:lnTo>
                  <a:pt x="3361" y="3516"/>
                </a:lnTo>
                <a:lnTo>
                  <a:pt x="3364" y="3507"/>
                </a:lnTo>
                <a:lnTo>
                  <a:pt x="3370" y="3499"/>
                </a:lnTo>
                <a:lnTo>
                  <a:pt x="3381" y="3484"/>
                </a:lnTo>
                <a:lnTo>
                  <a:pt x="3400" y="3465"/>
                </a:lnTo>
                <a:lnTo>
                  <a:pt x="3442" y="3416"/>
                </a:lnTo>
                <a:lnTo>
                  <a:pt x="3446" y="3416"/>
                </a:lnTo>
                <a:lnTo>
                  <a:pt x="3452" y="3420"/>
                </a:lnTo>
                <a:lnTo>
                  <a:pt x="3459" y="3423"/>
                </a:lnTo>
                <a:lnTo>
                  <a:pt x="3463" y="3429"/>
                </a:lnTo>
                <a:lnTo>
                  <a:pt x="3463" y="3435"/>
                </a:lnTo>
                <a:lnTo>
                  <a:pt x="3461" y="3442"/>
                </a:lnTo>
                <a:lnTo>
                  <a:pt x="3461" y="3444"/>
                </a:lnTo>
                <a:lnTo>
                  <a:pt x="3459" y="3448"/>
                </a:lnTo>
                <a:lnTo>
                  <a:pt x="3429" y="3482"/>
                </a:lnTo>
                <a:lnTo>
                  <a:pt x="3410" y="3503"/>
                </a:lnTo>
                <a:lnTo>
                  <a:pt x="3397" y="3518"/>
                </a:lnTo>
                <a:lnTo>
                  <a:pt x="3395" y="3522"/>
                </a:lnTo>
                <a:lnTo>
                  <a:pt x="3393" y="3528"/>
                </a:lnTo>
                <a:lnTo>
                  <a:pt x="3395" y="3533"/>
                </a:lnTo>
                <a:lnTo>
                  <a:pt x="3397" y="3539"/>
                </a:lnTo>
                <a:lnTo>
                  <a:pt x="3408" y="3552"/>
                </a:lnTo>
                <a:lnTo>
                  <a:pt x="3425" y="3569"/>
                </a:lnTo>
                <a:lnTo>
                  <a:pt x="3444" y="3588"/>
                </a:lnTo>
                <a:lnTo>
                  <a:pt x="3463" y="3607"/>
                </a:lnTo>
                <a:lnTo>
                  <a:pt x="3465" y="3609"/>
                </a:lnTo>
                <a:lnTo>
                  <a:pt x="3467" y="3611"/>
                </a:lnTo>
                <a:lnTo>
                  <a:pt x="3465" y="3615"/>
                </a:lnTo>
                <a:lnTo>
                  <a:pt x="3465" y="3617"/>
                </a:lnTo>
                <a:lnTo>
                  <a:pt x="3459" y="3626"/>
                </a:lnTo>
                <a:lnTo>
                  <a:pt x="3452" y="3630"/>
                </a:lnTo>
                <a:lnTo>
                  <a:pt x="3448" y="3632"/>
                </a:lnTo>
                <a:lnTo>
                  <a:pt x="3446" y="3632"/>
                </a:lnTo>
                <a:close/>
                <a:moveTo>
                  <a:pt x="1380" y="2451"/>
                </a:moveTo>
                <a:lnTo>
                  <a:pt x="1370" y="2451"/>
                </a:lnTo>
                <a:lnTo>
                  <a:pt x="1361" y="2449"/>
                </a:lnTo>
                <a:lnTo>
                  <a:pt x="1353" y="2447"/>
                </a:lnTo>
                <a:lnTo>
                  <a:pt x="1344" y="2445"/>
                </a:lnTo>
                <a:lnTo>
                  <a:pt x="1336" y="2440"/>
                </a:lnTo>
                <a:lnTo>
                  <a:pt x="1329" y="2434"/>
                </a:lnTo>
                <a:lnTo>
                  <a:pt x="1323" y="2428"/>
                </a:lnTo>
                <a:lnTo>
                  <a:pt x="1315" y="2421"/>
                </a:lnTo>
                <a:lnTo>
                  <a:pt x="1310" y="2413"/>
                </a:lnTo>
                <a:lnTo>
                  <a:pt x="1304" y="2407"/>
                </a:lnTo>
                <a:lnTo>
                  <a:pt x="1295" y="2388"/>
                </a:lnTo>
                <a:lnTo>
                  <a:pt x="1293" y="2377"/>
                </a:lnTo>
                <a:lnTo>
                  <a:pt x="1291" y="2369"/>
                </a:lnTo>
                <a:lnTo>
                  <a:pt x="1289" y="2358"/>
                </a:lnTo>
                <a:lnTo>
                  <a:pt x="1289" y="2345"/>
                </a:lnTo>
                <a:lnTo>
                  <a:pt x="1289" y="2335"/>
                </a:lnTo>
                <a:lnTo>
                  <a:pt x="1291" y="2324"/>
                </a:lnTo>
                <a:lnTo>
                  <a:pt x="1293" y="2313"/>
                </a:lnTo>
                <a:lnTo>
                  <a:pt x="1295" y="2303"/>
                </a:lnTo>
                <a:lnTo>
                  <a:pt x="1300" y="2292"/>
                </a:lnTo>
                <a:lnTo>
                  <a:pt x="1306" y="2282"/>
                </a:lnTo>
                <a:lnTo>
                  <a:pt x="1310" y="2273"/>
                </a:lnTo>
                <a:lnTo>
                  <a:pt x="1317" y="2265"/>
                </a:lnTo>
                <a:lnTo>
                  <a:pt x="1323" y="2258"/>
                </a:lnTo>
                <a:lnTo>
                  <a:pt x="1331" y="2250"/>
                </a:lnTo>
                <a:lnTo>
                  <a:pt x="1340" y="2244"/>
                </a:lnTo>
                <a:lnTo>
                  <a:pt x="1348" y="2239"/>
                </a:lnTo>
                <a:lnTo>
                  <a:pt x="1357" y="2235"/>
                </a:lnTo>
                <a:lnTo>
                  <a:pt x="1365" y="2233"/>
                </a:lnTo>
                <a:lnTo>
                  <a:pt x="1376" y="2231"/>
                </a:lnTo>
                <a:lnTo>
                  <a:pt x="1384" y="2229"/>
                </a:lnTo>
                <a:lnTo>
                  <a:pt x="1397" y="2231"/>
                </a:lnTo>
                <a:lnTo>
                  <a:pt x="1403" y="2233"/>
                </a:lnTo>
                <a:lnTo>
                  <a:pt x="1408" y="2235"/>
                </a:lnTo>
                <a:lnTo>
                  <a:pt x="1416" y="2239"/>
                </a:lnTo>
                <a:lnTo>
                  <a:pt x="1425" y="2246"/>
                </a:lnTo>
                <a:lnTo>
                  <a:pt x="1431" y="2254"/>
                </a:lnTo>
                <a:lnTo>
                  <a:pt x="1435" y="2265"/>
                </a:lnTo>
                <a:lnTo>
                  <a:pt x="1437" y="2275"/>
                </a:lnTo>
                <a:lnTo>
                  <a:pt x="1439" y="2286"/>
                </a:lnTo>
                <a:lnTo>
                  <a:pt x="1439" y="2294"/>
                </a:lnTo>
                <a:lnTo>
                  <a:pt x="1437" y="2303"/>
                </a:lnTo>
                <a:lnTo>
                  <a:pt x="1435" y="2309"/>
                </a:lnTo>
                <a:lnTo>
                  <a:pt x="1431" y="2316"/>
                </a:lnTo>
                <a:lnTo>
                  <a:pt x="1429" y="2322"/>
                </a:lnTo>
                <a:lnTo>
                  <a:pt x="1425" y="2328"/>
                </a:lnTo>
                <a:lnTo>
                  <a:pt x="1414" y="2341"/>
                </a:lnTo>
                <a:lnTo>
                  <a:pt x="1408" y="2345"/>
                </a:lnTo>
                <a:lnTo>
                  <a:pt x="1401" y="2352"/>
                </a:lnTo>
                <a:lnTo>
                  <a:pt x="1386" y="2358"/>
                </a:lnTo>
                <a:lnTo>
                  <a:pt x="1380" y="2360"/>
                </a:lnTo>
                <a:lnTo>
                  <a:pt x="1372" y="2362"/>
                </a:lnTo>
                <a:lnTo>
                  <a:pt x="1357" y="2364"/>
                </a:lnTo>
                <a:lnTo>
                  <a:pt x="1351" y="2362"/>
                </a:lnTo>
                <a:lnTo>
                  <a:pt x="1348" y="2362"/>
                </a:lnTo>
                <a:lnTo>
                  <a:pt x="1346" y="2358"/>
                </a:lnTo>
                <a:lnTo>
                  <a:pt x="1344" y="2356"/>
                </a:lnTo>
                <a:lnTo>
                  <a:pt x="1342" y="2354"/>
                </a:lnTo>
                <a:lnTo>
                  <a:pt x="1340" y="2345"/>
                </a:lnTo>
                <a:lnTo>
                  <a:pt x="1342" y="2339"/>
                </a:lnTo>
                <a:lnTo>
                  <a:pt x="1344" y="2337"/>
                </a:lnTo>
                <a:lnTo>
                  <a:pt x="1344" y="2335"/>
                </a:lnTo>
                <a:lnTo>
                  <a:pt x="1359" y="2333"/>
                </a:lnTo>
                <a:lnTo>
                  <a:pt x="1370" y="2328"/>
                </a:lnTo>
                <a:lnTo>
                  <a:pt x="1380" y="2322"/>
                </a:lnTo>
                <a:lnTo>
                  <a:pt x="1391" y="2316"/>
                </a:lnTo>
                <a:lnTo>
                  <a:pt x="1397" y="2307"/>
                </a:lnTo>
                <a:lnTo>
                  <a:pt x="1399" y="2303"/>
                </a:lnTo>
                <a:lnTo>
                  <a:pt x="1403" y="2299"/>
                </a:lnTo>
                <a:lnTo>
                  <a:pt x="1406" y="2290"/>
                </a:lnTo>
                <a:lnTo>
                  <a:pt x="1408" y="2282"/>
                </a:lnTo>
                <a:lnTo>
                  <a:pt x="1408" y="2277"/>
                </a:lnTo>
                <a:lnTo>
                  <a:pt x="1406" y="2273"/>
                </a:lnTo>
                <a:lnTo>
                  <a:pt x="1403" y="2269"/>
                </a:lnTo>
                <a:lnTo>
                  <a:pt x="1401" y="2265"/>
                </a:lnTo>
                <a:lnTo>
                  <a:pt x="1397" y="2263"/>
                </a:lnTo>
                <a:lnTo>
                  <a:pt x="1393" y="2261"/>
                </a:lnTo>
                <a:lnTo>
                  <a:pt x="1382" y="2261"/>
                </a:lnTo>
                <a:lnTo>
                  <a:pt x="1372" y="2261"/>
                </a:lnTo>
                <a:lnTo>
                  <a:pt x="1367" y="2263"/>
                </a:lnTo>
                <a:lnTo>
                  <a:pt x="1361" y="2267"/>
                </a:lnTo>
                <a:lnTo>
                  <a:pt x="1357" y="2271"/>
                </a:lnTo>
                <a:lnTo>
                  <a:pt x="1351" y="2275"/>
                </a:lnTo>
                <a:lnTo>
                  <a:pt x="1342" y="2284"/>
                </a:lnTo>
                <a:lnTo>
                  <a:pt x="1338" y="2290"/>
                </a:lnTo>
                <a:lnTo>
                  <a:pt x="1334" y="2297"/>
                </a:lnTo>
                <a:lnTo>
                  <a:pt x="1327" y="2311"/>
                </a:lnTo>
                <a:lnTo>
                  <a:pt x="1325" y="2328"/>
                </a:lnTo>
                <a:lnTo>
                  <a:pt x="1323" y="2337"/>
                </a:lnTo>
                <a:lnTo>
                  <a:pt x="1323" y="2345"/>
                </a:lnTo>
                <a:lnTo>
                  <a:pt x="1323" y="2360"/>
                </a:lnTo>
                <a:lnTo>
                  <a:pt x="1325" y="2366"/>
                </a:lnTo>
                <a:lnTo>
                  <a:pt x="1327" y="2373"/>
                </a:lnTo>
                <a:lnTo>
                  <a:pt x="1331" y="2385"/>
                </a:lnTo>
                <a:lnTo>
                  <a:pt x="1338" y="2396"/>
                </a:lnTo>
                <a:lnTo>
                  <a:pt x="1346" y="2404"/>
                </a:lnTo>
                <a:lnTo>
                  <a:pt x="1353" y="2409"/>
                </a:lnTo>
                <a:lnTo>
                  <a:pt x="1357" y="2411"/>
                </a:lnTo>
                <a:lnTo>
                  <a:pt x="1367" y="2415"/>
                </a:lnTo>
                <a:lnTo>
                  <a:pt x="1374" y="2415"/>
                </a:lnTo>
                <a:lnTo>
                  <a:pt x="1380" y="2417"/>
                </a:lnTo>
                <a:lnTo>
                  <a:pt x="1393" y="2415"/>
                </a:lnTo>
                <a:lnTo>
                  <a:pt x="1406" y="2411"/>
                </a:lnTo>
                <a:lnTo>
                  <a:pt x="1410" y="2409"/>
                </a:lnTo>
                <a:lnTo>
                  <a:pt x="1416" y="2407"/>
                </a:lnTo>
                <a:lnTo>
                  <a:pt x="1427" y="2398"/>
                </a:lnTo>
                <a:lnTo>
                  <a:pt x="1435" y="2390"/>
                </a:lnTo>
                <a:lnTo>
                  <a:pt x="1444" y="2379"/>
                </a:lnTo>
                <a:lnTo>
                  <a:pt x="1452" y="2366"/>
                </a:lnTo>
                <a:lnTo>
                  <a:pt x="1458" y="2354"/>
                </a:lnTo>
                <a:lnTo>
                  <a:pt x="1465" y="2341"/>
                </a:lnTo>
                <a:lnTo>
                  <a:pt x="1471" y="2326"/>
                </a:lnTo>
                <a:lnTo>
                  <a:pt x="1475" y="2311"/>
                </a:lnTo>
                <a:lnTo>
                  <a:pt x="1478" y="2297"/>
                </a:lnTo>
                <a:lnTo>
                  <a:pt x="1482" y="2284"/>
                </a:lnTo>
                <a:lnTo>
                  <a:pt x="1482" y="2269"/>
                </a:lnTo>
                <a:lnTo>
                  <a:pt x="1484" y="2256"/>
                </a:lnTo>
                <a:lnTo>
                  <a:pt x="1482" y="2242"/>
                </a:lnTo>
                <a:lnTo>
                  <a:pt x="1484" y="2239"/>
                </a:lnTo>
                <a:lnTo>
                  <a:pt x="1488" y="2237"/>
                </a:lnTo>
                <a:lnTo>
                  <a:pt x="1490" y="2235"/>
                </a:lnTo>
                <a:lnTo>
                  <a:pt x="1497" y="2235"/>
                </a:lnTo>
                <a:lnTo>
                  <a:pt x="1505" y="2237"/>
                </a:lnTo>
                <a:lnTo>
                  <a:pt x="1507" y="2237"/>
                </a:lnTo>
                <a:lnTo>
                  <a:pt x="1511" y="2242"/>
                </a:lnTo>
                <a:lnTo>
                  <a:pt x="1516" y="2248"/>
                </a:lnTo>
                <a:lnTo>
                  <a:pt x="1516" y="2254"/>
                </a:lnTo>
                <a:lnTo>
                  <a:pt x="1516" y="2261"/>
                </a:lnTo>
                <a:lnTo>
                  <a:pt x="1516" y="2280"/>
                </a:lnTo>
                <a:lnTo>
                  <a:pt x="1514" y="2299"/>
                </a:lnTo>
                <a:lnTo>
                  <a:pt x="1509" y="2316"/>
                </a:lnTo>
                <a:lnTo>
                  <a:pt x="1505" y="2333"/>
                </a:lnTo>
                <a:lnTo>
                  <a:pt x="1501" y="2349"/>
                </a:lnTo>
                <a:lnTo>
                  <a:pt x="1494" y="2366"/>
                </a:lnTo>
                <a:lnTo>
                  <a:pt x="1486" y="2381"/>
                </a:lnTo>
                <a:lnTo>
                  <a:pt x="1478" y="2394"/>
                </a:lnTo>
                <a:lnTo>
                  <a:pt x="1467" y="2407"/>
                </a:lnTo>
                <a:lnTo>
                  <a:pt x="1463" y="2413"/>
                </a:lnTo>
                <a:lnTo>
                  <a:pt x="1456" y="2417"/>
                </a:lnTo>
                <a:lnTo>
                  <a:pt x="1446" y="2428"/>
                </a:lnTo>
                <a:lnTo>
                  <a:pt x="1435" y="2436"/>
                </a:lnTo>
                <a:lnTo>
                  <a:pt x="1422" y="2443"/>
                </a:lnTo>
                <a:lnTo>
                  <a:pt x="1408" y="2449"/>
                </a:lnTo>
                <a:lnTo>
                  <a:pt x="1395" y="2451"/>
                </a:lnTo>
                <a:lnTo>
                  <a:pt x="1380" y="2451"/>
                </a:lnTo>
                <a:close/>
                <a:moveTo>
                  <a:pt x="1611" y="2449"/>
                </a:moveTo>
                <a:lnTo>
                  <a:pt x="1605" y="2447"/>
                </a:lnTo>
                <a:lnTo>
                  <a:pt x="1596" y="2440"/>
                </a:lnTo>
                <a:lnTo>
                  <a:pt x="1579" y="2426"/>
                </a:lnTo>
                <a:lnTo>
                  <a:pt x="1560" y="2407"/>
                </a:lnTo>
                <a:lnTo>
                  <a:pt x="1541" y="2385"/>
                </a:lnTo>
                <a:lnTo>
                  <a:pt x="1535" y="2377"/>
                </a:lnTo>
                <a:lnTo>
                  <a:pt x="1530" y="2371"/>
                </a:lnTo>
                <a:lnTo>
                  <a:pt x="1524" y="2358"/>
                </a:lnTo>
                <a:lnTo>
                  <a:pt x="1522" y="2352"/>
                </a:lnTo>
                <a:lnTo>
                  <a:pt x="1522" y="2345"/>
                </a:lnTo>
                <a:lnTo>
                  <a:pt x="1522" y="2339"/>
                </a:lnTo>
                <a:lnTo>
                  <a:pt x="1524" y="2333"/>
                </a:lnTo>
                <a:lnTo>
                  <a:pt x="1528" y="2324"/>
                </a:lnTo>
                <a:lnTo>
                  <a:pt x="1533" y="2316"/>
                </a:lnTo>
                <a:lnTo>
                  <a:pt x="1545" y="2301"/>
                </a:lnTo>
                <a:lnTo>
                  <a:pt x="1564" y="2282"/>
                </a:lnTo>
                <a:lnTo>
                  <a:pt x="1605" y="2233"/>
                </a:lnTo>
                <a:lnTo>
                  <a:pt x="1611" y="2233"/>
                </a:lnTo>
                <a:lnTo>
                  <a:pt x="1617" y="2235"/>
                </a:lnTo>
                <a:lnTo>
                  <a:pt x="1624" y="2239"/>
                </a:lnTo>
                <a:lnTo>
                  <a:pt x="1628" y="2246"/>
                </a:lnTo>
                <a:lnTo>
                  <a:pt x="1628" y="2252"/>
                </a:lnTo>
                <a:lnTo>
                  <a:pt x="1626" y="2258"/>
                </a:lnTo>
                <a:lnTo>
                  <a:pt x="1626" y="2261"/>
                </a:lnTo>
                <a:lnTo>
                  <a:pt x="1624" y="2265"/>
                </a:lnTo>
                <a:lnTo>
                  <a:pt x="1594" y="2299"/>
                </a:lnTo>
                <a:lnTo>
                  <a:pt x="1575" y="2320"/>
                </a:lnTo>
                <a:lnTo>
                  <a:pt x="1562" y="2335"/>
                </a:lnTo>
                <a:lnTo>
                  <a:pt x="1560" y="2339"/>
                </a:lnTo>
                <a:lnTo>
                  <a:pt x="1558" y="2343"/>
                </a:lnTo>
                <a:lnTo>
                  <a:pt x="1560" y="2349"/>
                </a:lnTo>
                <a:lnTo>
                  <a:pt x="1562" y="2356"/>
                </a:lnTo>
                <a:lnTo>
                  <a:pt x="1573" y="2366"/>
                </a:lnTo>
                <a:lnTo>
                  <a:pt x="1590" y="2385"/>
                </a:lnTo>
                <a:lnTo>
                  <a:pt x="1609" y="2404"/>
                </a:lnTo>
                <a:lnTo>
                  <a:pt x="1628" y="2424"/>
                </a:lnTo>
                <a:lnTo>
                  <a:pt x="1630" y="2426"/>
                </a:lnTo>
                <a:lnTo>
                  <a:pt x="1632" y="2428"/>
                </a:lnTo>
                <a:lnTo>
                  <a:pt x="1630" y="2432"/>
                </a:lnTo>
                <a:lnTo>
                  <a:pt x="1630" y="2434"/>
                </a:lnTo>
                <a:lnTo>
                  <a:pt x="1624" y="2443"/>
                </a:lnTo>
                <a:lnTo>
                  <a:pt x="1617" y="2447"/>
                </a:lnTo>
                <a:lnTo>
                  <a:pt x="1613" y="2449"/>
                </a:lnTo>
                <a:lnTo>
                  <a:pt x="1611" y="2449"/>
                </a:lnTo>
                <a:close/>
                <a:moveTo>
                  <a:pt x="1380" y="3044"/>
                </a:moveTo>
                <a:lnTo>
                  <a:pt x="1370" y="3044"/>
                </a:lnTo>
                <a:lnTo>
                  <a:pt x="1361" y="3042"/>
                </a:lnTo>
                <a:lnTo>
                  <a:pt x="1353" y="3039"/>
                </a:lnTo>
                <a:lnTo>
                  <a:pt x="1344" y="3035"/>
                </a:lnTo>
                <a:lnTo>
                  <a:pt x="1336" y="3031"/>
                </a:lnTo>
                <a:lnTo>
                  <a:pt x="1329" y="3027"/>
                </a:lnTo>
                <a:lnTo>
                  <a:pt x="1323" y="3020"/>
                </a:lnTo>
                <a:lnTo>
                  <a:pt x="1315" y="3012"/>
                </a:lnTo>
                <a:lnTo>
                  <a:pt x="1310" y="3006"/>
                </a:lnTo>
                <a:lnTo>
                  <a:pt x="1304" y="2997"/>
                </a:lnTo>
                <a:lnTo>
                  <a:pt x="1295" y="2980"/>
                </a:lnTo>
                <a:lnTo>
                  <a:pt x="1293" y="2970"/>
                </a:lnTo>
                <a:lnTo>
                  <a:pt x="1291" y="2959"/>
                </a:lnTo>
                <a:lnTo>
                  <a:pt x="1289" y="2948"/>
                </a:lnTo>
                <a:lnTo>
                  <a:pt x="1289" y="2938"/>
                </a:lnTo>
                <a:lnTo>
                  <a:pt x="1289" y="2927"/>
                </a:lnTo>
                <a:lnTo>
                  <a:pt x="1291" y="2915"/>
                </a:lnTo>
                <a:lnTo>
                  <a:pt x="1293" y="2904"/>
                </a:lnTo>
                <a:lnTo>
                  <a:pt x="1295" y="2893"/>
                </a:lnTo>
                <a:lnTo>
                  <a:pt x="1300" y="2883"/>
                </a:lnTo>
                <a:lnTo>
                  <a:pt x="1306" y="2874"/>
                </a:lnTo>
                <a:lnTo>
                  <a:pt x="1310" y="2866"/>
                </a:lnTo>
                <a:lnTo>
                  <a:pt x="1317" y="2857"/>
                </a:lnTo>
                <a:lnTo>
                  <a:pt x="1323" y="2849"/>
                </a:lnTo>
                <a:lnTo>
                  <a:pt x="1331" y="2843"/>
                </a:lnTo>
                <a:lnTo>
                  <a:pt x="1340" y="2836"/>
                </a:lnTo>
                <a:lnTo>
                  <a:pt x="1348" y="2832"/>
                </a:lnTo>
                <a:lnTo>
                  <a:pt x="1357" y="2828"/>
                </a:lnTo>
                <a:lnTo>
                  <a:pt x="1365" y="2824"/>
                </a:lnTo>
                <a:lnTo>
                  <a:pt x="1376" y="2821"/>
                </a:lnTo>
                <a:lnTo>
                  <a:pt x="1384" y="2821"/>
                </a:lnTo>
                <a:lnTo>
                  <a:pt x="1397" y="2824"/>
                </a:lnTo>
                <a:lnTo>
                  <a:pt x="1403" y="2824"/>
                </a:lnTo>
                <a:lnTo>
                  <a:pt x="1408" y="2826"/>
                </a:lnTo>
                <a:lnTo>
                  <a:pt x="1416" y="2830"/>
                </a:lnTo>
                <a:lnTo>
                  <a:pt x="1425" y="2838"/>
                </a:lnTo>
                <a:lnTo>
                  <a:pt x="1431" y="2847"/>
                </a:lnTo>
                <a:lnTo>
                  <a:pt x="1435" y="2855"/>
                </a:lnTo>
                <a:lnTo>
                  <a:pt x="1437" y="2866"/>
                </a:lnTo>
                <a:lnTo>
                  <a:pt x="1439" y="2879"/>
                </a:lnTo>
                <a:lnTo>
                  <a:pt x="1439" y="2887"/>
                </a:lnTo>
                <a:lnTo>
                  <a:pt x="1437" y="2893"/>
                </a:lnTo>
                <a:lnTo>
                  <a:pt x="1435" y="2900"/>
                </a:lnTo>
                <a:lnTo>
                  <a:pt x="1431" y="2908"/>
                </a:lnTo>
                <a:lnTo>
                  <a:pt x="1429" y="2915"/>
                </a:lnTo>
                <a:lnTo>
                  <a:pt x="1425" y="2921"/>
                </a:lnTo>
                <a:lnTo>
                  <a:pt x="1414" y="2932"/>
                </a:lnTo>
                <a:lnTo>
                  <a:pt x="1408" y="2938"/>
                </a:lnTo>
                <a:lnTo>
                  <a:pt x="1401" y="2942"/>
                </a:lnTo>
                <a:lnTo>
                  <a:pt x="1386" y="2951"/>
                </a:lnTo>
                <a:lnTo>
                  <a:pt x="1380" y="2953"/>
                </a:lnTo>
                <a:lnTo>
                  <a:pt x="1372" y="2955"/>
                </a:lnTo>
                <a:lnTo>
                  <a:pt x="1357" y="2957"/>
                </a:lnTo>
                <a:lnTo>
                  <a:pt x="1351" y="2955"/>
                </a:lnTo>
                <a:lnTo>
                  <a:pt x="1348" y="2953"/>
                </a:lnTo>
                <a:lnTo>
                  <a:pt x="1346" y="2951"/>
                </a:lnTo>
                <a:lnTo>
                  <a:pt x="1344" y="2948"/>
                </a:lnTo>
                <a:lnTo>
                  <a:pt x="1342" y="2944"/>
                </a:lnTo>
                <a:lnTo>
                  <a:pt x="1340" y="2938"/>
                </a:lnTo>
                <a:lnTo>
                  <a:pt x="1342" y="2932"/>
                </a:lnTo>
                <a:lnTo>
                  <a:pt x="1344" y="2929"/>
                </a:lnTo>
                <a:lnTo>
                  <a:pt x="1344" y="2927"/>
                </a:lnTo>
                <a:lnTo>
                  <a:pt x="1359" y="2923"/>
                </a:lnTo>
                <a:lnTo>
                  <a:pt x="1370" y="2919"/>
                </a:lnTo>
                <a:lnTo>
                  <a:pt x="1380" y="2915"/>
                </a:lnTo>
                <a:lnTo>
                  <a:pt x="1391" y="2906"/>
                </a:lnTo>
                <a:lnTo>
                  <a:pt x="1397" y="2900"/>
                </a:lnTo>
                <a:lnTo>
                  <a:pt x="1399" y="2896"/>
                </a:lnTo>
                <a:lnTo>
                  <a:pt x="1403" y="2891"/>
                </a:lnTo>
                <a:lnTo>
                  <a:pt x="1406" y="2883"/>
                </a:lnTo>
                <a:lnTo>
                  <a:pt x="1408" y="2874"/>
                </a:lnTo>
                <a:lnTo>
                  <a:pt x="1408" y="2868"/>
                </a:lnTo>
                <a:lnTo>
                  <a:pt x="1406" y="2864"/>
                </a:lnTo>
                <a:lnTo>
                  <a:pt x="1403" y="2862"/>
                </a:lnTo>
                <a:lnTo>
                  <a:pt x="1401" y="2857"/>
                </a:lnTo>
                <a:lnTo>
                  <a:pt x="1397" y="2855"/>
                </a:lnTo>
                <a:lnTo>
                  <a:pt x="1393" y="2853"/>
                </a:lnTo>
                <a:lnTo>
                  <a:pt x="1382" y="2851"/>
                </a:lnTo>
                <a:lnTo>
                  <a:pt x="1372" y="2853"/>
                </a:lnTo>
                <a:lnTo>
                  <a:pt x="1367" y="2855"/>
                </a:lnTo>
                <a:lnTo>
                  <a:pt x="1361" y="2857"/>
                </a:lnTo>
                <a:lnTo>
                  <a:pt x="1357" y="2862"/>
                </a:lnTo>
                <a:lnTo>
                  <a:pt x="1351" y="2866"/>
                </a:lnTo>
                <a:lnTo>
                  <a:pt x="1342" y="2876"/>
                </a:lnTo>
                <a:lnTo>
                  <a:pt x="1338" y="2883"/>
                </a:lnTo>
                <a:lnTo>
                  <a:pt x="1334" y="2889"/>
                </a:lnTo>
                <a:lnTo>
                  <a:pt x="1327" y="2904"/>
                </a:lnTo>
                <a:lnTo>
                  <a:pt x="1325" y="2919"/>
                </a:lnTo>
                <a:lnTo>
                  <a:pt x="1323" y="2927"/>
                </a:lnTo>
                <a:lnTo>
                  <a:pt x="1323" y="2936"/>
                </a:lnTo>
                <a:lnTo>
                  <a:pt x="1323" y="2951"/>
                </a:lnTo>
                <a:lnTo>
                  <a:pt x="1325" y="2959"/>
                </a:lnTo>
                <a:lnTo>
                  <a:pt x="1327" y="2965"/>
                </a:lnTo>
                <a:lnTo>
                  <a:pt x="1331" y="2978"/>
                </a:lnTo>
                <a:lnTo>
                  <a:pt x="1338" y="2989"/>
                </a:lnTo>
                <a:lnTo>
                  <a:pt x="1346" y="2997"/>
                </a:lnTo>
                <a:lnTo>
                  <a:pt x="1353" y="2999"/>
                </a:lnTo>
                <a:lnTo>
                  <a:pt x="1357" y="3003"/>
                </a:lnTo>
                <a:lnTo>
                  <a:pt x="1367" y="3006"/>
                </a:lnTo>
                <a:lnTo>
                  <a:pt x="1374" y="3008"/>
                </a:lnTo>
                <a:lnTo>
                  <a:pt x="1380" y="3008"/>
                </a:lnTo>
                <a:lnTo>
                  <a:pt x="1393" y="3008"/>
                </a:lnTo>
                <a:lnTo>
                  <a:pt x="1406" y="3003"/>
                </a:lnTo>
                <a:lnTo>
                  <a:pt x="1410" y="3001"/>
                </a:lnTo>
                <a:lnTo>
                  <a:pt x="1416" y="2997"/>
                </a:lnTo>
                <a:lnTo>
                  <a:pt x="1427" y="2991"/>
                </a:lnTo>
                <a:lnTo>
                  <a:pt x="1435" y="2980"/>
                </a:lnTo>
                <a:lnTo>
                  <a:pt x="1444" y="2970"/>
                </a:lnTo>
                <a:lnTo>
                  <a:pt x="1452" y="2959"/>
                </a:lnTo>
                <a:lnTo>
                  <a:pt x="1458" y="2946"/>
                </a:lnTo>
                <a:lnTo>
                  <a:pt x="1465" y="2932"/>
                </a:lnTo>
                <a:lnTo>
                  <a:pt x="1471" y="2919"/>
                </a:lnTo>
                <a:lnTo>
                  <a:pt x="1475" y="2904"/>
                </a:lnTo>
                <a:lnTo>
                  <a:pt x="1478" y="2889"/>
                </a:lnTo>
                <a:lnTo>
                  <a:pt x="1482" y="2874"/>
                </a:lnTo>
                <a:lnTo>
                  <a:pt x="1482" y="2860"/>
                </a:lnTo>
                <a:lnTo>
                  <a:pt x="1484" y="2847"/>
                </a:lnTo>
                <a:lnTo>
                  <a:pt x="1482" y="2834"/>
                </a:lnTo>
                <a:lnTo>
                  <a:pt x="1484" y="2832"/>
                </a:lnTo>
                <a:lnTo>
                  <a:pt x="1488" y="2830"/>
                </a:lnTo>
                <a:lnTo>
                  <a:pt x="1490" y="2828"/>
                </a:lnTo>
                <a:lnTo>
                  <a:pt x="1497" y="2828"/>
                </a:lnTo>
                <a:lnTo>
                  <a:pt x="1505" y="2828"/>
                </a:lnTo>
                <a:lnTo>
                  <a:pt x="1507" y="2830"/>
                </a:lnTo>
                <a:lnTo>
                  <a:pt x="1511" y="2832"/>
                </a:lnTo>
                <a:lnTo>
                  <a:pt x="1516" y="2841"/>
                </a:lnTo>
                <a:lnTo>
                  <a:pt x="1516" y="2847"/>
                </a:lnTo>
                <a:lnTo>
                  <a:pt x="1516" y="2853"/>
                </a:lnTo>
                <a:lnTo>
                  <a:pt x="1516" y="2872"/>
                </a:lnTo>
                <a:lnTo>
                  <a:pt x="1514" y="2889"/>
                </a:lnTo>
                <a:lnTo>
                  <a:pt x="1509" y="2908"/>
                </a:lnTo>
                <a:lnTo>
                  <a:pt x="1505" y="2925"/>
                </a:lnTo>
                <a:lnTo>
                  <a:pt x="1501" y="2942"/>
                </a:lnTo>
                <a:lnTo>
                  <a:pt x="1494" y="2957"/>
                </a:lnTo>
                <a:lnTo>
                  <a:pt x="1486" y="2972"/>
                </a:lnTo>
                <a:lnTo>
                  <a:pt x="1478" y="2987"/>
                </a:lnTo>
                <a:lnTo>
                  <a:pt x="1467" y="2999"/>
                </a:lnTo>
                <a:lnTo>
                  <a:pt x="1463" y="3003"/>
                </a:lnTo>
                <a:lnTo>
                  <a:pt x="1456" y="3010"/>
                </a:lnTo>
                <a:lnTo>
                  <a:pt x="1446" y="3020"/>
                </a:lnTo>
                <a:lnTo>
                  <a:pt x="1435" y="3029"/>
                </a:lnTo>
                <a:lnTo>
                  <a:pt x="1422" y="3035"/>
                </a:lnTo>
                <a:lnTo>
                  <a:pt x="1408" y="3039"/>
                </a:lnTo>
                <a:lnTo>
                  <a:pt x="1395" y="3044"/>
                </a:lnTo>
                <a:lnTo>
                  <a:pt x="1380" y="3044"/>
                </a:lnTo>
                <a:close/>
                <a:moveTo>
                  <a:pt x="1611" y="3039"/>
                </a:moveTo>
                <a:lnTo>
                  <a:pt x="1605" y="3037"/>
                </a:lnTo>
                <a:lnTo>
                  <a:pt x="1596" y="3033"/>
                </a:lnTo>
                <a:lnTo>
                  <a:pt x="1579" y="3016"/>
                </a:lnTo>
                <a:lnTo>
                  <a:pt x="1560" y="2997"/>
                </a:lnTo>
                <a:lnTo>
                  <a:pt x="1541" y="2978"/>
                </a:lnTo>
                <a:lnTo>
                  <a:pt x="1535" y="2968"/>
                </a:lnTo>
                <a:lnTo>
                  <a:pt x="1530" y="2961"/>
                </a:lnTo>
                <a:lnTo>
                  <a:pt x="1524" y="2948"/>
                </a:lnTo>
                <a:lnTo>
                  <a:pt x="1522" y="2944"/>
                </a:lnTo>
                <a:lnTo>
                  <a:pt x="1522" y="2938"/>
                </a:lnTo>
                <a:lnTo>
                  <a:pt x="1522" y="2932"/>
                </a:lnTo>
                <a:lnTo>
                  <a:pt x="1524" y="2923"/>
                </a:lnTo>
                <a:lnTo>
                  <a:pt x="1528" y="2917"/>
                </a:lnTo>
                <a:lnTo>
                  <a:pt x="1533" y="2908"/>
                </a:lnTo>
                <a:lnTo>
                  <a:pt x="1545" y="2893"/>
                </a:lnTo>
                <a:lnTo>
                  <a:pt x="1564" y="2872"/>
                </a:lnTo>
                <a:lnTo>
                  <a:pt x="1605" y="2824"/>
                </a:lnTo>
                <a:lnTo>
                  <a:pt x="1611" y="2826"/>
                </a:lnTo>
                <a:lnTo>
                  <a:pt x="1617" y="2828"/>
                </a:lnTo>
                <a:lnTo>
                  <a:pt x="1624" y="2832"/>
                </a:lnTo>
                <a:lnTo>
                  <a:pt x="1628" y="2836"/>
                </a:lnTo>
                <a:lnTo>
                  <a:pt x="1628" y="2843"/>
                </a:lnTo>
                <a:lnTo>
                  <a:pt x="1626" y="2849"/>
                </a:lnTo>
                <a:lnTo>
                  <a:pt x="1626" y="2853"/>
                </a:lnTo>
                <a:lnTo>
                  <a:pt x="1624" y="2857"/>
                </a:lnTo>
                <a:lnTo>
                  <a:pt x="1594" y="2891"/>
                </a:lnTo>
                <a:lnTo>
                  <a:pt x="1575" y="2910"/>
                </a:lnTo>
                <a:lnTo>
                  <a:pt x="1562" y="2927"/>
                </a:lnTo>
                <a:lnTo>
                  <a:pt x="1560" y="2932"/>
                </a:lnTo>
                <a:lnTo>
                  <a:pt x="1558" y="2936"/>
                </a:lnTo>
                <a:lnTo>
                  <a:pt x="1560" y="2940"/>
                </a:lnTo>
                <a:lnTo>
                  <a:pt x="1562" y="2946"/>
                </a:lnTo>
                <a:lnTo>
                  <a:pt x="1573" y="2959"/>
                </a:lnTo>
                <a:lnTo>
                  <a:pt x="1590" y="2976"/>
                </a:lnTo>
                <a:lnTo>
                  <a:pt x="1609" y="2997"/>
                </a:lnTo>
                <a:lnTo>
                  <a:pt x="1628" y="3014"/>
                </a:lnTo>
                <a:lnTo>
                  <a:pt x="1630" y="3016"/>
                </a:lnTo>
                <a:lnTo>
                  <a:pt x="1632" y="3020"/>
                </a:lnTo>
                <a:lnTo>
                  <a:pt x="1630" y="3023"/>
                </a:lnTo>
                <a:lnTo>
                  <a:pt x="1630" y="3027"/>
                </a:lnTo>
                <a:lnTo>
                  <a:pt x="1624" y="3033"/>
                </a:lnTo>
                <a:lnTo>
                  <a:pt x="1617" y="3037"/>
                </a:lnTo>
                <a:lnTo>
                  <a:pt x="1613" y="3039"/>
                </a:lnTo>
                <a:lnTo>
                  <a:pt x="1611" y="3039"/>
                </a:lnTo>
                <a:close/>
                <a:moveTo>
                  <a:pt x="1380" y="3636"/>
                </a:moveTo>
                <a:lnTo>
                  <a:pt x="1370" y="3634"/>
                </a:lnTo>
                <a:lnTo>
                  <a:pt x="1361" y="3634"/>
                </a:lnTo>
                <a:lnTo>
                  <a:pt x="1353" y="3630"/>
                </a:lnTo>
                <a:lnTo>
                  <a:pt x="1344" y="3628"/>
                </a:lnTo>
                <a:lnTo>
                  <a:pt x="1336" y="3624"/>
                </a:lnTo>
                <a:lnTo>
                  <a:pt x="1329" y="3617"/>
                </a:lnTo>
                <a:lnTo>
                  <a:pt x="1323" y="3611"/>
                </a:lnTo>
                <a:lnTo>
                  <a:pt x="1315" y="3605"/>
                </a:lnTo>
                <a:lnTo>
                  <a:pt x="1310" y="3598"/>
                </a:lnTo>
                <a:lnTo>
                  <a:pt x="1304" y="3590"/>
                </a:lnTo>
                <a:lnTo>
                  <a:pt x="1295" y="3571"/>
                </a:lnTo>
                <a:lnTo>
                  <a:pt x="1293" y="3560"/>
                </a:lnTo>
                <a:lnTo>
                  <a:pt x="1291" y="3552"/>
                </a:lnTo>
                <a:lnTo>
                  <a:pt x="1289" y="3541"/>
                </a:lnTo>
                <a:lnTo>
                  <a:pt x="1289" y="3528"/>
                </a:lnTo>
                <a:lnTo>
                  <a:pt x="1289" y="3518"/>
                </a:lnTo>
                <a:lnTo>
                  <a:pt x="1291" y="3507"/>
                </a:lnTo>
                <a:lnTo>
                  <a:pt x="1293" y="3497"/>
                </a:lnTo>
                <a:lnTo>
                  <a:pt x="1295" y="3486"/>
                </a:lnTo>
                <a:lnTo>
                  <a:pt x="1300" y="3476"/>
                </a:lnTo>
                <a:lnTo>
                  <a:pt x="1306" y="3465"/>
                </a:lnTo>
                <a:lnTo>
                  <a:pt x="1310" y="3456"/>
                </a:lnTo>
                <a:lnTo>
                  <a:pt x="1317" y="3448"/>
                </a:lnTo>
                <a:lnTo>
                  <a:pt x="1323" y="3442"/>
                </a:lnTo>
                <a:lnTo>
                  <a:pt x="1331" y="3433"/>
                </a:lnTo>
                <a:lnTo>
                  <a:pt x="1340" y="3429"/>
                </a:lnTo>
                <a:lnTo>
                  <a:pt x="1348" y="3423"/>
                </a:lnTo>
                <a:lnTo>
                  <a:pt x="1357" y="3418"/>
                </a:lnTo>
                <a:lnTo>
                  <a:pt x="1365" y="3416"/>
                </a:lnTo>
                <a:lnTo>
                  <a:pt x="1376" y="3414"/>
                </a:lnTo>
                <a:lnTo>
                  <a:pt x="1384" y="3414"/>
                </a:lnTo>
                <a:lnTo>
                  <a:pt x="1397" y="3414"/>
                </a:lnTo>
                <a:lnTo>
                  <a:pt x="1403" y="3416"/>
                </a:lnTo>
                <a:lnTo>
                  <a:pt x="1408" y="3418"/>
                </a:lnTo>
                <a:lnTo>
                  <a:pt x="1416" y="3423"/>
                </a:lnTo>
                <a:lnTo>
                  <a:pt x="1425" y="3429"/>
                </a:lnTo>
                <a:lnTo>
                  <a:pt x="1431" y="3437"/>
                </a:lnTo>
                <a:lnTo>
                  <a:pt x="1435" y="3448"/>
                </a:lnTo>
                <a:lnTo>
                  <a:pt x="1437" y="3459"/>
                </a:lnTo>
                <a:lnTo>
                  <a:pt x="1439" y="3471"/>
                </a:lnTo>
                <a:lnTo>
                  <a:pt x="1439" y="3478"/>
                </a:lnTo>
                <a:lnTo>
                  <a:pt x="1437" y="3486"/>
                </a:lnTo>
                <a:lnTo>
                  <a:pt x="1435" y="3492"/>
                </a:lnTo>
                <a:lnTo>
                  <a:pt x="1431" y="3499"/>
                </a:lnTo>
                <a:lnTo>
                  <a:pt x="1429" y="3507"/>
                </a:lnTo>
                <a:lnTo>
                  <a:pt x="1425" y="3514"/>
                </a:lnTo>
                <a:lnTo>
                  <a:pt x="1414" y="3524"/>
                </a:lnTo>
                <a:lnTo>
                  <a:pt x="1408" y="3528"/>
                </a:lnTo>
                <a:lnTo>
                  <a:pt x="1401" y="3535"/>
                </a:lnTo>
                <a:lnTo>
                  <a:pt x="1386" y="3541"/>
                </a:lnTo>
                <a:lnTo>
                  <a:pt x="1380" y="3543"/>
                </a:lnTo>
                <a:lnTo>
                  <a:pt x="1372" y="3545"/>
                </a:lnTo>
                <a:lnTo>
                  <a:pt x="1357" y="3547"/>
                </a:lnTo>
                <a:lnTo>
                  <a:pt x="1351" y="3545"/>
                </a:lnTo>
                <a:lnTo>
                  <a:pt x="1348" y="3545"/>
                </a:lnTo>
                <a:lnTo>
                  <a:pt x="1346" y="3543"/>
                </a:lnTo>
                <a:lnTo>
                  <a:pt x="1344" y="3539"/>
                </a:lnTo>
                <a:lnTo>
                  <a:pt x="1342" y="3537"/>
                </a:lnTo>
                <a:lnTo>
                  <a:pt x="1340" y="3528"/>
                </a:lnTo>
                <a:lnTo>
                  <a:pt x="1342" y="3522"/>
                </a:lnTo>
                <a:lnTo>
                  <a:pt x="1344" y="3520"/>
                </a:lnTo>
                <a:lnTo>
                  <a:pt x="1344" y="3518"/>
                </a:lnTo>
                <a:lnTo>
                  <a:pt x="1359" y="3516"/>
                </a:lnTo>
                <a:lnTo>
                  <a:pt x="1370" y="3511"/>
                </a:lnTo>
                <a:lnTo>
                  <a:pt x="1380" y="3505"/>
                </a:lnTo>
                <a:lnTo>
                  <a:pt x="1391" y="3499"/>
                </a:lnTo>
                <a:lnTo>
                  <a:pt x="1397" y="3490"/>
                </a:lnTo>
                <a:lnTo>
                  <a:pt x="1399" y="3486"/>
                </a:lnTo>
                <a:lnTo>
                  <a:pt x="1403" y="3482"/>
                </a:lnTo>
                <a:lnTo>
                  <a:pt x="1406" y="3473"/>
                </a:lnTo>
                <a:lnTo>
                  <a:pt x="1408" y="3465"/>
                </a:lnTo>
                <a:lnTo>
                  <a:pt x="1408" y="3461"/>
                </a:lnTo>
                <a:lnTo>
                  <a:pt x="1406" y="3456"/>
                </a:lnTo>
                <a:lnTo>
                  <a:pt x="1403" y="3452"/>
                </a:lnTo>
                <a:lnTo>
                  <a:pt x="1401" y="3450"/>
                </a:lnTo>
                <a:lnTo>
                  <a:pt x="1397" y="3446"/>
                </a:lnTo>
                <a:lnTo>
                  <a:pt x="1393" y="3444"/>
                </a:lnTo>
                <a:lnTo>
                  <a:pt x="1382" y="3444"/>
                </a:lnTo>
                <a:lnTo>
                  <a:pt x="1372" y="3446"/>
                </a:lnTo>
                <a:lnTo>
                  <a:pt x="1367" y="3448"/>
                </a:lnTo>
                <a:lnTo>
                  <a:pt x="1361" y="3450"/>
                </a:lnTo>
                <a:lnTo>
                  <a:pt x="1357" y="3454"/>
                </a:lnTo>
                <a:lnTo>
                  <a:pt x="1351" y="3459"/>
                </a:lnTo>
                <a:lnTo>
                  <a:pt x="1342" y="3469"/>
                </a:lnTo>
                <a:lnTo>
                  <a:pt x="1338" y="3473"/>
                </a:lnTo>
                <a:lnTo>
                  <a:pt x="1334" y="3480"/>
                </a:lnTo>
                <a:lnTo>
                  <a:pt x="1327" y="3495"/>
                </a:lnTo>
                <a:lnTo>
                  <a:pt x="1325" y="3511"/>
                </a:lnTo>
                <a:lnTo>
                  <a:pt x="1323" y="3520"/>
                </a:lnTo>
                <a:lnTo>
                  <a:pt x="1323" y="3528"/>
                </a:lnTo>
                <a:lnTo>
                  <a:pt x="1323" y="3543"/>
                </a:lnTo>
                <a:lnTo>
                  <a:pt x="1325" y="3550"/>
                </a:lnTo>
                <a:lnTo>
                  <a:pt x="1327" y="3556"/>
                </a:lnTo>
                <a:lnTo>
                  <a:pt x="1331" y="3569"/>
                </a:lnTo>
                <a:lnTo>
                  <a:pt x="1338" y="3579"/>
                </a:lnTo>
                <a:lnTo>
                  <a:pt x="1346" y="3588"/>
                </a:lnTo>
                <a:lnTo>
                  <a:pt x="1353" y="3592"/>
                </a:lnTo>
                <a:lnTo>
                  <a:pt x="1357" y="3594"/>
                </a:lnTo>
                <a:lnTo>
                  <a:pt x="1367" y="3598"/>
                </a:lnTo>
                <a:lnTo>
                  <a:pt x="1374" y="3598"/>
                </a:lnTo>
                <a:lnTo>
                  <a:pt x="1380" y="3600"/>
                </a:lnTo>
                <a:lnTo>
                  <a:pt x="1393" y="3598"/>
                </a:lnTo>
                <a:lnTo>
                  <a:pt x="1406" y="3594"/>
                </a:lnTo>
                <a:lnTo>
                  <a:pt x="1410" y="3592"/>
                </a:lnTo>
                <a:lnTo>
                  <a:pt x="1416" y="3590"/>
                </a:lnTo>
                <a:lnTo>
                  <a:pt x="1427" y="3581"/>
                </a:lnTo>
                <a:lnTo>
                  <a:pt x="1435" y="3573"/>
                </a:lnTo>
                <a:lnTo>
                  <a:pt x="1444" y="3562"/>
                </a:lnTo>
                <a:lnTo>
                  <a:pt x="1452" y="3550"/>
                </a:lnTo>
                <a:lnTo>
                  <a:pt x="1458" y="3537"/>
                </a:lnTo>
                <a:lnTo>
                  <a:pt x="1465" y="3524"/>
                </a:lnTo>
                <a:lnTo>
                  <a:pt x="1471" y="3509"/>
                </a:lnTo>
                <a:lnTo>
                  <a:pt x="1475" y="3495"/>
                </a:lnTo>
                <a:lnTo>
                  <a:pt x="1478" y="3482"/>
                </a:lnTo>
                <a:lnTo>
                  <a:pt x="1482" y="3467"/>
                </a:lnTo>
                <a:lnTo>
                  <a:pt x="1482" y="3452"/>
                </a:lnTo>
                <a:lnTo>
                  <a:pt x="1484" y="3440"/>
                </a:lnTo>
                <a:lnTo>
                  <a:pt x="1482" y="3427"/>
                </a:lnTo>
                <a:lnTo>
                  <a:pt x="1484" y="3423"/>
                </a:lnTo>
                <a:lnTo>
                  <a:pt x="1488" y="3420"/>
                </a:lnTo>
                <a:lnTo>
                  <a:pt x="1490" y="3418"/>
                </a:lnTo>
                <a:lnTo>
                  <a:pt x="1497" y="3418"/>
                </a:lnTo>
                <a:lnTo>
                  <a:pt x="1505" y="3420"/>
                </a:lnTo>
                <a:lnTo>
                  <a:pt x="1507" y="3423"/>
                </a:lnTo>
                <a:lnTo>
                  <a:pt x="1511" y="3425"/>
                </a:lnTo>
                <a:lnTo>
                  <a:pt x="1516" y="3431"/>
                </a:lnTo>
                <a:lnTo>
                  <a:pt x="1516" y="3437"/>
                </a:lnTo>
                <a:lnTo>
                  <a:pt x="1516" y="3444"/>
                </a:lnTo>
                <a:lnTo>
                  <a:pt x="1516" y="3463"/>
                </a:lnTo>
                <a:lnTo>
                  <a:pt x="1514" y="3482"/>
                </a:lnTo>
                <a:lnTo>
                  <a:pt x="1509" y="3499"/>
                </a:lnTo>
                <a:lnTo>
                  <a:pt x="1505" y="3518"/>
                </a:lnTo>
                <a:lnTo>
                  <a:pt x="1501" y="3533"/>
                </a:lnTo>
                <a:lnTo>
                  <a:pt x="1494" y="3550"/>
                </a:lnTo>
                <a:lnTo>
                  <a:pt x="1486" y="3564"/>
                </a:lnTo>
                <a:lnTo>
                  <a:pt x="1478" y="3577"/>
                </a:lnTo>
                <a:lnTo>
                  <a:pt x="1467" y="3590"/>
                </a:lnTo>
                <a:lnTo>
                  <a:pt x="1463" y="3596"/>
                </a:lnTo>
                <a:lnTo>
                  <a:pt x="1456" y="3603"/>
                </a:lnTo>
                <a:lnTo>
                  <a:pt x="1446" y="3611"/>
                </a:lnTo>
                <a:lnTo>
                  <a:pt x="1435" y="3619"/>
                </a:lnTo>
                <a:lnTo>
                  <a:pt x="1422" y="3626"/>
                </a:lnTo>
                <a:lnTo>
                  <a:pt x="1408" y="3632"/>
                </a:lnTo>
                <a:lnTo>
                  <a:pt x="1395" y="3634"/>
                </a:lnTo>
                <a:lnTo>
                  <a:pt x="1380" y="3636"/>
                </a:lnTo>
                <a:close/>
                <a:moveTo>
                  <a:pt x="1611" y="3632"/>
                </a:moveTo>
                <a:lnTo>
                  <a:pt x="1605" y="3630"/>
                </a:lnTo>
                <a:lnTo>
                  <a:pt x="1596" y="3624"/>
                </a:lnTo>
                <a:lnTo>
                  <a:pt x="1579" y="3609"/>
                </a:lnTo>
                <a:lnTo>
                  <a:pt x="1560" y="3590"/>
                </a:lnTo>
                <a:lnTo>
                  <a:pt x="1541" y="3569"/>
                </a:lnTo>
                <a:lnTo>
                  <a:pt x="1535" y="3560"/>
                </a:lnTo>
                <a:lnTo>
                  <a:pt x="1530" y="3554"/>
                </a:lnTo>
                <a:lnTo>
                  <a:pt x="1524" y="3541"/>
                </a:lnTo>
                <a:lnTo>
                  <a:pt x="1522" y="3535"/>
                </a:lnTo>
                <a:lnTo>
                  <a:pt x="1522" y="3528"/>
                </a:lnTo>
                <a:lnTo>
                  <a:pt x="1522" y="3522"/>
                </a:lnTo>
                <a:lnTo>
                  <a:pt x="1524" y="3516"/>
                </a:lnTo>
                <a:lnTo>
                  <a:pt x="1528" y="3507"/>
                </a:lnTo>
                <a:lnTo>
                  <a:pt x="1533" y="3499"/>
                </a:lnTo>
                <a:lnTo>
                  <a:pt x="1545" y="3484"/>
                </a:lnTo>
                <a:lnTo>
                  <a:pt x="1564" y="3465"/>
                </a:lnTo>
                <a:lnTo>
                  <a:pt x="1605" y="3416"/>
                </a:lnTo>
                <a:lnTo>
                  <a:pt x="1611" y="3416"/>
                </a:lnTo>
                <a:lnTo>
                  <a:pt x="1617" y="3420"/>
                </a:lnTo>
                <a:lnTo>
                  <a:pt x="1624" y="3423"/>
                </a:lnTo>
                <a:lnTo>
                  <a:pt x="1628" y="3429"/>
                </a:lnTo>
                <a:lnTo>
                  <a:pt x="1628" y="3435"/>
                </a:lnTo>
                <a:lnTo>
                  <a:pt x="1626" y="3442"/>
                </a:lnTo>
                <a:lnTo>
                  <a:pt x="1626" y="3444"/>
                </a:lnTo>
                <a:lnTo>
                  <a:pt x="1624" y="3448"/>
                </a:lnTo>
                <a:lnTo>
                  <a:pt x="1594" y="3482"/>
                </a:lnTo>
                <a:lnTo>
                  <a:pt x="1575" y="3503"/>
                </a:lnTo>
                <a:lnTo>
                  <a:pt x="1562" y="3518"/>
                </a:lnTo>
                <a:lnTo>
                  <a:pt x="1560" y="3522"/>
                </a:lnTo>
                <a:lnTo>
                  <a:pt x="1558" y="3528"/>
                </a:lnTo>
                <a:lnTo>
                  <a:pt x="1560" y="3533"/>
                </a:lnTo>
                <a:lnTo>
                  <a:pt x="1562" y="3539"/>
                </a:lnTo>
                <a:lnTo>
                  <a:pt x="1573" y="3552"/>
                </a:lnTo>
                <a:lnTo>
                  <a:pt x="1590" y="3569"/>
                </a:lnTo>
                <a:lnTo>
                  <a:pt x="1609" y="3588"/>
                </a:lnTo>
                <a:lnTo>
                  <a:pt x="1628" y="3607"/>
                </a:lnTo>
                <a:lnTo>
                  <a:pt x="1630" y="3609"/>
                </a:lnTo>
                <a:lnTo>
                  <a:pt x="1632" y="3611"/>
                </a:lnTo>
                <a:lnTo>
                  <a:pt x="1630" y="3615"/>
                </a:lnTo>
                <a:lnTo>
                  <a:pt x="1630" y="3617"/>
                </a:lnTo>
                <a:lnTo>
                  <a:pt x="1624" y="3626"/>
                </a:lnTo>
                <a:lnTo>
                  <a:pt x="1617" y="3630"/>
                </a:lnTo>
                <a:lnTo>
                  <a:pt x="1613" y="3632"/>
                </a:lnTo>
                <a:lnTo>
                  <a:pt x="1611" y="3632"/>
                </a:lnTo>
                <a:close/>
                <a:moveTo>
                  <a:pt x="3613" y="2436"/>
                </a:moveTo>
                <a:lnTo>
                  <a:pt x="3603" y="2428"/>
                </a:lnTo>
                <a:lnTo>
                  <a:pt x="3594" y="2419"/>
                </a:lnTo>
                <a:lnTo>
                  <a:pt x="3588" y="2411"/>
                </a:lnTo>
                <a:lnTo>
                  <a:pt x="3582" y="2398"/>
                </a:lnTo>
                <a:lnTo>
                  <a:pt x="3579" y="2392"/>
                </a:lnTo>
                <a:lnTo>
                  <a:pt x="3577" y="2388"/>
                </a:lnTo>
                <a:lnTo>
                  <a:pt x="3573" y="2373"/>
                </a:lnTo>
                <a:lnTo>
                  <a:pt x="3571" y="2360"/>
                </a:lnTo>
                <a:lnTo>
                  <a:pt x="3569" y="2345"/>
                </a:lnTo>
                <a:lnTo>
                  <a:pt x="3571" y="2333"/>
                </a:lnTo>
                <a:lnTo>
                  <a:pt x="3573" y="2318"/>
                </a:lnTo>
                <a:lnTo>
                  <a:pt x="3577" y="2305"/>
                </a:lnTo>
                <a:lnTo>
                  <a:pt x="3582" y="2292"/>
                </a:lnTo>
                <a:lnTo>
                  <a:pt x="3588" y="2280"/>
                </a:lnTo>
                <a:lnTo>
                  <a:pt x="3594" y="2269"/>
                </a:lnTo>
                <a:lnTo>
                  <a:pt x="3603" y="2258"/>
                </a:lnTo>
                <a:lnTo>
                  <a:pt x="3613" y="2250"/>
                </a:lnTo>
                <a:lnTo>
                  <a:pt x="3613" y="2303"/>
                </a:lnTo>
                <a:lnTo>
                  <a:pt x="3609" y="2311"/>
                </a:lnTo>
                <a:lnTo>
                  <a:pt x="3607" y="2322"/>
                </a:lnTo>
                <a:lnTo>
                  <a:pt x="3605" y="2333"/>
                </a:lnTo>
                <a:lnTo>
                  <a:pt x="3603" y="2345"/>
                </a:lnTo>
                <a:lnTo>
                  <a:pt x="3605" y="2356"/>
                </a:lnTo>
                <a:lnTo>
                  <a:pt x="3607" y="2366"/>
                </a:lnTo>
                <a:lnTo>
                  <a:pt x="3609" y="2377"/>
                </a:lnTo>
                <a:lnTo>
                  <a:pt x="3613" y="2385"/>
                </a:lnTo>
                <a:lnTo>
                  <a:pt x="3613" y="2436"/>
                </a:lnTo>
                <a:close/>
                <a:moveTo>
                  <a:pt x="3613" y="3029"/>
                </a:moveTo>
                <a:lnTo>
                  <a:pt x="3603" y="3020"/>
                </a:lnTo>
                <a:lnTo>
                  <a:pt x="3594" y="3012"/>
                </a:lnTo>
                <a:lnTo>
                  <a:pt x="3588" y="3001"/>
                </a:lnTo>
                <a:lnTo>
                  <a:pt x="3582" y="2991"/>
                </a:lnTo>
                <a:lnTo>
                  <a:pt x="3579" y="2984"/>
                </a:lnTo>
                <a:lnTo>
                  <a:pt x="3577" y="2978"/>
                </a:lnTo>
                <a:lnTo>
                  <a:pt x="3573" y="2965"/>
                </a:lnTo>
                <a:lnTo>
                  <a:pt x="3571" y="2953"/>
                </a:lnTo>
                <a:lnTo>
                  <a:pt x="3569" y="2938"/>
                </a:lnTo>
                <a:lnTo>
                  <a:pt x="3571" y="2923"/>
                </a:lnTo>
                <a:lnTo>
                  <a:pt x="3573" y="2910"/>
                </a:lnTo>
                <a:lnTo>
                  <a:pt x="3577" y="2896"/>
                </a:lnTo>
                <a:lnTo>
                  <a:pt x="3582" y="2883"/>
                </a:lnTo>
                <a:lnTo>
                  <a:pt x="3588" y="2872"/>
                </a:lnTo>
                <a:lnTo>
                  <a:pt x="3594" y="2860"/>
                </a:lnTo>
                <a:lnTo>
                  <a:pt x="3603" y="2851"/>
                </a:lnTo>
                <a:lnTo>
                  <a:pt x="3613" y="2843"/>
                </a:lnTo>
                <a:lnTo>
                  <a:pt x="3613" y="2893"/>
                </a:lnTo>
                <a:lnTo>
                  <a:pt x="3609" y="2904"/>
                </a:lnTo>
                <a:lnTo>
                  <a:pt x="3607" y="2915"/>
                </a:lnTo>
                <a:lnTo>
                  <a:pt x="3605" y="2925"/>
                </a:lnTo>
                <a:lnTo>
                  <a:pt x="3603" y="2936"/>
                </a:lnTo>
                <a:lnTo>
                  <a:pt x="3605" y="2948"/>
                </a:lnTo>
                <a:lnTo>
                  <a:pt x="3607" y="2959"/>
                </a:lnTo>
                <a:lnTo>
                  <a:pt x="3609" y="2968"/>
                </a:lnTo>
                <a:lnTo>
                  <a:pt x="3613" y="2978"/>
                </a:lnTo>
                <a:lnTo>
                  <a:pt x="3613" y="302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164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Just Pattern" type="blank" preserve="1">
  <p:cSld name="slide_7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>
            <a:spLocks noEditPoints="1"/>
          </p:cNvSpPr>
          <p:nvPr userDrawn="1"/>
        </p:nvSpPr>
        <p:spPr bwMode="auto">
          <a:xfrm>
            <a:off x="0" y="-1588"/>
            <a:ext cx="12195175" cy="6859588"/>
          </a:xfrm>
          <a:custGeom>
            <a:avLst/>
            <a:gdLst>
              <a:gd name="T0" fmla="*/ 1139 w 7682"/>
              <a:gd name="T1" fmla="*/ 102 h 4321"/>
              <a:gd name="T2" fmla="*/ 2246 w 7682"/>
              <a:gd name="T3" fmla="*/ 906 h 4321"/>
              <a:gd name="T4" fmla="*/ 2408 w 7682"/>
              <a:gd name="T5" fmla="*/ 2009 h 4321"/>
              <a:gd name="T6" fmla="*/ 134 w 7682"/>
              <a:gd name="T7" fmla="*/ 773 h 4321"/>
              <a:gd name="T8" fmla="*/ 3787 w 7682"/>
              <a:gd name="T9" fmla="*/ 814 h 4321"/>
              <a:gd name="T10" fmla="*/ 4164 w 7682"/>
              <a:gd name="T11" fmla="*/ 2123 h 4321"/>
              <a:gd name="T12" fmla="*/ 2906 w 7682"/>
              <a:gd name="T13" fmla="*/ 809 h 4321"/>
              <a:gd name="T14" fmla="*/ 2920 w 7682"/>
              <a:gd name="T15" fmla="*/ 2018 h 4321"/>
              <a:gd name="T16" fmla="*/ 3379 w 7682"/>
              <a:gd name="T17" fmla="*/ 2726 h 4321"/>
              <a:gd name="T18" fmla="*/ 817 w 7682"/>
              <a:gd name="T19" fmla="*/ 1842 h 4321"/>
              <a:gd name="T20" fmla="*/ 861 w 7682"/>
              <a:gd name="T21" fmla="*/ 2906 h 4321"/>
              <a:gd name="T22" fmla="*/ 4862 w 7682"/>
              <a:gd name="T23" fmla="*/ 981 h 4321"/>
              <a:gd name="T24" fmla="*/ 4483 w 7682"/>
              <a:gd name="T25" fmla="*/ 2922 h 4321"/>
              <a:gd name="T26" fmla="*/ 1694 w 7682"/>
              <a:gd name="T27" fmla="*/ 798 h 4321"/>
              <a:gd name="T28" fmla="*/ 1380 w 7682"/>
              <a:gd name="T29" fmla="*/ 3064 h 4321"/>
              <a:gd name="T30" fmla="*/ 5331 w 7682"/>
              <a:gd name="T31" fmla="*/ 823 h 4321"/>
              <a:gd name="T32" fmla="*/ 5343 w 7682"/>
              <a:gd name="T33" fmla="*/ 2122 h 4321"/>
              <a:gd name="T34" fmla="*/ 2408 w 7682"/>
              <a:gd name="T35" fmla="*/ 354 h 4321"/>
              <a:gd name="T36" fmla="*/ 2442 w 7682"/>
              <a:gd name="T37" fmla="*/ 1489 h 4321"/>
              <a:gd name="T38" fmla="*/ 2792 w 7682"/>
              <a:gd name="T39" fmla="*/ 2398 h 4321"/>
              <a:gd name="T40" fmla="*/ 338 w 7682"/>
              <a:gd name="T41" fmla="*/ 1301 h 4321"/>
              <a:gd name="T42" fmla="*/ 360 w 7682"/>
              <a:gd name="T43" fmla="*/ 2503 h 4321"/>
              <a:gd name="T44" fmla="*/ 4381 w 7682"/>
              <a:gd name="T45" fmla="*/ 458 h 4321"/>
              <a:gd name="T46" fmla="*/ 4025 w 7682"/>
              <a:gd name="T47" fmla="*/ 2472 h 4321"/>
              <a:gd name="T48" fmla="*/ 3522 w 7682"/>
              <a:gd name="T49" fmla="*/ 282 h 4321"/>
              <a:gd name="T50" fmla="*/ 3265 w 7682"/>
              <a:gd name="T51" fmla="*/ 2621 h 4321"/>
              <a:gd name="T52" fmla="*/ 1067 w 7682"/>
              <a:gd name="T53" fmla="*/ 346 h 4321"/>
              <a:gd name="T54" fmla="*/ 1123 w 7682"/>
              <a:gd name="T55" fmla="*/ 1600 h 4321"/>
              <a:gd name="T56" fmla="*/ 4708 w 7682"/>
              <a:gd name="T57" fmla="*/ 396 h 4321"/>
              <a:gd name="T58" fmla="*/ 4755 w 7682"/>
              <a:gd name="T59" fmla="*/ 1438 h 4321"/>
              <a:gd name="T60" fmla="*/ 5093 w 7682"/>
              <a:gd name="T61" fmla="*/ 2430 h 4321"/>
              <a:gd name="T62" fmla="*/ 1832 w 7682"/>
              <a:gd name="T63" fmla="*/ 1275 h 4321"/>
              <a:gd name="T64" fmla="*/ 1839 w 7682"/>
              <a:gd name="T65" fmla="*/ 2543 h 4321"/>
              <a:gd name="T66" fmla="*/ 5915 w 7682"/>
              <a:gd name="T67" fmla="*/ 431 h 4321"/>
              <a:gd name="T68" fmla="*/ 5573 w 7682"/>
              <a:gd name="T69" fmla="*/ 2478 h 4321"/>
              <a:gd name="T70" fmla="*/ 2425 w 7682"/>
              <a:gd name="T71" fmla="*/ 3723 h 4321"/>
              <a:gd name="T72" fmla="*/ 365 w 7682"/>
              <a:gd name="T73" fmla="*/ 4038 h 4321"/>
              <a:gd name="T74" fmla="*/ 2936 w 7682"/>
              <a:gd name="T75" fmla="*/ 3898 h 4321"/>
              <a:gd name="T76" fmla="*/ 947 w 7682"/>
              <a:gd name="T77" fmla="*/ 3782 h 4321"/>
              <a:gd name="T78" fmla="*/ 1358 w 7682"/>
              <a:gd name="T79" fmla="*/ 4035 h 4321"/>
              <a:gd name="T80" fmla="*/ 5309 w 7682"/>
              <a:gd name="T81" fmla="*/ 3766 h 4321"/>
              <a:gd name="T82" fmla="*/ 2533 w 7682"/>
              <a:gd name="T83" fmla="*/ 3591 h 4321"/>
              <a:gd name="T84" fmla="*/ 636 w 7682"/>
              <a:gd name="T85" fmla="*/ 3585 h 4321"/>
              <a:gd name="T86" fmla="*/ 4458 w 7682"/>
              <a:gd name="T87" fmla="*/ 3581 h 4321"/>
              <a:gd name="T88" fmla="*/ 3667 w 7682"/>
              <a:gd name="T89" fmla="*/ 3572 h 4321"/>
              <a:gd name="T90" fmla="*/ 1357 w 7682"/>
              <a:gd name="T91" fmla="*/ 3546 h 4321"/>
              <a:gd name="T92" fmla="*/ 5153 w 7682"/>
              <a:gd name="T93" fmla="*/ 3513 h 4321"/>
              <a:gd name="T94" fmla="*/ 2040 w 7682"/>
              <a:gd name="T95" fmla="*/ 3479 h 4321"/>
              <a:gd name="T96" fmla="*/ 5854 w 7682"/>
              <a:gd name="T97" fmla="*/ 3458 h 4321"/>
              <a:gd name="T98" fmla="*/ 6007 w 7682"/>
              <a:gd name="T99" fmla="*/ 1110 h 4321"/>
              <a:gd name="T100" fmla="*/ 6125 w 7682"/>
              <a:gd name="T101" fmla="*/ 1819 h 4321"/>
              <a:gd name="T102" fmla="*/ 6915 w 7682"/>
              <a:gd name="T103" fmla="*/ 1126 h 4321"/>
              <a:gd name="T104" fmla="*/ 6727 w 7682"/>
              <a:gd name="T105" fmla="*/ 2817 h 4321"/>
              <a:gd name="T106" fmla="*/ 7550 w 7682"/>
              <a:gd name="T107" fmla="*/ 1056 h 4321"/>
              <a:gd name="T108" fmla="*/ 6445 w 7682"/>
              <a:gd name="T109" fmla="*/ 277 h 4321"/>
              <a:gd name="T110" fmla="*/ 6452 w 7682"/>
              <a:gd name="T111" fmla="*/ 1555 h 4321"/>
              <a:gd name="T112" fmla="*/ 6718 w 7682"/>
              <a:gd name="T113" fmla="*/ 2404 h 4321"/>
              <a:gd name="T114" fmla="*/ 7141 w 7682"/>
              <a:gd name="T115" fmla="*/ 1484 h 4321"/>
              <a:gd name="T116" fmla="*/ 7352 w 7682"/>
              <a:gd name="T117" fmla="*/ 2263 h 4321"/>
              <a:gd name="T118" fmla="*/ 6329 w 7682"/>
              <a:gd name="T119" fmla="*/ 2936 h 4321"/>
              <a:gd name="T120" fmla="*/ 6880 w 7682"/>
              <a:gd name="T121" fmla="*/ 3851 h 4321"/>
              <a:gd name="T122" fmla="*/ 6400 w 7682"/>
              <a:gd name="T123" fmla="*/ 3218 h 4321"/>
              <a:gd name="T124" fmla="*/ 7185 w 7682"/>
              <a:gd name="T125" fmla="*/ 3219 h 4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682" h="4321">
                <a:moveTo>
                  <a:pt x="2229" y="142"/>
                </a:moveTo>
                <a:lnTo>
                  <a:pt x="2216" y="141"/>
                </a:lnTo>
                <a:lnTo>
                  <a:pt x="2203" y="139"/>
                </a:lnTo>
                <a:lnTo>
                  <a:pt x="2189" y="136"/>
                </a:lnTo>
                <a:lnTo>
                  <a:pt x="2183" y="134"/>
                </a:lnTo>
                <a:lnTo>
                  <a:pt x="2177" y="131"/>
                </a:lnTo>
                <a:lnTo>
                  <a:pt x="2171" y="129"/>
                </a:lnTo>
                <a:lnTo>
                  <a:pt x="2165" y="126"/>
                </a:lnTo>
                <a:lnTo>
                  <a:pt x="2154" y="119"/>
                </a:lnTo>
                <a:lnTo>
                  <a:pt x="2143" y="111"/>
                </a:lnTo>
                <a:lnTo>
                  <a:pt x="2133" y="102"/>
                </a:lnTo>
                <a:lnTo>
                  <a:pt x="2128" y="97"/>
                </a:lnTo>
                <a:lnTo>
                  <a:pt x="2123" y="92"/>
                </a:lnTo>
                <a:lnTo>
                  <a:pt x="2114" y="81"/>
                </a:lnTo>
                <a:lnTo>
                  <a:pt x="2107" y="69"/>
                </a:lnTo>
                <a:lnTo>
                  <a:pt x="2100" y="57"/>
                </a:lnTo>
                <a:lnTo>
                  <a:pt x="2097" y="51"/>
                </a:lnTo>
                <a:lnTo>
                  <a:pt x="2094" y="44"/>
                </a:lnTo>
                <a:lnTo>
                  <a:pt x="2088" y="29"/>
                </a:lnTo>
                <a:lnTo>
                  <a:pt x="2084" y="15"/>
                </a:lnTo>
                <a:lnTo>
                  <a:pt x="2081" y="0"/>
                </a:lnTo>
                <a:lnTo>
                  <a:pt x="2139" y="0"/>
                </a:lnTo>
                <a:lnTo>
                  <a:pt x="2141" y="9"/>
                </a:lnTo>
                <a:lnTo>
                  <a:pt x="2144" y="17"/>
                </a:lnTo>
                <a:lnTo>
                  <a:pt x="2148" y="25"/>
                </a:lnTo>
                <a:lnTo>
                  <a:pt x="2151" y="34"/>
                </a:lnTo>
                <a:lnTo>
                  <a:pt x="2156" y="41"/>
                </a:lnTo>
                <a:lnTo>
                  <a:pt x="2161" y="48"/>
                </a:lnTo>
                <a:lnTo>
                  <a:pt x="2166" y="54"/>
                </a:lnTo>
                <a:lnTo>
                  <a:pt x="2171" y="59"/>
                </a:lnTo>
                <a:lnTo>
                  <a:pt x="2177" y="64"/>
                </a:lnTo>
                <a:lnTo>
                  <a:pt x="2184" y="69"/>
                </a:lnTo>
                <a:lnTo>
                  <a:pt x="2192" y="73"/>
                </a:lnTo>
                <a:lnTo>
                  <a:pt x="2199" y="76"/>
                </a:lnTo>
                <a:lnTo>
                  <a:pt x="2207" y="78"/>
                </a:lnTo>
                <a:lnTo>
                  <a:pt x="2215" y="80"/>
                </a:lnTo>
                <a:lnTo>
                  <a:pt x="2223" y="81"/>
                </a:lnTo>
                <a:lnTo>
                  <a:pt x="2231" y="81"/>
                </a:lnTo>
                <a:lnTo>
                  <a:pt x="2241" y="81"/>
                </a:lnTo>
                <a:lnTo>
                  <a:pt x="2249" y="80"/>
                </a:lnTo>
                <a:lnTo>
                  <a:pt x="2259" y="78"/>
                </a:lnTo>
                <a:lnTo>
                  <a:pt x="2268" y="75"/>
                </a:lnTo>
                <a:lnTo>
                  <a:pt x="2276" y="72"/>
                </a:lnTo>
                <a:lnTo>
                  <a:pt x="2284" y="68"/>
                </a:lnTo>
                <a:lnTo>
                  <a:pt x="2291" y="64"/>
                </a:lnTo>
                <a:lnTo>
                  <a:pt x="2299" y="59"/>
                </a:lnTo>
                <a:lnTo>
                  <a:pt x="2306" y="53"/>
                </a:lnTo>
                <a:lnTo>
                  <a:pt x="2314" y="47"/>
                </a:lnTo>
                <a:lnTo>
                  <a:pt x="2321" y="41"/>
                </a:lnTo>
                <a:lnTo>
                  <a:pt x="2327" y="33"/>
                </a:lnTo>
                <a:lnTo>
                  <a:pt x="2334" y="25"/>
                </a:lnTo>
                <a:lnTo>
                  <a:pt x="2340" y="17"/>
                </a:lnTo>
                <a:lnTo>
                  <a:pt x="2345" y="9"/>
                </a:lnTo>
                <a:lnTo>
                  <a:pt x="2351" y="0"/>
                </a:lnTo>
                <a:lnTo>
                  <a:pt x="2419" y="0"/>
                </a:lnTo>
                <a:lnTo>
                  <a:pt x="2411" y="15"/>
                </a:lnTo>
                <a:lnTo>
                  <a:pt x="2403" y="30"/>
                </a:lnTo>
                <a:lnTo>
                  <a:pt x="2399" y="38"/>
                </a:lnTo>
                <a:lnTo>
                  <a:pt x="2394" y="45"/>
                </a:lnTo>
                <a:lnTo>
                  <a:pt x="2385" y="58"/>
                </a:lnTo>
                <a:lnTo>
                  <a:pt x="2375" y="70"/>
                </a:lnTo>
                <a:lnTo>
                  <a:pt x="2363" y="82"/>
                </a:lnTo>
                <a:lnTo>
                  <a:pt x="2357" y="87"/>
                </a:lnTo>
                <a:lnTo>
                  <a:pt x="2352" y="93"/>
                </a:lnTo>
                <a:lnTo>
                  <a:pt x="2340" y="103"/>
                </a:lnTo>
                <a:lnTo>
                  <a:pt x="2328" y="112"/>
                </a:lnTo>
                <a:lnTo>
                  <a:pt x="2316" y="119"/>
                </a:lnTo>
                <a:lnTo>
                  <a:pt x="2302" y="126"/>
                </a:lnTo>
                <a:lnTo>
                  <a:pt x="2295" y="129"/>
                </a:lnTo>
                <a:lnTo>
                  <a:pt x="2288" y="132"/>
                </a:lnTo>
                <a:lnTo>
                  <a:pt x="2274" y="136"/>
                </a:lnTo>
                <a:lnTo>
                  <a:pt x="2260" y="139"/>
                </a:lnTo>
                <a:lnTo>
                  <a:pt x="2244" y="141"/>
                </a:lnTo>
                <a:lnTo>
                  <a:pt x="2229" y="142"/>
                </a:lnTo>
                <a:close/>
                <a:moveTo>
                  <a:pt x="2481" y="4"/>
                </a:moveTo>
                <a:lnTo>
                  <a:pt x="2479" y="0"/>
                </a:lnTo>
                <a:lnTo>
                  <a:pt x="2556" y="0"/>
                </a:lnTo>
                <a:lnTo>
                  <a:pt x="2576" y="21"/>
                </a:lnTo>
                <a:lnTo>
                  <a:pt x="2599" y="46"/>
                </a:lnTo>
                <a:lnTo>
                  <a:pt x="2624" y="70"/>
                </a:lnTo>
                <a:lnTo>
                  <a:pt x="2647" y="93"/>
                </a:lnTo>
                <a:lnTo>
                  <a:pt x="2649" y="95"/>
                </a:lnTo>
                <a:lnTo>
                  <a:pt x="2650" y="97"/>
                </a:lnTo>
                <a:lnTo>
                  <a:pt x="2651" y="100"/>
                </a:lnTo>
                <a:lnTo>
                  <a:pt x="2652" y="102"/>
                </a:lnTo>
                <a:lnTo>
                  <a:pt x="2651" y="108"/>
                </a:lnTo>
                <a:lnTo>
                  <a:pt x="2650" y="111"/>
                </a:lnTo>
                <a:lnTo>
                  <a:pt x="2648" y="113"/>
                </a:lnTo>
                <a:lnTo>
                  <a:pt x="2645" y="119"/>
                </a:lnTo>
                <a:lnTo>
                  <a:pt x="2643" y="122"/>
                </a:lnTo>
                <a:lnTo>
                  <a:pt x="2640" y="124"/>
                </a:lnTo>
                <a:lnTo>
                  <a:pt x="2635" y="129"/>
                </a:lnTo>
                <a:lnTo>
                  <a:pt x="2632" y="131"/>
                </a:lnTo>
                <a:lnTo>
                  <a:pt x="2629" y="133"/>
                </a:lnTo>
                <a:lnTo>
                  <a:pt x="2623" y="135"/>
                </a:lnTo>
                <a:lnTo>
                  <a:pt x="2620" y="136"/>
                </a:lnTo>
                <a:lnTo>
                  <a:pt x="2617" y="136"/>
                </a:lnTo>
                <a:lnTo>
                  <a:pt x="2615" y="136"/>
                </a:lnTo>
                <a:lnTo>
                  <a:pt x="2613" y="135"/>
                </a:lnTo>
                <a:lnTo>
                  <a:pt x="2607" y="132"/>
                </a:lnTo>
                <a:lnTo>
                  <a:pt x="2600" y="128"/>
                </a:lnTo>
                <a:lnTo>
                  <a:pt x="2593" y="123"/>
                </a:lnTo>
                <a:lnTo>
                  <a:pt x="2580" y="112"/>
                </a:lnTo>
                <a:lnTo>
                  <a:pt x="2565" y="98"/>
                </a:lnTo>
                <a:lnTo>
                  <a:pt x="2548" y="81"/>
                </a:lnTo>
                <a:lnTo>
                  <a:pt x="2532" y="64"/>
                </a:lnTo>
                <a:lnTo>
                  <a:pt x="2516" y="47"/>
                </a:lnTo>
                <a:lnTo>
                  <a:pt x="2501" y="30"/>
                </a:lnTo>
                <a:lnTo>
                  <a:pt x="2489" y="15"/>
                </a:lnTo>
                <a:lnTo>
                  <a:pt x="2485" y="9"/>
                </a:lnTo>
                <a:lnTo>
                  <a:pt x="2481" y="4"/>
                </a:lnTo>
                <a:close/>
                <a:moveTo>
                  <a:pt x="0" y="69"/>
                </a:moveTo>
                <a:lnTo>
                  <a:pt x="5" y="66"/>
                </a:lnTo>
                <a:lnTo>
                  <a:pt x="10" y="63"/>
                </a:lnTo>
                <a:lnTo>
                  <a:pt x="19" y="57"/>
                </a:lnTo>
                <a:lnTo>
                  <a:pt x="28" y="49"/>
                </a:lnTo>
                <a:lnTo>
                  <a:pt x="34" y="45"/>
                </a:lnTo>
                <a:lnTo>
                  <a:pt x="38" y="41"/>
                </a:lnTo>
                <a:lnTo>
                  <a:pt x="46" y="32"/>
                </a:lnTo>
                <a:lnTo>
                  <a:pt x="50" y="26"/>
                </a:lnTo>
                <a:lnTo>
                  <a:pt x="54" y="21"/>
                </a:lnTo>
                <a:lnTo>
                  <a:pt x="61" y="11"/>
                </a:lnTo>
                <a:lnTo>
                  <a:pt x="68" y="0"/>
                </a:lnTo>
                <a:lnTo>
                  <a:pt x="137" y="0"/>
                </a:lnTo>
                <a:lnTo>
                  <a:pt x="131" y="12"/>
                </a:lnTo>
                <a:lnTo>
                  <a:pt x="124" y="23"/>
                </a:lnTo>
                <a:lnTo>
                  <a:pt x="118" y="36"/>
                </a:lnTo>
                <a:lnTo>
                  <a:pt x="111" y="46"/>
                </a:lnTo>
                <a:lnTo>
                  <a:pt x="103" y="56"/>
                </a:lnTo>
                <a:lnTo>
                  <a:pt x="96" y="66"/>
                </a:lnTo>
                <a:lnTo>
                  <a:pt x="87" y="75"/>
                </a:lnTo>
                <a:lnTo>
                  <a:pt x="78" y="84"/>
                </a:lnTo>
                <a:lnTo>
                  <a:pt x="70" y="93"/>
                </a:lnTo>
                <a:lnTo>
                  <a:pt x="61" y="101"/>
                </a:lnTo>
                <a:lnTo>
                  <a:pt x="51" y="108"/>
                </a:lnTo>
                <a:lnTo>
                  <a:pt x="42" y="114"/>
                </a:lnTo>
                <a:lnTo>
                  <a:pt x="32" y="120"/>
                </a:lnTo>
                <a:lnTo>
                  <a:pt x="21" y="125"/>
                </a:lnTo>
                <a:lnTo>
                  <a:pt x="11" y="130"/>
                </a:lnTo>
                <a:lnTo>
                  <a:pt x="0" y="133"/>
                </a:lnTo>
                <a:lnTo>
                  <a:pt x="0" y="69"/>
                </a:lnTo>
                <a:close/>
                <a:moveTo>
                  <a:pt x="199" y="4"/>
                </a:moveTo>
                <a:lnTo>
                  <a:pt x="197" y="0"/>
                </a:lnTo>
                <a:lnTo>
                  <a:pt x="274" y="0"/>
                </a:lnTo>
                <a:lnTo>
                  <a:pt x="294" y="21"/>
                </a:lnTo>
                <a:lnTo>
                  <a:pt x="317" y="46"/>
                </a:lnTo>
                <a:lnTo>
                  <a:pt x="342" y="70"/>
                </a:lnTo>
                <a:lnTo>
                  <a:pt x="365" y="93"/>
                </a:lnTo>
                <a:lnTo>
                  <a:pt x="367" y="95"/>
                </a:lnTo>
                <a:lnTo>
                  <a:pt x="368" y="97"/>
                </a:lnTo>
                <a:lnTo>
                  <a:pt x="369" y="100"/>
                </a:lnTo>
                <a:lnTo>
                  <a:pt x="369" y="102"/>
                </a:lnTo>
                <a:lnTo>
                  <a:pt x="368" y="108"/>
                </a:lnTo>
                <a:lnTo>
                  <a:pt x="367" y="111"/>
                </a:lnTo>
                <a:lnTo>
                  <a:pt x="366" y="113"/>
                </a:lnTo>
                <a:lnTo>
                  <a:pt x="362" y="119"/>
                </a:lnTo>
                <a:lnTo>
                  <a:pt x="360" y="122"/>
                </a:lnTo>
                <a:lnTo>
                  <a:pt x="358" y="124"/>
                </a:lnTo>
                <a:lnTo>
                  <a:pt x="352" y="129"/>
                </a:lnTo>
                <a:lnTo>
                  <a:pt x="350" y="131"/>
                </a:lnTo>
                <a:lnTo>
                  <a:pt x="347" y="133"/>
                </a:lnTo>
                <a:lnTo>
                  <a:pt x="341" y="135"/>
                </a:lnTo>
                <a:lnTo>
                  <a:pt x="338" y="136"/>
                </a:lnTo>
                <a:lnTo>
                  <a:pt x="335" y="136"/>
                </a:lnTo>
                <a:lnTo>
                  <a:pt x="333" y="136"/>
                </a:lnTo>
                <a:lnTo>
                  <a:pt x="331" y="135"/>
                </a:lnTo>
                <a:lnTo>
                  <a:pt x="324" y="132"/>
                </a:lnTo>
                <a:lnTo>
                  <a:pt x="318" y="128"/>
                </a:lnTo>
                <a:lnTo>
                  <a:pt x="311" y="123"/>
                </a:lnTo>
                <a:lnTo>
                  <a:pt x="298" y="112"/>
                </a:lnTo>
                <a:lnTo>
                  <a:pt x="283" y="98"/>
                </a:lnTo>
                <a:lnTo>
                  <a:pt x="266" y="81"/>
                </a:lnTo>
                <a:lnTo>
                  <a:pt x="249" y="64"/>
                </a:lnTo>
                <a:lnTo>
                  <a:pt x="233" y="47"/>
                </a:lnTo>
                <a:lnTo>
                  <a:pt x="219" y="30"/>
                </a:lnTo>
                <a:lnTo>
                  <a:pt x="207" y="15"/>
                </a:lnTo>
                <a:lnTo>
                  <a:pt x="202" y="9"/>
                </a:lnTo>
                <a:lnTo>
                  <a:pt x="199" y="4"/>
                </a:lnTo>
                <a:close/>
                <a:moveTo>
                  <a:pt x="3777" y="142"/>
                </a:moveTo>
                <a:lnTo>
                  <a:pt x="3764" y="141"/>
                </a:lnTo>
                <a:lnTo>
                  <a:pt x="3749" y="139"/>
                </a:lnTo>
                <a:lnTo>
                  <a:pt x="3737" y="136"/>
                </a:lnTo>
                <a:lnTo>
                  <a:pt x="3731" y="134"/>
                </a:lnTo>
                <a:lnTo>
                  <a:pt x="3725" y="131"/>
                </a:lnTo>
                <a:lnTo>
                  <a:pt x="3719" y="129"/>
                </a:lnTo>
                <a:lnTo>
                  <a:pt x="3713" y="126"/>
                </a:lnTo>
                <a:lnTo>
                  <a:pt x="3702" y="119"/>
                </a:lnTo>
                <a:lnTo>
                  <a:pt x="3691" y="111"/>
                </a:lnTo>
                <a:lnTo>
                  <a:pt x="3680" y="102"/>
                </a:lnTo>
                <a:lnTo>
                  <a:pt x="3675" y="97"/>
                </a:lnTo>
                <a:lnTo>
                  <a:pt x="3671" y="92"/>
                </a:lnTo>
                <a:lnTo>
                  <a:pt x="3662" y="81"/>
                </a:lnTo>
                <a:lnTo>
                  <a:pt x="3654" y="69"/>
                </a:lnTo>
                <a:lnTo>
                  <a:pt x="3647" y="57"/>
                </a:lnTo>
                <a:lnTo>
                  <a:pt x="3644" y="51"/>
                </a:lnTo>
                <a:lnTo>
                  <a:pt x="3641" y="44"/>
                </a:lnTo>
                <a:lnTo>
                  <a:pt x="3636" y="29"/>
                </a:lnTo>
                <a:lnTo>
                  <a:pt x="3632" y="15"/>
                </a:lnTo>
                <a:lnTo>
                  <a:pt x="3627" y="0"/>
                </a:lnTo>
                <a:lnTo>
                  <a:pt x="3685" y="0"/>
                </a:lnTo>
                <a:lnTo>
                  <a:pt x="3688" y="9"/>
                </a:lnTo>
                <a:lnTo>
                  <a:pt x="3692" y="17"/>
                </a:lnTo>
                <a:lnTo>
                  <a:pt x="3695" y="25"/>
                </a:lnTo>
                <a:lnTo>
                  <a:pt x="3699" y="34"/>
                </a:lnTo>
                <a:lnTo>
                  <a:pt x="3703" y="41"/>
                </a:lnTo>
                <a:lnTo>
                  <a:pt x="3708" y="48"/>
                </a:lnTo>
                <a:lnTo>
                  <a:pt x="3713" y="54"/>
                </a:lnTo>
                <a:lnTo>
                  <a:pt x="3719" y="59"/>
                </a:lnTo>
                <a:lnTo>
                  <a:pt x="3725" y="64"/>
                </a:lnTo>
                <a:lnTo>
                  <a:pt x="3731" y="69"/>
                </a:lnTo>
                <a:lnTo>
                  <a:pt x="3738" y="73"/>
                </a:lnTo>
                <a:lnTo>
                  <a:pt x="3745" y="76"/>
                </a:lnTo>
                <a:lnTo>
                  <a:pt x="3754" y="78"/>
                </a:lnTo>
                <a:lnTo>
                  <a:pt x="3762" y="80"/>
                </a:lnTo>
                <a:lnTo>
                  <a:pt x="3770" y="81"/>
                </a:lnTo>
                <a:lnTo>
                  <a:pt x="3779" y="81"/>
                </a:lnTo>
                <a:lnTo>
                  <a:pt x="3788" y="81"/>
                </a:lnTo>
                <a:lnTo>
                  <a:pt x="3797" y="80"/>
                </a:lnTo>
                <a:lnTo>
                  <a:pt x="3806" y="78"/>
                </a:lnTo>
                <a:lnTo>
                  <a:pt x="3815" y="75"/>
                </a:lnTo>
                <a:lnTo>
                  <a:pt x="3823" y="72"/>
                </a:lnTo>
                <a:lnTo>
                  <a:pt x="3831" y="68"/>
                </a:lnTo>
                <a:lnTo>
                  <a:pt x="3839" y="64"/>
                </a:lnTo>
                <a:lnTo>
                  <a:pt x="3846" y="59"/>
                </a:lnTo>
                <a:lnTo>
                  <a:pt x="3854" y="53"/>
                </a:lnTo>
                <a:lnTo>
                  <a:pt x="3861" y="47"/>
                </a:lnTo>
                <a:lnTo>
                  <a:pt x="3867" y="41"/>
                </a:lnTo>
                <a:lnTo>
                  <a:pt x="3875" y="33"/>
                </a:lnTo>
                <a:lnTo>
                  <a:pt x="3881" y="25"/>
                </a:lnTo>
                <a:lnTo>
                  <a:pt x="3887" y="17"/>
                </a:lnTo>
                <a:lnTo>
                  <a:pt x="3893" y="9"/>
                </a:lnTo>
                <a:lnTo>
                  <a:pt x="3898" y="0"/>
                </a:lnTo>
                <a:lnTo>
                  <a:pt x="3966" y="0"/>
                </a:lnTo>
                <a:lnTo>
                  <a:pt x="3959" y="15"/>
                </a:lnTo>
                <a:lnTo>
                  <a:pt x="3950" y="30"/>
                </a:lnTo>
                <a:lnTo>
                  <a:pt x="3946" y="38"/>
                </a:lnTo>
                <a:lnTo>
                  <a:pt x="3942" y="45"/>
                </a:lnTo>
                <a:lnTo>
                  <a:pt x="3932" y="58"/>
                </a:lnTo>
                <a:lnTo>
                  <a:pt x="3921" y="70"/>
                </a:lnTo>
                <a:lnTo>
                  <a:pt x="3910" y="82"/>
                </a:lnTo>
                <a:lnTo>
                  <a:pt x="3905" y="87"/>
                </a:lnTo>
                <a:lnTo>
                  <a:pt x="3899" y="93"/>
                </a:lnTo>
                <a:lnTo>
                  <a:pt x="3888" y="103"/>
                </a:lnTo>
                <a:lnTo>
                  <a:pt x="3876" y="112"/>
                </a:lnTo>
                <a:lnTo>
                  <a:pt x="3862" y="119"/>
                </a:lnTo>
                <a:lnTo>
                  <a:pt x="3849" y="126"/>
                </a:lnTo>
                <a:lnTo>
                  <a:pt x="3842" y="129"/>
                </a:lnTo>
                <a:lnTo>
                  <a:pt x="3836" y="132"/>
                </a:lnTo>
                <a:lnTo>
                  <a:pt x="3822" y="136"/>
                </a:lnTo>
                <a:lnTo>
                  <a:pt x="3807" y="139"/>
                </a:lnTo>
                <a:lnTo>
                  <a:pt x="3792" y="141"/>
                </a:lnTo>
                <a:lnTo>
                  <a:pt x="3777" y="142"/>
                </a:lnTo>
                <a:close/>
                <a:moveTo>
                  <a:pt x="4029" y="4"/>
                </a:moveTo>
                <a:lnTo>
                  <a:pt x="4027" y="0"/>
                </a:lnTo>
                <a:lnTo>
                  <a:pt x="4103" y="0"/>
                </a:lnTo>
                <a:lnTo>
                  <a:pt x="4124" y="21"/>
                </a:lnTo>
                <a:lnTo>
                  <a:pt x="4147" y="46"/>
                </a:lnTo>
                <a:lnTo>
                  <a:pt x="4172" y="70"/>
                </a:lnTo>
                <a:lnTo>
                  <a:pt x="4195" y="93"/>
                </a:lnTo>
                <a:lnTo>
                  <a:pt x="4196" y="95"/>
                </a:lnTo>
                <a:lnTo>
                  <a:pt x="4198" y="97"/>
                </a:lnTo>
                <a:lnTo>
                  <a:pt x="4199" y="100"/>
                </a:lnTo>
                <a:lnTo>
                  <a:pt x="4199" y="102"/>
                </a:lnTo>
                <a:lnTo>
                  <a:pt x="4198" y="108"/>
                </a:lnTo>
                <a:lnTo>
                  <a:pt x="4197" y="111"/>
                </a:lnTo>
                <a:lnTo>
                  <a:pt x="4196" y="113"/>
                </a:lnTo>
                <a:lnTo>
                  <a:pt x="4192" y="119"/>
                </a:lnTo>
                <a:lnTo>
                  <a:pt x="4190" y="122"/>
                </a:lnTo>
                <a:lnTo>
                  <a:pt x="4188" y="124"/>
                </a:lnTo>
                <a:lnTo>
                  <a:pt x="4182" y="129"/>
                </a:lnTo>
                <a:lnTo>
                  <a:pt x="4179" y="131"/>
                </a:lnTo>
                <a:lnTo>
                  <a:pt x="4177" y="133"/>
                </a:lnTo>
                <a:lnTo>
                  <a:pt x="4171" y="135"/>
                </a:lnTo>
                <a:lnTo>
                  <a:pt x="4167" y="136"/>
                </a:lnTo>
                <a:lnTo>
                  <a:pt x="4164" y="136"/>
                </a:lnTo>
                <a:lnTo>
                  <a:pt x="4162" y="136"/>
                </a:lnTo>
                <a:lnTo>
                  <a:pt x="4160" y="135"/>
                </a:lnTo>
                <a:lnTo>
                  <a:pt x="4154" y="132"/>
                </a:lnTo>
                <a:lnTo>
                  <a:pt x="4148" y="128"/>
                </a:lnTo>
                <a:lnTo>
                  <a:pt x="4141" y="123"/>
                </a:lnTo>
                <a:lnTo>
                  <a:pt x="4128" y="112"/>
                </a:lnTo>
                <a:lnTo>
                  <a:pt x="4113" y="98"/>
                </a:lnTo>
                <a:lnTo>
                  <a:pt x="4096" y="81"/>
                </a:lnTo>
                <a:lnTo>
                  <a:pt x="4079" y="64"/>
                </a:lnTo>
                <a:lnTo>
                  <a:pt x="4063" y="47"/>
                </a:lnTo>
                <a:lnTo>
                  <a:pt x="4048" y="30"/>
                </a:lnTo>
                <a:lnTo>
                  <a:pt x="4036" y="15"/>
                </a:lnTo>
                <a:lnTo>
                  <a:pt x="4032" y="9"/>
                </a:lnTo>
                <a:lnTo>
                  <a:pt x="4029" y="4"/>
                </a:lnTo>
                <a:close/>
                <a:moveTo>
                  <a:pt x="3000" y="142"/>
                </a:moveTo>
                <a:lnTo>
                  <a:pt x="2986" y="141"/>
                </a:lnTo>
                <a:lnTo>
                  <a:pt x="2973" y="139"/>
                </a:lnTo>
                <a:lnTo>
                  <a:pt x="2960" y="136"/>
                </a:lnTo>
                <a:lnTo>
                  <a:pt x="2953" y="134"/>
                </a:lnTo>
                <a:lnTo>
                  <a:pt x="2947" y="131"/>
                </a:lnTo>
                <a:lnTo>
                  <a:pt x="2941" y="129"/>
                </a:lnTo>
                <a:lnTo>
                  <a:pt x="2936" y="126"/>
                </a:lnTo>
                <a:lnTo>
                  <a:pt x="2924" y="119"/>
                </a:lnTo>
                <a:lnTo>
                  <a:pt x="2914" y="111"/>
                </a:lnTo>
                <a:lnTo>
                  <a:pt x="2903" y="102"/>
                </a:lnTo>
                <a:lnTo>
                  <a:pt x="2898" y="97"/>
                </a:lnTo>
                <a:lnTo>
                  <a:pt x="2893" y="92"/>
                </a:lnTo>
                <a:lnTo>
                  <a:pt x="2885" y="81"/>
                </a:lnTo>
                <a:lnTo>
                  <a:pt x="2877" y="69"/>
                </a:lnTo>
                <a:lnTo>
                  <a:pt x="2870" y="57"/>
                </a:lnTo>
                <a:lnTo>
                  <a:pt x="2867" y="51"/>
                </a:lnTo>
                <a:lnTo>
                  <a:pt x="2864" y="44"/>
                </a:lnTo>
                <a:lnTo>
                  <a:pt x="2859" y="29"/>
                </a:lnTo>
                <a:lnTo>
                  <a:pt x="2854" y="15"/>
                </a:lnTo>
                <a:lnTo>
                  <a:pt x="2851" y="0"/>
                </a:lnTo>
                <a:lnTo>
                  <a:pt x="2908" y="0"/>
                </a:lnTo>
                <a:lnTo>
                  <a:pt x="2911" y="9"/>
                </a:lnTo>
                <a:lnTo>
                  <a:pt x="2914" y="17"/>
                </a:lnTo>
                <a:lnTo>
                  <a:pt x="2918" y="25"/>
                </a:lnTo>
                <a:lnTo>
                  <a:pt x="2922" y="34"/>
                </a:lnTo>
                <a:lnTo>
                  <a:pt x="2926" y="41"/>
                </a:lnTo>
                <a:lnTo>
                  <a:pt x="2931" y="48"/>
                </a:lnTo>
                <a:lnTo>
                  <a:pt x="2936" y="54"/>
                </a:lnTo>
                <a:lnTo>
                  <a:pt x="2942" y="59"/>
                </a:lnTo>
                <a:lnTo>
                  <a:pt x="2948" y="64"/>
                </a:lnTo>
                <a:lnTo>
                  <a:pt x="2954" y="69"/>
                </a:lnTo>
                <a:lnTo>
                  <a:pt x="2961" y="73"/>
                </a:lnTo>
                <a:lnTo>
                  <a:pt x="2968" y="76"/>
                </a:lnTo>
                <a:lnTo>
                  <a:pt x="2977" y="78"/>
                </a:lnTo>
                <a:lnTo>
                  <a:pt x="2985" y="80"/>
                </a:lnTo>
                <a:lnTo>
                  <a:pt x="2993" y="81"/>
                </a:lnTo>
                <a:lnTo>
                  <a:pt x="3002" y="81"/>
                </a:lnTo>
                <a:lnTo>
                  <a:pt x="3011" y="81"/>
                </a:lnTo>
                <a:lnTo>
                  <a:pt x="3020" y="80"/>
                </a:lnTo>
                <a:lnTo>
                  <a:pt x="3028" y="78"/>
                </a:lnTo>
                <a:lnTo>
                  <a:pt x="3038" y="75"/>
                </a:lnTo>
                <a:lnTo>
                  <a:pt x="3046" y="72"/>
                </a:lnTo>
                <a:lnTo>
                  <a:pt x="3054" y="68"/>
                </a:lnTo>
                <a:lnTo>
                  <a:pt x="3062" y="64"/>
                </a:lnTo>
                <a:lnTo>
                  <a:pt x="3069" y="59"/>
                </a:lnTo>
                <a:lnTo>
                  <a:pt x="3076" y="53"/>
                </a:lnTo>
                <a:lnTo>
                  <a:pt x="3083" y="47"/>
                </a:lnTo>
                <a:lnTo>
                  <a:pt x="3091" y="41"/>
                </a:lnTo>
                <a:lnTo>
                  <a:pt x="3098" y="33"/>
                </a:lnTo>
                <a:lnTo>
                  <a:pt x="3104" y="25"/>
                </a:lnTo>
                <a:lnTo>
                  <a:pt x="3110" y="17"/>
                </a:lnTo>
                <a:lnTo>
                  <a:pt x="3115" y="9"/>
                </a:lnTo>
                <a:lnTo>
                  <a:pt x="3121" y="0"/>
                </a:lnTo>
                <a:lnTo>
                  <a:pt x="3189" y="0"/>
                </a:lnTo>
                <a:lnTo>
                  <a:pt x="3182" y="15"/>
                </a:lnTo>
                <a:lnTo>
                  <a:pt x="3173" y="30"/>
                </a:lnTo>
                <a:lnTo>
                  <a:pt x="3169" y="38"/>
                </a:lnTo>
                <a:lnTo>
                  <a:pt x="3164" y="45"/>
                </a:lnTo>
                <a:lnTo>
                  <a:pt x="3155" y="58"/>
                </a:lnTo>
                <a:lnTo>
                  <a:pt x="3144" y="70"/>
                </a:lnTo>
                <a:lnTo>
                  <a:pt x="3133" y="82"/>
                </a:lnTo>
                <a:lnTo>
                  <a:pt x="3128" y="87"/>
                </a:lnTo>
                <a:lnTo>
                  <a:pt x="3122" y="93"/>
                </a:lnTo>
                <a:lnTo>
                  <a:pt x="3110" y="103"/>
                </a:lnTo>
                <a:lnTo>
                  <a:pt x="3098" y="112"/>
                </a:lnTo>
                <a:lnTo>
                  <a:pt x="3085" y="119"/>
                </a:lnTo>
                <a:lnTo>
                  <a:pt x="3072" y="126"/>
                </a:lnTo>
                <a:lnTo>
                  <a:pt x="3065" y="129"/>
                </a:lnTo>
                <a:lnTo>
                  <a:pt x="3058" y="132"/>
                </a:lnTo>
                <a:lnTo>
                  <a:pt x="3045" y="136"/>
                </a:lnTo>
                <a:lnTo>
                  <a:pt x="3029" y="139"/>
                </a:lnTo>
                <a:lnTo>
                  <a:pt x="3015" y="141"/>
                </a:lnTo>
                <a:lnTo>
                  <a:pt x="3000" y="142"/>
                </a:lnTo>
                <a:close/>
                <a:moveTo>
                  <a:pt x="3252" y="4"/>
                </a:moveTo>
                <a:lnTo>
                  <a:pt x="3250" y="0"/>
                </a:lnTo>
                <a:lnTo>
                  <a:pt x="3325" y="0"/>
                </a:lnTo>
                <a:lnTo>
                  <a:pt x="3346" y="21"/>
                </a:lnTo>
                <a:lnTo>
                  <a:pt x="3370" y="46"/>
                </a:lnTo>
                <a:lnTo>
                  <a:pt x="3395" y="70"/>
                </a:lnTo>
                <a:lnTo>
                  <a:pt x="3417" y="93"/>
                </a:lnTo>
                <a:lnTo>
                  <a:pt x="3419" y="95"/>
                </a:lnTo>
                <a:lnTo>
                  <a:pt x="3421" y="97"/>
                </a:lnTo>
                <a:lnTo>
                  <a:pt x="3422" y="100"/>
                </a:lnTo>
                <a:lnTo>
                  <a:pt x="3422" y="102"/>
                </a:lnTo>
                <a:lnTo>
                  <a:pt x="3421" y="108"/>
                </a:lnTo>
                <a:lnTo>
                  <a:pt x="3420" y="111"/>
                </a:lnTo>
                <a:lnTo>
                  <a:pt x="3419" y="113"/>
                </a:lnTo>
                <a:lnTo>
                  <a:pt x="3415" y="119"/>
                </a:lnTo>
                <a:lnTo>
                  <a:pt x="3413" y="122"/>
                </a:lnTo>
                <a:lnTo>
                  <a:pt x="3410" y="124"/>
                </a:lnTo>
                <a:lnTo>
                  <a:pt x="3405" y="129"/>
                </a:lnTo>
                <a:lnTo>
                  <a:pt x="3402" y="131"/>
                </a:lnTo>
                <a:lnTo>
                  <a:pt x="3399" y="133"/>
                </a:lnTo>
                <a:lnTo>
                  <a:pt x="3393" y="135"/>
                </a:lnTo>
                <a:lnTo>
                  <a:pt x="3389" y="136"/>
                </a:lnTo>
                <a:lnTo>
                  <a:pt x="3386" y="136"/>
                </a:lnTo>
                <a:lnTo>
                  <a:pt x="3385" y="136"/>
                </a:lnTo>
                <a:lnTo>
                  <a:pt x="3382" y="135"/>
                </a:lnTo>
                <a:lnTo>
                  <a:pt x="3377" y="132"/>
                </a:lnTo>
                <a:lnTo>
                  <a:pt x="3371" y="128"/>
                </a:lnTo>
                <a:lnTo>
                  <a:pt x="3363" y="123"/>
                </a:lnTo>
                <a:lnTo>
                  <a:pt x="3351" y="112"/>
                </a:lnTo>
                <a:lnTo>
                  <a:pt x="3336" y="98"/>
                </a:lnTo>
                <a:lnTo>
                  <a:pt x="3318" y="81"/>
                </a:lnTo>
                <a:lnTo>
                  <a:pt x="3302" y="64"/>
                </a:lnTo>
                <a:lnTo>
                  <a:pt x="3286" y="47"/>
                </a:lnTo>
                <a:lnTo>
                  <a:pt x="3272" y="30"/>
                </a:lnTo>
                <a:lnTo>
                  <a:pt x="3259" y="15"/>
                </a:lnTo>
                <a:lnTo>
                  <a:pt x="3255" y="9"/>
                </a:lnTo>
                <a:lnTo>
                  <a:pt x="3252" y="4"/>
                </a:lnTo>
                <a:close/>
                <a:moveTo>
                  <a:pt x="717" y="142"/>
                </a:moveTo>
                <a:lnTo>
                  <a:pt x="704" y="141"/>
                </a:lnTo>
                <a:lnTo>
                  <a:pt x="691" y="139"/>
                </a:lnTo>
                <a:lnTo>
                  <a:pt x="677" y="136"/>
                </a:lnTo>
                <a:lnTo>
                  <a:pt x="671" y="134"/>
                </a:lnTo>
                <a:lnTo>
                  <a:pt x="665" y="131"/>
                </a:lnTo>
                <a:lnTo>
                  <a:pt x="659" y="129"/>
                </a:lnTo>
                <a:lnTo>
                  <a:pt x="653" y="126"/>
                </a:lnTo>
                <a:lnTo>
                  <a:pt x="642" y="119"/>
                </a:lnTo>
                <a:lnTo>
                  <a:pt x="631" y="111"/>
                </a:lnTo>
                <a:lnTo>
                  <a:pt x="620" y="102"/>
                </a:lnTo>
                <a:lnTo>
                  <a:pt x="615" y="97"/>
                </a:lnTo>
                <a:lnTo>
                  <a:pt x="611" y="92"/>
                </a:lnTo>
                <a:lnTo>
                  <a:pt x="602" y="81"/>
                </a:lnTo>
                <a:lnTo>
                  <a:pt x="594" y="69"/>
                </a:lnTo>
                <a:lnTo>
                  <a:pt x="587" y="57"/>
                </a:lnTo>
                <a:lnTo>
                  <a:pt x="584" y="51"/>
                </a:lnTo>
                <a:lnTo>
                  <a:pt x="581" y="44"/>
                </a:lnTo>
                <a:lnTo>
                  <a:pt x="576" y="29"/>
                </a:lnTo>
                <a:lnTo>
                  <a:pt x="572" y="15"/>
                </a:lnTo>
                <a:lnTo>
                  <a:pt x="568" y="0"/>
                </a:lnTo>
                <a:lnTo>
                  <a:pt x="626" y="0"/>
                </a:lnTo>
                <a:lnTo>
                  <a:pt x="628" y="9"/>
                </a:lnTo>
                <a:lnTo>
                  <a:pt x="632" y="17"/>
                </a:lnTo>
                <a:lnTo>
                  <a:pt x="635" y="25"/>
                </a:lnTo>
                <a:lnTo>
                  <a:pt x="639" y="34"/>
                </a:lnTo>
                <a:lnTo>
                  <a:pt x="643" y="41"/>
                </a:lnTo>
                <a:lnTo>
                  <a:pt x="648" y="48"/>
                </a:lnTo>
                <a:lnTo>
                  <a:pt x="653" y="54"/>
                </a:lnTo>
                <a:lnTo>
                  <a:pt x="659" y="59"/>
                </a:lnTo>
                <a:lnTo>
                  <a:pt x="665" y="64"/>
                </a:lnTo>
                <a:lnTo>
                  <a:pt x="672" y="69"/>
                </a:lnTo>
                <a:lnTo>
                  <a:pt x="679" y="73"/>
                </a:lnTo>
                <a:lnTo>
                  <a:pt x="686" y="76"/>
                </a:lnTo>
                <a:lnTo>
                  <a:pt x="694" y="78"/>
                </a:lnTo>
                <a:lnTo>
                  <a:pt x="702" y="80"/>
                </a:lnTo>
                <a:lnTo>
                  <a:pt x="711" y="81"/>
                </a:lnTo>
                <a:lnTo>
                  <a:pt x="719" y="81"/>
                </a:lnTo>
                <a:lnTo>
                  <a:pt x="728" y="81"/>
                </a:lnTo>
                <a:lnTo>
                  <a:pt x="737" y="80"/>
                </a:lnTo>
                <a:lnTo>
                  <a:pt x="746" y="78"/>
                </a:lnTo>
                <a:lnTo>
                  <a:pt x="755" y="75"/>
                </a:lnTo>
                <a:lnTo>
                  <a:pt x="763" y="72"/>
                </a:lnTo>
                <a:lnTo>
                  <a:pt x="771" y="68"/>
                </a:lnTo>
                <a:lnTo>
                  <a:pt x="779" y="64"/>
                </a:lnTo>
                <a:lnTo>
                  <a:pt x="787" y="59"/>
                </a:lnTo>
                <a:lnTo>
                  <a:pt x="794" y="53"/>
                </a:lnTo>
                <a:lnTo>
                  <a:pt x="801" y="47"/>
                </a:lnTo>
                <a:lnTo>
                  <a:pt x="808" y="41"/>
                </a:lnTo>
                <a:lnTo>
                  <a:pt x="815" y="33"/>
                </a:lnTo>
                <a:lnTo>
                  <a:pt x="821" y="25"/>
                </a:lnTo>
                <a:lnTo>
                  <a:pt x="827" y="17"/>
                </a:lnTo>
                <a:lnTo>
                  <a:pt x="833" y="9"/>
                </a:lnTo>
                <a:lnTo>
                  <a:pt x="838" y="0"/>
                </a:lnTo>
                <a:lnTo>
                  <a:pt x="907" y="0"/>
                </a:lnTo>
                <a:lnTo>
                  <a:pt x="899" y="15"/>
                </a:lnTo>
                <a:lnTo>
                  <a:pt x="891" y="30"/>
                </a:lnTo>
                <a:lnTo>
                  <a:pt x="886" y="38"/>
                </a:lnTo>
                <a:lnTo>
                  <a:pt x="882" y="45"/>
                </a:lnTo>
                <a:lnTo>
                  <a:pt x="872" y="58"/>
                </a:lnTo>
                <a:lnTo>
                  <a:pt x="861" y="70"/>
                </a:lnTo>
                <a:lnTo>
                  <a:pt x="851" y="82"/>
                </a:lnTo>
                <a:lnTo>
                  <a:pt x="845" y="87"/>
                </a:lnTo>
                <a:lnTo>
                  <a:pt x="840" y="93"/>
                </a:lnTo>
                <a:lnTo>
                  <a:pt x="828" y="103"/>
                </a:lnTo>
                <a:lnTo>
                  <a:pt x="816" y="112"/>
                </a:lnTo>
                <a:lnTo>
                  <a:pt x="802" y="119"/>
                </a:lnTo>
                <a:lnTo>
                  <a:pt x="789" y="126"/>
                </a:lnTo>
                <a:lnTo>
                  <a:pt x="783" y="129"/>
                </a:lnTo>
                <a:lnTo>
                  <a:pt x="776" y="132"/>
                </a:lnTo>
                <a:lnTo>
                  <a:pt x="762" y="136"/>
                </a:lnTo>
                <a:lnTo>
                  <a:pt x="747" y="139"/>
                </a:lnTo>
                <a:lnTo>
                  <a:pt x="732" y="141"/>
                </a:lnTo>
                <a:lnTo>
                  <a:pt x="717" y="142"/>
                </a:lnTo>
                <a:close/>
                <a:moveTo>
                  <a:pt x="969" y="4"/>
                </a:moveTo>
                <a:lnTo>
                  <a:pt x="967" y="0"/>
                </a:lnTo>
                <a:lnTo>
                  <a:pt x="1043" y="0"/>
                </a:lnTo>
                <a:lnTo>
                  <a:pt x="1064" y="21"/>
                </a:lnTo>
                <a:lnTo>
                  <a:pt x="1087" y="46"/>
                </a:lnTo>
                <a:lnTo>
                  <a:pt x="1112" y="70"/>
                </a:lnTo>
                <a:lnTo>
                  <a:pt x="1135" y="93"/>
                </a:lnTo>
                <a:lnTo>
                  <a:pt x="1137" y="95"/>
                </a:lnTo>
                <a:lnTo>
                  <a:pt x="1138" y="97"/>
                </a:lnTo>
                <a:lnTo>
                  <a:pt x="1139" y="100"/>
                </a:lnTo>
                <a:lnTo>
                  <a:pt x="1139" y="102"/>
                </a:lnTo>
                <a:lnTo>
                  <a:pt x="1139" y="108"/>
                </a:lnTo>
                <a:lnTo>
                  <a:pt x="1138" y="111"/>
                </a:lnTo>
                <a:lnTo>
                  <a:pt x="1136" y="113"/>
                </a:lnTo>
                <a:lnTo>
                  <a:pt x="1133" y="119"/>
                </a:lnTo>
                <a:lnTo>
                  <a:pt x="1130" y="122"/>
                </a:lnTo>
                <a:lnTo>
                  <a:pt x="1128" y="124"/>
                </a:lnTo>
                <a:lnTo>
                  <a:pt x="1123" y="129"/>
                </a:lnTo>
                <a:lnTo>
                  <a:pt x="1120" y="131"/>
                </a:lnTo>
                <a:lnTo>
                  <a:pt x="1117" y="133"/>
                </a:lnTo>
                <a:lnTo>
                  <a:pt x="1111" y="135"/>
                </a:lnTo>
                <a:lnTo>
                  <a:pt x="1107" y="136"/>
                </a:lnTo>
                <a:lnTo>
                  <a:pt x="1104" y="136"/>
                </a:lnTo>
                <a:lnTo>
                  <a:pt x="1102" y="136"/>
                </a:lnTo>
                <a:lnTo>
                  <a:pt x="1100" y="135"/>
                </a:lnTo>
                <a:lnTo>
                  <a:pt x="1095" y="132"/>
                </a:lnTo>
                <a:lnTo>
                  <a:pt x="1088" y="128"/>
                </a:lnTo>
                <a:lnTo>
                  <a:pt x="1081" y="123"/>
                </a:lnTo>
                <a:lnTo>
                  <a:pt x="1068" y="112"/>
                </a:lnTo>
                <a:lnTo>
                  <a:pt x="1053" y="98"/>
                </a:lnTo>
                <a:lnTo>
                  <a:pt x="1036" y="81"/>
                </a:lnTo>
                <a:lnTo>
                  <a:pt x="1019" y="64"/>
                </a:lnTo>
                <a:lnTo>
                  <a:pt x="1003" y="47"/>
                </a:lnTo>
                <a:lnTo>
                  <a:pt x="988" y="30"/>
                </a:lnTo>
                <a:lnTo>
                  <a:pt x="977" y="15"/>
                </a:lnTo>
                <a:lnTo>
                  <a:pt x="972" y="9"/>
                </a:lnTo>
                <a:lnTo>
                  <a:pt x="969" y="4"/>
                </a:lnTo>
                <a:close/>
                <a:moveTo>
                  <a:pt x="4547" y="142"/>
                </a:moveTo>
                <a:lnTo>
                  <a:pt x="4534" y="141"/>
                </a:lnTo>
                <a:lnTo>
                  <a:pt x="4520" y="139"/>
                </a:lnTo>
                <a:lnTo>
                  <a:pt x="4507" y="136"/>
                </a:lnTo>
                <a:lnTo>
                  <a:pt x="4501" y="134"/>
                </a:lnTo>
                <a:lnTo>
                  <a:pt x="4495" y="131"/>
                </a:lnTo>
                <a:lnTo>
                  <a:pt x="4489" y="129"/>
                </a:lnTo>
                <a:lnTo>
                  <a:pt x="4483" y="126"/>
                </a:lnTo>
                <a:lnTo>
                  <a:pt x="4472" y="119"/>
                </a:lnTo>
                <a:lnTo>
                  <a:pt x="4460" y="111"/>
                </a:lnTo>
                <a:lnTo>
                  <a:pt x="4450" y="102"/>
                </a:lnTo>
                <a:lnTo>
                  <a:pt x="4445" y="97"/>
                </a:lnTo>
                <a:lnTo>
                  <a:pt x="4441" y="92"/>
                </a:lnTo>
                <a:lnTo>
                  <a:pt x="4432" y="81"/>
                </a:lnTo>
                <a:lnTo>
                  <a:pt x="4424" y="69"/>
                </a:lnTo>
                <a:lnTo>
                  <a:pt x="4417" y="57"/>
                </a:lnTo>
                <a:lnTo>
                  <a:pt x="4414" y="51"/>
                </a:lnTo>
                <a:lnTo>
                  <a:pt x="4411" y="44"/>
                </a:lnTo>
                <a:lnTo>
                  <a:pt x="4405" y="29"/>
                </a:lnTo>
                <a:lnTo>
                  <a:pt x="4401" y="15"/>
                </a:lnTo>
                <a:lnTo>
                  <a:pt x="4398" y="0"/>
                </a:lnTo>
                <a:lnTo>
                  <a:pt x="4455" y="0"/>
                </a:lnTo>
                <a:lnTo>
                  <a:pt x="4458" y="9"/>
                </a:lnTo>
                <a:lnTo>
                  <a:pt x="4461" y="17"/>
                </a:lnTo>
                <a:lnTo>
                  <a:pt x="4464" y="25"/>
                </a:lnTo>
                <a:lnTo>
                  <a:pt x="4468" y="34"/>
                </a:lnTo>
                <a:lnTo>
                  <a:pt x="4473" y="41"/>
                </a:lnTo>
                <a:lnTo>
                  <a:pt x="4478" y="48"/>
                </a:lnTo>
                <a:lnTo>
                  <a:pt x="4483" y="54"/>
                </a:lnTo>
                <a:lnTo>
                  <a:pt x="4489" y="59"/>
                </a:lnTo>
                <a:lnTo>
                  <a:pt x="4495" y="64"/>
                </a:lnTo>
                <a:lnTo>
                  <a:pt x="4502" y="69"/>
                </a:lnTo>
                <a:lnTo>
                  <a:pt x="4508" y="73"/>
                </a:lnTo>
                <a:lnTo>
                  <a:pt x="4516" y="76"/>
                </a:lnTo>
                <a:lnTo>
                  <a:pt x="4523" y="78"/>
                </a:lnTo>
                <a:lnTo>
                  <a:pt x="4532" y="80"/>
                </a:lnTo>
                <a:lnTo>
                  <a:pt x="4540" y="81"/>
                </a:lnTo>
                <a:lnTo>
                  <a:pt x="4549" y="81"/>
                </a:lnTo>
                <a:lnTo>
                  <a:pt x="4558" y="81"/>
                </a:lnTo>
                <a:lnTo>
                  <a:pt x="4567" y="80"/>
                </a:lnTo>
                <a:lnTo>
                  <a:pt x="4576" y="78"/>
                </a:lnTo>
                <a:lnTo>
                  <a:pt x="4584" y="75"/>
                </a:lnTo>
                <a:lnTo>
                  <a:pt x="4593" y="72"/>
                </a:lnTo>
                <a:lnTo>
                  <a:pt x="4601" y="68"/>
                </a:lnTo>
                <a:lnTo>
                  <a:pt x="4609" y="64"/>
                </a:lnTo>
                <a:lnTo>
                  <a:pt x="4617" y="59"/>
                </a:lnTo>
                <a:lnTo>
                  <a:pt x="4624" y="53"/>
                </a:lnTo>
                <a:lnTo>
                  <a:pt x="4631" y="47"/>
                </a:lnTo>
                <a:lnTo>
                  <a:pt x="4637" y="41"/>
                </a:lnTo>
                <a:lnTo>
                  <a:pt x="4644" y="33"/>
                </a:lnTo>
                <a:lnTo>
                  <a:pt x="4651" y="25"/>
                </a:lnTo>
                <a:lnTo>
                  <a:pt x="4657" y="17"/>
                </a:lnTo>
                <a:lnTo>
                  <a:pt x="4663" y="9"/>
                </a:lnTo>
                <a:lnTo>
                  <a:pt x="4668" y="0"/>
                </a:lnTo>
                <a:lnTo>
                  <a:pt x="4737" y="0"/>
                </a:lnTo>
                <a:lnTo>
                  <a:pt x="4729" y="15"/>
                </a:lnTo>
                <a:lnTo>
                  <a:pt x="4721" y="30"/>
                </a:lnTo>
                <a:lnTo>
                  <a:pt x="4716" y="38"/>
                </a:lnTo>
                <a:lnTo>
                  <a:pt x="4712" y="45"/>
                </a:lnTo>
                <a:lnTo>
                  <a:pt x="4701" y="58"/>
                </a:lnTo>
                <a:lnTo>
                  <a:pt x="4691" y="70"/>
                </a:lnTo>
                <a:lnTo>
                  <a:pt x="4681" y="82"/>
                </a:lnTo>
                <a:lnTo>
                  <a:pt x="4675" y="87"/>
                </a:lnTo>
                <a:lnTo>
                  <a:pt x="4670" y="93"/>
                </a:lnTo>
                <a:lnTo>
                  <a:pt x="4658" y="103"/>
                </a:lnTo>
                <a:lnTo>
                  <a:pt x="4645" y="112"/>
                </a:lnTo>
                <a:lnTo>
                  <a:pt x="4632" y="119"/>
                </a:lnTo>
                <a:lnTo>
                  <a:pt x="4619" y="126"/>
                </a:lnTo>
                <a:lnTo>
                  <a:pt x="4613" y="129"/>
                </a:lnTo>
                <a:lnTo>
                  <a:pt x="4606" y="132"/>
                </a:lnTo>
                <a:lnTo>
                  <a:pt x="4592" y="136"/>
                </a:lnTo>
                <a:lnTo>
                  <a:pt x="4577" y="139"/>
                </a:lnTo>
                <a:lnTo>
                  <a:pt x="4562" y="141"/>
                </a:lnTo>
                <a:lnTo>
                  <a:pt x="4547" y="142"/>
                </a:lnTo>
                <a:close/>
                <a:moveTo>
                  <a:pt x="4799" y="4"/>
                </a:moveTo>
                <a:lnTo>
                  <a:pt x="4797" y="0"/>
                </a:lnTo>
                <a:lnTo>
                  <a:pt x="4873" y="0"/>
                </a:lnTo>
                <a:lnTo>
                  <a:pt x="4894" y="21"/>
                </a:lnTo>
                <a:lnTo>
                  <a:pt x="4917" y="46"/>
                </a:lnTo>
                <a:lnTo>
                  <a:pt x="4941" y="70"/>
                </a:lnTo>
                <a:lnTo>
                  <a:pt x="4965" y="93"/>
                </a:lnTo>
                <a:lnTo>
                  <a:pt x="4967" y="95"/>
                </a:lnTo>
                <a:lnTo>
                  <a:pt x="4968" y="97"/>
                </a:lnTo>
                <a:lnTo>
                  <a:pt x="4969" y="100"/>
                </a:lnTo>
                <a:lnTo>
                  <a:pt x="4969" y="102"/>
                </a:lnTo>
                <a:lnTo>
                  <a:pt x="4968" y="108"/>
                </a:lnTo>
                <a:lnTo>
                  <a:pt x="4967" y="111"/>
                </a:lnTo>
                <a:lnTo>
                  <a:pt x="4966" y="113"/>
                </a:lnTo>
                <a:lnTo>
                  <a:pt x="4962" y="119"/>
                </a:lnTo>
                <a:lnTo>
                  <a:pt x="4960" y="122"/>
                </a:lnTo>
                <a:lnTo>
                  <a:pt x="4958" y="124"/>
                </a:lnTo>
                <a:lnTo>
                  <a:pt x="4953" y="129"/>
                </a:lnTo>
                <a:lnTo>
                  <a:pt x="4949" y="131"/>
                </a:lnTo>
                <a:lnTo>
                  <a:pt x="4946" y="133"/>
                </a:lnTo>
                <a:lnTo>
                  <a:pt x="4940" y="135"/>
                </a:lnTo>
                <a:lnTo>
                  <a:pt x="4937" y="136"/>
                </a:lnTo>
                <a:lnTo>
                  <a:pt x="4934" y="136"/>
                </a:lnTo>
                <a:lnTo>
                  <a:pt x="4932" y="136"/>
                </a:lnTo>
                <a:lnTo>
                  <a:pt x="4930" y="135"/>
                </a:lnTo>
                <a:lnTo>
                  <a:pt x="4925" y="132"/>
                </a:lnTo>
                <a:lnTo>
                  <a:pt x="4918" y="128"/>
                </a:lnTo>
                <a:lnTo>
                  <a:pt x="4911" y="123"/>
                </a:lnTo>
                <a:lnTo>
                  <a:pt x="4898" y="112"/>
                </a:lnTo>
                <a:lnTo>
                  <a:pt x="4882" y="98"/>
                </a:lnTo>
                <a:lnTo>
                  <a:pt x="4866" y="81"/>
                </a:lnTo>
                <a:lnTo>
                  <a:pt x="4849" y="64"/>
                </a:lnTo>
                <a:lnTo>
                  <a:pt x="4833" y="47"/>
                </a:lnTo>
                <a:lnTo>
                  <a:pt x="4818" y="30"/>
                </a:lnTo>
                <a:lnTo>
                  <a:pt x="4807" y="15"/>
                </a:lnTo>
                <a:lnTo>
                  <a:pt x="4802" y="9"/>
                </a:lnTo>
                <a:lnTo>
                  <a:pt x="4799" y="4"/>
                </a:lnTo>
                <a:close/>
                <a:moveTo>
                  <a:pt x="1465" y="142"/>
                </a:moveTo>
                <a:lnTo>
                  <a:pt x="1451" y="141"/>
                </a:lnTo>
                <a:lnTo>
                  <a:pt x="1438" y="139"/>
                </a:lnTo>
                <a:lnTo>
                  <a:pt x="1426" y="136"/>
                </a:lnTo>
                <a:lnTo>
                  <a:pt x="1420" y="134"/>
                </a:lnTo>
                <a:lnTo>
                  <a:pt x="1414" y="131"/>
                </a:lnTo>
                <a:lnTo>
                  <a:pt x="1407" y="129"/>
                </a:lnTo>
                <a:lnTo>
                  <a:pt x="1401" y="126"/>
                </a:lnTo>
                <a:lnTo>
                  <a:pt x="1390" y="119"/>
                </a:lnTo>
                <a:lnTo>
                  <a:pt x="1379" y="111"/>
                </a:lnTo>
                <a:lnTo>
                  <a:pt x="1369" y="102"/>
                </a:lnTo>
                <a:lnTo>
                  <a:pt x="1364" y="97"/>
                </a:lnTo>
                <a:lnTo>
                  <a:pt x="1359" y="92"/>
                </a:lnTo>
                <a:lnTo>
                  <a:pt x="1351" y="81"/>
                </a:lnTo>
                <a:lnTo>
                  <a:pt x="1342" y="69"/>
                </a:lnTo>
                <a:lnTo>
                  <a:pt x="1335" y="57"/>
                </a:lnTo>
                <a:lnTo>
                  <a:pt x="1332" y="51"/>
                </a:lnTo>
                <a:lnTo>
                  <a:pt x="1329" y="44"/>
                </a:lnTo>
                <a:lnTo>
                  <a:pt x="1324" y="29"/>
                </a:lnTo>
                <a:lnTo>
                  <a:pt x="1320" y="15"/>
                </a:lnTo>
                <a:lnTo>
                  <a:pt x="1316" y="0"/>
                </a:lnTo>
                <a:lnTo>
                  <a:pt x="1374" y="0"/>
                </a:lnTo>
                <a:lnTo>
                  <a:pt x="1377" y="9"/>
                </a:lnTo>
                <a:lnTo>
                  <a:pt x="1379" y="17"/>
                </a:lnTo>
                <a:lnTo>
                  <a:pt x="1383" y="25"/>
                </a:lnTo>
                <a:lnTo>
                  <a:pt x="1387" y="34"/>
                </a:lnTo>
                <a:lnTo>
                  <a:pt x="1391" y="41"/>
                </a:lnTo>
                <a:lnTo>
                  <a:pt x="1396" y="48"/>
                </a:lnTo>
                <a:lnTo>
                  <a:pt x="1401" y="54"/>
                </a:lnTo>
                <a:lnTo>
                  <a:pt x="1407" y="59"/>
                </a:lnTo>
                <a:lnTo>
                  <a:pt x="1414" y="64"/>
                </a:lnTo>
                <a:lnTo>
                  <a:pt x="1420" y="69"/>
                </a:lnTo>
                <a:lnTo>
                  <a:pt x="1427" y="73"/>
                </a:lnTo>
                <a:lnTo>
                  <a:pt x="1434" y="76"/>
                </a:lnTo>
                <a:lnTo>
                  <a:pt x="1442" y="78"/>
                </a:lnTo>
                <a:lnTo>
                  <a:pt x="1450" y="80"/>
                </a:lnTo>
                <a:lnTo>
                  <a:pt x="1458" y="81"/>
                </a:lnTo>
                <a:lnTo>
                  <a:pt x="1467" y="81"/>
                </a:lnTo>
                <a:lnTo>
                  <a:pt x="1477" y="81"/>
                </a:lnTo>
                <a:lnTo>
                  <a:pt x="1486" y="80"/>
                </a:lnTo>
                <a:lnTo>
                  <a:pt x="1494" y="78"/>
                </a:lnTo>
                <a:lnTo>
                  <a:pt x="1503" y="75"/>
                </a:lnTo>
                <a:lnTo>
                  <a:pt x="1511" y="72"/>
                </a:lnTo>
                <a:lnTo>
                  <a:pt x="1519" y="68"/>
                </a:lnTo>
                <a:lnTo>
                  <a:pt x="1527" y="64"/>
                </a:lnTo>
                <a:lnTo>
                  <a:pt x="1535" y="59"/>
                </a:lnTo>
                <a:lnTo>
                  <a:pt x="1542" y="53"/>
                </a:lnTo>
                <a:lnTo>
                  <a:pt x="1549" y="47"/>
                </a:lnTo>
                <a:lnTo>
                  <a:pt x="1556" y="41"/>
                </a:lnTo>
                <a:lnTo>
                  <a:pt x="1563" y="33"/>
                </a:lnTo>
                <a:lnTo>
                  <a:pt x="1569" y="25"/>
                </a:lnTo>
                <a:lnTo>
                  <a:pt x="1575" y="17"/>
                </a:lnTo>
                <a:lnTo>
                  <a:pt x="1581" y="9"/>
                </a:lnTo>
                <a:lnTo>
                  <a:pt x="1586" y="0"/>
                </a:lnTo>
                <a:lnTo>
                  <a:pt x="1655" y="0"/>
                </a:lnTo>
                <a:lnTo>
                  <a:pt x="1647" y="15"/>
                </a:lnTo>
                <a:lnTo>
                  <a:pt x="1638" y="30"/>
                </a:lnTo>
                <a:lnTo>
                  <a:pt x="1634" y="38"/>
                </a:lnTo>
                <a:lnTo>
                  <a:pt x="1629" y="45"/>
                </a:lnTo>
                <a:lnTo>
                  <a:pt x="1620" y="58"/>
                </a:lnTo>
                <a:lnTo>
                  <a:pt x="1610" y="70"/>
                </a:lnTo>
                <a:lnTo>
                  <a:pt x="1599" y="82"/>
                </a:lnTo>
                <a:lnTo>
                  <a:pt x="1594" y="87"/>
                </a:lnTo>
                <a:lnTo>
                  <a:pt x="1587" y="93"/>
                </a:lnTo>
                <a:lnTo>
                  <a:pt x="1576" y="103"/>
                </a:lnTo>
                <a:lnTo>
                  <a:pt x="1564" y="112"/>
                </a:lnTo>
                <a:lnTo>
                  <a:pt x="1551" y="119"/>
                </a:lnTo>
                <a:lnTo>
                  <a:pt x="1538" y="126"/>
                </a:lnTo>
                <a:lnTo>
                  <a:pt x="1531" y="129"/>
                </a:lnTo>
                <a:lnTo>
                  <a:pt x="1524" y="132"/>
                </a:lnTo>
                <a:lnTo>
                  <a:pt x="1510" y="136"/>
                </a:lnTo>
                <a:lnTo>
                  <a:pt x="1495" y="139"/>
                </a:lnTo>
                <a:lnTo>
                  <a:pt x="1481" y="141"/>
                </a:lnTo>
                <a:lnTo>
                  <a:pt x="1465" y="142"/>
                </a:lnTo>
                <a:close/>
                <a:moveTo>
                  <a:pt x="1718" y="4"/>
                </a:moveTo>
                <a:lnTo>
                  <a:pt x="1716" y="0"/>
                </a:lnTo>
                <a:lnTo>
                  <a:pt x="1792" y="0"/>
                </a:lnTo>
                <a:lnTo>
                  <a:pt x="1812" y="21"/>
                </a:lnTo>
                <a:lnTo>
                  <a:pt x="1836" y="46"/>
                </a:lnTo>
                <a:lnTo>
                  <a:pt x="1860" y="70"/>
                </a:lnTo>
                <a:lnTo>
                  <a:pt x="1883" y="93"/>
                </a:lnTo>
                <a:lnTo>
                  <a:pt x="1884" y="95"/>
                </a:lnTo>
                <a:lnTo>
                  <a:pt x="1886" y="97"/>
                </a:lnTo>
                <a:lnTo>
                  <a:pt x="1887" y="100"/>
                </a:lnTo>
                <a:lnTo>
                  <a:pt x="1887" y="102"/>
                </a:lnTo>
                <a:lnTo>
                  <a:pt x="1886" y="108"/>
                </a:lnTo>
                <a:lnTo>
                  <a:pt x="1885" y="111"/>
                </a:lnTo>
                <a:lnTo>
                  <a:pt x="1884" y="113"/>
                </a:lnTo>
                <a:lnTo>
                  <a:pt x="1880" y="119"/>
                </a:lnTo>
                <a:lnTo>
                  <a:pt x="1878" y="122"/>
                </a:lnTo>
                <a:lnTo>
                  <a:pt x="1876" y="124"/>
                </a:lnTo>
                <a:lnTo>
                  <a:pt x="1870" y="129"/>
                </a:lnTo>
                <a:lnTo>
                  <a:pt x="1867" y="131"/>
                </a:lnTo>
                <a:lnTo>
                  <a:pt x="1864" y="133"/>
                </a:lnTo>
                <a:lnTo>
                  <a:pt x="1858" y="135"/>
                </a:lnTo>
                <a:lnTo>
                  <a:pt x="1856" y="136"/>
                </a:lnTo>
                <a:lnTo>
                  <a:pt x="1853" y="136"/>
                </a:lnTo>
                <a:lnTo>
                  <a:pt x="1851" y="136"/>
                </a:lnTo>
                <a:lnTo>
                  <a:pt x="1849" y="135"/>
                </a:lnTo>
                <a:lnTo>
                  <a:pt x="1843" y="132"/>
                </a:lnTo>
                <a:lnTo>
                  <a:pt x="1837" y="128"/>
                </a:lnTo>
                <a:lnTo>
                  <a:pt x="1829" y="123"/>
                </a:lnTo>
                <a:lnTo>
                  <a:pt x="1816" y="112"/>
                </a:lnTo>
                <a:lnTo>
                  <a:pt x="1801" y="98"/>
                </a:lnTo>
                <a:lnTo>
                  <a:pt x="1784" y="81"/>
                </a:lnTo>
                <a:lnTo>
                  <a:pt x="1767" y="64"/>
                </a:lnTo>
                <a:lnTo>
                  <a:pt x="1751" y="47"/>
                </a:lnTo>
                <a:lnTo>
                  <a:pt x="1737" y="30"/>
                </a:lnTo>
                <a:lnTo>
                  <a:pt x="1725" y="15"/>
                </a:lnTo>
                <a:lnTo>
                  <a:pt x="1721" y="9"/>
                </a:lnTo>
                <a:lnTo>
                  <a:pt x="1718" y="4"/>
                </a:lnTo>
                <a:close/>
                <a:moveTo>
                  <a:pt x="5295" y="142"/>
                </a:moveTo>
                <a:lnTo>
                  <a:pt x="5281" y="141"/>
                </a:lnTo>
                <a:lnTo>
                  <a:pt x="5268" y="139"/>
                </a:lnTo>
                <a:lnTo>
                  <a:pt x="5256" y="136"/>
                </a:lnTo>
                <a:lnTo>
                  <a:pt x="5248" y="134"/>
                </a:lnTo>
                <a:lnTo>
                  <a:pt x="5242" y="131"/>
                </a:lnTo>
                <a:lnTo>
                  <a:pt x="5236" y="129"/>
                </a:lnTo>
                <a:lnTo>
                  <a:pt x="5231" y="126"/>
                </a:lnTo>
                <a:lnTo>
                  <a:pt x="5219" y="119"/>
                </a:lnTo>
                <a:lnTo>
                  <a:pt x="5209" y="111"/>
                </a:lnTo>
                <a:lnTo>
                  <a:pt x="5199" y="102"/>
                </a:lnTo>
                <a:lnTo>
                  <a:pt x="5194" y="97"/>
                </a:lnTo>
                <a:lnTo>
                  <a:pt x="5188" y="92"/>
                </a:lnTo>
                <a:lnTo>
                  <a:pt x="5180" y="81"/>
                </a:lnTo>
                <a:lnTo>
                  <a:pt x="5172" y="69"/>
                </a:lnTo>
                <a:lnTo>
                  <a:pt x="5165" y="57"/>
                </a:lnTo>
                <a:lnTo>
                  <a:pt x="5162" y="51"/>
                </a:lnTo>
                <a:lnTo>
                  <a:pt x="5159" y="44"/>
                </a:lnTo>
                <a:lnTo>
                  <a:pt x="5154" y="29"/>
                </a:lnTo>
                <a:lnTo>
                  <a:pt x="5149" y="15"/>
                </a:lnTo>
                <a:lnTo>
                  <a:pt x="5146" y="0"/>
                </a:lnTo>
                <a:lnTo>
                  <a:pt x="5204" y="0"/>
                </a:lnTo>
                <a:lnTo>
                  <a:pt x="5206" y="9"/>
                </a:lnTo>
                <a:lnTo>
                  <a:pt x="5209" y="17"/>
                </a:lnTo>
                <a:lnTo>
                  <a:pt x="5213" y="25"/>
                </a:lnTo>
                <a:lnTo>
                  <a:pt x="5217" y="34"/>
                </a:lnTo>
                <a:lnTo>
                  <a:pt x="5221" y="41"/>
                </a:lnTo>
                <a:lnTo>
                  <a:pt x="5226" y="48"/>
                </a:lnTo>
                <a:lnTo>
                  <a:pt x="5231" y="54"/>
                </a:lnTo>
                <a:lnTo>
                  <a:pt x="5237" y="59"/>
                </a:lnTo>
                <a:lnTo>
                  <a:pt x="5243" y="64"/>
                </a:lnTo>
                <a:lnTo>
                  <a:pt x="5249" y="69"/>
                </a:lnTo>
                <a:lnTo>
                  <a:pt x="5257" y="73"/>
                </a:lnTo>
                <a:lnTo>
                  <a:pt x="5264" y="76"/>
                </a:lnTo>
                <a:lnTo>
                  <a:pt x="5272" y="78"/>
                </a:lnTo>
                <a:lnTo>
                  <a:pt x="5280" y="80"/>
                </a:lnTo>
                <a:lnTo>
                  <a:pt x="5288" y="81"/>
                </a:lnTo>
                <a:lnTo>
                  <a:pt x="5297" y="81"/>
                </a:lnTo>
                <a:lnTo>
                  <a:pt x="5306" y="81"/>
                </a:lnTo>
                <a:lnTo>
                  <a:pt x="5316" y="80"/>
                </a:lnTo>
                <a:lnTo>
                  <a:pt x="5324" y="78"/>
                </a:lnTo>
                <a:lnTo>
                  <a:pt x="5333" y="75"/>
                </a:lnTo>
                <a:lnTo>
                  <a:pt x="5341" y="72"/>
                </a:lnTo>
                <a:lnTo>
                  <a:pt x="5349" y="68"/>
                </a:lnTo>
                <a:lnTo>
                  <a:pt x="5357" y="64"/>
                </a:lnTo>
                <a:lnTo>
                  <a:pt x="5364" y="59"/>
                </a:lnTo>
                <a:lnTo>
                  <a:pt x="5372" y="53"/>
                </a:lnTo>
                <a:lnTo>
                  <a:pt x="5379" y="47"/>
                </a:lnTo>
                <a:lnTo>
                  <a:pt x="5386" y="41"/>
                </a:lnTo>
                <a:lnTo>
                  <a:pt x="5393" y="33"/>
                </a:lnTo>
                <a:lnTo>
                  <a:pt x="5399" y="25"/>
                </a:lnTo>
                <a:lnTo>
                  <a:pt x="5405" y="17"/>
                </a:lnTo>
                <a:lnTo>
                  <a:pt x="5410" y="9"/>
                </a:lnTo>
                <a:lnTo>
                  <a:pt x="5416" y="0"/>
                </a:lnTo>
                <a:lnTo>
                  <a:pt x="5484" y="0"/>
                </a:lnTo>
                <a:lnTo>
                  <a:pt x="5477" y="15"/>
                </a:lnTo>
                <a:lnTo>
                  <a:pt x="5468" y="30"/>
                </a:lnTo>
                <a:lnTo>
                  <a:pt x="5464" y="38"/>
                </a:lnTo>
                <a:lnTo>
                  <a:pt x="5459" y="45"/>
                </a:lnTo>
                <a:lnTo>
                  <a:pt x="5450" y="58"/>
                </a:lnTo>
                <a:lnTo>
                  <a:pt x="5440" y="70"/>
                </a:lnTo>
                <a:lnTo>
                  <a:pt x="5428" y="82"/>
                </a:lnTo>
                <a:lnTo>
                  <a:pt x="5423" y="87"/>
                </a:lnTo>
                <a:lnTo>
                  <a:pt x="5417" y="93"/>
                </a:lnTo>
                <a:lnTo>
                  <a:pt x="5406" y="103"/>
                </a:lnTo>
                <a:lnTo>
                  <a:pt x="5393" y="112"/>
                </a:lnTo>
                <a:lnTo>
                  <a:pt x="5381" y="119"/>
                </a:lnTo>
                <a:lnTo>
                  <a:pt x="5367" y="126"/>
                </a:lnTo>
                <a:lnTo>
                  <a:pt x="5360" y="129"/>
                </a:lnTo>
                <a:lnTo>
                  <a:pt x="5353" y="132"/>
                </a:lnTo>
                <a:lnTo>
                  <a:pt x="5340" y="136"/>
                </a:lnTo>
                <a:lnTo>
                  <a:pt x="5325" y="139"/>
                </a:lnTo>
                <a:lnTo>
                  <a:pt x="5311" y="141"/>
                </a:lnTo>
                <a:lnTo>
                  <a:pt x="5295" y="142"/>
                </a:lnTo>
                <a:close/>
                <a:moveTo>
                  <a:pt x="5547" y="4"/>
                </a:moveTo>
                <a:lnTo>
                  <a:pt x="5545" y="0"/>
                </a:lnTo>
                <a:lnTo>
                  <a:pt x="5622" y="0"/>
                </a:lnTo>
                <a:lnTo>
                  <a:pt x="5641" y="21"/>
                </a:lnTo>
                <a:lnTo>
                  <a:pt x="5665" y="46"/>
                </a:lnTo>
                <a:lnTo>
                  <a:pt x="5690" y="70"/>
                </a:lnTo>
                <a:lnTo>
                  <a:pt x="5713" y="93"/>
                </a:lnTo>
                <a:lnTo>
                  <a:pt x="5714" y="95"/>
                </a:lnTo>
                <a:lnTo>
                  <a:pt x="5716" y="97"/>
                </a:lnTo>
                <a:lnTo>
                  <a:pt x="5717" y="100"/>
                </a:lnTo>
                <a:lnTo>
                  <a:pt x="5717" y="102"/>
                </a:lnTo>
                <a:lnTo>
                  <a:pt x="5716" y="108"/>
                </a:lnTo>
                <a:lnTo>
                  <a:pt x="5715" y="111"/>
                </a:lnTo>
                <a:lnTo>
                  <a:pt x="5714" y="113"/>
                </a:lnTo>
                <a:lnTo>
                  <a:pt x="5710" y="119"/>
                </a:lnTo>
                <a:lnTo>
                  <a:pt x="5708" y="122"/>
                </a:lnTo>
                <a:lnTo>
                  <a:pt x="5705" y="124"/>
                </a:lnTo>
                <a:lnTo>
                  <a:pt x="5700" y="129"/>
                </a:lnTo>
                <a:lnTo>
                  <a:pt x="5697" y="131"/>
                </a:lnTo>
                <a:lnTo>
                  <a:pt x="5694" y="133"/>
                </a:lnTo>
                <a:lnTo>
                  <a:pt x="5688" y="135"/>
                </a:lnTo>
                <a:lnTo>
                  <a:pt x="5685" y="136"/>
                </a:lnTo>
                <a:lnTo>
                  <a:pt x="5682" y="136"/>
                </a:lnTo>
                <a:lnTo>
                  <a:pt x="5681" y="136"/>
                </a:lnTo>
                <a:lnTo>
                  <a:pt x="5678" y="135"/>
                </a:lnTo>
                <a:lnTo>
                  <a:pt x="5673" y="132"/>
                </a:lnTo>
                <a:lnTo>
                  <a:pt x="5666" y="128"/>
                </a:lnTo>
                <a:lnTo>
                  <a:pt x="5658" y="123"/>
                </a:lnTo>
                <a:lnTo>
                  <a:pt x="5646" y="112"/>
                </a:lnTo>
                <a:lnTo>
                  <a:pt x="5631" y="98"/>
                </a:lnTo>
                <a:lnTo>
                  <a:pt x="5614" y="81"/>
                </a:lnTo>
                <a:lnTo>
                  <a:pt x="5597" y="64"/>
                </a:lnTo>
                <a:lnTo>
                  <a:pt x="5581" y="47"/>
                </a:lnTo>
                <a:lnTo>
                  <a:pt x="5567" y="30"/>
                </a:lnTo>
                <a:lnTo>
                  <a:pt x="5555" y="15"/>
                </a:lnTo>
                <a:lnTo>
                  <a:pt x="5551" y="9"/>
                </a:lnTo>
                <a:lnTo>
                  <a:pt x="5547" y="4"/>
                </a:lnTo>
                <a:close/>
                <a:moveTo>
                  <a:pt x="2229" y="1136"/>
                </a:moveTo>
                <a:lnTo>
                  <a:pt x="2222" y="1136"/>
                </a:lnTo>
                <a:lnTo>
                  <a:pt x="2214" y="1135"/>
                </a:lnTo>
                <a:lnTo>
                  <a:pt x="2207" y="1134"/>
                </a:lnTo>
                <a:lnTo>
                  <a:pt x="2199" y="1132"/>
                </a:lnTo>
                <a:lnTo>
                  <a:pt x="2192" y="1131"/>
                </a:lnTo>
                <a:lnTo>
                  <a:pt x="2184" y="1128"/>
                </a:lnTo>
                <a:lnTo>
                  <a:pt x="2170" y="1122"/>
                </a:lnTo>
                <a:lnTo>
                  <a:pt x="2157" y="1115"/>
                </a:lnTo>
                <a:lnTo>
                  <a:pt x="2151" y="1110"/>
                </a:lnTo>
                <a:lnTo>
                  <a:pt x="2145" y="1105"/>
                </a:lnTo>
                <a:lnTo>
                  <a:pt x="2139" y="1101"/>
                </a:lnTo>
                <a:lnTo>
                  <a:pt x="2133" y="1095"/>
                </a:lnTo>
                <a:lnTo>
                  <a:pt x="2127" y="1090"/>
                </a:lnTo>
                <a:lnTo>
                  <a:pt x="2122" y="1084"/>
                </a:lnTo>
                <a:lnTo>
                  <a:pt x="2117" y="1078"/>
                </a:lnTo>
                <a:lnTo>
                  <a:pt x="2112" y="1072"/>
                </a:lnTo>
                <a:lnTo>
                  <a:pt x="2108" y="1065"/>
                </a:lnTo>
                <a:lnTo>
                  <a:pt x="2104" y="1058"/>
                </a:lnTo>
                <a:lnTo>
                  <a:pt x="2100" y="1050"/>
                </a:lnTo>
                <a:lnTo>
                  <a:pt x="2096" y="1043"/>
                </a:lnTo>
                <a:lnTo>
                  <a:pt x="2093" y="1035"/>
                </a:lnTo>
                <a:lnTo>
                  <a:pt x="2090" y="1027"/>
                </a:lnTo>
                <a:lnTo>
                  <a:pt x="2087" y="1020"/>
                </a:lnTo>
                <a:lnTo>
                  <a:pt x="2085" y="1011"/>
                </a:lnTo>
                <a:lnTo>
                  <a:pt x="2083" y="1003"/>
                </a:lnTo>
                <a:lnTo>
                  <a:pt x="2081" y="994"/>
                </a:lnTo>
                <a:lnTo>
                  <a:pt x="2080" y="985"/>
                </a:lnTo>
                <a:lnTo>
                  <a:pt x="2079" y="976"/>
                </a:lnTo>
                <a:lnTo>
                  <a:pt x="2078" y="967"/>
                </a:lnTo>
                <a:lnTo>
                  <a:pt x="2078" y="958"/>
                </a:lnTo>
                <a:lnTo>
                  <a:pt x="2079" y="939"/>
                </a:lnTo>
                <a:lnTo>
                  <a:pt x="2080" y="929"/>
                </a:lnTo>
                <a:lnTo>
                  <a:pt x="2081" y="920"/>
                </a:lnTo>
                <a:lnTo>
                  <a:pt x="2083" y="911"/>
                </a:lnTo>
                <a:lnTo>
                  <a:pt x="2085" y="902"/>
                </a:lnTo>
                <a:lnTo>
                  <a:pt x="2088" y="893"/>
                </a:lnTo>
                <a:lnTo>
                  <a:pt x="2090" y="884"/>
                </a:lnTo>
                <a:lnTo>
                  <a:pt x="2093" y="876"/>
                </a:lnTo>
                <a:lnTo>
                  <a:pt x="2097" y="867"/>
                </a:lnTo>
                <a:lnTo>
                  <a:pt x="2101" y="859"/>
                </a:lnTo>
                <a:lnTo>
                  <a:pt x="2105" y="851"/>
                </a:lnTo>
                <a:lnTo>
                  <a:pt x="2109" y="843"/>
                </a:lnTo>
                <a:lnTo>
                  <a:pt x="2114" y="836"/>
                </a:lnTo>
                <a:lnTo>
                  <a:pt x="2124" y="822"/>
                </a:lnTo>
                <a:lnTo>
                  <a:pt x="2131" y="816"/>
                </a:lnTo>
                <a:lnTo>
                  <a:pt x="2136" y="809"/>
                </a:lnTo>
                <a:lnTo>
                  <a:pt x="2149" y="797"/>
                </a:lnTo>
                <a:lnTo>
                  <a:pt x="2155" y="792"/>
                </a:lnTo>
                <a:lnTo>
                  <a:pt x="2162" y="787"/>
                </a:lnTo>
                <a:lnTo>
                  <a:pt x="2169" y="783"/>
                </a:lnTo>
                <a:lnTo>
                  <a:pt x="2176" y="779"/>
                </a:lnTo>
                <a:lnTo>
                  <a:pt x="2183" y="775"/>
                </a:lnTo>
                <a:lnTo>
                  <a:pt x="2191" y="772"/>
                </a:lnTo>
                <a:lnTo>
                  <a:pt x="2199" y="769"/>
                </a:lnTo>
                <a:lnTo>
                  <a:pt x="2207" y="767"/>
                </a:lnTo>
                <a:lnTo>
                  <a:pt x="2215" y="765"/>
                </a:lnTo>
                <a:lnTo>
                  <a:pt x="2223" y="764"/>
                </a:lnTo>
                <a:lnTo>
                  <a:pt x="2231" y="763"/>
                </a:lnTo>
                <a:lnTo>
                  <a:pt x="2239" y="763"/>
                </a:lnTo>
                <a:lnTo>
                  <a:pt x="2249" y="763"/>
                </a:lnTo>
                <a:lnTo>
                  <a:pt x="2255" y="764"/>
                </a:lnTo>
                <a:lnTo>
                  <a:pt x="2260" y="765"/>
                </a:lnTo>
                <a:lnTo>
                  <a:pt x="2264" y="766"/>
                </a:lnTo>
                <a:lnTo>
                  <a:pt x="2269" y="767"/>
                </a:lnTo>
                <a:lnTo>
                  <a:pt x="2277" y="770"/>
                </a:lnTo>
                <a:lnTo>
                  <a:pt x="2285" y="774"/>
                </a:lnTo>
                <a:lnTo>
                  <a:pt x="2293" y="779"/>
                </a:lnTo>
                <a:lnTo>
                  <a:pt x="2299" y="784"/>
                </a:lnTo>
                <a:lnTo>
                  <a:pt x="2305" y="790"/>
                </a:lnTo>
                <a:lnTo>
                  <a:pt x="2308" y="793"/>
                </a:lnTo>
                <a:lnTo>
                  <a:pt x="2312" y="797"/>
                </a:lnTo>
                <a:lnTo>
                  <a:pt x="2316" y="804"/>
                </a:lnTo>
                <a:lnTo>
                  <a:pt x="2320" y="813"/>
                </a:lnTo>
                <a:lnTo>
                  <a:pt x="2324" y="821"/>
                </a:lnTo>
                <a:lnTo>
                  <a:pt x="2326" y="830"/>
                </a:lnTo>
                <a:lnTo>
                  <a:pt x="2328" y="839"/>
                </a:lnTo>
                <a:lnTo>
                  <a:pt x="2329" y="848"/>
                </a:lnTo>
                <a:lnTo>
                  <a:pt x="2330" y="858"/>
                </a:lnTo>
                <a:lnTo>
                  <a:pt x="2329" y="872"/>
                </a:lnTo>
                <a:lnTo>
                  <a:pt x="2328" y="878"/>
                </a:lnTo>
                <a:lnTo>
                  <a:pt x="2327" y="884"/>
                </a:lnTo>
                <a:lnTo>
                  <a:pt x="2323" y="896"/>
                </a:lnTo>
                <a:lnTo>
                  <a:pt x="2318" y="907"/>
                </a:lnTo>
                <a:lnTo>
                  <a:pt x="2312" y="919"/>
                </a:lnTo>
                <a:lnTo>
                  <a:pt x="2303" y="929"/>
                </a:lnTo>
                <a:lnTo>
                  <a:pt x="2299" y="935"/>
                </a:lnTo>
                <a:lnTo>
                  <a:pt x="2295" y="940"/>
                </a:lnTo>
                <a:lnTo>
                  <a:pt x="2286" y="949"/>
                </a:lnTo>
                <a:lnTo>
                  <a:pt x="2276" y="958"/>
                </a:lnTo>
                <a:lnTo>
                  <a:pt x="2271" y="962"/>
                </a:lnTo>
                <a:lnTo>
                  <a:pt x="2265" y="965"/>
                </a:lnTo>
                <a:lnTo>
                  <a:pt x="2254" y="972"/>
                </a:lnTo>
                <a:lnTo>
                  <a:pt x="2241" y="978"/>
                </a:lnTo>
                <a:lnTo>
                  <a:pt x="2229" y="982"/>
                </a:lnTo>
                <a:lnTo>
                  <a:pt x="2223" y="984"/>
                </a:lnTo>
                <a:lnTo>
                  <a:pt x="2217" y="986"/>
                </a:lnTo>
                <a:lnTo>
                  <a:pt x="2211" y="987"/>
                </a:lnTo>
                <a:lnTo>
                  <a:pt x="2204" y="988"/>
                </a:lnTo>
                <a:lnTo>
                  <a:pt x="2192" y="988"/>
                </a:lnTo>
                <a:lnTo>
                  <a:pt x="2185" y="988"/>
                </a:lnTo>
                <a:lnTo>
                  <a:pt x="2180" y="986"/>
                </a:lnTo>
                <a:lnTo>
                  <a:pt x="2176" y="983"/>
                </a:lnTo>
                <a:lnTo>
                  <a:pt x="2174" y="981"/>
                </a:lnTo>
                <a:lnTo>
                  <a:pt x="2172" y="979"/>
                </a:lnTo>
                <a:lnTo>
                  <a:pt x="2169" y="974"/>
                </a:lnTo>
                <a:lnTo>
                  <a:pt x="2167" y="969"/>
                </a:lnTo>
                <a:lnTo>
                  <a:pt x="2166" y="966"/>
                </a:lnTo>
                <a:lnTo>
                  <a:pt x="2165" y="963"/>
                </a:lnTo>
                <a:lnTo>
                  <a:pt x="2165" y="957"/>
                </a:lnTo>
                <a:lnTo>
                  <a:pt x="2165" y="954"/>
                </a:lnTo>
                <a:lnTo>
                  <a:pt x="2165" y="951"/>
                </a:lnTo>
                <a:lnTo>
                  <a:pt x="2166" y="947"/>
                </a:lnTo>
                <a:lnTo>
                  <a:pt x="2167" y="944"/>
                </a:lnTo>
                <a:lnTo>
                  <a:pt x="2168" y="943"/>
                </a:lnTo>
                <a:lnTo>
                  <a:pt x="2170" y="941"/>
                </a:lnTo>
                <a:lnTo>
                  <a:pt x="2172" y="940"/>
                </a:lnTo>
                <a:lnTo>
                  <a:pt x="2183" y="938"/>
                </a:lnTo>
                <a:lnTo>
                  <a:pt x="2194" y="935"/>
                </a:lnTo>
                <a:lnTo>
                  <a:pt x="2204" y="932"/>
                </a:lnTo>
                <a:lnTo>
                  <a:pt x="2214" y="927"/>
                </a:lnTo>
                <a:lnTo>
                  <a:pt x="2223" y="922"/>
                </a:lnTo>
                <a:lnTo>
                  <a:pt x="2231" y="917"/>
                </a:lnTo>
                <a:lnTo>
                  <a:pt x="2239" y="912"/>
                </a:lnTo>
                <a:lnTo>
                  <a:pt x="2243" y="909"/>
                </a:lnTo>
                <a:lnTo>
                  <a:pt x="2246" y="906"/>
                </a:lnTo>
                <a:lnTo>
                  <a:pt x="2254" y="900"/>
                </a:lnTo>
                <a:lnTo>
                  <a:pt x="2260" y="893"/>
                </a:lnTo>
                <a:lnTo>
                  <a:pt x="2265" y="886"/>
                </a:lnTo>
                <a:lnTo>
                  <a:pt x="2269" y="880"/>
                </a:lnTo>
                <a:lnTo>
                  <a:pt x="2272" y="873"/>
                </a:lnTo>
                <a:lnTo>
                  <a:pt x="2274" y="865"/>
                </a:lnTo>
                <a:lnTo>
                  <a:pt x="2276" y="857"/>
                </a:lnTo>
                <a:lnTo>
                  <a:pt x="2276" y="850"/>
                </a:lnTo>
                <a:lnTo>
                  <a:pt x="2276" y="842"/>
                </a:lnTo>
                <a:lnTo>
                  <a:pt x="2274" y="835"/>
                </a:lnTo>
                <a:lnTo>
                  <a:pt x="2272" y="832"/>
                </a:lnTo>
                <a:lnTo>
                  <a:pt x="2270" y="829"/>
                </a:lnTo>
                <a:lnTo>
                  <a:pt x="2268" y="826"/>
                </a:lnTo>
                <a:lnTo>
                  <a:pt x="2266" y="823"/>
                </a:lnTo>
                <a:lnTo>
                  <a:pt x="2260" y="819"/>
                </a:lnTo>
                <a:lnTo>
                  <a:pt x="2257" y="817"/>
                </a:lnTo>
                <a:lnTo>
                  <a:pt x="2253" y="816"/>
                </a:lnTo>
                <a:lnTo>
                  <a:pt x="2244" y="814"/>
                </a:lnTo>
                <a:lnTo>
                  <a:pt x="2240" y="814"/>
                </a:lnTo>
                <a:lnTo>
                  <a:pt x="2235" y="814"/>
                </a:lnTo>
                <a:lnTo>
                  <a:pt x="2226" y="814"/>
                </a:lnTo>
                <a:lnTo>
                  <a:pt x="2222" y="815"/>
                </a:lnTo>
                <a:lnTo>
                  <a:pt x="2218" y="816"/>
                </a:lnTo>
                <a:lnTo>
                  <a:pt x="2213" y="818"/>
                </a:lnTo>
                <a:lnTo>
                  <a:pt x="2209" y="820"/>
                </a:lnTo>
                <a:lnTo>
                  <a:pt x="2204" y="822"/>
                </a:lnTo>
                <a:lnTo>
                  <a:pt x="2200" y="825"/>
                </a:lnTo>
                <a:lnTo>
                  <a:pt x="2196" y="827"/>
                </a:lnTo>
                <a:lnTo>
                  <a:pt x="2191" y="830"/>
                </a:lnTo>
                <a:lnTo>
                  <a:pt x="2182" y="838"/>
                </a:lnTo>
                <a:lnTo>
                  <a:pt x="2174" y="846"/>
                </a:lnTo>
                <a:lnTo>
                  <a:pt x="2167" y="855"/>
                </a:lnTo>
                <a:lnTo>
                  <a:pt x="2163" y="859"/>
                </a:lnTo>
                <a:lnTo>
                  <a:pt x="2160" y="865"/>
                </a:lnTo>
                <a:lnTo>
                  <a:pt x="2154" y="876"/>
                </a:lnTo>
                <a:lnTo>
                  <a:pt x="2148" y="888"/>
                </a:lnTo>
                <a:lnTo>
                  <a:pt x="2144" y="900"/>
                </a:lnTo>
                <a:lnTo>
                  <a:pt x="2140" y="913"/>
                </a:lnTo>
                <a:lnTo>
                  <a:pt x="2137" y="926"/>
                </a:lnTo>
                <a:lnTo>
                  <a:pt x="2135" y="941"/>
                </a:lnTo>
                <a:lnTo>
                  <a:pt x="2135" y="948"/>
                </a:lnTo>
                <a:lnTo>
                  <a:pt x="2135" y="955"/>
                </a:lnTo>
                <a:lnTo>
                  <a:pt x="2135" y="968"/>
                </a:lnTo>
                <a:lnTo>
                  <a:pt x="2136" y="980"/>
                </a:lnTo>
                <a:lnTo>
                  <a:pt x="2138" y="993"/>
                </a:lnTo>
                <a:lnTo>
                  <a:pt x="2140" y="998"/>
                </a:lnTo>
                <a:lnTo>
                  <a:pt x="2141" y="1004"/>
                </a:lnTo>
                <a:lnTo>
                  <a:pt x="2145" y="1014"/>
                </a:lnTo>
                <a:lnTo>
                  <a:pt x="2147" y="1019"/>
                </a:lnTo>
                <a:lnTo>
                  <a:pt x="2150" y="1024"/>
                </a:lnTo>
                <a:lnTo>
                  <a:pt x="2152" y="1029"/>
                </a:lnTo>
                <a:lnTo>
                  <a:pt x="2155" y="1033"/>
                </a:lnTo>
                <a:lnTo>
                  <a:pt x="2158" y="1037"/>
                </a:lnTo>
                <a:lnTo>
                  <a:pt x="2161" y="1041"/>
                </a:lnTo>
                <a:lnTo>
                  <a:pt x="2164" y="1045"/>
                </a:lnTo>
                <a:lnTo>
                  <a:pt x="2167" y="1049"/>
                </a:lnTo>
                <a:lnTo>
                  <a:pt x="2175" y="1056"/>
                </a:lnTo>
                <a:lnTo>
                  <a:pt x="2182" y="1062"/>
                </a:lnTo>
                <a:lnTo>
                  <a:pt x="2192" y="1067"/>
                </a:lnTo>
                <a:lnTo>
                  <a:pt x="2201" y="1071"/>
                </a:lnTo>
                <a:lnTo>
                  <a:pt x="2211" y="1073"/>
                </a:lnTo>
                <a:lnTo>
                  <a:pt x="2221" y="1075"/>
                </a:lnTo>
                <a:lnTo>
                  <a:pt x="2226" y="1076"/>
                </a:lnTo>
                <a:lnTo>
                  <a:pt x="2231" y="1076"/>
                </a:lnTo>
                <a:lnTo>
                  <a:pt x="2242" y="1075"/>
                </a:lnTo>
                <a:lnTo>
                  <a:pt x="2253" y="1074"/>
                </a:lnTo>
                <a:lnTo>
                  <a:pt x="2263" y="1071"/>
                </a:lnTo>
                <a:lnTo>
                  <a:pt x="2273" y="1068"/>
                </a:lnTo>
                <a:lnTo>
                  <a:pt x="2282" y="1064"/>
                </a:lnTo>
                <a:lnTo>
                  <a:pt x="2291" y="1059"/>
                </a:lnTo>
                <a:lnTo>
                  <a:pt x="2299" y="1053"/>
                </a:lnTo>
                <a:lnTo>
                  <a:pt x="2308" y="1045"/>
                </a:lnTo>
                <a:lnTo>
                  <a:pt x="2317" y="1038"/>
                </a:lnTo>
                <a:lnTo>
                  <a:pt x="2324" y="1030"/>
                </a:lnTo>
                <a:lnTo>
                  <a:pt x="2332" y="1022"/>
                </a:lnTo>
                <a:lnTo>
                  <a:pt x="2339" y="1013"/>
                </a:lnTo>
                <a:lnTo>
                  <a:pt x="2351" y="993"/>
                </a:lnTo>
                <a:lnTo>
                  <a:pt x="2357" y="982"/>
                </a:lnTo>
                <a:lnTo>
                  <a:pt x="2363" y="971"/>
                </a:lnTo>
                <a:lnTo>
                  <a:pt x="2368" y="960"/>
                </a:lnTo>
                <a:lnTo>
                  <a:pt x="2374" y="949"/>
                </a:lnTo>
                <a:lnTo>
                  <a:pt x="2378" y="937"/>
                </a:lnTo>
                <a:lnTo>
                  <a:pt x="2383" y="925"/>
                </a:lnTo>
                <a:lnTo>
                  <a:pt x="2386" y="913"/>
                </a:lnTo>
                <a:lnTo>
                  <a:pt x="2390" y="901"/>
                </a:lnTo>
                <a:lnTo>
                  <a:pt x="2393" y="889"/>
                </a:lnTo>
                <a:lnTo>
                  <a:pt x="2395" y="877"/>
                </a:lnTo>
                <a:lnTo>
                  <a:pt x="2398" y="864"/>
                </a:lnTo>
                <a:lnTo>
                  <a:pt x="2399" y="852"/>
                </a:lnTo>
                <a:lnTo>
                  <a:pt x="2401" y="840"/>
                </a:lnTo>
                <a:lnTo>
                  <a:pt x="2402" y="828"/>
                </a:lnTo>
                <a:lnTo>
                  <a:pt x="2403" y="817"/>
                </a:lnTo>
                <a:lnTo>
                  <a:pt x="2403" y="805"/>
                </a:lnTo>
                <a:lnTo>
                  <a:pt x="2403" y="794"/>
                </a:lnTo>
                <a:lnTo>
                  <a:pt x="2402" y="784"/>
                </a:lnTo>
                <a:lnTo>
                  <a:pt x="2403" y="781"/>
                </a:lnTo>
                <a:lnTo>
                  <a:pt x="2405" y="779"/>
                </a:lnTo>
                <a:lnTo>
                  <a:pt x="2407" y="777"/>
                </a:lnTo>
                <a:lnTo>
                  <a:pt x="2410" y="775"/>
                </a:lnTo>
                <a:lnTo>
                  <a:pt x="2417" y="773"/>
                </a:lnTo>
                <a:lnTo>
                  <a:pt x="2421" y="772"/>
                </a:lnTo>
                <a:lnTo>
                  <a:pt x="2425" y="772"/>
                </a:lnTo>
                <a:lnTo>
                  <a:pt x="2433" y="772"/>
                </a:lnTo>
                <a:lnTo>
                  <a:pt x="2436" y="773"/>
                </a:lnTo>
                <a:lnTo>
                  <a:pt x="2439" y="774"/>
                </a:lnTo>
                <a:lnTo>
                  <a:pt x="2445" y="777"/>
                </a:lnTo>
                <a:lnTo>
                  <a:pt x="2448" y="779"/>
                </a:lnTo>
                <a:lnTo>
                  <a:pt x="2450" y="781"/>
                </a:lnTo>
                <a:lnTo>
                  <a:pt x="2454" y="787"/>
                </a:lnTo>
                <a:lnTo>
                  <a:pt x="2456" y="790"/>
                </a:lnTo>
                <a:lnTo>
                  <a:pt x="2457" y="794"/>
                </a:lnTo>
                <a:lnTo>
                  <a:pt x="2458" y="798"/>
                </a:lnTo>
                <a:lnTo>
                  <a:pt x="2459" y="803"/>
                </a:lnTo>
                <a:lnTo>
                  <a:pt x="2459" y="809"/>
                </a:lnTo>
                <a:lnTo>
                  <a:pt x="2460" y="815"/>
                </a:lnTo>
                <a:lnTo>
                  <a:pt x="2459" y="831"/>
                </a:lnTo>
                <a:lnTo>
                  <a:pt x="2458" y="846"/>
                </a:lnTo>
                <a:lnTo>
                  <a:pt x="2457" y="862"/>
                </a:lnTo>
                <a:lnTo>
                  <a:pt x="2455" y="878"/>
                </a:lnTo>
                <a:lnTo>
                  <a:pt x="2452" y="893"/>
                </a:lnTo>
                <a:lnTo>
                  <a:pt x="2449" y="907"/>
                </a:lnTo>
                <a:lnTo>
                  <a:pt x="2446" y="922"/>
                </a:lnTo>
                <a:lnTo>
                  <a:pt x="2442" y="937"/>
                </a:lnTo>
                <a:lnTo>
                  <a:pt x="2437" y="951"/>
                </a:lnTo>
                <a:lnTo>
                  <a:pt x="2432" y="964"/>
                </a:lnTo>
                <a:lnTo>
                  <a:pt x="2426" y="978"/>
                </a:lnTo>
                <a:lnTo>
                  <a:pt x="2420" y="990"/>
                </a:lnTo>
                <a:lnTo>
                  <a:pt x="2414" y="1004"/>
                </a:lnTo>
                <a:lnTo>
                  <a:pt x="2408" y="1016"/>
                </a:lnTo>
                <a:lnTo>
                  <a:pt x="2401" y="1027"/>
                </a:lnTo>
                <a:lnTo>
                  <a:pt x="2394" y="1039"/>
                </a:lnTo>
                <a:lnTo>
                  <a:pt x="2386" y="1049"/>
                </a:lnTo>
                <a:lnTo>
                  <a:pt x="2378" y="1060"/>
                </a:lnTo>
                <a:lnTo>
                  <a:pt x="2369" y="1070"/>
                </a:lnTo>
                <a:lnTo>
                  <a:pt x="2360" y="1079"/>
                </a:lnTo>
                <a:lnTo>
                  <a:pt x="2351" y="1087"/>
                </a:lnTo>
                <a:lnTo>
                  <a:pt x="2341" y="1095"/>
                </a:lnTo>
                <a:lnTo>
                  <a:pt x="2332" y="1103"/>
                </a:lnTo>
                <a:lnTo>
                  <a:pt x="2322" y="1109"/>
                </a:lnTo>
                <a:lnTo>
                  <a:pt x="2311" y="1116"/>
                </a:lnTo>
                <a:lnTo>
                  <a:pt x="2300" y="1121"/>
                </a:lnTo>
                <a:lnTo>
                  <a:pt x="2289" y="1126"/>
                </a:lnTo>
                <a:lnTo>
                  <a:pt x="2278" y="1129"/>
                </a:lnTo>
                <a:lnTo>
                  <a:pt x="2266" y="1132"/>
                </a:lnTo>
                <a:lnTo>
                  <a:pt x="2255" y="1134"/>
                </a:lnTo>
                <a:lnTo>
                  <a:pt x="2242" y="1136"/>
                </a:lnTo>
                <a:lnTo>
                  <a:pt x="2229" y="1136"/>
                </a:lnTo>
                <a:close/>
                <a:moveTo>
                  <a:pt x="2617" y="1130"/>
                </a:moveTo>
                <a:lnTo>
                  <a:pt x="2615" y="1130"/>
                </a:lnTo>
                <a:lnTo>
                  <a:pt x="2613" y="1129"/>
                </a:lnTo>
                <a:lnTo>
                  <a:pt x="2607" y="1127"/>
                </a:lnTo>
                <a:lnTo>
                  <a:pt x="2600" y="1122"/>
                </a:lnTo>
                <a:lnTo>
                  <a:pt x="2593" y="1117"/>
                </a:lnTo>
                <a:lnTo>
                  <a:pt x="2580" y="1105"/>
                </a:lnTo>
                <a:lnTo>
                  <a:pt x="2565" y="1091"/>
                </a:lnTo>
                <a:lnTo>
                  <a:pt x="2548" y="1075"/>
                </a:lnTo>
                <a:lnTo>
                  <a:pt x="2532" y="1058"/>
                </a:lnTo>
                <a:lnTo>
                  <a:pt x="2516" y="1040"/>
                </a:lnTo>
                <a:lnTo>
                  <a:pt x="2501" y="1024"/>
                </a:lnTo>
                <a:lnTo>
                  <a:pt x="2489" y="1010"/>
                </a:lnTo>
                <a:lnTo>
                  <a:pt x="2485" y="1004"/>
                </a:lnTo>
                <a:lnTo>
                  <a:pt x="2481" y="998"/>
                </a:lnTo>
                <a:lnTo>
                  <a:pt x="2476" y="987"/>
                </a:lnTo>
                <a:lnTo>
                  <a:pt x="2472" y="977"/>
                </a:lnTo>
                <a:lnTo>
                  <a:pt x="2470" y="968"/>
                </a:lnTo>
                <a:lnTo>
                  <a:pt x="2469" y="958"/>
                </a:lnTo>
                <a:lnTo>
                  <a:pt x="2469" y="952"/>
                </a:lnTo>
                <a:lnTo>
                  <a:pt x="2470" y="946"/>
                </a:lnTo>
                <a:lnTo>
                  <a:pt x="2472" y="941"/>
                </a:lnTo>
                <a:lnTo>
                  <a:pt x="2474" y="935"/>
                </a:lnTo>
                <a:lnTo>
                  <a:pt x="2476" y="927"/>
                </a:lnTo>
                <a:lnTo>
                  <a:pt x="2479" y="921"/>
                </a:lnTo>
                <a:lnTo>
                  <a:pt x="2483" y="914"/>
                </a:lnTo>
                <a:lnTo>
                  <a:pt x="2488" y="908"/>
                </a:lnTo>
                <a:lnTo>
                  <a:pt x="2497" y="897"/>
                </a:lnTo>
                <a:lnTo>
                  <a:pt x="2508" y="883"/>
                </a:lnTo>
                <a:lnTo>
                  <a:pt x="2538" y="848"/>
                </a:lnTo>
                <a:lnTo>
                  <a:pt x="2574" y="808"/>
                </a:lnTo>
                <a:lnTo>
                  <a:pt x="2609" y="768"/>
                </a:lnTo>
                <a:lnTo>
                  <a:pt x="2611" y="768"/>
                </a:lnTo>
                <a:lnTo>
                  <a:pt x="2614" y="767"/>
                </a:lnTo>
                <a:lnTo>
                  <a:pt x="2618" y="768"/>
                </a:lnTo>
                <a:lnTo>
                  <a:pt x="2622" y="769"/>
                </a:lnTo>
                <a:lnTo>
                  <a:pt x="2626" y="771"/>
                </a:lnTo>
                <a:lnTo>
                  <a:pt x="2630" y="773"/>
                </a:lnTo>
                <a:lnTo>
                  <a:pt x="2635" y="776"/>
                </a:lnTo>
                <a:lnTo>
                  <a:pt x="2638" y="780"/>
                </a:lnTo>
                <a:lnTo>
                  <a:pt x="2642" y="784"/>
                </a:lnTo>
                <a:lnTo>
                  <a:pt x="2645" y="789"/>
                </a:lnTo>
                <a:lnTo>
                  <a:pt x="2646" y="794"/>
                </a:lnTo>
                <a:lnTo>
                  <a:pt x="2647" y="798"/>
                </a:lnTo>
                <a:lnTo>
                  <a:pt x="2646" y="804"/>
                </a:lnTo>
                <a:lnTo>
                  <a:pt x="2644" y="809"/>
                </a:lnTo>
                <a:lnTo>
                  <a:pt x="2641" y="816"/>
                </a:lnTo>
                <a:lnTo>
                  <a:pt x="2638" y="822"/>
                </a:lnTo>
                <a:lnTo>
                  <a:pt x="2629" y="832"/>
                </a:lnTo>
                <a:lnTo>
                  <a:pt x="2618" y="846"/>
                </a:lnTo>
                <a:lnTo>
                  <a:pt x="2588" y="879"/>
                </a:lnTo>
                <a:lnTo>
                  <a:pt x="2558" y="913"/>
                </a:lnTo>
                <a:lnTo>
                  <a:pt x="2545" y="927"/>
                </a:lnTo>
                <a:lnTo>
                  <a:pt x="2536" y="940"/>
                </a:lnTo>
                <a:lnTo>
                  <a:pt x="2533" y="944"/>
                </a:lnTo>
                <a:lnTo>
                  <a:pt x="2532" y="947"/>
                </a:lnTo>
                <a:lnTo>
                  <a:pt x="2531" y="951"/>
                </a:lnTo>
                <a:lnTo>
                  <a:pt x="2530" y="954"/>
                </a:lnTo>
                <a:lnTo>
                  <a:pt x="2531" y="959"/>
                </a:lnTo>
                <a:lnTo>
                  <a:pt x="2532" y="963"/>
                </a:lnTo>
                <a:lnTo>
                  <a:pt x="2534" y="968"/>
                </a:lnTo>
                <a:lnTo>
                  <a:pt x="2537" y="972"/>
                </a:lnTo>
                <a:lnTo>
                  <a:pt x="2545" y="981"/>
                </a:lnTo>
                <a:lnTo>
                  <a:pt x="2556" y="994"/>
                </a:lnTo>
                <a:lnTo>
                  <a:pt x="2583" y="1023"/>
                </a:lnTo>
                <a:lnTo>
                  <a:pt x="2616" y="1056"/>
                </a:lnTo>
                <a:lnTo>
                  <a:pt x="2647" y="1087"/>
                </a:lnTo>
                <a:lnTo>
                  <a:pt x="2649" y="1088"/>
                </a:lnTo>
                <a:lnTo>
                  <a:pt x="2650" y="1091"/>
                </a:lnTo>
                <a:lnTo>
                  <a:pt x="2651" y="1093"/>
                </a:lnTo>
                <a:lnTo>
                  <a:pt x="2652" y="1095"/>
                </a:lnTo>
                <a:lnTo>
                  <a:pt x="2651" y="1101"/>
                </a:lnTo>
                <a:lnTo>
                  <a:pt x="2650" y="1104"/>
                </a:lnTo>
                <a:lnTo>
                  <a:pt x="2648" y="1107"/>
                </a:lnTo>
                <a:lnTo>
                  <a:pt x="2645" y="1113"/>
                </a:lnTo>
                <a:lnTo>
                  <a:pt x="2643" y="1116"/>
                </a:lnTo>
                <a:lnTo>
                  <a:pt x="2640" y="1119"/>
                </a:lnTo>
                <a:lnTo>
                  <a:pt x="2635" y="1123"/>
                </a:lnTo>
                <a:lnTo>
                  <a:pt x="2632" y="1125"/>
                </a:lnTo>
                <a:lnTo>
                  <a:pt x="2629" y="1127"/>
                </a:lnTo>
                <a:lnTo>
                  <a:pt x="2623" y="1129"/>
                </a:lnTo>
                <a:lnTo>
                  <a:pt x="2620" y="1130"/>
                </a:lnTo>
                <a:lnTo>
                  <a:pt x="2617" y="1130"/>
                </a:lnTo>
                <a:close/>
                <a:moveTo>
                  <a:pt x="2229" y="2129"/>
                </a:moveTo>
                <a:lnTo>
                  <a:pt x="2222" y="2129"/>
                </a:lnTo>
                <a:lnTo>
                  <a:pt x="2214" y="2128"/>
                </a:lnTo>
                <a:lnTo>
                  <a:pt x="2207" y="2127"/>
                </a:lnTo>
                <a:lnTo>
                  <a:pt x="2199" y="2126"/>
                </a:lnTo>
                <a:lnTo>
                  <a:pt x="2192" y="2124"/>
                </a:lnTo>
                <a:lnTo>
                  <a:pt x="2184" y="2121"/>
                </a:lnTo>
                <a:lnTo>
                  <a:pt x="2170" y="2116"/>
                </a:lnTo>
                <a:lnTo>
                  <a:pt x="2157" y="2108"/>
                </a:lnTo>
                <a:lnTo>
                  <a:pt x="2151" y="2104"/>
                </a:lnTo>
                <a:lnTo>
                  <a:pt x="2145" y="2100"/>
                </a:lnTo>
                <a:lnTo>
                  <a:pt x="2139" y="2095"/>
                </a:lnTo>
                <a:lnTo>
                  <a:pt x="2133" y="2090"/>
                </a:lnTo>
                <a:lnTo>
                  <a:pt x="2127" y="2084"/>
                </a:lnTo>
                <a:lnTo>
                  <a:pt x="2122" y="2078"/>
                </a:lnTo>
                <a:lnTo>
                  <a:pt x="2117" y="2072"/>
                </a:lnTo>
                <a:lnTo>
                  <a:pt x="2112" y="2065"/>
                </a:lnTo>
                <a:lnTo>
                  <a:pt x="2108" y="2058"/>
                </a:lnTo>
                <a:lnTo>
                  <a:pt x="2104" y="2051"/>
                </a:lnTo>
                <a:lnTo>
                  <a:pt x="2100" y="2044"/>
                </a:lnTo>
                <a:lnTo>
                  <a:pt x="2096" y="2037"/>
                </a:lnTo>
                <a:lnTo>
                  <a:pt x="2093" y="2029"/>
                </a:lnTo>
                <a:lnTo>
                  <a:pt x="2090" y="2022"/>
                </a:lnTo>
                <a:lnTo>
                  <a:pt x="2087" y="2014"/>
                </a:lnTo>
                <a:lnTo>
                  <a:pt x="2085" y="2005"/>
                </a:lnTo>
                <a:lnTo>
                  <a:pt x="2083" y="1996"/>
                </a:lnTo>
                <a:lnTo>
                  <a:pt x="2081" y="1988"/>
                </a:lnTo>
                <a:lnTo>
                  <a:pt x="2080" y="1979"/>
                </a:lnTo>
                <a:lnTo>
                  <a:pt x="2079" y="1970"/>
                </a:lnTo>
                <a:lnTo>
                  <a:pt x="2078" y="1961"/>
                </a:lnTo>
                <a:lnTo>
                  <a:pt x="2078" y="1952"/>
                </a:lnTo>
                <a:lnTo>
                  <a:pt x="2079" y="1932"/>
                </a:lnTo>
                <a:lnTo>
                  <a:pt x="2080" y="1923"/>
                </a:lnTo>
                <a:lnTo>
                  <a:pt x="2081" y="1914"/>
                </a:lnTo>
                <a:lnTo>
                  <a:pt x="2083" y="1905"/>
                </a:lnTo>
                <a:lnTo>
                  <a:pt x="2085" y="1896"/>
                </a:lnTo>
                <a:lnTo>
                  <a:pt x="2088" y="1886"/>
                </a:lnTo>
                <a:lnTo>
                  <a:pt x="2090" y="1878"/>
                </a:lnTo>
                <a:lnTo>
                  <a:pt x="2093" y="1869"/>
                </a:lnTo>
                <a:lnTo>
                  <a:pt x="2097" y="1861"/>
                </a:lnTo>
                <a:lnTo>
                  <a:pt x="2101" y="1853"/>
                </a:lnTo>
                <a:lnTo>
                  <a:pt x="2105" y="1845"/>
                </a:lnTo>
                <a:lnTo>
                  <a:pt x="2109" y="1838"/>
                </a:lnTo>
                <a:lnTo>
                  <a:pt x="2114" y="1829"/>
                </a:lnTo>
                <a:lnTo>
                  <a:pt x="2124" y="1815"/>
                </a:lnTo>
                <a:lnTo>
                  <a:pt x="2131" y="1809"/>
                </a:lnTo>
                <a:lnTo>
                  <a:pt x="2136" y="1803"/>
                </a:lnTo>
                <a:lnTo>
                  <a:pt x="2149" y="1791"/>
                </a:lnTo>
                <a:lnTo>
                  <a:pt x="2155" y="1786"/>
                </a:lnTo>
                <a:lnTo>
                  <a:pt x="2162" y="1781"/>
                </a:lnTo>
                <a:lnTo>
                  <a:pt x="2169" y="1777"/>
                </a:lnTo>
                <a:lnTo>
                  <a:pt x="2176" y="1773"/>
                </a:lnTo>
                <a:lnTo>
                  <a:pt x="2183" y="1768"/>
                </a:lnTo>
                <a:lnTo>
                  <a:pt x="2191" y="1765"/>
                </a:lnTo>
                <a:lnTo>
                  <a:pt x="2199" y="1762"/>
                </a:lnTo>
                <a:lnTo>
                  <a:pt x="2207" y="1760"/>
                </a:lnTo>
                <a:lnTo>
                  <a:pt x="2215" y="1758"/>
                </a:lnTo>
                <a:lnTo>
                  <a:pt x="2223" y="1757"/>
                </a:lnTo>
                <a:lnTo>
                  <a:pt x="2231" y="1756"/>
                </a:lnTo>
                <a:lnTo>
                  <a:pt x="2239" y="1756"/>
                </a:lnTo>
                <a:lnTo>
                  <a:pt x="2249" y="1756"/>
                </a:lnTo>
                <a:lnTo>
                  <a:pt x="2255" y="1757"/>
                </a:lnTo>
                <a:lnTo>
                  <a:pt x="2260" y="1758"/>
                </a:lnTo>
                <a:lnTo>
                  <a:pt x="2264" y="1759"/>
                </a:lnTo>
                <a:lnTo>
                  <a:pt x="2269" y="1760"/>
                </a:lnTo>
                <a:lnTo>
                  <a:pt x="2277" y="1763"/>
                </a:lnTo>
                <a:lnTo>
                  <a:pt x="2285" y="1767"/>
                </a:lnTo>
                <a:lnTo>
                  <a:pt x="2293" y="1773"/>
                </a:lnTo>
                <a:lnTo>
                  <a:pt x="2299" y="1778"/>
                </a:lnTo>
                <a:lnTo>
                  <a:pt x="2305" y="1784"/>
                </a:lnTo>
                <a:lnTo>
                  <a:pt x="2308" y="1787"/>
                </a:lnTo>
                <a:lnTo>
                  <a:pt x="2312" y="1791"/>
                </a:lnTo>
                <a:lnTo>
                  <a:pt x="2316" y="1798"/>
                </a:lnTo>
                <a:lnTo>
                  <a:pt x="2320" y="1806"/>
                </a:lnTo>
                <a:lnTo>
                  <a:pt x="2324" y="1814"/>
                </a:lnTo>
                <a:lnTo>
                  <a:pt x="2326" y="1823"/>
                </a:lnTo>
                <a:lnTo>
                  <a:pt x="2328" y="1833"/>
                </a:lnTo>
                <a:lnTo>
                  <a:pt x="2329" y="1842"/>
                </a:lnTo>
                <a:lnTo>
                  <a:pt x="2330" y="1852"/>
                </a:lnTo>
                <a:lnTo>
                  <a:pt x="2329" y="1865"/>
                </a:lnTo>
                <a:lnTo>
                  <a:pt x="2328" y="1871"/>
                </a:lnTo>
                <a:lnTo>
                  <a:pt x="2327" y="1877"/>
                </a:lnTo>
                <a:lnTo>
                  <a:pt x="2323" y="1889"/>
                </a:lnTo>
                <a:lnTo>
                  <a:pt x="2318" y="1902"/>
                </a:lnTo>
                <a:lnTo>
                  <a:pt x="2312" y="1913"/>
                </a:lnTo>
                <a:lnTo>
                  <a:pt x="2303" y="1923"/>
                </a:lnTo>
                <a:lnTo>
                  <a:pt x="2299" y="1928"/>
                </a:lnTo>
                <a:lnTo>
                  <a:pt x="2295" y="1933"/>
                </a:lnTo>
                <a:lnTo>
                  <a:pt x="2286" y="1943"/>
                </a:lnTo>
                <a:lnTo>
                  <a:pt x="2276" y="1952"/>
                </a:lnTo>
                <a:lnTo>
                  <a:pt x="2271" y="1956"/>
                </a:lnTo>
                <a:lnTo>
                  <a:pt x="2265" y="1960"/>
                </a:lnTo>
                <a:lnTo>
                  <a:pt x="2254" y="1966"/>
                </a:lnTo>
                <a:lnTo>
                  <a:pt x="2241" y="1972"/>
                </a:lnTo>
                <a:lnTo>
                  <a:pt x="2229" y="1976"/>
                </a:lnTo>
                <a:lnTo>
                  <a:pt x="2223" y="1978"/>
                </a:lnTo>
                <a:lnTo>
                  <a:pt x="2217" y="1980"/>
                </a:lnTo>
                <a:lnTo>
                  <a:pt x="2211" y="1981"/>
                </a:lnTo>
                <a:lnTo>
                  <a:pt x="2204" y="1982"/>
                </a:lnTo>
                <a:lnTo>
                  <a:pt x="2192" y="1982"/>
                </a:lnTo>
                <a:lnTo>
                  <a:pt x="2185" y="1982"/>
                </a:lnTo>
                <a:lnTo>
                  <a:pt x="2180" y="1980"/>
                </a:lnTo>
                <a:lnTo>
                  <a:pt x="2176" y="1977"/>
                </a:lnTo>
                <a:lnTo>
                  <a:pt x="2174" y="1975"/>
                </a:lnTo>
                <a:lnTo>
                  <a:pt x="2172" y="1973"/>
                </a:lnTo>
                <a:lnTo>
                  <a:pt x="2169" y="1969"/>
                </a:lnTo>
                <a:lnTo>
                  <a:pt x="2167" y="1963"/>
                </a:lnTo>
                <a:lnTo>
                  <a:pt x="2166" y="1961"/>
                </a:lnTo>
                <a:lnTo>
                  <a:pt x="2165" y="1958"/>
                </a:lnTo>
                <a:lnTo>
                  <a:pt x="2165" y="1950"/>
                </a:lnTo>
                <a:lnTo>
                  <a:pt x="2165" y="1947"/>
                </a:lnTo>
                <a:lnTo>
                  <a:pt x="2165" y="1945"/>
                </a:lnTo>
                <a:lnTo>
                  <a:pt x="2166" y="1940"/>
                </a:lnTo>
                <a:lnTo>
                  <a:pt x="2167" y="1938"/>
                </a:lnTo>
                <a:lnTo>
                  <a:pt x="2168" y="1936"/>
                </a:lnTo>
                <a:lnTo>
                  <a:pt x="2170" y="1934"/>
                </a:lnTo>
                <a:lnTo>
                  <a:pt x="2172" y="1933"/>
                </a:lnTo>
                <a:lnTo>
                  <a:pt x="2183" y="1931"/>
                </a:lnTo>
                <a:lnTo>
                  <a:pt x="2194" y="1928"/>
                </a:lnTo>
                <a:lnTo>
                  <a:pt x="2204" y="1925"/>
                </a:lnTo>
                <a:lnTo>
                  <a:pt x="2214" y="1921"/>
                </a:lnTo>
                <a:lnTo>
                  <a:pt x="2223" y="1917"/>
                </a:lnTo>
                <a:lnTo>
                  <a:pt x="2231" y="1911"/>
                </a:lnTo>
                <a:lnTo>
                  <a:pt x="2239" y="1906"/>
                </a:lnTo>
                <a:lnTo>
                  <a:pt x="2243" y="1903"/>
                </a:lnTo>
                <a:lnTo>
                  <a:pt x="2246" y="1900"/>
                </a:lnTo>
                <a:lnTo>
                  <a:pt x="2254" y="1894"/>
                </a:lnTo>
                <a:lnTo>
                  <a:pt x="2260" y="1886"/>
                </a:lnTo>
                <a:lnTo>
                  <a:pt x="2265" y="1880"/>
                </a:lnTo>
                <a:lnTo>
                  <a:pt x="2269" y="1873"/>
                </a:lnTo>
                <a:lnTo>
                  <a:pt x="2272" y="1866"/>
                </a:lnTo>
                <a:lnTo>
                  <a:pt x="2274" y="1859"/>
                </a:lnTo>
                <a:lnTo>
                  <a:pt x="2276" y="1852"/>
                </a:lnTo>
                <a:lnTo>
                  <a:pt x="2276" y="1845"/>
                </a:lnTo>
                <a:lnTo>
                  <a:pt x="2276" y="1837"/>
                </a:lnTo>
                <a:lnTo>
                  <a:pt x="2274" y="1828"/>
                </a:lnTo>
                <a:lnTo>
                  <a:pt x="2272" y="1825"/>
                </a:lnTo>
                <a:lnTo>
                  <a:pt x="2270" y="1822"/>
                </a:lnTo>
                <a:lnTo>
                  <a:pt x="2268" y="1819"/>
                </a:lnTo>
                <a:lnTo>
                  <a:pt x="2266" y="1817"/>
                </a:lnTo>
                <a:lnTo>
                  <a:pt x="2260" y="1812"/>
                </a:lnTo>
                <a:lnTo>
                  <a:pt x="2257" y="1811"/>
                </a:lnTo>
                <a:lnTo>
                  <a:pt x="2253" y="1809"/>
                </a:lnTo>
                <a:lnTo>
                  <a:pt x="2244" y="1807"/>
                </a:lnTo>
                <a:lnTo>
                  <a:pt x="2240" y="1807"/>
                </a:lnTo>
                <a:lnTo>
                  <a:pt x="2235" y="1807"/>
                </a:lnTo>
                <a:lnTo>
                  <a:pt x="2226" y="1807"/>
                </a:lnTo>
                <a:lnTo>
                  <a:pt x="2222" y="1808"/>
                </a:lnTo>
                <a:lnTo>
                  <a:pt x="2218" y="1810"/>
                </a:lnTo>
                <a:lnTo>
                  <a:pt x="2213" y="1811"/>
                </a:lnTo>
                <a:lnTo>
                  <a:pt x="2209" y="1813"/>
                </a:lnTo>
                <a:lnTo>
                  <a:pt x="2204" y="1815"/>
                </a:lnTo>
                <a:lnTo>
                  <a:pt x="2200" y="1818"/>
                </a:lnTo>
                <a:lnTo>
                  <a:pt x="2196" y="1821"/>
                </a:lnTo>
                <a:lnTo>
                  <a:pt x="2191" y="1824"/>
                </a:lnTo>
                <a:lnTo>
                  <a:pt x="2182" y="1832"/>
                </a:lnTo>
                <a:lnTo>
                  <a:pt x="2174" y="1840"/>
                </a:lnTo>
                <a:lnTo>
                  <a:pt x="2167" y="1849"/>
                </a:lnTo>
                <a:lnTo>
                  <a:pt x="2163" y="1854"/>
                </a:lnTo>
                <a:lnTo>
                  <a:pt x="2160" y="1859"/>
                </a:lnTo>
                <a:lnTo>
                  <a:pt x="2154" y="1870"/>
                </a:lnTo>
                <a:lnTo>
                  <a:pt x="2148" y="1881"/>
                </a:lnTo>
                <a:lnTo>
                  <a:pt x="2144" y="1894"/>
                </a:lnTo>
                <a:lnTo>
                  <a:pt x="2140" y="1907"/>
                </a:lnTo>
                <a:lnTo>
                  <a:pt x="2137" y="1920"/>
                </a:lnTo>
                <a:lnTo>
                  <a:pt x="2135" y="1934"/>
                </a:lnTo>
                <a:lnTo>
                  <a:pt x="2135" y="1941"/>
                </a:lnTo>
                <a:lnTo>
                  <a:pt x="2135" y="1948"/>
                </a:lnTo>
                <a:lnTo>
                  <a:pt x="2135" y="1962"/>
                </a:lnTo>
                <a:lnTo>
                  <a:pt x="2136" y="1974"/>
                </a:lnTo>
                <a:lnTo>
                  <a:pt x="2138" y="1986"/>
                </a:lnTo>
                <a:lnTo>
                  <a:pt x="2140" y="1991"/>
                </a:lnTo>
                <a:lnTo>
                  <a:pt x="2141" y="1997"/>
                </a:lnTo>
                <a:lnTo>
                  <a:pt x="2145" y="2007"/>
                </a:lnTo>
                <a:lnTo>
                  <a:pt x="2147" y="2013"/>
                </a:lnTo>
                <a:lnTo>
                  <a:pt x="2150" y="2018"/>
                </a:lnTo>
                <a:lnTo>
                  <a:pt x="2152" y="2023"/>
                </a:lnTo>
                <a:lnTo>
                  <a:pt x="2155" y="2027"/>
                </a:lnTo>
                <a:lnTo>
                  <a:pt x="2158" y="2031"/>
                </a:lnTo>
                <a:lnTo>
                  <a:pt x="2161" y="2035"/>
                </a:lnTo>
                <a:lnTo>
                  <a:pt x="2164" y="2039"/>
                </a:lnTo>
                <a:lnTo>
                  <a:pt x="2167" y="2043"/>
                </a:lnTo>
                <a:lnTo>
                  <a:pt x="2175" y="2050"/>
                </a:lnTo>
                <a:lnTo>
                  <a:pt x="2182" y="2055"/>
                </a:lnTo>
                <a:lnTo>
                  <a:pt x="2192" y="2060"/>
                </a:lnTo>
                <a:lnTo>
                  <a:pt x="2201" y="2064"/>
                </a:lnTo>
                <a:lnTo>
                  <a:pt x="2211" y="2067"/>
                </a:lnTo>
                <a:lnTo>
                  <a:pt x="2221" y="2068"/>
                </a:lnTo>
                <a:lnTo>
                  <a:pt x="2226" y="2069"/>
                </a:lnTo>
                <a:lnTo>
                  <a:pt x="2231" y="2069"/>
                </a:lnTo>
                <a:lnTo>
                  <a:pt x="2242" y="2068"/>
                </a:lnTo>
                <a:lnTo>
                  <a:pt x="2253" y="2067"/>
                </a:lnTo>
                <a:lnTo>
                  <a:pt x="2263" y="2064"/>
                </a:lnTo>
                <a:lnTo>
                  <a:pt x="2273" y="2061"/>
                </a:lnTo>
                <a:lnTo>
                  <a:pt x="2282" y="2057"/>
                </a:lnTo>
                <a:lnTo>
                  <a:pt x="2291" y="2052"/>
                </a:lnTo>
                <a:lnTo>
                  <a:pt x="2299" y="2046"/>
                </a:lnTo>
                <a:lnTo>
                  <a:pt x="2308" y="2039"/>
                </a:lnTo>
                <a:lnTo>
                  <a:pt x="2317" y="2032"/>
                </a:lnTo>
                <a:lnTo>
                  <a:pt x="2324" y="2024"/>
                </a:lnTo>
                <a:lnTo>
                  <a:pt x="2332" y="2016"/>
                </a:lnTo>
                <a:lnTo>
                  <a:pt x="2339" y="2006"/>
                </a:lnTo>
                <a:lnTo>
                  <a:pt x="2351" y="1986"/>
                </a:lnTo>
                <a:lnTo>
                  <a:pt x="2357" y="1976"/>
                </a:lnTo>
                <a:lnTo>
                  <a:pt x="2363" y="1965"/>
                </a:lnTo>
                <a:lnTo>
                  <a:pt x="2368" y="1954"/>
                </a:lnTo>
                <a:lnTo>
                  <a:pt x="2374" y="1942"/>
                </a:lnTo>
                <a:lnTo>
                  <a:pt x="2378" y="1930"/>
                </a:lnTo>
                <a:lnTo>
                  <a:pt x="2383" y="1919"/>
                </a:lnTo>
                <a:lnTo>
                  <a:pt x="2386" y="1907"/>
                </a:lnTo>
                <a:lnTo>
                  <a:pt x="2390" y="1895"/>
                </a:lnTo>
                <a:lnTo>
                  <a:pt x="2393" y="1882"/>
                </a:lnTo>
                <a:lnTo>
                  <a:pt x="2395" y="1870"/>
                </a:lnTo>
                <a:lnTo>
                  <a:pt x="2398" y="1858"/>
                </a:lnTo>
                <a:lnTo>
                  <a:pt x="2399" y="1846"/>
                </a:lnTo>
                <a:lnTo>
                  <a:pt x="2401" y="1834"/>
                </a:lnTo>
                <a:lnTo>
                  <a:pt x="2402" y="1822"/>
                </a:lnTo>
                <a:lnTo>
                  <a:pt x="2403" y="1810"/>
                </a:lnTo>
                <a:lnTo>
                  <a:pt x="2403" y="1799"/>
                </a:lnTo>
                <a:lnTo>
                  <a:pt x="2403" y="1788"/>
                </a:lnTo>
                <a:lnTo>
                  <a:pt x="2402" y="1778"/>
                </a:lnTo>
                <a:lnTo>
                  <a:pt x="2403" y="1776"/>
                </a:lnTo>
                <a:lnTo>
                  <a:pt x="2405" y="1773"/>
                </a:lnTo>
                <a:lnTo>
                  <a:pt x="2407" y="1770"/>
                </a:lnTo>
                <a:lnTo>
                  <a:pt x="2410" y="1769"/>
                </a:lnTo>
                <a:lnTo>
                  <a:pt x="2417" y="1766"/>
                </a:lnTo>
                <a:lnTo>
                  <a:pt x="2421" y="1765"/>
                </a:lnTo>
                <a:lnTo>
                  <a:pt x="2425" y="1765"/>
                </a:lnTo>
                <a:lnTo>
                  <a:pt x="2433" y="1765"/>
                </a:lnTo>
                <a:lnTo>
                  <a:pt x="2436" y="1766"/>
                </a:lnTo>
                <a:lnTo>
                  <a:pt x="2439" y="1767"/>
                </a:lnTo>
                <a:lnTo>
                  <a:pt x="2445" y="1770"/>
                </a:lnTo>
                <a:lnTo>
                  <a:pt x="2448" y="1773"/>
                </a:lnTo>
                <a:lnTo>
                  <a:pt x="2450" y="1775"/>
                </a:lnTo>
                <a:lnTo>
                  <a:pt x="2454" y="1781"/>
                </a:lnTo>
                <a:lnTo>
                  <a:pt x="2456" y="1784"/>
                </a:lnTo>
                <a:lnTo>
                  <a:pt x="2457" y="1788"/>
                </a:lnTo>
                <a:lnTo>
                  <a:pt x="2458" y="1793"/>
                </a:lnTo>
                <a:lnTo>
                  <a:pt x="2459" y="1797"/>
                </a:lnTo>
                <a:lnTo>
                  <a:pt x="2459" y="1803"/>
                </a:lnTo>
                <a:lnTo>
                  <a:pt x="2460" y="1809"/>
                </a:lnTo>
                <a:lnTo>
                  <a:pt x="2459" y="1824"/>
                </a:lnTo>
                <a:lnTo>
                  <a:pt x="2458" y="1841"/>
                </a:lnTo>
                <a:lnTo>
                  <a:pt x="2457" y="1856"/>
                </a:lnTo>
                <a:lnTo>
                  <a:pt x="2455" y="1871"/>
                </a:lnTo>
                <a:lnTo>
                  <a:pt x="2452" y="1886"/>
                </a:lnTo>
                <a:lnTo>
                  <a:pt x="2449" y="1902"/>
                </a:lnTo>
                <a:lnTo>
                  <a:pt x="2446" y="1916"/>
                </a:lnTo>
                <a:lnTo>
                  <a:pt x="2442" y="1930"/>
                </a:lnTo>
                <a:lnTo>
                  <a:pt x="2437" y="1944"/>
                </a:lnTo>
                <a:lnTo>
                  <a:pt x="2432" y="1959"/>
                </a:lnTo>
                <a:lnTo>
                  <a:pt x="2426" y="1972"/>
                </a:lnTo>
                <a:lnTo>
                  <a:pt x="2420" y="1985"/>
                </a:lnTo>
                <a:lnTo>
                  <a:pt x="2414" y="1997"/>
                </a:lnTo>
                <a:lnTo>
                  <a:pt x="2408" y="2009"/>
                </a:lnTo>
                <a:lnTo>
                  <a:pt x="2401" y="2022"/>
                </a:lnTo>
                <a:lnTo>
                  <a:pt x="2394" y="2033"/>
                </a:lnTo>
                <a:lnTo>
                  <a:pt x="2386" y="2043"/>
                </a:lnTo>
                <a:lnTo>
                  <a:pt x="2378" y="2054"/>
                </a:lnTo>
                <a:lnTo>
                  <a:pt x="2369" y="2063"/>
                </a:lnTo>
                <a:lnTo>
                  <a:pt x="2360" y="2073"/>
                </a:lnTo>
                <a:lnTo>
                  <a:pt x="2351" y="2082"/>
                </a:lnTo>
                <a:lnTo>
                  <a:pt x="2341" y="2090"/>
                </a:lnTo>
                <a:lnTo>
                  <a:pt x="2332" y="2097"/>
                </a:lnTo>
                <a:lnTo>
                  <a:pt x="2322" y="2103"/>
                </a:lnTo>
                <a:lnTo>
                  <a:pt x="2311" y="2109"/>
                </a:lnTo>
                <a:lnTo>
                  <a:pt x="2300" y="2114"/>
                </a:lnTo>
                <a:lnTo>
                  <a:pt x="2289" y="2119"/>
                </a:lnTo>
                <a:lnTo>
                  <a:pt x="2278" y="2122"/>
                </a:lnTo>
                <a:lnTo>
                  <a:pt x="2266" y="2125"/>
                </a:lnTo>
                <a:lnTo>
                  <a:pt x="2255" y="2127"/>
                </a:lnTo>
                <a:lnTo>
                  <a:pt x="2242" y="2129"/>
                </a:lnTo>
                <a:lnTo>
                  <a:pt x="2229" y="2129"/>
                </a:lnTo>
                <a:close/>
                <a:moveTo>
                  <a:pt x="2617" y="2123"/>
                </a:moveTo>
                <a:lnTo>
                  <a:pt x="2615" y="2123"/>
                </a:lnTo>
                <a:lnTo>
                  <a:pt x="2613" y="2123"/>
                </a:lnTo>
                <a:lnTo>
                  <a:pt x="2607" y="2120"/>
                </a:lnTo>
                <a:lnTo>
                  <a:pt x="2600" y="2116"/>
                </a:lnTo>
                <a:lnTo>
                  <a:pt x="2593" y="2110"/>
                </a:lnTo>
                <a:lnTo>
                  <a:pt x="2580" y="2099"/>
                </a:lnTo>
                <a:lnTo>
                  <a:pt x="2565" y="2085"/>
                </a:lnTo>
                <a:lnTo>
                  <a:pt x="2548" y="2068"/>
                </a:lnTo>
                <a:lnTo>
                  <a:pt x="2532" y="2051"/>
                </a:lnTo>
                <a:lnTo>
                  <a:pt x="2516" y="2034"/>
                </a:lnTo>
                <a:lnTo>
                  <a:pt x="2501" y="2018"/>
                </a:lnTo>
                <a:lnTo>
                  <a:pt x="2489" y="2003"/>
                </a:lnTo>
                <a:lnTo>
                  <a:pt x="2485" y="1997"/>
                </a:lnTo>
                <a:lnTo>
                  <a:pt x="2481" y="1991"/>
                </a:lnTo>
                <a:lnTo>
                  <a:pt x="2476" y="1981"/>
                </a:lnTo>
                <a:lnTo>
                  <a:pt x="2472" y="1971"/>
                </a:lnTo>
                <a:lnTo>
                  <a:pt x="2470" y="1962"/>
                </a:lnTo>
                <a:lnTo>
                  <a:pt x="2469" y="1952"/>
                </a:lnTo>
                <a:lnTo>
                  <a:pt x="2469" y="1945"/>
                </a:lnTo>
                <a:lnTo>
                  <a:pt x="2470" y="1940"/>
                </a:lnTo>
                <a:lnTo>
                  <a:pt x="2472" y="1934"/>
                </a:lnTo>
                <a:lnTo>
                  <a:pt x="2474" y="1928"/>
                </a:lnTo>
                <a:lnTo>
                  <a:pt x="2476" y="1922"/>
                </a:lnTo>
                <a:lnTo>
                  <a:pt x="2479" y="1915"/>
                </a:lnTo>
                <a:lnTo>
                  <a:pt x="2483" y="1909"/>
                </a:lnTo>
                <a:lnTo>
                  <a:pt x="2488" y="1902"/>
                </a:lnTo>
                <a:lnTo>
                  <a:pt x="2497" y="1890"/>
                </a:lnTo>
                <a:lnTo>
                  <a:pt x="2508" y="1876"/>
                </a:lnTo>
                <a:lnTo>
                  <a:pt x="2538" y="1842"/>
                </a:lnTo>
                <a:lnTo>
                  <a:pt x="2574" y="1802"/>
                </a:lnTo>
                <a:lnTo>
                  <a:pt x="2609" y="1761"/>
                </a:lnTo>
                <a:lnTo>
                  <a:pt x="2611" y="1761"/>
                </a:lnTo>
                <a:lnTo>
                  <a:pt x="2614" y="1760"/>
                </a:lnTo>
                <a:lnTo>
                  <a:pt x="2618" y="1761"/>
                </a:lnTo>
                <a:lnTo>
                  <a:pt x="2622" y="1762"/>
                </a:lnTo>
                <a:lnTo>
                  <a:pt x="2626" y="1764"/>
                </a:lnTo>
                <a:lnTo>
                  <a:pt x="2630" y="1766"/>
                </a:lnTo>
                <a:lnTo>
                  <a:pt x="2635" y="1769"/>
                </a:lnTo>
                <a:lnTo>
                  <a:pt x="2638" y="1774"/>
                </a:lnTo>
                <a:lnTo>
                  <a:pt x="2642" y="1778"/>
                </a:lnTo>
                <a:lnTo>
                  <a:pt x="2645" y="1783"/>
                </a:lnTo>
                <a:lnTo>
                  <a:pt x="2646" y="1788"/>
                </a:lnTo>
                <a:lnTo>
                  <a:pt x="2647" y="1793"/>
                </a:lnTo>
                <a:lnTo>
                  <a:pt x="2646" y="1798"/>
                </a:lnTo>
                <a:lnTo>
                  <a:pt x="2644" y="1803"/>
                </a:lnTo>
                <a:lnTo>
                  <a:pt x="2641" y="1809"/>
                </a:lnTo>
                <a:lnTo>
                  <a:pt x="2638" y="1815"/>
                </a:lnTo>
                <a:lnTo>
                  <a:pt x="2629" y="1825"/>
                </a:lnTo>
                <a:lnTo>
                  <a:pt x="2618" y="1840"/>
                </a:lnTo>
                <a:lnTo>
                  <a:pt x="2588" y="1873"/>
                </a:lnTo>
                <a:lnTo>
                  <a:pt x="2558" y="1907"/>
                </a:lnTo>
                <a:lnTo>
                  <a:pt x="2545" y="1921"/>
                </a:lnTo>
                <a:lnTo>
                  <a:pt x="2536" y="1933"/>
                </a:lnTo>
                <a:lnTo>
                  <a:pt x="2533" y="1937"/>
                </a:lnTo>
                <a:lnTo>
                  <a:pt x="2532" y="1940"/>
                </a:lnTo>
                <a:lnTo>
                  <a:pt x="2531" y="1944"/>
                </a:lnTo>
                <a:lnTo>
                  <a:pt x="2530" y="1948"/>
                </a:lnTo>
                <a:lnTo>
                  <a:pt x="2531" y="1953"/>
                </a:lnTo>
                <a:lnTo>
                  <a:pt x="2532" y="1957"/>
                </a:lnTo>
                <a:lnTo>
                  <a:pt x="2534" y="1962"/>
                </a:lnTo>
                <a:lnTo>
                  <a:pt x="2537" y="1967"/>
                </a:lnTo>
                <a:lnTo>
                  <a:pt x="2545" y="1976"/>
                </a:lnTo>
                <a:lnTo>
                  <a:pt x="2556" y="1987"/>
                </a:lnTo>
                <a:lnTo>
                  <a:pt x="2583" y="2017"/>
                </a:lnTo>
                <a:lnTo>
                  <a:pt x="2616" y="2050"/>
                </a:lnTo>
                <a:lnTo>
                  <a:pt x="2647" y="2081"/>
                </a:lnTo>
                <a:lnTo>
                  <a:pt x="2649" y="2083"/>
                </a:lnTo>
                <a:lnTo>
                  <a:pt x="2650" y="2085"/>
                </a:lnTo>
                <a:lnTo>
                  <a:pt x="2651" y="2087"/>
                </a:lnTo>
                <a:lnTo>
                  <a:pt x="2652" y="2090"/>
                </a:lnTo>
                <a:lnTo>
                  <a:pt x="2651" y="2095"/>
                </a:lnTo>
                <a:lnTo>
                  <a:pt x="2650" y="2098"/>
                </a:lnTo>
                <a:lnTo>
                  <a:pt x="2648" y="2101"/>
                </a:lnTo>
                <a:lnTo>
                  <a:pt x="2645" y="2107"/>
                </a:lnTo>
                <a:lnTo>
                  <a:pt x="2643" y="2109"/>
                </a:lnTo>
                <a:lnTo>
                  <a:pt x="2640" y="2112"/>
                </a:lnTo>
                <a:lnTo>
                  <a:pt x="2635" y="2116"/>
                </a:lnTo>
                <a:lnTo>
                  <a:pt x="2632" y="2118"/>
                </a:lnTo>
                <a:lnTo>
                  <a:pt x="2629" y="2120"/>
                </a:lnTo>
                <a:lnTo>
                  <a:pt x="2623" y="2123"/>
                </a:lnTo>
                <a:lnTo>
                  <a:pt x="2620" y="2123"/>
                </a:lnTo>
                <a:lnTo>
                  <a:pt x="2617" y="2123"/>
                </a:lnTo>
                <a:close/>
                <a:moveTo>
                  <a:pt x="2229" y="3095"/>
                </a:moveTo>
                <a:lnTo>
                  <a:pt x="2222" y="3094"/>
                </a:lnTo>
                <a:lnTo>
                  <a:pt x="2214" y="3094"/>
                </a:lnTo>
                <a:lnTo>
                  <a:pt x="2207" y="3093"/>
                </a:lnTo>
                <a:lnTo>
                  <a:pt x="2199" y="3090"/>
                </a:lnTo>
                <a:lnTo>
                  <a:pt x="2192" y="3088"/>
                </a:lnTo>
                <a:lnTo>
                  <a:pt x="2184" y="3086"/>
                </a:lnTo>
                <a:lnTo>
                  <a:pt x="2170" y="3080"/>
                </a:lnTo>
                <a:lnTo>
                  <a:pt x="2157" y="3073"/>
                </a:lnTo>
                <a:lnTo>
                  <a:pt x="2151" y="3069"/>
                </a:lnTo>
                <a:lnTo>
                  <a:pt x="2145" y="3064"/>
                </a:lnTo>
                <a:lnTo>
                  <a:pt x="2139" y="3059"/>
                </a:lnTo>
                <a:lnTo>
                  <a:pt x="2133" y="3054"/>
                </a:lnTo>
                <a:lnTo>
                  <a:pt x="2127" y="3049"/>
                </a:lnTo>
                <a:lnTo>
                  <a:pt x="2122" y="3043"/>
                </a:lnTo>
                <a:lnTo>
                  <a:pt x="2117" y="3037"/>
                </a:lnTo>
                <a:lnTo>
                  <a:pt x="2112" y="3029"/>
                </a:lnTo>
                <a:lnTo>
                  <a:pt x="2108" y="3023"/>
                </a:lnTo>
                <a:lnTo>
                  <a:pt x="2104" y="3016"/>
                </a:lnTo>
                <a:lnTo>
                  <a:pt x="2100" y="3009"/>
                </a:lnTo>
                <a:lnTo>
                  <a:pt x="2096" y="3001"/>
                </a:lnTo>
                <a:lnTo>
                  <a:pt x="2093" y="2994"/>
                </a:lnTo>
                <a:lnTo>
                  <a:pt x="2090" y="2986"/>
                </a:lnTo>
                <a:lnTo>
                  <a:pt x="2087" y="2978"/>
                </a:lnTo>
                <a:lnTo>
                  <a:pt x="2085" y="2969"/>
                </a:lnTo>
                <a:lnTo>
                  <a:pt x="2083" y="2961"/>
                </a:lnTo>
                <a:lnTo>
                  <a:pt x="2081" y="2952"/>
                </a:lnTo>
                <a:lnTo>
                  <a:pt x="2080" y="2943"/>
                </a:lnTo>
                <a:lnTo>
                  <a:pt x="2079" y="2934"/>
                </a:lnTo>
                <a:lnTo>
                  <a:pt x="2078" y="2925"/>
                </a:lnTo>
                <a:lnTo>
                  <a:pt x="2078" y="2916"/>
                </a:lnTo>
                <a:lnTo>
                  <a:pt x="2079" y="2897"/>
                </a:lnTo>
                <a:lnTo>
                  <a:pt x="2080" y="2887"/>
                </a:lnTo>
                <a:lnTo>
                  <a:pt x="2081" y="2878"/>
                </a:lnTo>
                <a:lnTo>
                  <a:pt x="2083" y="2869"/>
                </a:lnTo>
                <a:lnTo>
                  <a:pt x="2085" y="2860"/>
                </a:lnTo>
                <a:lnTo>
                  <a:pt x="2088" y="2852"/>
                </a:lnTo>
                <a:lnTo>
                  <a:pt x="2090" y="2842"/>
                </a:lnTo>
                <a:lnTo>
                  <a:pt x="2093" y="2834"/>
                </a:lnTo>
                <a:lnTo>
                  <a:pt x="2097" y="2825"/>
                </a:lnTo>
                <a:lnTo>
                  <a:pt x="2101" y="2817"/>
                </a:lnTo>
                <a:lnTo>
                  <a:pt x="2105" y="2810"/>
                </a:lnTo>
                <a:lnTo>
                  <a:pt x="2109" y="2802"/>
                </a:lnTo>
                <a:lnTo>
                  <a:pt x="2114" y="2795"/>
                </a:lnTo>
                <a:lnTo>
                  <a:pt x="2124" y="2780"/>
                </a:lnTo>
                <a:lnTo>
                  <a:pt x="2131" y="2773"/>
                </a:lnTo>
                <a:lnTo>
                  <a:pt x="2136" y="2767"/>
                </a:lnTo>
                <a:lnTo>
                  <a:pt x="2149" y="2756"/>
                </a:lnTo>
                <a:lnTo>
                  <a:pt x="2155" y="2751"/>
                </a:lnTo>
                <a:lnTo>
                  <a:pt x="2162" y="2746"/>
                </a:lnTo>
                <a:lnTo>
                  <a:pt x="2169" y="2741"/>
                </a:lnTo>
                <a:lnTo>
                  <a:pt x="2176" y="2737"/>
                </a:lnTo>
                <a:lnTo>
                  <a:pt x="2183" y="2734"/>
                </a:lnTo>
                <a:lnTo>
                  <a:pt x="2191" y="2730"/>
                </a:lnTo>
                <a:lnTo>
                  <a:pt x="2199" y="2727"/>
                </a:lnTo>
                <a:lnTo>
                  <a:pt x="2207" y="2725"/>
                </a:lnTo>
                <a:lnTo>
                  <a:pt x="2215" y="2723"/>
                </a:lnTo>
                <a:lnTo>
                  <a:pt x="2223" y="2721"/>
                </a:lnTo>
                <a:lnTo>
                  <a:pt x="2231" y="2721"/>
                </a:lnTo>
                <a:lnTo>
                  <a:pt x="2239" y="2720"/>
                </a:lnTo>
                <a:lnTo>
                  <a:pt x="2249" y="2721"/>
                </a:lnTo>
                <a:lnTo>
                  <a:pt x="2255" y="2721"/>
                </a:lnTo>
                <a:lnTo>
                  <a:pt x="2260" y="2722"/>
                </a:lnTo>
                <a:lnTo>
                  <a:pt x="2264" y="2723"/>
                </a:lnTo>
                <a:lnTo>
                  <a:pt x="2269" y="2725"/>
                </a:lnTo>
                <a:lnTo>
                  <a:pt x="2277" y="2728"/>
                </a:lnTo>
                <a:lnTo>
                  <a:pt x="2285" y="2733"/>
                </a:lnTo>
                <a:lnTo>
                  <a:pt x="2293" y="2737"/>
                </a:lnTo>
                <a:lnTo>
                  <a:pt x="2299" y="2743"/>
                </a:lnTo>
                <a:lnTo>
                  <a:pt x="2305" y="2749"/>
                </a:lnTo>
                <a:lnTo>
                  <a:pt x="2308" y="2752"/>
                </a:lnTo>
                <a:lnTo>
                  <a:pt x="2312" y="2755"/>
                </a:lnTo>
                <a:lnTo>
                  <a:pt x="2316" y="2762"/>
                </a:lnTo>
                <a:lnTo>
                  <a:pt x="2320" y="2770"/>
                </a:lnTo>
                <a:lnTo>
                  <a:pt x="2324" y="2778"/>
                </a:lnTo>
                <a:lnTo>
                  <a:pt x="2326" y="2787"/>
                </a:lnTo>
                <a:lnTo>
                  <a:pt x="2328" y="2797"/>
                </a:lnTo>
                <a:lnTo>
                  <a:pt x="2329" y="2807"/>
                </a:lnTo>
                <a:lnTo>
                  <a:pt x="2330" y="2817"/>
                </a:lnTo>
                <a:lnTo>
                  <a:pt x="2329" y="2829"/>
                </a:lnTo>
                <a:lnTo>
                  <a:pt x="2328" y="2835"/>
                </a:lnTo>
                <a:lnTo>
                  <a:pt x="2327" y="2842"/>
                </a:lnTo>
                <a:lnTo>
                  <a:pt x="2323" y="2854"/>
                </a:lnTo>
                <a:lnTo>
                  <a:pt x="2318" y="2866"/>
                </a:lnTo>
                <a:lnTo>
                  <a:pt x="2312" y="2877"/>
                </a:lnTo>
                <a:lnTo>
                  <a:pt x="2303" y="2888"/>
                </a:lnTo>
                <a:lnTo>
                  <a:pt x="2299" y="2893"/>
                </a:lnTo>
                <a:lnTo>
                  <a:pt x="2295" y="2898"/>
                </a:lnTo>
                <a:lnTo>
                  <a:pt x="2286" y="2907"/>
                </a:lnTo>
                <a:lnTo>
                  <a:pt x="2276" y="2916"/>
                </a:lnTo>
                <a:lnTo>
                  <a:pt x="2271" y="2920"/>
                </a:lnTo>
                <a:lnTo>
                  <a:pt x="2265" y="2924"/>
                </a:lnTo>
                <a:lnTo>
                  <a:pt x="2254" y="2931"/>
                </a:lnTo>
                <a:lnTo>
                  <a:pt x="2241" y="2936"/>
                </a:lnTo>
                <a:lnTo>
                  <a:pt x="2229" y="2941"/>
                </a:lnTo>
                <a:lnTo>
                  <a:pt x="2223" y="2943"/>
                </a:lnTo>
                <a:lnTo>
                  <a:pt x="2217" y="2944"/>
                </a:lnTo>
                <a:lnTo>
                  <a:pt x="2211" y="2945"/>
                </a:lnTo>
                <a:lnTo>
                  <a:pt x="2204" y="2946"/>
                </a:lnTo>
                <a:lnTo>
                  <a:pt x="2192" y="2947"/>
                </a:lnTo>
                <a:lnTo>
                  <a:pt x="2185" y="2946"/>
                </a:lnTo>
                <a:lnTo>
                  <a:pt x="2180" y="2944"/>
                </a:lnTo>
                <a:lnTo>
                  <a:pt x="2176" y="2942"/>
                </a:lnTo>
                <a:lnTo>
                  <a:pt x="2174" y="2940"/>
                </a:lnTo>
                <a:lnTo>
                  <a:pt x="2172" y="2938"/>
                </a:lnTo>
                <a:lnTo>
                  <a:pt x="2169" y="2933"/>
                </a:lnTo>
                <a:lnTo>
                  <a:pt x="2167" y="2928"/>
                </a:lnTo>
                <a:lnTo>
                  <a:pt x="2166" y="2925"/>
                </a:lnTo>
                <a:lnTo>
                  <a:pt x="2165" y="2922"/>
                </a:lnTo>
                <a:lnTo>
                  <a:pt x="2165" y="2916"/>
                </a:lnTo>
                <a:lnTo>
                  <a:pt x="2165" y="2913"/>
                </a:lnTo>
                <a:lnTo>
                  <a:pt x="2165" y="2909"/>
                </a:lnTo>
                <a:lnTo>
                  <a:pt x="2166" y="2904"/>
                </a:lnTo>
                <a:lnTo>
                  <a:pt x="2167" y="2902"/>
                </a:lnTo>
                <a:lnTo>
                  <a:pt x="2168" y="2900"/>
                </a:lnTo>
                <a:lnTo>
                  <a:pt x="2170" y="2899"/>
                </a:lnTo>
                <a:lnTo>
                  <a:pt x="2172" y="2897"/>
                </a:lnTo>
                <a:lnTo>
                  <a:pt x="2183" y="2896"/>
                </a:lnTo>
                <a:lnTo>
                  <a:pt x="2194" y="2893"/>
                </a:lnTo>
                <a:lnTo>
                  <a:pt x="2204" y="2890"/>
                </a:lnTo>
                <a:lnTo>
                  <a:pt x="2214" y="2886"/>
                </a:lnTo>
                <a:lnTo>
                  <a:pt x="2223" y="2881"/>
                </a:lnTo>
                <a:lnTo>
                  <a:pt x="2231" y="2876"/>
                </a:lnTo>
                <a:lnTo>
                  <a:pt x="2239" y="2870"/>
                </a:lnTo>
                <a:lnTo>
                  <a:pt x="2243" y="2868"/>
                </a:lnTo>
                <a:lnTo>
                  <a:pt x="2246" y="2865"/>
                </a:lnTo>
                <a:lnTo>
                  <a:pt x="2254" y="2858"/>
                </a:lnTo>
                <a:lnTo>
                  <a:pt x="2260" y="2852"/>
                </a:lnTo>
                <a:lnTo>
                  <a:pt x="2265" y="2844"/>
                </a:lnTo>
                <a:lnTo>
                  <a:pt x="2269" y="2837"/>
                </a:lnTo>
                <a:lnTo>
                  <a:pt x="2272" y="2830"/>
                </a:lnTo>
                <a:lnTo>
                  <a:pt x="2274" y="2823"/>
                </a:lnTo>
                <a:lnTo>
                  <a:pt x="2276" y="2816"/>
                </a:lnTo>
                <a:lnTo>
                  <a:pt x="2276" y="2809"/>
                </a:lnTo>
                <a:lnTo>
                  <a:pt x="2276" y="2801"/>
                </a:lnTo>
                <a:lnTo>
                  <a:pt x="2274" y="2794"/>
                </a:lnTo>
                <a:lnTo>
                  <a:pt x="2272" y="2789"/>
                </a:lnTo>
                <a:lnTo>
                  <a:pt x="2270" y="2786"/>
                </a:lnTo>
                <a:lnTo>
                  <a:pt x="2268" y="2784"/>
                </a:lnTo>
                <a:lnTo>
                  <a:pt x="2266" y="2781"/>
                </a:lnTo>
                <a:lnTo>
                  <a:pt x="2260" y="2777"/>
                </a:lnTo>
                <a:lnTo>
                  <a:pt x="2257" y="2775"/>
                </a:lnTo>
                <a:lnTo>
                  <a:pt x="2253" y="2774"/>
                </a:lnTo>
                <a:lnTo>
                  <a:pt x="2244" y="2772"/>
                </a:lnTo>
                <a:lnTo>
                  <a:pt x="2240" y="2771"/>
                </a:lnTo>
                <a:lnTo>
                  <a:pt x="2235" y="2771"/>
                </a:lnTo>
                <a:lnTo>
                  <a:pt x="2226" y="2772"/>
                </a:lnTo>
                <a:lnTo>
                  <a:pt x="2222" y="2773"/>
                </a:lnTo>
                <a:lnTo>
                  <a:pt x="2218" y="2774"/>
                </a:lnTo>
                <a:lnTo>
                  <a:pt x="2213" y="2776"/>
                </a:lnTo>
                <a:lnTo>
                  <a:pt x="2209" y="2777"/>
                </a:lnTo>
                <a:lnTo>
                  <a:pt x="2204" y="2780"/>
                </a:lnTo>
                <a:lnTo>
                  <a:pt x="2200" y="2782"/>
                </a:lnTo>
                <a:lnTo>
                  <a:pt x="2196" y="2785"/>
                </a:lnTo>
                <a:lnTo>
                  <a:pt x="2191" y="2788"/>
                </a:lnTo>
                <a:lnTo>
                  <a:pt x="2182" y="2796"/>
                </a:lnTo>
                <a:lnTo>
                  <a:pt x="2174" y="2804"/>
                </a:lnTo>
                <a:lnTo>
                  <a:pt x="2167" y="2813"/>
                </a:lnTo>
                <a:lnTo>
                  <a:pt x="2163" y="2818"/>
                </a:lnTo>
                <a:lnTo>
                  <a:pt x="2160" y="2823"/>
                </a:lnTo>
                <a:lnTo>
                  <a:pt x="2154" y="2834"/>
                </a:lnTo>
                <a:lnTo>
                  <a:pt x="2148" y="2845"/>
                </a:lnTo>
                <a:lnTo>
                  <a:pt x="2144" y="2859"/>
                </a:lnTo>
                <a:lnTo>
                  <a:pt x="2140" y="2871"/>
                </a:lnTo>
                <a:lnTo>
                  <a:pt x="2137" y="2885"/>
                </a:lnTo>
                <a:lnTo>
                  <a:pt x="2135" y="2899"/>
                </a:lnTo>
                <a:lnTo>
                  <a:pt x="2135" y="2906"/>
                </a:lnTo>
                <a:lnTo>
                  <a:pt x="2135" y="2914"/>
                </a:lnTo>
                <a:lnTo>
                  <a:pt x="2135" y="2926"/>
                </a:lnTo>
                <a:lnTo>
                  <a:pt x="2136" y="2939"/>
                </a:lnTo>
                <a:lnTo>
                  <a:pt x="2138" y="2950"/>
                </a:lnTo>
                <a:lnTo>
                  <a:pt x="2140" y="2956"/>
                </a:lnTo>
                <a:lnTo>
                  <a:pt x="2141" y="2961"/>
                </a:lnTo>
                <a:lnTo>
                  <a:pt x="2145" y="2973"/>
                </a:lnTo>
                <a:lnTo>
                  <a:pt x="2147" y="2978"/>
                </a:lnTo>
                <a:lnTo>
                  <a:pt x="2150" y="2983"/>
                </a:lnTo>
                <a:lnTo>
                  <a:pt x="2152" y="2987"/>
                </a:lnTo>
                <a:lnTo>
                  <a:pt x="2155" y="2992"/>
                </a:lnTo>
                <a:lnTo>
                  <a:pt x="2158" y="2996"/>
                </a:lnTo>
                <a:lnTo>
                  <a:pt x="2161" y="3000"/>
                </a:lnTo>
                <a:lnTo>
                  <a:pt x="2164" y="3004"/>
                </a:lnTo>
                <a:lnTo>
                  <a:pt x="2167" y="3007"/>
                </a:lnTo>
                <a:lnTo>
                  <a:pt x="2175" y="3014"/>
                </a:lnTo>
                <a:lnTo>
                  <a:pt x="2182" y="3020"/>
                </a:lnTo>
                <a:lnTo>
                  <a:pt x="2192" y="3025"/>
                </a:lnTo>
                <a:lnTo>
                  <a:pt x="2201" y="3028"/>
                </a:lnTo>
                <a:lnTo>
                  <a:pt x="2211" y="3032"/>
                </a:lnTo>
                <a:lnTo>
                  <a:pt x="2221" y="3034"/>
                </a:lnTo>
                <a:lnTo>
                  <a:pt x="2226" y="3034"/>
                </a:lnTo>
                <a:lnTo>
                  <a:pt x="2231" y="3034"/>
                </a:lnTo>
                <a:lnTo>
                  <a:pt x="2242" y="3034"/>
                </a:lnTo>
                <a:lnTo>
                  <a:pt x="2253" y="3032"/>
                </a:lnTo>
                <a:lnTo>
                  <a:pt x="2263" y="3029"/>
                </a:lnTo>
                <a:lnTo>
                  <a:pt x="2273" y="3026"/>
                </a:lnTo>
                <a:lnTo>
                  <a:pt x="2282" y="3021"/>
                </a:lnTo>
                <a:lnTo>
                  <a:pt x="2291" y="3016"/>
                </a:lnTo>
                <a:lnTo>
                  <a:pt x="2299" y="3010"/>
                </a:lnTo>
                <a:lnTo>
                  <a:pt x="2308" y="3004"/>
                </a:lnTo>
                <a:lnTo>
                  <a:pt x="2317" y="2997"/>
                </a:lnTo>
                <a:lnTo>
                  <a:pt x="2324" y="2989"/>
                </a:lnTo>
                <a:lnTo>
                  <a:pt x="2332" y="2980"/>
                </a:lnTo>
                <a:lnTo>
                  <a:pt x="2339" y="2970"/>
                </a:lnTo>
                <a:lnTo>
                  <a:pt x="2351" y="2951"/>
                </a:lnTo>
                <a:lnTo>
                  <a:pt x="2357" y="2941"/>
                </a:lnTo>
                <a:lnTo>
                  <a:pt x="2363" y="2930"/>
                </a:lnTo>
                <a:lnTo>
                  <a:pt x="2368" y="2919"/>
                </a:lnTo>
                <a:lnTo>
                  <a:pt x="2374" y="2906"/>
                </a:lnTo>
                <a:lnTo>
                  <a:pt x="2378" y="2895"/>
                </a:lnTo>
                <a:lnTo>
                  <a:pt x="2383" y="2883"/>
                </a:lnTo>
                <a:lnTo>
                  <a:pt x="2386" y="2871"/>
                </a:lnTo>
                <a:lnTo>
                  <a:pt x="2390" y="2859"/>
                </a:lnTo>
                <a:lnTo>
                  <a:pt x="2393" y="2846"/>
                </a:lnTo>
                <a:lnTo>
                  <a:pt x="2395" y="2834"/>
                </a:lnTo>
                <a:lnTo>
                  <a:pt x="2398" y="2822"/>
                </a:lnTo>
                <a:lnTo>
                  <a:pt x="2399" y="2810"/>
                </a:lnTo>
                <a:lnTo>
                  <a:pt x="2401" y="2799"/>
                </a:lnTo>
                <a:lnTo>
                  <a:pt x="2402" y="2786"/>
                </a:lnTo>
                <a:lnTo>
                  <a:pt x="2403" y="2775"/>
                </a:lnTo>
                <a:lnTo>
                  <a:pt x="2403" y="2764"/>
                </a:lnTo>
                <a:lnTo>
                  <a:pt x="2403" y="2753"/>
                </a:lnTo>
                <a:lnTo>
                  <a:pt x="2402" y="2742"/>
                </a:lnTo>
                <a:lnTo>
                  <a:pt x="2403" y="2740"/>
                </a:lnTo>
                <a:lnTo>
                  <a:pt x="2405" y="2738"/>
                </a:lnTo>
                <a:lnTo>
                  <a:pt x="2407" y="2736"/>
                </a:lnTo>
                <a:lnTo>
                  <a:pt x="2410" y="2734"/>
                </a:lnTo>
                <a:lnTo>
                  <a:pt x="2417" y="2730"/>
                </a:lnTo>
                <a:lnTo>
                  <a:pt x="2421" y="2730"/>
                </a:lnTo>
                <a:lnTo>
                  <a:pt x="2425" y="2729"/>
                </a:lnTo>
                <a:lnTo>
                  <a:pt x="2433" y="2730"/>
                </a:lnTo>
                <a:lnTo>
                  <a:pt x="2436" y="2732"/>
                </a:lnTo>
                <a:lnTo>
                  <a:pt x="2439" y="2732"/>
                </a:lnTo>
                <a:lnTo>
                  <a:pt x="2445" y="2735"/>
                </a:lnTo>
                <a:lnTo>
                  <a:pt x="2448" y="2737"/>
                </a:lnTo>
                <a:lnTo>
                  <a:pt x="2450" y="2740"/>
                </a:lnTo>
                <a:lnTo>
                  <a:pt x="2454" y="2745"/>
                </a:lnTo>
                <a:lnTo>
                  <a:pt x="2456" y="2749"/>
                </a:lnTo>
                <a:lnTo>
                  <a:pt x="2457" y="2753"/>
                </a:lnTo>
                <a:lnTo>
                  <a:pt x="2458" y="2757"/>
                </a:lnTo>
                <a:lnTo>
                  <a:pt x="2459" y="2762"/>
                </a:lnTo>
                <a:lnTo>
                  <a:pt x="2459" y="2767"/>
                </a:lnTo>
                <a:lnTo>
                  <a:pt x="2460" y="2773"/>
                </a:lnTo>
                <a:lnTo>
                  <a:pt x="2459" y="2789"/>
                </a:lnTo>
                <a:lnTo>
                  <a:pt x="2458" y="2805"/>
                </a:lnTo>
                <a:lnTo>
                  <a:pt x="2457" y="2820"/>
                </a:lnTo>
                <a:lnTo>
                  <a:pt x="2455" y="2835"/>
                </a:lnTo>
                <a:lnTo>
                  <a:pt x="2452" y="2850"/>
                </a:lnTo>
                <a:lnTo>
                  <a:pt x="2449" y="2866"/>
                </a:lnTo>
                <a:lnTo>
                  <a:pt x="2446" y="2880"/>
                </a:lnTo>
                <a:lnTo>
                  <a:pt x="2442" y="2895"/>
                </a:lnTo>
                <a:lnTo>
                  <a:pt x="2437" y="2908"/>
                </a:lnTo>
                <a:lnTo>
                  <a:pt x="2432" y="2923"/>
                </a:lnTo>
                <a:lnTo>
                  <a:pt x="2426" y="2936"/>
                </a:lnTo>
                <a:lnTo>
                  <a:pt x="2420" y="2949"/>
                </a:lnTo>
                <a:lnTo>
                  <a:pt x="2414" y="2961"/>
                </a:lnTo>
                <a:lnTo>
                  <a:pt x="2408" y="2975"/>
                </a:lnTo>
                <a:lnTo>
                  <a:pt x="2401" y="2986"/>
                </a:lnTo>
                <a:lnTo>
                  <a:pt x="2394" y="2997"/>
                </a:lnTo>
                <a:lnTo>
                  <a:pt x="2386" y="3008"/>
                </a:lnTo>
                <a:lnTo>
                  <a:pt x="2378" y="3018"/>
                </a:lnTo>
                <a:lnTo>
                  <a:pt x="2369" y="3028"/>
                </a:lnTo>
                <a:lnTo>
                  <a:pt x="2360" y="3038"/>
                </a:lnTo>
                <a:lnTo>
                  <a:pt x="2351" y="3046"/>
                </a:lnTo>
                <a:lnTo>
                  <a:pt x="2341" y="3054"/>
                </a:lnTo>
                <a:lnTo>
                  <a:pt x="2332" y="3061"/>
                </a:lnTo>
                <a:lnTo>
                  <a:pt x="2322" y="3068"/>
                </a:lnTo>
                <a:lnTo>
                  <a:pt x="2311" y="3074"/>
                </a:lnTo>
                <a:lnTo>
                  <a:pt x="2300" y="3079"/>
                </a:lnTo>
                <a:lnTo>
                  <a:pt x="2289" y="3083"/>
                </a:lnTo>
                <a:lnTo>
                  <a:pt x="2278" y="3087"/>
                </a:lnTo>
                <a:lnTo>
                  <a:pt x="2266" y="3090"/>
                </a:lnTo>
                <a:lnTo>
                  <a:pt x="2255" y="3093"/>
                </a:lnTo>
                <a:lnTo>
                  <a:pt x="2242" y="3094"/>
                </a:lnTo>
                <a:lnTo>
                  <a:pt x="2229" y="3095"/>
                </a:lnTo>
                <a:close/>
                <a:moveTo>
                  <a:pt x="2617" y="3088"/>
                </a:moveTo>
                <a:lnTo>
                  <a:pt x="2615" y="3088"/>
                </a:lnTo>
                <a:lnTo>
                  <a:pt x="2613" y="3087"/>
                </a:lnTo>
                <a:lnTo>
                  <a:pt x="2607" y="3084"/>
                </a:lnTo>
                <a:lnTo>
                  <a:pt x="2600" y="3080"/>
                </a:lnTo>
                <a:lnTo>
                  <a:pt x="2593" y="3075"/>
                </a:lnTo>
                <a:lnTo>
                  <a:pt x="2580" y="3064"/>
                </a:lnTo>
                <a:lnTo>
                  <a:pt x="2565" y="3050"/>
                </a:lnTo>
                <a:lnTo>
                  <a:pt x="2548" y="3034"/>
                </a:lnTo>
                <a:lnTo>
                  <a:pt x="2532" y="3016"/>
                </a:lnTo>
                <a:lnTo>
                  <a:pt x="2516" y="2999"/>
                </a:lnTo>
                <a:lnTo>
                  <a:pt x="2501" y="2983"/>
                </a:lnTo>
                <a:lnTo>
                  <a:pt x="2489" y="2967"/>
                </a:lnTo>
                <a:lnTo>
                  <a:pt x="2485" y="2961"/>
                </a:lnTo>
                <a:lnTo>
                  <a:pt x="2481" y="2956"/>
                </a:lnTo>
                <a:lnTo>
                  <a:pt x="2476" y="2946"/>
                </a:lnTo>
                <a:lnTo>
                  <a:pt x="2472" y="2936"/>
                </a:lnTo>
                <a:lnTo>
                  <a:pt x="2470" y="2926"/>
                </a:lnTo>
                <a:lnTo>
                  <a:pt x="2469" y="2916"/>
                </a:lnTo>
                <a:lnTo>
                  <a:pt x="2469" y="2910"/>
                </a:lnTo>
                <a:lnTo>
                  <a:pt x="2470" y="2904"/>
                </a:lnTo>
                <a:lnTo>
                  <a:pt x="2472" y="2898"/>
                </a:lnTo>
                <a:lnTo>
                  <a:pt x="2474" y="2892"/>
                </a:lnTo>
                <a:lnTo>
                  <a:pt x="2476" y="2886"/>
                </a:lnTo>
                <a:lnTo>
                  <a:pt x="2479" y="2880"/>
                </a:lnTo>
                <a:lnTo>
                  <a:pt x="2483" y="2873"/>
                </a:lnTo>
                <a:lnTo>
                  <a:pt x="2488" y="2866"/>
                </a:lnTo>
                <a:lnTo>
                  <a:pt x="2497" y="2855"/>
                </a:lnTo>
                <a:lnTo>
                  <a:pt x="2508" y="2841"/>
                </a:lnTo>
                <a:lnTo>
                  <a:pt x="2538" y="2807"/>
                </a:lnTo>
                <a:lnTo>
                  <a:pt x="2574" y="2767"/>
                </a:lnTo>
                <a:lnTo>
                  <a:pt x="2609" y="2726"/>
                </a:lnTo>
                <a:lnTo>
                  <a:pt x="2611" y="2725"/>
                </a:lnTo>
                <a:lnTo>
                  <a:pt x="2614" y="2725"/>
                </a:lnTo>
                <a:lnTo>
                  <a:pt x="2618" y="2725"/>
                </a:lnTo>
                <a:lnTo>
                  <a:pt x="2622" y="2726"/>
                </a:lnTo>
                <a:lnTo>
                  <a:pt x="2626" y="2728"/>
                </a:lnTo>
                <a:lnTo>
                  <a:pt x="2630" y="2732"/>
                </a:lnTo>
                <a:lnTo>
                  <a:pt x="2635" y="2735"/>
                </a:lnTo>
                <a:lnTo>
                  <a:pt x="2638" y="2739"/>
                </a:lnTo>
                <a:lnTo>
                  <a:pt x="2642" y="2743"/>
                </a:lnTo>
                <a:lnTo>
                  <a:pt x="2645" y="2748"/>
                </a:lnTo>
                <a:lnTo>
                  <a:pt x="2646" y="2752"/>
                </a:lnTo>
                <a:lnTo>
                  <a:pt x="2647" y="2757"/>
                </a:lnTo>
                <a:lnTo>
                  <a:pt x="2646" y="2762"/>
                </a:lnTo>
                <a:lnTo>
                  <a:pt x="2644" y="2768"/>
                </a:lnTo>
                <a:lnTo>
                  <a:pt x="2641" y="2773"/>
                </a:lnTo>
                <a:lnTo>
                  <a:pt x="2638" y="2779"/>
                </a:lnTo>
                <a:lnTo>
                  <a:pt x="2629" y="2790"/>
                </a:lnTo>
                <a:lnTo>
                  <a:pt x="2618" y="2804"/>
                </a:lnTo>
                <a:lnTo>
                  <a:pt x="2588" y="2837"/>
                </a:lnTo>
                <a:lnTo>
                  <a:pt x="2558" y="2871"/>
                </a:lnTo>
                <a:lnTo>
                  <a:pt x="2545" y="2886"/>
                </a:lnTo>
                <a:lnTo>
                  <a:pt x="2536" y="2897"/>
                </a:lnTo>
                <a:lnTo>
                  <a:pt x="2533" y="2901"/>
                </a:lnTo>
                <a:lnTo>
                  <a:pt x="2532" y="2905"/>
                </a:lnTo>
                <a:lnTo>
                  <a:pt x="2531" y="2908"/>
                </a:lnTo>
                <a:lnTo>
                  <a:pt x="2530" y="2913"/>
                </a:lnTo>
                <a:lnTo>
                  <a:pt x="2531" y="2917"/>
                </a:lnTo>
                <a:lnTo>
                  <a:pt x="2532" y="2922"/>
                </a:lnTo>
                <a:lnTo>
                  <a:pt x="2534" y="2926"/>
                </a:lnTo>
                <a:lnTo>
                  <a:pt x="2537" y="2931"/>
                </a:lnTo>
                <a:lnTo>
                  <a:pt x="2545" y="2940"/>
                </a:lnTo>
                <a:lnTo>
                  <a:pt x="2556" y="2952"/>
                </a:lnTo>
                <a:lnTo>
                  <a:pt x="2583" y="2982"/>
                </a:lnTo>
                <a:lnTo>
                  <a:pt x="2616" y="3014"/>
                </a:lnTo>
                <a:lnTo>
                  <a:pt x="2647" y="3045"/>
                </a:lnTo>
                <a:lnTo>
                  <a:pt x="2649" y="3047"/>
                </a:lnTo>
                <a:lnTo>
                  <a:pt x="2650" y="3049"/>
                </a:lnTo>
                <a:lnTo>
                  <a:pt x="2651" y="3051"/>
                </a:lnTo>
                <a:lnTo>
                  <a:pt x="2652" y="3054"/>
                </a:lnTo>
                <a:lnTo>
                  <a:pt x="2651" y="3060"/>
                </a:lnTo>
                <a:lnTo>
                  <a:pt x="2650" y="3062"/>
                </a:lnTo>
                <a:lnTo>
                  <a:pt x="2648" y="3065"/>
                </a:lnTo>
                <a:lnTo>
                  <a:pt x="2645" y="3071"/>
                </a:lnTo>
                <a:lnTo>
                  <a:pt x="2643" y="3074"/>
                </a:lnTo>
                <a:lnTo>
                  <a:pt x="2640" y="3076"/>
                </a:lnTo>
                <a:lnTo>
                  <a:pt x="2635" y="3081"/>
                </a:lnTo>
                <a:lnTo>
                  <a:pt x="2632" y="3083"/>
                </a:lnTo>
                <a:lnTo>
                  <a:pt x="2629" y="3085"/>
                </a:lnTo>
                <a:lnTo>
                  <a:pt x="2623" y="3087"/>
                </a:lnTo>
                <a:lnTo>
                  <a:pt x="2620" y="3088"/>
                </a:lnTo>
                <a:lnTo>
                  <a:pt x="2617" y="3088"/>
                </a:lnTo>
                <a:close/>
                <a:moveTo>
                  <a:pt x="0" y="1063"/>
                </a:moveTo>
                <a:lnTo>
                  <a:pt x="8" y="1059"/>
                </a:lnTo>
                <a:lnTo>
                  <a:pt x="15" y="1054"/>
                </a:lnTo>
                <a:lnTo>
                  <a:pt x="22" y="1048"/>
                </a:lnTo>
                <a:lnTo>
                  <a:pt x="29" y="1042"/>
                </a:lnTo>
                <a:lnTo>
                  <a:pt x="36" y="1036"/>
                </a:lnTo>
                <a:lnTo>
                  <a:pt x="43" y="1029"/>
                </a:lnTo>
                <a:lnTo>
                  <a:pt x="49" y="1022"/>
                </a:lnTo>
                <a:lnTo>
                  <a:pt x="55" y="1014"/>
                </a:lnTo>
                <a:lnTo>
                  <a:pt x="66" y="998"/>
                </a:lnTo>
                <a:lnTo>
                  <a:pt x="76" y="980"/>
                </a:lnTo>
                <a:lnTo>
                  <a:pt x="81" y="971"/>
                </a:lnTo>
                <a:lnTo>
                  <a:pt x="85" y="962"/>
                </a:lnTo>
                <a:lnTo>
                  <a:pt x="94" y="943"/>
                </a:lnTo>
                <a:lnTo>
                  <a:pt x="101" y="922"/>
                </a:lnTo>
                <a:lnTo>
                  <a:pt x="107" y="902"/>
                </a:lnTo>
                <a:lnTo>
                  <a:pt x="112" y="882"/>
                </a:lnTo>
                <a:lnTo>
                  <a:pt x="116" y="860"/>
                </a:lnTo>
                <a:lnTo>
                  <a:pt x="118" y="841"/>
                </a:lnTo>
                <a:lnTo>
                  <a:pt x="120" y="821"/>
                </a:lnTo>
                <a:lnTo>
                  <a:pt x="121" y="802"/>
                </a:lnTo>
                <a:lnTo>
                  <a:pt x="120" y="793"/>
                </a:lnTo>
                <a:lnTo>
                  <a:pt x="120" y="784"/>
                </a:lnTo>
                <a:lnTo>
                  <a:pt x="121" y="781"/>
                </a:lnTo>
                <a:lnTo>
                  <a:pt x="123" y="779"/>
                </a:lnTo>
                <a:lnTo>
                  <a:pt x="125" y="777"/>
                </a:lnTo>
                <a:lnTo>
                  <a:pt x="128" y="775"/>
                </a:lnTo>
                <a:lnTo>
                  <a:pt x="134" y="773"/>
                </a:lnTo>
                <a:lnTo>
                  <a:pt x="138" y="772"/>
                </a:lnTo>
                <a:lnTo>
                  <a:pt x="142" y="772"/>
                </a:lnTo>
                <a:lnTo>
                  <a:pt x="149" y="772"/>
                </a:lnTo>
                <a:lnTo>
                  <a:pt x="154" y="773"/>
                </a:lnTo>
                <a:lnTo>
                  <a:pt x="157" y="774"/>
                </a:lnTo>
                <a:lnTo>
                  <a:pt x="163" y="777"/>
                </a:lnTo>
                <a:lnTo>
                  <a:pt x="165" y="779"/>
                </a:lnTo>
                <a:lnTo>
                  <a:pt x="168" y="781"/>
                </a:lnTo>
                <a:lnTo>
                  <a:pt x="172" y="787"/>
                </a:lnTo>
                <a:lnTo>
                  <a:pt x="173" y="790"/>
                </a:lnTo>
                <a:lnTo>
                  <a:pt x="175" y="794"/>
                </a:lnTo>
                <a:lnTo>
                  <a:pt x="176" y="798"/>
                </a:lnTo>
                <a:lnTo>
                  <a:pt x="177" y="803"/>
                </a:lnTo>
                <a:lnTo>
                  <a:pt x="177" y="809"/>
                </a:lnTo>
                <a:lnTo>
                  <a:pt x="177" y="815"/>
                </a:lnTo>
                <a:lnTo>
                  <a:pt x="177" y="829"/>
                </a:lnTo>
                <a:lnTo>
                  <a:pt x="176" y="842"/>
                </a:lnTo>
                <a:lnTo>
                  <a:pt x="175" y="855"/>
                </a:lnTo>
                <a:lnTo>
                  <a:pt x="173" y="868"/>
                </a:lnTo>
                <a:lnTo>
                  <a:pt x="171" y="882"/>
                </a:lnTo>
                <a:lnTo>
                  <a:pt x="169" y="895"/>
                </a:lnTo>
                <a:lnTo>
                  <a:pt x="163" y="920"/>
                </a:lnTo>
                <a:lnTo>
                  <a:pt x="160" y="933"/>
                </a:lnTo>
                <a:lnTo>
                  <a:pt x="157" y="945"/>
                </a:lnTo>
                <a:lnTo>
                  <a:pt x="153" y="957"/>
                </a:lnTo>
                <a:lnTo>
                  <a:pt x="147" y="969"/>
                </a:lnTo>
                <a:lnTo>
                  <a:pt x="138" y="992"/>
                </a:lnTo>
                <a:lnTo>
                  <a:pt x="127" y="1013"/>
                </a:lnTo>
                <a:lnTo>
                  <a:pt x="121" y="1023"/>
                </a:lnTo>
                <a:lnTo>
                  <a:pt x="115" y="1033"/>
                </a:lnTo>
                <a:lnTo>
                  <a:pt x="102" y="1053"/>
                </a:lnTo>
                <a:lnTo>
                  <a:pt x="95" y="1061"/>
                </a:lnTo>
                <a:lnTo>
                  <a:pt x="87" y="1070"/>
                </a:lnTo>
                <a:lnTo>
                  <a:pt x="79" y="1077"/>
                </a:lnTo>
                <a:lnTo>
                  <a:pt x="71" y="1085"/>
                </a:lnTo>
                <a:lnTo>
                  <a:pt x="63" y="1092"/>
                </a:lnTo>
                <a:lnTo>
                  <a:pt x="55" y="1098"/>
                </a:lnTo>
                <a:lnTo>
                  <a:pt x="47" y="1104"/>
                </a:lnTo>
                <a:lnTo>
                  <a:pt x="38" y="1110"/>
                </a:lnTo>
                <a:lnTo>
                  <a:pt x="28" y="1116"/>
                </a:lnTo>
                <a:lnTo>
                  <a:pt x="19" y="1120"/>
                </a:lnTo>
                <a:lnTo>
                  <a:pt x="0" y="1128"/>
                </a:lnTo>
                <a:lnTo>
                  <a:pt x="0" y="1063"/>
                </a:lnTo>
                <a:close/>
                <a:moveTo>
                  <a:pt x="0" y="772"/>
                </a:moveTo>
                <a:lnTo>
                  <a:pt x="6" y="775"/>
                </a:lnTo>
                <a:lnTo>
                  <a:pt x="11" y="779"/>
                </a:lnTo>
                <a:lnTo>
                  <a:pt x="20" y="787"/>
                </a:lnTo>
                <a:lnTo>
                  <a:pt x="24" y="791"/>
                </a:lnTo>
                <a:lnTo>
                  <a:pt x="28" y="796"/>
                </a:lnTo>
                <a:lnTo>
                  <a:pt x="32" y="801"/>
                </a:lnTo>
                <a:lnTo>
                  <a:pt x="35" y="806"/>
                </a:lnTo>
                <a:lnTo>
                  <a:pt x="38" y="813"/>
                </a:lnTo>
                <a:lnTo>
                  <a:pt x="41" y="819"/>
                </a:lnTo>
                <a:lnTo>
                  <a:pt x="43" y="825"/>
                </a:lnTo>
                <a:lnTo>
                  <a:pt x="44" y="831"/>
                </a:lnTo>
                <a:lnTo>
                  <a:pt x="46" y="838"/>
                </a:lnTo>
                <a:lnTo>
                  <a:pt x="47" y="844"/>
                </a:lnTo>
                <a:lnTo>
                  <a:pt x="47" y="851"/>
                </a:lnTo>
                <a:lnTo>
                  <a:pt x="47" y="858"/>
                </a:lnTo>
                <a:lnTo>
                  <a:pt x="47" y="872"/>
                </a:lnTo>
                <a:lnTo>
                  <a:pt x="45" y="879"/>
                </a:lnTo>
                <a:lnTo>
                  <a:pt x="44" y="885"/>
                </a:lnTo>
                <a:lnTo>
                  <a:pt x="42" y="891"/>
                </a:lnTo>
                <a:lnTo>
                  <a:pt x="40" y="897"/>
                </a:lnTo>
                <a:lnTo>
                  <a:pt x="37" y="903"/>
                </a:lnTo>
                <a:lnTo>
                  <a:pt x="35" y="909"/>
                </a:lnTo>
                <a:lnTo>
                  <a:pt x="31" y="915"/>
                </a:lnTo>
                <a:lnTo>
                  <a:pt x="27" y="921"/>
                </a:lnTo>
                <a:lnTo>
                  <a:pt x="19" y="933"/>
                </a:lnTo>
                <a:lnTo>
                  <a:pt x="15" y="938"/>
                </a:lnTo>
                <a:lnTo>
                  <a:pt x="10" y="943"/>
                </a:lnTo>
                <a:lnTo>
                  <a:pt x="0" y="952"/>
                </a:lnTo>
                <a:lnTo>
                  <a:pt x="0" y="772"/>
                </a:lnTo>
                <a:close/>
                <a:moveTo>
                  <a:pt x="335" y="1130"/>
                </a:moveTo>
                <a:lnTo>
                  <a:pt x="333" y="1130"/>
                </a:lnTo>
                <a:lnTo>
                  <a:pt x="331" y="1129"/>
                </a:lnTo>
                <a:lnTo>
                  <a:pt x="324" y="1127"/>
                </a:lnTo>
                <a:lnTo>
                  <a:pt x="318" y="1122"/>
                </a:lnTo>
                <a:lnTo>
                  <a:pt x="311" y="1117"/>
                </a:lnTo>
                <a:lnTo>
                  <a:pt x="298" y="1105"/>
                </a:lnTo>
                <a:lnTo>
                  <a:pt x="283" y="1091"/>
                </a:lnTo>
                <a:lnTo>
                  <a:pt x="266" y="1075"/>
                </a:lnTo>
                <a:lnTo>
                  <a:pt x="249" y="1058"/>
                </a:lnTo>
                <a:lnTo>
                  <a:pt x="233" y="1040"/>
                </a:lnTo>
                <a:lnTo>
                  <a:pt x="219" y="1024"/>
                </a:lnTo>
                <a:lnTo>
                  <a:pt x="207" y="1010"/>
                </a:lnTo>
                <a:lnTo>
                  <a:pt x="202" y="1004"/>
                </a:lnTo>
                <a:lnTo>
                  <a:pt x="199" y="998"/>
                </a:lnTo>
                <a:lnTo>
                  <a:pt x="194" y="987"/>
                </a:lnTo>
                <a:lnTo>
                  <a:pt x="190" y="977"/>
                </a:lnTo>
                <a:lnTo>
                  <a:pt x="188" y="968"/>
                </a:lnTo>
                <a:lnTo>
                  <a:pt x="187" y="958"/>
                </a:lnTo>
                <a:lnTo>
                  <a:pt x="187" y="952"/>
                </a:lnTo>
                <a:lnTo>
                  <a:pt x="188" y="946"/>
                </a:lnTo>
                <a:lnTo>
                  <a:pt x="189" y="941"/>
                </a:lnTo>
                <a:lnTo>
                  <a:pt x="191" y="935"/>
                </a:lnTo>
                <a:lnTo>
                  <a:pt x="194" y="927"/>
                </a:lnTo>
                <a:lnTo>
                  <a:pt x="197" y="921"/>
                </a:lnTo>
                <a:lnTo>
                  <a:pt x="201" y="914"/>
                </a:lnTo>
                <a:lnTo>
                  <a:pt x="205" y="908"/>
                </a:lnTo>
                <a:lnTo>
                  <a:pt x="214" y="897"/>
                </a:lnTo>
                <a:lnTo>
                  <a:pt x="226" y="883"/>
                </a:lnTo>
                <a:lnTo>
                  <a:pt x="255" y="848"/>
                </a:lnTo>
                <a:lnTo>
                  <a:pt x="291" y="808"/>
                </a:lnTo>
                <a:lnTo>
                  <a:pt x="326" y="768"/>
                </a:lnTo>
                <a:lnTo>
                  <a:pt x="327" y="768"/>
                </a:lnTo>
                <a:lnTo>
                  <a:pt x="332" y="767"/>
                </a:lnTo>
                <a:lnTo>
                  <a:pt x="335" y="768"/>
                </a:lnTo>
                <a:lnTo>
                  <a:pt x="339" y="769"/>
                </a:lnTo>
                <a:lnTo>
                  <a:pt x="344" y="771"/>
                </a:lnTo>
                <a:lnTo>
                  <a:pt x="348" y="773"/>
                </a:lnTo>
                <a:lnTo>
                  <a:pt x="352" y="776"/>
                </a:lnTo>
                <a:lnTo>
                  <a:pt x="356" y="780"/>
                </a:lnTo>
                <a:lnTo>
                  <a:pt x="359" y="784"/>
                </a:lnTo>
                <a:lnTo>
                  <a:pt x="362" y="789"/>
                </a:lnTo>
                <a:lnTo>
                  <a:pt x="364" y="794"/>
                </a:lnTo>
                <a:lnTo>
                  <a:pt x="364" y="798"/>
                </a:lnTo>
                <a:lnTo>
                  <a:pt x="364" y="804"/>
                </a:lnTo>
                <a:lnTo>
                  <a:pt x="362" y="809"/>
                </a:lnTo>
                <a:lnTo>
                  <a:pt x="359" y="816"/>
                </a:lnTo>
                <a:lnTo>
                  <a:pt x="355" y="822"/>
                </a:lnTo>
                <a:lnTo>
                  <a:pt x="347" y="832"/>
                </a:lnTo>
                <a:lnTo>
                  <a:pt x="335" y="846"/>
                </a:lnTo>
                <a:lnTo>
                  <a:pt x="305" y="879"/>
                </a:lnTo>
                <a:lnTo>
                  <a:pt x="276" y="913"/>
                </a:lnTo>
                <a:lnTo>
                  <a:pt x="263" y="927"/>
                </a:lnTo>
                <a:lnTo>
                  <a:pt x="254" y="940"/>
                </a:lnTo>
                <a:lnTo>
                  <a:pt x="251" y="944"/>
                </a:lnTo>
                <a:lnTo>
                  <a:pt x="249" y="947"/>
                </a:lnTo>
                <a:lnTo>
                  <a:pt x="248" y="951"/>
                </a:lnTo>
                <a:lnTo>
                  <a:pt x="248" y="954"/>
                </a:lnTo>
                <a:lnTo>
                  <a:pt x="248" y="959"/>
                </a:lnTo>
                <a:lnTo>
                  <a:pt x="250" y="963"/>
                </a:lnTo>
                <a:lnTo>
                  <a:pt x="252" y="968"/>
                </a:lnTo>
                <a:lnTo>
                  <a:pt x="255" y="972"/>
                </a:lnTo>
                <a:lnTo>
                  <a:pt x="262" y="981"/>
                </a:lnTo>
                <a:lnTo>
                  <a:pt x="273" y="994"/>
                </a:lnTo>
                <a:lnTo>
                  <a:pt x="301" y="1023"/>
                </a:lnTo>
                <a:lnTo>
                  <a:pt x="334" y="1056"/>
                </a:lnTo>
                <a:lnTo>
                  <a:pt x="365" y="1087"/>
                </a:lnTo>
                <a:lnTo>
                  <a:pt x="367" y="1088"/>
                </a:lnTo>
                <a:lnTo>
                  <a:pt x="368" y="1091"/>
                </a:lnTo>
                <a:lnTo>
                  <a:pt x="369" y="1093"/>
                </a:lnTo>
                <a:lnTo>
                  <a:pt x="369" y="1095"/>
                </a:lnTo>
                <a:lnTo>
                  <a:pt x="368" y="1101"/>
                </a:lnTo>
                <a:lnTo>
                  <a:pt x="367" y="1104"/>
                </a:lnTo>
                <a:lnTo>
                  <a:pt x="366" y="1107"/>
                </a:lnTo>
                <a:lnTo>
                  <a:pt x="362" y="1113"/>
                </a:lnTo>
                <a:lnTo>
                  <a:pt x="360" y="1116"/>
                </a:lnTo>
                <a:lnTo>
                  <a:pt x="358" y="1119"/>
                </a:lnTo>
                <a:lnTo>
                  <a:pt x="352" y="1123"/>
                </a:lnTo>
                <a:lnTo>
                  <a:pt x="350" y="1125"/>
                </a:lnTo>
                <a:lnTo>
                  <a:pt x="347" y="1127"/>
                </a:lnTo>
                <a:lnTo>
                  <a:pt x="341" y="1129"/>
                </a:lnTo>
                <a:lnTo>
                  <a:pt x="338" y="1130"/>
                </a:lnTo>
                <a:lnTo>
                  <a:pt x="335" y="1130"/>
                </a:lnTo>
                <a:close/>
                <a:moveTo>
                  <a:pt x="0" y="2056"/>
                </a:moveTo>
                <a:lnTo>
                  <a:pt x="8" y="2052"/>
                </a:lnTo>
                <a:lnTo>
                  <a:pt x="15" y="2047"/>
                </a:lnTo>
                <a:lnTo>
                  <a:pt x="22" y="2042"/>
                </a:lnTo>
                <a:lnTo>
                  <a:pt x="29" y="2036"/>
                </a:lnTo>
                <a:lnTo>
                  <a:pt x="36" y="2030"/>
                </a:lnTo>
                <a:lnTo>
                  <a:pt x="43" y="2023"/>
                </a:lnTo>
                <a:lnTo>
                  <a:pt x="49" y="2016"/>
                </a:lnTo>
                <a:lnTo>
                  <a:pt x="55" y="2008"/>
                </a:lnTo>
                <a:lnTo>
                  <a:pt x="66" y="1992"/>
                </a:lnTo>
                <a:lnTo>
                  <a:pt x="76" y="1974"/>
                </a:lnTo>
                <a:lnTo>
                  <a:pt x="81" y="1965"/>
                </a:lnTo>
                <a:lnTo>
                  <a:pt x="85" y="1956"/>
                </a:lnTo>
                <a:lnTo>
                  <a:pt x="94" y="1936"/>
                </a:lnTo>
                <a:lnTo>
                  <a:pt x="101" y="1916"/>
                </a:lnTo>
                <a:lnTo>
                  <a:pt x="107" y="1896"/>
                </a:lnTo>
                <a:lnTo>
                  <a:pt x="112" y="1875"/>
                </a:lnTo>
                <a:lnTo>
                  <a:pt x="116" y="1855"/>
                </a:lnTo>
                <a:lnTo>
                  <a:pt x="118" y="1835"/>
                </a:lnTo>
                <a:lnTo>
                  <a:pt x="120" y="1814"/>
                </a:lnTo>
                <a:lnTo>
                  <a:pt x="121" y="1796"/>
                </a:lnTo>
                <a:lnTo>
                  <a:pt x="120" y="1787"/>
                </a:lnTo>
                <a:lnTo>
                  <a:pt x="120" y="1778"/>
                </a:lnTo>
                <a:lnTo>
                  <a:pt x="121" y="1776"/>
                </a:lnTo>
                <a:lnTo>
                  <a:pt x="123" y="1773"/>
                </a:lnTo>
                <a:lnTo>
                  <a:pt x="125" y="1770"/>
                </a:lnTo>
                <a:lnTo>
                  <a:pt x="128" y="1769"/>
                </a:lnTo>
                <a:lnTo>
                  <a:pt x="134" y="1766"/>
                </a:lnTo>
                <a:lnTo>
                  <a:pt x="138" y="1765"/>
                </a:lnTo>
                <a:lnTo>
                  <a:pt x="142" y="1765"/>
                </a:lnTo>
                <a:lnTo>
                  <a:pt x="149" y="1765"/>
                </a:lnTo>
                <a:lnTo>
                  <a:pt x="154" y="1766"/>
                </a:lnTo>
                <a:lnTo>
                  <a:pt x="157" y="1767"/>
                </a:lnTo>
                <a:lnTo>
                  <a:pt x="163" y="1770"/>
                </a:lnTo>
                <a:lnTo>
                  <a:pt x="165" y="1773"/>
                </a:lnTo>
                <a:lnTo>
                  <a:pt x="168" y="1775"/>
                </a:lnTo>
                <a:lnTo>
                  <a:pt x="172" y="1781"/>
                </a:lnTo>
                <a:lnTo>
                  <a:pt x="173" y="1784"/>
                </a:lnTo>
                <a:lnTo>
                  <a:pt x="175" y="1788"/>
                </a:lnTo>
                <a:lnTo>
                  <a:pt x="176" y="1793"/>
                </a:lnTo>
                <a:lnTo>
                  <a:pt x="177" y="1797"/>
                </a:lnTo>
                <a:lnTo>
                  <a:pt x="177" y="1803"/>
                </a:lnTo>
                <a:lnTo>
                  <a:pt x="177" y="1809"/>
                </a:lnTo>
                <a:lnTo>
                  <a:pt x="177" y="1822"/>
                </a:lnTo>
                <a:lnTo>
                  <a:pt x="176" y="1836"/>
                </a:lnTo>
                <a:lnTo>
                  <a:pt x="175" y="1850"/>
                </a:lnTo>
                <a:lnTo>
                  <a:pt x="173" y="1863"/>
                </a:lnTo>
                <a:lnTo>
                  <a:pt x="171" y="1876"/>
                </a:lnTo>
                <a:lnTo>
                  <a:pt x="169" y="1888"/>
                </a:lnTo>
                <a:lnTo>
                  <a:pt x="163" y="1914"/>
                </a:lnTo>
                <a:lnTo>
                  <a:pt x="160" y="1927"/>
                </a:lnTo>
                <a:lnTo>
                  <a:pt x="157" y="1939"/>
                </a:lnTo>
                <a:lnTo>
                  <a:pt x="153" y="1950"/>
                </a:lnTo>
                <a:lnTo>
                  <a:pt x="147" y="1963"/>
                </a:lnTo>
                <a:lnTo>
                  <a:pt x="138" y="1985"/>
                </a:lnTo>
                <a:lnTo>
                  <a:pt x="127" y="2006"/>
                </a:lnTo>
                <a:lnTo>
                  <a:pt x="121" y="2018"/>
                </a:lnTo>
                <a:lnTo>
                  <a:pt x="115" y="2027"/>
                </a:lnTo>
                <a:lnTo>
                  <a:pt x="102" y="2046"/>
                </a:lnTo>
                <a:lnTo>
                  <a:pt x="95" y="2054"/>
                </a:lnTo>
                <a:lnTo>
                  <a:pt x="87" y="2063"/>
                </a:lnTo>
                <a:lnTo>
                  <a:pt x="79" y="2072"/>
                </a:lnTo>
                <a:lnTo>
                  <a:pt x="71" y="2079"/>
                </a:lnTo>
                <a:lnTo>
                  <a:pt x="63" y="2086"/>
                </a:lnTo>
                <a:lnTo>
                  <a:pt x="55" y="2092"/>
                </a:lnTo>
                <a:lnTo>
                  <a:pt x="47" y="2098"/>
                </a:lnTo>
                <a:lnTo>
                  <a:pt x="38" y="2104"/>
                </a:lnTo>
                <a:lnTo>
                  <a:pt x="28" y="2109"/>
                </a:lnTo>
                <a:lnTo>
                  <a:pt x="19" y="2114"/>
                </a:lnTo>
                <a:lnTo>
                  <a:pt x="0" y="2121"/>
                </a:lnTo>
                <a:lnTo>
                  <a:pt x="0" y="2056"/>
                </a:lnTo>
                <a:close/>
                <a:moveTo>
                  <a:pt x="0" y="1766"/>
                </a:moveTo>
                <a:lnTo>
                  <a:pt x="6" y="1769"/>
                </a:lnTo>
                <a:lnTo>
                  <a:pt x="11" y="1773"/>
                </a:lnTo>
                <a:lnTo>
                  <a:pt x="20" y="1781"/>
                </a:lnTo>
                <a:lnTo>
                  <a:pt x="24" y="1785"/>
                </a:lnTo>
                <a:lnTo>
                  <a:pt x="28" y="1790"/>
                </a:lnTo>
                <a:lnTo>
                  <a:pt x="32" y="1795"/>
                </a:lnTo>
                <a:lnTo>
                  <a:pt x="35" y="1800"/>
                </a:lnTo>
                <a:lnTo>
                  <a:pt x="38" y="1806"/>
                </a:lnTo>
                <a:lnTo>
                  <a:pt x="41" y="1812"/>
                </a:lnTo>
                <a:lnTo>
                  <a:pt x="43" y="1818"/>
                </a:lnTo>
                <a:lnTo>
                  <a:pt x="44" y="1824"/>
                </a:lnTo>
                <a:lnTo>
                  <a:pt x="46" y="1832"/>
                </a:lnTo>
                <a:lnTo>
                  <a:pt x="47" y="1838"/>
                </a:lnTo>
                <a:lnTo>
                  <a:pt x="47" y="1845"/>
                </a:lnTo>
                <a:lnTo>
                  <a:pt x="47" y="1852"/>
                </a:lnTo>
                <a:lnTo>
                  <a:pt x="47" y="1865"/>
                </a:lnTo>
                <a:lnTo>
                  <a:pt x="45" y="1872"/>
                </a:lnTo>
                <a:lnTo>
                  <a:pt x="44" y="1878"/>
                </a:lnTo>
                <a:lnTo>
                  <a:pt x="42" y="1884"/>
                </a:lnTo>
                <a:lnTo>
                  <a:pt x="40" y="1892"/>
                </a:lnTo>
                <a:lnTo>
                  <a:pt x="37" y="1898"/>
                </a:lnTo>
                <a:lnTo>
                  <a:pt x="35" y="1904"/>
                </a:lnTo>
                <a:lnTo>
                  <a:pt x="31" y="1909"/>
                </a:lnTo>
                <a:lnTo>
                  <a:pt x="27" y="1915"/>
                </a:lnTo>
                <a:lnTo>
                  <a:pt x="19" y="1926"/>
                </a:lnTo>
                <a:lnTo>
                  <a:pt x="15" y="1931"/>
                </a:lnTo>
                <a:lnTo>
                  <a:pt x="10" y="1936"/>
                </a:lnTo>
                <a:lnTo>
                  <a:pt x="0" y="1946"/>
                </a:lnTo>
                <a:lnTo>
                  <a:pt x="0" y="1766"/>
                </a:lnTo>
                <a:close/>
                <a:moveTo>
                  <a:pt x="335" y="2123"/>
                </a:moveTo>
                <a:lnTo>
                  <a:pt x="333" y="2123"/>
                </a:lnTo>
                <a:lnTo>
                  <a:pt x="331" y="2123"/>
                </a:lnTo>
                <a:lnTo>
                  <a:pt x="324" y="2120"/>
                </a:lnTo>
                <a:lnTo>
                  <a:pt x="318" y="2116"/>
                </a:lnTo>
                <a:lnTo>
                  <a:pt x="311" y="2110"/>
                </a:lnTo>
                <a:lnTo>
                  <a:pt x="298" y="2099"/>
                </a:lnTo>
                <a:lnTo>
                  <a:pt x="283" y="2085"/>
                </a:lnTo>
                <a:lnTo>
                  <a:pt x="266" y="2068"/>
                </a:lnTo>
                <a:lnTo>
                  <a:pt x="249" y="2051"/>
                </a:lnTo>
                <a:lnTo>
                  <a:pt x="233" y="2034"/>
                </a:lnTo>
                <a:lnTo>
                  <a:pt x="219" y="2018"/>
                </a:lnTo>
                <a:lnTo>
                  <a:pt x="207" y="2003"/>
                </a:lnTo>
                <a:lnTo>
                  <a:pt x="202" y="1997"/>
                </a:lnTo>
                <a:lnTo>
                  <a:pt x="199" y="1991"/>
                </a:lnTo>
                <a:lnTo>
                  <a:pt x="194" y="1981"/>
                </a:lnTo>
                <a:lnTo>
                  <a:pt x="190" y="1971"/>
                </a:lnTo>
                <a:lnTo>
                  <a:pt x="188" y="1962"/>
                </a:lnTo>
                <a:lnTo>
                  <a:pt x="187" y="1952"/>
                </a:lnTo>
                <a:lnTo>
                  <a:pt x="187" y="1945"/>
                </a:lnTo>
                <a:lnTo>
                  <a:pt x="188" y="1940"/>
                </a:lnTo>
                <a:lnTo>
                  <a:pt x="189" y="1934"/>
                </a:lnTo>
                <a:lnTo>
                  <a:pt x="191" y="1928"/>
                </a:lnTo>
                <a:lnTo>
                  <a:pt x="194" y="1922"/>
                </a:lnTo>
                <a:lnTo>
                  <a:pt x="197" y="1915"/>
                </a:lnTo>
                <a:lnTo>
                  <a:pt x="201" y="1909"/>
                </a:lnTo>
                <a:lnTo>
                  <a:pt x="205" y="1902"/>
                </a:lnTo>
                <a:lnTo>
                  <a:pt x="214" y="1890"/>
                </a:lnTo>
                <a:lnTo>
                  <a:pt x="226" y="1876"/>
                </a:lnTo>
                <a:lnTo>
                  <a:pt x="255" y="1842"/>
                </a:lnTo>
                <a:lnTo>
                  <a:pt x="291" y="1802"/>
                </a:lnTo>
                <a:lnTo>
                  <a:pt x="326" y="1761"/>
                </a:lnTo>
                <a:lnTo>
                  <a:pt x="327" y="1761"/>
                </a:lnTo>
                <a:lnTo>
                  <a:pt x="332" y="1760"/>
                </a:lnTo>
                <a:lnTo>
                  <a:pt x="335" y="1761"/>
                </a:lnTo>
                <a:lnTo>
                  <a:pt x="339" y="1762"/>
                </a:lnTo>
                <a:lnTo>
                  <a:pt x="344" y="1764"/>
                </a:lnTo>
                <a:lnTo>
                  <a:pt x="348" y="1766"/>
                </a:lnTo>
                <a:lnTo>
                  <a:pt x="352" y="1769"/>
                </a:lnTo>
                <a:lnTo>
                  <a:pt x="356" y="1774"/>
                </a:lnTo>
                <a:lnTo>
                  <a:pt x="359" y="1778"/>
                </a:lnTo>
                <a:lnTo>
                  <a:pt x="362" y="1783"/>
                </a:lnTo>
                <a:lnTo>
                  <a:pt x="364" y="1788"/>
                </a:lnTo>
                <a:lnTo>
                  <a:pt x="364" y="1793"/>
                </a:lnTo>
                <a:lnTo>
                  <a:pt x="364" y="1798"/>
                </a:lnTo>
                <a:lnTo>
                  <a:pt x="362" y="1803"/>
                </a:lnTo>
                <a:lnTo>
                  <a:pt x="359" y="1809"/>
                </a:lnTo>
                <a:lnTo>
                  <a:pt x="355" y="1815"/>
                </a:lnTo>
                <a:lnTo>
                  <a:pt x="347" y="1825"/>
                </a:lnTo>
                <a:lnTo>
                  <a:pt x="335" y="1840"/>
                </a:lnTo>
                <a:lnTo>
                  <a:pt x="305" y="1873"/>
                </a:lnTo>
                <a:lnTo>
                  <a:pt x="276" y="1907"/>
                </a:lnTo>
                <a:lnTo>
                  <a:pt x="263" y="1921"/>
                </a:lnTo>
                <a:lnTo>
                  <a:pt x="254" y="1933"/>
                </a:lnTo>
                <a:lnTo>
                  <a:pt x="251" y="1937"/>
                </a:lnTo>
                <a:lnTo>
                  <a:pt x="249" y="1940"/>
                </a:lnTo>
                <a:lnTo>
                  <a:pt x="248" y="1944"/>
                </a:lnTo>
                <a:lnTo>
                  <a:pt x="248" y="1948"/>
                </a:lnTo>
                <a:lnTo>
                  <a:pt x="248" y="1953"/>
                </a:lnTo>
                <a:lnTo>
                  <a:pt x="250" y="1957"/>
                </a:lnTo>
                <a:lnTo>
                  <a:pt x="252" y="1962"/>
                </a:lnTo>
                <a:lnTo>
                  <a:pt x="255" y="1967"/>
                </a:lnTo>
                <a:lnTo>
                  <a:pt x="262" y="1976"/>
                </a:lnTo>
                <a:lnTo>
                  <a:pt x="273" y="1987"/>
                </a:lnTo>
                <a:lnTo>
                  <a:pt x="301" y="2017"/>
                </a:lnTo>
                <a:lnTo>
                  <a:pt x="334" y="2050"/>
                </a:lnTo>
                <a:lnTo>
                  <a:pt x="365" y="2081"/>
                </a:lnTo>
                <a:lnTo>
                  <a:pt x="367" y="2083"/>
                </a:lnTo>
                <a:lnTo>
                  <a:pt x="368" y="2085"/>
                </a:lnTo>
                <a:lnTo>
                  <a:pt x="369" y="2087"/>
                </a:lnTo>
                <a:lnTo>
                  <a:pt x="369" y="2090"/>
                </a:lnTo>
                <a:lnTo>
                  <a:pt x="368" y="2095"/>
                </a:lnTo>
                <a:lnTo>
                  <a:pt x="367" y="2098"/>
                </a:lnTo>
                <a:lnTo>
                  <a:pt x="366" y="2101"/>
                </a:lnTo>
                <a:lnTo>
                  <a:pt x="362" y="2107"/>
                </a:lnTo>
                <a:lnTo>
                  <a:pt x="360" y="2109"/>
                </a:lnTo>
                <a:lnTo>
                  <a:pt x="358" y="2112"/>
                </a:lnTo>
                <a:lnTo>
                  <a:pt x="352" y="2116"/>
                </a:lnTo>
                <a:lnTo>
                  <a:pt x="350" y="2118"/>
                </a:lnTo>
                <a:lnTo>
                  <a:pt x="347" y="2120"/>
                </a:lnTo>
                <a:lnTo>
                  <a:pt x="341" y="2123"/>
                </a:lnTo>
                <a:lnTo>
                  <a:pt x="338" y="2123"/>
                </a:lnTo>
                <a:lnTo>
                  <a:pt x="335" y="2123"/>
                </a:lnTo>
                <a:close/>
                <a:moveTo>
                  <a:pt x="3777" y="1136"/>
                </a:moveTo>
                <a:lnTo>
                  <a:pt x="3769" y="1136"/>
                </a:lnTo>
                <a:lnTo>
                  <a:pt x="3762" y="1135"/>
                </a:lnTo>
                <a:lnTo>
                  <a:pt x="3754" y="1134"/>
                </a:lnTo>
                <a:lnTo>
                  <a:pt x="3746" y="1132"/>
                </a:lnTo>
                <a:lnTo>
                  <a:pt x="3739" y="1131"/>
                </a:lnTo>
                <a:lnTo>
                  <a:pt x="3731" y="1128"/>
                </a:lnTo>
                <a:lnTo>
                  <a:pt x="3718" y="1122"/>
                </a:lnTo>
                <a:lnTo>
                  <a:pt x="3705" y="1115"/>
                </a:lnTo>
                <a:lnTo>
                  <a:pt x="3698" y="1110"/>
                </a:lnTo>
                <a:lnTo>
                  <a:pt x="3692" y="1105"/>
                </a:lnTo>
                <a:lnTo>
                  <a:pt x="3686" y="1101"/>
                </a:lnTo>
                <a:lnTo>
                  <a:pt x="3680" y="1095"/>
                </a:lnTo>
                <a:lnTo>
                  <a:pt x="3674" y="1090"/>
                </a:lnTo>
                <a:lnTo>
                  <a:pt x="3669" y="1084"/>
                </a:lnTo>
                <a:lnTo>
                  <a:pt x="3664" y="1078"/>
                </a:lnTo>
                <a:lnTo>
                  <a:pt x="3660" y="1072"/>
                </a:lnTo>
                <a:lnTo>
                  <a:pt x="3655" y="1065"/>
                </a:lnTo>
                <a:lnTo>
                  <a:pt x="3651" y="1058"/>
                </a:lnTo>
                <a:lnTo>
                  <a:pt x="3647" y="1050"/>
                </a:lnTo>
                <a:lnTo>
                  <a:pt x="3643" y="1043"/>
                </a:lnTo>
                <a:lnTo>
                  <a:pt x="3640" y="1035"/>
                </a:lnTo>
                <a:lnTo>
                  <a:pt x="3637" y="1027"/>
                </a:lnTo>
                <a:lnTo>
                  <a:pt x="3634" y="1020"/>
                </a:lnTo>
                <a:lnTo>
                  <a:pt x="3632" y="1011"/>
                </a:lnTo>
                <a:lnTo>
                  <a:pt x="3629" y="1003"/>
                </a:lnTo>
                <a:lnTo>
                  <a:pt x="3627" y="994"/>
                </a:lnTo>
                <a:lnTo>
                  <a:pt x="3626" y="985"/>
                </a:lnTo>
                <a:lnTo>
                  <a:pt x="3625" y="976"/>
                </a:lnTo>
                <a:lnTo>
                  <a:pt x="3625" y="967"/>
                </a:lnTo>
                <a:lnTo>
                  <a:pt x="3624" y="958"/>
                </a:lnTo>
                <a:lnTo>
                  <a:pt x="3625" y="939"/>
                </a:lnTo>
                <a:lnTo>
                  <a:pt x="3626" y="929"/>
                </a:lnTo>
                <a:lnTo>
                  <a:pt x="3628" y="920"/>
                </a:lnTo>
                <a:lnTo>
                  <a:pt x="3629" y="911"/>
                </a:lnTo>
                <a:lnTo>
                  <a:pt x="3632" y="902"/>
                </a:lnTo>
                <a:lnTo>
                  <a:pt x="3635" y="893"/>
                </a:lnTo>
                <a:lnTo>
                  <a:pt x="3638" y="884"/>
                </a:lnTo>
                <a:lnTo>
                  <a:pt x="3641" y="876"/>
                </a:lnTo>
                <a:lnTo>
                  <a:pt x="3644" y="867"/>
                </a:lnTo>
                <a:lnTo>
                  <a:pt x="3648" y="859"/>
                </a:lnTo>
                <a:lnTo>
                  <a:pt x="3652" y="851"/>
                </a:lnTo>
                <a:lnTo>
                  <a:pt x="3657" y="843"/>
                </a:lnTo>
                <a:lnTo>
                  <a:pt x="3661" y="836"/>
                </a:lnTo>
                <a:lnTo>
                  <a:pt x="3672" y="822"/>
                </a:lnTo>
                <a:lnTo>
                  <a:pt x="3677" y="816"/>
                </a:lnTo>
                <a:lnTo>
                  <a:pt x="3683" y="809"/>
                </a:lnTo>
                <a:lnTo>
                  <a:pt x="3696" y="797"/>
                </a:lnTo>
                <a:lnTo>
                  <a:pt x="3703" y="792"/>
                </a:lnTo>
                <a:lnTo>
                  <a:pt x="3709" y="787"/>
                </a:lnTo>
                <a:lnTo>
                  <a:pt x="3716" y="783"/>
                </a:lnTo>
                <a:lnTo>
                  <a:pt x="3723" y="779"/>
                </a:lnTo>
                <a:lnTo>
                  <a:pt x="3730" y="775"/>
                </a:lnTo>
                <a:lnTo>
                  <a:pt x="3738" y="772"/>
                </a:lnTo>
                <a:lnTo>
                  <a:pt x="3745" y="769"/>
                </a:lnTo>
                <a:lnTo>
                  <a:pt x="3754" y="767"/>
                </a:lnTo>
                <a:lnTo>
                  <a:pt x="3762" y="765"/>
                </a:lnTo>
                <a:lnTo>
                  <a:pt x="3770" y="764"/>
                </a:lnTo>
                <a:lnTo>
                  <a:pt x="3778" y="763"/>
                </a:lnTo>
                <a:lnTo>
                  <a:pt x="3786" y="763"/>
                </a:lnTo>
                <a:lnTo>
                  <a:pt x="3797" y="763"/>
                </a:lnTo>
                <a:lnTo>
                  <a:pt x="3802" y="764"/>
                </a:lnTo>
                <a:lnTo>
                  <a:pt x="3806" y="765"/>
                </a:lnTo>
                <a:lnTo>
                  <a:pt x="3812" y="766"/>
                </a:lnTo>
                <a:lnTo>
                  <a:pt x="3816" y="767"/>
                </a:lnTo>
                <a:lnTo>
                  <a:pt x="3825" y="770"/>
                </a:lnTo>
                <a:lnTo>
                  <a:pt x="3833" y="774"/>
                </a:lnTo>
                <a:lnTo>
                  <a:pt x="3840" y="779"/>
                </a:lnTo>
                <a:lnTo>
                  <a:pt x="3847" y="784"/>
                </a:lnTo>
                <a:lnTo>
                  <a:pt x="3853" y="790"/>
                </a:lnTo>
                <a:lnTo>
                  <a:pt x="3855" y="793"/>
                </a:lnTo>
                <a:lnTo>
                  <a:pt x="3858" y="797"/>
                </a:lnTo>
                <a:lnTo>
                  <a:pt x="3863" y="804"/>
                </a:lnTo>
                <a:lnTo>
                  <a:pt x="3867" y="813"/>
                </a:lnTo>
                <a:lnTo>
                  <a:pt x="3871" y="821"/>
                </a:lnTo>
                <a:lnTo>
                  <a:pt x="3874" y="830"/>
                </a:lnTo>
                <a:lnTo>
                  <a:pt x="3876" y="839"/>
                </a:lnTo>
                <a:lnTo>
                  <a:pt x="3877" y="848"/>
                </a:lnTo>
                <a:lnTo>
                  <a:pt x="3877" y="858"/>
                </a:lnTo>
                <a:lnTo>
                  <a:pt x="3876" y="872"/>
                </a:lnTo>
                <a:lnTo>
                  <a:pt x="3876" y="878"/>
                </a:lnTo>
                <a:lnTo>
                  <a:pt x="3874" y="884"/>
                </a:lnTo>
                <a:lnTo>
                  <a:pt x="3869" y="896"/>
                </a:lnTo>
                <a:lnTo>
                  <a:pt x="3864" y="907"/>
                </a:lnTo>
                <a:lnTo>
                  <a:pt x="3858" y="919"/>
                </a:lnTo>
                <a:lnTo>
                  <a:pt x="3851" y="929"/>
                </a:lnTo>
                <a:lnTo>
                  <a:pt x="3847" y="935"/>
                </a:lnTo>
                <a:lnTo>
                  <a:pt x="3843" y="940"/>
                </a:lnTo>
                <a:lnTo>
                  <a:pt x="3833" y="949"/>
                </a:lnTo>
                <a:lnTo>
                  <a:pt x="3823" y="958"/>
                </a:lnTo>
                <a:lnTo>
                  <a:pt x="3818" y="962"/>
                </a:lnTo>
                <a:lnTo>
                  <a:pt x="3813" y="965"/>
                </a:lnTo>
                <a:lnTo>
                  <a:pt x="3800" y="972"/>
                </a:lnTo>
                <a:lnTo>
                  <a:pt x="3789" y="978"/>
                </a:lnTo>
                <a:lnTo>
                  <a:pt x="3777" y="982"/>
                </a:lnTo>
                <a:lnTo>
                  <a:pt x="3771" y="984"/>
                </a:lnTo>
                <a:lnTo>
                  <a:pt x="3764" y="986"/>
                </a:lnTo>
                <a:lnTo>
                  <a:pt x="3758" y="987"/>
                </a:lnTo>
                <a:lnTo>
                  <a:pt x="3752" y="988"/>
                </a:lnTo>
                <a:lnTo>
                  <a:pt x="3738" y="988"/>
                </a:lnTo>
                <a:lnTo>
                  <a:pt x="3733" y="988"/>
                </a:lnTo>
                <a:lnTo>
                  <a:pt x="3728" y="986"/>
                </a:lnTo>
                <a:lnTo>
                  <a:pt x="3723" y="983"/>
                </a:lnTo>
                <a:lnTo>
                  <a:pt x="3721" y="981"/>
                </a:lnTo>
                <a:lnTo>
                  <a:pt x="3720" y="979"/>
                </a:lnTo>
                <a:lnTo>
                  <a:pt x="3716" y="974"/>
                </a:lnTo>
                <a:lnTo>
                  <a:pt x="3714" y="969"/>
                </a:lnTo>
                <a:lnTo>
                  <a:pt x="3713" y="966"/>
                </a:lnTo>
                <a:lnTo>
                  <a:pt x="3713" y="963"/>
                </a:lnTo>
                <a:lnTo>
                  <a:pt x="3712" y="957"/>
                </a:lnTo>
                <a:lnTo>
                  <a:pt x="3712" y="954"/>
                </a:lnTo>
                <a:lnTo>
                  <a:pt x="3712" y="951"/>
                </a:lnTo>
                <a:lnTo>
                  <a:pt x="3714" y="947"/>
                </a:lnTo>
                <a:lnTo>
                  <a:pt x="3715" y="944"/>
                </a:lnTo>
                <a:lnTo>
                  <a:pt x="3716" y="943"/>
                </a:lnTo>
                <a:lnTo>
                  <a:pt x="3717" y="941"/>
                </a:lnTo>
                <a:lnTo>
                  <a:pt x="3719" y="940"/>
                </a:lnTo>
                <a:lnTo>
                  <a:pt x="3730" y="938"/>
                </a:lnTo>
                <a:lnTo>
                  <a:pt x="3741" y="935"/>
                </a:lnTo>
                <a:lnTo>
                  <a:pt x="3752" y="932"/>
                </a:lnTo>
                <a:lnTo>
                  <a:pt x="3761" y="927"/>
                </a:lnTo>
                <a:lnTo>
                  <a:pt x="3770" y="922"/>
                </a:lnTo>
                <a:lnTo>
                  <a:pt x="3779" y="917"/>
                </a:lnTo>
                <a:lnTo>
                  <a:pt x="3787" y="912"/>
                </a:lnTo>
                <a:lnTo>
                  <a:pt x="3790" y="909"/>
                </a:lnTo>
                <a:lnTo>
                  <a:pt x="3794" y="906"/>
                </a:lnTo>
                <a:lnTo>
                  <a:pt x="3800" y="900"/>
                </a:lnTo>
                <a:lnTo>
                  <a:pt x="3806" y="893"/>
                </a:lnTo>
                <a:lnTo>
                  <a:pt x="3812" y="886"/>
                </a:lnTo>
                <a:lnTo>
                  <a:pt x="3816" y="880"/>
                </a:lnTo>
                <a:lnTo>
                  <a:pt x="3819" y="873"/>
                </a:lnTo>
                <a:lnTo>
                  <a:pt x="3822" y="865"/>
                </a:lnTo>
                <a:lnTo>
                  <a:pt x="3823" y="857"/>
                </a:lnTo>
                <a:lnTo>
                  <a:pt x="3824" y="850"/>
                </a:lnTo>
                <a:lnTo>
                  <a:pt x="3823" y="842"/>
                </a:lnTo>
                <a:lnTo>
                  <a:pt x="3821" y="835"/>
                </a:lnTo>
                <a:lnTo>
                  <a:pt x="3820" y="832"/>
                </a:lnTo>
                <a:lnTo>
                  <a:pt x="3818" y="829"/>
                </a:lnTo>
                <a:lnTo>
                  <a:pt x="3816" y="826"/>
                </a:lnTo>
                <a:lnTo>
                  <a:pt x="3813" y="823"/>
                </a:lnTo>
                <a:lnTo>
                  <a:pt x="3806" y="819"/>
                </a:lnTo>
                <a:lnTo>
                  <a:pt x="3803" y="817"/>
                </a:lnTo>
                <a:lnTo>
                  <a:pt x="3799" y="816"/>
                </a:lnTo>
                <a:lnTo>
                  <a:pt x="3792" y="814"/>
                </a:lnTo>
                <a:lnTo>
                  <a:pt x="3787" y="814"/>
                </a:lnTo>
                <a:lnTo>
                  <a:pt x="3783" y="814"/>
                </a:lnTo>
                <a:lnTo>
                  <a:pt x="3774" y="814"/>
                </a:lnTo>
                <a:lnTo>
                  <a:pt x="3769" y="815"/>
                </a:lnTo>
                <a:lnTo>
                  <a:pt x="3765" y="816"/>
                </a:lnTo>
                <a:lnTo>
                  <a:pt x="3761" y="818"/>
                </a:lnTo>
                <a:lnTo>
                  <a:pt x="3756" y="820"/>
                </a:lnTo>
                <a:lnTo>
                  <a:pt x="3752" y="822"/>
                </a:lnTo>
                <a:lnTo>
                  <a:pt x="3746" y="825"/>
                </a:lnTo>
                <a:lnTo>
                  <a:pt x="3742" y="827"/>
                </a:lnTo>
                <a:lnTo>
                  <a:pt x="3738" y="830"/>
                </a:lnTo>
                <a:lnTo>
                  <a:pt x="3730" y="838"/>
                </a:lnTo>
                <a:lnTo>
                  <a:pt x="3722" y="846"/>
                </a:lnTo>
                <a:lnTo>
                  <a:pt x="3714" y="855"/>
                </a:lnTo>
                <a:lnTo>
                  <a:pt x="3711" y="859"/>
                </a:lnTo>
                <a:lnTo>
                  <a:pt x="3707" y="865"/>
                </a:lnTo>
                <a:lnTo>
                  <a:pt x="3701" y="876"/>
                </a:lnTo>
                <a:lnTo>
                  <a:pt x="3696" y="888"/>
                </a:lnTo>
                <a:lnTo>
                  <a:pt x="3691" y="900"/>
                </a:lnTo>
                <a:lnTo>
                  <a:pt x="3686" y="913"/>
                </a:lnTo>
                <a:lnTo>
                  <a:pt x="3683" y="926"/>
                </a:lnTo>
                <a:lnTo>
                  <a:pt x="3682" y="941"/>
                </a:lnTo>
                <a:lnTo>
                  <a:pt x="3681" y="948"/>
                </a:lnTo>
                <a:lnTo>
                  <a:pt x="3681" y="955"/>
                </a:lnTo>
                <a:lnTo>
                  <a:pt x="3681" y="968"/>
                </a:lnTo>
                <a:lnTo>
                  <a:pt x="3683" y="980"/>
                </a:lnTo>
                <a:lnTo>
                  <a:pt x="3685" y="993"/>
                </a:lnTo>
                <a:lnTo>
                  <a:pt x="3686" y="998"/>
                </a:lnTo>
                <a:lnTo>
                  <a:pt x="3688" y="1004"/>
                </a:lnTo>
                <a:lnTo>
                  <a:pt x="3693" y="1014"/>
                </a:lnTo>
                <a:lnTo>
                  <a:pt x="3695" y="1019"/>
                </a:lnTo>
                <a:lnTo>
                  <a:pt x="3697" y="1024"/>
                </a:lnTo>
                <a:lnTo>
                  <a:pt x="3699" y="1029"/>
                </a:lnTo>
                <a:lnTo>
                  <a:pt x="3702" y="1033"/>
                </a:lnTo>
                <a:lnTo>
                  <a:pt x="3705" y="1037"/>
                </a:lnTo>
                <a:lnTo>
                  <a:pt x="3708" y="1041"/>
                </a:lnTo>
                <a:lnTo>
                  <a:pt x="3711" y="1045"/>
                </a:lnTo>
                <a:lnTo>
                  <a:pt x="3715" y="1049"/>
                </a:lnTo>
                <a:lnTo>
                  <a:pt x="3722" y="1056"/>
                </a:lnTo>
                <a:lnTo>
                  <a:pt x="3730" y="1062"/>
                </a:lnTo>
                <a:lnTo>
                  <a:pt x="3738" y="1067"/>
                </a:lnTo>
                <a:lnTo>
                  <a:pt x="3747" y="1071"/>
                </a:lnTo>
                <a:lnTo>
                  <a:pt x="3758" y="1073"/>
                </a:lnTo>
                <a:lnTo>
                  <a:pt x="3768" y="1075"/>
                </a:lnTo>
                <a:lnTo>
                  <a:pt x="3773" y="1076"/>
                </a:lnTo>
                <a:lnTo>
                  <a:pt x="3779" y="1076"/>
                </a:lnTo>
                <a:lnTo>
                  <a:pt x="3789" y="1075"/>
                </a:lnTo>
                <a:lnTo>
                  <a:pt x="3800" y="1074"/>
                </a:lnTo>
                <a:lnTo>
                  <a:pt x="3809" y="1071"/>
                </a:lnTo>
                <a:lnTo>
                  <a:pt x="3820" y="1068"/>
                </a:lnTo>
                <a:lnTo>
                  <a:pt x="3829" y="1064"/>
                </a:lnTo>
                <a:lnTo>
                  <a:pt x="3838" y="1059"/>
                </a:lnTo>
                <a:lnTo>
                  <a:pt x="3847" y="1053"/>
                </a:lnTo>
                <a:lnTo>
                  <a:pt x="3855" y="1045"/>
                </a:lnTo>
                <a:lnTo>
                  <a:pt x="3863" y="1038"/>
                </a:lnTo>
                <a:lnTo>
                  <a:pt x="3872" y="1030"/>
                </a:lnTo>
                <a:lnTo>
                  <a:pt x="3879" y="1022"/>
                </a:lnTo>
                <a:lnTo>
                  <a:pt x="3886" y="1013"/>
                </a:lnTo>
                <a:lnTo>
                  <a:pt x="3899" y="993"/>
                </a:lnTo>
                <a:lnTo>
                  <a:pt x="3905" y="982"/>
                </a:lnTo>
                <a:lnTo>
                  <a:pt x="3910" y="971"/>
                </a:lnTo>
                <a:lnTo>
                  <a:pt x="3916" y="960"/>
                </a:lnTo>
                <a:lnTo>
                  <a:pt x="3920" y="949"/>
                </a:lnTo>
                <a:lnTo>
                  <a:pt x="3925" y="937"/>
                </a:lnTo>
                <a:lnTo>
                  <a:pt x="3929" y="925"/>
                </a:lnTo>
                <a:lnTo>
                  <a:pt x="3934" y="913"/>
                </a:lnTo>
                <a:lnTo>
                  <a:pt x="3937" y="901"/>
                </a:lnTo>
                <a:lnTo>
                  <a:pt x="3940" y="889"/>
                </a:lnTo>
                <a:lnTo>
                  <a:pt x="3943" y="877"/>
                </a:lnTo>
                <a:lnTo>
                  <a:pt x="3945" y="864"/>
                </a:lnTo>
                <a:lnTo>
                  <a:pt x="3947" y="852"/>
                </a:lnTo>
                <a:lnTo>
                  <a:pt x="3948" y="840"/>
                </a:lnTo>
                <a:lnTo>
                  <a:pt x="3949" y="828"/>
                </a:lnTo>
                <a:lnTo>
                  <a:pt x="3950" y="817"/>
                </a:lnTo>
                <a:lnTo>
                  <a:pt x="3950" y="805"/>
                </a:lnTo>
                <a:lnTo>
                  <a:pt x="3950" y="794"/>
                </a:lnTo>
                <a:lnTo>
                  <a:pt x="3950" y="784"/>
                </a:lnTo>
                <a:lnTo>
                  <a:pt x="3951" y="781"/>
                </a:lnTo>
                <a:lnTo>
                  <a:pt x="3953" y="779"/>
                </a:lnTo>
                <a:lnTo>
                  <a:pt x="3955" y="777"/>
                </a:lnTo>
                <a:lnTo>
                  <a:pt x="3957" y="775"/>
                </a:lnTo>
                <a:lnTo>
                  <a:pt x="3964" y="773"/>
                </a:lnTo>
                <a:lnTo>
                  <a:pt x="3968" y="772"/>
                </a:lnTo>
                <a:lnTo>
                  <a:pt x="3972" y="772"/>
                </a:lnTo>
                <a:lnTo>
                  <a:pt x="3979" y="772"/>
                </a:lnTo>
                <a:lnTo>
                  <a:pt x="3983" y="773"/>
                </a:lnTo>
                <a:lnTo>
                  <a:pt x="3986" y="774"/>
                </a:lnTo>
                <a:lnTo>
                  <a:pt x="3993" y="777"/>
                </a:lnTo>
                <a:lnTo>
                  <a:pt x="3995" y="779"/>
                </a:lnTo>
                <a:lnTo>
                  <a:pt x="3998" y="781"/>
                </a:lnTo>
                <a:lnTo>
                  <a:pt x="4002" y="787"/>
                </a:lnTo>
                <a:lnTo>
                  <a:pt x="4003" y="790"/>
                </a:lnTo>
                <a:lnTo>
                  <a:pt x="4005" y="794"/>
                </a:lnTo>
                <a:lnTo>
                  <a:pt x="4006" y="798"/>
                </a:lnTo>
                <a:lnTo>
                  <a:pt x="4006" y="803"/>
                </a:lnTo>
                <a:lnTo>
                  <a:pt x="4007" y="809"/>
                </a:lnTo>
                <a:lnTo>
                  <a:pt x="4007" y="815"/>
                </a:lnTo>
                <a:lnTo>
                  <a:pt x="4007" y="831"/>
                </a:lnTo>
                <a:lnTo>
                  <a:pt x="4006" y="846"/>
                </a:lnTo>
                <a:lnTo>
                  <a:pt x="4004" y="862"/>
                </a:lnTo>
                <a:lnTo>
                  <a:pt x="4002" y="878"/>
                </a:lnTo>
                <a:lnTo>
                  <a:pt x="3999" y="893"/>
                </a:lnTo>
                <a:lnTo>
                  <a:pt x="3996" y="907"/>
                </a:lnTo>
                <a:lnTo>
                  <a:pt x="3993" y="922"/>
                </a:lnTo>
                <a:lnTo>
                  <a:pt x="3988" y="937"/>
                </a:lnTo>
                <a:lnTo>
                  <a:pt x="3984" y="951"/>
                </a:lnTo>
                <a:lnTo>
                  <a:pt x="3979" y="964"/>
                </a:lnTo>
                <a:lnTo>
                  <a:pt x="3974" y="978"/>
                </a:lnTo>
                <a:lnTo>
                  <a:pt x="3968" y="990"/>
                </a:lnTo>
                <a:lnTo>
                  <a:pt x="3962" y="1004"/>
                </a:lnTo>
                <a:lnTo>
                  <a:pt x="3955" y="1016"/>
                </a:lnTo>
                <a:lnTo>
                  <a:pt x="3948" y="1027"/>
                </a:lnTo>
                <a:lnTo>
                  <a:pt x="3941" y="1039"/>
                </a:lnTo>
                <a:lnTo>
                  <a:pt x="3933" y="1049"/>
                </a:lnTo>
                <a:lnTo>
                  <a:pt x="3924" y="1060"/>
                </a:lnTo>
                <a:lnTo>
                  <a:pt x="3916" y="1070"/>
                </a:lnTo>
                <a:lnTo>
                  <a:pt x="3907" y="1079"/>
                </a:lnTo>
                <a:lnTo>
                  <a:pt x="3898" y="1087"/>
                </a:lnTo>
                <a:lnTo>
                  <a:pt x="3889" y="1095"/>
                </a:lnTo>
                <a:lnTo>
                  <a:pt x="3879" y="1103"/>
                </a:lnTo>
                <a:lnTo>
                  <a:pt x="3868" y="1109"/>
                </a:lnTo>
                <a:lnTo>
                  <a:pt x="3858" y="1116"/>
                </a:lnTo>
                <a:lnTo>
                  <a:pt x="3847" y="1121"/>
                </a:lnTo>
                <a:lnTo>
                  <a:pt x="3836" y="1126"/>
                </a:lnTo>
                <a:lnTo>
                  <a:pt x="3825" y="1129"/>
                </a:lnTo>
                <a:lnTo>
                  <a:pt x="3814" y="1132"/>
                </a:lnTo>
                <a:lnTo>
                  <a:pt x="3801" y="1134"/>
                </a:lnTo>
                <a:lnTo>
                  <a:pt x="3789" y="1136"/>
                </a:lnTo>
                <a:lnTo>
                  <a:pt x="3777" y="1136"/>
                </a:lnTo>
                <a:close/>
                <a:moveTo>
                  <a:pt x="4164" y="1130"/>
                </a:moveTo>
                <a:lnTo>
                  <a:pt x="4162" y="1130"/>
                </a:lnTo>
                <a:lnTo>
                  <a:pt x="4160" y="1129"/>
                </a:lnTo>
                <a:lnTo>
                  <a:pt x="4154" y="1127"/>
                </a:lnTo>
                <a:lnTo>
                  <a:pt x="4148" y="1122"/>
                </a:lnTo>
                <a:lnTo>
                  <a:pt x="4141" y="1117"/>
                </a:lnTo>
                <a:lnTo>
                  <a:pt x="4128" y="1105"/>
                </a:lnTo>
                <a:lnTo>
                  <a:pt x="4113" y="1091"/>
                </a:lnTo>
                <a:lnTo>
                  <a:pt x="4096" y="1075"/>
                </a:lnTo>
                <a:lnTo>
                  <a:pt x="4079" y="1058"/>
                </a:lnTo>
                <a:lnTo>
                  <a:pt x="4063" y="1040"/>
                </a:lnTo>
                <a:lnTo>
                  <a:pt x="4048" y="1024"/>
                </a:lnTo>
                <a:lnTo>
                  <a:pt x="4036" y="1010"/>
                </a:lnTo>
                <a:lnTo>
                  <a:pt x="4032" y="1004"/>
                </a:lnTo>
                <a:lnTo>
                  <a:pt x="4029" y="998"/>
                </a:lnTo>
                <a:lnTo>
                  <a:pt x="4024" y="987"/>
                </a:lnTo>
                <a:lnTo>
                  <a:pt x="4020" y="977"/>
                </a:lnTo>
                <a:lnTo>
                  <a:pt x="4017" y="968"/>
                </a:lnTo>
                <a:lnTo>
                  <a:pt x="4017" y="958"/>
                </a:lnTo>
                <a:lnTo>
                  <a:pt x="4017" y="952"/>
                </a:lnTo>
                <a:lnTo>
                  <a:pt x="4018" y="946"/>
                </a:lnTo>
                <a:lnTo>
                  <a:pt x="4019" y="941"/>
                </a:lnTo>
                <a:lnTo>
                  <a:pt x="4021" y="935"/>
                </a:lnTo>
                <a:lnTo>
                  <a:pt x="4024" y="927"/>
                </a:lnTo>
                <a:lnTo>
                  <a:pt x="4027" y="921"/>
                </a:lnTo>
                <a:lnTo>
                  <a:pt x="4031" y="914"/>
                </a:lnTo>
                <a:lnTo>
                  <a:pt x="4035" y="908"/>
                </a:lnTo>
                <a:lnTo>
                  <a:pt x="4043" y="897"/>
                </a:lnTo>
                <a:lnTo>
                  <a:pt x="4056" y="883"/>
                </a:lnTo>
                <a:lnTo>
                  <a:pt x="4085" y="848"/>
                </a:lnTo>
                <a:lnTo>
                  <a:pt x="4121" y="808"/>
                </a:lnTo>
                <a:lnTo>
                  <a:pt x="4156" y="768"/>
                </a:lnTo>
                <a:lnTo>
                  <a:pt x="4157" y="768"/>
                </a:lnTo>
                <a:lnTo>
                  <a:pt x="4160" y="767"/>
                </a:lnTo>
                <a:lnTo>
                  <a:pt x="4164" y="768"/>
                </a:lnTo>
                <a:lnTo>
                  <a:pt x="4168" y="769"/>
                </a:lnTo>
                <a:lnTo>
                  <a:pt x="4173" y="771"/>
                </a:lnTo>
                <a:lnTo>
                  <a:pt x="4178" y="773"/>
                </a:lnTo>
                <a:lnTo>
                  <a:pt x="4182" y="776"/>
                </a:lnTo>
                <a:lnTo>
                  <a:pt x="4186" y="780"/>
                </a:lnTo>
                <a:lnTo>
                  <a:pt x="4189" y="784"/>
                </a:lnTo>
                <a:lnTo>
                  <a:pt x="4192" y="789"/>
                </a:lnTo>
                <a:lnTo>
                  <a:pt x="4194" y="794"/>
                </a:lnTo>
                <a:lnTo>
                  <a:pt x="4194" y="798"/>
                </a:lnTo>
                <a:lnTo>
                  <a:pt x="4193" y="804"/>
                </a:lnTo>
                <a:lnTo>
                  <a:pt x="4192" y="809"/>
                </a:lnTo>
                <a:lnTo>
                  <a:pt x="4189" y="816"/>
                </a:lnTo>
                <a:lnTo>
                  <a:pt x="4185" y="822"/>
                </a:lnTo>
                <a:lnTo>
                  <a:pt x="4177" y="832"/>
                </a:lnTo>
                <a:lnTo>
                  <a:pt x="4164" y="846"/>
                </a:lnTo>
                <a:lnTo>
                  <a:pt x="4135" y="879"/>
                </a:lnTo>
                <a:lnTo>
                  <a:pt x="4105" y="913"/>
                </a:lnTo>
                <a:lnTo>
                  <a:pt x="4093" y="927"/>
                </a:lnTo>
                <a:lnTo>
                  <a:pt x="4083" y="940"/>
                </a:lnTo>
                <a:lnTo>
                  <a:pt x="4081" y="944"/>
                </a:lnTo>
                <a:lnTo>
                  <a:pt x="4079" y="947"/>
                </a:lnTo>
                <a:lnTo>
                  <a:pt x="4078" y="951"/>
                </a:lnTo>
                <a:lnTo>
                  <a:pt x="4078" y="954"/>
                </a:lnTo>
                <a:lnTo>
                  <a:pt x="4078" y="959"/>
                </a:lnTo>
                <a:lnTo>
                  <a:pt x="4080" y="963"/>
                </a:lnTo>
                <a:lnTo>
                  <a:pt x="4082" y="968"/>
                </a:lnTo>
                <a:lnTo>
                  <a:pt x="4085" y="972"/>
                </a:lnTo>
                <a:lnTo>
                  <a:pt x="4092" y="981"/>
                </a:lnTo>
                <a:lnTo>
                  <a:pt x="4102" y="994"/>
                </a:lnTo>
                <a:lnTo>
                  <a:pt x="4131" y="1023"/>
                </a:lnTo>
                <a:lnTo>
                  <a:pt x="4163" y="1056"/>
                </a:lnTo>
                <a:lnTo>
                  <a:pt x="4195" y="1087"/>
                </a:lnTo>
                <a:lnTo>
                  <a:pt x="4196" y="1088"/>
                </a:lnTo>
                <a:lnTo>
                  <a:pt x="4198" y="1091"/>
                </a:lnTo>
                <a:lnTo>
                  <a:pt x="4199" y="1093"/>
                </a:lnTo>
                <a:lnTo>
                  <a:pt x="4199" y="1095"/>
                </a:lnTo>
                <a:lnTo>
                  <a:pt x="4198" y="1101"/>
                </a:lnTo>
                <a:lnTo>
                  <a:pt x="4197" y="1104"/>
                </a:lnTo>
                <a:lnTo>
                  <a:pt x="4196" y="1107"/>
                </a:lnTo>
                <a:lnTo>
                  <a:pt x="4192" y="1113"/>
                </a:lnTo>
                <a:lnTo>
                  <a:pt x="4190" y="1116"/>
                </a:lnTo>
                <a:lnTo>
                  <a:pt x="4188" y="1119"/>
                </a:lnTo>
                <a:lnTo>
                  <a:pt x="4182" y="1123"/>
                </a:lnTo>
                <a:lnTo>
                  <a:pt x="4179" y="1125"/>
                </a:lnTo>
                <a:lnTo>
                  <a:pt x="4177" y="1127"/>
                </a:lnTo>
                <a:lnTo>
                  <a:pt x="4171" y="1129"/>
                </a:lnTo>
                <a:lnTo>
                  <a:pt x="4167" y="1130"/>
                </a:lnTo>
                <a:lnTo>
                  <a:pt x="4164" y="1130"/>
                </a:lnTo>
                <a:close/>
                <a:moveTo>
                  <a:pt x="3777" y="2129"/>
                </a:moveTo>
                <a:lnTo>
                  <a:pt x="3769" y="2129"/>
                </a:lnTo>
                <a:lnTo>
                  <a:pt x="3762" y="2128"/>
                </a:lnTo>
                <a:lnTo>
                  <a:pt x="3754" y="2127"/>
                </a:lnTo>
                <a:lnTo>
                  <a:pt x="3746" y="2126"/>
                </a:lnTo>
                <a:lnTo>
                  <a:pt x="3739" y="2124"/>
                </a:lnTo>
                <a:lnTo>
                  <a:pt x="3731" y="2121"/>
                </a:lnTo>
                <a:lnTo>
                  <a:pt x="3718" y="2116"/>
                </a:lnTo>
                <a:lnTo>
                  <a:pt x="3705" y="2108"/>
                </a:lnTo>
                <a:lnTo>
                  <a:pt x="3698" y="2104"/>
                </a:lnTo>
                <a:lnTo>
                  <a:pt x="3692" y="2100"/>
                </a:lnTo>
                <a:lnTo>
                  <a:pt x="3686" y="2095"/>
                </a:lnTo>
                <a:lnTo>
                  <a:pt x="3680" y="2090"/>
                </a:lnTo>
                <a:lnTo>
                  <a:pt x="3674" y="2084"/>
                </a:lnTo>
                <a:lnTo>
                  <a:pt x="3669" y="2078"/>
                </a:lnTo>
                <a:lnTo>
                  <a:pt x="3664" y="2072"/>
                </a:lnTo>
                <a:lnTo>
                  <a:pt x="3660" y="2065"/>
                </a:lnTo>
                <a:lnTo>
                  <a:pt x="3655" y="2058"/>
                </a:lnTo>
                <a:lnTo>
                  <a:pt x="3651" y="2051"/>
                </a:lnTo>
                <a:lnTo>
                  <a:pt x="3647" y="2044"/>
                </a:lnTo>
                <a:lnTo>
                  <a:pt x="3643" y="2037"/>
                </a:lnTo>
                <a:lnTo>
                  <a:pt x="3640" y="2029"/>
                </a:lnTo>
                <a:lnTo>
                  <a:pt x="3637" y="2022"/>
                </a:lnTo>
                <a:lnTo>
                  <a:pt x="3634" y="2014"/>
                </a:lnTo>
                <a:lnTo>
                  <a:pt x="3632" y="2005"/>
                </a:lnTo>
                <a:lnTo>
                  <a:pt x="3629" y="1996"/>
                </a:lnTo>
                <a:lnTo>
                  <a:pt x="3627" y="1988"/>
                </a:lnTo>
                <a:lnTo>
                  <a:pt x="3626" y="1979"/>
                </a:lnTo>
                <a:lnTo>
                  <a:pt x="3625" y="1970"/>
                </a:lnTo>
                <a:lnTo>
                  <a:pt x="3625" y="1961"/>
                </a:lnTo>
                <a:lnTo>
                  <a:pt x="3624" y="1952"/>
                </a:lnTo>
                <a:lnTo>
                  <a:pt x="3625" y="1932"/>
                </a:lnTo>
                <a:lnTo>
                  <a:pt x="3626" y="1923"/>
                </a:lnTo>
                <a:lnTo>
                  <a:pt x="3628" y="1914"/>
                </a:lnTo>
                <a:lnTo>
                  <a:pt x="3629" y="1905"/>
                </a:lnTo>
                <a:lnTo>
                  <a:pt x="3632" y="1896"/>
                </a:lnTo>
                <a:lnTo>
                  <a:pt x="3635" y="1886"/>
                </a:lnTo>
                <a:lnTo>
                  <a:pt x="3638" y="1878"/>
                </a:lnTo>
                <a:lnTo>
                  <a:pt x="3641" y="1869"/>
                </a:lnTo>
                <a:lnTo>
                  <a:pt x="3644" y="1861"/>
                </a:lnTo>
                <a:lnTo>
                  <a:pt x="3648" y="1853"/>
                </a:lnTo>
                <a:lnTo>
                  <a:pt x="3652" y="1845"/>
                </a:lnTo>
                <a:lnTo>
                  <a:pt x="3657" y="1838"/>
                </a:lnTo>
                <a:lnTo>
                  <a:pt x="3661" y="1829"/>
                </a:lnTo>
                <a:lnTo>
                  <a:pt x="3672" y="1815"/>
                </a:lnTo>
                <a:lnTo>
                  <a:pt x="3677" y="1809"/>
                </a:lnTo>
                <a:lnTo>
                  <a:pt x="3683" y="1803"/>
                </a:lnTo>
                <a:lnTo>
                  <a:pt x="3696" y="1791"/>
                </a:lnTo>
                <a:lnTo>
                  <a:pt x="3703" y="1786"/>
                </a:lnTo>
                <a:lnTo>
                  <a:pt x="3709" y="1781"/>
                </a:lnTo>
                <a:lnTo>
                  <a:pt x="3716" y="1777"/>
                </a:lnTo>
                <a:lnTo>
                  <a:pt x="3723" y="1773"/>
                </a:lnTo>
                <a:lnTo>
                  <a:pt x="3730" y="1768"/>
                </a:lnTo>
                <a:lnTo>
                  <a:pt x="3738" y="1765"/>
                </a:lnTo>
                <a:lnTo>
                  <a:pt x="3745" y="1762"/>
                </a:lnTo>
                <a:lnTo>
                  <a:pt x="3754" y="1760"/>
                </a:lnTo>
                <a:lnTo>
                  <a:pt x="3762" y="1758"/>
                </a:lnTo>
                <a:lnTo>
                  <a:pt x="3770" y="1757"/>
                </a:lnTo>
                <a:lnTo>
                  <a:pt x="3778" y="1756"/>
                </a:lnTo>
                <a:lnTo>
                  <a:pt x="3786" y="1756"/>
                </a:lnTo>
                <a:lnTo>
                  <a:pt x="3797" y="1756"/>
                </a:lnTo>
                <a:lnTo>
                  <a:pt x="3802" y="1757"/>
                </a:lnTo>
                <a:lnTo>
                  <a:pt x="3806" y="1758"/>
                </a:lnTo>
                <a:lnTo>
                  <a:pt x="3812" y="1759"/>
                </a:lnTo>
                <a:lnTo>
                  <a:pt x="3816" y="1760"/>
                </a:lnTo>
                <a:lnTo>
                  <a:pt x="3825" y="1763"/>
                </a:lnTo>
                <a:lnTo>
                  <a:pt x="3833" y="1767"/>
                </a:lnTo>
                <a:lnTo>
                  <a:pt x="3840" y="1773"/>
                </a:lnTo>
                <a:lnTo>
                  <a:pt x="3847" y="1778"/>
                </a:lnTo>
                <a:lnTo>
                  <a:pt x="3853" y="1784"/>
                </a:lnTo>
                <a:lnTo>
                  <a:pt x="3855" y="1787"/>
                </a:lnTo>
                <a:lnTo>
                  <a:pt x="3858" y="1791"/>
                </a:lnTo>
                <a:lnTo>
                  <a:pt x="3863" y="1798"/>
                </a:lnTo>
                <a:lnTo>
                  <a:pt x="3867" y="1806"/>
                </a:lnTo>
                <a:lnTo>
                  <a:pt x="3871" y="1814"/>
                </a:lnTo>
                <a:lnTo>
                  <a:pt x="3874" y="1823"/>
                </a:lnTo>
                <a:lnTo>
                  <a:pt x="3876" y="1833"/>
                </a:lnTo>
                <a:lnTo>
                  <a:pt x="3877" y="1842"/>
                </a:lnTo>
                <a:lnTo>
                  <a:pt x="3877" y="1852"/>
                </a:lnTo>
                <a:lnTo>
                  <a:pt x="3876" y="1865"/>
                </a:lnTo>
                <a:lnTo>
                  <a:pt x="3876" y="1871"/>
                </a:lnTo>
                <a:lnTo>
                  <a:pt x="3874" y="1877"/>
                </a:lnTo>
                <a:lnTo>
                  <a:pt x="3869" y="1889"/>
                </a:lnTo>
                <a:lnTo>
                  <a:pt x="3864" y="1902"/>
                </a:lnTo>
                <a:lnTo>
                  <a:pt x="3858" y="1913"/>
                </a:lnTo>
                <a:lnTo>
                  <a:pt x="3851" y="1923"/>
                </a:lnTo>
                <a:lnTo>
                  <a:pt x="3847" y="1928"/>
                </a:lnTo>
                <a:lnTo>
                  <a:pt x="3843" y="1933"/>
                </a:lnTo>
                <a:lnTo>
                  <a:pt x="3833" y="1943"/>
                </a:lnTo>
                <a:lnTo>
                  <a:pt x="3823" y="1952"/>
                </a:lnTo>
                <a:lnTo>
                  <a:pt x="3818" y="1956"/>
                </a:lnTo>
                <a:lnTo>
                  <a:pt x="3813" y="1960"/>
                </a:lnTo>
                <a:lnTo>
                  <a:pt x="3800" y="1966"/>
                </a:lnTo>
                <a:lnTo>
                  <a:pt x="3789" y="1972"/>
                </a:lnTo>
                <a:lnTo>
                  <a:pt x="3777" y="1976"/>
                </a:lnTo>
                <a:lnTo>
                  <a:pt x="3771" y="1978"/>
                </a:lnTo>
                <a:lnTo>
                  <a:pt x="3764" y="1980"/>
                </a:lnTo>
                <a:lnTo>
                  <a:pt x="3758" y="1981"/>
                </a:lnTo>
                <a:lnTo>
                  <a:pt x="3752" y="1982"/>
                </a:lnTo>
                <a:lnTo>
                  <a:pt x="3738" y="1982"/>
                </a:lnTo>
                <a:lnTo>
                  <a:pt x="3733" y="1982"/>
                </a:lnTo>
                <a:lnTo>
                  <a:pt x="3728" y="1980"/>
                </a:lnTo>
                <a:lnTo>
                  <a:pt x="3723" y="1977"/>
                </a:lnTo>
                <a:lnTo>
                  <a:pt x="3721" y="1975"/>
                </a:lnTo>
                <a:lnTo>
                  <a:pt x="3720" y="1973"/>
                </a:lnTo>
                <a:lnTo>
                  <a:pt x="3716" y="1969"/>
                </a:lnTo>
                <a:lnTo>
                  <a:pt x="3714" y="1963"/>
                </a:lnTo>
                <a:lnTo>
                  <a:pt x="3713" y="1961"/>
                </a:lnTo>
                <a:lnTo>
                  <a:pt x="3713" y="1958"/>
                </a:lnTo>
                <a:lnTo>
                  <a:pt x="3712" y="1950"/>
                </a:lnTo>
                <a:lnTo>
                  <a:pt x="3712" y="1947"/>
                </a:lnTo>
                <a:lnTo>
                  <a:pt x="3712" y="1945"/>
                </a:lnTo>
                <a:lnTo>
                  <a:pt x="3714" y="1940"/>
                </a:lnTo>
                <a:lnTo>
                  <a:pt x="3715" y="1938"/>
                </a:lnTo>
                <a:lnTo>
                  <a:pt x="3716" y="1936"/>
                </a:lnTo>
                <a:lnTo>
                  <a:pt x="3717" y="1934"/>
                </a:lnTo>
                <a:lnTo>
                  <a:pt x="3719" y="1933"/>
                </a:lnTo>
                <a:lnTo>
                  <a:pt x="3730" y="1931"/>
                </a:lnTo>
                <a:lnTo>
                  <a:pt x="3741" y="1928"/>
                </a:lnTo>
                <a:lnTo>
                  <a:pt x="3752" y="1925"/>
                </a:lnTo>
                <a:lnTo>
                  <a:pt x="3761" y="1921"/>
                </a:lnTo>
                <a:lnTo>
                  <a:pt x="3770" y="1917"/>
                </a:lnTo>
                <a:lnTo>
                  <a:pt x="3779" y="1911"/>
                </a:lnTo>
                <a:lnTo>
                  <a:pt x="3787" y="1906"/>
                </a:lnTo>
                <a:lnTo>
                  <a:pt x="3790" y="1903"/>
                </a:lnTo>
                <a:lnTo>
                  <a:pt x="3794" y="1900"/>
                </a:lnTo>
                <a:lnTo>
                  <a:pt x="3800" y="1894"/>
                </a:lnTo>
                <a:lnTo>
                  <a:pt x="3806" y="1886"/>
                </a:lnTo>
                <a:lnTo>
                  <a:pt x="3812" y="1880"/>
                </a:lnTo>
                <a:lnTo>
                  <a:pt x="3816" y="1873"/>
                </a:lnTo>
                <a:lnTo>
                  <a:pt x="3819" y="1866"/>
                </a:lnTo>
                <a:lnTo>
                  <a:pt x="3822" y="1859"/>
                </a:lnTo>
                <a:lnTo>
                  <a:pt x="3823" y="1852"/>
                </a:lnTo>
                <a:lnTo>
                  <a:pt x="3824" y="1845"/>
                </a:lnTo>
                <a:lnTo>
                  <a:pt x="3823" y="1837"/>
                </a:lnTo>
                <a:lnTo>
                  <a:pt x="3821" y="1828"/>
                </a:lnTo>
                <a:lnTo>
                  <a:pt x="3820" y="1825"/>
                </a:lnTo>
                <a:lnTo>
                  <a:pt x="3818" y="1822"/>
                </a:lnTo>
                <a:lnTo>
                  <a:pt x="3816" y="1819"/>
                </a:lnTo>
                <a:lnTo>
                  <a:pt x="3813" y="1817"/>
                </a:lnTo>
                <a:lnTo>
                  <a:pt x="3806" y="1812"/>
                </a:lnTo>
                <a:lnTo>
                  <a:pt x="3803" y="1811"/>
                </a:lnTo>
                <a:lnTo>
                  <a:pt x="3799" y="1809"/>
                </a:lnTo>
                <a:lnTo>
                  <a:pt x="3792" y="1807"/>
                </a:lnTo>
                <a:lnTo>
                  <a:pt x="3787" y="1807"/>
                </a:lnTo>
                <a:lnTo>
                  <a:pt x="3783" y="1807"/>
                </a:lnTo>
                <a:lnTo>
                  <a:pt x="3774" y="1807"/>
                </a:lnTo>
                <a:lnTo>
                  <a:pt x="3769" y="1808"/>
                </a:lnTo>
                <a:lnTo>
                  <a:pt x="3765" y="1810"/>
                </a:lnTo>
                <a:lnTo>
                  <a:pt x="3761" y="1811"/>
                </a:lnTo>
                <a:lnTo>
                  <a:pt x="3756" y="1813"/>
                </a:lnTo>
                <a:lnTo>
                  <a:pt x="3752" y="1815"/>
                </a:lnTo>
                <a:lnTo>
                  <a:pt x="3746" y="1818"/>
                </a:lnTo>
                <a:lnTo>
                  <a:pt x="3742" y="1821"/>
                </a:lnTo>
                <a:lnTo>
                  <a:pt x="3738" y="1824"/>
                </a:lnTo>
                <a:lnTo>
                  <a:pt x="3730" y="1832"/>
                </a:lnTo>
                <a:lnTo>
                  <a:pt x="3722" y="1840"/>
                </a:lnTo>
                <a:lnTo>
                  <a:pt x="3714" y="1849"/>
                </a:lnTo>
                <a:lnTo>
                  <a:pt x="3711" y="1854"/>
                </a:lnTo>
                <a:lnTo>
                  <a:pt x="3707" y="1859"/>
                </a:lnTo>
                <a:lnTo>
                  <a:pt x="3701" y="1870"/>
                </a:lnTo>
                <a:lnTo>
                  <a:pt x="3696" y="1881"/>
                </a:lnTo>
                <a:lnTo>
                  <a:pt x="3691" y="1894"/>
                </a:lnTo>
                <a:lnTo>
                  <a:pt x="3686" y="1907"/>
                </a:lnTo>
                <a:lnTo>
                  <a:pt x="3683" y="1920"/>
                </a:lnTo>
                <a:lnTo>
                  <a:pt x="3682" y="1934"/>
                </a:lnTo>
                <a:lnTo>
                  <a:pt x="3681" y="1941"/>
                </a:lnTo>
                <a:lnTo>
                  <a:pt x="3681" y="1948"/>
                </a:lnTo>
                <a:lnTo>
                  <a:pt x="3681" y="1962"/>
                </a:lnTo>
                <a:lnTo>
                  <a:pt x="3683" y="1974"/>
                </a:lnTo>
                <a:lnTo>
                  <a:pt x="3685" y="1986"/>
                </a:lnTo>
                <a:lnTo>
                  <a:pt x="3686" y="1991"/>
                </a:lnTo>
                <a:lnTo>
                  <a:pt x="3688" y="1997"/>
                </a:lnTo>
                <a:lnTo>
                  <a:pt x="3693" y="2007"/>
                </a:lnTo>
                <a:lnTo>
                  <a:pt x="3695" y="2013"/>
                </a:lnTo>
                <a:lnTo>
                  <a:pt x="3697" y="2018"/>
                </a:lnTo>
                <a:lnTo>
                  <a:pt x="3699" y="2023"/>
                </a:lnTo>
                <a:lnTo>
                  <a:pt x="3702" y="2027"/>
                </a:lnTo>
                <a:lnTo>
                  <a:pt x="3705" y="2031"/>
                </a:lnTo>
                <a:lnTo>
                  <a:pt x="3708" y="2035"/>
                </a:lnTo>
                <a:lnTo>
                  <a:pt x="3711" y="2039"/>
                </a:lnTo>
                <a:lnTo>
                  <a:pt x="3715" y="2043"/>
                </a:lnTo>
                <a:lnTo>
                  <a:pt x="3722" y="2050"/>
                </a:lnTo>
                <a:lnTo>
                  <a:pt x="3730" y="2055"/>
                </a:lnTo>
                <a:lnTo>
                  <a:pt x="3738" y="2060"/>
                </a:lnTo>
                <a:lnTo>
                  <a:pt x="3747" y="2064"/>
                </a:lnTo>
                <a:lnTo>
                  <a:pt x="3758" y="2067"/>
                </a:lnTo>
                <a:lnTo>
                  <a:pt x="3768" y="2068"/>
                </a:lnTo>
                <a:lnTo>
                  <a:pt x="3773" y="2069"/>
                </a:lnTo>
                <a:lnTo>
                  <a:pt x="3779" y="2069"/>
                </a:lnTo>
                <a:lnTo>
                  <a:pt x="3789" y="2068"/>
                </a:lnTo>
                <a:lnTo>
                  <a:pt x="3800" y="2067"/>
                </a:lnTo>
                <a:lnTo>
                  <a:pt x="3809" y="2064"/>
                </a:lnTo>
                <a:lnTo>
                  <a:pt x="3820" y="2061"/>
                </a:lnTo>
                <a:lnTo>
                  <a:pt x="3829" y="2057"/>
                </a:lnTo>
                <a:lnTo>
                  <a:pt x="3838" y="2052"/>
                </a:lnTo>
                <a:lnTo>
                  <a:pt x="3847" y="2046"/>
                </a:lnTo>
                <a:lnTo>
                  <a:pt x="3855" y="2039"/>
                </a:lnTo>
                <a:lnTo>
                  <a:pt x="3863" y="2032"/>
                </a:lnTo>
                <a:lnTo>
                  <a:pt x="3872" y="2024"/>
                </a:lnTo>
                <a:lnTo>
                  <a:pt x="3879" y="2016"/>
                </a:lnTo>
                <a:lnTo>
                  <a:pt x="3886" y="2006"/>
                </a:lnTo>
                <a:lnTo>
                  <a:pt x="3899" y="1986"/>
                </a:lnTo>
                <a:lnTo>
                  <a:pt x="3905" y="1976"/>
                </a:lnTo>
                <a:lnTo>
                  <a:pt x="3910" y="1965"/>
                </a:lnTo>
                <a:lnTo>
                  <a:pt x="3916" y="1954"/>
                </a:lnTo>
                <a:lnTo>
                  <a:pt x="3920" y="1942"/>
                </a:lnTo>
                <a:lnTo>
                  <a:pt x="3925" y="1930"/>
                </a:lnTo>
                <a:lnTo>
                  <a:pt x="3929" y="1919"/>
                </a:lnTo>
                <a:lnTo>
                  <a:pt x="3934" y="1907"/>
                </a:lnTo>
                <a:lnTo>
                  <a:pt x="3937" y="1895"/>
                </a:lnTo>
                <a:lnTo>
                  <a:pt x="3940" y="1882"/>
                </a:lnTo>
                <a:lnTo>
                  <a:pt x="3943" y="1870"/>
                </a:lnTo>
                <a:lnTo>
                  <a:pt x="3945" y="1858"/>
                </a:lnTo>
                <a:lnTo>
                  <a:pt x="3947" y="1846"/>
                </a:lnTo>
                <a:lnTo>
                  <a:pt x="3948" y="1834"/>
                </a:lnTo>
                <a:lnTo>
                  <a:pt x="3949" y="1822"/>
                </a:lnTo>
                <a:lnTo>
                  <a:pt x="3950" y="1810"/>
                </a:lnTo>
                <a:lnTo>
                  <a:pt x="3950" y="1799"/>
                </a:lnTo>
                <a:lnTo>
                  <a:pt x="3950" y="1788"/>
                </a:lnTo>
                <a:lnTo>
                  <a:pt x="3950" y="1778"/>
                </a:lnTo>
                <a:lnTo>
                  <a:pt x="3951" y="1776"/>
                </a:lnTo>
                <a:lnTo>
                  <a:pt x="3953" y="1773"/>
                </a:lnTo>
                <a:lnTo>
                  <a:pt x="3955" y="1770"/>
                </a:lnTo>
                <a:lnTo>
                  <a:pt x="3957" y="1769"/>
                </a:lnTo>
                <a:lnTo>
                  <a:pt x="3964" y="1766"/>
                </a:lnTo>
                <a:lnTo>
                  <a:pt x="3968" y="1765"/>
                </a:lnTo>
                <a:lnTo>
                  <a:pt x="3972" y="1765"/>
                </a:lnTo>
                <a:lnTo>
                  <a:pt x="3979" y="1765"/>
                </a:lnTo>
                <a:lnTo>
                  <a:pt x="3983" y="1766"/>
                </a:lnTo>
                <a:lnTo>
                  <a:pt x="3986" y="1767"/>
                </a:lnTo>
                <a:lnTo>
                  <a:pt x="3993" y="1770"/>
                </a:lnTo>
                <a:lnTo>
                  <a:pt x="3995" y="1773"/>
                </a:lnTo>
                <a:lnTo>
                  <a:pt x="3998" y="1775"/>
                </a:lnTo>
                <a:lnTo>
                  <a:pt x="4002" y="1781"/>
                </a:lnTo>
                <a:lnTo>
                  <a:pt x="4003" y="1784"/>
                </a:lnTo>
                <a:lnTo>
                  <a:pt x="4005" y="1788"/>
                </a:lnTo>
                <a:lnTo>
                  <a:pt x="4006" y="1793"/>
                </a:lnTo>
                <a:lnTo>
                  <a:pt x="4006" y="1797"/>
                </a:lnTo>
                <a:lnTo>
                  <a:pt x="4007" y="1803"/>
                </a:lnTo>
                <a:lnTo>
                  <a:pt x="4007" y="1809"/>
                </a:lnTo>
                <a:lnTo>
                  <a:pt x="4007" y="1824"/>
                </a:lnTo>
                <a:lnTo>
                  <a:pt x="4006" y="1841"/>
                </a:lnTo>
                <a:lnTo>
                  <a:pt x="4004" y="1856"/>
                </a:lnTo>
                <a:lnTo>
                  <a:pt x="4002" y="1871"/>
                </a:lnTo>
                <a:lnTo>
                  <a:pt x="3999" y="1886"/>
                </a:lnTo>
                <a:lnTo>
                  <a:pt x="3996" y="1902"/>
                </a:lnTo>
                <a:lnTo>
                  <a:pt x="3993" y="1916"/>
                </a:lnTo>
                <a:lnTo>
                  <a:pt x="3988" y="1930"/>
                </a:lnTo>
                <a:lnTo>
                  <a:pt x="3984" y="1944"/>
                </a:lnTo>
                <a:lnTo>
                  <a:pt x="3979" y="1959"/>
                </a:lnTo>
                <a:lnTo>
                  <a:pt x="3974" y="1972"/>
                </a:lnTo>
                <a:lnTo>
                  <a:pt x="3968" y="1985"/>
                </a:lnTo>
                <a:lnTo>
                  <a:pt x="3962" y="1997"/>
                </a:lnTo>
                <a:lnTo>
                  <a:pt x="3955" y="2009"/>
                </a:lnTo>
                <a:lnTo>
                  <a:pt x="3948" y="2022"/>
                </a:lnTo>
                <a:lnTo>
                  <a:pt x="3941" y="2033"/>
                </a:lnTo>
                <a:lnTo>
                  <a:pt x="3933" y="2043"/>
                </a:lnTo>
                <a:lnTo>
                  <a:pt x="3924" y="2054"/>
                </a:lnTo>
                <a:lnTo>
                  <a:pt x="3916" y="2063"/>
                </a:lnTo>
                <a:lnTo>
                  <a:pt x="3907" y="2073"/>
                </a:lnTo>
                <a:lnTo>
                  <a:pt x="3898" y="2082"/>
                </a:lnTo>
                <a:lnTo>
                  <a:pt x="3889" y="2090"/>
                </a:lnTo>
                <a:lnTo>
                  <a:pt x="3879" y="2097"/>
                </a:lnTo>
                <a:lnTo>
                  <a:pt x="3868" y="2103"/>
                </a:lnTo>
                <a:lnTo>
                  <a:pt x="3858" y="2109"/>
                </a:lnTo>
                <a:lnTo>
                  <a:pt x="3847" y="2114"/>
                </a:lnTo>
                <a:lnTo>
                  <a:pt x="3836" y="2119"/>
                </a:lnTo>
                <a:lnTo>
                  <a:pt x="3825" y="2122"/>
                </a:lnTo>
                <a:lnTo>
                  <a:pt x="3814" y="2125"/>
                </a:lnTo>
                <a:lnTo>
                  <a:pt x="3801" y="2127"/>
                </a:lnTo>
                <a:lnTo>
                  <a:pt x="3789" y="2129"/>
                </a:lnTo>
                <a:lnTo>
                  <a:pt x="3777" y="2129"/>
                </a:lnTo>
                <a:close/>
                <a:moveTo>
                  <a:pt x="4164" y="2123"/>
                </a:moveTo>
                <a:lnTo>
                  <a:pt x="4162" y="2123"/>
                </a:lnTo>
                <a:lnTo>
                  <a:pt x="4160" y="2123"/>
                </a:lnTo>
                <a:lnTo>
                  <a:pt x="4154" y="2120"/>
                </a:lnTo>
                <a:lnTo>
                  <a:pt x="4148" y="2116"/>
                </a:lnTo>
                <a:lnTo>
                  <a:pt x="4141" y="2110"/>
                </a:lnTo>
                <a:lnTo>
                  <a:pt x="4128" y="2099"/>
                </a:lnTo>
                <a:lnTo>
                  <a:pt x="4113" y="2085"/>
                </a:lnTo>
                <a:lnTo>
                  <a:pt x="4096" y="2068"/>
                </a:lnTo>
                <a:lnTo>
                  <a:pt x="4079" y="2051"/>
                </a:lnTo>
                <a:lnTo>
                  <a:pt x="4063" y="2034"/>
                </a:lnTo>
                <a:lnTo>
                  <a:pt x="4048" y="2018"/>
                </a:lnTo>
                <a:lnTo>
                  <a:pt x="4036" y="2003"/>
                </a:lnTo>
                <a:lnTo>
                  <a:pt x="4032" y="1997"/>
                </a:lnTo>
                <a:lnTo>
                  <a:pt x="4029" y="1991"/>
                </a:lnTo>
                <a:lnTo>
                  <a:pt x="4024" y="1981"/>
                </a:lnTo>
                <a:lnTo>
                  <a:pt x="4020" y="1971"/>
                </a:lnTo>
                <a:lnTo>
                  <a:pt x="4017" y="1962"/>
                </a:lnTo>
                <a:lnTo>
                  <a:pt x="4017" y="1952"/>
                </a:lnTo>
                <a:lnTo>
                  <a:pt x="4017" y="1945"/>
                </a:lnTo>
                <a:lnTo>
                  <a:pt x="4018" y="1940"/>
                </a:lnTo>
                <a:lnTo>
                  <a:pt x="4019" y="1934"/>
                </a:lnTo>
                <a:lnTo>
                  <a:pt x="4021" y="1928"/>
                </a:lnTo>
                <a:lnTo>
                  <a:pt x="4024" y="1922"/>
                </a:lnTo>
                <a:lnTo>
                  <a:pt x="4027" y="1915"/>
                </a:lnTo>
                <a:lnTo>
                  <a:pt x="4031" y="1909"/>
                </a:lnTo>
                <a:lnTo>
                  <a:pt x="4035" y="1902"/>
                </a:lnTo>
                <a:lnTo>
                  <a:pt x="4043" y="1890"/>
                </a:lnTo>
                <a:lnTo>
                  <a:pt x="4056" y="1876"/>
                </a:lnTo>
                <a:lnTo>
                  <a:pt x="4085" y="1842"/>
                </a:lnTo>
                <a:lnTo>
                  <a:pt x="4121" y="1802"/>
                </a:lnTo>
                <a:lnTo>
                  <a:pt x="4156" y="1761"/>
                </a:lnTo>
                <a:lnTo>
                  <a:pt x="4157" y="1761"/>
                </a:lnTo>
                <a:lnTo>
                  <a:pt x="4160" y="1760"/>
                </a:lnTo>
                <a:lnTo>
                  <a:pt x="4164" y="1761"/>
                </a:lnTo>
                <a:lnTo>
                  <a:pt x="4168" y="1762"/>
                </a:lnTo>
                <a:lnTo>
                  <a:pt x="4173" y="1764"/>
                </a:lnTo>
                <a:lnTo>
                  <a:pt x="4178" y="1766"/>
                </a:lnTo>
                <a:lnTo>
                  <a:pt x="4182" y="1769"/>
                </a:lnTo>
                <a:lnTo>
                  <a:pt x="4186" y="1774"/>
                </a:lnTo>
                <a:lnTo>
                  <a:pt x="4189" y="1778"/>
                </a:lnTo>
                <a:lnTo>
                  <a:pt x="4192" y="1783"/>
                </a:lnTo>
                <a:lnTo>
                  <a:pt x="4194" y="1788"/>
                </a:lnTo>
                <a:lnTo>
                  <a:pt x="4194" y="1793"/>
                </a:lnTo>
                <a:lnTo>
                  <a:pt x="4193" y="1798"/>
                </a:lnTo>
                <a:lnTo>
                  <a:pt x="4192" y="1803"/>
                </a:lnTo>
                <a:lnTo>
                  <a:pt x="4189" y="1809"/>
                </a:lnTo>
                <a:lnTo>
                  <a:pt x="4185" y="1815"/>
                </a:lnTo>
                <a:lnTo>
                  <a:pt x="4177" y="1825"/>
                </a:lnTo>
                <a:lnTo>
                  <a:pt x="4164" y="1840"/>
                </a:lnTo>
                <a:lnTo>
                  <a:pt x="4135" y="1873"/>
                </a:lnTo>
                <a:lnTo>
                  <a:pt x="4105" y="1907"/>
                </a:lnTo>
                <a:lnTo>
                  <a:pt x="4093" y="1921"/>
                </a:lnTo>
                <a:lnTo>
                  <a:pt x="4083" y="1933"/>
                </a:lnTo>
                <a:lnTo>
                  <a:pt x="4081" y="1937"/>
                </a:lnTo>
                <a:lnTo>
                  <a:pt x="4079" y="1940"/>
                </a:lnTo>
                <a:lnTo>
                  <a:pt x="4078" y="1944"/>
                </a:lnTo>
                <a:lnTo>
                  <a:pt x="4078" y="1948"/>
                </a:lnTo>
                <a:lnTo>
                  <a:pt x="4078" y="1953"/>
                </a:lnTo>
                <a:lnTo>
                  <a:pt x="4080" y="1957"/>
                </a:lnTo>
                <a:lnTo>
                  <a:pt x="4082" y="1962"/>
                </a:lnTo>
                <a:lnTo>
                  <a:pt x="4085" y="1967"/>
                </a:lnTo>
                <a:lnTo>
                  <a:pt x="4092" y="1976"/>
                </a:lnTo>
                <a:lnTo>
                  <a:pt x="4102" y="1987"/>
                </a:lnTo>
                <a:lnTo>
                  <a:pt x="4131" y="2017"/>
                </a:lnTo>
                <a:lnTo>
                  <a:pt x="4163" y="2050"/>
                </a:lnTo>
                <a:lnTo>
                  <a:pt x="4195" y="2081"/>
                </a:lnTo>
                <a:lnTo>
                  <a:pt x="4196" y="2083"/>
                </a:lnTo>
                <a:lnTo>
                  <a:pt x="4198" y="2085"/>
                </a:lnTo>
                <a:lnTo>
                  <a:pt x="4199" y="2087"/>
                </a:lnTo>
                <a:lnTo>
                  <a:pt x="4199" y="2090"/>
                </a:lnTo>
                <a:lnTo>
                  <a:pt x="4198" y="2095"/>
                </a:lnTo>
                <a:lnTo>
                  <a:pt x="4197" y="2098"/>
                </a:lnTo>
                <a:lnTo>
                  <a:pt x="4196" y="2101"/>
                </a:lnTo>
                <a:lnTo>
                  <a:pt x="4192" y="2107"/>
                </a:lnTo>
                <a:lnTo>
                  <a:pt x="4190" y="2109"/>
                </a:lnTo>
                <a:lnTo>
                  <a:pt x="4188" y="2112"/>
                </a:lnTo>
                <a:lnTo>
                  <a:pt x="4182" y="2116"/>
                </a:lnTo>
                <a:lnTo>
                  <a:pt x="4179" y="2118"/>
                </a:lnTo>
                <a:lnTo>
                  <a:pt x="4177" y="2120"/>
                </a:lnTo>
                <a:lnTo>
                  <a:pt x="4171" y="2123"/>
                </a:lnTo>
                <a:lnTo>
                  <a:pt x="4167" y="2123"/>
                </a:lnTo>
                <a:lnTo>
                  <a:pt x="4164" y="2123"/>
                </a:lnTo>
                <a:close/>
                <a:moveTo>
                  <a:pt x="3777" y="3095"/>
                </a:moveTo>
                <a:lnTo>
                  <a:pt x="3769" y="3094"/>
                </a:lnTo>
                <a:lnTo>
                  <a:pt x="3762" y="3094"/>
                </a:lnTo>
                <a:lnTo>
                  <a:pt x="3754" y="3093"/>
                </a:lnTo>
                <a:lnTo>
                  <a:pt x="3746" y="3090"/>
                </a:lnTo>
                <a:lnTo>
                  <a:pt x="3739" y="3088"/>
                </a:lnTo>
                <a:lnTo>
                  <a:pt x="3731" y="3086"/>
                </a:lnTo>
                <a:lnTo>
                  <a:pt x="3718" y="3080"/>
                </a:lnTo>
                <a:lnTo>
                  <a:pt x="3705" y="3073"/>
                </a:lnTo>
                <a:lnTo>
                  <a:pt x="3698" y="3069"/>
                </a:lnTo>
                <a:lnTo>
                  <a:pt x="3692" y="3064"/>
                </a:lnTo>
                <a:lnTo>
                  <a:pt x="3686" y="3059"/>
                </a:lnTo>
                <a:lnTo>
                  <a:pt x="3680" y="3054"/>
                </a:lnTo>
                <a:lnTo>
                  <a:pt x="3674" y="3049"/>
                </a:lnTo>
                <a:lnTo>
                  <a:pt x="3669" y="3043"/>
                </a:lnTo>
                <a:lnTo>
                  <a:pt x="3664" y="3037"/>
                </a:lnTo>
                <a:lnTo>
                  <a:pt x="3660" y="3029"/>
                </a:lnTo>
                <a:lnTo>
                  <a:pt x="3655" y="3023"/>
                </a:lnTo>
                <a:lnTo>
                  <a:pt x="3651" y="3016"/>
                </a:lnTo>
                <a:lnTo>
                  <a:pt x="3647" y="3009"/>
                </a:lnTo>
                <a:lnTo>
                  <a:pt x="3643" y="3001"/>
                </a:lnTo>
                <a:lnTo>
                  <a:pt x="3640" y="2994"/>
                </a:lnTo>
                <a:lnTo>
                  <a:pt x="3637" y="2986"/>
                </a:lnTo>
                <a:lnTo>
                  <a:pt x="3634" y="2978"/>
                </a:lnTo>
                <a:lnTo>
                  <a:pt x="3632" y="2969"/>
                </a:lnTo>
                <a:lnTo>
                  <a:pt x="3629" y="2961"/>
                </a:lnTo>
                <a:lnTo>
                  <a:pt x="3627" y="2952"/>
                </a:lnTo>
                <a:lnTo>
                  <a:pt x="3626" y="2943"/>
                </a:lnTo>
                <a:lnTo>
                  <a:pt x="3625" y="2934"/>
                </a:lnTo>
                <a:lnTo>
                  <a:pt x="3625" y="2925"/>
                </a:lnTo>
                <a:lnTo>
                  <a:pt x="3624" y="2916"/>
                </a:lnTo>
                <a:lnTo>
                  <a:pt x="3625" y="2897"/>
                </a:lnTo>
                <a:lnTo>
                  <a:pt x="3626" y="2887"/>
                </a:lnTo>
                <a:lnTo>
                  <a:pt x="3628" y="2878"/>
                </a:lnTo>
                <a:lnTo>
                  <a:pt x="3629" y="2869"/>
                </a:lnTo>
                <a:lnTo>
                  <a:pt x="3632" y="2860"/>
                </a:lnTo>
                <a:lnTo>
                  <a:pt x="3635" y="2852"/>
                </a:lnTo>
                <a:lnTo>
                  <a:pt x="3638" y="2842"/>
                </a:lnTo>
                <a:lnTo>
                  <a:pt x="3641" y="2834"/>
                </a:lnTo>
                <a:lnTo>
                  <a:pt x="3644" y="2825"/>
                </a:lnTo>
                <a:lnTo>
                  <a:pt x="3648" y="2817"/>
                </a:lnTo>
                <a:lnTo>
                  <a:pt x="3652" y="2810"/>
                </a:lnTo>
                <a:lnTo>
                  <a:pt x="3657" y="2802"/>
                </a:lnTo>
                <a:lnTo>
                  <a:pt x="3661" y="2795"/>
                </a:lnTo>
                <a:lnTo>
                  <a:pt x="3672" y="2780"/>
                </a:lnTo>
                <a:lnTo>
                  <a:pt x="3677" y="2773"/>
                </a:lnTo>
                <a:lnTo>
                  <a:pt x="3683" y="2767"/>
                </a:lnTo>
                <a:lnTo>
                  <a:pt x="3696" y="2756"/>
                </a:lnTo>
                <a:lnTo>
                  <a:pt x="3703" y="2751"/>
                </a:lnTo>
                <a:lnTo>
                  <a:pt x="3709" y="2746"/>
                </a:lnTo>
                <a:lnTo>
                  <a:pt x="3716" y="2741"/>
                </a:lnTo>
                <a:lnTo>
                  <a:pt x="3723" y="2737"/>
                </a:lnTo>
                <a:lnTo>
                  <a:pt x="3730" y="2734"/>
                </a:lnTo>
                <a:lnTo>
                  <a:pt x="3738" y="2730"/>
                </a:lnTo>
                <a:lnTo>
                  <a:pt x="3745" y="2727"/>
                </a:lnTo>
                <a:lnTo>
                  <a:pt x="3754" y="2725"/>
                </a:lnTo>
                <a:lnTo>
                  <a:pt x="3762" y="2723"/>
                </a:lnTo>
                <a:lnTo>
                  <a:pt x="3770" y="2721"/>
                </a:lnTo>
                <a:lnTo>
                  <a:pt x="3778" y="2721"/>
                </a:lnTo>
                <a:lnTo>
                  <a:pt x="3786" y="2720"/>
                </a:lnTo>
                <a:lnTo>
                  <a:pt x="3797" y="2721"/>
                </a:lnTo>
                <a:lnTo>
                  <a:pt x="3802" y="2721"/>
                </a:lnTo>
                <a:lnTo>
                  <a:pt x="3806" y="2722"/>
                </a:lnTo>
                <a:lnTo>
                  <a:pt x="3812" y="2723"/>
                </a:lnTo>
                <a:lnTo>
                  <a:pt x="3816" y="2725"/>
                </a:lnTo>
                <a:lnTo>
                  <a:pt x="3825" y="2728"/>
                </a:lnTo>
                <a:lnTo>
                  <a:pt x="3833" y="2733"/>
                </a:lnTo>
                <a:lnTo>
                  <a:pt x="3840" y="2737"/>
                </a:lnTo>
                <a:lnTo>
                  <a:pt x="3847" y="2743"/>
                </a:lnTo>
                <a:lnTo>
                  <a:pt x="3853" y="2749"/>
                </a:lnTo>
                <a:lnTo>
                  <a:pt x="3855" y="2752"/>
                </a:lnTo>
                <a:lnTo>
                  <a:pt x="3858" y="2755"/>
                </a:lnTo>
                <a:lnTo>
                  <a:pt x="3863" y="2762"/>
                </a:lnTo>
                <a:lnTo>
                  <a:pt x="3867" y="2770"/>
                </a:lnTo>
                <a:lnTo>
                  <a:pt x="3871" y="2778"/>
                </a:lnTo>
                <a:lnTo>
                  <a:pt x="3874" y="2787"/>
                </a:lnTo>
                <a:lnTo>
                  <a:pt x="3876" y="2797"/>
                </a:lnTo>
                <a:lnTo>
                  <a:pt x="3877" y="2807"/>
                </a:lnTo>
                <a:lnTo>
                  <a:pt x="3877" y="2817"/>
                </a:lnTo>
                <a:lnTo>
                  <a:pt x="3876" y="2829"/>
                </a:lnTo>
                <a:lnTo>
                  <a:pt x="3876" y="2835"/>
                </a:lnTo>
                <a:lnTo>
                  <a:pt x="3874" y="2842"/>
                </a:lnTo>
                <a:lnTo>
                  <a:pt x="3869" y="2854"/>
                </a:lnTo>
                <a:lnTo>
                  <a:pt x="3864" y="2866"/>
                </a:lnTo>
                <a:lnTo>
                  <a:pt x="3858" y="2877"/>
                </a:lnTo>
                <a:lnTo>
                  <a:pt x="3851" y="2888"/>
                </a:lnTo>
                <a:lnTo>
                  <a:pt x="3847" y="2893"/>
                </a:lnTo>
                <a:lnTo>
                  <a:pt x="3843" y="2898"/>
                </a:lnTo>
                <a:lnTo>
                  <a:pt x="3833" y="2907"/>
                </a:lnTo>
                <a:lnTo>
                  <a:pt x="3823" y="2916"/>
                </a:lnTo>
                <a:lnTo>
                  <a:pt x="3818" y="2920"/>
                </a:lnTo>
                <a:lnTo>
                  <a:pt x="3813" y="2924"/>
                </a:lnTo>
                <a:lnTo>
                  <a:pt x="3800" y="2931"/>
                </a:lnTo>
                <a:lnTo>
                  <a:pt x="3789" y="2936"/>
                </a:lnTo>
                <a:lnTo>
                  <a:pt x="3777" y="2941"/>
                </a:lnTo>
                <a:lnTo>
                  <a:pt x="3771" y="2943"/>
                </a:lnTo>
                <a:lnTo>
                  <a:pt x="3764" y="2944"/>
                </a:lnTo>
                <a:lnTo>
                  <a:pt x="3758" y="2945"/>
                </a:lnTo>
                <a:lnTo>
                  <a:pt x="3752" y="2946"/>
                </a:lnTo>
                <a:lnTo>
                  <a:pt x="3738" y="2947"/>
                </a:lnTo>
                <a:lnTo>
                  <a:pt x="3733" y="2946"/>
                </a:lnTo>
                <a:lnTo>
                  <a:pt x="3728" y="2944"/>
                </a:lnTo>
                <a:lnTo>
                  <a:pt x="3723" y="2942"/>
                </a:lnTo>
                <a:lnTo>
                  <a:pt x="3721" y="2940"/>
                </a:lnTo>
                <a:lnTo>
                  <a:pt x="3720" y="2938"/>
                </a:lnTo>
                <a:lnTo>
                  <a:pt x="3716" y="2933"/>
                </a:lnTo>
                <a:lnTo>
                  <a:pt x="3714" y="2928"/>
                </a:lnTo>
                <a:lnTo>
                  <a:pt x="3713" y="2925"/>
                </a:lnTo>
                <a:lnTo>
                  <a:pt x="3713" y="2922"/>
                </a:lnTo>
                <a:lnTo>
                  <a:pt x="3712" y="2916"/>
                </a:lnTo>
                <a:lnTo>
                  <a:pt x="3712" y="2913"/>
                </a:lnTo>
                <a:lnTo>
                  <a:pt x="3712" y="2909"/>
                </a:lnTo>
                <a:lnTo>
                  <a:pt x="3714" y="2904"/>
                </a:lnTo>
                <a:lnTo>
                  <a:pt x="3715" y="2902"/>
                </a:lnTo>
                <a:lnTo>
                  <a:pt x="3716" y="2900"/>
                </a:lnTo>
                <a:lnTo>
                  <a:pt x="3717" y="2899"/>
                </a:lnTo>
                <a:lnTo>
                  <a:pt x="3719" y="2897"/>
                </a:lnTo>
                <a:lnTo>
                  <a:pt x="3730" y="2896"/>
                </a:lnTo>
                <a:lnTo>
                  <a:pt x="3741" y="2893"/>
                </a:lnTo>
                <a:lnTo>
                  <a:pt x="3752" y="2890"/>
                </a:lnTo>
                <a:lnTo>
                  <a:pt x="3761" y="2886"/>
                </a:lnTo>
                <a:lnTo>
                  <a:pt x="3770" y="2881"/>
                </a:lnTo>
                <a:lnTo>
                  <a:pt x="3779" y="2876"/>
                </a:lnTo>
                <a:lnTo>
                  <a:pt x="3787" y="2870"/>
                </a:lnTo>
                <a:lnTo>
                  <a:pt x="3790" y="2868"/>
                </a:lnTo>
                <a:lnTo>
                  <a:pt x="3794" y="2865"/>
                </a:lnTo>
                <a:lnTo>
                  <a:pt x="3800" y="2858"/>
                </a:lnTo>
                <a:lnTo>
                  <a:pt x="3806" y="2852"/>
                </a:lnTo>
                <a:lnTo>
                  <a:pt x="3812" y="2844"/>
                </a:lnTo>
                <a:lnTo>
                  <a:pt x="3816" y="2837"/>
                </a:lnTo>
                <a:lnTo>
                  <a:pt x="3819" y="2830"/>
                </a:lnTo>
                <a:lnTo>
                  <a:pt x="3822" y="2823"/>
                </a:lnTo>
                <a:lnTo>
                  <a:pt x="3823" y="2816"/>
                </a:lnTo>
                <a:lnTo>
                  <a:pt x="3824" y="2809"/>
                </a:lnTo>
                <a:lnTo>
                  <a:pt x="3823" y="2801"/>
                </a:lnTo>
                <a:lnTo>
                  <a:pt x="3821" y="2794"/>
                </a:lnTo>
                <a:lnTo>
                  <a:pt x="3820" y="2789"/>
                </a:lnTo>
                <a:lnTo>
                  <a:pt x="3818" y="2786"/>
                </a:lnTo>
                <a:lnTo>
                  <a:pt x="3816" y="2784"/>
                </a:lnTo>
                <a:lnTo>
                  <a:pt x="3813" y="2781"/>
                </a:lnTo>
                <a:lnTo>
                  <a:pt x="3806" y="2777"/>
                </a:lnTo>
                <a:lnTo>
                  <a:pt x="3803" y="2775"/>
                </a:lnTo>
                <a:lnTo>
                  <a:pt x="3799" y="2774"/>
                </a:lnTo>
                <a:lnTo>
                  <a:pt x="3792" y="2772"/>
                </a:lnTo>
                <a:lnTo>
                  <a:pt x="3787" y="2771"/>
                </a:lnTo>
                <a:lnTo>
                  <a:pt x="3783" y="2771"/>
                </a:lnTo>
                <a:lnTo>
                  <a:pt x="3774" y="2772"/>
                </a:lnTo>
                <a:lnTo>
                  <a:pt x="3769" y="2773"/>
                </a:lnTo>
                <a:lnTo>
                  <a:pt x="3765" y="2774"/>
                </a:lnTo>
                <a:lnTo>
                  <a:pt x="3761" y="2776"/>
                </a:lnTo>
                <a:lnTo>
                  <a:pt x="3756" y="2777"/>
                </a:lnTo>
                <a:lnTo>
                  <a:pt x="3752" y="2780"/>
                </a:lnTo>
                <a:lnTo>
                  <a:pt x="3746" y="2782"/>
                </a:lnTo>
                <a:lnTo>
                  <a:pt x="3742" y="2785"/>
                </a:lnTo>
                <a:lnTo>
                  <a:pt x="3738" y="2788"/>
                </a:lnTo>
                <a:lnTo>
                  <a:pt x="3730" y="2796"/>
                </a:lnTo>
                <a:lnTo>
                  <a:pt x="3722" y="2804"/>
                </a:lnTo>
                <a:lnTo>
                  <a:pt x="3714" y="2813"/>
                </a:lnTo>
                <a:lnTo>
                  <a:pt x="3711" y="2818"/>
                </a:lnTo>
                <a:lnTo>
                  <a:pt x="3707" y="2823"/>
                </a:lnTo>
                <a:lnTo>
                  <a:pt x="3701" y="2834"/>
                </a:lnTo>
                <a:lnTo>
                  <a:pt x="3696" y="2845"/>
                </a:lnTo>
                <a:lnTo>
                  <a:pt x="3691" y="2859"/>
                </a:lnTo>
                <a:lnTo>
                  <a:pt x="3686" y="2871"/>
                </a:lnTo>
                <a:lnTo>
                  <a:pt x="3683" y="2885"/>
                </a:lnTo>
                <a:lnTo>
                  <a:pt x="3682" y="2899"/>
                </a:lnTo>
                <a:lnTo>
                  <a:pt x="3681" y="2906"/>
                </a:lnTo>
                <a:lnTo>
                  <a:pt x="3681" y="2914"/>
                </a:lnTo>
                <a:lnTo>
                  <a:pt x="3681" y="2926"/>
                </a:lnTo>
                <a:lnTo>
                  <a:pt x="3683" y="2939"/>
                </a:lnTo>
                <a:lnTo>
                  <a:pt x="3685" y="2950"/>
                </a:lnTo>
                <a:lnTo>
                  <a:pt x="3686" y="2956"/>
                </a:lnTo>
                <a:lnTo>
                  <a:pt x="3688" y="2961"/>
                </a:lnTo>
                <a:lnTo>
                  <a:pt x="3693" y="2973"/>
                </a:lnTo>
                <a:lnTo>
                  <a:pt x="3695" y="2978"/>
                </a:lnTo>
                <a:lnTo>
                  <a:pt x="3697" y="2983"/>
                </a:lnTo>
                <a:lnTo>
                  <a:pt x="3699" y="2987"/>
                </a:lnTo>
                <a:lnTo>
                  <a:pt x="3702" y="2992"/>
                </a:lnTo>
                <a:lnTo>
                  <a:pt x="3705" y="2996"/>
                </a:lnTo>
                <a:lnTo>
                  <a:pt x="3708" y="3000"/>
                </a:lnTo>
                <a:lnTo>
                  <a:pt x="3711" y="3004"/>
                </a:lnTo>
                <a:lnTo>
                  <a:pt x="3715" y="3007"/>
                </a:lnTo>
                <a:lnTo>
                  <a:pt x="3722" y="3014"/>
                </a:lnTo>
                <a:lnTo>
                  <a:pt x="3730" y="3020"/>
                </a:lnTo>
                <a:lnTo>
                  <a:pt x="3738" y="3025"/>
                </a:lnTo>
                <a:lnTo>
                  <a:pt x="3747" y="3028"/>
                </a:lnTo>
                <a:lnTo>
                  <a:pt x="3758" y="3032"/>
                </a:lnTo>
                <a:lnTo>
                  <a:pt x="3768" y="3034"/>
                </a:lnTo>
                <a:lnTo>
                  <a:pt x="3773" y="3034"/>
                </a:lnTo>
                <a:lnTo>
                  <a:pt x="3779" y="3034"/>
                </a:lnTo>
                <a:lnTo>
                  <a:pt x="3789" y="3034"/>
                </a:lnTo>
                <a:lnTo>
                  <a:pt x="3800" y="3032"/>
                </a:lnTo>
                <a:lnTo>
                  <a:pt x="3809" y="3029"/>
                </a:lnTo>
                <a:lnTo>
                  <a:pt x="3820" y="3026"/>
                </a:lnTo>
                <a:lnTo>
                  <a:pt x="3829" y="3021"/>
                </a:lnTo>
                <a:lnTo>
                  <a:pt x="3838" y="3016"/>
                </a:lnTo>
                <a:lnTo>
                  <a:pt x="3847" y="3010"/>
                </a:lnTo>
                <a:lnTo>
                  <a:pt x="3855" y="3004"/>
                </a:lnTo>
                <a:lnTo>
                  <a:pt x="3863" y="2997"/>
                </a:lnTo>
                <a:lnTo>
                  <a:pt x="3872" y="2989"/>
                </a:lnTo>
                <a:lnTo>
                  <a:pt x="3879" y="2980"/>
                </a:lnTo>
                <a:lnTo>
                  <a:pt x="3886" y="2970"/>
                </a:lnTo>
                <a:lnTo>
                  <a:pt x="3899" y="2951"/>
                </a:lnTo>
                <a:lnTo>
                  <a:pt x="3905" y="2941"/>
                </a:lnTo>
                <a:lnTo>
                  <a:pt x="3910" y="2930"/>
                </a:lnTo>
                <a:lnTo>
                  <a:pt x="3916" y="2919"/>
                </a:lnTo>
                <a:lnTo>
                  <a:pt x="3920" y="2906"/>
                </a:lnTo>
                <a:lnTo>
                  <a:pt x="3925" y="2895"/>
                </a:lnTo>
                <a:lnTo>
                  <a:pt x="3929" y="2883"/>
                </a:lnTo>
                <a:lnTo>
                  <a:pt x="3934" y="2871"/>
                </a:lnTo>
                <a:lnTo>
                  <a:pt x="3937" y="2859"/>
                </a:lnTo>
                <a:lnTo>
                  <a:pt x="3940" y="2846"/>
                </a:lnTo>
                <a:lnTo>
                  <a:pt x="3943" y="2834"/>
                </a:lnTo>
                <a:lnTo>
                  <a:pt x="3945" y="2822"/>
                </a:lnTo>
                <a:lnTo>
                  <a:pt x="3947" y="2810"/>
                </a:lnTo>
                <a:lnTo>
                  <a:pt x="3948" y="2799"/>
                </a:lnTo>
                <a:lnTo>
                  <a:pt x="3949" y="2786"/>
                </a:lnTo>
                <a:lnTo>
                  <a:pt x="3950" y="2775"/>
                </a:lnTo>
                <a:lnTo>
                  <a:pt x="3950" y="2764"/>
                </a:lnTo>
                <a:lnTo>
                  <a:pt x="3950" y="2753"/>
                </a:lnTo>
                <a:lnTo>
                  <a:pt x="3950" y="2742"/>
                </a:lnTo>
                <a:lnTo>
                  <a:pt x="3951" y="2740"/>
                </a:lnTo>
                <a:lnTo>
                  <a:pt x="3953" y="2738"/>
                </a:lnTo>
                <a:lnTo>
                  <a:pt x="3955" y="2736"/>
                </a:lnTo>
                <a:lnTo>
                  <a:pt x="3957" y="2734"/>
                </a:lnTo>
                <a:lnTo>
                  <a:pt x="3964" y="2730"/>
                </a:lnTo>
                <a:lnTo>
                  <a:pt x="3968" y="2730"/>
                </a:lnTo>
                <a:lnTo>
                  <a:pt x="3972" y="2729"/>
                </a:lnTo>
                <a:lnTo>
                  <a:pt x="3979" y="2730"/>
                </a:lnTo>
                <a:lnTo>
                  <a:pt x="3983" y="2732"/>
                </a:lnTo>
                <a:lnTo>
                  <a:pt x="3986" y="2732"/>
                </a:lnTo>
                <a:lnTo>
                  <a:pt x="3993" y="2735"/>
                </a:lnTo>
                <a:lnTo>
                  <a:pt x="3995" y="2737"/>
                </a:lnTo>
                <a:lnTo>
                  <a:pt x="3998" y="2740"/>
                </a:lnTo>
                <a:lnTo>
                  <a:pt x="4002" y="2745"/>
                </a:lnTo>
                <a:lnTo>
                  <a:pt x="4003" y="2749"/>
                </a:lnTo>
                <a:lnTo>
                  <a:pt x="4005" y="2753"/>
                </a:lnTo>
                <a:lnTo>
                  <a:pt x="4006" y="2757"/>
                </a:lnTo>
                <a:lnTo>
                  <a:pt x="4006" y="2762"/>
                </a:lnTo>
                <a:lnTo>
                  <a:pt x="4007" y="2767"/>
                </a:lnTo>
                <a:lnTo>
                  <a:pt x="4007" y="2773"/>
                </a:lnTo>
                <a:lnTo>
                  <a:pt x="4007" y="2789"/>
                </a:lnTo>
                <a:lnTo>
                  <a:pt x="4006" y="2805"/>
                </a:lnTo>
                <a:lnTo>
                  <a:pt x="4004" y="2820"/>
                </a:lnTo>
                <a:lnTo>
                  <a:pt x="4002" y="2835"/>
                </a:lnTo>
                <a:lnTo>
                  <a:pt x="3999" y="2850"/>
                </a:lnTo>
                <a:lnTo>
                  <a:pt x="3996" y="2866"/>
                </a:lnTo>
                <a:lnTo>
                  <a:pt x="3993" y="2880"/>
                </a:lnTo>
                <a:lnTo>
                  <a:pt x="3988" y="2895"/>
                </a:lnTo>
                <a:lnTo>
                  <a:pt x="3984" y="2908"/>
                </a:lnTo>
                <a:lnTo>
                  <a:pt x="3979" y="2923"/>
                </a:lnTo>
                <a:lnTo>
                  <a:pt x="3974" y="2936"/>
                </a:lnTo>
                <a:lnTo>
                  <a:pt x="3968" y="2949"/>
                </a:lnTo>
                <a:lnTo>
                  <a:pt x="3962" y="2961"/>
                </a:lnTo>
                <a:lnTo>
                  <a:pt x="3955" y="2975"/>
                </a:lnTo>
                <a:lnTo>
                  <a:pt x="3948" y="2986"/>
                </a:lnTo>
                <a:lnTo>
                  <a:pt x="3941" y="2997"/>
                </a:lnTo>
                <a:lnTo>
                  <a:pt x="3933" y="3008"/>
                </a:lnTo>
                <a:lnTo>
                  <a:pt x="3924" y="3018"/>
                </a:lnTo>
                <a:lnTo>
                  <a:pt x="3916" y="3028"/>
                </a:lnTo>
                <a:lnTo>
                  <a:pt x="3907" y="3038"/>
                </a:lnTo>
                <a:lnTo>
                  <a:pt x="3898" y="3046"/>
                </a:lnTo>
                <a:lnTo>
                  <a:pt x="3889" y="3054"/>
                </a:lnTo>
                <a:lnTo>
                  <a:pt x="3879" y="3061"/>
                </a:lnTo>
                <a:lnTo>
                  <a:pt x="3868" y="3068"/>
                </a:lnTo>
                <a:lnTo>
                  <a:pt x="3858" y="3074"/>
                </a:lnTo>
                <a:lnTo>
                  <a:pt x="3847" y="3079"/>
                </a:lnTo>
                <a:lnTo>
                  <a:pt x="3836" y="3083"/>
                </a:lnTo>
                <a:lnTo>
                  <a:pt x="3825" y="3087"/>
                </a:lnTo>
                <a:lnTo>
                  <a:pt x="3814" y="3090"/>
                </a:lnTo>
                <a:lnTo>
                  <a:pt x="3801" y="3093"/>
                </a:lnTo>
                <a:lnTo>
                  <a:pt x="3789" y="3094"/>
                </a:lnTo>
                <a:lnTo>
                  <a:pt x="3777" y="3095"/>
                </a:lnTo>
                <a:close/>
                <a:moveTo>
                  <a:pt x="4164" y="3088"/>
                </a:moveTo>
                <a:lnTo>
                  <a:pt x="4162" y="3088"/>
                </a:lnTo>
                <a:lnTo>
                  <a:pt x="4160" y="3087"/>
                </a:lnTo>
                <a:lnTo>
                  <a:pt x="4154" y="3084"/>
                </a:lnTo>
                <a:lnTo>
                  <a:pt x="4148" y="3080"/>
                </a:lnTo>
                <a:lnTo>
                  <a:pt x="4141" y="3075"/>
                </a:lnTo>
                <a:lnTo>
                  <a:pt x="4128" y="3064"/>
                </a:lnTo>
                <a:lnTo>
                  <a:pt x="4113" y="3050"/>
                </a:lnTo>
                <a:lnTo>
                  <a:pt x="4096" y="3034"/>
                </a:lnTo>
                <a:lnTo>
                  <a:pt x="4079" y="3016"/>
                </a:lnTo>
                <a:lnTo>
                  <a:pt x="4063" y="2999"/>
                </a:lnTo>
                <a:lnTo>
                  <a:pt x="4048" y="2983"/>
                </a:lnTo>
                <a:lnTo>
                  <a:pt x="4036" y="2967"/>
                </a:lnTo>
                <a:lnTo>
                  <a:pt x="4032" y="2961"/>
                </a:lnTo>
                <a:lnTo>
                  <a:pt x="4029" y="2956"/>
                </a:lnTo>
                <a:lnTo>
                  <a:pt x="4024" y="2946"/>
                </a:lnTo>
                <a:lnTo>
                  <a:pt x="4020" y="2936"/>
                </a:lnTo>
                <a:lnTo>
                  <a:pt x="4017" y="2926"/>
                </a:lnTo>
                <a:lnTo>
                  <a:pt x="4017" y="2916"/>
                </a:lnTo>
                <a:lnTo>
                  <a:pt x="4017" y="2910"/>
                </a:lnTo>
                <a:lnTo>
                  <a:pt x="4018" y="2904"/>
                </a:lnTo>
                <a:lnTo>
                  <a:pt x="4019" y="2898"/>
                </a:lnTo>
                <a:lnTo>
                  <a:pt x="4021" y="2892"/>
                </a:lnTo>
                <a:lnTo>
                  <a:pt x="4024" y="2886"/>
                </a:lnTo>
                <a:lnTo>
                  <a:pt x="4027" y="2880"/>
                </a:lnTo>
                <a:lnTo>
                  <a:pt x="4031" y="2873"/>
                </a:lnTo>
                <a:lnTo>
                  <a:pt x="4035" y="2866"/>
                </a:lnTo>
                <a:lnTo>
                  <a:pt x="4043" y="2855"/>
                </a:lnTo>
                <a:lnTo>
                  <a:pt x="4056" y="2841"/>
                </a:lnTo>
                <a:lnTo>
                  <a:pt x="4085" y="2807"/>
                </a:lnTo>
                <a:lnTo>
                  <a:pt x="4121" y="2767"/>
                </a:lnTo>
                <a:lnTo>
                  <a:pt x="4156" y="2726"/>
                </a:lnTo>
                <a:lnTo>
                  <a:pt x="4157" y="2725"/>
                </a:lnTo>
                <a:lnTo>
                  <a:pt x="4160" y="2725"/>
                </a:lnTo>
                <a:lnTo>
                  <a:pt x="4164" y="2725"/>
                </a:lnTo>
                <a:lnTo>
                  <a:pt x="4168" y="2726"/>
                </a:lnTo>
                <a:lnTo>
                  <a:pt x="4173" y="2728"/>
                </a:lnTo>
                <a:lnTo>
                  <a:pt x="4178" y="2732"/>
                </a:lnTo>
                <a:lnTo>
                  <a:pt x="4182" y="2735"/>
                </a:lnTo>
                <a:lnTo>
                  <a:pt x="4186" y="2739"/>
                </a:lnTo>
                <a:lnTo>
                  <a:pt x="4189" y="2743"/>
                </a:lnTo>
                <a:lnTo>
                  <a:pt x="4192" y="2748"/>
                </a:lnTo>
                <a:lnTo>
                  <a:pt x="4194" y="2752"/>
                </a:lnTo>
                <a:lnTo>
                  <a:pt x="4194" y="2757"/>
                </a:lnTo>
                <a:lnTo>
                  <a:pt x="4193" y="2762"/>
                </a:lnTo>
                <a:lnTo>
                  <a:pt x="4192" y="2768"/>
                </a:lnTo>
                <a:lnTo>
                  <a:pt x="4189" y="2773"/>
                </a:lnTo>
                <a:lnTo>
                  <a:pt x="4185" y="2779"/>
                </a:lnTo>
                <a:lnTo>
                  <a:pt x="4177" y="2790"/>
                </a:lnTo>
                <a:lnTo>
                  <a:pt x="4164" y="2804"/>
                </a:lnTo>
                <a:lnTo>
                  <a:pt x="4135" y="2837"/>
                </a:lnTo>
                <a:lnTo>
                  <a:pt x="4105" y="2871"/>
                </a:lnTo>
                <a:lnTo>
                  <a:pt x="4093" y="2886"/>
                </a:lnTo>
                <a:lnTo>
                  <a:pt x="4083" y="2897"/>
                </a:lnTo>
                <a:lnTo>
                  <a:pt x="4081" y="2901"/>
                </a:lnTo>
                <a:lnTo>
                  <a:pt x="4079" y="2905"/>
                </a:lnTo>
                <a:lnTo>
                  <a:pt x="4078" y="2908"/>
                </a:lnTo>
                <a:lnTo>
                  <a:pt x="4078" y="2913"/>
                </a:lnTo>
                <a:lnTo>
                  <a:pt x="4078" y="2917"/>
                </a:lnTo>
                <a:lnTo>
                  <a:pt x="4080" y="2922"/>
                </a:lnTo>
                <a:lnTo>
                  <a:pt x="4082" y="2926"/>
                </a:lnTo>
                <a:lnTo>
                  <a:pt x="4085" y="2931"/>
                </a:lnTo>
                <a:lnTo>
                  <a:pt x="4092" y="2940"/>
                </a:lnTo>
                <a:lnTo>
                  <a:pt x="4102" y="2952"/>
                </a:lnTo>
                <a:lnTo>
                  <a:pt x="4131" y="2982"/>
                </a:lnTo>
                <a:lnTo>
                  <a:pt x="4163" y="3014"/>
                </a:lnTo>
                <a:lnTo>
                  <a:pt x="4195" y="3045"/>
                </a:lnTo>
                <a:lnTo>
                  <a:pt x="4196" y="3047"/>
                </a:lnTo>
                <a:lnTo>
                  <a:pt x="4198" y="3049"/>
                </a:lnTo>
                <a:lnTo>
                  <a:pt x="4199" y="3051"/>
                </a:lnTo>
                <a:lnTo>
                  <a:pt x="4199" y="3054"/>
                </a:lnTo>
                <a:lnTo>
                  <a:pt x="4198" y="3060"/>
                </a:lnTo>
                <a:lnTo>
                  <a:pt x="4197" y="3062"/>
                </a:lnTo>
                <a:lnTo>
                  <a:pt x="4196" y="3065"/>
                </a:lnTo>
                <a:lnTo>
                  <a:pt x="4192" y="3071"/>
                </a:lnTo>
                <a:lnTo>
                  <a:pt x="4190" y="3074"/>
                </a:lnTo>
                <a:lnTo>
                  <a:pt x="4188" y="3076"/>
                </a:lnTo>
                <a:lnTo>
                  <a:pt x="4182" y="3081"/>
                </a:lnTo>
                <a:lnTo>
                  <a:pt x="4179" y="3083"/>
                </a:lnTo>
                <a:lnTo>
                  <a:pt x="4177" y="3085"/>
                </a:lnTo>
                <a:lnTo>
                  <a:pt x="4171" y="3087"/>
                </a:lnTo>
                <a:lnTo>
                  <a:pt x="4167" y="3088"/>
                </a:lnTo>
                <a:lnTo>
                  <a:pt x="4164" y="3088"/>
                </a:lnTo>
                <a:close/>
                <a:moveTo>
                  <a:pt x="3000" y="1136"/>
                </a:moveTo>
                <a:lnTo>
                  <a:pt x="2992" y="1136"/>
                </a:lnTo>
                <a:lnTo>
                  <a:pt x="2984" y="1135"/>
                </a:lnTo>
                <a:lnTo>
                  <a:pt x="2977" y="1134"/>
                </a:lnTo>
                <a:lnTo>
                  <a:pt x="2969" y="1132"/>
                </a:lnTo>
                <a:lnTo>
                  <a:pt x="2961" y="1131"/>
                </a:lnTo>
                <a:lnTo>
                  <a:pt x="2954" y="1128"/>
                </a:lnTo>
                <a:lnTo>
                  <a:pt x="2941" y="1122"/>
                </a:lnTo>
                <a:lnTo>
                  <a:pt x="2927" y="1115"/>
                </a:lnTo>
                <a:lnTo>
                  <a:pt x="2921" y="1110"/>
                </a:lnTo>
                <a:lnTo>
                  <a:pt x="2915" y="1105"/>
                </a:lnTo>
                <a:lnTo>
                  <a:pt x="2908" y="1101"/>
                </a:lnTo>
                <a:lnTo>
                  <a:pt x="2903" y="1095"/>
                </a:lnTo>
                <a:lnTo>
                  <a:pt x="2897" y="1090"/>
                </a:lnTo>
                <a:lnTo>
                  <a:pt x="2892" y="1084"/>
                </a:lnTo>
                <a:lnTo>
                  <a:pt x="2887" y="1078"/>
                </a:lnTo>
                <a:lnTo>
                  <a:pt x="2882" y="1072"/>
                </a:lnTo>
                <a:lnTo>
                  <a:pt x="2878" y="1065"/>
                </a:lnTo>
                <a:lnTo>
                  <a:pt x="2874" y="1058"/>
                </a:lnTo>
                <a:lnTo>
                  <a:pt x="2870" y="1050"/>
                </a:lnTo>
                <a:lnTo>
                  <a:pt x="2866" y="1043"/>
                </a:lnTo>
                <a:lnTo>
                  <a:pt x="2863" y="1035"/>
                </a:lnTo>
                <a:lnTo>
                  <a:pt x="2860" y="1027"/>
                </a:lnTo>
                <a:lnTo>
                  <a:pt x="2857" y="1020"/>
                </a:lnTo>
                <a:lnTo>
                  <a:pt x="2855" y="1011"/>
                </a:lnTo>
                <a:lnTo>
                  <a:pt x="2853" y="1003"/>
                </a:lnTo>
                <a:lnTo>
                  <a:pt x="2851" y="994"/>
                </a:lnTo>
                <a:lnTo>
                  <a:pt x="2849" y="985"/>
                </a:lnTo>
                <a:lnTo>
                  <a:pt x="2848" y="976"/>
                </a:lnTo>
                <a:lnTo>
                  <a:pt x="2847" y="967"/>
                </a:lnTo>
                <a:lnTo>
                  <a:pt x="2847" y="958"/>
                </a:lnTo>
                <a:lnTo>
                  <a:pt x="2848" y="939"/>
                </a:lnTo>
                <a:lnTo>
                  <a:pt x="2849" y="929"/>
                </a:lnTo>
                <a:lnTo>
                  <a:pt x="2851" y="920"/>
                </a:lnTo>
                <a:lnTo>
                  <a:pt x="2853" y="911"/>
                </a:lnTo>
                <a:lnTo>
                  <a:pt x="2855" y="902"/>
                </a:lnTo>
                <a:lnTo>
                  <a:pt x="2858" y="893"/>
                </a:lnTo>
                <a:lnTo>
                  <a:pt x="2861" y="884"/>
                </a:lnTo>
                <a:lnTo>
                  <a:pt x="2864" y="876"/>
                </a:lnTo>
                <a:lnTo>
                  <a:pt x="2867" y="867"/>
                </a:lnTo>
                <a:lnTo>
                  <a:pt x="2871" y="859"/>
                </a:lnTo>
                <a:lnTo>
                  <a:pt x="2875" y="851"/>
                </a:lnTo>
                <a:lnTo>
                  <a:pt x="2879" y="843"/>
                </a:lnTo>
                <a:lnTo>
                  <a:pt x="2884" y="836"/>
                </a:lnTo>
                <a:lnTo>
                  <a:pt x="2894" y="822"/>
                </a:lnTo>
                <a:lnTo>
                  <a:pt x="2900" y="816"/>
                </a:lnTo>
                <a:lnTo>
                  <a:pt x="2906" y="809"/>
                </a:lnTo>
                <a:lnTo>
                  <a:pt x="2919" y="797"/>
                </a:lnTo>
                <a:lnTo>
                  <a:pt x="2925" y="792"/>
                </a:lnTo>
                <a:lnTo>
                  <a:pt x="2932" y="787"/>
                </a:lnTo>
                <a:lnTo>
                  <a:pt x="2939" y="783"/>
                </a:lnTo>
                <a:lnTo>
                  <a:pt x="2946" y="779"/>
                </a:lnTo>
                <a:lnTo>
                  <a:pt x="2953" y="775"/>
                </a:lnTo>
                <a:lnTo>
                  <a:pt x="2961" y="772"/>
                </a:lnTo>
                <a:lnTo>
                  <a:pt x="2968" y="769"/>
                </a:lnTo>
                <a:lnTo>
                  <a:pt x="2977" y="767"/>
                </a:lnTo>
                <a:lnTo>
                  <a:pt x="2985" y="765"/>
                </a:lnTo>
                <a:lnTo>
                  <a:pt x="2993" y="764"/>
                </a:lnTo>
                <a:lnTo>
                  <a:pt x="3001" y="763"/>
                </a:lnTo>
                <a:lnTo>
                  <a:pt x="3009" y="763"/>
                </a:lnTo>
                <a:lnTo>
                  <a:pt x="3019" y="763"/>
                </a:lnTo>
                <a:lnTo>
                  <a:pt x="3024" y="764"/>
                </a:lnTo>
                <a:lnTo>
                  <a:pt x="3029" y="765"/>
                </a:lnTo>
                <a:lnTo>
                  <a:pt x="3035" y="766"/>
                </a:lnTo>
                <a:lnTo>
                  <a:pt x="3039" y="767"/>
                </a:lnTo>
                <a:lnTo>
                  <a:pt x="3048" y="770"/>
                </a:lnTo>
                <a:lnTo>
                  <a:pt x="3055" y="774"/>
                </a:lnTo>
                <a:lnTo>
                  <a:pt x="3063" y="779"/>
                </a:lnTo>
                <a:lnTo>
                  <a:pt x="3069" y="784"/>
                </a:lnTo>
                <a:lnTo>
                  <a:pt x="3075" y="790"/>
                </a:lnTo>
                <a:lnTo>
                  <a:pt x="3078" y="793"/>
                </a:lnTo>
                <a:lnTo>
                  <a:pt x="3081" y="797"/>
                </a:lnTo>
                <a:lnTo>
                  <a:pt x="3086" y="804"/>
                </a:lnTo>
                <a:lnTo>
                  <a:pt x="3091" y="813"/>
                </a:lnTo>
                <a:lnTo>
                  <a:pt x="3094" y="821"/>
                </a:lnTo>
                <a:lnTo>
                  <a:pt x="3097" y="830"/>
                </a:lnTo>
                <a:lnTo>
                  <a:pt x="3099" y="839"/>
                </a:lnTo>
                <a:lnTo>
                  <a:pt x="3100" y="848"/>
                </a:lnTo>
                <a:lnTo>
                  <a:pt x="3100" y="858"/>
                </a:lnTo>
                <a:lnTo>
                  <a:pt x="3099" y="872"/>
                </a:lnTo>
                <a:lnTo>
                  <a:pt x="3098" y="878"/>
                </a:lnTo>
                <a:lnTo>
                  <a:pt x="3097" y="884"/>
                </a:lnTo>
                <a:lnTo>
                  <a:pt x="3093" y="896"/>
                </a:lnTo>
                <a:lnTo>
                  <a:pt x="3087" y="907"/>
                </a:lnTo>
                <a:lnTo>
                  <a:pt x="3081" y="919"/>
                </a:lnTo>
                <a:lnTo>
                  <a:pt x="3074" y="929"/>
                </a:lnTo>
                <a:lnTo>
                  <a:pt x="3070" y="935"/>
                </a:lnTo>
                <a:lnTo>
                  <a:pt x="3065" y="940"/>
                </a:lnTo>
                <a:lnTo>
                  <a:pt x="3056" y="949"/>
                </a:lnTo>
                <a:lnTo>
                  <a:pt x="3046" y="958"/>
                </a:lnTo>
                <a:lnTo>
                  <a:pt x="3041" y="962"/>
                </a:lnTo>
                <a:lnTo>
                  <a:pt x="3036" y="965"/>
                </a:lnTo>
                <a:lnTo>
                  <a:pt x="3023" y="972"/>
                </a:lnTo>
                <a:lnTo>
                  <a:pt x="3012" y="978"/>
                </a:lnTo>
                <a:lnTo>
                  <a:pt x="2999" y="982"/>
                </a:lnTo>
                <a:lnTo>
                  <a:pt x="2993" y="984"/>
                </a:lnTo>
                <a:lnTo>
                  <a:pt x="2987" y="986"/>
                </a:lnTo>
                <a:lnTo>
                  <a:pt x="2981" y="987"/>
                </a:lnTo>
                <a:lnTo>
                  <a:pt x="2975" y="988"/>
                </a:lnTo>
                <a:lnTo>
                  <a:pt x="2961" y="988"/>
                </a:lnTo>
                <a:lnTo>
                  <a:pt x="2956" y="988"/>
                </a:lnTo>
                <a:lnTo>
                  <a:pt x="2951" y="986"/>
                </a:lnTo>
                <a:lnTo>
                  <a:pt x="2946" y="983"/>
                </a:lnTo>
                <a:lnTo>
                  <a:pt x="2944" y="981"/>
                </a:lnTo>
                <a:lnTo>
                  <a:pt x="2942" y="979"/>
                </a:lnTo>
                <a:lnTo>
                  <a:pt x="2939" y="974"/>
                </a:lnTo>
                <a:lnTo>
                  <a:pt x="2937" y="969"/>
                </a:lnTo>
                <a:lnTo>
                  <a:pt x="2936" y="966"/>
                </a:lnTo>
                <a:lnTo>
                  <a:pt x="2935" y="963"/>
                </a:lnTo>
                <a:lnTo>
                  <a:pt x="2935" y="957"/>
                </a:lnTo>
                <a:lnTo>
                  <a:pt x="2935" y="954"/>
                </a:lnTo>
                <a:lnTo>
                  <a:pt x="2935" y="951"/>
                </a:lnTo>
                <a:lnTo>
                  <a:pt x="2936" y="947"/>
                </a:lnTo>
                <a:lnTo>
                  <a:pt x="2937" y="944"/>
                </a:lnTo>
                <a:lnTo>
                  <a:pt x="2939" y="943"/>
                </a:lnTo>
                <a:lnTo>
                  <a:pt x="2940" y="941"/>
                </a:lnTo>
                <a:lnTo>
                  <a:pt x="2942" y="940"/>
                </a:lnTo>
                <a:lnTo>
                  <a:pt x="2953" y="938"/>
                </a:lnTo>
                <a:lnTo>
                  <a:pt x="2963" y="935"/>
                </a:lnTo>
                <a:lnTo>
                  <a:pt x="2974" y="932"/>
                </a:lnTo>
                <a:lnTo>
                  <a:pt x="2984" y="927"/>
                </a:lnTo>
                <a:lnTo>
                  <a:pt x="2993" y="922"/>
                </a:lnTo>
                <a:lnTo>
                  <a:pt x="3001" y="917"/>
                </a:lnTo>
                <a:lnTo>
                  <a:pt x="3009" y="912"/>
                </a:lnTo>
                <a:lnTo>
                  <a:pt x="3013" y="909"/>
                </a:lnTo>
                <a:lnTo>
                  <a:pt x="3017" y="906"/>
                </a:lnTo>
                <a:lnTo>
                  <a:pt x="3023" y="900"/>
                </a:lnTo>
                <a:lnTo>
                  <a:pt x="3029" y="893"/>
                </a:lnTo>
                <a:lnTo>
                  <a:pt x="3035" y="886"/>
                </a:lnTo>
                <a:lnTo>
                  <a:pt x="3039" y="880"/>
                </a:lnTo>
                <a:lnTo>
                  <a:pt x="3042" y="873"/>
                </a:lnTo>
                <a:lnTo>
                  <a:pt x="3045" y="865"/>
                </a:lnTo>
                <a:lnTo>
                  <a:pt x="3046" y="857"/>
                </a:lnTo>
                <a:lnTo>
                  <a:pt x="3047" y="850"/>
                </a:lnTo>
                <a:lnTo>
                  <a:pt x="3046" y="842"/>
                </a:lnTo>
                <a:lnTo>
                  <a:pt x="3044" y="835"/>
                </a:lnTo>
                <a:lnTo>
                  <a:pt x="3042" y="832"/>
                </a:lnTo>
                <a:lnTo>
                  <a:pt x="3040" y="829"/>
                </a:lnTo>
                <a:lnTo>
                  <a:pt x="3038" y="826"/>
                </a:lnTo>
                <a:lnTo>
                  <a:pt x="3036" y="823"/>
                </a:lnTo>
                <a:lnTo>
                  <a:pt x="3029" y="819"/>
                </a:lnTo>
                <a:lnTo>
                  <a:pt x="3026" y="817"/>
                </a:lnTo>
                <a:lnTo>
                  <a:pt x="3022" y="816"/>
                </a:lnTo>
                <a:lnTo>
                  <a:pt x="3014" y="814"/>
                </a:lnTo>
                <a:lnTo>
                  <a:pt x="3010" y="814"/>
                </a:lnTo>
                <a:lnTo>
                  <a:pt x="3005" y="814"/>
                </a:lnTo>
                <a:lnTo>
                  <a:pt x="2997" y="814"/>
                </a:lnTo>
                <a:lnTo>
                  <a:pt x="2992" y="815"/>
                </a:lnTo>
                <a:lnTo>
                  <a:pt x="2988" y="816"/>
                </a:lnTo>
                <a:lnTo>
                  <a:pt x="2983" y="818"/>
                </a:lnTo>
                <a:lnTo>
                  <a:pt x="2979" y="820"/>
                </a:lnTo>
                <a:lnTo>
                  <a:pt x="2975" y="822"/>
                </a:lnTo>
                <a:lnTo>
                  <a:pt x="2969" y="825"/>
                </a:lnTo>
                <a:lnTo>
                  <a:pt x="2965" y="827"/>
                </a:lnTo>
                <a:lnTo>
                  <a:pt x="2961" y="830"/>
                </a:lnTo>
                <a:lnTo>
                  <a:pt x="2952" y="838"/>
                </a:lnTo>
                <a:lnTo>
                  <a:pt x="2945" y="846"/>
                </a:lnTo>
                <a:lnTo>
                  <a:pt x="2937" y="855"/>
                </a:lnTo>
                <a:lnTo>
                  <a:pt x="2934" y="859"/>
                </a:lnTo>
                <a:lnTo>
                  <a:pt x="2930" y="865"/>
                </a:lnTo>
                <a:lnTo>
                  <a:pt x="2924" y="876"/>
                </a:lnTo>
                <a:lnTo>
                  <a:pt x="2918" y="888"/>
                </a:lnTo>
                <a:lnTo>
                  <a:pt x="2914" y="900"/>
                </a:lnTo>
                <a:lnTo>
                  <a:pt x="2909" y="913"/>
                </a:lnTo>
                <a:lnTo>
                  <a:pt x="2906" y="926"/>
                </a:lnTo>
                <a:lnTo>
                  <a:pt x="2904" y="941"/>
                </a:lnTo>
                <a:lnTo>
                  <a:pt x="2904" y="948"/>
                </a:lnTo>
                <a:lnTo>
                  <a:pt x="2904" y="955"/>
                </a:lnTo>
                <a:lnTo>
                  <a:pt x="2904" y="968"/>
                </a:lnTo>
                <a:lnTo>
                  <a:pt x="2905" y="980"/>
                </a:lnTo>
                <a:lnTo>
                  <a:pt x="2908" y="993"/>
                </a:lnTo>
                <a:lnTo>
                  <a:pt x="2909" y="998"/>
                </a:lnTo>
                <a:lnTo>
                  <a:pt x="2912" y="1004"/>
                </a:lnTo>
                <a:lnTo>
                  <a:pt x="2915" y="1014"/>
                </a:lnTo>
                <a:lnTo>
                  <a:pt x="2917" y="1019"/>
                </a:lnTo>
                <a:lnTo>
                  <a:pt x="2920" y="1024"/>
                </a:lnTo>
                <a:lnTo>
                  <a:pt x="2922" y="1029"/>
                </a:lnTo>
                <a:lnTo>
                  <a:pt x="2925" y="1033"/>
                </a:lnTo>
                <a:lnTo>
                  <a:pt x="2928" y="1037"/>
                </a:lnTo>
                <a:lnTo>
                  <a:pt x="2931" y="1041"/>
                </a:lnTo>
                <a:lnTo>
                  <a:pt x="2934" y="1045"/>
                </a:lnTo>
                <a:lnTo>
                  <a:pt x="2937" y="1049"/>
                </a:lnTo>
                <a:lnTo>
                  <a:pt x="2945" y="1056"/>
                </a:lnTo>
                <a:lnTo>
                  <a:pt x="2953" y="1062"/>
                </a:lnTo>
                <a:lnTo>
                  <a:pt x="2961" y="1067"/>
                </a:lnTo>
                <a:lnTo>
                  <a:pt x="2971" y="1071"/>
                </a:lnTo>
                <a:lnTo>
                  <a:pt x="2981" y="1073"/>
                </a:lnTo>
                <a:lnTo>
                  <a:pt x="2991" y="1075"/>
                </a:lnTo>
                <a:lnTo>
                  <a:pt x="2996" y="1076"/>
                </a:lnTo>
                <a:lnTo>
                  <a:pt x="3002" y="1076"/>
                </a:lnTo>
                <a:lnTo>
                  <a:pt x="3012" y="1075"/>
                </a:lnTo>
                <a:lnTo>
                  <a:pt x="3022" y="1074"/>
                </a:lnTo>
                <a:lnTo>
                  <a:pt x="3033" y="1071"/>
                </a:lnTo>
                <a:lnTo>
                  <a:pt x="3043" y="1068"/>
                </a:lnTo>
                <a:lnTo>
                  <a:pt x="3052" y="1064"/>
                </a:lnTo>
                <a:lnTo>
                  <a:pt x="3061" y="1059"/>
                </a:lnTo>
                <a:lnTo>
                  <a:pt x="3070" y="1053"/>
                </a:lnTo>
                <a:lnTo>
                  <a:pt x="3078" y="1045"/>
                </a:lnTo>
                <a:lnTo>
                  <a:pt x="3086" y="1038"/>
                </a:lnTo>
                <a:lnTo>
                  <a:pt x="3094" y="1030"/>
                </a:lnTo>
                <a:lnTo>
                  <a:pt x="3102" y="1022"/>
                </a:lnTo>
                <a:lnTo>
                  <a:pt x="3109" y="1013"/>
                </a:lnTo>
                <a:lnTo>
                  <a:pt x="3122" y="993"/>
                </a:lnTo>
                <a:lnTo>
                  <a:pt x="3128" y="982"/>
                </a:lnTo>
                <a:lnTo>
                  <a:pt x="3133" y="971"/>
                </a:lnTo>
                <a:lnTo>
                  <a:pt x="3138" y="960"/>
                </a:lnTo>
                <a:lnTo>
                  <a:pt x="3143" y="949"/>
                </a:lnTo>
                <a:lnTo>
                  <a:pt x="3148" y="937"/>
                </a:lnTo>
                <a:lnTo>
                  <a:pt x="3153" y="925"/>
                </a:lnTo>
                <a:lnTo>
                  <a:pt x="3157" y="913"/>
                </a:lnTo>
                <a:lnTo>
                  <a:pt x="3160" y="901"/>
                </a:lnTo>
                <a:lnTo>
                  <a:pt x="3163" y="889"/>
                </a:lnTo>
                <a:lnTo>
                  <a:pt x="3166" y="877"/>
                </a:lnTo>
                <a:lnTo>
                  <a:pt x="3168" y="864"/>
                </a:lnTo>
                <a:lnTo>
                  <a:pt x="3170" y="852"/>
                </a:lnTo>
                <a:lnTo>
                  <a:pt x="3171" y="840"/>
                </a:lnTo>
                <a:lnTo>
                  <a:pt x="3172" y="828"/>
                </a:lnTo>
                <a:lnTo>
                  <a:pt x="3173" y="817"/>
                </a:lnTo>
                <a:lnTo>
                  <a:pt x="3173" y="805"/>
                </a:lnTo>
                <a:lnTo>
                  <a:pt x="3173" y="794"/>
                </a:lnTo>
                <a:lnTo>
                  <a:pt x="3173" y="784"/>
                </a:lnTo>
                <a:lnTo>
                  <a:pt x="3174" y="781"/>
                </a:lnTo>
                <a:lnTo>
                  <a:pt x="3175" y="779"/>
                </a:lnTo>
                <a:lnTo>
                  <a:pt x="3177" y="777"/>
                </a:lnTo>
                <a:lnTo>
                  <a:pt x="3180" y="775"/>
                </a:lnTo>
                <a:lnTo>
                  <a:pt x="3187" y="773"/>
                </a:lnTo>
                <a:lnTo>
                  <a:pt x="3191" y="772"/>
                </a:lnTo>
                <a:lnTo>
                  <a:pt x="3195" y="772"/>
                </a:lnTo>
                <a:lnTo>
                  <a:pt x="3202" y="772"/>
                </a:lnTo>
                <a:lnTo>
                  <a:pt x="3205" y="773"/>
                </a:lnTo>
                <a:lnTo>
                  <a:pt x="3209" y="774"/>
                </a:lnTo>
                <a:lnTo>
                  <a:pt x="3215" y="777"/>
                </a:lnTo>
                <a:lnTo>
                  <a:pt x="3218" y="779"/>
                </a:lnTo>
                <a:lnTo>
                  <a:pt x="3220" y="781"/>
                </a:lnTo>
                <a:lnTo>
                  <a:pt x="3224" y="787"/>
                </a:lnTo>
                <a:lnTo>
                  <a:pt x="3226" y="790"/>
                </a:lnTo>
                <a:lnTo>
                  <a:pt x="3227" y="794"/>
                </a:lnTo>
                <a:lnTo>
                  <a:pt x="3228" y="798"/>
                </a:lnTo>
                <a:lnTo>
                  <a:pt x="3229" y="803"/>
                </a:lnTo>
                <a:lnTo>
                  <a:pt x="3230" y="809"/>
                </a:lnTo>
                <a:lnTo>
                  <a:pt x="3230" y="815"/>
                </a:lnTo>
                <a:lnTo>
                  <a:pt x="3229" y="831"/>
                </a:lnTo>
                <a:lnTo>
                  <a:pt x="3228" y="846"/>
                </a:lnTo>
                <a:lnTo>
                  <a:pt x="3227" y="862"/>
                </a:lnTo>
                <a:lnTo>
                  <a:pt x="3225" y="878"/>
                </a:lnTo>
                <a:lnTo>
                  <a:pt x="3222" y="893"/>
                </a:lnTo>
                <a:lnTo>
                  <a:pt x="3219" y="907"/>
                </a:lnTo>
                <a:lnTo>
                  <a:pt x="3216" y="922"/>
                </a:lnTo>
                <a:lnTo>
                  <a:pt x="3212" y="937"/>
                </a:lnTo>
                <a:lnTo>
                  <a:pt x="3206" y="951"/>
                </a:lnTo>
                <a:lnTo>
                  <a:pt x="3202" y="964"/>
                </a:lnTo>
                <a:lnTo>
                  <a:pt x="3196" y="978"/>
                </a:lnTo>
                <a:lnTo>
                  <a:pt x="3191" y="990"/>
                </a:lnTo>
                <a:lnTo>
                  <a:pt x="3185" y="1004"/>
                </a:lnTo>
                <a:lnTo>
                  <a:pt x="3178" y="1016"/>
                </a:lnTo>
                <a:lnTo>
                  <a:pt x="3171" y="1027"/>
                </a:lnTo>
                <a:lnTo>
                  <a:pt x="3164" y="1039"/>
                </a:lnTo>
                <a:lnTo>
                  <a:pt x="3156" y="1049"/>
                </a:lnTo>
                <a:lnTo>
                  <a:pt x="3147" y="1060"/>
                </a:lnTo>
                <a:lnTo>
                  <a:pt x="3139" y="1070"/>
                </a:lnTo>
                <a:lnTo>
                  <a:pt x="3130" y="1079"/>
                </a:lnTo>
                <a:lnTo>
                  <a:pt x="3121" y="1087"/>
                </a:lnTo>
                <a:lnTo>
                  <a:pt x="3112" y="1095"/>
                </a:lnTo>
                <a:lnTo>
                  <a:pt x="3102" y="1103"/>
                </a:lnTo>
                <a:lnTo>
                  <a:pt x="3092" y="1109"/>
                </a:lnTo>
                <a:lnTo>
                  <a:pt x="3081" y="1116"/>
                </a:lnTo>
                <a:lnTo>
                  <a:pt x="3070" y="1121"/>
                </a:lnTo>
                <a:lnTo>
                  <a:pt x="3059" y="1126"/>
                </a:lnTo>
                <a:lnTo>
                  <a:pt x="3048" y="1129"/>
                </a:lnTo>
                <a:lnTo>
                  <a:pt x="3036" y="1132"/>
                </a:lnTo>
                <a:lnTo>
                  <a:pt x="3024" y="1134"/>
                </a:lnTo>
                <a:lnTo>
                  <a:pt x="3012" y="1136"/>
                </a:lnTo>
                <a:lnTo>
                  <a:pt x="3000" y="1136"/>
                </a:lnTo>
                <a:close/>
                <a:moveTo>
                  <a:pt x="3386" y="1130"/>
                </a:moveTo>
                <a:lnTo>
                  <a:pt x="3385" y="1130"/>
                </a:lnTo>
                <a:lnTo>
                  <a:pt x="3382" y="1129"/>
                </a:lnTo>
                <a:lnTo>
                  <a:pt x="3377" y="1127"/>
                </a:lnTo>
                <a:lnTo>
                  <a:pt x="3371" y="1122"/>
                </a:lnTo>
                <a:lnTo>
                  <a:pt x="3363" y="1117"/>
                </a:lnTo>
                <a:lnTo>
                  <a:pt x="3351" y="1105"/>
                </a:lnTo>
                <a:lnTo>
                  <a:pt x="3336" y="1091"/>
                </a:lnTo>
                <a:lnTo>
                  <a:pt x="3318" y="1075"/>
                </a:lnTo>
                <a:lnTo>
                  <a:pt x="3302" y="1058"/>
                </a:lnTo>
                <a:lnTo>
                  <a:pt x="3286" y="1040"/>
                </a:lnTo>
                <a:lnTo>
                  <a:pt x="3272" y="1024"/>
                </a:lnTo>
                <a:lnTo>
                  <a:pt x="3259" y="1010"/>
                </a:lnTo>
                <a:lnTo>
                  <a:pt x="3255" y="1004"/>
                </a:lnTo>
                <a:lnTo>
                  <a:pt x="3252" y="998"/>
                </a:lnTo>
                <a:lnTo>
                  <a:pt x="3246" y="987"/>
                </a:lnTo>
                <a:lnTo>
                  <a:pt x="3243" y="977"/>
                </a:lnTo>
                <a:lnTo>
                  <a:pt x="3240" y="968"/>
                </a:lnTo>
                <a:lnTo>
                  <a:pt x="3239" y="958"/>
                </a:lnTo>
                <a:lnTo>
                  <a:pt x="3240" y="952"/>
                </a:lnTo>
                <a:lnTo>
                  <a:pt x="3240" y="946"/>
                </a:lnTo>
                <a:lnTo>
                  <a:pt x="3242" y="941"/>
                </a:lnTo>
                <a:lnTo>
                  <a:pt x="3244" y="935"/>
                </a:lnTo>
                <a:lnTo>
                  <a:pt x="3246" y="927"/>
                </a:lnTo>
                <a:lnTo>
                  <a:pt x="3250" y="921"/>
                </a:lnTo>
                <a:lnTo>
                  <a:pt x="3253" y="914"/>
                </a:lnTo>
                <a:lnTo>
                  <a:pt x="3258" y="908"/>
                </a:lnTo>
                <a:lnTo>
                  <a:pt x="3266" y="897"/>
                </a:lnTo>
                <a:lnTo>
                  <a:pt x="3278" y="883"/>
                </a:lnTo>
                <a:lnTo>
                  <a:pt x="3308" y="848"/>
                </a:lnTo>
                <a:lnTo>
                  <a:pt x="3344" y="808"/>
                </a:lnTo>
                <a:lnTo>
                  <a:pt x="3379" y="768"/>
                </a:lnTo>
                <a:lnTo>
                  <a:pt x="3380" y="768"/>
                </a:lnTo>
                <a:lnTo>
                  <a:pt x="3383" y="767"/>
                </a:lnTo>
                <a:lnTo>
                  <a:pt x="3387" y="768"/>
                </a:lnTo>
                <a:lnTo>
                  <a:pt x="3392" y="769"/>
                </a:lnTo>
                <a:lnTo>
                  <a:pt x="3396" y="771"/>
                </a:lnTo>
                <a:lnTo>
                  <a:pt x="3401" y="773"/>
                </a:lnTo>
                <a:lnTo>
                  <a:pt x="3405" y="776"/>
                </a:lnTo>
                <a:lnTo>
                  <a:pt x="3409" y="780"/>
                </a:lnTo>
                <a:lnTo>
                  <a:pt x="3412" y="784"/>
                </a:lnTo>
                <a:lnTo>
                  <a:pt x="3415" y="789"/>
                </a:lnTo>
                <a:lnTo>
                  <a:pt x="3416" y="794"/>
                </a:lnTo>
                <a:lnTo>
                  <a:pt x="3417" y="798"/>
                </a:lnTo>
                <a:lnTo>
                  <a:pt x="3416" y="804"/>
                </a:lnTo>
                <a:lnTo>
                  <a:pt x="3414" y="809"/>
                </a:lnTo>
                <a:lnTo>
                  <a:pt x="3412" y="816"/>
                </a:lnTo>
                <a:lnTo>
                  <a:pt x="3408" y="822"/>
                </a:lnTo>
                <a:lnTo>
                  <a:pt x="3400" y="832"/>
                </a:lnTo>
                <a:lnTo>
                  <a:pt x="3387" y="846"/>
                </a:lnTo>
                <a:lnTo>
                  <a:pt x="3358" y="879"/>
                </a:lnTo>
                <a:lnTo>
                  <a:pt x="3328" y="913"/>
                </a:lnTo>
                <a:lnTo>
                  <a:pt x="3315" y="927"/>
                </a:lnTo>
                <a:lnTo>
                  <a:pt x="3306" y="940"/>
                </a:lnTo>
                <a:lnTo>
                  <a:pt x="3304" y="944"/>
                </a:lnTo>
                <a:lnTo>
                  <a:pt x="3302" y="947"/>
                </a:lnTo>
                <a:lnTo>
                  <a:pt x="3301" y="951"/>
                </a:lnTo>
                <a:lnTo>
                  <a:pt x="3300" y="954"/>
                </a:lnTo>
                <a:lnTo>
                  <a:pt x="3301" y="959"/>
                </a:lnTo>
                <a:lnTo>
                  <a:pt x="3302" y="963"/>
                </a:lnTo>
                <a:lnTo>
                  <a:pt x="3304" y="968"/>
                </a:lnTo>
                <a:lnTo>
                  <a:pt x="3307" y="972"/>
                </a:lnTo>
                <a:lnTo>
                  <a:pt x="3315" y="981"/>
                </a:lnTo>
                <a:lnTo>
                  <a:pt x="3325" y="994"/>
                </a:lnTo>
                <a:lnTo>
                  <a:pt x="3354" y="1023"/>
                </a:lnTo>
                <a:lnTo>
                  <a:pt x="3385" y="1056"/>
                </a:lnTo>
                <a:lnTo>
                  <a:pt x="3417" y="1087"/>
                </a:lnTo>
                <a:lnTo>
                  <a:pt x="3419" y="1088"/>
                </a:lnTo>
                <a:lnTo>
                  <a:pt x="3421" y="1091"/>
                </a:lnTo>
                <a:lnTo>
                  <a:pt x="3422" y="1093"/>
                </a:lnTo>
                <a:lnTo>
                  <a:pt x="3422" y="1095"/>
                </a:lnTo>
                <a:lnTo>
                  <a:pt x="3421" y="1101"/>
                </a:lnTo>
                <a:lnTo>
                  <a:pt x="3420" y="1104"/>
                </a:lnTo>
                <a:lnTo>
                  <a:pt x="3419" y="1107"/>
                </a:lnTo>
                <a:lnTo>
                  <a:pt x="3415" y="1113"/>
                </a:lnTo>
                <a:lnTo>
                  <a:pt x="3413" y="1116"/>
                </a:lnTo>
                <a:lnTo>
                  <a:pt x="3410" y="1119"/>
                </a:lnTo>
                <a:lnTo>
                  <a:pt x="3405" y="1123"/>
                </a:lnTo>
                <a:lnTo>
                  <a:pt x="3402" y="1125"/>
                </a:lnTo>
                <a:lnTo>
                  <a:pt x="3399" y="1127"/>
                </a:lnTo>
                <a:lnTo>
                  <a:pt x="3393" y="1129"/>
                </a:lnTo>
                <a:lnTo>
                  <a:pt x="3389" y="1130"/>
                </a:lnTo>
                <a:lnTo>
                  <a:pt x="3386" y="1130"/>
                </a:lnTo>
                <a:close/>
                <a:moveTo>
                  <a:pt x="3000" y="2129"/>
                </a:moveTo>
                <a:lnTo>
                  <a:pt x="2992" y="2129"/>
                </a:lnTo>
                <a:lnTo>
                  <a:pt x="2984" y="2128"/>
                </a:lnTo>
                <a:lnTo>
                  <a:pt x="2977" y="2127"/>
                </a:lnTo>
                <a:lnTo>
                  <a:pt x="2969" y="2126"/>
                </a:lnTo>
                <a:lnTo>
                  <a:pt x="2961" y="2124"/>
                </a:lnTo>
                <a:lnTo>
                  <a:pt x="2954" y="2121"/>
                </a:lnTo>
                <a:lnTo>
                  <a:pt x="2941" y="2116"/>
                </a:lnTo>
                <a:lnTo>
                  <a:pt x="2927" y="2108"/>
                </a:lnTo>
                <a:lnTo>
                  <a:pt x="2921" y="2104"/>
                </a:lnTo>
                <a:lnTo>
                  <a:pt x="2915" y="2100"/>
                </a:lnTo>
                <a:lnTo>
                  <a:pt x="2908" y="2095"/>
                </a:lnTo>
                <a:lnTo>
                  <a:pt x="2903" y="2090"/>
                </a:lnTo>
                <a:lnTo>
                  <a:pt x="2897" y="2084"/>
                </a:lnTo>
                <a:lnTo>
                  <a:pt x="2892" y="2078"/>
                </a:lnTo>
                <a:lnTo>
                  <a:pt x="2887" y="2072"/>
                </a:lnTo>
                <a:lnTo>
                  <a:pt x="2882" y="2065"/>
                </a:lnTo>
                <a:lnTo>
                  <a:pt x="2878" y="2058"/>
                </a:lnTo>
                <a:lnTo>
                  <a:pt x="2874" y="2051"/>
                </a:lnTo>
                <a:lnTo>
                  <a:pt x="2870" y="2044"/>
                </a:lnTo>
                <a:lnTo>
                  <a:pt x="2866" y="2037"/>
                </a:lnTo>
                <a:lnTo>
                  <a:pt x="2863" y="2029"/>
                </a:lnTo>
                <a:lnTo>
                  <a:pt x="2860" y="2022"/>
                </a:lnTo>
                <a:lnTo>
                  <a:pt x="2857" y="2014"/>
                </a:lnTo>
                <a:lnTo>
                  <a:pt x="2855" y="2005"/>
                </a:lnTo>
                <a:lnTo>
                  <a:pt x="2853" y="1996"/>
                </a:lnTo>
                <a:lnTo>
                  <a:pt x="2851" y="1988"/>
                </a:lnTo>
                <a:lnTo>
                  <a:pt x="2849" y="1979"/>
                </a:lnTo>
                <a:lnTo>
                  <a:pt x="2848" y="1970"/>
                </a:lnTo>
                <a:lnTo>
                  <a:pt x="2847" y="1961"/>
                </a:lnTo>
                <a:lnTo>
                  <a:pt x="2847" y="1952"/>
                </a:lnTo>
                <a:lnTo>
                  <a:pt x="2848" y="1932"/>
                </a:lnTo>
                <a:lnTo>
                  <a:pt x="2849" y="1923"/>
                </a:lnTo>
                <a:lnTo>
                  <a:pt x="2851" y="1914"/>
                </a:lnTo>
                <a:lnTo>
                  <a:pt x="2853" y="1905"/>
                </a:lnTo>
                <a:lnTo>
                  <a:pt x="2855" y="1896"/>
                </a:lnTo>
                <a:lnTo>
                  <a:pt x="2858" y="1886"/>
                </a:lnTo>
                <a:lnTo>
                  <a:pt x="2861" y="1878"/>
                </a:lnTo>
                <a:lnTo>
                  <a:pt x="2864" y="1869"/>
                </a:lnTo>
                <a:lnTo>
                  <a:pt x="2867" y="1861"/>
                </a:lnTo>
                <a:lnTo>
                  <a:pt x="2871" y="1853"/>
                </a:lnTo>
                <a:lnTo>
                  <a:pt x="2875" y="1845"/>
                </a:lnTo>
                <a:lnTo>
                  <a:pt x="2879" y="1838"/>
                </a:lnTo>
                <a:lnTo>
                  <a:pt x="2884" y="1829"/>
                </a:lnTo>
                <a:lnTo>
                  <a:pt x="2894" y="1815"/>
                </a:lnTo>
                <a:lnTo>
                  <a:pt x="2900" y="1809"/>
                </a:lnTo>
                <a:lnTo>
                  <a:pt x="2906" y="1803"/>
                </a:lnTo>
                <a:lnTo>
                  <a:pt x="2919" y="1791"/>
                </a:lnTo>
                <a:lnTo>
                  <a:pt x="2925" y="1786"/>
                </a:lnTo>
                <a:lnTo>
                  <a:pt x="2932" y="1781"/>
                </a:lnTo>
                <a:lnTo>
                  <a:pt x="2939" y="1777"/>
                </a:lnTo>
                <a:lnTo>
                  <a:pt x="2946" y="1773"/>
                </a:lnTo>
                <a:lnTo>
                  <a:pt x="2953" y="1768"/>
                </a:lnTo>
                <a:lnTo>
                  <a:pt x="2961" y="1765"/>
                </a:lnTo>
                <a:lnTo>
                  <a:pt x="2968" y="1762"/>
                </a:lnTo>
                <a:lnTo>
                  <a:pt x="2977" y="1760"/>
                </a:lnTo>
                <a:lnTo>
                  <a:pt x="2985" y="1758"/>
                </a:lnTo>
                <a:lnTo>
                  <a:pt x="2993" y="1757"/>
                </a:lnTo>
                <a:lnTo>
                  <a:pt x="3001" y="1756"/>
                </a:lnTo>
                <a:lnTo>
                  <a:pt x="3009" y="1756"/>
                </a:lnTo>
                <a:lnTo>
                  <a:pt x="3019" y="1756"/>
                </a:lnTo>
                <a:lnTo>
                  <a:pt x="3024" y="1757"/>
                </a:lnTo>
                <a:lnTo>
                  <a:pt x="3029" y="1758"/>
                </a:lnTo>
                <a:lnTo>
                  <a:pt x="3035" y="1759"/>
                </a:lnTo>
                <a:lnTo>
                  <a:pt x="3039" y="1760"/>
                </a:lnTo>
                <a:lnTo>
                  <a:pt x="3048" y="1763"/>
                </a:lnTo>
                <a:lnTo>
                  <a:pt x="3055" y="1767"/>
                </a:lnTo>
                <a:lnTo>
                  <a:pt x="3063" y="1773"/>
                </a:lnTo>
                <a:lnTo>
                  <a:pt x="3069" y="1778"/>
                </a:lnTo>
                <a:lnTo>
                  <a:pt x="3075" y="1784"/>
                </a:lnTo>
                <a:lnTo>
                  <a:pt x="3078" y="1787"/>
                </a:lnTo>
                <a:lnTo>
                  <a:pt x="3081" y="1791"/>
                </a:lnTo>
                <a:lnTo>
                  <a:pt x="3086" y="1798"/>
                </a:lnTo>
                <a:lnTo>
                  <a:pt x="3091" y="1806"/>
                </a:lnTo>
                <a:lnTo>
                  <a:pt x="3094" y="1814"/>
                </a:lnTo>
                <a:lnTo>
                  <a:pt x="3097" y="1823"/>
                </a:lnTo>
                <a:lnTo>
                  <a:pt x="3099" y="1833"/>
                </a:lnTo>
                <a:lnTo>
                  <a:pt x="3100" y="1842"/>
                </a:lnTo>
                <a:lnTo>
                  <a:pt x="3100" y="1852"/>
                </a:lnTo>
                <a:lnTo>
                  <a:pt x="3099" y="1865"/>
                </a:lnTo>
                <a:lnTo>
                  <a:pt x="3098" y="1871"/>
                </a:lnTo>
                <a:lnTo>
                  <a:pt x="3097" y="1877"/>
                </a:lnTo>
                <a:lnTo>
                  <a:pt x="3093" y="1889"/>
                </a:lnTo>
                <a:lnTo>
                  <a:pt x="3087" y="1902"/>
                </a:lnTo>
                <a:lnTo>
                  <a:pt x="3081" y="1913"/>
                </a:lnTo>
                <a:lnTo>
                  <a:pt x="3074" y="1923"/>
                </a:lnTo>
                <a:lnTo>
                  <a:pt x="3070" y="1928"/>
                </a:lnTo>
                <a:lnTo>
                  <a:pt x="3065" y="1933"/>
                </a:lnTo>
                <a:lnTo>
                  <a:pt x="3056" y="1943"/>
                </a:lnTo>
                <a:lnTo>
                  <a:pt x="3046" y="1952"/>
                </a:lnTo>
                <a:lnTo>
                  <a:pt x="3041" y="1956"/>
                </a:lnTo>
                <a:lnTo>
                  <a:pt x="3036" y="1960"/>
                </a:lnTo>
                <a:lnTo>
                  <a:pt x="3023" y="1966"/>
                </a:lnTo>
                <a:lnTo>
                  <a:pt x="3012" y="1972"/>
                </a:lnTo>
                <a:lnTo>
                  <a:pt x="2999" y="1976"/>
                </a:lnTo>
                <a:lnTo>
                  <a:pt x="2993" y="1978"/>
                </a:lnTo>
                <a:lnTo>
                  <a:pt x="2987" y="1980"/>
                </a:lnTo>
                <a:lnTo>
                  <a:pt x="2981" y="1981"/>
                </a:lnTo>
                <a:lnTo>
                  <a:pt x="2975" y="1982"/>
                </a:lnTo>
                <a:lnTo>
                  <a:pt x="2961" y="1982"/>
                </a:lnTo>
                <a:lnTo>
                  <a:pt x="2956" y="1982"/>
                </a:lnTo>
                <a:lnTo>
                  <a:pt x="2951" y="1980"/>
                </a:lnTo>
                <a:lnTo>
                  <a:pt x="2946" y="1977"/>
                </a:lnTo>
                <a:lnTo>
                  <a:pt x="2944" y="1975"/>
                </a:lnTo>
                <a:lnTo>
                  <a:pt x="2942" y="1973"/>
                </a:lnTo>
                <a:lnTo>
                  <a:pt x="2939" y="1969"/>
                </a:lnTo>
                <a:lnTo>
                  <a:pt x="2937" y="1963"/>
                </a:lnTo>
                <a:lnTo>
                  <a:pt x="2936" y="1961"/>
                </a:lnTo>
                <a:lnTo>
                  <a:pt x="2935" y="1958"/>
                </a:lnTo>
                <a:lnTo>
                  <a:pt x="2935" y="1950"/>
                </a:lnTo>
                <a:lnTo>
                  <a:pt x="2935" y="1947"/>
                </a:lnTo>
                <a:lnTo>
                  <a:pt x="2935" y="1945"/>
                </a:lnTo>
                <a:lnTo>
                  <a:pt x="2936" y="1940"/>
                </a:lnTo>
                <a:lnTo>
                  <a:pt x="2937" y="1938"/>
                </a:lnTo>
                <a:lnTo>
                  <a:pt x="2939" y="1936"/>
                </a:lnTo>
                <a:lnTo>
                  <a:pt x="2940" y="1934"/>
                </a:lnTo>
                <a:lnTo>
                  <a:pt x="2942" y="1933"/>
                </a:lnTo>
                <a:lnTo>
                  <a:pt x="2953" y="1931"/>
                </a:lnTo>
                <a:lnTo>
                  <a:pt x="2963" y="1928"/>
                </a:lnTo>
                <a:lnTo>
                  <a:pt x="2974" y="1925"/>
                </a:lnTo>
                <a:lnTo>
                  <a:pt x="2984" y="1921"/>
                </a:lnTo>
                <a:lnTo>
                  <a:pt x="2993" y="1917"/>
                </a:lnTo>
                <a:lnTo>
                  <a:pt x="3001" y="1911"/>
                </a:lnTo>
                <a:lnTo>
                  <a:pt x="3009" y="1906"/>
                </a:lnTo>
                <a:lnTo>
                  <a:pt x="3013" y="1903"/>
                </a:lnTo>
                <a:lnTo>
                  <a:pt x="3017" y="1900"/>
                </a:lnTo>
                <a:lnTo>
                  <a:pt x="3023" y="1894"/>
                </a:lnTo>
                <a:lnTo>
                  <a:pt x="3029" y="1886"/>
                </a:lnTo>
                <a:lnTo>
                  <a:pt x="3035" y="1880"/>
                </a:lnTo>
                <a:lnTo>
                  <a:pt x="3039" y="1873"/>
                </a:lnTo>
                <a:lnTo>
                  <a:pt x="3042" y="1866"/>
                </a:lnTo>
                <a:lnTo>
                  <a:pt x="3045" y="1859"/>
                </a:lnTo>
                <a:lnTo>
                  <a:pt x="3046" y="1852"/>
                </a:lnTo>
                <a:lnTo>
                  <a:pt x="3047" y="1845"/>
                </a:lnTo>
                <a:lnTo>
                  <a:pt x="3046" y="1837"/>
                </a:lnTo>
                <a:lnTo>
                  <a:pt x="3044" y="1828"/>
                </a:lnTo>
                <a:lnTo>
                  <a:pt x="3042" y="1825"/>
                </a:lnTo>
                <a:lnTo>
                  <a:pt x="3040" y="1822"/>
                </a:lnTo>
                <a:lnTo>
                  <a:pt x="3038" y="1819"/>
                </a:lnTo>
                <a:lnTo>
                  <a:pt x="3036" y="1817"/>
                </a:lnTo>
                <a:lnTo>
                  <a:pt x="3029" y="1812"/>
                </a:lnTo>
                <a:lnTo>
                  <a:pt x="3026" y="1811"/>
                </a:lnTo>
                <a:lnTo>
                  <a:pt x="3022" y="1809"/>
                </a:lnTo>
                <a:lnTo>
                  <a:pt x="3014" y="1807"/>
                </a:lnTo>
                <a:lnTo>
                  <a:pt x="3010" y="1807"/>
                </a:lnTo>
                <a:lnTo>
                  <a:pt x="3005" y="1807"/>
                </a:lnTo>
                <a:lnTo>
                  <a:pt x="2997" y="1807"/>
                </a:lnTo>
                <a:lnTo>
                  <a:pt x="2992" y="1808"/>
                </a:lnTo>
                <a:lnTo>
                  <a:pt x="2988" y="1810"/>
                </a:lnTo>
                <a:lnTo>
                  <a:pt x="2983" y="1811"/>
                </a:lnTo>
                <a:lnTo>
                  <a:pt x="2979" y="1813"/>
                </a:lnTo>
                <a:lnTo>
                  <a:pt x="2975" y="1815"/>
                </a:lnTo>
                <a:lnTo>
                  <a:pt x="2969" y="1818"/>
                </a:lnTo>
                <a:lnTo>
                  <a:pt x="2965" y="1821"/>
                </a:lnTo>
                <a:lnTo>
                  <a:pt x="2961" y="1824"/>
                </a:lnTo>
                <a:lnTo>
                  <a:pt x="2952" y="1832"/>
                </a:lnTo>
                <a:lnTo>
                  <a:pt x="2945" y="1840"/>
                </a:lnTo>
                <a:lnTo>
                  <a:pt x="2937" y="1849"/>
                </a:lnTo>
                <a:lnTo>
                  <a:pt x="2934" y="1854"/>
                </a:lnTo>
                <a:lnTo>
                  <a:pt x="2930" y="1859"/>
                </a:lnTo>
                <a:lnTo>
                  <a:pt x="2924" y="1870"/>
                </a:lnTo>
                <a:lnTo>
                  <a:pt x="2918" y="1881"/>
                </a:lnTo>
                <a:lnTo>
                  <a:pt x="2914" y="1894"/>
                </a:lnTo>
                <a:lnTo>
                  <a:pt x="2909" y="1907"/>
                </a:lnTo>
                <a:lnTo>
                  <a:pt x="2906" y="1920"/>
                </a:lnTo>
                <a:lnTo>
                  <a:pt x="2904" y="1934"/>
                </a:lnTo>
                <a:lnTo>
                  <a:pt x="2904" y="1941"/>
                </a:lnTo>
                <a:lnTo>
                  <a:pt x="2904" y="1948"/>
                </a:lnTo>
                <a:lnTo>
                  <a:pt x="2904" y="1962"/>
                </a:lnTo>
                <a:lnTo>
                  <a:pt x="2905" y="1974"/>
                </a:lnTo>
                <a:lnTo>
                  <a:pt x="2908" y="1986"/>
                </a:lnTo>
                <a:lnTo>
                  <a:pt x="2909" y="1991"/>
                </a:lnTo>
                <a:lnTo>
                  <a:pt x="2912" y="1997"/>
                </a:lnTo>
                <a:lnTo>
                  <a:pt x="2915" y="2007"/>
                </a:lnTo>
                <a:lnTo>
                  <a:pt x="2917" y="2013"/>
                </a:lnTo>
                <a:lnTo>
                  <a:pt x="2920" y="2018"/>
                </a:lnTo>
                <a:lnTo>
                  <a:pt x="2922" y="2023"/>
                </a:lnTo>
                <a:lnTo>
                  <a:pt x="2925" y="2027"/>
                </a:lnTo>
                <a:lnTo>
                  <a:pt x="2928" y="2031"/>
                </a:lnTo>
                <a:lnTo>
                  <a:pt x="2931" y="2035"/>
                </a:lnTo>
                <a:lnTo>
                  <a:pt x="2934" y="2039"/>
                </a:lnTo>
                <a:lnTo>
                  <a:pt x="2937" y="2043"/>
                </a:lnTo>
                <a:lnTo>
                  <a:pt x="2945" y="2050"/>
                </a:lnTo>
                <a:lnTo>
                  <a:pt x="2953" y="2055"/>
                </a:lnTo>
                <a:lnTo>
                  <a:pt x="2961" y="2060"/>
                </a:lnTo>
                <a:lnTo>
                  <a:pt x="2971" y="2064"/>
                </a:lnTo>
                <a:lnTo>
                  <a:pt x="2981" y="2067"/>
                </a:lnTo>
                <a:lnTo>
                  <a:pt x="2991" y="2068"/>
                </a:lnTo>
                <a:lnTo>
                  <a:pt x="2996" y="2069"/>
                </a:lnTo>
                <a:lnTo>
                  <a:pt x="3002" y="2069"/>
                </a:lnTo>
                <a:lnTo>
                  <a:pt x="3012" y="2068"/>
                </a:lnTo>
                <a:lnTo>
                  <a:pt x="3022" y="2067"/>
                </a:lnTo>
                <a:lnTo>
                  <a:pt x="3033" y="2064"/>
                </a:lnTo>
                <a:lnTo>
                  <a:pt x="3043" y="2061"/>
                </a:lnTo>
                <a:lnTo>
                  <a:pt x="3052" y="2057"/>
                </a:lnTo>
                <a:lnTo>
                  <a:pt x="3061" y="2052"/>
                </a:lnTo>
                <a:lnTo>
                  <a:pt x="3070" y="2046"/>
                </a:lnTo>
                <a:lnTo>
                  <a:pt x="3078" y="2039"/>
                </a:lnTo>
                <a:lnTo>
                  <a:pt x="3086" y="2032"/>
                </a:lnTo>
                <a:lnTo>
                  <a:pt x="3094" y="2024"/>
                </a:lnTo>
                <a:lnTo>
                  <a:pt x="3102" y="2016"/>
                </a:lnTo>
                <a:lnTo>
                  <a:pt x="3109" y="2006"/>
                </a:lnTo>
                <a:lnTo>
                  <a:pt x="3122" y="1986"/>
                </a:lnTo>
                <a:lnTo>
                  <a:pt x="3128" y="1976"/>
                </a:lnTo>
                <a:lnTo>
                  <a:pt x="3133" y="1965"/>
                </a:lnTo>
                <a:lnTo>
                  <a:pt x="3138" y="1954"/>
                </a:lnTo>
                <a:lnTo>
                  <a:pt x="3143" y="1942"/>
                </a:lnTo>
                <a:lnTo>
                  <a:pt x="3148" y="1930"/>
                </a:lnTo>
                <a:lnTo>
                  <a:pt x="3153" y="1919"/>
                </a:lnTo>
                <a:lnTo>
                  <a:pt x="3157" y="1907"/>
                </a:lnTo>
                <a:lnTo>
                  <a:pt x="3160" y="1895"/>
                </a:lnTo>
                <a:lnTo>
                  <a:pt x="3163" y="1882"/>
                </a:lnTo>
                <a:lnTo>
                  <a:pt x="3166" y="1870"/>
                </a:lnTo>
                <a:lnTo>
                  <a:pt x="3168" y="1858"/>
                </a:lnTo>
                <a:lnTo>
                  <a:pt x="3170" y="1846"/>
                </a:lnTo>
                <a:lnTo>
                  <a:pt x="3171" y="1834"/>
                </a:lnTo>
                <a:lnTo>
                  <a:pt x="3172" y="1822"/>
                </a:lnTo>
                <a:lnTo>
                  <a:pt x="3173" y="1810"/>
                </a:lnTo>
                <a:lnTo>
                  <a:pt x="3173" y="1799"/>
                </a:lnTo>
                <a:lnTo>
                  <a:pt x="3173" y="1788"/>
                </a:lnTo>
                <a:lnTo>
                  <a:pt x="3173" y="1778"/>
                </a:lnTo>
                <a:lnTo>
                  <a:pt x="3174" y="1776"/>
                </a:lnTo>
                <a:lnTo>
                  <a:pt x="3175" y="1773"/>
                </a:lnTo>
                <a:lnTo>
                  <a:pt x="3177" y="1770"/>
                </a:lnTo>
                <a:lnTo>
                  <a:pt x="3180" y="1769"/>
                </a:lnTo>
                <a:lnTo>
                  <a:pt x="3187" y="1766"/>
                </a:lnTo>
                <a:lnTo>
                  <a:pt x="3191" y="1765"/>
                </a:lnTo>
                <a:lnTo>
                  <a:pt x="3195" y="1765"/>
                </a:lnTo>
                <a:lnTo>
                  <a:pt x="3202" y="1765"/>
                </a:lnTo>
                <a:lnTo>
                  <a:pt x="3205" y="1766"/>
                </a:lnTo>
                <a:lnTo>
                  <a:pt x="3209" y="1767"/>
                </a:lnTo>
                <a:lnTo>
                  <a:pt x="3215" y="1770"/>
                </a:lnTo>
                <a:lnTo>
                  <a:pt x="3218" y="1773"/>
                </a:lnTo>
                <a:lnTo>
                  <a:pt x="3220" y="1775"/>
                </a:lnTo>
                <a:lnTo>
                  <a:pt x="3224" y="1781"/>
                </a:lnTo>
                <a:lnTo>
                  <a:pt x="3226" y="1784"/>
                </a:lnTo>
                <a:lnTo>
                  <a:pt x="3227" y="1788"/>
                </a:lnTo>
                <a:lnTo>
                  <a:pt x="3228" y="1793"/>
                </a:lnTo>
                <a:lnTo>
                  <a:pt x="3229" y="1797"/>
                </a:lnTo>
                <a:lnTo>
                  <a:pt x="3230" y="1803"/>
                </a:lnTo>
                <a:lnTo>
                  <a:pt x="3230" y="1809"/>
                </a:lnTo>
                <a:lnTo>
                  <a:pt x="3229" y="1824"/>
                </a:lnTo>
                <a:lnTo>
                  <a:pt x="3228" y="1841"/>
                </a:lnTo>
                <a:lnTo>
                  <a:pt x="3227" y="1856"/>
                </a:lnTo>
                <a:lnTo>
                  <a:pt x="3225" y="1871"/>
                </a:lnTo>
                <a:lnTo>
                  <a:pt x="3222" y="1886"/>
                </a:lnTo>
                <a:lnTo>
                  <a:pt x="3219" y="1902"/>
                </a:lnTo>
                <a:lnTo>
                  <a:pt x="3216" y="1916"/>
                </a:lnTo>
                <a:lnTo>
                  <a:pt x="3212" y="1930"/>
                </a:lnTo>
                <a:lnTo>
                  <a:pt x="3206" y="1944"/>
                </a:lnTo>
                <a:lnTo>
                  <a:pt x="3202" y="1959"/>
                </a:lnTo>
                <a:lnTo>
                  <a:pt x="3196" y="1972"/>
                </a:lnTo>
                <a:lnTo>
                  <a:pt x="3191" y="1985"/>
                </a:lnTo>
                <a:lnTo>
                  <a:pt x="3185" y="1997"/>
                </a:lnTo>
                <a:lnTo>
                  <a:pt x="3178" y="2009"/>
                </a:lnTo>
                <a:lnTo>
                  <a:pt x="3171" y="2022"/>
                </a:lnTo>
                <a:lnTo>
                  <a:pt x="3164" y="2033"/>
                </a:lnTo>
                <a:lnTo>
                  <a:pt x="3156" y="2043"/>
                </a:lnTo>
                <a:lnTo>
                  <a:pt x="3147" y="2054"/>
                </a:lnTo>
                <a:lnTo>
                  <a:pt x="3139" y="2063"/>
                </a:lnTo>
                <a:lnTo>
                  <a:pt x="3130" y="2073"/>
                </a:lnTo>
                <a:lnTo>
                  <a:pt x="3121" y="2082"/>
                </a:lnTo>
                <a:lnTo>
                  <a:pt x="3112" y="2090"/>
                </a:lnTo>
                <a:lnTo>
                  <a:pt x="3102" y="2097"/>
                </a:lnTo>
                <a:lnTo>
                  <a:pt x="3092" y="2103"/>
                </a:lnTo>
                <a:lnTo>
                  <a:pt x="3081" y="2109"/>
                </a:lnTo>
                <a:lnTo>
                  <a:pt x="3070" y="2114"/>
                </a:lnTo>
                <a:lnTo>
                  <a:pt x="3059" y="2119"/>
                </a:lnTo>
                <a:lnTo>
                  <a:pt x="3048" y="2122"/>
                </a:lnTo>
                <a:lnTo>
                  <a:pt x="3036" y="2125"/>
                </a:lnTo>
                <a:lnTo>
                  <a:pt x="3024" y="2127"/>
                </a:lnTo>
                <a:lnTo>
                  <a:pt x="3012" y="2129"/>
                </a:lnTo>
                <a:lnTo>
                  <a:pt x="3000" y="2129"/>
                </a:lnTo>
                <a:close/>
                <a:moveTo>
                  <a:pt x="3386" y="2123"/>
                </a:moveTo>
                <a:lnTo>
                  <a:pt x="3385" y="2123"/>
                </a:lnTo>
                <a:lnTo>
                  <a:pt x="3382" y="2123"/>
                </a:lnTo>
                <a:lnTo>
                  <a:pt x="3377" y="2120"/>
                </a:lnTo>
                <a:lnTo>
                  <a:pt x="3371" y="2116"/>
                </a:lnTo>
                <a:lnTo>
                  <a:pt x="3363" y="2110"/>
                </a:lnTo>
                <a:lnTo>
                  <a:pt x="3351" y="2099"/>
                </a:lnTo>
                <a:lnTo>
                  <a:pt x="3336" y="2085"/>
                </a:lnTo>
                <a:lnTo>
                  <a:pt x="3318" y="2068"/>
                </a:lnTo>
                <a:lnTo>
                  <a:pt x="3302" y="2051"/>
                </a:lnTo>
                <a:lnTo>
                  <a:pt x="3286" y="2034"/>
                </a:lnTo>
                <a:lnTo>
                  <a:pt x="3272" y="2018"/>
                </a:lnTo>
                <a:lnTo>
                  <a:pt x="3259" y="2003"/>
                </a:lnTo>
                <a:lnTo>
                  <a:pt x="3255" y="1997"/>
                </a:lnTo>
                <a:lnTo>
                  <a:pt x="3252" y="1991"/>
                </a:lnTo>
                <a:lnTo>
                  <a:pt x="3246" y="1981"/>
                </a:lnTo>
                <a:lnTo>
                  <a:pt x="3243" y="1971"/>
                </a:lnTo>
                <a:lnTo>
                  <a:pt x="3240" y="1962"/>
                </a:lnTo>
                <a:lnTo>
                  <a:pt x="3239" y="1952"/>
                </a:lnTo>
                <a:lnTo>
                  <a:pt x="3240" y="1945"/>
                </a:lnTo>
                <a:lnTo>
                  <a:pt x="3240" y="1940"/>
                </a:lnTo>
                <a:lnTo>
                  <a:pt x="3242" y="1934"/>
                </a:lnTo>
                <a:lnTo>
                  <a:pt x="3244" y="1928"/>
                </a:lnTo>
                <a:lnTo>
                  <a:pt x="3246" y="1922"/>
                </a:lnTo>
                <a:lnTo>
                  <a:pt x="3250" y="1915"/>
                </a:lnTo>
                <a:lnTo>
                  <a:pt x="3253" y="1909"/>
                </a:lnTo>
                <a:lnTo>
                  <a:pt x="3258" y="1902"/>
                </a:lnTo>
                <a:lnTo>
                  <a:pt x="3266" y="1890"/>
                </a:lnTo>
                <a:lnTo>
                  <a:pt x="3278" y="1876"/>
                </a:lnTo>
                <a:lnTo>
                  <a:pt x="3308" y="1842"/>
                </a:lnTo>
                <a:lnTo>
                  <a:pt x="3344" y="1802"/>
                </a:lnTo>
                <a:lnTo>
                  <a:pt x="3379" y="1761"/>
                </a:lnTo>
                <a:lnTo>
                  <a:pt x="3380" y="1761"/>
                </a:lnTo>
                <a:lnTo>
                  <a:pt x="3383" y="1760"/>
                </a:lnTo>
                <a:lnTo>
                  <a:pt x="3387" y="1761"/>
                </a:lnTo>
                <a:lnTo>
                  <a:pt x="3392" y="1762"/>
                </a:lnTo>
                <a:lnTo>
                  <a:pt x="3396" y="1764"/>
                </a:lnTo>
                <a:lnTo>
                  <a:pt x="3401" y="1766"/>
                </a:lnTo>
                <a:lnTo>
                  <a:pt x="3405" y="1769"/>
                </a:lnTo>
                <a:lnTo>
                  <a:pt x="3409" y="1774"/>
                </a:lnTo>
                <a:lnTo>
                  <a:pt x="3412" y="1778"/>
                </a:lnTo>
                <a:lnTo>
                  <a:pt x="3415" y="1783"/>
                </a:lnTo>
                <a:lnTo>
                  <a:pt x="3416" y="1788"/>
                </a:lnTo>
                <a:lnTo>
                  <a:pt x="3417" y="1793"/>
                </a:lnTo>
                <a:lnTo>
                  <a:pt x="3416" y="1798"/>
                </a:lnTo>
                <a:lnTo>
                  <a:pt x="3414" y="1803"/>
                </a:lnTo>
                <a:lnTo>
                  <a:pt x="3412" y="1809"/>
                </a:lnTo>
                <a:lnTo>
                  <a:pt x="3408" y="1815"/>
                </a:lnTo>
                <a:lnTo>
                  <a:pt x="3400" y="1825"/>
                </a:lnTo>
                <a:lnTo>
                  <a:pt x="3387" y="1840"/>
                </a:lnTo>
                <a:lnTo>
                  <a:pt x="3358" y="1873"/>
                </a:lnTo>
                <a:lnTo>
                  <a:pt x="3328" y="1907"/>
                </a:lnTo>
                <a:lnTo>
                  <a:pt x="3315" y="1921"/>
                </a:lnTo>
                <a:lnTo>
                  <a:pt x="3306" y="1933"/>
                </a:lnTo>
                <a:lnTo>
                  <a:pt x="3304" y="1937"/>
                </a:lnTo>
                <a:lnTo>
                  <a:pt x="3302" y="1940"/>
                </a:lnTo>
                <a:lnTo>
                  <a:pt x="3301" y="1944"/>
                </a:lnTo>
                <a:lnTo>
                  <a:pt x="3300" y="1948"/>
                </a:lnTo>
                <a:lnTo>
                  <a:pt x="3301" y="1953"/>
                </a:lnTo>
                <a:lnTo>
                  <a:pt x="3302" y="1957"/>
                </a:lnTo>
                <a:lnTo>
                  <a:pt x="3304" y="1962"/>
                </a:lnTo>
                <a:lnTo>
                  <a:pt x="3307" y="1967"/>
                </a:lnTo>
                <a:lnTo>
                  <a:pt x="3315" y="1976"/>
                </a:lnTo>
                <a:lnTo>
                  <a:pt x="3325" y="1987"/>
                </a:lnTo>
                <a:lnTo>
                  <a:pt x="3354" y="2017"/>
                </a:lnTo>
                <a:lnTo>
                  <a:pt x="3385" y="2050"/>
                </a:lnTo>
                <a:lnTo>
                  <a:pt x="3417" y="2081"/>
                </a:lnTo>
                <a:lnTo>
                  <a:pt x="3419" y="2083"/>
                </a:lnTo>
                <a:lnTo>
                  <a:pt x="3421" y="2085"/>
                </a:lnTo>
                <a:lnTo>
                  <a:pt x="3422" y="2087"/>
                </a:lnTo>
                <a:lnTo>
                  <a:pt x="3422" y="2090"/>
                </a:lnTo>
                <a:lnTo>
                  <a:pt x="3421" y="2095"/>
                </a:lnTo>
                <a:lnTo>
                  <a:pt x="3420" y="2098"/>
                </a:lnTo>
                <a:lnTo>
                  <a:pt x="3419" y="2101"/>
                </a:lnTo>
                <a:lnTo>
                  <a:pt x="3415" y="2107"/>
                </a:lnTo>
                <a:lnTo>
                  <a:pt x="3413" y="2109"/>
                </a:lnTo>
                <a:lnTo>
                  <a:pt x="3410" y="2112"/>
                </a:lnTo>
                <a:lnTo>
                  <a:pt x="3405" y="2116"/>
                </a:lnTo>
                <a:lnTo>
                  <a:pt x="3402" y="2118"/>
                </a:lnTo>
                <a:lnTo>
                  <a:pt x="3399" y="2120"/>
                </a:lnTo>
                <a:lnTo>
                  <a:pt x="3393" y="2123"/>
                </a:lnTo>
                <a:lnTo>
                  <a:pt x="3389" y="2123"/>
                </a:lnTo>
                <a:lnTo>
                  <a:pt x="3386" y="2123"/>
                </a:lnTo>
                <a:close/>
                <a:moveTo>
                  <a:pt x="3000" y="3095"/>
                </a:moveTo>
                <a:lnTo>
                  <a:pt x="2992" y="3094"/>
                </a:lnTo>
                <a:lnTo>
                  <a:pt x="2984" y="3094"/>
                </a:lnTo>
                <a:lnTo>
                  <a:pt x="2977" y="3093"/>
                </a:lnTo>
                <a:lnTo>
                  <a:pt x="2969" y="3090"/>
                </a:lnTo>
                <a:lnTo>
                  <a:pt x="2961" y="3088"/>
                </a:lnTo>
                <a:lnTo>
                  <a:pt x="2954" y="3086"/>
                </a:lnTo>
                <a:lnTo>
                  <a:pt x="2941" y="3080"/>
                </a:lnTo>
                <a:lnTo>
                  <a:pt x="2927" y="3073"/>
                </a:lnTo>
                <a:lnTo>
                  <a:pt x="2921" y="3069"/>
                </a:lnTo>
                <a:lnTo>
                  <a:pt x="2915" y="3064"/>
                </a:lnTo>
                <a:lnTo>
                  <a:pt x="2908" y="3059"/>
                </a:lnTo>
                <a:lnTo>
                  <a:pt x="2903" y="3054"/>
                </a:lnTo>
                <a:lnTo>
                  <a:pt x="2897" y="3049"/>
                </a:lnTo>
                <a:lnTo>
                  <a:pt x="2892" y="3043"/>
                </a:lnTo>
                <a:lnTo>
                  <a:pt x="2887" y="3037"/>
                </a:lnTo>
                <a:lnTo>
                  <a:pt x="2882" y="3029"/>
                </a:lnTo>
                <a:lnTo>
                  <a:pt x="2878" y="3023"/>
                </a:lnTo>
                <a:lnTo>
                  <a:pt x="2874" y="3016"/>
                </a:lnTo>
                <a:lnTo>
                  <a:pt x="2870" y="3009"/>
                </a:lnTo>
                <a:lnTo>
                  <a:pt x="2866" y="3001"/>
                </a:lnTo>
                <a:lnTo>
                  <a:pt x="2863" y="2994"/>
                </a:lnTo>
                <a:lnTo>
                  <a:pt x="2860" y="2986"/>
                </a:lnTo>
                <a:lnTo>
                  <a:pt x="2857" y="2978"/>
                </a:lnTo>
                <a:lnTo>
                  <a:pt x="2855" y="2969"/>
                </a:lnTo>
                <a:lnTo>
                  <a:pt x="2853" y="2961"/>
                </a:lnTo>
                <a:lnTo>
                  <a:pt x="2851" y="2952"/>
                </a:lnTo>
                <a:lnTo>
                  <a:pt x="2849" y="2943"/>
                </a:lnTo>
                <a:lnTo>
                  <a:pt x="2848" y="2934"/>
                </a:lnTo>
                <a:lnTo>
                  <a:pt x="2847" y="2925"/>
                </a:lnTo>
                <a:lnTo>
                  <a:pt x="2847" y="2916"/>
                </a:lnTo>
                <a:lnTo>
                  <a:pt x="2848" y="2897"/>
                </a:lnTo>
                <a:lnTo>
                  <a:pt x="2849" y="2887"/>
                </a:lnTo>
                <a:lnTo>
                  <a:pt x="2851" y="2878"/>
                </a:lnTo>
                <a:lnTo>
                  <a:pt x="2853" y="2869"/>
                </a:lnTo>
                <a:lnTo>
                  <a:pt x="2855" y="2860"/>
                </a:lnTo>
                <a:lnTo>
                  <a:pt x="2858" y="2852"/>
                </a:lnTo>
                <a:lnTo>
                  <a:pt x="2861" y="2842"/>
                </a:lnTo>
                <a:lnTo>
                  <a:pt x="2864" y="2834"/>
                </a:lnTo>
                <a:lnTo>
                  <a:pt x="2867" y="2825"/>
                </a:lnTo>
                <a:lnTo>
                  <a:pt x="2871" y="2817"/>
                </a:lnTo>
                <a:lnTo>
                  <a:pt x="2875" y="2810"/>
                </a:lnTo>
                <a:lnTo>
                  <a:pt x="2879" y="2802"/>
                </a:lnTo>
                <a:lnTo>
                  <a:pt x="2884" y="2795"/>
                </a:lnTo>
                <a:lnTo>
                  <a:pt x="2894" y="2780"/>
                </a:lnTo>
                <a:lnTo>
                  <a:pt x="2900" y="2773"/>
                </a:lnTo>
                <a:lnTo>
                  <a:pt x="2906" y="2767"/>
                </a:lnTo>
                <a:lnTo>
                  <a:pt x="2919" y="2756"/>
                </a:lnTo>
                <a:lnTo>
                  <a:pt x="2925" y="2751"/>
                </a:lnTo>
                <a:lnTo>
                  <a:pt x="2932" y="2746"/>
                </a:lnTo>
                <a:lnTo>
                  <a:pt x="2939" y="2741"/>
                </a:lnTo>
                <a:lnTo>
                  <a:pt x="2946" y="2737"/>
                </a:lnTo>
                <a:lnTo>
                  <a:pt x="2953" y="2734"/>
                </a:lnTo>
                <a:lnTo>
                  <a:pt x="2961" y="2730"/>
                </a:lnTo>
                <a:lnTo>
                  <a:pt x="2968" y="2727"/>
                </a:lnTo>
                <a:lnTo>
                  <a:pt x="2977" y="2725"/>
                </a:lnTo>
                <a:lnTo>
                  <a:pt x="2985" y="2723"/>
                </a:lnTo>
                <a:lnTo>
                  <a:pt x="2993" y="2721"/>
                </a:lnTo>
                <a:lnTo>
                  <a:pt x="3001" y="2721"/>
                </a:lnTo>
                <a:lnTo>
                  <a:pt x="3009" y="2720"/>
                </a:lnTo>
                <a:lnTo>
                  <a:pt x="3019" y="2721"/>
                </a:lnTo>
                <a:lnTo>
                  <a:pt x="3024" y="2721"/>
                </a:lnTo>
                <a:lnTo>
                  <a:pt x="3029" y="2722"/>
                </a:lnTo>
                <a:lnTo>
                  <a:pt x="3035" y="2723"/>
                </a:lnTo>
                <a:lnTo>
                  <a:pt x="3039" y="2725"/>
                </a:lnTo>
                <a:lnTo>
                  <a:pt x="3048" y="2728"/>
                </a:lnTo>
                <a:lnTo>
                  <a:pt x="3055" y="2733"/>
                </a:lnTo>
                <a:lnTo>
                  <a:pt x="3063" y="2737"/>
                </a:lnTo>
                <a:lnTo>
                  <a:pt x="3069" y="2743"/>
                </a:lnTo>
                <a:lnTo>
                  <a:pt x="3075" y="2749"/>
                </a:lnTo>
                <a:lnTo>
                  <a:pt x="3078" y="2752"/>
                </a:lnTo>
                <a:lnTo>
                  <a:pt x="3081" y="2755"/>
                </a:lnTo>
                <a:lnTo>
                  <a:pt x="3086" y="2762"/>
                </a:lnTo>
                <a:lnTo>
                  <a:pt x="3091" y="2770"/>
                </a:lnTo>
                <a:lnTo>
                  <a:pt x="3094" y="2778"/>
                </a:lnTo>
                <a:lnTo>
                  <a:pt x="3097" y="2787"/>
                </a:lnTo>
                <a:lnTo>
                  <a:pt x="3099" y="2797"/>
                </a:lnTo>
                <a:lnTo>
                  <a:pt x="3100" y="2807"/>
                </a:lnTo>
                <a:lnTo>
                  <a:pt x="3100" y="2817"/>
                </a:lnTo>
                <a:lnTo>
                  <a:pt x="3099" y="2829"/>
                </a:lnTo>
                <a:lnTo>
                  <a:pt x="3098" y="2835"/>
                </a:lnTo>
                <a:lnTo>
                  <a:pt x="3097" y="2842"/>
                </a:lnTo>
                <a:lnTo>
                  <a:pt x="3093" y="2854"/>
                </a:lnTo>
                <a:lnTo>
                  <a:pt x="3087" y="2866"/>
                </a:lnTo>
                <a:lnTo>
                  <a:pt x="3081" y="2877"/>
                </a:lnTo>
                <a:lnTo>
                  <a:pt x="3074" y="2888"/>
                </a:lnTo>
                <a:lnTo>
                  <a:pt x="3070" y="2893"/>
                </a:lnTo>
                <a:lnTo>
                  <a:pt x="3065" y="2898"/>
                </a:lnTo>
                <a:lnTo>
                  <a:pt x="3056" y="2907"/>
                </a:lnTo>
                <a:lnTo>
                  <a:pt x="3046" y="2916"/>
                </a:lnTo>
                <a:lnTo>
                  <a:pt x="3041" y="2920"/>
                </a:lnTo>
                <a:lnTo>
                  <a:pt x="3036" y="2924"/>
                </a:lnTo>
                <a:lnTo>
                  <a:pt x="3023" y="2931"/>
                </a:lnTo>
                <a:lnTo>
                  <a:pt x="3012" y="2936"/>
                </a:lnTo>
                <a:lnTo>
                  <a:pt x="2999" y="2941"/>
                </a:lnTo>
                <a:lnTo>
                  <a:pt x="2993" y="2943"/>
                </a:lnTo>
                <a:lnTo>
                  <a:pt x="2987" y="2944"/>
                </a:lnTo>
                <a:lnTo>
                  <a:pt x="2981" y="2945"/>
                </a:lnTo>
                <a:lnTo>
                  <a:pt x="2975" y="2946"/>
                </a:lnTo>
                <a:lnTo>
                  <a:pt x="2961" y="2947"/>
                </a:lnTo>
                <a:lnTo>
                  <a:pt x="2956" y="2946"/>
                </a:lnTo>
                <a:lnTo>
                  <a:pt x="2951" y="2944"/>
                </a:lnTo>
                <a:lnTo>
                  <a:pt x="2946" y="2942"/>
                </a:lnTo>
                <a:lnTo>
                  <a:pt x="2944" y="2940"/>
                </a:lnTo>
                <a:lnTo>
                  <a:pt x="2942" y="2938"/>
                </a:lnTo>
                <a:lnTo>
                  <a:pt x="2939" y="2933"/>
                </a:lnTo>
                <a:lnTo>
                  <a:pt x="2937" y="2928"/>
                </a:lnTo>
                <a:lnTo>
                  <a:pt x="2936" y="2925"/>
                </a:lnTo>
                <a:lnTo>
                  <a:pt x="2935" y="2922"/>
                </a:lnTo>
                <a:lnTo>
                  <a:pt x="2935" y="2916"/>
                </a:lnTo>
                <a:lnTo>
                  <a:pt x="2935" y="2913"/>
                </a:lnTo>
                <a:lnTo>
                  <a:pt x="2935" y="2909"/>
                </a:lnTo>
                <a:lnTo>
                  <a:pt x="2936" y="2904"/>
                </a:lnTo>
                <a:lnTo>
                  <a:pt x="2937" y="2902"/>
                </a:lnTo>
                <a:lnTo>
                  <a:pt x="2939" y="2900"/>
                </a:lnTo>
                <a:lnTo>
                  <a:pt x="2940" y="2899"/>
                </a:lnTo>
                <a:lnTo>
                  <a:pt x="2942" y="2897"/>
                </a:lnTo>
                <a:lnTo>
                  <a:pt x="2953" y="2896"/>
                </a:lnTo>
                <a:lnTo>
                  <a:pt x="2963" y="2893"/>
                </a:lnTo>
                <a:lnTo>
                  <a:pt x="2974" y="2890"/>
                </a:lnTo>
                <a:lnTo>
                  <a:pt x="2984" y="2886"/>
                </a:lnTo>
                <a:lnTo>
                  <a:pt x="2993" y="2881"/>
                </a:lnTo>
                <a:lnTo>
                  <a:pt x="3001" y="2876"/>
                </a:lnTo>
                <a:lnTo>
                  <a:pt x="3009" y="2870"/>
                </a:lnTo>
                <a:lnTo>
                  <a:pt x="3013" y="2868"/>
                </a:lnTo>
                <a:lnTo>
                  <a:pt x="3017" y="2865"/>
                </a:lnTo>
                <a:lnTo>
                  <a:pt x="3023" y="2858"/>
                </a:lnTo>
                <a:lnTo>
                  <a:pt x="3029" y="2852"/>
                </a:lnTo>
                <a:lnTo>
                  <a:pt x="3035" y="2844"/>
                </a:lnTo>
                <a:lnTo>
                  <a:pt x="3039" y="2837"/>
                </a:lnTo>
                <a:lnTo>
                  <a:pt x="3042" y="2830"/>
                </a:lnTo>
                <a:lnTo>
                  <a:pt x="3045" y="2823"/>
                </a:lnTo>
                <a:lnTo>
                  <a:pt x="3046" y="2816"/>
                </a:lnTo>
                <a:lnTo>
                  <a:pt x="3047" y="2809"/>
                </a:lnTo>
                <a:lnTo>
                  <a:pt x="3046" y="2801"/>
                </a:lnTo>
                <a:lnTo>
                  <a:pt x="3044" y="2794"/>
                </a:lnTo>
                <a:lnTo>
                  <a:pt x="3042" y="2789"/>
                </a:lnTo>
                <a:lnTo>
                  <a:pt x="3040" y="2786"/>
                </a:lnTo>
                <a:lnTo>
                  <a:pt x="3038" y="2784"/>
                </a:lnTo>
                <a:lnTo>
                  <a:pt x="3036" y="2781"/>
                </a:lnTo>
                <a:lnTo>
                  <a:pt x="3029" y="2777"/>
                </a:lnTo>
                <a:lnTo>
                  <a:pt x="3026" y="2775"/>
                </a:lnTo>
                <a:lnTo>
                  <a:pt x="3022" y="2774"/>
                </a:lnTo>
                <a:lnTo>
                  <a:pt x="3014" y="2772"/>
                </a:lnTo>
                <a:lnTo>
                  <a:pt x="3010" y="2771"/>
                </a:lnTo>
                <a:lnTo>
                  <a:pt x="3005" y="2771"/>
                </a:lnTo>
                <a:lnTo>
                  <a:pt x="2997" y="2772"/>
                </a:lnTo>
                <a:lnTo>
                  <a:pt x="2992" y="2773"/>
                </a:lnTo>
                <a:lnTo>
                  <a:pt x="2988" y="2774"/>
                </a:lnTo>
                <a:lnTo>
                  <a:pt x="2983" y="2776"/>
                </a:lnTo>
                <a:lnTo>
                  <a:pt x="2979" y="2777"/>
                </a:lnTo>
                <a:lnTo>
                  <a:pt x="2975" y="2780"/>
                </a:lnTo>
                <a:lnTo>
                  <a:pt x="2969" y="2782"/>
                </a:lnTo>
                <a:lnTo>
                  <a:pt x="2965" y="2785"/>
                </a:lnTo>
                <a:lnTo>
                  <a:pt x="2961" y="2788"/>
                </a:lnTo>
                <a:lnTo>
                  <a:pt x="2952" y="2796"/>
                </a:lnTo>
                <a:lnTo>
                  <a:pt x="2945" y="2804"/>
                </a:lnTo>
                <a:lnTo>
                  <a:pt x="2937" y="2813"/>
                </a:lnTo>
                <a:lnTo>
                  <a:pt x="2934" y="2818"/>
                </a:lnTo>
                <a:lnTo>
                  <a:pt x="2930" y="2823"/>
                </a:lnTo>
                <a:lnTo>
                  <a:pt x="2924" y="2834"/>
                </a:lnTo>
                <a:lnTo>
                  <a:pt x="2918" y="2845"/>
                </a:lnTo>
                <a:lnTo>
                  <a:pt x="2914" y="2859"/>
                </a:lnTo>
                <a:lnTo>
                  <a:pt x="2909" y="2871"/>
                </a:lnTo>
                <a:lnTo>
                  <a:pt x="2906" y="2885"/>
                </a:lnTo>
                <a:lnTo>
                  <a:pt x="2904" y="2899"/>
                </a:lnTo>
                <a:lnTo>
                  <a:pt x="2904" y="2906"/>
                </a:lnTo>
                <a:lnTo>
                  <a:pt x="2904" y="2914"/>
                </a:lnTo>
                <a:lnTo>
                  <a:pt x="2904" y="2926"/>
                </a:lnTo>
                <a:lnTo>
                  <a:pt x="2905" y="2939"/>
                </a:lnTo>
                <a:lnTo>
                  <a:pt x="2908" y="2950"/>
                </a:lnTo>
                <a:lnTo>
                  <a:pt x="2909" y="2956"/>
                </a:lnTo>
                <a:lnTo>
                  <a:pt x="2912" y="2961"/>
                </a:lnTo>
                <a:lnTo>
                  <a:pt x="2915" y="2973"/>
                </a:lnTo>
                <a:lnTo>
                  <a:pt x="2917" y="2978"/>
                </a:lnTo>
                <a:lnTo>
                  <a:pt x="2920" y="2983"/>
                </a:lnTo>
                <a:lnTo>
                  <a:pt x="2922" y="2987"/>
                </a:lnTo>
                <a:lnTo>
                  <a:pt x="2925" y="2992"/>
                </a:lnTo>
                <a:lnTo>
                  <a:pt x="2928" y="2996"/>
                </a:lnTo>
                <a:lnTo>
                  <a:pt x="2931" y="3000"/>
                </a:lnTo>
                <a:lnTo>
                  <a:pt x="2934" y="3004"/>
                </a:lnTo>
                <a:lnTo>
                  <a:pt x="2937" y="3007"/>
                </a:lnTo>
                <a:lnTo>
                  <a:pt x="2945" y="3014"/>
                </a:lnTo>
                <a:lnTo>
                  <a:pt x="2953" y="3020"/>
                </a:lnTo>
                <a:lnTo>
                  <a:pt x="2961" y="3025"/>
                </a:lnTo>
                <a:lnTo>
                  <a:pt x="2971" y="3028"/>
                </a:lnTo>
                <a:lnTo>
                  <a:pt x="2981" y="3032"/>
                </a:lnTo>
                <a:lnTo>
                  <a:pt x="2991" y="3034"/>
                </a:lnTo>
                <a:lnTo>
                  <a:pt x="2996" y="3034"/>
                </a:lnTo>
                <a:lnTo>
                  <a:pt x="3002" y="3034"/>
                </a:lnTo>
                <a:lnTo>
                  <a:pt x="3012" y="3034"/>
                </a:lnTo>
                <a:lnTo>
                  <a:pt x="3022" y="3032"/>
                </a:lnTo>
                <a:lnTo>
                  <a:pt x="3033" y="3029"/>
                </a:lnTo>
                <a:lnTo>
                  <a:pt x="3043" y="3026"/>
                </a:lnTo>
                <a:lnTo>
                  <a:pt x="3052" y="3021"/>
                </a:lnTo>
                <a:lnTo>
                  <a:pt x="3061" y="3016"/>
                </a:lnTo>
                <a:lnTo>
                  <a:pt x="3070" y="3010"/>
                </a:lnTo>
                <a:lnTo>
                  <a:pt x="3078" y="3004"/>
                </a:lnTo>
                <a:lnTo>
                  <a:pt x="3086" y="2997"/>
                </a:lnTo>
                <a:lnTo>
                  <a:pt x="3094" y="2989"/>
                </a:lnTo>
                <a:lnTo>
                  <a:pt x="3102" y="2980"/>
                </a:lnTo>
                <a:lnTo>
                  <a:pt x="3109" y="2970"/>
                </a:lnTo>
                <a:lnTo>
                  <a:pt x="3122" y="2951"/>
                </a:lnTo>
                <a:lnTo>
                  <a:pt x="3128" y="2941"/>
                </a:lnTo>
                <a:lnTo>
                  <a:pt x="3133" y="2930"/>
                </a:lnTo>
                <a:lnTo>
                  <a:pt x="3138" y="2919"/>
                </a:lnTo>
                <a:lnTo>
                  <a:pt x="3143" y="2906"/>
                </a:lnTo>
                <a:lnTo>
                  <a:pt x="3148" y="2895"/>
                </a:lnTo>
                <a:lnTo>
                  <a:pt x="3153" y="2883"/>
                </a:lnTo>
                <a:lnTo>
                  <a:pt x="3157" y="2871"/>
                </a:lnTo>
                <a:lnTo>
                  <a:pt x="3160" y="2859"/>
                </a:lnTo>
                <a:lnTo>
                  <a:pt x="3163" y="2846"/>
                </a:lnTo>
                <a:lnTo>
                  <a:pt x="3166" y="2834"/>
                </a:lnTo>
                <a:lnTo>
                  <a:pt x="3168" y="2822"/>
                </a:lnTo>
                <a:lnTo>
                  <a:pt x="3170" y="2810"/>
                </a:lnTo>
                <a:lnTo>
                  <a:pt x="3171" y="2799"/>
                </a:lnTo>
                <a:lnTo>
                  <a:pt x="3172" y="2786"/>
                </a:lnTo>
                <a:lnTo>
                  <a:pt x="3173" y="2775"/>
                </a:lnTo>
                <a:lnTo>
                  <a:pt x="3173" y="2764"/>
                </a:lnTo>
                <a:lnTo>
                  <a:pt x="3173" y="2753"/>
                </a:lnTo>
                <a:lnTo>
                  <a:pt x="3173" y="2742"/>
                </a:lnTo>
                <a:lnTo>
                  <a:pt x="3174" y="2740"/>
                </a:lnTo>
                <a:lnTo>
                  <a:pt x="3175" y="2738"/>
                </a:lnTo>
                <a:lnTo>
                  <a:pt x="3177" y="2736"/>
                </a:lnTo>
                <a:lnTo>
                  <a:pt x="3180" y="2734"/>
                </a:lnTo>
                <a:lnTo>
                  <a:pt x="3187" y="2730"/>
                </a:lnTo>
                <a:lnTo>
                  <a:pt x="3191" y="2730"/>
                </a:lnTo>
                <a:lnTo>
                  <a:pt x="3195" y="2729"/>
                </a:lnTo>
                <a:lnTo>
                  <a:pt x="3202" y="2730"/>
                </a:lnTo>
                <a:lnTo>
                  <a:pt x="3205" y="2732"/>
                </a:lnTo>
                <a:lnTo>
                  <a:pt x="3209" y="2732"/>
                </a:lnTo>
                <a:lnTo>
                  <a:pt x="3215" y="2735"/>
                </a:lnTo>
                <a:lnTo>
                  <a:pt x="3218" y="2737"/>
                </a:lnTo>
                <a:lnTo>
                  <a:pt x="3220" y="2740"/>
                </a:lnTo>
                <a:lnTo>
                  <a:pt x="3224" y="2745"/>
                </a:lnTo>
                <a:lnTo>
                  <a:pt x="3226" y="2749"/>
                </a:lnTo>
                <a:lnTo>
                  <a:pt x="3227" y="2753"/>
                </a:lnTo>
                <a:lnTo>
                  <a:pt x="3228" y="2757"/>
                </a:lnTo>
                <a:lnTo>
                  <a:pt x="3229" y="2762"/>
                </a:lnTo>
                <a:lnTo>
                  <a:pt x="3230" y="2767"/>
                </a:lnTo>
                <a:lnTo>
                  <a:pt x="3230" y="2773"/>
                </a:lnTo>
                <a:lnTo>
                  <a:pt x="3229" y="2789"/>
                </a:lnTo>
                <a:lnTo>
                  <a:pt x="3228" y="2805"/>
                </a:lnTo>
                <a:lnTo>
                  <a:pt x="3227" y="2820"/>
                </a:lnTo>
                <a:lnTo>
                  <a:pt x="3225" y="2835"/>
                </a:lnTo>
                <a:lnTo>
                  <a:pt x="3222" y="2850"/>
                </a:lnTo>
                <a:lnTo>
                  <a:pt x="3219" y="2866"/>
                </a:lnTo>
                <a:lnTo>
                  <a:pt x="3216" y="2880"/>
                </a:lnTo>
                <a:lnTo>
                  <a:pt x="3212" y="2895"/>
                </a:lnTo>
                <a:lnTo>
                  <a:pt x="3206" y="2908"/>
                </a:lnTo>
                <a:lnTo>
                  <a:pt x="3202" y="2923"/>
                </a:lnTo>
                <a:lnTo>
                  <a:pt x="3196" y="2936"/>
                </a:lnTo>
                <a:lnTo>
                  <a:pt x="3191" y="2949"/>
                </a:lnTo>
                <a:lnTo>
                  <a:pt x="3185" y="2961"/>
                </a:lnTo>
                <a:lnTo>
                  <a:pt x="3178" y="2975"/>
                </a:lnTo>
                <a:lnTo>
                  <a:pt x="3171" y="2986"/>
                </a:lnTo>
                <a:lnTo>
                  <a:pt x="3164" y="2997"/>
                </a:lnTo>
                <a:lnTo>
                  <a:pt x="3156" y="3008"/>
                </a:lnTo>
                <a:lnTo>
                  <a:pt x="3147" y="3018"/>
                </a:lnTo>
                <a:lnTo>
                  <a:pt x="3139" y="3028"/>
                </a:lnTo>
                <a:lnTo>
                  <a:pt x="3130" y="3038"/>
                </a:lnTo>
                <a:lnTo>
                  <a:pt x="3121" y="3046"/>
                </a:lnTo>
                <a:lnTo>
                  <a:pt x="3112" y="3054"/>
                </a:lnTo>
                <a:lnTo>
                  <a:pt x="3102" y="3061"/>
                </a:lnTo>
                <a:lnTo>
                  <a:pt x="3092" y="3068"/>
                </a:lnTo>
                <a:lnTo>
                  <a:pt x="3081" y="3074"/>
                </a:lnTo>
                <a:lnTo>
                  <a:pt x="3070" y="3079"/>
                </a:lnTo>
                <a:lnTo>
                  <a:pt x="3059" y="3083"/>
                </a:lnTo>
                <a:lnTo>
                  <a:pt x="3048" y="3087"/>
                </a:lnTo>
                <a:lnTo>
                  <a:pt x="3036" y="3090"/>
                </a:lnTo>
                <a:lnTo>
                  <a:pt x="3024" y="3093"/>
                </a:lnTo>
                <a:lnTo>
                  <a:pt x="3012" y="3094"/>
                </a:lnTo>
                <a:lnTo>
                  <a:pt x="3000" y="3095"/>
                </a:lnTo>
                <a:close/>
                <a:moveTo>
                  <a:pt x="3386" y="3088"/>
                </a:moveTo>
                <a:lnTo>
                  <a:pt x="3385" y="3088"/>
                </a:lnTo>
                <a:lnTo>
                  <a:pt x="3382" y="3087"/>
                </a:lnTo>
                <a:lnTo>
                  <a:pt x="3377" y="3084"/>
                </a:lnTo>
                <a:lnTo>
                  <a:pt x="3371" y="3080"/>
                </a:lnTo>
                <a:lnTo>
                  <a:pt x="3363" y="3075"/>
                </a:lnTo>
                <a:lnTo>
                  <a:pt x="3351" y="3064"/>
                </a:lnTo>
                <a:lnTo>
                  <a:pt x="3336" y="3050"/>
                </a:lnTo>
                <a:lnTo>
                  <a:pt x="3318" y="3034"/>
                </a:lnTo>
                <a:lnTo>
                  <a:pt x="3302" y="3016"/>
                </a:lnTo>
                <a:lnTo>
                  <a:pt x="3286" y="2999"/>
                </a:lnTo>
                <a:lnTo>
                  <a:pt x="3272" y="2983"/>
                </a:lnTo>
                <a:lnTo>
                  <a:pt x="3259" y="2967"/>
                </a:lnTo>
                <a:lnTo>
                  <a:pt x="3255" y="2961"/>
                </a:lnTo>
                <a:lnTo>
                  <a:pt x="3252" y="2956"/>
                </a:lnTo>
                <a:lnTo>
                  <a:pt x="3246" y="2946"/>
                </a:lnTo>
                <a:lnTo>
                  <a:pt x="3243" y="2936"/>
                </a:lnTo>
                <a:lnTo>
                  <a:pt x="3240" y="2926"/>
                </a:lnTo>
                <a:lnTo>
                  <a:pt x="3239" y="2916"/>
                </a:lnTo>
                <a:lnTo>
                  <a:pt x="3240" y="2910"/>
                </a:lnTo>
                <a:lnTo>
                  <a:pt x="3240" y="2904"/>
                </a:lnTo>
                <a:lnTo>
                  <a:pt x="3242" y="2898"/>
                </a:lnTo>
                <a:lnTo>
                  <a:pt x="3244" y="2892"/>
                </a:lnTo>
                <a:lnTo>
                  <a:pt x="3246" y="2886"/>
                </a:lnTo>
                <a:lnTo>
                  <a:pt x="3250" y="2880"/>
                </a:lnTo>
                <a:lnTo>
                  <a:pt x="3253" y="2873"/>
                </a:lnTo>
                <a:lnTo>
                  <a:pt x="3258" y="2866"/>
                </a:lnTo>
                <a:lnTo>
                  <a:pt x="3266" y="2855"/>
                </a:lnTo>
                <a:lnTo>
                  <a:pt x="3278" y="2841"/>
                </a:lnTo>
                <a:lnTo>
                  <a:pt x="3308" y="2807"/>
                </a:lnTo>
                <a:lnTo>
                  <a:pt x="3344" y="2767"/>
                </a:lnTo>
                <a:lnTo>
                  <a:pt x="3379" y="2726"/>
                </a:lnTo>
                <a:lnTo>
                  <a:pt x="3380" y="2725"/>
                </a:lnTo>
                <a:lnTo>
                  <a:pt x="3383" y="2725"/>
                </a:lnTo>
                <a:lnTo>
                  <a:pt x="3387" y="2725"/>
                </a:lnTo>
                <a:lnTo>
                  <a:pt x="3392" y="2726"/>
                </a:lnTo>
                <a:lnTo>
                  <a:pt x="3396" y="2728"/>
                </a:lnTo>
                <a:lnTo>
                  <a:pt x="3401" y="2732"/>
                </a:lnTo>
                <a:lnTo>
                  <a:pt x="3405" y="2735"/>
                </a:lnTo>
                <a:lnTo>
                  <a:pt x="3409" y="2739"/>
                </a:lnTo>
                <a:lnTo>
                  <a:pt x="3412" y="2743"/>
                </a:lnTo>
                <a:lnTo>
                  <a:pt x="3415" y="2748"/>
                </a:lnTo>
                <a:lnTo>
                  <a:pt x="3416" y="2752"/>
                </a:lnTo>
                <a:lnTo>
                  <a:pt x="3417" y="2757"/>
                </a:lnTo>
                <a:lnTo>
                  <a:pt x="3416" y="2762"/>
                </a:lnTo>
                <a:lnTo>
                  <a:pt x="3414" y="2768"/>
                </a:lnTo>
                <a:lnTo>
                  <a:pt x="3412" y="2773"/>
                </a:lnTo>
                <a:lnTo>
                  <a:pt x="3408" y="2779"/>
                </a:lnTo>
                <a:lnTo>
                  <a:pt x="3400" y="2790"/>
                </a:lnTo>
                <a:lnTo>
                  <a:pt x="3387" y="2804"/>
                </a:lnTo>
                <a:lnTo>
                  <a:pt x="3358" y="2837"/>
                </a:lnTo>
                <a:lnTo>
                  <a:pt x="3328" y="2871"/>
                </a:lnTo>
                <a:lnTo>
                  <a:pt x="3315" y="2886"/>
                </a:lnTo>
                <a:lnTo>
                  <a:pt x="3306" y="2897"/>
                </a:lnTo>
                <a:lnTo>
                  <a:pt x="3304" y="2901"/>
                </a:lnTo>
                <a:lnTo>
                  <a:pt x="3302" y="2905"/>
                </a:lnTo>
                <a:lnTo>
                  <a:pt x="3301" y="2908"/>
                </a:lnTo>
                <a:lnTo>
                  <a:pt x="3300" y="2913"/>
                </a:lnTo>
                <a:lnTo>
                  <a:pt x="3301" y="2917"/>
                </a:lnTo>
                <a:lnTo>
                  <a:pt x="3302" y="2922"/>
                </a:lnTo>
                <a:lnTo>
                  <a:pt x="3304" y="2926"/>
                </a:lnTo>
                <a:lnTo>
                  <a:pt x="3307" y="2931"/>
                </a:lnTo>
                <a:lnTo>
                  <a:pt x="3315" y="2940"/>
                </a:lnTo>
                <a:lnTo>
                  <a:pt x="3325" y="2952"/>
                </a:lnTo>
                <a:lnTo>
                  <a:pt x="3354" y="2982"/>
                </a:lnTo>
                <a:lnTo>
                  <a:pt x="3385" y="3014"/>
                </a:lnTo>
                <a:lnTo>
                  <a:pt x="3417" y="3045"/>
                </a:lnTo>
                <a:lnTo>
                  <a:pt x="3419" y="3047"/>
                </a:lnTo>
                <a:lnTo>
                  <a:pt x="3421" y="3049"/>
                </a:lnTo>
                <a:lnTo>
                  <a:pt x="3422" y="3051"/>
                </a:lnTo>
                <a:lnTo>
                  <a:pt x="3422" y="3054"/>
                </a:lnTo>
                <a:lnTo>
                  <a:pt x="3421" y="3060"/>
                </a:lnTo>
                <a:lnTo>
                  <a:pt x="3420" y="3062"/>
                </a:lnTo>
                <a:lnTo>
                  <a:pt x="3419" y="3065"/>
                </a:lnTo>
                <a:lnTo>
                  <a:pt x="3415" y="3071"/>
                </a:lnTo>
                <a:lnTo>
                  <a:pt x="3413" y="3074"/>
                </a:lnTo>
                <a:lnTo>
                  <a:pt x="3410" y="3076"/>
                </a:lnTo>
                <a:lnTo>
                  <a:pt x="3405" y="3081"/>
                </a:lnTo>
                <a:lnTo>
                  <a:pt x="3402" y="3083"/>
                </a:lnTo>
                <a:lnTo>
                  <a:pt x="3399" y="3085"/>
                </a:lnTo>
                <a:lnTo>
                  <a:pt x="3393" y="3087"/>
                </a:lnTo>
                <a:lnTo>
                  <a:pt x="3389" y="3088"/>
                </a:lnTo>
                <a:lnTo>
                  <a:pt x="3386" y="3088"/>
                </a:lnTo>
                <a:close/>
                <a:moveTo>
                  <a:pt x="717" y="1136"/>
                </a:moveTo>
                <a:lnTo>
                  <a:pt x="710" y="1136"/>
                </a:lnTo>
                <a:lnTo>
                  <a:pt x="702" y="1135"/>
                </a:lnTo>
                <a:lnTo>
                  <a:pt x="694" y="1134"/>
                </a:lnTo>
                <a:lnTo>
                  <a:pt x="686" y="1132"/>
                </a:lnTo>
                <a:lnTo>
                  <a:pt x="679" y="1131"/>
                </a:lnTo>
                <a:lnTo>
                  <a:pt x="672" y="1128"/>
                </a:lnTo>
                <a:lnTo>
                  <a:pt x="658" y="1122"/>
                </a:lnTo>
                <a:lnTo>
                  <a:pt x="645" y="1115"/>
                </a:lnTo>
                <a:lnTo>
                  <a:pt x="639" y="1110"/>
                </a:lnTo>
                <a:lnTo>
                  <a:pt x="633" y="1105"/>
                </a:lnTo>
                <a:lnTo>
                  <a:pt x="626" y="1101"/>
                </a:lnTo>
                <a:lnTo>
                  <a:pt x="620" y="1095"/>
                </a:lnTo>
                <a:lnTo>
                  <a:pt x="615" y="1090"/>
                </a:lnTo>
                <a:lnTo>
                  <a:pt x="610" y="1084"/>
                </a:lnTo>
                <a:lnTo>
                  <a:pt x="605" y="1078"/>
                </a:lnTo>
                <a:lnTo>
                  <a:pt x="600" y="1072"/>
                </a:lnTo>
                <a:lnTo>
                  <a:pt x="595" y="1065"/>
                </a:lnTo>
                <a:lnTo>
                  <a:pt x="591" y="1058"/>
                </a:lnTo>
                <a:lnTo>
                  <a:pt x="587" y="1050"/>
                </a:lnTo>
                <a:lnTo>
                  <a:pt x="584" y="1043"/>
                </a:lnTo>
                <a:lnTo>
                  <a:pt x="580" y="1035"/>
                </a:lnTo>
                <a:lnTo>
                  <a:pt x="577" y="1027"/>
                </a:lnTo>
                <a:lnTo>
                  <a:pt x="575" y="1020"/>
                </a:lnTo>
                <a:lnTo>
                  <a:pt x="572" y="1011"/>
                </a:lnTo>
                <a:lnTo>
                  <a:pt x="569" y="1003"/>
                </a:lnTo>
                <a:lnTo>
                  <a:pt x="568" y="994"/>
                </a:lnTo>
                <a:lnTo>
                  <a:pt x="566" y="985"/>
                </a:lnTo>
                <a:lnTo>
                  <a:pt x="565" y="976"/>
                </a:lnTo>
                <a:lnTo>
                  <a:pt x="565" y="967"/>
                </a:lnTo>
                <a:lnTo>
                  <a:pt x="565" y="958"/>
                </a:lnTo>
                <a:lnTo>
                  <a:pt x="566" y="939"/>
                </a:lnTo>
                <a:lnTo>
                  <a:pt x="567" y="929"/>
                </a:lnTo>
                <a:lnTo>
                  <a:pt x="568" y="920"/>
                </a:lnTo>
                <a:lnTo>
                  <a:pt x="571" y="911"/>
                </a:lnTo>
                <a:lnTo>
                  <a:pt x="573" y="902"/>
                </a:lnTo>
                <a:lnTo>
                  <a:pt x="575" y="893"/>
                </a:lnTo>
                <a:lnTo>
                  <a:pt x="578" y="884"/>
                </a:lnTo>
                <a:lnTo>
                  <a:pt x="581" y="876"/>
                </a:lnTo>
                <a:lnTo>
                  <a:pt x="585" y="867"/>
                </a:lnTo>
                <a:lnTo>
                  <a:pt x="589" y="859"/>
                </a:lnTo>
                <a:lnTo>
                  <a:pt x="593" y="851"/>
                </a:lnTo>
                <a:lnTo>
                  <a:pt x="597" y="843"/>
                </a:lnTo>
                <a:lnTo>
                  <a:pt x="602" y="836"/>
                </a:lnTo>
                <a:lnTo>
                  <a:pt x="612" y="822"/>
                </a:lnTo>
                <a:lnTo>
                  <a:pt x="617" y="816"/>
                </a:lnTo>
                <a:lnTo>
                  <a:pt x="623" y="809"/>
                </a:lnTo>
                <a:lnTo>
                  <a:pt x="636" y="797"/>
                </a:lnTo>
                <a:lnTo>
                  <a:pt x="643" y="792"/>
                </a:lnTo>
                <a:lnTo>
                  <a:pt x="650" y="787"/>
                </a:lnTo>
                <a:lnTo>
                  <a:pt x="656" y="783"/>
                </a:lnTo>
                <a:lnTo>
                  <a:pt x="663" y="779"/>
                </a:lnTo>
                <a:lnTo>
                  <a:pt x="671" y="775"/>
                </a:lnTo>
                <a:lnTo>
                  <a:pt x="678" y="772"/>
                </a:lnTo>
                <a:lnTo>
                  <a:pt x="686" y="769"/>
                </a:lnTo>
                <a:lnTo>
                  <a:pt x="694" y="767"/>
                </a:lnTo>
                <a:lnTo>
                  <a:pt x="702" y="765"/>
                </a:lnTo>
                <a:lnTo>
                  <a:pt x="710" y="764"/>
                </a:lnTo>
                <a:lnTo>
                  <a:pt x="719" y="763"/>
                </a:lnTo>
                <a:lnTo>
                  <a:pt x="727" y="763"/>
                </a:lnTo>
                <a:lnTo>
                  <a:pt x="737" y="763"/>
                </a:lnTo>
                <a:lnTo>
                  <a:pt x="742" y="764"/>
                </a:lnTo>
                <a:lnTo>
                  <a:pt x="747" y="765"/>
                </a:lnTo>
                <a:lnTo>
                  <a:pt x="752" y="766"/>
                </a:lnTo>
                <a:lnTo>
                  <a:pt x="757" y="767"/>
                </a:lnTo>
                <a:lnTo>
                  <a:pt x="765" y="770"/>
                </a:lnTo>
                <a:lnTo>
                  <a:pt x="773" y="774"/>
                </a:lnTo>
                <a:lnTo>
                  <a:pt x="780" y="779"/>
                </a:lnTo>
                <a:lnTo>
                  <a:pt x="787" y="784"/>
                </a:lnTo>
                <a:lnTo>
                  <a:pt x="793" y="790"/>
                </a:lnTo>
                <a:lnTo>
                  <a:pt x="796" y="793"/>
                </a:lnTo>
                <a:lnTo>
                  <a:pt x="798" y="797"/>
                </a:lnTo>
                <a:lnTo>
                  <a:pt x="803" y="804"/>
                </a:lnTo>
                <a:lnTo>
                  <a:pt x="807" y="813"/>
                </a:lnTo>
                <a:lnTo>
                  <a:pt x="812" y="821"/>
                </a:lnTo>
                <a:lnTo>
                  <a:pt x="814" y="830"/>
                </a:lnTo>
                <a:lnTo>
                  <a:pt x="816" y="839"/>
                </a:lnTo>
                <a:lnTo>
                  <a:pt x="817" y="848"/>
                </a:lnTo>
                <a:lnTo>
                  <a:pt x="818" y="858"/>
                </a:lnTo>
                <a:lnTo>
                  <a:pt x="817" y="872"/>
                </a:lnTo>
                <a:lnTo>
                  <a:pt x="816" y="878"/>
                </a:lnTo>
                <a:lnTo>
                  <a:pt x="814" y="884"/>
                </a:lnTo>
                <a:lnTo>
                  <a:pt x="811" y="896"/>
                </a:lnTo>
                <a:lnTo>
                  <a:pt x="805" y="907"/>
                </a:lnTo>
                <a:lnTo>
                  <a:pt x="799" y="919"/>
                </a:lnTo>
                <a:lnTo>
                  <a:pt x="791" y="929"/>
                </a:lnTo>
                <a:lnTo>
                  <a:pt x="787" y="935"/>
                </a:lnTo>
                <a:lnTo>
                  <a:pt x="783" y="940"/>
                </a:lnTo>
                <a:lnTo>
                  <a:pt x="774" y="949"/>
                </a:lnTo>
                <a:lnTo>
                  <a:pt x="764" y="958"/>
                </a:lnTo>
                <a:lnTo>
                  <a:pt x="758" y="962"/>
                </a:lnTo>
                <a:lnTo>
                  <a:pt x="753" y="965"/>
                </a:lnTo>
                <a:lnTo>
                  <a:pt x="741" y="972"/>
                </a:lnTo>
                <a:lnTo>
                  <a:pt x="729" y="978"/>
                </a:lnTo>
                <a:lnTo>
                  <a:pt x="717" y="982"/>
                </a:lnTo>
                <a:lnTo>
                  <a:pt x="711" y="984"/>
                </a:lnTo>
                <a:lnTo>
                  <a:pt x="705" y="986"/>
                </a:lnTo>
                <a:lnTo>
                  <a:pt x="698" y="987"/>
                </a:lnTo>
                <a:lnTo>
                  <a:pt x="692" y="988"/>
                </a:lnTo>
                <a:lnTo>
                  <a:pt x="679" y="988"/>
                </a:lnTo>
                <a:lnTo>
                  <a:pt x="673" y="988"/>
                </a:lnTo>
                <a:lnTo>
                  <a:pt x="668" y="986"/>
                </a:lnTo>
                <a:lnTo>
                  <a:pt x="664" y="983"/>
                </a:lnTo>
                <a:lnTo>
                  <a:pt x="662" y="981"/>
                </a:lnTo>
                <a:lnTo>
                  <a:pt x="660" y="979"/>
                </a:lnTo>
                <a:lnTo>
                  <a:pt x="657" y="974"/>
                </a:lnTo>
                <a:lnTo>
                  <a:pt x="654" y="969"/>
                </a:lnTo>
                <a:lnTo>
                  <a:pt x="653" y="966"/>
                </a:lnTo>
                <a:lnTo>
                  <a:pt x="653" y="963"/>
                </a:lnTo>
                <a:lnTo>
                  <a:pt x="652" y="957"/>
                </a:lnTo>
                <a:lnTo>
                  <a:pt x="652" y="954"/>
                </a:lnTo>
                <a:lnTo>
                  <a:pt x="653" y="951"/>
                </a:lnTo>
                <a:lnTo>
                  <a:pt x="654" y="947"/>
                </a:lnTo>
                <a:lnTo>
                  <a:pt x="655" y="944"/>
                </a:lnTo>
                <a:lnTo>
                  <a:pt x="656" y="943"/>
                </a:lnTo>
                <a:lnTo>
                  <a:pt x="658" y="941"/>
                </a:lnTo>
                <a:lnTo>
                  <a:pt x="659" y="940"/>
                </a:lnTo>
                <a:lnTo>
                  <a:pt x="670" y="938"/>
                </a:lnTo>
                <a:lnTo>
                  <a:pt x="681" y="935"/>
                </a:lnTo>
                <a:lnTo>
                  <a:pt x="692" y="932"/>
                </a:lnTo>
                <a:lnTo>
                  <a:pt x="701" y="927"/>
                </a:lnTo>
                <a:lnTo>
                  <a:pt x="711" y="922"/>
                </a:lnTo>
                <a:lnTo>
                  <a:pt x="719" y="917"/>
                </a:lnTo>
                <a:lnTo>
                  <a:pt x="727" y="912"/>
                </a:lnTo>
                <a:lnTo>
                  <a:pt x="731" y="909"/>
                </a:lnTo>
                <a:lnTo>
                  <a:pt x="734" y="906"/>
                </a:lnTo>
                <a:lnTo>
                  <a:pt x="741" y="900"/>
                </a:lnTo>
                <a:lnTo>
                  <a:pt x="746" y="893"/>
                </a:lnTo>
                <a:lnTo>
                  <a:pt x="752" y="886"/>
                </a:lnTo>
                <a:lnTo>
                  <a:pt x="756" y="880"/>
                </a:lnTo>
                <a:lnTo>
                  <a:pt x="760" y="873"/>
                </a:lnTo>
                <a:lnTo>
                  <a:pt x="762" y="865"/>
                </a:lnTo>
                <a:lnTo>
                  <a:pt x="764" y="857"/>
                </a:lnTo>
                <a:lnTo>
                  <a:pt x="764" y="850"/>
                </a:lnTo>
                <a:lnTo>
                  <a:pt x="763" y="842"/>
                </a:lnTo>
                <a:lnTo>
                  <a:pt x="761" y="835"/>
                </a:lnTo>
                <a:lnTo>
                  <a:pt x="760" y="832"/>
                </a:lnTo>
                <a:lnTo>
                  <a:pt x="758" y="829"/>
                </a:lnTo>
                <a:lnTo>
                  <a:pt x="756" y="826"/>
                </a:lnTo>
                <a:lnTo>
                  <a:pt x="753" y="823"/>
                </a:lnTo>
                <a:lnTo>
                  <a:pt x="747" y="819"/>
                </a:lnTo>
                <a:lnTo>
                  <a:pt x="743" y="817"/>
                </a:lnTo>
                <a:lnTo>
                  <a:pt x="740" y="816"/>
                </a:lnTo>
                <a:lnTo>
                  <a:pt x="732" y="814"/>
                </a:lnTo>
                <a:lnTo>
                  <a:pt x="728" y="814"/>
                </a:lnTo>
                <a:lnTo>
                  <a:pt x="723" y="814"/>
                </a:lnTo>
                <a:lnTo>
                  <a:pt x="714" y="814"/>
                </a:lnTo>
                <a:lnTo>
                  <a:pt x="710" y="815"/>
                </a:lnTo>
                <a:lnTo>
                  <a:pt x="705" y="816"/>
                </a:lnTo>
                <a:lnTo>
                  <a:pt x="701" y="818"/>
                </a:lnTo>
                <a:lnTo>
                  <a:pt x="696" y="820"/>
                </a:lnTo>
                <a:lnTo>
                  <a:pt x="692" y="822"/>
                </a:lnTo>
                <a:lnTo>
                  <a:pt x="687" y="825"/>
                </a:lnTo>
                <a:lnTo>
                  <a:pt x="682" y="827"/>
                </a:lnTo>
                <a:lnTo>
                  <a:pt x="678" y="830"/>
                </a:lnTo>
                <a:lnTo>
                  <a:pt x="670" y="838"/>
                </a:lnTo>
                <a:lnTo>
                  <a:pt x="662" y="846"/>
                </a:lnTo>
                <a:lnTo>
                  <a:pt x="655" y="855"/>
                </a:lnTo>
                <a:lnTo>
                  <a:pt x="651" y="859"/>
                </a:lnTo>
                <a:lnTo>
                  <a:pt x="648" y="865"/>
                </a:lnTo>
                <a:lnTo>
                  <a:pt x="642" y="876"/>
                </a:lnTo>
                <a:lnTo>
                  <a:pt x="636" y="888"/>
                </a:lnTo>
                <a:lnTo>
                  <a:pt x="631" y="900"/>
                </a:lnTo>
                <a:lnTo>
                  <a:pt x="626" y="913"/>
                </a:lnTo>
                <a:lnTo>
                  <a:pt x="624" y="926"/>
                </a:lnTo>
                <a:lnTo>
                  <a:pt x="622" y="941"/>
                </a:lnTo>
                <a:lnTo>
                  <a:pt x="621" y="948"/>
                </a:lnTo>
                <a:lnTo>
                  <a:pt x="621" y="955"/>
                </a:lnTo>
                <a:lnTo>
                  <a:pt x="622" y="968"/>
                </a:lnTo>
                <a:lnTo>
                  <a:pt x="623" y="980"/>
                </a:lnTo>
                <a:lnTo>
                  <a:pt x="625" y="993"/>
                </a:lnTo>
                <a:lnTo>
                  <a:pt x="627" y="998"/>
                </a:lnTo>
                <a:lnTo>
                  <a:pt x="628" y="1004"/>
                </a:lnTo>
                <a:lnTo>
                  <a:pt x="633" y="1014"/>
                </a:lnTo>
                <a:lnTo>
                  <a:pt x="635" y="1019"/>
                </a:lnTo>
                <a:lnTo>
                  <a:pt x="637" y="1024"/>
                </a:lnTo>
                <a:lnTo>
                  <a:pt x="640" y="1029"/>
                </a:lnTo>
                <a:lnTo>
                  <a:pt x="642" y="1033"/>
                </a:lnTo>
                <a:lnTo>
                  <a:pt x="645" y="1037"/>
                </a:lnTo>
                <a:lnTo>
                  <a:pt x="648" y="1041"/>
                </a:lnTo>
                <a:lnTo>
                  <a:pt x="652" y="1045"/>
                </a:lnTo>
                <a:lnTo>
                  <a:pt x="655" y="1049"/>
                </a:lnTo>
                <a:lnTo>
                  <a:pt x="662" y="1056"/>
                </a:lnTo>
                <a:lnTo>
                  <a:pt x="670" y="1062"/>
                </a:lnTo>
                <a:lnTo>
                  <a:pt x="679" y="1067"/>
                </a:lnTo>
                <a:lnTo>
                  <a:pt x="688" y="1071"/>
                </a:lnTo>
                <a:lnTo>
                  <a:pt x="698" y="1073"/>
                </a:lnTo>
                <a:lnTo>
                  <a:pt x="708" y="1075"/>
                </a:lnTo>
                <a:lnTo>
                  <a:pt x="714" y="1076"/>
                </a:lnTo>
                <a:lnTo>
                  <a:pt x="719" y="1076"/>
                </a:lnTo>
                <a:lnTo>
                  <a:pt x="730" y="1075"/>
                </a:lnTo>
                <a:lnTo>
                  <a:pt x="740" y="1074"/>
                </a:lnTo>
                <a:lnTo>
                  <a:pt x="751" y="1071"/>
                </a:lnTo>
                <a:lnTo>
                  <a:pt x="760" y="1068"/>
                </a:lnTo>
                <a:lnTo>
                  <a:pt x="770" y="1064"/>
                </a:lnTo>
                <a:lnTo>
                  <a:pt x="779" y="1059"/>
                </a:lnTo>
                <a:lnTo>
                  <a:pt x="787" y="1053"/>
                </a:lnTo>
                <a:lnTo>
                  <a:pt x="795" y="1045"/>
                </a:lnTo>
                <a:lnTo>
                  <a:pt x="803" y="1038"/>
                </a:lnTo>
                <a:lnTo>
                  <a:pt x="812" y="1030"/>
                </a:lnTo>
                <a:lnTo>
                  <a:pt x="819" y="1022"/>
                </a:lnTo>
                <a:lnTo>
                  <a:pt x="826" y="1013"/>
                </a:lnTo>
                <a:lnTo>
                  <a:pt x="839" y="993"/>
                </a:lnTo>
                <a:lnTo>
                  <a:pt x="845" y="982"/>
                </a:lnTo>
                <a:lnTo>
                  <a:pt x="851" y="971"/>
                </a:lnTo>
                <a:lnTo>
                  <a:pt x="856" y="960"/>
                </a:lnTo>
                <a:lnTo>
                  <a:pt x="861" y="949"/>
                </a:lnTo>
                <a:lnTo>
                  <a:pt x="865" y="937"/>
                </a:lnTo>
                <a:lnTo>
                  <a:pt x="869" y="925"/>
                </a:lnTo>
                <a:lnTo>
                  <a:pt x="874" y="913"/>
                </a:lnTo>
                <a:lnTo>
                  <a:pt x="877" y="901"/>
                </a:lnTo>
                <a:lnTo>
                  <a:pt x="880" y="889"/>
                </a:lnTo>
                <a:lnTo>
                  <a:pt x="883" y="877"/>
                </a:lnTo>
                <a:lnTo>
                  <a:pt x="885" y="864"/>
                </a:lnTo>
                <a:lnTo>
                  <a:pt x="887" y="852"/>
                </a:lnTo>
                <a:lnTo>
                  <a:pt x="889" y="840"/>
                </a:lnTo>
                <a:lnTo>
                  <a:pt x="890" y="828"/>
                </a:lnTo>
                <a:lnTo>
                  <a:pt x="890" y="817"/>
                </a:lnTo>
                <a:lnTo>
                  <a:pt x="891" y="805"/>
                </a:lnTo>
                <a:lnTo>
                  <a:pt x="891" y="794"/>
                </a:lnTo>
                <a:lnTo>
                  <a:pt x="890" y="784"/>
                </a:lnTo>
                <a:lnTo>
                  <a:pt x="891" y="781"/>
                </a:lnTo>
                <a:lnTo>
                  <a:pt x="893" y="779"/>
                </a:lnTo>
                <a:lnTo>
                  <a:pt x="895" y="777"/>
                </a:lnTo>
                <a:lnTo>
                  <a:pt x="898" y="775"/>
                </a:lnTo>
                <a:lnTo>
                  <a:pt x="904" y="773"/>
                </a:lnTo>
                <a:lnTo>
                  <a:pt x="908" y="772"/>
                </a:lnTo>
                <a:lnTo>
                  <a:pt x="912" y="772"/>
                </a:lnTo>
                <a:lnTo>
                  <a:pt x="920" y="772"/>
                </a:lnTo>
                <a:lnTo>
                  <a:pt x="923" y="773"/>
                </a:lnTo>
                <a:lnTo>
                  <a:pt x="926" y="774"/>
                </a:lnTo>
                <a:lnTo>
                  <a:pt x="933" y="777"/>
                </a:lnTo>
                <a:lnTo>
                  <a:pt x="935" y="779"/>
                </a:lnTo>
                <a:lnTo>
                  <a:pt x="938" y="781"/>
                </a:lnTo>
                <a:lnTo>
                  <a:pt x="942" y="787"/>
                </a:lnTo>
                <a:lnTo>
                  <a:pt x="943" y="790"/>
                </a:lnTo>
                <a:lnTo>
                  <a:pt x="945" y="794"/>
                </a:lnTo>
                <a:lnTo>
                  <a:pt x="946" y="798"/>
                </a:lnTo>
                <a:lnTo>
                  <a:pt x="947" y="803"/>
                </a:lnTo>
                <a:lnTo>
                  <a:pt x="947" y="809"/>
                </a:lnTo>
                <a:lnTo>
                  <a:pt x="947" y="815"/>
                </a:lnTo>
                <a:lnTo>
                  <a:pt x="947" y="831"/>
                </a:lnTo>
                <a:lnTo>
                  <a:pt x="946" y="846"/>
                </a:lnTo>
                <a:lnTo>
                  <a:pt x="944" y="862"/>
                </a:lnTo>
                <a:lnTo>
                  <a:pt x="942" y="878"/>
                </a:lnTo>
                <a:lnTo>
                  <a:pt x="940" y="893"/>
                </a:lnTo>
                <a:lnTo>
                  <a:pt x="937" y="907"/>
                </a:lnTo>
                <a:lnTo>
                  <a:pt x="933" y="922"/>
                </a:lnTo>
                <a:lnTo>
                  <a:pt x="928" y="937"/>
                </a:lnTo>
                <a:lnTo>
                  <a:pt x="924" y="951"/>
                </a:lnTo>
                <a:lnTo>
                  <a:pt x="919" y="964"/>
                </a:lnTo>
                <a:lnTo>
                  <a:pt x="914" y="978"/>
                </a:lnTo>
                <a:lnTo>
                  <a:pt x="908" y="990"/>
                </a:lnTo>
                <a:lnTo>
                  <a:pt x="902" y="1004"/>
                </a:lnTo>
                <a:lnTo>
                  <a:pt x="896" y="1016"/>
                </a:lnTo>
                <a:lnTo>
                  <a:pt x="889" y="1027"/>
                </a:lnTo>
                <a:lnTo>
                  <a:pt x="881" y="1039"/>
                </a:lnTo>
                <a:lnTo>
                  <a:pt x="874" y="1049"/>
                </a:lnTo>
                <a:lnTo>
                  <a:pt x="865" y="1060"/>
                </a:lnTo>
                <a:lnTo>
                  <a:pt x="856" y="1070"/>
                </a:lnTo>
                <a:lnTo>
                  <a:pt x="848" y="1079"/>
                </a:lnTo>
                <a:lnTo>
                  <a:pt x="839" y="1087"/>
                </a:lnTo>
                <a:lnTo>
                  <a:pt x="829" y="1095"/>
                </a:lnTo>
                <a:lnTo>
                  <a:pt x="819" y="1103"/>
                </a:lnTo>
                <a:lnTo>
                  <a:pt x="808" y="1109"/>
                </a:lnTo>
                <a:lnTo>
                  <a:pt x="798" y="1116"/>
                </a:lnTo>
                <a:lnTo>
                  <a:pt x="787" y="1121"/>
                </a:lnTo>
                <a:lnTo>
                  <a:pt x="777" y="1126"/>
                </a:lnTo>
                <a:lnTo>
                  <a:pt x="765" y="1129"/>
                </a:lnTo>
                <a:lnTo>
                  <a:pt x="754" y="1132"/>
                </a:lnTo>
                <a:lnTo>
                  <a:pt x="741" y="1134"/>
                </a:lnTo>
                <a:lnTo>
                  <a:pt x="729" y="1136"/>
                </a:lnTo>
                <a:lnTo>
                  <a:pt x="717" y="1136"/>
                </a:lnTo>
                <a:close/>
                <a:moveTo>
                  <a:pt x="1104" y="1130"/>
                </a:moveTo>
                <a:lnTo>
                  <a:pt x="1102" y="1130"/>
                </a:lnTo>
                <a:lnTo>
                  <a:pt x="1100" y="1129"/>
                </a:lnTo>
                <a:lnTo>
                  <a:pt x="1095" y="1127"/>
                </a:lnTo>
                <a:lnTo>
                  <a:pt x="1088" y="1122"/>
                </a:lnTo>
                <a:lnTo>
                  <a:pt x="1081" y="1117"/>
                </a:lnTo>
                <a:lnTo>
                  <a:pt x="1068" y="1105"/>
                </a:lnTo>
                <a:lnTo>
                  <a:pt x="1053" y="1091"/>
                </a:lnTo>
                <a:lnTo>
                  <a:pt x="1036" y="1075"/>
                </a:lnTo>
                <a:lnTo>
                  <a:pt x="1019" y="1058"/>
                </a:lnTo>
                <a:lnTo>
                  <a:pt x="1003" y="1040"/>
                </a:lnTo>
                <a:lnTo>
                  <a:pt x="988" y="1024"/>
                </a:lnTo>
                <a:lnTo>
                  <a:pt x="977" y="1010"/>
                </a:lnTo>
                <a:lnTo>
                  <a:pt x="972" y="1004"/>
                </a:lnTo>
                <a:lnTo>
                  <a:pt x="969" y="998"/>
                </a:lnTo>
                <a:lnTo>
                  <a:pt x="964" y="987"/>
                </a:lnTo>
                <a:lnTo>
                  <a:pt x="960" y="977"/>
                </a:lnTo>
                <a:lnTo>
                  <a:pt x="958" y="968"/>
                </a:lnTo>
                <a:lnTo>
                  <a:pt x="957" y="958"/>
                </a:lnTo>
                <a:lnTo>
                  <a:pt x="957" y="952"/>
                </a:lnTo>
                <a:lnTo>
                  <a:pt x="958" y="946"/>
                </a:lnTo>
                <a:lnTo>
                  <a:pt x="959" y="941"/>
                </a:lnTo>
                <a:lnTo>
                  <a:pt x="961" y="935"/>
                </a:lnTo>
                <a:lnTo>
                  <a:pt x="964" y="927"/>
                </a:lnTo>
                <a:lnTo>
                  <a:pt x="967" y="921"/>
                </a:lnTo>
                <a:lnTo>
                  <a:pt x="971" y="914"/>
                </a:lnTo>
                <a:lnTo>
                  <a:pt x="975" y="908"/>
                </a:lnTo>
                <a:lnTo>
                  <a:pt x="984" y="897"/>
                </a:lnTo>
                <a:lnTo>
                  <a:pt x="996" y="883"/>
                </a:lnTo>
                <a:lnTo>
                  <a:pt x="1026" y="848"/>
                </a:lnTo>
                <a:lnTo>
                  <a:pt x="1061" y="808"/>
                </a:lnTo>
                <a:lnTo>
                  <a:pt x="1096" y="768"/>
                </a:lnTo>
                <a:lnTo>
                  <a:pt x="1097" y="768"/>
                </a:lnTo>
                <a:lnTo>
                  <a:pt x="1101" y="767"/>
                </a:lnTo>
                <a:lnTo>
                  <a:pt x="1104" y="768"/>
                </a:lnTo>
                <a:lnTo>
                  <a:pt x="1108" y="769"/>
                </a:lnTo>
                <a:lnTo>
                  <a:pt x="1114" y="771"/>
                </a:lnTo>
                <a:lnTo>
                  <a:pt x="1118" y="773"/>
                </a:lnTo>
                <a:lnTo>
                  <a:pt x="1122" y="776"/>
                </a:lnTo>
                <a:lnTo>
                  <a:pt x="1126" y="780"/>
                </a:lnTo>
                <a:lnTo>
                  <a:pt x="1130" y="784"/>
                </a:lnTo>
                <a:lnTo>
                  <a:pt x="1132" y="789"/>
                </a:lnTo>
                <a:lnTo>
                  <a:pt x="1134" y="794"/>
                </a:lnTo>
                <a:lnTo>
                  <a:pt x="1134" y="798"/>
                </a:lnTo>
                <a:lnTo>
                  <a:pt x="1134" y="804"/>
                </a:lnTo>
                <a:lnTo>
                  <a:pt x="1132" y="809"/>
                </a:lnTo>
                <a:lnTo>
                  <a:pt x="1129" y="816"/>
                </a:lnTo>
                <a:lnTo>
                  <a:pt x="1125" y="822"/>
                </a:lnTo>
                <a:lnTo>
                  <a:pt x="1117" y="832"/>
                </a:lnTo>
                <a:lnTo>
                  <a:pt x="1105" y="846"/>
                </a:lnTo>
                <a:lnTo>
                  <a:pt x="1076" y="879"/>
                </a:lnTo>
                <a:lnTo>
                  <a:pt x="1045" y="913"/>
                </a:lnTo>
                <a:lnTo>
                  <a:pt x="1033" y="927"/>
                </a:lnTo>
                <a:lnTo>
                  <a:pt x="1024" y="940"/>
                </a:lnTo>
                <a:lnTo>
                  <a:pt x="1021" y="944"/>
                </a:lnTo>
                <a:lnTo>
                  <a:pt x="1019" y="947"/>
                </a:lnTo>
                <a:lnTo>
                  <a:pt x="1018" y="951"/>
                </a:lnTo>
                <a:lnTo>
                  <a:pt x="1018" y="954"/>
                </a:lnTo>
                <a:lnTo>
                  <a:pt x="1018" y="959"/>
                </a:lnTo>
                <a:lnTo>
                  <a:pt x="1020" y="963"/>
                </a:lnTo>
                <a:lnTo>
                  <a:pt x="1022" y="968"/>
                </a:lnTo>
                <a:lnTo>
                  <a:pt x="1025" y="972"/>
                </a:lnTo>
                <a:lnTo>
                  <a:pt x="1032" y="981"/>
                </a:lnTo>
                <a:lnTo>
                  <a:pt x="1043" y="994"/>
                </a:lnTo>
                <a:lnTo>
                  <a:pt x="1071" y="1023"/>
                </a:lnTo>
                <a:lnTo>
                  <a:pt x="1103" y="1056"/>
                </a:lnTo>
                <a:lnTo>
                  <a:pt x="1135" y="1087"/>
                </a:lnTo>
                <a:lnTo>
                  <a:pt x="1137" y="1088"/>
                </a:lnTo>
                <a:lnTo>
                  <a:pt x="1138" y="1091"/>
                </a:lnTo>
                <a:lnTo>
                  <a:pt x="1139" y="1093"/>
                </a:lnTo>
                <a:lnTo>
                  <a:pt x="1139" y="1095"/>
                </a:lnTo>
                <a:lnTo>
                  <a:pt x="1139" y="1101"/>
                </a:lnTo>
                <a:lnTo>
                  <a:pt x="1138" y="1104"/>
                </a:lnTo>
                <a:lnTo>
                  <a:pt x="1136" y="1107"/>
                </a:lnTo>
                <a:lnTo>
                  <a:pt x="1133" y="1113"/>
                </a:lnTo>
                <a:lnTo>
                  <a:pt x="1130" y="1116"/>
                </a:lnTo>
                <a:lnTo>
                  <a:pt x="1128" y="1119"/>
                </a:lnTo>
                <a:lnTo>
                  <a:pt x="1123" y="1123"/>
                </a:lnTo>
                <a:lnTo>
                  <a:pt x="1120" y="1125"/>
                </a:lnTo>
                <a:lnTo>
                  <a:pt x="1117" y="1127"/>
                </a:lnTo>
                <a:lnTo>
                  <a:pt x="1111" y="1129"/>
                </a:lnTo>
                <a:lnTo>
                  <a:pt x="1107" y="1130"/>
                </a:lnTo>
                <a:lnTo>
                  <a:pt x="1104" y="1130"/>
                </a:lnTo>
                <a:close/>
                <a:moveTo>
                  <a:pt x="717" y="2129"/>
                </a:moveTo>
                <a:lnTo>
                  <a:pt x="710" y="2129"/>
                </a:lnTo>
                <a:lnTo>
                  <a:pt x="702" y="2128"/>
                </a:lnTo>
                <a:lnTo>
                  <a:pt x="694" y="2127"/>
                </a:lnTo>
                <a:lnTo>
                  <a:pt x="686" y="2126"/>
                </a:lnTo>
                <a:lnTo>
                  <a:pt x="679" y="2124"/>
                </a:lnTo>
                <a:lnTo>
                  <a:pt x="672" y="2121"/>
                </a:lnTo>
                <a:lnTo>
                  <a:pt x="658" y="2116"/>
                </a:lnTo>
                <a:lnTo>
                  <a:pt x="645" y="2108"/>
                </a:lnTo>
                <a:lnTo>
                  <a:pt x="639" y="2104"/>
                </a:lnTo>
                <a:lnTo>
                  <a:pt x="633" y="2100"/>
                </a:lnTo>
                <a:lnTo>
                  <a:pt x="626" y="2095"/>
                </a:lnTo>
                <a:lnTo>
                  <a:pt x="620" y="2090"/>
                </a:lnTo>
                <a:lnTo>
                  <a:pt x="615" y="2084"/>
                </a:lnTo>
                <a:lnTo>
                  <a:pt x="610" y="2078"/>
                </a:lnTo>
                <a:lnTo>
                  <a:pt x="605" y="2072"/>
                </a:lnTo>
                <a:lnTo>
                  <a:pt x="600" y="2065"/>
                </a:lnTo>
                <a:lnTo>
                  <a:pt x="595" y="2058"/>
                </a:lnTo>
                <a:lnTo>
                  <a:pt x="591" y="2051"/>
                </a:lnTo>
                <a:lnTo>
                  <a:pt x="587" y="2044"/>
                </a:lnTo>
                <a:lnTo>
                  <a:pt x="584" y="2037"/>
                </a:lnTo>
                <a:lnTo>
                  <a:pt x="580" y="2029"/>
                </a:lnTo>
                <a:lnTo>
                  <a:pt x="577" y="2022"/>
                </a:lnTo>
                <a:lnTo>
                  <a:pt x="575" y="2014"/>
                </a:lnTo>
                <a:lnTo>
                  <a:pt x="572" y="2005"/>
                </a:lnTo>
                <a:lnTo>
                  <a:pt x="569" y="1996"/>
                </a:lnTo>
                <a:lnTo>
                  <a:pt x="568" y="1988"/>
                </a:lnTo>
                <a:lnTo>
                  <a:pt x="566" y="1979"/>
                </a:lnTo>
                <a:lnTo>
                  <a:pt x="565" y="1970"/>
                </a:lnTo>
                <a:lnTo>
                  <a:pt x="565" y="1961"/>
                </a:lnTo>
                <a:lnTo>
                  <a:pt x="565" y="1952"/>
                </a:lnTo>
                <a:lnTo>
                  <a:pt x="566" y="1932"/>
                </a:lnTo>
                <a:lnTo>
                  <a:pt x="567" y="1923"/>
                </a:lnTo>
                <a:lnTo>
                  <a:pt x="568" y="1914"/>
                </a:lnTo>
                <a:lnTo>
                  <a:pt x="571" y="1905"/>
                </a:lnTo>
                <a:lnTo>
                  <a:pt x="573" y="1896"/>
                </a:lnTo>
                <a:lnTo>
                  <a:pt x="575" y="1886"/>
                </a:lnTo>
                <a:lnTo>
                  <a:pt x="578" y="1878"/>
                </a:lnTo>
                <a:lnTo>
                  <a:pt x="581" y="1869"/>
                </a:lnTo>
                <a:lnTo>
                  <a:pt x="585" y="1861"/>
                </a:lnTo>
                <a:lnTo>
                  <a:pt x="589" y="1853"/>
                </a:lnTo>
                <a:lnTo>
                  <a:pt x="593" y="1845"/>
                </a:lnTo>
                <a:lnTo>
                  <a:pt x="597" y="1838"/>
                </a:lnTo>
                <a:lnTo>
                  <a:pt x="602" y="1829"/>
                </a:lnTo>
                <a:lnTo>
                  <a:pt x="612" y="1815"/>
                </a:lnTo>
                <a:lnTo>
                  <a:pt x="617" y="1809"/>
                </a:lnTo>
                <a:lnTo>
                  <a:pt x="623" y="1803"/>
                </a:lnTo>
                <a:lnTo>
                  <a:pt x="636" y="1791"/>
                </a:lnTo>
                <a:lnTo>
                  <a:pt x="643" y="1786"/>
                </a:lnTo>
                <a:lnTo>
                  <a:pt x="650" y="1781"/>
                </a:lnTo>
                <a:lnTo>
                  <a:pt x="656" y="1777"/>
                </a:lnTo>
                <a:lnTo>
                  <a:pt x="663" y="1773"/>
                </a:lnTo>
                <a:lnTo>
                  <a:pt x="671" y="1768"/>
                </a:lnTo>
                <a:lnTo>
                  <a:pt x="678" y="1765"/>
                </a:lnTo>
                <a:lnTo>
                  <a:pt x="686" y="1762"/>
                </a:lnTo>
                <a:lnTo>
                  <a:pt x="694" y="1760"/>
                </a:lnTo>
                <a:lnTo>
                  <a:pt x="702" y="1758"/>
                </a:lnTo>
                <a:lnTo>
                  <a:pt x="710" y="1757"/>
                </a:lnTo>
                <a:lnTo>
                  <a:pt x="719" y="1756"/>
                </a:lnTo>
                <a:lnTo>
                  <a:pt x="727" y="1756"/>
                </a:lnTo>
                <a:lnTo>
                  <a:pt x="737" y="1756"/>
                </a:lnTo>
                <a:lnTo>
                  <a:pt x="742" y="1757"/>
                </a:lnTo>
                <a:lnTo>
                  <a:pt x="747" y="1758"/>
                </a:lnTo>
                <a:lnTo>
                  <a:pt x="752" y="1759"/>
                </a:lnTo>
                <a:lnTo>
                  <a:pt x="757" y="1760"/>
                </a:lnTo>
                <a:lnTo>
                  <a:pt x="765" y="1763"/>
                </a:lnTo>
                <a:lnTo>
                  <a:pt x="773" y="1767"/>
                </a:lnTo>
                <a:lnTo>
                  <a:pt x="780" y="1773"/>
                </a:lnTo>
                <a:lnTo>
                  <a:pt x="787" y="1778"/>
                </a:lnTo>
                <a:lnTo>
                  <a:pt x="793" y="1784"/>
                </a:lnTo>
                <a:lnTo>
                  <a:pt x="796" y="1787"/>
                </a:lnTo>
                <a:lnTo>
                  <a:pt x="798" y="1791"/>
                </a:lnTo>
                <a:lnTo>
                  <a:pt x="803" y="1798"/>
                </a:lnTo>
                <a:lnTo>
                  <a:pt x="807" y="1806"/>
                </a:lnTo>
                <a:lnTo>
                  <a:pt x="812" y="1814"/>
                </a:lnTo>
                <a:lnTo>
                  <a:pt x="814" y="1823"/>
                </a:lnTo>
                <a:lnTo>
                  <a:pt x="816" y="1833"/>
                </a:lnTo>
                <a:lnTo>
                  <a:pt x="817" y="1842"/>
                </a:lnTo>
                <a:lnTo>
                  <a:pt x="818" y="1852"/>
                </a:lnTo>
                <a:lnTo>
                  <a:pt x="817" y="1865"/>
                </a:lnTo>
                <a:lnTo>
                  <a:pt x="816" y="1871"/>
                </a:lnTo>
                <a:lnTo>
                  <a:pt x="814" y="1877"/>
                </a:lnTo>
                <a:lnTo>
                  <a:pt x="811" y="1889"/>
                </a:lnTo>
                <a:lnTo>
                  <a:pt x="805" y="1902"/>
                </a:lnTo>
                <a:lnTo>
                  <a:pt x="799" y="1913"/>
                </a:lnTo>
                <a:lnTo>
                  <a:pt x="791" y="1923"/>
                </a:lnTo>
                <a:lnTo>
                  <a:pt x="787" y="1928"/>
                </a:lnTo>
                <a:lnTo>
                  <a:pt x="783" y="1933"/>
                </a:lnTo>
                <a:lnTo>
                  <a:pt x="774" y="1943"/>
                </a:lnTo>
                <a:lnTo>
                  <a:pt x="764" y="1952"/>
                </a:lnTo>
                <a:lnTo>
                  <a:pt x="758" y="1956"/>
                </a:lnTo>
                <a:lnTo>
                  <a:pt x="753" y="1960"/>
                </a:lnTo>
                <a:lnTo>
                  <a:pt x="741" y="1966"/>
                </a:lnTo>
                <a:lnTo>
                  <a:pt x="729" y="1972"/>
                </a:lnTo>
                <a:lnTo>
                  <a:pt x="717" y="1976"/>
                </a:lnTo>
                <a:lnTo>
                  <a:pt x="711" y="1978"/>
                </a:lnTo>
                <a:lnTo>
                  <a:pt x="705" y="1980"/>
                </a:lnTo>
                <a:lnTo>
                  <a:pt x="698" y="1981"/>
                </a:lnTo>
                <a:lnTo>
                  <a:pt x="692" y="1982"/>
                </a:lnTo>
                <a:lnTo>
                  <a:pt x="679" y="1982"/>
                </a:lnTo>
                <a:lnTo>
                  <a:pt x="673" y="1982"/>
                </a:lnTo>
                <a:lnTo>
                  <a:pt x="668" y="1980"/>
                </a:lnTo>
                <a:lnTo>
                  <a:pt x="664" y="1977"/>
                </a:lnTo>
                <a:lnTo>
                  <a:pt x="662" y="1975"/>
                </a:lnTo>
                <a:lnTo>
                  <a:pt x="660" y="1973"/>
                </a:lnTo>
                <a:lnTo>
                  <a:pt x="657" y="1969"/>
                </a:lnTo>
                <a:lnTo>
                  <a:pt x="654" y="1963"/>
                </a:lnTo>
                <a:lnTo>
                  <a:pt x="653" y="1961"/>
                </a:lnTo>
                <a:lnTo>
                  <a:pt x="653" y="1958"/>
                </a:lnTo>
                <a:lnTo>
                  <a:pt x="652" y="1950"/>
                </a:lnTo>
                <a:lnTo>
                  <a:pt x="652" y="1947"/>
                </a:lnTo>
                <a:lnTo>
                  <a:pt x="653" y="1945"/>
                </a:lnTo>
                <a:lnTo>
                  <a:pt x="654" y="1940"/>
                </a:lnTo>
                <a:lnTo>
                  <a:pt x="655" y="1938"/>
                </a:lnTo>
                <a:lnTo>
                  <a:pt x="656" y="1936"/>
                </a:lnTo>
                <a:lnTo>
                  <a:pt x="658" y="1934"/>
                </a:lnTo>
                <a:lnTo>
                  <a:pt x="659" y="1933"/>
                </a:lnTo>
                <a:lnTo>
                  <a:pt x="670" y="1931"/>
                </a:lnTo>
                <a:lnTo>
                  <a:pt x="681" y="1928"/>
                </a:lnTo>
                <a:lnTo>
                  <a:pt x="692" y="1925"/>
                </a:lnTo>
                <a:lnTo>
                  <a:pt x="701" y="1921"/>
                </a:lnTo>
                <a:lnTo>
                  <a:pt x="711" y="1917"/>
                </a:lnTo>
                <a:lnTo>
                  <a:pt x="719" y="1911"/>
                </a:lnTo>
                <a:lnTo>
                  <a:pt x="727" y="1906"/>
                </a:lnTo>
                <a:lnTo>
                  <a:pt x="731" y="1903"/>
                </a:lnTo>
                <a:lnTo>
                  <a:pt x="734" y="1900"/>
                </a:lnTo>
                <a:lnTo>
                  <a:pt x="741" y="1894"/>
                </a:lnTo>
                <a:lnTo>
                  <a:pt x="746" y="1886"/>
                </a:lnTo>
                <a:lnTo>
                  <a:pt x="752" y="1880"/>
                </a:lnTo>
                <a:lnTo>
                  <a:pt x="756" y="1873"/>
                </a:lnTo>
                <a:lnTo>
                  <a:pt x="760" y="1866"/>
                </a:lnTo>
                <a:lnTo>
                  <a:pt x="762" y="1859"/>
                </a:lnTo>
                <a:lnTo>
                  <a:pt x="764" y="1852"/>
                </a:lnTo>
                <a:lnTo>
                  <a:pt x="764" y="1845"/>
                </a:lnTo>
                <a:lnTo>
                  <a:pt x="763" y="1837"/>
                </a:lnTo>
                <a:lnTo>
                  <a:pt x="761" y="1828"/>
                </a:lnTo>
                <a:lnTo>
                  <a:pt x="760" y="1825"/>
                </a:lnTo>
                <a:lnTo>
                  <a:pt x="758" y="1822"/>
                </a:lnTo>
                <a:lnTo>
                  <a:pt x="756" y="1819"/>
                </a:lnTo>
                <a:lnTo>
                  <a:pt x="753" y="1817"/>
                </a:lnTo>
                <a:lnTo>
                  <a:pt x="747" y="1812"/>
                </a:lnTo>
                <a:lnTo>
                  <a:pt x="743" y="1811"/>
                </a:lnTo>
                <a:lnTo>
                  <a:pt x="740" y="1809"/>
                </a:lnTo>
                <a:lnTo>
                  <a:pt x="732" y="1807"/>
                </a:lnTo>
                <a:lnTo>
                  <a:pt x="728" y="1807"/>
                </a:lnTo>
                <a:lnTo>
                  <a:pt x="723" y="1807"/>
                </a:lnTo>
                <a:lnTo>
                  <a:pt x="714" y="1807"/>
                </a:lnTo>
                <a:lnTo>
                  <a:pt x="710" y="1808"/>
                </a:lnTo>
                <a:lnTo>
                  <a:pt x="705" y="1810"/>
                </a:lnTo>
                <a:lnTo>
                  <a:pt x="701" y="1811"/>
                </a:lnTo>
                <a:lnTo>
                  <a:pt x="696" y="1813"/>
                </a:lnTo>
                <a:lnTo>
                  <a:pt x="692" y="1815"/>
                </a:lnTo>
                <a:lnTo>
                  <a:pt x="687" y="1818"/>
                </a:lnTo>
                <a:lnTo>
                  <a:pt x="682" y="1821"/>
                </a:lnTo>
                <a:lnTo>
                  <a:pt x="678" y="1824"/>
                </a:lnTo>
                <a:lnTo>
                  <a:pt x="670" y="1832"/>
                </a:lnTo>
                <a:lnTo>
                  <a:pt x="662" y="1840"/>
                </a:lnTo>
                <a:lnTo>
                  <a:pt x="655" y="1849"/>
                </a:lnTo>
                <a:lnTo>
                  <a:pt x="651" y="1854"/>
                </a:lnTo>
                <a:lnTo>
                  <a:pt x="648" y="1859"/>
                </a:lnTo>
                <a:lnTo>
                  <a:pt x="642" y="1870"/>
                </a:lnTo>
                <a:lnTo>
                  <a:pt x="636" y="1881"/>
                </a:lnTo>
                <a:lnTo>
                  <a:pt x="631" y="1894"/>
                </a:lnTo>
                <a:lnTo>
                  <a:pt x="626" y="1907"/>
                </a:lnTo>
                <a:lnTo>
                  <a:pt x="624" y="1920"/>
                </a:lnTo>
                <a:lnTo>
                  <a:pt x="622" y="1934"/>
                </a:lnTo>
                <a:lnTo>
                  <a:pt x="621" y="1941"/>
                </a:lnTo>
                <a:lnTo>
                  <a:pt x="621" y="1948"/>
                </a:lnTo>
                <a:lnTo>
                  <a:pt x="622" y="1962"/>
                </a:lnTo>
                <a:lnTo>
                  <a:pt x="623" y="1974"/>
                </a:lnTo>
                <a:lnTo>
                  <a:pt x="625" y="1986"/>
                </a:lnTo>
                <a:lnTo>
                  <a:pt x="627" y="1991"/>
                </a:lnTo>
                <a:lnTo>
                  <a:pt x="628" y="1997"/>
                </a:lnTo>
                <a:lnTo>
                  <a:pt x="633" y="2007"/>
                </a:lnTo>
                <a:lnTo>
                  <a:pt x="635" y="2013"/>
                </a:lnTo>
                <a:lnTo>
                  <a:pt x="637" y="2018"/>
                </a:lnTo>
                <a:lnTo>
                  <a:pt x="640" y="2023"/>
                </a:lnTo>
                <a:lnTo>
                  <a:pt x="642" y="2027"/>
                </a:lnTo>
                <a:lnTo>
                  <a:pt x="645" y="2031"/>
                </a:lnTo>
                <a:lnTo>
                  <a:pt x="648" y="2035"/>
                </a:lnTo>
                <a:lnTo>
                  <a:pt x="652" y="2039"/>
                </a:lnTo>
                <a:lnTo>
                  <a:pt x="655" y="2043"/>
                </a:lnTo>
                <a:lnTo>
                  <a:pt x="662" y="2050"/>
                </a:lnTo>
                <a:lnTo>
                  <a:pt x="670" y="2055"/>
                </a:lnTo>
                <a:lnTo>
                  <a:pt x="679" y="2060"/>
                </a:lnTo>
                <a:lnTo>
                  <a:pt x="688" y="2064"/>
                </a:lnTo>
                <a:lnTo>
                  <a:pt x="698" y="2067"/>
                </a:lnTo>
                <a:lnTo>
                  <a:pt x="708" y="2068"/>
                </a:lnTo>
                <a:lnTo>
                  <a:pt x="714" y="2069"/>
                </a:lnTo>
                <a:lnTo>
                  <a:pt x="719" y="2069"/>
                </a:lnTo>
                <a:lnTo>
                  <a:pt x="730" y="2068"/>
                </a:lnTo>
                <a:lnTo>
                  <a:pt x="740" y="2067"/>
                </a:lnTo>
                <a:lnTo>
                  <a:pt x="751" y="2064"/>
                </a:lnTo>
                <a:lnTo>
                  <a:pt x="760" y="2061"/>
                </a:lnTo>
                <a:lnTo>
                  <a:pt x="770" y="2057"/>
                </a:lnTo>
                <a:lnTo>
                  <a:pt x="779" y="2052"/>
                </a:lnTo>
                <a:lnTo>
                  <a:pt x="787" y="2046"/>
                </a:lnTo>
                <a:lnTo>
                  <a:pt x="795" y="2039"/>
                </a:lnTo>
                <a:lnTo>
                  <a:pt x="803" y="2032"/>
                </a:lnTo>
                <a:lnTo>
                  <a:pt x="812" y="2024"/>
                </a:lnTo>
                <a:lnTo>
                  <a:pt x="819" y="2016"/>
                </a:lnTo>
                <a:lnTo>
                  <a:pt x="826" y="2006"/>
                </a:lnTo>
                <a:lnTo>
                  <a:pt x="839" y="1986"/>
                </a:lnTo>
                <a:lnTo>
                  <a:pt x="845" y="1976"/>
                </a:lnTo>
                <a:lnTo>
                  <a:pt x="851" y="1965"/>
                </a:lnTo>
                <a:lnTo>
                  <a:pt x="856" y="1954"/>
                </a:lnTo>
                <a:lnTo>
                  <a:pt x="861" y="1942"/>
                </a:lnTo>
                <a:lnTo>
                  <a:pt x="865" y="1930"/>
                </a:lnTo>
                <a:lnTo>
                  <a:pt x="869" y="1919"/>
                </a:lnTo>
                <a:lnTo>
                  <a:pt x="874" y="1907"/>
                </a:lnTo>
                <a:lnTo>
                  <a:pt x="877" y="1895"/>
                </a:lnTo>
                <a:lnTo>
                  <a:pt x="880" y="1882"/>
                </a:lnTo>
                <a:lnTo>
                  <a:pt x="883" y="1870"/>
                </a:lnTo>
                <a:lnTo>
                  <a:pt x="885" y="1858"/>
                </a:lnTo>
                <a:lnTo>
                  <a:pt x="887" y="1846"/>
                </a:lnTo>
                <a:lnTo>
                  <a:pt x="889" y="1834"/>
                </a:lnTo>
                <a:lnTo>
                  <a:pt x="890" y="1822"/>
                </a:lnTo>
                <a:lnTo>
                  <a:pt x="890" y="1810"/>
                </a:lnTo>
                <a:lnTo>
                  <a:pt x="891" y="1799"/>
                </a:lnTo>
                <a:lnTo>
                  <a:pt x="891" y="1788"/>
                </a:lnTo>
                <a:lnTo>
                  <a:pt x="890" y="1778"/>
                </a:lnTo>
                <a:lnTo>
                  <a:pt x="891" y="1776"/>
                </a:lnTo>
                <a:lnTo>
                  <a:pt x="893" y="1773"/>
                </a:lnTo>
                <a:lnTo>
                  <a:pt x="895" y="1770"/>
                </a:lnTo>
                <a:lnTo>
                  <a:pt x="898" y="1769"/>
                </a:lnTo>
                <a:lnTo>
                  <a:pt x="904" y="1766"/>
                </a:lnTo>
                <a:lnTo>
                  <a:pt x="908" y="1765"/>
                </a:lnTo>
                <a:lnTo>
                  <a:pt x="912" y="1765"/>
                </a:lnTo>
                <a:lnTo>
                  <a:pt x="920" y="1765"/>
                </a:lnTo>
                <a:lnTo>
                  <a:pt x="923" y="1766"/>
                </a:lnTo>
                <a:lnTo>
                  <a:pt x="926" y="1767"/>
                </a:lnTo>
                <a:lnTo>
                  <a:pt x="933" y="1770"/>
                </a:lnTo>
                <a:lnTo>
                  <a:pt x="935" y="1773"/>
                </a:lnTo>
                <a:lnTo>
                  <a:pt x="938" y="1775"/>
                </a:lnTo>
                <a:lnTo>
                  <a:pt x="942" y="1781"/>
                </a:lnTo>
                <a:lnTo>
                  <a:pt x="943" y="1784"/>
                </a:lnTo>
                <a:lnTo>
                  <a:pt x="945" y="1788"/>
                </a:lnTo>
                <a:lnTo>
                  <a:pt x="946" y="1793"/>
                </a:lnTo>
                <a:lnTo>
                  <a:pt x="947" y="1797"/>
                </a:lnTo>
                <a:lnTo>
                  <a:pt x="947" y="1803"/>
                </a:lnTo>
                <a:lnTo>
                  <a:pt x="947" y="1809"/>
                </a:lnTo>
                <a:lnTo>
                  <a:pt x="947" y="1824"/>
                </a:lnTo>
                <a:lnTo>
                  <a:pt x="946" y="1841"/>
                </a:lnTo>
                <a:lnTo>
                  <a:pt x="944" y="1856"/>
                </a:lnTo>
                <a:lnTo>
                  <a:pt x="942" y="1871"/>
                </a:lnTo>
                <a:lnTo>
                  <a:pt x="940" y="1886"/>
                </a:lnTo>
                <a:lnTo>
                  <a:pt x="937" y="1902"/>
                </a:lnTo>
                <a:lnTo>
                  <a:pt x="933" y="1916"/>
                </a:lnTo>
                <a:lnTo>
                  <a:pt x="928" y="1930"/>
                </a:lnTo>
                <a:lnTo>
                  <a:pt x="924" y="1944"/>
                </a:lnTo>
                <a:lnTo>
                  <a:pt x="919" y="1959"/>
                </a:lnTo>
                <a:lnTo>
                  <a:pt x="914" y="1972"/>
                </a:lnTo>
                <a:lnTo>
                  <a:pt x="908" y="1985"/>
                </a:lnTo>
                <a:lnTo>
                  <a:pt x="902" y="1997"/>
                </a:lnTo>
                <a:lnTo>
                  <a:pt x="896" y="2009"/>
                </a:lnTo>
                <a:lnTo>
                  <a:pt x="889" y="2022"/>
                </a:lnTo>
                <a:lnTo>
                  <a:pt x="881" y="2033"/>
                </a:lnTo>
                <a:lnTo>
                  <a:pt x="874" y="2043"/>
                </a:lnTo>
                <a:lnTo>
                  <a:pt x="865" y="2054"/>
                </a:lnTo>
                <a:lnTo>
                  <a:pt x="856" y="2063"/>
                </a:lnTo>
                <a:lnTo>
                  <a:pt x="848" y="2073"/>
                </a:lnTo>
                <a:lnTo>
                  <a:pt x="839" y="2082"/>
                </a:lnTo>
                <a:lnTo>
                  <a:pt x="829" y="2090"/>
                </a:lnTo>
                <a:lnTo>
                  <a:pt x="819" y="2097"/>
                </a:lnTo>
                <a:lnTo>
                  <a:pt x="808" y="2103"/>
                </a:lnTo>
                <a:lnTo>
                  <a:pt x="798" y="2109"/>
                </a:lnTo>
                <a:lnTo>
                  <a:pt x="787" y="2114"/>
                </a:lnTo>
                <a:lnTo>
                  <a:pt x="777" y="2119"/>
                </a:lnTo>
                <a:lnTo>
                  <a:pt x="765" y="2122"/>
                </a:lnTo>
                <a:lnTo>
                  <a:pt x="754" y="2125"/>
                </a:lnTo>
                <a:lnTo>
                  <a:pt x="741" y="2127"/>
                </a:lnTo>
                <a:lnTo>
                  <a:pt x="729" y="2129"/>
                </a:lnTo>
                <a:lnTo>
                  <a:pt x="717" y="2129"/>
                </a:lnTo>
                <a:close/>
                <a:moveTo>
                  <a:pt x="1104" y="2123"/>
                </a:moveTo>
                <a:lnTo>
                  <a:pt x="1102" y="2123"/>
                </a:lnTo>
                <a:lnTo>
                  <a:pt x="1100" y="2123"/>
                </a:lnTo>
                <a:lnTo>
                  <a:pt x="1095" y="2120"/>
                </a:lnTo>
                <a:lnTo>
                  <a:pt x="1088" y="2116"/>
                </a:lnTo>
                <a:lnTo>
                  <a:pt x="1081" y="2110"/>
                </a:lnTo>
                <a:lnTo>
                  <a:pt x="1068" y="2099"/>
                </a:lnTo>
                <a:lnTo>
                  <a:pt x="1053" y="2085"/>
                </a:lnTo>
                <a:lnTo>
                  <a:pt x="1036" y="2068"/>
                </a:lnTo>
                <a:lnTo>
                  <a:pt x="1019" y="2051"/>
                </a:lnTo>
                <a:lnTo>
                  <a:pt x="1003" y="2034"/>
                </a:lnTo>
                <a:lnTo>
                  <a:pt x="988" y="2018"/>
                </a:lnTo>
                <a:lnTo>
                  <a:pt x="977" y="2003"/>
                </a:lnTo>
                <a:lnTo>
                  <a:pt x="972" y="1997"/>
                </a:lnTo>
                <a:lnTo>
                  <a:pt x="969" y="1991"/>
                </a:lnTo>
                <a:lnTo>
                  <a:pt x="964" y="1981"/>
                </a:lnTo>
                <a:lnTo>
                  <a:pt x="960" y="1971"/>
                </a:lnTo>
                <a:lnTo>
                  <a:pt x="958" y="1962"/>
                </a:lnTo>
                <a:lnTo>
                  <a:pt x="957" y="1952"/>
                </a:lnTo>
                <a:lnTo>
                  <a:pt x="957" y="1945"/>
                </a:lnTo>
                <a:lnTo>
                  <a:pt x="958" y="1940"/>
                </a:lnTo>
                <a:lnTo>
                  <a:pt x="959" y="1934"/>
                </a:lnTo>
                <a:lnTo>
                  <a:pt x="961" y="1928"/>
                </a:lnTo>
                <a:lnTo>
                  <a:pt x="964" y="1922"/>
                </a:lnTo>
                <a:lnTo>
                  <a:pt x="967" y="1915"/>
                </a:lnTo>
                <a:lnTo>
                  <a:pt x="971" y="1909"/>
                </a:lnTo>
                <a:lnTo>
                  <a:pt x="975" y="1902"/>
                </a:lnTo>
                <a:lnTo>
                  <a:pt x="984" y="1890"/>
                </a:lnTo>
                <a:lnTo>
                  <a:pt x="996" y="1876"/>
                </a:lnTo>
                <a:lnTo>
                  <a:pt x="1026" y="1842"/>
                </a:lnTo>
                <a:lnTo>
                  <a:pt x="1061" y="1802"/>
                </a:lnTo>
                <a:lnTo>
                  <a:pt x="1096" y="1761"/>
                </a:lnTo>
                <a:lnTo>
                  <a:pt x="1097" y="1761"/>
                </a:lnTo>
                <a:lnTo>
                  <a:pt x="1101" y="1760"/>
                </a:lnTo>
                <a:lnTo>
                  <a:pt x="1104" y="1761"/>
                </a:lnTo>
                <a:lnTo>
                  <a:pt x="1108" y="1762"/>
                </a:lnTo>
                <a:lnTo>
                  <a:pt x="1114" y="1764"/>
                </a:lnTo>
                <a:lnTo>
                  <a:pt x="1118" y="1766"/>
                </a:lnTo>
                <a:lnTo>
                  <a:pt x="1122" y="1769"/>
                </a:lnTo>
                <a:lnTo>
                  <a:pt x="1126" y="1774"/>
                </a:lnTo>
                <a:lnTo>
                  <a:pt x="1130" y="1778"/>
                </a:lnTo>
                <a:lnTo>
                  <a:pt x="1132" y="1783"/>
                </a:lnTo>
                <a:lnTo>
                  <a:pt x="1134" y="1788"/>
                </a:lnTo>
                <a:lnTo>
                  <a:pt x="1134" y="1793"/>
                </a:lnTo>
                <a:lnTo>
                  <a:pt x="1134" y="1798"/>
                </a:lnTo>
                <a:lnTo>
                  <a:pt x="1132" y="1803"/>
                </a:lnTo>
                <a:lnTo>
                  <a:pt x="1129" y="1809"/>
                </a:lnTo>
                <a:lnTo>
                  <a:pt x="1125" y="1815"/>
                </a:lnTo>
                <a:lnTo>
                  <a:pt x="1117" y="1825"/>
                </a:lnTo>
                <a:lnTo>
                  <a:pt x="1105" y="1840"/>
                </a:lnTo>
                <a:lnTo>
                  <a:pt x="1076" y="1873"/>
                </a:lnTo>
                <a:lnTo>
                  <a:pt x="1045" y="1907"/>
                </a:lnTo>
                <a:lnTo>
                  <a:pt x="1033" y="1921"/>
                </a:lnTo>
                <a:lnTo>
                  <a:pt x="1024" y="1933"/>
                </a:lnTo>
                <a:lnTo>
                  <a:pt x="1021" y="1937"/>
                </a:lnTo>
                <a:lnTo>
                  <a:pt x="1019" y="1940"/>
                </a:lnTo>
                <a:lnTo>
                  <a:pt x="1018" y="1944"/>
                </a:lnTo>
                <a:lnTo>
                  <a:pt x="1018" y="1948"/>
                </a:lnTo>
                <a:lnTo>
                  <a:pt x="1018" y="1953"/>
                </a:lnTo>
                <a:lnTo>
                  <a:pt x="1020" y="1957"/>
                </a:lnTo>
                <a:lnTo>
                  <a:pt x="1022" y="1962"/>
                </a:lnTo>
                <a:lnTo>
                  <a:pt x="1025" y="1967"/>
                </a:lnTo>
                <a:lnTo>
                  <a:pt x="1032" y="1976"/>
                </a:lnTo>
                <a:lnTo>
                  <a:pt x="1043" y="1987"/>
                </a:lnTo>
                <a:lnTo>
                  <a:pt x="1071" y="2017"/>
                </a:lnTo>
                <a:lnTo>
                  <a:pt x="1103" y="2050"/>
                </a:lnTo>
                <a:lnTo>
                  <a:pt x="1135" y="2081"/>
                </a:lnTo>
                <a:lnTo>
                  <a:pt x="1137" y="2083"/>
                </a:lnTo>
                <a:lnTo>
                  <a:pt x="1138" y="2085"/>
                </a:lnTo>
                <a:lnTo>
                  <a:pt x="1139" y="2087"/>
                </a:lnTo>
                <a:lnTo>
                  <a:pt x="1139" y="2090"/>
                </a:lnTo>
                <a:lnTo>
                  <a:pt x="1139" y="2095"/>
                </a:lnTo>
                <a:lnTo>
                  <a:pt x="1138" y="2098"/>
                </a:lnTo>
                <a:lnTo>
                  <a:pt x="1136" y="2101"/>
                </a:lnTo>
                <a:lnTo>
                  <a:pt x="1133" y="2107"/>
                </a:lnTo>
                <a:lnTo>
                  <a:pt x="1130" y="2109"/>
                </a:lnTo>
                <a:lnTo>
                  <a:pt x="1128" y="2112"/>
                </a:lnTo>
                <a:lnTo>
                  <a:pt x="1123" y="2116"/>
                </a:lnTo>
                <a:lnTo>
                  <a:pt x="1120" y="2118"/>
                </a:lnTo>
                <a:lnTo>
                  <a:pt x="1117" y="2120"/>
                </a:lnTo>
                <a:lnTo>
                  <a:pt x="1111" y="2123"/>
                </a:lnTo>
                <a:lnTo>
                  <a:pt x="1107" y="2123"/>
                </a:lnTo>
                <a:lnTo>
                  <a:pt x="1104" y="2123"/>
                </a:lnTo>
                <a:close/>
                <a:moveTo>
                  <a:pt x="717" y="3095"/>
                </a:moveTo>
                <a:lnTo>
                  <a:pt x="710" y="3094"/>
                </a:lnTo>
                <a:lnTo>
                  <a:pt x="702" y="3094"/>
                </a:lnTo>
                <a:lnTo>
                  <a:pt x="694" y="3093"/>
                </a:lnTo>
                <a:lnTo>
                  <a:pt x="686" y="3090"/>
                </a:lnTo>
                <a:lnTo>
                  <a:pt x="679" y="3088"/>
                </a:lnTo>
                <a:lnTo>
                  <a:pt x="672" y="3086"/>
                </a:lnTo>
                <a:lnTo>
                  <a:pt x="658" y="3080"/>
                </a:lnTo>
                <a:lnTo>
                  <a:pt x="645" y="3073"/>
                </a:lnTo>
                <a:lnTo>
                  <a:pt x="639" y="3069"/>
                </a:lnTo>
                <a:lnTo>
                  <a:pt x="633" y="3064"/>
                </a:lnTo>
                <a:lnTo>
                  <a:pt x="626" y="3059"/>
                </a:lnTo>
                <a:lnTo>
                  <a:pt x="620" y="3054"/>
                </a:lnTo>
                <a:lnTo>
                  <a:pt x="615" y="3049"/>
                </a:lnTo>
                <a:lnTo>
                  <a:pt x="610" y="3043"/>
                </a:lnTo>
                <a:lnTo>
                  <a:pt x="605" y="3037"/>
                </a:lnTo>
                <a:lnTo>
                  <a:pt x="600" y="3029"/>
                </a:lnTo>
                <a:lnTo>
                  <a:pt x="595" y="3023"/>
                </a:lnTo>
                <a:lnTo>
                  <a:pt x="591" y="3016"/>
                </a:lnTo>
                <a:lnTo>
                  <a:pt x="587" y="3009"/>
                </a:lnTo>
                <a:lnTo>
                  <a:pt x="584" y="3001"/>
                </a:lnTo>
                <a:lnTo>
                  <a:pt x="580" y="2994"/>
                </a:lnTo>
                <a:lnTo>
                  <a:pt x="577" y="2986"/>
                </a:lnTo>
                <a:lnTo>
                  <a:pt x="575" y="2978"/>
                </a:lnTo>
                <a:lnTo>
                  <a:pt x="572" y="2969"/>
                </a:lnTo>
                <a:lnTo>
                  <a:pt x="569" y="2961"/>
                </a:lnTo>
                <a:lnTo>
                  <a:pt x="568" y="2952"/>
                </a:lnTo>
                <a:lnTo>
                  <a:pt x="566" y="2943"/>
                </a:lnTo>
                <a:lnTo>
                  <a:pt x="565" y="2934"/>
                </a:lnTo>
                <a:lnTo>
                  <a:pt x="565" y="2925"/>
                </a:lnTo>
                <a:lnTo>
                  <a:pt x="565" y="2916"/>
                </a:lnTo>
                <a:lnTo>
                  <a:pt x="566" y="2897"/>
                </a:lnTo>
                <a:lnTo>
                  <a:pt x="567" y="2887"/>
                </a:lnTo>
                <a:lnTo>
                  <a:pt x="568" y="2878"/>
                </a:lnTo>
                <a:lnTo>
                  <a:pt x="571" y="2869"/>
                </a:lnTo>
                <a:lnTo>
                  <a:pt x="573" y="2860"/>
                </a:lnTo>
                <a:lnTo>
                  <a:pt x="575" y="2852"/>
                </a:lnTo>
                <a:lnTo>
                  <a:pt x="578" y="2842"/>
                </a:lnTo>
                <a:lnTo>
                  <a:pt x="581" y="2834"/>
                </a:lnTo>
                <a:lnTo>
                  <a:pt x="585" y="2825"/>
                </a:lnTo>
                <a:lnTo>
                  <a:pt x="589" y="2817"/>
                </a:lnTo>
                <a:lnTo>
                  <a:pt x="593" y="2810"/>
                </a:lnTo>
                <a:lnTo>
                  <a:pt x="597" y="2802"/>
                </a:lnTo>
                <a:lnTo>
                  <a:pt x="602" y="2795"/>
                </a:lnTo>
                <a:lnTo>
                  <a:pt x="612" y="2780"/>
                </a:lnTo>
                <a:lnTo>
                  <a:pt x="617" y="2773"/>
                </a:lnTo>
                <a:lnTo>
                  <a:pt x="623" y="2767"/>
                </a:lnTo>
                <a:lnTo>
                  <a:pt x="636" y="2756"/>
                </a:lnTo>
                <a:lnTo>
                  <a:pt x="643" y="2751"/>
                </a:lnTo>
                <a:lnTo>
                  <a:pt x="650" y="2746"/>
                </a:lnTo>
                <a:lnTo>
                  <a:pt x="656" y="2741"/>
                </a:lnTo>
                <a:lnTo>
                  <a:pt x="663" y="2737"/>
                </a:lnTo>
                <a:lnTo>
                  <a:pt x="671" y="2734"/>
                </a:lnTo>
                <a:lnTo>
                  <a:pt x="678" y="2730"/>
                </a:lnTo>
                <a:lnTo>
                  <a:pt x="686" y="2727"/>
                </a:lnTo>
                <a:lnTo>
                  <a:pt x="694" y="2725"/>
                </a:lnTo>
                <a:lnTo>
                  <a:pt x="702" y="2723"/>
                </a:lnTo>
                <a:lnTo>
                  <a:pt x="710" y="2721"/>
                </a:lnTo>
                <a:lnTo>
                  <a:pt x="719" y="2721"/>
                </a:lnTo>
                <a:lnTo>
                  <a:pt x="727" y="2720"/>
                </a:lnTo>
                <a:lnTo>
                  <a:pt x="737" y="2721"/>
                </a:lnTo>
                <a:lnTo>
                  <a:pt x="742" y="2721"/>
                </a:lnTo>
                <a:lnTo>
                  <a:pt x="747" y="2722"/>
                </a:lnTo>
                <a:lnTo>
                  <a:pt x="752" y="2723"/>
                </a:lnTo>
                <a:lnTo>
                  <a:pt x="757" y="2725"/>
                </a:lnTo>
                <a:lnTo>
                  <a:pt x="765" y="2728"/>
                </a:lnTo>
                <a:lnTo>
                  <a:pt x="773" y="2733"/>
                </a:lnTo>
                <a:lnTo>
                  <a:pt x="780" y="2737"/>
                </a:lnTo>
                <a:lnTo>
                  <a:pt x="787" y="2743"/>
                </a:lnTo>
                <a:lnTo>
                  <a:pt x="793" y="2749"/>
                </a:lnTo>
                <a:lnTo>
                  <a:pt x="796" y="2752"/>
                </a:lnTo>
                <a:lnTo>
                  <a:pt x="798" y="2755"/>
                </a:lnTo>
                <a:lnTo>
                  <a:pt x="803" y="2762"/>
                </a:lnTo>
                <a:lnTo>
                  <a:pt x="807" y="2770"/>
                </a:lnTo>
                <a:lnTo>
                  <a:pt x="812" y="2778"/>
                </a:lnTo>
                <a:lnTo>
                  <a:pt x="814" y="2787"/>
                </a:lnTo>
                <a:lnTo>
                  <a:pt x="816" y="2797"/>
                </a:lnTo>
                <a:lnTo>
                  <a:pt x="817" y="2807"/>
                </a:lnTo>
                <a:lnTo>
                  <a:pt x="818" y="2817"/>
                </a:lnTo>
                <a:lnTo>
                  <a:pt x="817" y="2829"/>
                </a:lnTo>
                <a:lnTo>
                  <a:pt x="816" y="2835"/>
                </a:lnTo>
                <a:lnTo>
                  <a:pt x="814" y="2842"/>
                </a:lnTo>
                <a:lnTo>
                  <a:pt x="811" y="2854"/>
                </a:lnTo>
                <a:lnTo>
                  <a:pt x="805" y="2866"/>
                </a:lnTo>
                <a:lnTo>
                  <a:pt x="799" y="2877"/>
                </a:lnTo>
                <a:lnTo>
                  <a:pt x="791" y="2888"/>
                </a:lnTo>
                <a:lnTo>
                  <a:pt x="787" y="2893"/>
                </a:lnTo>
                <a:lnTo>
                  <a:pt x="783" y="2898"/>
                </a:lnTo>
                <a:lnTo>
                  <a:pt x="774" y="2907"/>
                </a:lnTo>
                <a:lnTo>
                  <a:pt x="764" y="2916"/>
                </a:lnTo>
                <a:lnTo>
                  <a:pt x="758" y="2920"/>
                </a:lnTo>
                <a:lnTo>
                  <a:pt x="753" y="2924"/>
                </a:lnTo>
                <a:lnTo>
                  <a:pt x="741" y="2931"/>
                </a:lnTo>
                <a:lnTo>
                  <a:pt x="729" y="2936"/>
                </a:lnTo>
                <a:lnTo>
                  <a:pt x="717" y="2941"/>
                </a:lnTo>
                <a:lnTo>
                  <a:pt x="711" y="2943"/>
                </a:lnTo>
                <a:lnTo>
                  <a:pt x="705" y="2944"/>
                </a:lnTo>
                <a:lnTo>
                  <a:pt x="698" y="2945"/>
                </a:lnTo>
                <a:lnTo>
                  <a:pt x="692" y="2946"/>
                </a:lnTo>
                <a:lnTo>
                  <a:pt x="679" y="2947"/>
                </a:lnTo>
                <a:lnTo>
                  <a:pt x="673" y="2946"/>
                </a:lnTo>
                <a:lnTo>
                  <a:pt x="668" y="2944"/>
                </a:lnTo>
                <a:lnTo>
                  <a:pt x="664" y="2942"/>
                </a:lnTo>
                <a:lnTo>
                  <a:pt x="662" y="2940"/>
                </a:lnTo>
                <a:lnTo>
                  <a:pt x="660" y="2938"/>
                </a:lnTo>
                <a:lnTo>
                  <a:pt x="657" y="2933"/>
                </a:lnTo>
                <a:lnTo>
                  <a:pt x="654" y="2928"/>
                </a:lnTo>
                <a:lnTo>
                  <a:pt x="653" y="2925"/>
                </a:lnTo>
                <a:lnTo>
                  <a:pt x="653" y="2922"/>
                </a:lnTo>
                <a:lnTo>
                  <a:pt x="652" y="2916"/>
                </a:lnTo>
                <a:lnTo>
                  <a:pt x="652" y="2913"/>
                </a:lnTo>
                <a:lnTo>
                  <a:pt x="653" y="2909"/>
                </a:lnTo>
                <a:lnTo>
                  <a:pt x="654" y="2904"/>
                </a:lnTo>
                <a:lnTo>
                  <a:pt x="655" y="2902"/>
                </a:lnTo>
                <a:lnTo>
                  <a:pt x="656" y="2900"/>
                </a:lnTo>
                <a:lnTo>
                  <a:pt x="658" y="2899"/>
                </a:lnTo>
                <a:lnTo>
                  <a:pt x="659" y="2897"/>
                </a:lnTo>
                <a:lnTo>
                  <a:pt x="670" y="2896"/>
                </a:lnTo>
                <a:lnTo>
                  <a:pt x="681" y="2893"/>
                </a:lnTo>
                <a:lnTo>
                  <a:pt x="692" y="2890"/>
                </a:lnTo>
                <a:lnTo>
                  <a:pt x="701" y="2886"/>
                </a:lnTo>
                <a:lnTo>
                  <a:pt x="711" y="2881"/>
                </a:lnTo>
                <a:lnTo>
                  <a:pt x="719" y="2876"/>
                </a:lnTo>
                <a:lnTo>
                  <a:pt x="727" y="2870"/>
                </a:lnTo>
                <a:lnTo>
                  <a:pt x="731" y="2868"/>
                </a:lnTo>
                <a:lnTo>
                  <a:pt x="734" y="2865"/>
                </a:lnTo>
                <a:lnTo>
                  <a:pt x="741" y="2858"/>
                </a:lnTo>
                <a:lnTo>
                  <a:pt x="746" y="2852"/>
                </a:lnTo>
                <a:lnTo>
                  <a:pt x="752" y="2844"/>
                </a:lnTo>
                <a:lnTo>
                  <a:pt x="756" y="2837"/>
                </a:lnTo>
                <a:lnTo>
                  <a:pt x="760" y="2830"/>
                </a:lnTo>
                <a:lnTo>
                  <a:pt x="762" y="2823"/>
                </a:lnTo>
                <a:lnTo>
                  <a:pt x="764" y="2816"/>
                </a:lnTo>
                <a:lnTo>
                  <a:pt x="764" y="2809"/>
                </a:lnTo>
                <a:lnTo>
                  <a:pt x="763" y="2801"/>
                </a:lnTo>
                <a:lnTo>
                  <a:pt x="761" y="2794"/>
                </a:lnTo>
                <a:lnTo>
                  <a:pt x="760" y="2789"/>
                </a:lnTo>
                <a:lnTo>
                  <a:pt x="758" y="2786"/>
                </a:lnTo>
                <a:lnTo>
                  <a:pt x="756" y="2784"/>
                </a:lnTo>
                <a:lnTo>
                  <a:pt x="753" y="2781"/>
                </a:lnTo>
                <a:lnTo>
                  <a:pt x="747" y="2777"/>
                </a:lnTo>
                <a:lnTo>
                  <a:pt x="743" y="2775"/>
                </a:lnTo>
                <a:lnTo>
                  <a:pt x="740" y="2774"/>
                </a:lnTo>
                <a:lnTo>
                  <a:pt x="732" y="2772"/>
                </a:lnTo>
                <a:lnTo>
                  <a:pt x="728" y="2771"/>
                </a:lnTo>
                <a:lnTo>
                  <a:pt x="723" y="2771"/>
                </a:lnTo>
                <a:lnTo>
                  <a:pt x="714" y="2772"/>
                </a:lnTo>
                <a:lnTo>
                  <a:pt x="710" y="2773"/>
                </a:lnTo>
                <a:lnTo>
                  <a:pt x="705" y="2774"/>
                </a:lnTo>
                <a:lnTo>
                  <a:pt x="701" y="2776"/>
                </a:lnTo>
                <a:lnTo>
                  <a:pt x="696" y="2777"/>
                </a:lnTo>
                <a:lnTo>
                  <a:pt x="692" y="2780"/>
                </a:lnTo>
                <a:lnTo>
                  <a:pt x="687" y="2782"/>
                </a:lnTo>
                <a:lnTo>
                  <a:pt x="682" y="2785"/>
                </a:lnTo>
                <a:lnTo>
                  <a:pt x="678" y="2788"/>
                </a:lnTo>
                <a:lnTo>
                  <a:pt x="670" y="2796"/>
                </a:lnTo>
                <a:lnTo>
                  <a:pt x="662" y="2804"/>
                </a:lnTo>
                <a:lnTo>
                  <a:pt x="655" y="2813"/>
                </a:lnTo>
                <a:lnTo>
                  <a:pt x="651" y="2818"/>
                </a:lnTo>
                <a:lnTo>
                  <a:pt x="648" y="2823"/>
                </a:lnTo>
                <a:lnTo>
                  <a:pt x="642" y="2834"/>
                </a:lnTo>
                <a:lnTo>
                  <a:pt x="636" y="2845"/>
                </a:lnTo>
                <a:lnTo>
                  <a:pt x="631" y="2859"/>
                </a:lnTo>
                <a:lnTo>
                  <a:pt x="626" y="2871"/>
                </a:lnTo>
                <a:lnTo>
                  <a:pt x="624" y="2885"/>
                </a:lnTo>
                <a:lnTo>
                  <a:pt x="622" y="2899"/>
                </a:lnTo>
                <a:lnTo>
                  <a:pt x="621" y="2906"/>
                </a:lnTo>
                <a:lnTo>
                  <a:pt x="621" y="2914"/>
                </a:lnTo>
                <a:lnTo>
                  <a:pt x="622" y="2926"/>
                </a:lnTo>
                <a:lnTo>
                  <a:pt x="623" y="2939"/>
                </a:lnTo>
                <a:lnTo>
                  <a:pt x="625" y="2950"/>
                </a:lnTo>
                <a:lnTo>
                  <a:pt x="627" y="2956"/>
                </a:lnTo>
                <a:lnTo>
                  <a:pt x="628" y="2961"/>
                </a:lnTo>
                <a:lnTo>
                  <a:pt x="633" y="2973"/>
                </a:lnTo>
                <a:lnTo>
                  <a:pt x="635" y="2978"/>
                </a:lnTo>
                <a:lnTo>
                  <a:pt x="637" y="2983"/>
                </a:lnTo>
                <a:lnTo>
                  <a:pt x="640" y="2987"/>
                </a:lnTo>
                <a:lnTo>
                  <a:pt x="642" y="2992"/>
                </a:lnTo>
                <a:lnTo>
                  <a:pt x="645" y="2996"/>
                </a:lnTo>
                <a:lnTo>
                  <a:pt x="648" y="3000"/>
                </a:lnTo>
                <a:lnTo>
                  <a:pt x="652" y="3004"/>
                </a:lnTo>
                <a:lnTo>
                  <a:pt x="655" y="3007"/>
                </a:lnTo>
                <a:lnTo>
                  <a:pt x="662" y="3014"/>
                </a:lnTo>
                <a:lnTo>
                  <a:pt x="670" y="3020"/>
                </a:lnTo>
                <a:lnTo>
                  <a:pt x="679" y="3025"/>
                </a:lnTo>
                <a:lnTo>
                  <a:pt x="688" y="3028"/>
                </a:lnTo>
                <a:lnTo>
                  <a:pt x="698" y="3032"/>
                </a:lnTo>
                <a:lnTo>
                  <a:pt x="708" y="3034"/>
                </a:lnTo>
                <a:lnTo>
                  <a:pt x="714" y="3034"/>
                </a:lnTo>
                <a:lnTo>
                  <a:pt x="719" y="3034"/>
                </a:lnTo>
                <a:lnTo>
                  <a:pt x="730" y="3034"/>
                </a:lnTo>
                <a:lnTo>
                  <a:pt x="740" y="3032"/>
                </a:lnTo>
                <a:lnTo>
                  <a:pt x="751" y="3029"/>
                </a:lnTo>
                <a:lnTo>
                  <a:pt x="760" y="3026"/>
                </a:lnTo>
                <a:lnTo>
                  <a:pt x="770" y="3021"/>
                </a:lnTo>
                <a:lnTo>
                  <a:pt x="779" y="3016"/>
                </a:lnTo>
                <a:lnTo>
                  <a:pt x="787" y="3010"/>
                </a:lnTo>
                <a:lnTo>
                  <a:pt x="795" y="3004"/>
                </a:lnTo>
                <a:lnTo>
                  <a:pt x="803" y="2997"/>
                </a:lnTo>
                <a:lnTo>
                  <a:pt x="812" y="2989"/>
                </a:lnTo>
                <a:lnTo>
                  <a:pt x="819" y="2980"/>
                </a:lnTo>
                <a:lnTo>
                  <a:pt x="826" y="2970"/>
                </a:lnTo>
                <a:lnTo>
                  <a:pt x="839" y="2951"/>
                </a:lnTo>
                <a:lnTo>
                  <a:pt x="845" y="2941"/>
                </a:lnTo>
                <a:lnTo>
                  <a:pt x="851" y="2930"/>
                </a:lnTo>
                <a:lnTo>
                  <a:pt x="856" y="2919"/>
                </a:lnTo>
                <a:lnTo>
                  <a:pt x="861" y="2906"/>
                </a:lnTo>
                <a:lnTo>
                  <a:pt x="865" y="2895"/>
                </a:lnTo>
                <a:lnTo>
                  <a:pt x="869" y="2883"/>
                </a:lnTo>
                <a:lnTo>
                  <a:pt x="874" y="2871"/>
                </a:lnTo>
                <a:lnTo>
                  <a:pt x="877" y="2859"/>
                </a:lnTo>
                <a:lnTo>
                  <a:pt x="880" y="2846"/>
                </a:lnTo>
                <a:lnTo>
                  <a:pt x="883" y="2834"/>
                </a:lnTo>
                <a:lnTo>
                  <a:pt x="885" y="2822"/>
                </a:lnTo>
                <a:lnTo>
                  <a:pt x="887" y="2810"/>
                </a:lnTo>
                <a:lnTo>
                  <a:pt x="889" y="2799"/>
                </a:lnTo>
                <a:lnTo>
                  <a:pt x="890" y="2786"/>
                </a:lnTo>
                <a:lnTo>
                  <a:pt x="890" y="2775"/>
                </a:lnTo>
                <a:lnTo>
                  <a:pt x="891" y="2764"/>
                </a:lnTo>
                <a:lnTo>
                  <a:pt x="891" y="2753"/>
                </a:lnTo>
                <a:lnTo>
                  <a:pt x="890" y="2742"/>
                </a:lnTo>
                <a:lnTo>
                  <a:pt x="891" y="2740"/>
                </a:lnTo>
                <a:lnTo>
                  <a:pt x="893" y="2738"/>
                </a:lnTo>
                <a:lnTo>
                  <a:pt x="895" y="2736"/>
                </a:lnTo>
                <a:lnTo>
                  <a:pt x="898" y="2734"/>
                </a:lnTo>
                <a:lnTo>
                  <a:pt x="904" y="2730"/>
                </a:lnTo>
                <a:lnTo>
                  <a:pt x="908" y="2730"/>
                </a:lnTo>
                <a:lnTo>
                  <a:pt x="912" y="2729"/>
                </a:lnTo>
                <a:lnTo>
                  <a:pt x="920" y="2730"/>
                </a:lnTo>
                <a:lnTo>
                  <a:pt x="923" y="2732"/>
                </a:lnTo>
                <a:lnTo>
                  <a:pt x="926" y="2732"/>
                </a:lnTo>
                <a:lnTo>
                  <a:pt x="933" y="2735"/>
                </a:lnTo>
                <a:lnTo>
                  <a:pt x="935" y="2737"/>
                </a:lnTo>
                <a:lnTo>
                  <a:pt x="938" y="2740"/>
                </a:lnTo>
                <a:lnTo>
                  <a:pt x="942" y="2745"/>
                </a:lnTo>
                <a:lnTo>
                  <a:pt x="943" y="2749"/>
                </a:lnTo>
                <a:lnTo>
                  <a:pt x="945" y="2753"/>
                </a:lnTo>
                <a:lnTo>
                  <a:pt x="946" y="2757"/>
                </a:lnTo>
                <a:lnTo>
                  <a:pt x="947" y="2762"/>
                </a:lnTo>
                <a:lnTo>
                  <a:pt x="947" y="2767"/>
                </a:lnTo>
                <a:lnTo>
                  <a:pt x="947" y="2773"/>
                </a:lnTo>
                <a:lnTo>
                  <a:pt x="947" y="2789"/>
                </a:lnTo>
                <a:lnTo>
                  <a:pt x="946" y="2805"/>
                </a:lnTo>
                <a:lnTo>
                  <a:pt x="944" y="2820"/>
                </a:lnTo>
                <a:lnTo>
                  <a:pt x="942" y="2835"/>
                </a:lnTo>
                <a:lnTo>
                  <a:pt x="940" y="2850"/>
                </a:lnTo>
                <a:lnTo>
                  <a:pt x="937" y="2866"/>
                </a:lnTo>
                <a:lnTo>
                  <a:pt x="933" y="2880"/>
                </a:lnTo>
                <a:lnTo>
                  <a:pt x="928" y="2895"/>
                </a:lnTo>
                <a:lnTo>
                  <a:pt x="924" y="2908"/>
                </a:lnTo>
                <a:lnTo>
                  <a:pt x="919" y="2923"/>
                </a:lnTo>
                <a:lnTo>
                  <a:pt x="914" y="2936"/>
                </a:lnTo>
                <a:lnTo>
                  <a:pt x="908" y="2949"/>
                </a:lnTo>
                <a:lnTo>
                  <a:pt x="902" y="2961"/>
                </a:lnTo>
                <a:lnTo>
                  <a:pt x="896" y="2975"/>
                </a:lnTo>
                <a:lnTo>
                  <a:pt x="889" y="2986"/>
                </a:lnTo>
                <a:lnTo>
                  <a:pt x="881" y="2997"/>
                </a:lnTo>
                <a:lnTo>
                  <a:pt x="874" y="3008"/>
                </a:lnTo>
                <a:lnTo>
                  <a:pt x="865" y="3018"/>
                </a:lnTo>
                <a:lnTo>
                  <a:pt x="856" y="3028"/>
                </a:lnTo>
                <a:lnTo>
                  <a:pt x="848" y="3038"/>
                </a:lnTo>
                <a:lnTo>
                  <a:pt x="839" y="3046"/>
                </a:lnTo>
                <a:lnTo>
                  <a:pt x="829" y="3054"/>
                </a:lnTo>
                <a:lnTo>
                  <a:pt x="819" y="3061"/>
                </a:lnTo>
                <a:lnTo>
                  <a:pt x="808" y="3068"/>
                </a:lnTo>
                <a:lnTo>
                  <a:pt x="798" y="3074"/>
                </a:lnTo>
                <a:lnTo>
                  <a:pt x="787" y="3079"/>
                </a:lnTo>
                <a:lnTo>
                  <a:pt x="777" y="3083"/>
                </a:lnTo>
                <a:lnTo>
                  <a:pt x="765" y="3087"/>
                </a:lnTo>
                <a:lnTo>
                  <a:pt x="754" y="3090"/>
                </a:lnTo>
                <a:lnTo>
                  <a:pt x="741" y="3093"/>
                </a:lnTo>
                <a:lnTo>
                  <a:pt x="729" y="3094"/>
                </a:lnTo>
                <a:lnTo>
                  <a:pt x="717" y="3095"/>
                </a:lnTo>
                <a:close/>
                <a:moveTo>
                  <a:pt x="1104" y="3088"/>
                </a:moveTo>
                <a:lnTo>
                  <a:pt x="1102" y="3088"/>
                </a:lnTo>
                <a:lnTo>
                  <a:pt x="1100" y="3087"/>
                </a:lnTo>
                <a:lnTo>
                  <a:pt x="1095" y="3084"/>
                </a:lnTo>
                <a:lnTo>
                  <a:pt x="1088" y="3080"/>
                </a:lnTo>
                <a:lnTo>
                  <a:pt x="1081" y="3075"/>
                </a:lnTo>
                <a:lnTo>
                  <a:pt x="1068" y="3064"/>
                </a:lnTo>
                <a:lnTo>
                  <a:pt x="1053" y="3050"/>
                </a:lnTo>
                <a:lnTo>
                  <a:pt x="1036" y="3034"/>
                </a:lnTo>
                <a:lnTo>
                  <a:pt x="1019" y="3016"/>
                </a:lnTo>
                <a:lnTo>
                  <a:pt x="1003" y="2999"/>
                </a:lnTo>
                <a:lnTo>
                  <a:pt x="988" y="2983"/>
                </a:lnTo>
                <a:lnTo>
                  <a:pt x="977" y="2967"/>
                </a:lnTo>
                <a:lnTo>
                  <a:pt x="972" y="2961"/>
                </a:lnTo>
                <a:lnTo>
                  <a:pt x="969" y="2956"/>
                </a:lnTo>
                <a:lnTo>
                  <a:pt x="964" y="2946"/>
                </a:lnTo>
                <a:lnTo>
                  <a:pt x="960" y="2936"/>
                </a:lnTo>
                <a:lnTo>
                  <a:pt x="958" y="2926"/>
                </a:lnTo>
                <a:lnTo>
                  <a:pt x="957" y="2916"/>
                </a:lnTo>
                <a:lnTo>
                  <a:pt x="957" y="2910"/>
                </a:lnTo>
                <a:lnTo>
                  <a:pt x="958" y="2904"/>
                </a:lnTo>
                <a:lnTo>
                  <a:pt x="959" y="2898"/>
                </a:lnTo>
                <a:lnTo>
                  <a:pt x="961" y="2892"/>
                </a:lnTo>
                <a:lnTo>
                  <a:pt x="964" y="2886"/>
                </a:lnTo>
                <a:lnTo>
                  <a:pt x="967" y="2880"/>
                </a:lnTo>
                <a:lnTo>
                  <a:pt x="971" y="2873"/>
                </a:lnTo>
                <a:lnTo>
                  <a:pt x="975" y="2866"/>
                </a:lnTo>
                <a:lnTo>
                  <a:pt x="984" y="2855"/>
                </a:lnTo>
                <a:lnTo>
                  <a:pt x="996" y="2841"/>
                </a:lnTo>
                <a:lnTo>
                  <a:pt x="1026" y="2807"/>
                </a:lnTo>
                <a:lnTo>
                  <a:pt x="1061" y="2767"/>
                </a:lnTo>
                <a:lnTo>
                  <a:pt x="1096" y="2726"/>
                </a:lnTo>
                <a:lnTo>
                  <a:pt x="1097" y="2725"/>
                </a:lnTo>
                <a:lnTo>
                  <a:pt x="1101" y="2725"/>
                </a:lnTo>
                <a:lnTo>
                  <a:pt x="1104" y="2725"/>
                </a:lnTo>
                <a:lnTo>
                  <a:pt x="1108" y="2726"/>
                </a:lnTo>
                <a:lnTo>
                  <a:pt x="1114" y="2728"/>
                </a:lnTo>
                <a:lnTo>
                  <a:pt x="1118" y="2732"/>
                </a:lnTo>
                <a:lnTo>
                  <a:pt x="1122" y="2735"/>
                </a:lnTo>
                <a:lnTo>
                  <a:pt x="1126" y="2739"/>
                </a:lnTo>
                <a:lnTo>
                  <a:pt x="1130" y="2743"/>
                </a:lnTo>
                <a:lnTo>
                  <a:pt x="1132" y="2748"/>
                </a:lnTo>
                <a:lnTo>
                  <a:pt x="1134" y="2752"/>
                </a:lnTo>
                <a:lnTo>
                  <a:pt x="1134" y="2757"/>
                </a:lnTo>
                <a:lnTo>
                  <a:pt x="1134" y="2762"/>
                </a:lnTo>
                <a:lnTo>
                  <a:pt x="1132" y="2768"/>
                </a:lnTo>
                <a:lnTo>
                  <a:pt x="1129" y="2773"/>
                </a:lnTo>
                <a:lnTo>
                  <a:pt x="1125" y="2779"/>
                </a:lnTo>
                <a:lnTo>
                  <a:pt x="1117" y="2790"/>
                </a:lnTo>
                <a:lnTo>
                  <a:pt x="1105" y="2804"/>
                </a:lnTo>
                <a:lnTo>
                  <a:pt x="1076" y="2837"/>
                </a:lnTo>
                <a:lnTo>
                  <a:pt x="1045" y="2871"/>
                </a:lnTo>
                <a:lnTo>
                  <a:pt x="1033" y="2886"/>
                </a:lnTo>
                <a:lnTo>
                  <a:pt x="1024" y="2897"/>
                </a:lnTo>
                <a:lnTo>
                  <a:pt x="1021" y="2901"/>
                </a:lnTo>
                <a:lnTo>
                  <a:pt x="1019" y="2905"/>
                </a:lnTo>
                <a:lnTo>
                  <a:pt x="1018" y="2908"/>
                </a:lnTo>
                <a:lnTo>
                  <a:pt x="1018" y="2913"/>
                </a:lnTo>
                <a:lnTo>
                  <a:pt x="1018" y="2917"/>
                </a:lnTo>
                <a:lnTo>
                  <a:pt x="1020" y="2922"/>
                </a:lnTo>
                <a:lnTo>
                  <a:pt x="1022" y="2926"/>
                </a:lnTo>
                <a:lnTo>
                  <a:pt x="1025" y="2931"/>
                </a:lnTo>
                <a:lnTo>
                  <a:pt x="1032" y="2940"/>
                </a:lnTo>
                <a:lnTo>
                  <a:pt x="1043" y="2952"/>
                </a:lnTo>
                <a:lnTo>
                  <a:pt x="1071" y="2982"/>
                </a:lnTo>
                <a:lnTo>
                  <a:pt x="1103" y="3014"/>
                </a:lnTo>
                <a:lnTo>
                  <a:pt x="1135" y="3045"/>
                </a:lnTo>
                <a:lnTo>
                  <a:pt x="1137" y="3047"/>
                </a:lnTo>
                <a:lnTo>
                  <a:pt x="1138" y="3049"/>
                </a:lnTo>
                <a:lnTo>
                  <a:pt x="1139" y="3051"/>
                </a:lnTo>
                <a:lnTo>
                  <a:pt x="1139" y="3054"/>
                </a:lnTo>
                <a:lnTo>
                  <a:pt x="1139" y="3060"/>
                </a:lnTo>
                <a:lnTo>
                  <a:pt x="1138" y="3062"/>
                </a:lnTo>
                <a:lnTo>
                  <a:pt x="1136" y="3065"/>
                </a:lnTo>
                <a:lnTo>
                  <a:pt x="1133" y="3071"/>
                </a:lnTo>
                <a:lnTo>
                  <a:pt x="1130" y="3074"/>
                </a:lnTo>
                <a:lnTo>
                  <a:pt x="1128" y="3076"/>
                </a:lnTo>
                <a:lnTo>
                  <a:pt x="1123" y="3081"/>
                </a:lnTo>
                <a:lnTo>
                  <a:pt x="1120" y="3083"/>
                </a:lnTo>
                <a:lnTo>
                  <a:pt x="1117" y="3085"/>
                </a:lnTo>
                <a:lnTo>
                  <a:pt x="1111" y="3087"/>
                </a:lnTo>
                <a:lnTo>
                  <a:pt x="1107" y="3088"/>
                </a:lnTo>
                <a:lnTo>
                  <a:pt x="1104" y="3088"/>
                </a:lnTo>
                <a:close/>
                <a:moveTo>
                  <a:pt x="4547" y="1136"/>
                </a:moveTo>
                <a:lnTo>
                  <a:pt x="4539" y="1136"/>
                </a:lnTo>
                <a:lnTo>
                  <a:pt x="4532" y="1135"/>
                </a:lnTo>
                <a:lnTo>
                  <a:pt x="4523" y="1134"/>
                </a:lnTo>
                <a:lnTo>
                  <a:pt x="4516" y="1132"/>
                </a:lnTo>
                <a:lnTo>
                  <a:pt x="4509" y="1131"/>
                </a:lnTo>
                <a:lnTo>
                  <a:pt x="4502" y="1128"/>
                </a:lnTo>
                <a:lnTo>
                  <a:pt x="4488" y="1122"/>
                </a:lnTo>
                <a:lnTo>
                  <a:pt x="4475" y="1115"/>
                </a:lnTo>
                <a:lnTo>
                  <a:pt x="4468" y="1110"/>
                </a:lnTo>
                <a:lnTo>
                  <a:pt x="4462" y="1105"/>
                </a:lnTo>
                <a:lnTo>
                  <a:pt x="4456" y="1101"/>
                </a:lnTo>
                <a:lnTo>
                  <a:pt x="4450" y="1095"/>
                </a:lnTo>
                <a:lnTo>
                  <a:pt x="4445" y="1090"/>
                </a:lnTo>
                <a:lnTo>
                  <a:pt x="4439" y="1084"/>
                </a:lnTo>
                <a:lnTo>
                  <a:pt x="4434" y="1078"/>
                </a:lnTo>
                <a:lnTo>
                  <a:pt x="4430" y="1072"/>
                </a:lnTo>
                <a:lnTo>
                  <a:pt x="4425" y="1065"/>
                </a:lnTo>
                <a:lnTo>
                  <a:pt x="4421" y="1058"/>
                </a:lnTo>
                <a:lnTo>
                  <a:pt x="4417" y="1050"/>
                </a:lnTo>
                <a:lnTo>
                  <a:pt x="4414" y="1043"/>
                </a:lnTo>
                <a:lnTo>
                  <a:pt x="4409" y="1035"/>
                </a:lnTo>
                <a:lnTo>
                  <a:pt x="4406" y="1027"/>
                </a:lnTo>
                <a:lnTo>
                  <a:pt x="4404" y="1020"/>
                </a:lnTo>
                <a:lnTo>
                  <a:pt x="4401" y="1011"/>
                </a:lnTo>
                <a:lnTo>
                  <a:pt x="4399" y="1003"/>
                </a:lnTo>
                <a:lnTo>
                  <a:pt x="4398" y="994"/>
                </a:lnTo>
                <a:lnTo>
                  <a:pt x="4396" y="985"/>
                </a:lnTo>
                <a:lnTo>
                  <a:pt x="4395" y="976"/>
                </a:lnTo>
                <a:lnTo>
                  <a:pt x="4395" y="967"/>
                </a:lnTo>
                <a:lnTo>
                  <a:pt x="4395" y="958"/>
                </a:lnTo>
                <a:lnTo>
                  <a:pt x="4395" y="939"/>
                </a:lnTo>
                <a:lnTo>
                  <a:pt x="4396" y="929"/>
                </a:lnTo>
                <a:lnTo>
                  <a:pt x="4398" y="920"/>
                </a:lnTo>
                <a:lnTo>
                  <a:pt x="4400" y="911"/>
                </a:lnTo>
                <a:lnTo>
                  <a:pt x="4402" y="902"/>
                </a:lnTo>
                <a:lnTo>
                  <a:pt x="4404" y="893"/>
                </a:lnTo>
                <a:lnTo>
                  <a:pt x="4407" y="884"/>
                </a:lnTo>
                <a:lnTo>
                  <a:pt x="4411" y="876"/>
                </a:lnTo>
                <a:lnTo>
                  <a:pt x="4415" y="867"/>
                </a:lnTo>
                <a:lnTo>
                  <a:pt x="4418" y="859"/>
                </a:lnTo>
                <a:lnTo>
                  <a:pt x="4423" y="851"/>
                </a:lnTo>
                <a:lnTo>
                  <a:pt x="4427" y="843"/>
                </a:lnTo>
                <a:lnTo>
                  <a:pt x="4432" y="836"/>
                </a:lnTo>
                <a:lnTo>
                  <a:pt x="4442" y="822"/>
                </a:lnTo>
                <a:lnTo>
                  <a:pt x="4447" y="816"/>
                </a:lnTo>
                <a:lnTo>
                  <a:pt x="4453" y="809"/>
                </a:lnTo>
                <a:lnTo>
                  <a:pt x="4465" y="797"/>
                </a:lnTo>
                <a:lnTo>
                  <a:pt x="4473" y="792"/>
                </a:lnTo>
                <a:lnTo>
                  <a:pt x="4479" y="787"/>
                </a:lnTo>
                <a:lnTo>
                  <a:pt x="4486" y="783"/>
                </a:lnTo>
                <a:lnTo>
                  <a:pt x="4493" y="779"/>
                </a:lnTo>
                <a:lnTo>
                  <a:pt x="4501" y="775"/>
                </a:lnTo>
                <a:lnTo>
                  <a:pt x="4508" y="772"/>
                </a:lnTo>
                <a:lnTo>
                  <a:pt x="4516" y="769"/>
                </a:lnTo>
                <a:lnTo>
                  <a:pt x="4523" y="767"/>
                </a:lnTo>
                <a:lnTo>
                  <a:pt x="4532" y="765"/>
                </a:lnTo>
                <a:lnTo>
                  <a:pt x="4540" y="764"/>
                </a:lnTo>
                <a:lnTo>
                  <a:pt x="4548" y="763"/>
                </a:lnTo>
                <a:lnTo>
                  <a:pt x="4557" y="763"/>
                </a:lnTo>
                <a:lnTo>
                  <a:pt x="4567" y="763"/>
                </a:lnTo>
                <a:lnTo>
                  <a:pt x="4572" y="764"/>
                </a:lnTo>
                <a:lnTo>
                  <a:pt x="4576" y="765"/>
                </a:lnTo>
                <a:lnTo>
                  <a:pt x="4581" y="766"/>
                </a:lnTo>
                <a:lnTo>
                  <a:pt x="4586" y="767"/>
                </a:lnTo>
                <a:lnTo>
                  <a:pt x="4595" y="770"/>
                </a:lnTo>
                <a:lnTo>
                  <a:pt x="4603" y="774"/>
                </a:lnTo>
                <a:lnTo>
                  <a:pt x="4610" y="779"/>
                </a:lnTo>
                <a:lnTo>
                  <a:pt x="4617" y="784"/>
                </a:lnTo>
                <a:lnTo>
                  <a:pt x="4623" y="790"/>
                </a:lnTo>
                <a:lnTo>
                  <a:pt x="4626" y="793"/>
                </a:lnTo>
                <a:lnTo>
                  <a:pt x="4628" y="797"/>
                </a:lnTo>
                <a:lnTo>
                  <a:pt x="4633" y="804"/>
                </a:lnTo>
                <a:lnTo>
                  <a:pt x="4637" y="813"/>
                </a:lnTo>
                <a:lnTo>
                  <a:pt x="4640" y="821"/>
                </a:lnTo>
                <a:lnTo>
                  <a:pt x="4643" y="830"/>
                </a:lnTo>
                <a:lnTo>
                  <a:pt x="4645" y="839"/>
                </a:lnTo>
                <a:lnTo>
                  <a:pt x="4646" y="848"/>
                </a:lnTo>
                <a:lnTo>
                  <a:pt x="4646" y="858"/>
                </a:lnTo>
                <a:lnTo>
                  <a:pt x="4646" y="872"/>
                </a:lnTo>
                <a:lnTo>
                  <a:pt x="4645" y="878"/>
                </a:lnTo>
                <a:lnTo>
                  <a:pt x="4643" y="884"/>
                </a:lnTo>
                <a:lnTo>
                  <a:pt x="4640" y="896"/>
                </a:lnTo>
                <a:lnTo>
                  <a:pt x="4635" y="907"/>
                </a:lnTo>
                <a:lnTo>
                  <a:pt x="4628" y="919"/>
                </a:lnTo>
                <a:lnTo>
                  <a:pt x="4621" y="929"/>
                </a:lnTo>
                <a:lnTo>
                  <a:pt x="4617" y="935"/>
                </a:lnTo>
                <a:lnTo>
                  <a:pt x="4613" y="940"/>
                </a:lnTo>
                <a:lnTo>
                  <a:pt x="4604" y="949"/>
                </a:lnTo>
                <a:lnTo>
                  <a:pt x="4594" y="958"/>
                </a:lnTo>
                <a:lnTo>
                  <a:pt x="4587" y="962"/>
                </a:lnTo>
                <a:lnTo>
                  <a:pt x="4582" y="965"/>
                </a:lnTo>
                <a:lnTo>
                  <a:pt x="4571" y="972"/>
                </a:lnTo>
                <a:lnTo>
                  <a:pt x="4559" y="978"/>
                </a:lnTo>
                <a:lnTo>
                  <a:pt x="4547" y="982"/>
                </a:lnTo>
                <a:lnTo>
                  <a:pt x="4541" y="984"/>
                </a:lnTo>
                <a:lnTo>
                  <a:pt x="4535" y="986"/>
                </a:lnTo>
                <a:lnTo>
                  <a:pt x="4527" y="987"/>
                </a:lnTo>
                <a:lnTo>
                  <a:pt x="4521" y="988"/>
                </a:lnTo>
                <a:lnTo>
                  <a:pt x="4508" y="988"/>
                </a:lnTo>
                <a:lnTo>
                  <a:pt x="4503" y="988"/>
                </a:lnTo>
                <a:lnTo>
                  <a:pt x="4498" y="986"/>
                </a:lnTo>
                <a:lnTo>
                  <a:pt x="4494" y="983"/>
                </a:lnTo>
                <a:lnTo>
                  <a:pt x="4492" y="981"/>
                </a:lnTo>
                <a:lnTo>
                  <a:pt x="4490" y="979"/>
                </a:lnTo>
                <a:lnTo>
                  <a:pt x="4487" y="974"/>
                </a:lnTo>
                <a:lnTo>
                  <a:pt x="4484" y="969"/>
                </a:lnTo>
                <a:lnTo>
                  <a:pt x="4483" y="966"/>
                </a:lnTo>
                <a:lnTo>
                  <a:pt x="4483" y="963"/>
                </a:lnTo>
                <a:lnTo>
                  <a:pt x="4482" y="957"/>
                </a:lnTo>
                <a:lnTo>
                  <a:pt x="4482" y="954"/>
                </a:lnTo>
                <a:lnTo>
                  <a:pt x="4483" y="951"/>
                </a:lnTo>
                <a:lnTo>
                  <a:pt x="4484" y="947"/>
                </a:lnTo>
                <a:lnTo>
                  <a:pt x="4485" y="944"/>
                </a:lnTo>
                <a:lnTo>
                  <a:pt x="4486" y="943"/>
                </a:lnTo>
                <a:lnTo>
                  <a:pt x="4487" y="941"/>
                </a:lnTo>
                <a:lnTo>
                  <a:pt x="4489" y="940"/>
                </a:lnTo>
                <a:lnTo>
                  <a:pt x="4500" y="938"/>
                </a:lnTo>
                <a:lnTo>
                  <a:pt x="4511" y="935"/>
                </a:lnTo>
                <a:lnTo>
                  <a:pt x="4521" y="932"/>
                </a:lnTo>
                <a:lnTo>
                  <a:pt x="4531" y="927"/>
                </a:lnTo>
                <a:lnTo>
                  <a:pt x="4540" y="922"/>
                </a:lnTo>
                <a:lnTo>
                  <a:pt x="4549" y="917"/>
                </a:lnTo>
                <a:lnTo>
                  <a:pt x="4557" y="912"/>
                </a:lnTo>
                <a:lnTo>
                  <a:pt x="4560" y="909"/>
                </a:lnTo>
                <a:lnTo>
                  <a:pt x="4564" y="906"/>
                </a:lnTo>
                <a:lnTo>
                  <a:pt x="4570" y="900"/>
                </a:lnTo>
                <a:lnTo>
                  <a:pt x="4576" y="893"/>
                </a:lnTo>
                <a:lnTo>
                  <a:pt x="4581" y="886"/>
                </a:lnTo>
                <a:lnTo>
                  <a:pt x="4585" y="880"/>
                </a:lnTo>
                <a:lnTo>
                  <a:pt x="4589" y="873"/>
                </a:lnTo>
                <a:lnTo>
                  <a:pt x="4592" y="865"/>
                </a:lnTo>
                <a:lnTo>
                  <a:pt x="4594" y="857"/>
                </a:lnTo>
                <a:lnTo>
                  <a:pt x="4594" y="850"/>
                </a:lnTo>
                <a:lnTo>
                  <a:pt x="4593" y="842"/>
                </a:lnTo>
                <a:lnTo>
                  <a:pt x="4591" y="835"/>
                </a:lnTo>
                <a:lnTo>
                  <a:pt x="4589" y="832"/>
                </a:lnTo>
                <a:lnTo>
                  <a:pt x="4587" y="829"/>
                </a:lnTo>
                <a:lnTo>
                  <a:pt x="4585" y="826"/>
                </a:lnTo>
                <a:lnTo>
                  <a:pt x="4582" y="823"/>
                </a:lnTo>
                <a:lnTo>
                  <a:pt x="4577" y="819"/>
                </a:lnTo>
                <a:lnTo>
                  <a:pt x="4573" y="817"/>
                </a:lnTo>
                <a:lnTo>
                  <a:pt x="4570" y="816"/>
                </a:lnTo>
                <a:lnTo>
                  <a:pt x="4562" y="814"/>
                </a:lnTo>
                <a:lnTo>
                  <a:pt x="4557" y="814"/>
                </a:lnTo>
                <a:lnTo>
                  <a:pt x="4553" y="814"/>
                </a:lnTo>
                <a:lnTo>
                  <a:pt x="4544" y="814"/>
                </a:lnTo>
                <a:lnTo>
                  <a:pt x="4540" y="815"/>
                </a:lnTo>
                <a:lnTo>
                  <a:pt x="4535" y="816"/>
                </a:lnTo>
                <a:lnTo>
                  <a:pt x="4531" y="818"/>
                </a:lnTo>
                <a:lnTo>
                  <a:pt x="4525" y="820"/>
                </a:lnTo>
                <a:lnTo>
                  <a:pt x="4521" y="822"/>
                </a:lnTo>
                <a:lnTo>
                  <a:pt x="4517" y="825"/>
                </a:lnTo>
                <a:lnTo>
                  <a:pt x="4512" y="827"/>
                </a:lnTo>
                <a:lnTo>
                  <a:pt x="4508" y="830"/>
                </a:lnTo>
                <a:lnTo>
                  <a:pt x="4500" y="838"/>
                </a:lnTo>
                <a:lnTo>
                  <a:pt x="4492" y="846"/>
                </a:lnTo>
                <a:lnTo>
                  <a:pt x="4485" y="855"/>
                </a:lnTo>
                <a:lnTo>
                  <a:pt x="4481" y="859"/>
                </a:lnTo>
                <a:lnTo>
                  <a:pt x="4478" y="865"/>
                </a:lnTo>
                <a:lnTo>
                  <a:pt x="4471" y="876"/>
                </a:lnTo>
                <a:lnTo>
                  <a:pt x="4465" y="888"/>
                </a:lnTo>
                <a:lnTo>
                  <a:pt x="4460" y="900"/>
                </a:lnTo>
                <a:lnTo>
                  <a:pt x="4456" y="913"/>
                </a:lnTo>
                <a:lnTo>
                  <a:pt x="4454" y="926"/>
                </a:lnTo>
                <a:lnTo>
                  <a:pt x="4452" y="941"/>
                </a:lnTo>
                <a:lnTo>
                  <a:pt x="4451" y="948"/>
                </a:lnTo>
                <a:lnTo>
                  <a:pt x="4451" y="955"/>
                </a:lnTo>
                <a:lnTo>
                  <a:pt x="4452" y="968"/>
                </a:lnTo>
                <a:lnTo>
                  <a:pt x="4453" y="980"/>
                </a:lnTo>
                <a:lnTo>
                  <a:pt x="4455" y="993"/>
                </a:lnTo>
                <a:lnTo>
                  <a:pt x="4456" y="998"/>
                </a:lnTo>
                <a:lnTo>
                  <a:pt x="4458" y="1004"/>
                </a:lnTo>
                <a:lnTo>
                  <a:pt x="4462" y="1014"/>
                </a:lnTo>
                <a:lnTo>
                  <a:pt x="4464" y="1019"/>
                </a:lnTo>
                <a:lnTo>
                  <a:pt x="4466" y="1024"/>
                </a:lnTo>
                <a:lnTo>
                  <a:pt x="4469" y="1029"/>
                </a:lnTo>
                <a:lnTo>
                  <a:pt x="4472" y="1033"/>
                </a:lnTo>
                <a:lnTo>
                  <a:pt x="4475" y="1037"/>
                </a:lnTo>
                <a:lnTo>
                  <a:pt x="4478" y="1041"/>
                </a:lnTo>
                <a:lnTo>
                  <a:pt x="4482" y="1045"/>
                </a:lnTo>
                <a:lnTo>
                  <a:pt x="4485" y="1049"/>
                </a:lnTo>
                <a:lnTo>
                  <a:pt x="4492" y="1056"/>
                </a:lnTo>
                <a:lnTo>
                  <a:pt x="4500" y="1062"/>
                </a:lnTo>
                <a:lnTo>
                  <a:pt x="4509" y="1067"/>
                </a:lnTo>
                <a:lnTo>
                  <a:pt x="4518" y="1071"/>
                </a:lnTo>
                <a:lnTo>
                  <a:pt x="4527" y="1073"/>
                </a:lnTo>
                <a:lnTo>
                  <a:pt x="4538" y="1075"/>
                </a:lnTo>
                <a:lnTo>
                  <a:pt x="4544" y="1076"/>
                </a:lnTo>
                <a:lnTo>
                  <a:pt x="4549" y="1076"/>
                </a:lnTo>
                <a:lnTo>
                  <a:pt x="4560" y="1075"/>
                </a:lnTo>
                <a:lnTo>
                  <a:pt x="4570" y="1074"/>
                </a:lnTo>
                <a:lnTo>
                  <a:pt x="4580" y="1071"/>
                </a:lnTo>
                <a:lnTo>
                  <a:pt x="4589" y="1068"/>
                </a:lnTo>
                <a:lnTo>
                  <a:pt x="4599" y="1064"/>
                </a:lnTo>
                <a:lnTo>
                  <a:pt x="4608" y="1059"/>
                </a:lnTo>
                <a:lnTo>
                  <a:pt x="4617" y="1053"/>
                </a:lnTo>
                <a:lnTo>
                  <a:pt x="4625" y="1045"/>
                </a:lnTo>
                <a:lnTo>
                  <a:pt x="4633" y="1038"/>
                </a:lnTo>
                <a:lnTo>
                  <a:pt x="4641" y="1030"/>
                </a:lnTo>
                <a:lnTo>
                  <a:pt x="4648" y="1022"/>
                </a:lnTo>
                <a:lnTo>
                  <a:pt x="4656" y="1013"/>
                </a:lnTo>
                <a:lnTo>
                  <a:pt x="4669" y="993"/>
                </a:lnTo>
                <a:lnTo>
                  <a:pt x="4675" y="982"/>
                </a:lnTo>
                <a:lnTo>
                  <a:pt x="4681" y="971"/>
                </a:lnTo>
                <a:lnTo>
                  <a:pt x="4686" y="960"/>
                </a:lnTo>
                <a:lnTo>
                  <a:pt x="4691" y="949"/>
                </a:lnTo>
                <a:lnTo>
                  <a:pt x="4695" y="937"/>
                </a:lnTo>
                <a:lnTo>
                  <a:pt x="4699" y="925"/>
                </a:lnTo>
                <a:lnTo>
                  <a:pt x="4703" y="913"/>
                </a:lnTo>
                <a:lnTo>
                  <a:pt x="4706" y="901"/>
                </a:lnTo>
                <a:lnTo>
                  <a:pt x="4709" y="889"/>
                </a:lnTo>
                <a:lnTo>
                  <a:pt x="4713" y="877"/>
                </a:lnTo>
                <a:lnTo>
                  <a:pt x="4715" y="864"/>
                </a:lnTo>
                <a:lnTo>
                  <a:pt x="4717" y="852"/>
                </a:lnTo>
                <a:lnTo>
                  <a:pt x="4719" y="840"/>
                </a:lnTo>
                <a:lnTo>
                  <a:pt x="4720" y="828"/>
                </a:lnTo>
                <a:lnTo>
                  <a:pt x="4720" y="817"/>
                </a:lnTo>
                <a:lnTo>
                  <a:pt x="4721" y="805"/>
                </a:lnTo>
                <a:lnTo>
                  <a:pt x="4721" y="794"/>
                </a:lnTo>
                <a:lnTo>
                  <a:pt x="4720" y="784"/>
                </a:lnTo>
                <a:lnTo>
                  <a:pt x="4721" y="781"/>
                </a:lnTo>
                <a:lnTo>
                  <a:pt x="4723" y="779"/>
                </a:lnTo>
                <a:lnTo>
                  <a:pt x="4725" y="777"/>
                </a:lnTo>
                <a:lnTo>
                  <a:pt x="4728" y="775"/>
                </a:lnTo>
                <a:lnTo>
                  <a:pt x="4734" y="773"/>
                </a:lnTo>
                <a:lnTo>
                  <a:pt x="4738" y="772"/>
                </a:lnTo>
                <a:lnTo>
                  <a:pt x="4742" y="772"/>
                </a:lnTo>
                <a:lnTo>
                  <a:pt x="4750" y="772"/>
                </a:lnTo>
                <a:lnTo>
                  <a:pt x="4753" y="773"/>
                </a:lnTo>
                <a:lnTo>
                  <a:pt x="4756" y="774"/>
                </a:lnTo>
                <a:lnTo>
                  <a:pt x="4762" y="777"/>
                </a:lnTo>
                <a:lnTo>
                  <a:pt x="4764" y="779"/>
                </a:lnTo>
                <a:lnTo>
                  <a:pt x="4767" y="781"/>
                </a:lnTo>
                <a:lnTo>
                  <a:pt x="4772" y="787"/>
                </a:lnTo>
                <a:lnTo>
                  <a:pt x="4773" y="790"/>
                </a:lnTo>
                <a:lnTo>
                  <a:pt x="4775" y="794"/>
                </a:lnTo>
                <a:lnTo>
                  <a:pt x="4776" y="798"/>
                </a:lnTo>
                <a:lnTo>
                  <a:pt x="4777" y="803"/>
                </a:lnTo>
                <a:lnTo>
                  <a:pt x="4777" y="809"/>
                </a:lnTo>
                <a:lnTo>
                  <a:pt x="4777" y="815"/>
                </a:lnTo>
                <a:lnTo>
                  <a:pt x="4777" y="831"/>
                </a:lnTo>
                <a:lnTo>
                  <a:pt x="4776" y="846"/>
                </a:lnTo>
                <a:lnTo>
                  <a:pt x="4774" y="862"/>
                </a:lnTo>
                <a:lnTo>
                  <a:pt x="4772" y="878"/>
                </a:lnTo>
                <a:lnTo>
                  <a:pt x="4769" y="893"/>
                </a:lnTo>
                <a:lnTo>
                  <a:pt x="4766" y="907"/>
                </a:lnTo>
                <a:lnTo>
                  <a:pt x="4762" y="922"/>
                </a:lnTo>
                <a:lnTo>
                  <a:pt x="4758" y="937"/>
                </a:lnTo>
                <a:lnTo>
                  <a:pt x="4754" y="951"/>
                </a:lnTo>
                <a:lnTo>
                  <a:pt x="4749" y="964"/>
                </a:lnTo>
                <a:lnTo>
                  <a:pt x="4744" y="978"/>
                </a:lnTo>
                <a:lnTo>
                  <a:pt x="4738" y="990"/>
                </a:lnTo>
                <a:lnTo>
                  <a:pt x="4732" y="1004"/>
                </a:lnTo>
                <a:lnTo>
                  <a:pt x="4726" y="1016"/>
                </a:lnTo>
                <a:lnTo>
                  <a:pt x="4719" y="1027"/>
                </a:lnTo>
                <a:lnTo>
                  <a:pt x="4711" y="1039"/>
                </a:lnTo>
                <a:lnTo>
                  <a:pt x="4703" y="1049"/>
                </a:lnTo>
                <a:lnTo>
                  <a:pt x="4695" y="1060"/>
                </a:lnTo>
                <a:lnTo>
                  <a:pt x="4686" y="1070"/>
                </a:lnTo>
                <a:lnTo>
                  <a:pt x="4678" y="1079"/>
                </a:lnTo>
                <a:lnTo>
                  <a:pt x="4668" y="1087"/>
                </a:lnTo>
                <a:lnTo>
                  <a:pt x="4659" y="1095"/>
                </a:lnTo>
                <a:lnTo>
                  <a:pt x="4648" y="1103"/>
                </a:lnTo>
                <a:lnTo>
                  <a:pt x="4638" y="1109"/>
                </a:lnTo>
                <a:lnTo>
                  <a:pt x="4628" y="1116"/>
                </a:lnTo>
                <a:lnTo>
                  <a:pt x="4617" y="1121"/>
                </a:lnTo>
                <a:lnTo>
                  <a:pt x="4606" y="1126"/>
                </a:lnTo>
                <a:lnTo>
                  <a:pt x="4595" y="1129"/>
                </a:lnTo>
                <a:lnTo>
                  <a:pt x="4583" y="1132"/>
                </a:lnTo>
                <a:lnTo>
                  <a:pt x="4571" y="1134"/>
                </a:lnTo>
                <a:lnTo>
                  <a:pt x="4559" y="1136"/>
                </a:lnTo>
                <a:lnTo>
                  <a:pt x="4547" y="1136"/>
                </a:lnTo>
                <a:close/>
                <a:moveTo>
                  <a:pt x="4934" y="1130"/>
                </a:moveTo>
                <a:lnTo>
                  <a:pt x="4932" y="1130"/>
                </a:lnTo>
                <a:lnTo>
                  <a:pt x="4930" y="1129"/>
                </a:lnTo>
                <a:lnTo>
                  <a:pt x="4925" y="1127"/>
                </a:lnTo>
                <a:lnTo>
                  <a:pt x="4918" y="1122"/>
                </a:lnTo>
                <a:lnTo>
                  <a:pt x="4911" y="1117"/>
                </a:lnTo>
                <a:lnTo>
                  <a:pt x="4898" y="1105"/>
                </a:lnTo>
                <a:lnTo>
                  <a:pt x="4882" y="1091"/>
                </a:lnTo>
                <a:lnTo>
                  <a:pt x="4866" y="1075"/>
                </a:lnTo>
                <a:lnTo>
                  <a:pt x="4849" y="1058"/>
                </a:lnTo>
                <a:lnTo>
                  <a:pt x="4833" y="1040"/>
                </a:lnTo>
                <a:lnTo>
                  <a:pt x="4818" y="1024"/>
                </a:lnTo>
                <a:lnTo>
                  <a:pt x="4807" y="1010"/>
                </a:lnTo>
                <a:lnTo>
                  <a:pt x="4802" y="1004"/>
                </a:lnTo>
                <a:lnTo>
                  <a:pt x="4799" y="998"/>
                </a:lnTo>
                <a:lnTo>
                  <a:pt x="4794" y="987"/>
                </a:lnTo>
                <a:lnTo>
                  <a:pt x="4790" y="977"/>
                </a:lnTo>
                <a:lnTo>
                  <a:pt x="4788" y="968"/>
                </a:lnTo>
                <a:lnTo>
                  <a:pt x="4787" y="958"/>
                </a:lnTo>
                <a:lnTo>
                  <a:pt x="4787" y="952"/>
                </a:lnTo>
                <a:lnTo>
                  <a:pt x="4788" y="946"/>
                </a:lnTo>
                <a:lnTo>
                  <a:pt x="4789" y="941"/>
                </a:lnTo>
                <a:lnTo>
                  <a:pt x="4791" y="935"/>
                </a:lnTo>
                <a:lnTo>
                  <a:pt x="4794" y="927"/>
                </a:lnTo>
                <a:lnTo>
                  <a:pt x="4797" y="921"/>
                </a:lnTo>
                <a:lnTo>
                  <a:pt x="4801" y="914"/>
                </a:lnTo>
                <a:lnTo>
                  <a:pt x="4805" y="908"/>
                </a:lnTo>
                <a:lnTo>
                  <a:pt x="4814" y="897"/>
                </a:lnTo>
                <a:lnTo>
                  <a:pt x="4825" y="883"/>
                </a:lnTo>
                <a:lnTo>
                  <a:pt x="4855" y="848"/>
                </a:lnTo>
                <a:lnTo>
                  <a:pt x="4891" y="808"/>
                </a:lnTo>
                <a:lnTo>
                  <a:pt x="4926" y="768"/>
                </a:lnTo>
                <a:lnTo>
                  <a:pt x="4927" y="768"/>
                </a:lnTo>
                <a:lnTo>
                  <a:pt x="4931" y="767"/>
                </a:lnTo>
                <a:lnTo>
                  <a:pt x="4934" y="768"/>
                </a:lnTo>
                <a:lnTo>
                  <a:pt x="4938" y="769"/>
                </a:lnTo>
                <a:lnTo>
                  <a:pt x="4943" y="771"/>
                </a:lnTo>
                <a:lnTo>
                  <a:pt x="4947" y="773"/>
                </a:lnTo>
                <a:lnTo>
                  <a:pt x="4952" y="776"/>
                </a:lnTo>
                <a:lnTo>
                  <a:pt x="4956" y="780"/>
                </a:lnTo>
                <a:lnTo>
                  <a:pt x="4960" y="784"/>
                </a:lnTo>
                <a:lnTo>
                  <a:pt x="4962" y="789"/>
                </a:lnTo>
                <a:lnTo>
                  <a:pt x="4964" y="794"/>
                </a:lnTo>
                <a:lnTo>
                  <a:pt x="4964" y="798"/>
                </a:lnTo>
                <a:lnTo>
                  <a:pt x="4964" y="804"/>
                </a:lnTo>
                <a:lnTo>
                  <a:pt x="4962" y="809"/>
                </a:lnTo>
                <a:lnTo>
                  <a:pt x="4959" y="816"/>
                </a:lnTo>
                <a:lnTo>
                  <a:pt x="4955" y="822"/>
                </a:lnTo>
                <a:lnTo>
                  <a:pt x="4946" y="832"/>
                </a:lnTo>
                <a:lnTo>
                  <a:pt x="4934" y="846"/>
                </a:lnTo>
                <a:lnTo>
                  <a:pt x="4905" y="879"/>
                </a:lnTo>
                <a:lnTo>
                  <a:pt x="4875" y="913"/>
                </a:lnTo>
                <a:lnTo>
                  <a:pt x="4863" y="927"/>
                </a:lnTo>
                <a:lnTo>
                  <a:pt x="4854" y="940"/>
                </a:lnTo>
                <a:lnTo>
                  <a:pt x="4851" y="944"/>
                </a:lnTo>
                <a:lnTo>
                  <a:pt x="4849" y="947"/>
                </a:lnTo>
                <a:lnTo>
                  <a:pt x="4848" y="951"/>
                </a:lnTo>
                <a:lnTo>
                  <a:pt x="4848" y="954"/>
                </a:lnTo>
                <a:lnTo>
                  <a:pt x="4848" y="959"/>
                </a:lnTo>
                <a:lnTo>
                  <a:pt x="4850" y="963"/>
                </a:lnTo>
                <a:lnTo>
                  <a:pt x="4852" y="968"/>
                </a:lnTo>
                <a:lnTo>
                  <a:pt x="4855" y="972"/>
                </a:lnTo>
                <a:lnTo>
                  <a:pt x="4862" y="981"/>
                </a:lnTo>
                <a:lnTo>
                  <a:pt x="4873" y="994"/>
                </a:lnTo>
                <a:lnTo>
                  <a:pt x="4901" y="1023"/>
                </a:lnTo>
                <a:lnTo>
                  <a:pt x="4933" y="1056"/>
                </a:lnTo>
                <a:lnTo>
                  <a:pt x="4965" y="1087"/>
                </a:lnTo>
                <a:lnTo>
                  <a:pt x="4967" y="1088"/>
                </a:lnTo>
                <a:lnTo>
                  <a:pt x="4968" y="1091"/>
                </a:lnTo>
                <a:lnTo>
                  <a:pt x="4969" y="1093"/>
                </a:lnTo>
                <a:lnTo>
                  <a:pt x="4969" y="1095"/>
                </a:lnTo>
                <a:lnTo>
                  <a:pt x="4968" y="1101"/>
                </a:lnTo>
                <a:lnTo>
                  <a:pt x="4967" y="1104"/>
                </a:lnTo>
                <a:lnTo>
                  <a:pt x="4966" y="1107"/>
                </a:lnTo>
                <a:lnTo>
                  <a:pt x="4962" y="1113"/>
                </a:lnTo>
                <a:lnTo>
                  <a:pt x="4960" y="1116"/>
                </a:lnTo>
                <a:lnTo>
                  <a:pt x="4958" y="1119"/>
                </a:lnTo>
                <a:lnTo>
                  <a:pt x="4953" y="1123"/>
                </a:lnTo>
                <a:lnTo>
                  <a:pt x="4949" y="1125"/>
                </a:lnTo>
                <a:lnTo>
                  <a:pt x="4946" y="1127"/>
                </a:lnTo>
                <a:lnTo>
                  <a:pt x="4940" y="1129"/>
                </a:lnTo>
                <a:lnTo>
                  <a:pt x="4937" y="1130"/>
                </a:lnTo>
                <a:lnTo>
                  <a:pt x="4934" y="1130"/>
                </a:lnTo>
                <a:close/>
                <a:moveTo>
                  <a:pt x="4547" y="2129"/>
                </a:moveTo>
                <a:lnTo>
                  <a:pt x="4539" y="2129"/>
                </a:lnTo>
                <a:lnTo>
                  <a:pt x="4532" y="2128"/>
                </a:lnTo>
                <a:lnTo>
                  <a:pt x="4523" y="2127"/>
                </a:lnTo>
                <a:lnTo>
                  <a:pt x="4516" y="2126"/>
                </a:lnTo>
                <a:lnTo>
                  <a:pt x="4509" y="2124"/>
                </a:lnTo>
                <a:lnTo>
                  <a:pt x="4502" y="2121"/>
                </a:lnTo>
                <a:lnTo>
                  <a:pt x="4488" y="2116"/>
                </a:lnTo>
                <a:lnTo>
                  <a:pt x="4475" y="2108"/>
                </a:lnTo>
                <a:lnTo>
                  <a:pt x="4468" y="2104"/>
                </a:lnTo>
                <a:lnTo>
                  <a:pt x="4462" y="2100"/>
                </a:lnTo>
                <a:lnTo>
                  <a:pt x="4456" y="2095"/>
                </a:lnTo>
                <a:lnTo>
                  <a:pt x="4450" y="2090"/>
                </a:lnTo>
                <a:lnTo>
                  <a:pt x="4445" y="2084"/>
                </a:lnTo>
                <a:lnTo>
                  <a:pt x="4439" y="2078"/>
                </a:lnTo>
                <a:lnTo>
                  <a:pt x="4434" y="2072"/>
                </a:lnTo>
                <a:lnTo>
                  <a:pt x="4430" y="2065"/>
                </a:lnTo>
                <a:lnTo>
                  <a:pt x="4425" y="2058"/>
                </a:lnTo>
                <a:lnTo>
                  <a:pt x="4421" y="2051"/>
                </a:lnTo>
                <a:lnTo>
                  <a:pt x="4417" y="2044"/>
                </a:lnTo>
                <a:lnTo>
                  <a:pt x="4414" y="2037"/>
                </a:lnTo>
                <a:lnTo>
                  <a:pt x="4409" y="2029"/>
                </a:lnTo>
                <a:lnTo>
                  <a:pt x="4406" y="2022"/>
                </a:lnTo>
                <a:lnTo>
                  <a:pt x="4404" y="2014"/>
                </a:lnTo>
                <a:lnTo>
                  <a:pt x="4401" y="2005"/>
                </a:lnTo>
                <a:lnTo>
                  <a:pt x="4399" y="1996"/>
                </a:lnTo>
                <a:lnTo>
                  <a:pt x="4398" y="1988"/>
                </a:lnTo>
                <a:lnTo>
                  <a:pt x="4396" y="1979"/>
                </a:lnTo>
                <a:lnTo>
                  <a:pt x="4395" y="1970"/>
                </a:lnTo>
                <a:lnTo>
                  <a:pt x="4395" y="1961"/>
                </a:lnTo>
                <a:lnTo>
                  <a:pt x="4395" y="1952"/>
                </a:lnTo>
                <a:lnTo>
                  <a:pt x="4395" y="1932"/>
                </a:lnTo>
                <a:lnTo>
                  <a:pt x="4396" y="1923"/>
                </a:lnTo>
                <a:lnTo>
                  <a:pt x="4398" y="1914"/>
                </a:lnTo>
                <a:lnTo>
                  <a:pt x="4400" y="1905"/>
                </a:lnTo>
                <a:lnTo>
                  <a:pt x="4402" y="1896"/>
                </a:lnTo>
                <a:lnTo>
                  <a:pt x="4404" y="1886"/>
                </a:lnTo>
                <a:lnTo>
                  <a:pt x="4407" y="1878"/>
                </a:lnTo>
                <a:lnTo>
                  <a:pt x="4411" y="1869"/>
                </a:lnTo>
                <a:lnTo>
                  <a:pt x="4415" y="1861"/>
                </a:lnTo>
                <a:lnTo>
                  <a:pt x="4418" y="1853"/>
                </a:lnTo>
                <a:lnTo>
                  <a:pt x="4423" y="1845"/>
                </a:lnTo>
                <a:lnTo>
                  <a:pt x="4427" y="1838"/>
                </a:lnTo>
                <a:lnTo>
                  <a:pt x="4432" y="1829"/>
                </a:lnTo>
                <a:lnTo>
                  <a:pt x="4442" y="1815"/>
                </a:lnTo>
                <a:lnTo>
                  <a:pt x="4447" y="1809"/>
                </a:lnTo>
                <a:lnTo>
                  <a:pt x="4453" y="1803"/>
                </a:lnTo>
                <a:lnTo>
                  <a:pt x="4465" y="1791"/>
                </a:lnTo>
                <a:lnTo>
                  <a:pt x="4473" y="1786"/>
                </a:lnTo>
                <a:lnTo>
                  <a:pt x="4479" y="1781"/>
                </a:lnTo>
                <a:lnTo>
                  <a:pt x="4486" y="1777"/>
                </a:lnTo>
                <a:lnTo>
                  <a:pt x="4493" y="1773"/>
                </a:lnTo>
                <a:lnTo>
                  <a:pt x="4501" y="1768"/>
                </a:lnTo>
                <a:lnTo>
                  <a:pt x="4508" y="1765"/>
                </a:lnTo>
                <a:lnTo>
                  <a:pt x="4516" y="1762"/>
                </a:lnTo>
                <a:lnTo>
                  <a:pt x="4523" y="1760"/>
                </a:lnTo>
                <a:lnTo>
                  <a:pt x="4532" y="1758"/>
                </a:lnTo>
                <a:lnTo>
                  <a:pt x="4540" y="1757"/>
                </a:lnTo>
                <a:lnTo>
                  <a:pt x="4548" y="1756"/>
                </a:lnTo>
                <a:lnTo>
                  <a:pt x="4557" y="1756"/>
                </a:lnTo>
                <a:lnTo>
                  <a:pt x="4567" y="1756"/>
                </a:lnTo>
                <a:lnTo>
                  <a:pt x="4572" y="1757"/>
                </a:lnTo>
                <a:lnTo>
                  <a:pt x="4576" y="1758"/>
                </a:lnTo>
                <a:lnTo>
                  <a:pt x="4581" y="1759"/>
                </a:lnTo>
                <a:lnTo>
                  <a:pt x="4586" y="1760"/>
                </a:lnTo>
                <a:lnTo>
                  <a:pt x="4595" y="1763"/>
                </a:lnTo>
                <a:lnTo>
                  <a:pt x="4603" y="1767"/>
                </a:lnTo>
                <a:lnTo>
                  <a:pt x="4610" y="1773"/>
                </a:lnTo>
                <a:lnTo>
                  <a:pt x="4617" y="1778"/>
                </a:lnTo>
                <a:lnTo>
                  <a:pt x="4623" y="1784"/>
                </a:lnTo>
                <a:lnTo>
                  <a:pt x="4626" y="1787"/>
                </a:lnTo>
                <a:lnTo>
                  <a:pt x="4628" y="1791"/>
                </a:lnTo>
                <a:lnTo>
                  <a:pt x="4633" y="1798"/>
                </a:lnTo>
                <a:lnTo>
                  <a:pt x="4637" y="1806"/>
                </a:lnTo>
                <a:lnTo>
                  <a:pt x="4640" y="1814"/>
                </a:lnTo>
                <a:lnTo>
                  <a:pt x="4643" y="1823"/>
                </a:lnTo>
                <a:lnTo>
                  <a:pt x="4645" y="1833"/>
                </a:lnTo>
                <a:lnTo>
                  <a:pt x="4646" y="1842"/>
                </a:lnTo>
                <a:lnTo>
                  <a:pt x="4646" y="1852"/>
                </a:lnTo>
                <a:lnTo>
                  <a:pt x="4646" y="1865"/>
                </a:lnTo>
                <a:lnTo>
                  <a:pt x="4645" y="1871"/>
                </a:lnTo>
                <a:lnTo>
                  <a:pt x="4643" y="1877"/>
                </a:lnTo>
                <a:lnTo>
                  <a:pt x="4640" y="1889"/>
                </a:lnTo>
                <a:lnTo>
                  <a:pt x="4635" y="1902"/>
                </a:lnTo>
                <a:lnTo>
                  <a:pt x="4628" y="1913"/>
                </a:lnTo>
                <a:lnTo>
                  <a:pt x="4621" y="1923"/>
                </a:lnTo>
                <a:lnTo>
                  <a:pt x="4617" y="1928"/>
                </a:lnTo>
                <a:lnTo>
                  <a:pt x="4613" y="1933"/>
                </a:lnTo>
                <a:lnTo>
                  <a:pt x="4604" y="1943"/>
                </a:lnTo>
                <a:lnTo>
                  <a:pt x="4594" y="1952"/>
                </a:lnTo>
                <a:lnTo>
                  <a:pt x="4587" y="1956"/>
                </a:lnTo>
                <a:lnTo>
                  <a:pt x="4582" y="1960"/>
                </a:lnTo>
                <a:lnTo>
                  <a:pt x="4571" y="1966"/>
                </a:lnTo>
                <a:lnTo>
                  <a:pt x="4559" y="1972"/>
                </a:lnTo>
                <a:lnTo>
                  <a:pt x="4547" y="1976"/>
                </a:lnTo>
                <a:lnTo>
                  <a:pt x="4541" y="1978"/>
                </a:lnTo>
                <a:lnTo>
                  <a:pt x="4535" y="1980"/>
                </a:lnTo>
                <a:lnTo>
                  <a:pt x="4527" y="1981"/>
                </a:lnTo>
                <a:lnTo>
                  <a:pt x="4521" y="1982"/>
                </a:lnTo>
                <a:lnTo>
                  <a:pt x="4508" y="1982"/>
                </a:lnTo>
                <a:lnTo>
                  <a:pt x="4503" y="1982"/>
                </a:lnTo>
                <a:lnTo>
                  <a:pt x="4498" y="1980"/>
                </a:lnTo>
                <a:lnTo>
                  <a:pt x="4494" y="1977"/>
                </a:lnTo>
                <a:lnTo>
                  <a:pt x="4492" y="1975"/>
                </a:lnTo>
                <a:lnTo>
                  <a:pt x="4490" y="1973"/>
                </a:lnTo>
                <a:lnTo>
                  <a:pt x="4487" y="1969"/>
                </a:lnTo>
                <a:lnTo>
                  <a:pt x="4484" y="1963"/>
                </a:lnTo>
                <a:lnTo>
                  <a:pt x="4483" y="1961"/>
                </a:lnTo>
                <a:lnTo>
                  <a:pt x="4483" y="1958"/>
                </a:lnTo>
                <a:lnTo>
                  <a:pt x="4482" y="1950"/>
                </a:lnTo>
                <a:lnTo>
                  <a:pt x="4482" y="1947"/>
                </a:lnTo>
                <a:lnTo>
                  <a:pt x="4483" y="1945"/>
                </a:lnTo>
                <a:lnTo>
                  <a:pt x="4484" y="1940"/>
                </a:lnTo>
                <a:lnTo>
                  <a:pt x="4485" y="1938"/>
                </a:lnTo>
                <a:lnTo>
                  <a:pt x="4486" y="1936"/>
                </a:lnTo>
                <a:lnTo>
                  <a:pt x="4487" y="1934"/>
                </a:lnTo>
                <a:lnTo>
                  <a:pt x="4489" y="1933"/>
                </a:lnTo>
                <a:lnTo>
                  <a:pt x="4500" y="1931"/>
                </a:lnTo>
                <a:lnTo>
                  <a:pt x="4511" y="1928"/>
                </a:lnTo>
                <a:lnTo>
                  <a:pt x="4521" y="1925"/>
                </a:lnTo>
                <a:lnTo>
                  <a:pt x="4531" y="1921"/>
                </a:lnTo>
                <a:lnTo>
                  <a:pt x="4540" y="1917"/>
                </a:lnTo>
                <a:lnTo>
                  <a:pt x="4549" y="1911"/>
                </a:lnTo>
                <a:lnTo>
                  <a:pt x="4557" y="1906"/>
                </a:lnTo>
                <a:lnTo>
                  <a:pt x="4560" y="1903"/>
                </a:lnTo>
                <a:lnTo>
                  <a:pt x="4564" y="1900"/>
                </a:lnTo>
                <a:lnTo>
                  <a:pt x="4570" y="1894"/>
                </a:lnTo>
                <a:lnTo>
                  <a:pt x="4576" y="1886"/>
                </a:lnTo>
                <a:lnTo>
                  <a:pt x="4581" y="1880"/>
                </a:lnTo>
                <a:lnTo>
                  <a:pt x="4585" y="1873"/>
                </a:lnTo>
                <a:lnTo>
                  <a:pt x="4589" y="1866"/>
                </a:lnTo>
                <a:lnTo>
                  <a:pt x="4592" y="1859"/>
                </a:lnTo>
                <a:lnTo>
                  <a:pt x="4594" y="1852"/>
                </a:lnTo>
                <a:lnTo>
                  <a:pt x="4594" y="1845"/>
                </a:lnTo>
                <a:lnTo>
                  <a:pt x="4593" y="1837"/>
                </a:lnTo>
                <a:lnTo>
                  <a:pt x="4591" y="1828"/>
                </a:lnTo>
                <a:lnTo>
                  <a:pt x="4589" y="1825"/>
                </a:lnTo>
                <a:lnTo>
                  <a:pt x="4587" y="1822"/>
                </a:lnTo>
                <a:lnTo>
                  <a:pt x="4585" y="1819"/>
                </a:lnTo>
                <a:lnTo>
                  <a:pt x="4582" y="1817"/>
                </a:lnTo>
                <a:lnTo>
                  <a:pt x="4577" y="1812"/>
                </a:lnTo>
                <a:lnTo>
                  <a:pt x="4573" y="1811"/>
                </a:lnTo>
                <a:lnTo>
                  <a:pt x="4570" y="1809"/>
                </a:lnTo>
                <a:lnTo>
                  <a:pt x="4562" y="1807"/>
                </a:lnTo>
                <a:lnTo>
                  <a:pt x="4557" y="1807"/>
                </a:lnTo>
                <a:lnTo>
                  <a:pt x="4553" y="1807"/>
                </a:lnTo>
                <a:lnTo>
                  <a:pt x="4544" y="1807"/>
                </a:lnTo>
                <a:lnTo>
                  <a:pt x="4540" y="1808"/>
                </a:lnTo>
                <a:lnTo>
                  <a:pt x="4535" y="1810"/>
                </a:lnTo>
                <a:lnTo>
                  <a:pt x="4531" y="1811"/>
                </a:lnTo>
                <a:lnTo>
                  <a:pt x="4525" y="1813"/>
                </a:lnTo>
                <a:lnTo>
                  <a:pt x="4521" y="1815"/>
                </a:lnTo>
                <a:lnTo>
                  <a:pt x="4517" y="1818"/>
                </a:lnTo>
                <a:lnTo>
                  <a:pt x="4512" y="1821"/>
                </a:lnTo>
                <a:lnTo>
                  <a:pt x="4508" y="1824"/>
                </a:lnTo>
                <a:lnTo>
                  <a:pt x="4500" y="1832"/>
                </a:lnTo>
                <a:lnTo>
                  <a:pt x="4492" y="1840"/>
                </a:lnTo>
                <a:lnTo>
                  <a:pt x="4485" y="1849"/>
                </a:lnTo>
                <a:lnTo>
                  <a:pt x="4481" y="1854"/>
                </a:lnTo>
                <a:lnTo>
                  <a:pt x="4478" y="1859"/>
                </a:lnTo>
                <a:lnTo>
                  <a:pt x="4471" y="1870"/>
                </a:lnTo>
                <a:lnTo>
                  <a:pt x="4465" y="1881"/>
                </a:lnTo>
                <a:lnTo>
                  <a:pt x="4460" y="1894"/>
                </a:lnTo>
                <a:lnTo>
                  <a:pt x="4456" y="1907"/>
                </a:lnTo>
                <a:lnTo>
                  <a:pt x="4454" y="1920"/>
                </a:lnTo>
                <a:lnTo>
                  <a:pt x="4452" y="1934"/>
                </a:lnTo>
                <a:lnTo>
                  <a:pt x="4451" y="1941"/>
                </a:lnTo>
                <a:lnTo>
                  <a:pt x="4451" y="1948"/>
                </a:lnTo>
                <a:lnTo>
                  <a:pt x="4452" y="1962"/>
                </a:lnTo>
                <a:lnTo>
                  <a:pt x="4453" y="1974"/>
                </a:lnTo>
                <a:lnTo>
                  <a:pt x="4455" y="1986"/>
                </a:lnTo>
                <a:lnTo>
                  <a:pt x="4456" y="1991"/>
                </a:lnTo>
                <a:lnTo>
                  <a:pt x="4458" y="1997"/>
                </a:lnTo>
                <a:lnTo>
                  <a:pt x="4462" y="2007"/>
                </a:lnTo>
                <a:lnTo>
                  <a:pt x="4464" y="2013"/>
                </a:lnTo>
                <a:lnTo>
                  <a:pt x="4466" y="2018"/>
                </a:lnTo>
                <a:lnTo>
                  <a:pt x="4469" y="2023"/>
                </a:lnTo>
                <a:lnTo>
                  <a:pt x="4472" y="2027"/>
                </a:lnTo>
                <a:lnTo>
                  <a:pt x="4475" y="2031"/>
                </a:lnTo>
                <a:lnTo>
                  <a:pt x="4478" y="2035"/>
                </a:lnTo>
                <a:lnTo>
                  <a:pt x="4482" y="2039"/>
                </a:lnTo>
                <a:lnTo>
                  <a:pt x="4485" y="2043"/>
                </a:lnTo>
                <a:lnTo>
                  <a:pt x="4492" y="2050"/>
                </a:lnTo>
                <a:lnTo>
                  <a:pt x="4500" y="2055"/>
                </a:lnTo>
                <a:lnTo>
                  <a:pt x="4509" y="2060"/>
                </a:lnTo>
                <a:lnTo>
                  <a:pt x="4518" y="2064"/>
                </a:lnTo>
                <a:lnTo>
                  <a:pt x="4527" y="2067"/>
                </a:lnTo>
                <a:lnTo>
                  <a:pt x="4538" y="2068"/>
                </a:lnTo>
                <a:lnTo>
                  <a:pt x="4544" y="2069"/>
                </a:lnTo>
                <a:lnTo>
                  <a:pt x="4549" y="2069"/>
                </a:lnTo>
                <a:lnTo>
                  <a:pt x="4560" y="2068"/>
                </a:lnTo>
                <a:lnTo>
                  <a:pt x="4570" y="2067"/>
                </a:lnTo>
                <a:lnTo>
                  <a:pt x="4580" y="2064"/>
                </a:lnTo>
                <a:lnTo>
                  <a:pt x="4589" y="2061"/>
                </a:lnTo>
                <a:lnTo>
                  <a:pt x="4599" y="2057"/>
                </a:lnTo>
                <a:lnTo>
                  <a:pt x="4608" y="2052"/>
                </a:lnTo>
                <a:lnTo>
                  <a:pt x="4617" y="2046"/>
                </a:lnTo>
                <a:lnTo>
                  <a:pt x="4625" y="2039"/>
                </a:lnTo>
                <a:lnTo>
                  <a:pt x="4633" y="2032"/>
                </a:lnTo>
                <a:lnTo>
                  <a:pt x="4641" y="2024"/>
                </a:lnTo>
                <a:lnTo>
                  <a:pt x="4648" y="2016"/>
                </a:lnTo>
                <a:lnTo>
                  <a:pt x="4656" y="2006"/>
                </a:lnTo>
                <a:lnTo>
                  <a:pt x="4669" y="1986"/>
                </a:lnTo>
                <a:lnTo>
                  <a:pt x="4675" y="1976"/>
                </a:lnTo>
                <a:lnTo>
                  <a:pt x="4681" y="1965"/>
                </a:lnTo>
                <a:lnTo>
                  <a:pt x="4686" y="1954"/>
                </a:lnTo>
                <a:lnTo>
                  <a:pt x="4691" y="1942"/>
                </a:lnTo>
                <a:lnTo>
                  <a:pt x="4695" y="1930"/>
                </a:lnTo>
                <a:lnTo>
                  <a:pt x="4699" y="1919"/>
                </a:lnTo>
                <a:lnTo>
                  <a:pt x="4703" y="1907"/>
                </a:lnTo>
                <a:lnTo>
                  <a:pt x="4706" y="1895"/>
                </a:lnTo>
                <a:lnTo>
                  <a:pt x="4709" y="1882"/>
                </a:lnTo>
                <a:lnTo>
                  <a:pt x="4713" y="1870"/>
                </a:lnTo>
                <a:lnTo>
                  <a:pt x="4715" y="1858"/>
                </a:lnTo>
                <a:lnTo>
                  <a:pt x="4717" y="1846"/>
                </a:lnTo>
                <a:lnTo>
                  <a:pt x="4719" y="1834"/>
                </a:lnTo>
                <a:lnTo>
                  <a:pt x="4720" y="1822"/>
                </a:lnTo>
                <a:lnTo>
                  <a:pt x="4720" y="1810"/>
                </a:lnTo>
                <a:lnTo>
                  <a:pt x="4721" y="1799"/>
                </a:lnTo>
                <a:lnTo>
                  <a:pt x="4721" y="1788"/>
                </a:lnTo>
                <a:lnTo>
                  <a:pt x="4720" y="1778"/>
                </a:lnTo>
                <a:lnTo>
                  <a:pt x="4721" y="1776"/>
                </a:lnTo>
                <a:lnTo>
                  <a:pt x="4723" y="1773"/>
                </a:lnTo>
                <a:lnTo>
                  <a:pt x="4725" y="1770"/>
                </a:lnTo>
                <a:lnTo>
                  <a:pt x="4728" y="1769"/>
                </a:lnTo>
                <a:lnTo>
                  <a:pt x="4734" y="1766"/>
                </a:lnTo>
                <a:lnTo>
                  <a:pt x="4738" y="1765"/>
                </a:lnTo>
                <a:lnTo>
                  <a:pt x="4742" y="1765"/>
                </a:lnTo>
                <a:lnTo>
                  <a:pt x="4750" y="1765"/>
                </a:lnTo>
                <a:lnTo>
                  <a:pt x="4753" y="1766"/>
                </a:lnTo>
                <a:lnTo>
                  <a:pt x="4756" y="1767"/>
                </a:lnTo>
                <a:lnTo>
                  <a:pt x="4762" y="1770"/>
                </a:lnTo>
                <a:lnTo>
                  <a:pt x="4764" y="1773"/>
                </a:lnTo>
                <a:lnTo>
                  <a:pt x="4767" y="1775"/>
                </a:lnTo>
                <a:lnTo>
                  <a:pt x="4772" y="1781"/>
                </a:lnTo>
                <a:lnTo>
                  <a:pt x="4773" y="1784"/>
                </a:lnTo>
                <a:lnTo>
                  <a:pt x="4775" y="1788"/>
                </a:lnTo>
                <a:lnTo>
                  <a:pt x="4776" y="1793"/>
                </a:lnTo>
                <a:lnTo>
                  <a:pt x="4777" y="1797"/>
                </a:lnTo>
                <a:lnTo>
                  <a:pt x="4777" y="1803"/>
                </a:lnTo>
                <a:lnTo>
                  <a:pt x="4777" y="1809"/>
                </a:lnTo>
                <a:lnTo>
                  <a:pt x="4777" y="1824"/>
                </a:lnTo>
                <a:lnTo>
                  <a:pt x="4776" y="1841"/>
                </a:lnTo>
                <a:lnTo>
                  <a:pt x="4774" y="1856"/>
                </a:lnTo>
                <a:lnTo>
                  <a:pt x="4772" y="1871"/>
                </a:lnTo>
                <a:lnTo>
                  <a:pt x="4769" y="1886"/>
                </a:lnTo>
                <a:lnTo>
                  <a:pt x="4766" y="1902"/>
                </a:lnTo>
                <a:lnTo>
                  <a:pt x="4762" y="1916"/>
                </a:lnTo>
                <a:lnTo>
                  <a:pt x="4758" y="1930"/>
                </a:lnTo>
                <a:lnTo>
                  <a:pt x="4754" y="1944"/>
                </a:lnTo>
                <a:lnTo>
                  <a:pt x="4749" y="1959"/>
                </a:lnTo>
                <a:lnTo>
                  <a:pt x="4744" y="1972"/>
                </a:lnTo>
                <a:lnTo>
                  <a:pt x="4738" y="1985"/>
                </a:lnTo>
                <a:lnTo>
                  <a:pt x="4732" y="1997"/>
                </a:lnTo>
                <a:lnTo>
                  <a:pt x="4726" y="2009"/>
                </a:lnTo>
                <a:lnTo>
                  <a:pt x="4719" y="2022"/>
                </a:lnTo>
                <a:lnTo>
                  <a:pt x="4711" y="2033"/>
                </a:lnTo>
                <a:lnTo>
                  <a:pt x="4703" y="2043"/>
                </a:lnTo>
                <a:lnTo>
                  <a:pt x="4695" y="2054"/>
                </a:lnTo>
                <a:lnTo>
                  <a:pt x="4686" y="2063"/>
                </a:lnTo>
                <a:lnTo>
                  <a:pt x="4678" y="2073"/>
                </a:lnTo>
                <a:lnTo>
                  <a:pt x="4668" y="2082"/>
                </a:lnTo>
                <a:lnTo>
                  <a:pt x="4659" y="2090"/>
                </a:lnTo>
                <a:lnTo>
                  <a:pt x="4648" y="2097"/>
                </a:lnTo>
                <a:lnTo>
                  <a:pt x="4638" y="2103"/>
                </a:lnTo>
                <a:lnTo>
                  <a:pt x="4628" y="2109"/>
                </a:lnTo>
                <a:lnTo>
                  <a:pt x="4617" y="2114"/>
                </a:lnTo>
                <a:lnTo>
                  <a:pt x="4606" y="2119"/>
                </a:lnTo>
                <a:lnTo>
                  <a:pt x="4595" y="2122"/>
                </a:lnTo>
                <a:lnTo>
                  <a:pt x="4583" y="2125"/>
                </a:lnTo>
                <a:lnTo>
                  <a:pt x="4571" y="2127"/>
                </a:lnTo>
                <a:lnTo>
                  <a:pt x="4559" y="2129"/>
                </a:lnTo>
                <a:lnTo>
                  <a:pt x="4547" y="2129"/>
                </a:lnTo>
                <a:close/>
                <a:moveTo>
                  <a:pt x="4934" y="2123"/>
                </a:moveTo>
                <a:lnTo>
                  <a:pt x="4932" y="2123"/>
                </a:lnTo>
                <a:lnTo>
                  <a:pt x="4930" y="2123"/>
                </a:lnTo>
                <a:lnTo>
                  <a:pt x="4925" y="2120"/>
                </a:lnTo>
                <a:lnTo>
                  <a:pt x="4918" y="2116"/>
                </a:lnTo>
                <a:lnTo>
                  <a:pt x="4911" y="2110"/>
                </a:lnTo>
                <a:lnTo>
                  <a:pt x="4898" y="2099"/>
                </a:lnTo>
                <a:lnTo>
                  <a:pt x="4882" y="2085"/>
                </a:lnTo>
                <a:lnTo>
                  <a:pt x="4866" y="2068"/>
                </a:lnTo>
                <a:lnTo>
                  <a:pt x="4849" y="2051"/>
                </a:lnTo>
                <a:lnTo>
                  <a:pt x="4833" y="2034"/>
                </a:lnTo>
                <a:lnTo>
                  <a:pt x="4818" y="2018"/>
                </a:lnTo>
                <a:lnTo>
                  <a:pt x="4807" y="2003"/>
                </a:lnTo>
                <a:lnTo>
                  <a:pt x="4802" y="1997"/>
                </a:lnTo>
                <a:lnTo>
                  <a:pt x="4799" y="1991"/>
                </a:lnTo>
                <a:lnTo>
                  <a:pt x="4794" y="1981"/>
                </a:lnTo>
                <a:lnTo>
                  <a:pt x="4790" y="1971"/>
                </a:lnTo>
                <a:lnTo>
                  <a:pt x="4788" y="1962"/>
                </a:lnTo>
                <a:lnTo>
                  <a:pt x="4787" y="1952"/>
                </a:lnTo>
                <a:lnTo>
                  <a:pt x="4787" y="1945"/>
                </a:lnTo>
                <a:lnTo>
                  <a:pt x="4788" y="1940"/>
                </a:lnTo>
                <a:lnTo>
                  <a:pt x="4789" y="1934"/>
                </a:lnTo>
                <a:lnTo>
                  <a:pt x="4791" y="1928"/>
                </a:lnTo>
                <a:lnTo>
                  <a:pt x="4794" y="1922"/>
                </a:lnTo>
                <a:lnTo>
                  <a:pt x="4797" y="1915"/>
                </a:lnTo>
                <a:lnTo>
                  <a:pt x="4801" y="1909"/>
                </a:lnTo>
                <a:lnTo>
                  <a:pt x="4805" y="1902"/>
                </a:lnTo>
                <a:lnTo>
                  <a:pt x="4814" y="1890"/>
                </a:lnTo>
                <a:lnTo>
                  <a:pt x="4825" y="1876"/>
                </a:lnTo>
                <a:lnTo>
                  <a:pt x="4855" y="1842"/>
                </a:lnTo>
                <a:lnTo>
                  <a:pt x="4891" y="1802"/>
                </a:lnTo>
                <a:lnTo>
                  <a:pt x="4926" y="1761"/>
                </a:lnTo>
                <a:lnTo>
                  <a:pt x="4927" y="1761"/>
                </a:lnTo>
                <a:lnTo>
                  <a:pt x="4931" y="1760"/>
                </a:lnTo>
                <a:lnTo>
                  <a:pt x="4934" y="1761"/>
                </a:lnTo>
                <a:lnTo>
                  <a:pt x="4938" y="1762"/>
                </a:lnTo>
                <a:lnTo>
                  <a:pt x="4943" y="1764"/>
                </a:lnTo>
                <a:lnTo>
                  <a:pt x="4947" y="1766"/>
                </a:lnTo>
                <a:lnTo>
                  <a:pt x="4952" y="1769"/>
                </a:lnTo>
                <a:lnTo>
                  <a:pt x="4956" y="1774"/>
                </a:lnTo>
                <a:lnTo>
                  <a:pt x="4960" y="1778"/>
                </a:lnTo>
                <a:lnTo>
                  <a:pt x="4962" y="1783"/>
                </a:lnTo>
                <a:lnTo>
                  <a:pt x="4964" y="1788"/>
                </a:lnTo>
                <a:lnTo>
                  <a:pt x="4964" y="1793"/>
                </a:lnTo>
                <a:lnTo>
                  <a:pt x="4964" y="1798"/>
                </a:lnTo>
                <a:lnTo>
                  <a:pt x="4962" y="1803"/>
                </a:lnTo>
                <a:lnTo>
                  <a:pt x="4959" y="1809"/>
                </a:lnTo>
                <a:lnTo>
                  <a:pt x="4955" y="1815"/>
                </a:lnTo>
                <a:lnTo>
                  <a:pt x="4946" y="1825"/>
                </a:lnTo>
                <a:lnTo>
                  <a:pt x="4934" y="1840"/>
                </a:lnTo>
                <a:lnTo>
                  <a:pt x="4905" y="1873"/>
                </a:lnTo>
                <a:lnTo>
                  <a:pt x="4875" y="1907"/>
                </a:lnTo>
                <a:lnTo>
                  <a:pt x="4863" y="1921"/>
                </a:lnTo>
                <a:lnTo>
                  <a:pt x="4854" y="1933"/>
                </a:lnTo>
                <a:lnTo>
                  <a:pt x="4851" y="1937"/>
                </a:lnTo>
                <a:lnTo>
                  <a:pt x="4849" y="1940"/>
                </a:lnTo>
                <a:lnTo>
                  <a:pt x="4848" y="1944"/>
                </a:lnTo>
                <a:lnTo>
                  <a:pt x="4848" y="1948"/>
                </a:lnTo>
                <a:lnTo>
                  <a:pt x="4848" y="1953"/>
                </a:lnTo>
                <a:lnTo>
                  <a:pt x="4850" y="1957"/>
                </a:lnTo>
                <a:lnTo>
                  <a:pt x="4852" y="1962"/>
                </a:lnTo>
                <a:lnTo>
                  <a:pt x="4855" y="1967"/>
                </a:lnTo>
                <a:lnTo>
                  <a:pt x="4862" y="1976"/>
                </a:lnTo>
                <a:lnTo>
                  <a:pt x="4873" y="1987"/>
                </a:lnTo>
                <a:lnTo>
                  <a:pt x="4901" y="2017"/>
                </a:lnTo>
                <a:lnTo>
                  <a:pt x="4933" y="2050"/>
                </a:lnTo>
                <a:lnTo>
                  <a:pt x="4965" y="2081"/>
                </a:lnTo>
                <a:lnTo>
                  <a:pt x="4967" y="2083"/>
                </a:lnTo>
                <a:lnTo>
                  <a:pt x="4968" y="2085"/>
                </a:lnTo>
                <a:lnTo>
                  <a:pt x="4969" y="2087"/>
                </a:lnTo>
                <a:lnTo>
                  <a:pt x="4969" y="2090"/>
                </a:lnTo>
                <a:lnTo>
                  <a:pt x="4968" y="2095"/>
                </a:lnTo>
                <a:lnTo>
                  <a:pt x="4967" y="2098"/>
                </a:lnTo>
                <a:lnTo>
                  <a:pt x="4966" y="2101"/>
                </a:lnTo>
                <a:lnTo>
                  <a:pt x="4962" y="2107"/>
                </a:lnTo>
                <a:lnTo>
                  <a:pt x="4960" y="2109"/>
                </a:lnTo>
                <a:lnTo>
                  <a:pt x="4958" y="2112"/>
                </a:lnTo>
                <a:lnTo>
                  <a:pt x="4953" y="2116"/>
                </a:lnTo>
                <a:lnTo>
                  <a:pt x="4949" y="2118"/>
                </a:lnTo>
                <a:lnTo>
                  <a:pt x="4946" y="2120"/>
                </a:lnTo>
                <a:lnTo>
                  <a:pt x="4940" y="2123"/>
                </a:lnTo>
                <a:lnTo>
                  <a:pt x="4937" y="2123"/>
                </a:lnTo>
                <a:lnTo>
                  <a:pt x="4934" y="2123"/>
                </a:lnTo>
                <a:close/>
                <a:moveTo>
                  <a:pt x="4547" y="3095"/>
                </a:moveTo>
                <a:lnTo>
                  <a:pt x="4539" y="3094"/>
                </a:lnTo>
                <a:lnTo>
                  <a:pt x="4532" y="3094"/>
                </a:lnTo>
                <a:lnTo>
                  <a:pt x="4523" y="3093"/>
                </a:lnTo>
                <a:lnTo>
                  <a:pt x="4516" y="3090"/>
                </a:lnTo>
                <a:lnTo>
                  <a:pt x="4509" y="3088"/>
                </a:lnTo>
                <a:lnTo>
                  <a:pt x="4502" y="3086"/>
                </a:lnTo>
                <a:lnTo>
                  <a:pt x="4488" y="3080"/>
                </a:lnTo>
                <a:lnTo>
                  <a:pt x="4475" y="3073"/>
                </a:lnTo>
                <a:lnTo>
                  <a:pt x="4468" y="3069"/>
                </a:lnTo>
                <a:lnTo>
                  <a:pt x="4462" y="3064"/>
                </a:lnTo>
                <a:lnTo>
                  <a:pt x="4456" y="3059"/>
                </a:lnTo>
                <a:lnTo>
                  <a:pt x="4450" y="3054"/>
                </a:lnTo>
                <a:lnTo>
                  <a:pt x="4445" y="3049"/>
                </a:lnTo>
                <a:lnTo>
                  <a:pt x="4439" y="3043"/>
                </a:lnTo>
                <a:lnTo>
                  <a:pt x="4434" y="3037"/>
                </a:lnTo>
                <a:lnTo>
                  <a:pt x="4430" y="3029"/>
                </a:lnTo>
                <a:lnTo>
                  <a:pt x="4425" y="3023"/>
                </a:lnTo>
                <a:lnTo>
                  <a:pt x="4421" y="3016"/>
                </a:lnTo>
                <a:lnTo>
                  <a:pt x="4417" y="3009"/>
                </a:lnTo>
                <a:lnTo>
                  <a:pt x="4414" y="3001"/>
                </a:lnTo>
                <a:lnTo>
                  <a:pt x="4409" y="2994"/>
                </a:lnTo>
                <a:lnTo>
                  <a:pt x="4406" y="2986"/>
                </a:lnTo>
                <a:lnTo>
                  <a:pt x="4404" y="2978"/>
                </a:lnTo>
                <a:lnTo>
                  <a:pt x="4401" y="2969"/>
                </a:lnTo>
                <a:lnTo>
                  <a:pt x="4399" y="2961"/>
                </a:lnTo>
                <a:lnTo>
                  <a:pt x="4398" y="2952"/>
                </a:lnTo>
                <a:lnTo>
                  <a:pt x="4396" y="2943"/>
                </a:lnTo>
                <a:lnTo>
                  <a:pt x="4395" y="2934"/>
                </a:lnTo>
                <a:lnTo>
                  <a:pt x="4395" y="2925"/>
                </a:lnTo>
                <a:lnTo>
                  <a:pt x="4395" y="2916"/>
                </a:lnTo>
                <a:lnTo>
                  <a:pt x="4395" y="2897"/>
                </a:lnTo>
                <a:lnTo>
                  <a:pt x="4396" y="2887"/>
                </a:lnTo>
                <a:lnTo>
                  <a:pt x="4398" y="2878"/>
                </a:lnTo>
                <a:lnTo>
                  <a:pt x="4400" y="2869"/>
                </a:lnTo>
                <a:lnTo>
                  <a:pt x="4402" y="2860"/>
                </a:lnTo>
                <a:lnTo>
                  <a:pt x="4404" y="2852"/>
                </a:lnTo>
                <a:lnTo>
                  <a:pt x="4407" y="2842"/>
                </a:lnTo>
                <a:lnTo>
                  <a:pt x="4411" y="2834"/>
                </a:lnTo>
                <a:lnTo>
                  <a:pt x="4415" y="2825"/>
                </a:lnTo>
                <a:lnTo>
                  <a:pt x="4418" y="2817"/>
                </a:lnTo>
                <a:lnTo>
                  <a:pt x="4423" y="2810"/>
                </a:lnTo>
                <a:lnTo>
                  <a:pt x="4427" y="2802"/>
                </a:lnTo>
                <a:lnTo>
                  <a:pt x="4432" y="2795"/>
                </a:lnTo>
                <a:lnTo>
                  <a:pt x="4442" y="2780"/>
                </a:lnTo>
                <a:lnTo>
                  <a:pt x="4447" y="2773"/>
                </a:lnTo>
                <a:lnTo>
                  <a:pt x="4453" y="2767"/>
                </a:lnTo>
                <a:lnTo>
                  <a:pt x="4465" y="2756"/>
                </a:lnTo>
                <a:lnTo>
                  <a:pt x="4473" y="2751"/>
                </a:lnTo>
                <a:lnTo>
                  <a:pt x="4479" y="2746"/>
                </a:lnTo>
                <a:lnTo>
                  <a:pt x="4486" y="2741"/>
                </a:lnTo>
                <a:lnTo>
                  <a:pt x="4493" y="2737"/>
                </a:lnTo>
                <a:lnTo>
                  <a:pt x="4501" y="2734"/>
                </a:lnTo>
                <a:lnTo>
                  <a:pt x="4508" y="2730"/>
                </a:lnTo>
                <a:lnTo>
                  <a:pt x="4516" y="2727"/>
                </a:lnTo>
                <a:lnTo>
                  <a:pt x="4523" y="2725"/>
                </a:lnTo>
                <a:lnTo>
                  <a:pt x="4532" y="2723"/>
                </a:lnTo>
                <a:lnTo>
                  <a:pt x="4540" y="2721"/>
                </a:lnTo>
                <a:lnTo>
                  <a:pt x="4548" y="2721"/>
                </a:lnTo>
                <a:lnTo>
                  <a:pt x="4557" y="2720"/>
                </a:lnTo>
                <a:lnTo>
                  <a:pt x="4567" y="2721"/>
                </a:lnTo>
                <a:lnTo>
                  <a:pt x="4572" y="2721"/>
                </a:lnTo>
                <a:lnTo>
                  <a:pt x="4576" y="2722"/>
                </a:lnTo>
                <a:lnTo>
                  <a:pt x="4581" y="2723"/>
                </a:lnTo>
                <a:lnTo>
                  <a:pt x="4586" y="2725"/>
                </a:lnTo>
                <a:lnTo>
                  <a:pt x="4595" y="2728"/>
                </a:lnTo>
                <a:lnTo>
                  <a:pt x="4603" y="2733"/>
                </a:lnTo>
                <a:lnTo>
                  <a:pt x="4610" y="2737"/>
                </a:lnTo>
                <a:lnTo>
                  <a:pt x="4617" y="2743"/>
                </a:lnTo>
                <a:lnTo>
                  <a:pt x="4623" y="2749"/>
                </a:lnTo>
                <a:lnTo>
                  <a:pt x="4626" y="2752"/>
                </a:lnTo>
                <a:lnTo>
                  <a:pt x="4628" y="2755"/>
                </a:lnTo>
                <a:lnTo>
                  <a:pt x="4633" y="2762"/>
                </a:lnTo>
                <a:lnTo>
                  <a:pt x="4637" y="2770"/>
                </a:lnTo>
                <a:lnTo>
                  <a:pt x="4640" y="2778"/>
                </a:lnTo>
                <a:lnTo>
                  <a:pt x="4643" y="2787"/>
                </a:lnTo>
                <a:lnTo>
                  <a:pt x="4645" y="2797"/>
                </a:lnTo>
                <a:lnTo>
                  <a:pt x="4646" y="2807"/>
                </a:lnTo>
                <a:lnTo>
                  <a:pt x="4646" y="2817"/>
                </a:lnTo>
                <a:lnTo>
                  <a:pt x="4646" y="2829"/>
                </a:lnTo>
                <a:lnTo>
                  <a:pt x="4645" y="2835"/>
                </a:lnTo>
                <a:lnTo>
                  <a:pt x="4643" y="2842"/>
                </a:lnTo>
                <a:lnTo>
                  <a:pt x="4640" y="2854"/>
                </a:lnTo>
                <a:lnTo>
                  <a:pt x="4635" y="2866"/>
                </a:lnTo>
                <a:lnTo>
                  <a:pt x="4628" y="2877"/>
                </a:lnTo>
                <a:lnTo>
                  <a:pt x="4621" y="2888"/>
                </a:lnTo>
                <a:lnTo>
                  <a:pt x="4617" y="2893"/>
                </a:lnTo>
                <a:lnTo>
                  <a:pt x="4613" y="2898"/>
                </a:lnTo>
                <a:lnTo>
                  <a:pt x="4604" y="2907"/>
                </a:lnTo>
                <a:lnTo>
                  <a:pt x="4594" y="2916"/>
                </a:lnTo>
                <a:lnTo>
                  <a:pt x="4587" y="2920"/>
                </a:lnTo>
                <a:lnTo>
                  <a:pt x="4582" y="2924"/>
                </a:lnTo>
                <a:lnTo>
                  <a:pt x="4571" y="2931"/>
                </a:lnTo>
                <a:lnTo>
                  <a:pt x="4559" y="2936"/>
                </a:lnTo>
                <a:lnTo>
                  <a:pt x="4547" y="2941"/>
                </a:lnTo>
                <a:lnTo>
                  <a:pt x="4541" y="2943"/>
                </a:lnTo>
                <a:lnTo>
                  <a:pt x="4535" y="2944"/>
                </a:lnTo>
                <a:lnTo>
                  <a:pt x="4527" y="2945"/>
                </a:lnTo>
                <a:lnTo>
                  <a:pt x="4521" y="2946"/>
                </a:lnTo>
                <a:lnTo>
                  <a:pt x="4508" y="2947"/>
                </a:lnTo>
                <a:lnTo>
                  <a:pt x="4503" y="2946"/>
                </a:lnTo>
                <a:lnTo>
                  <a:pt x="4498" y="2944"/>
                </a:lnTo>
                <a:lnTo>
                  <a:pt x="4494" y="2942"/>
                </a:lnTo>
                <a:lnTo>
                  <a:pt x="4492" y="2940"/>
                </a:lnTo>
                <a:lnTo>
                  <a:pt x="4490" y="2938"/>
                </a:lnTo>
                <a:lnTo>
                  <a:pt x="4487" y="2933"/>
                </a:lnTo>
                <a:lnTo>
                  <a:pt x="4484" y="2928"/>
                </a:lnTo>
                <a:lnTo>
                  <a:pt x="4483" y="2925"/>
                </a:lnTo>
                <a:lnTo>
                  <a:pt x="4483" y="2922"/>
                </a:lnTo>
                <a:lnTo>
                  <a:pt x="4482" y="2916"/>
                </a:lnTo>
                <a:lnTo>
                  <a:pt x="4482" y="2913"/>
                </a:lnTo>
                <a:lnTo>
                  <a:pt x="4483" y="2909"/>
                </a:lnTo>
                <a:lnTo>
                  <a:pt x="4484" y="2904"/>
                </a:lnTo>
                <a:lnTo>
                  <a:pt x="4485" y="2902"/>
                </a:lnTo>
                <a:lnTo>
                  <a:pt x="4486" y="2900"/>
                </a:lnTo>
                <a:lnTo>
                  <a:pt x="4487" y="2899"/>
                </a:lnTo>
                <a:lnTo>
                  <a:pt x="4489" y="2897"/>
                </a:lnTo>
                <a:lnTo>
                  <a:pt x="4500" y="2896"/>
                </a:lnTo>
                <a:lnTo>
                  <a:pt x="4511" y="2893"/>
                </a:lnTo>
                <a:lnTo>
                  <a:pt x="4521" y="2890"/>
                </a:lnTo>
                <a:lnTo>
                  <a:pt x="4531" y="2886"/>
                </a:lnTo>
                <a:lnTo>
                  <a:pt x="4540" y="2881"/>
                </a:lnTo>
                <a:lnTo>
                  <a:pt x="4549" y="2876"/>
                </a:lnTo>
                <a:lnTo>
                  <a:pt x="4557" y="2870"/>
                </a:lnTo>
                <a:lnTo>
                  <a:pt x="4560" y="2868"/>
                </a:lnTo>
                <a:lnTo>
                  <a:pt x="4564" y="2865"/>
                </a:lnTo>
                <a:lnTo>
                  <a:pt x="4570" y="2858"/>
                </a:lnTo>
                <a:lnTo>
                  <a:pt x="4576" y="2852"/>
                </a:lnTo>
                <a:lnTo>
                  <a:pt x="4581" y="2844"/>
                </a:lnTo>
                <a:lnTo>
                  <a:pt x="4585" y="2837"/>
                </a:lnTo>
                <a:lnTo>
                  <a:pt x="4589" y="2830"/>
                </a:lnTo>
                <a:lnTo>
                  <a:pt x="4592" y="2823"/>
                </a:lnTo>
                <a:lnTo>
                  <a:pt x="4594" y="2816"/>
                </a:lnTo>
                <a:lnTo>
                  <a:pt x="4594" y="2809"/>
                </a:lnTo>
                <a:lnTo>
                  <a:pt x="4593" y="2801"/>
                </a:lnTo>
                <a:lnTo>
                  <a:pt x="4591" y="2794"/>
                </a:lnTo>
                <a:lnTo>
                  <a:pt x="4589" y="2789"/>
                </a:lnTo>
                <a:lnTo>
                  <a:pt x="4587" y="2786"/>
                </a:lnTo>
                <a:lnTo>
                  <a:pt x="4585" y="2784"/>
                </a:lnTo>
                <a:lnTo>
                  <a:pt x="4582" y="2781"/>
                </a:lnTo>
                <a:lnTo>
                  <a:pt x="4577" y="2777"/>
                </a:lnTo>
                <a:lnTo>
                  <a:pt x="4573" y="2775"/>
                </a:lnTo>
                <a:lnTo>
                  <a:pt x="4570" y="2774"/>
                </a:lnTo>
                <a:lnTo>
                  <a:pt x="4562" y="2772"/>
                </a:lnTo>
                <a:lnTo>
                  <a:pt x="4557" y="2771"/>
                </a:lnTo>
                <a:lnTo>
                  <a:pt x="4553" y="2771"/>
                </a:lnTo>
                <a:lnTo>
                  <a:pt x="4544" y="2772"/>
                </a:lnTo>
                <a:lnTo>
                  <a:pt x="4540" y="2773"/>
                </a:lnTo>
                <a:lnTo>
                  <a:pt x="4535" y="2774"/>
                </a:lnTo>
                <a:lnTo>
                  <a:pt x="4531" y="2776"/>
                </a:lnTo>
                <a:lnTo>
                  <a:pt x="4525" y="2777"/>
                </a:lnTo>
                <a:lnTo>
                  <a:pt x="4521" y="2780"/>
                </a:lnTo>
                <a:lnTo>
                  <a:pt x="4517" y="2782"/>
                </a:lnTo>
                <a:lnTo>
                  <a:pt x="4512" y="2785"/>
                </a:lnTo>
                <a:lnTo>
                  <a:pt x="4508" y="2788"/>
                </a:lnTo>
                <a:lnTo>
                  <a:pt x="4500" y="2796"/>
                </a:lnTo>
                <a:lnTo>
                  <a:pt x="4492" y="2804"/>
                </a:lnTo>
                <a:lnTo>
                  <a:pt x="4485" y="2813"/>
                </a:lnTo>
                <a:lnTo>
                  <a:pt x="4481" y="2818"/>
                </a:lnTo>
                <a:lnTo>
                  <a:pt x="4478" y="2823"/>
                </a:lnTo>
                <a:lnTo>
                  <a:pt x="4471" y="2834"/>
                </a:lnTo>
                <a:lnTo>
                  <a:pt x="4465" y="2845"/>
                </a:lnTo>
                <a:lnTo>
                  <a:pt x="4460" y="2859"/>
                </a:lnTo>
                <a:lnTo>
                  <a:pt x="4456" y="2871"/>
                </a:lnTo>
                <a:lnTo>
                  <a:pt x="4454" y="2885"/>
                </a:lnTo>
                <a:lnTo>
                  <a:pt x="4452" y="2899"/>
                </a:lnTo>
                <a:lnTo>
                  <a:pt x="4451" y="2906"/>
                </a:lnTo>
                <a:lnTo>
                  <a:pt x="4451" y="2914"/>
                </a:lnTo>
                <a:lnTo>
                  <a:pt x="4452" y="2926"/>
                </a:lnTo>
                <a:lnTo>
                  <a:pt x="4453" y="2939"/>
                </a:lnTo>
                <a:lnTo>
                  <a:pt x="4455" y="2950"/>
                </a:lnTo>
                <a:lnTo>
                  <a:pt x="4456" y="2956"/>
                </a:lnTo>
                <a:lnTo>
                  <a:pt x="4458" y="2961"/>
                </a:lnTo>
                <a:lnTo>
                  <a:pt x="4462" y="2973"/>
                </a:lnTo>
                <a:lnTo>
                  <a:pt x="4464" y="2978"/>
                </a:lnTo>
                <a:lnTo>
                  <a:pt x="4466" y="2983"/>
                </a:lnTo>
                <a:lnTo>
                  <a:pt x="4469" y="2987"/>
                </a:lnTo>
                <a:lnTo>
                  <a:pt x="4472" y="2992"/>
                </a:lnTo>
                <a:lnTo>
                  <a:pt x="4475" y="2996"/>
                </a:lnTo>
                <a:lnTo>
                  <a:pt x="4478" y="3000"/>
                </a:lnTo>
                <a:lnTo>
                  <a:pt x="4482" y="3004"/>
                </a:lnTo>
                <a:lnTo>
                  <a:pt x="4485" y="3007"/>
                </a:lnTo>
                <a:lnTo>
                  <a:pt x="4492" y="3014"/>
                </a:lnTo>
                <a:lnTo>
                  <a:pt x="4500" y="3020"/>
                </a:lnTo>
                <a:lnTo>
                  <a:pt x="4509" y="3025"/>
                </a:lnTo>
                <a:lnTo>
                  <a:pt x="4518" y="3028"/>
                </a:lnTo>
                <a:lnTo>
                  <a:pt x="4527" y="3032"/>
                </a:lnTo>
                <a:lnTo>
                  <a:pt x="4538" y="3034"/>
                </a:lnTo>
                <a:lnTo>
                  <a:pt x="4544" y="3034"/>
                </a:lnTo>
                <a:lnTo>
                  <a:pt x="4549" y="3034"/>
                </a:lnTo>
                <a:lnTo>
                  <a:pt x="4560" y="3034"/>
                </a:lnTo>
                <a:lnTo>
                  <a:pt x="4570" y="3032"/>
                </a:lnTo>
                <a:lnTo>
                  <a:pt x="4580" y="3029"/>
                </a:lnTo>
                <a:lnTo>
                  <a:pt x="4589" y="3026"/>
                </a:lnTo>
                <a:lnTo>
                  <a:pt x="4599" y="3021"/>
                </a:lnTo>
                <a:lnTo>
                  <a:pt x="4608" y="3016"/>
                </a:lnTo>
                <a:lnTo>
                  <a:pt x="4617" y="3010"/>
                </a:lnTo>
                <a:lnTo>
                  <a:pt x="4625" y="3004"/>
                </a:lnTo>
                <a:lnTo>
                  <a:pt x="4633" y="2997"/>
                </a:lnTo>
                <a:lnTo>
                  <a:pt x="4641" y="2989"/>
                </a:lnTo>
                <a:lnTo>
                  <a:pt x="4648" y="2980"/>
                </a:lnTo>
                <a:lnTo>
                  <a:pt x="4656" y="2970"/>
                </a:lnTo>
                <a:lnTo>
                  <a:pt x="4669" y="2951"/>
                </a:lnTo>
                <a:lnTo>
                  <a:pt x="4675" y="2941"/>
                </a:lnTo>
                <a:lnTo>
                  <a:pt x="4681" y="2930"/>
                </a:lnTo>
                <a:lnTo>
                  <a:pt x="4686" y="2919"/>
                </a:lnTo>
                <a:lnTo>
                  <a:pt x="4691" y="2906"/>
                </a:lnTo>
                <a:lnTo>
                  <a:pt x="4695" y="2895"/>
                </a:lnTo>
                <a:lnTo>
                  <a:pt x="4699" y="2883"/>
                </a:lnTo>
                <a:lnTo>
                  <a:pt x="4703" y="2871"/>
                </a:lnTo>
                <a:lnTo>
                  <a:pt x="4706" y="2859"/>
                </a:lnTo>
                <a:lnTo>
                  <a:pt x="4709" y="2846"/>
                </a:lnTo>
                <a:lnTo>
                  <a:pt x="4713" y="2834"/>
                </a:lnTo>
                <a:lnTo>
                  <a:pt x="4715" y="2822"/>
                </a:lnTo>
                <a:lnTo>
                  <a:pt x="4717" y="2810"/>
                </a:lnTo>
                <a:lnTo>
                  <a:pt x="4719" y="2799"/>
                </a:lnTo>
                <a:lnTo>
                  <a:pt x="4720" y="2786"/>
                </a:lnTo>
                <a:lnTo>
                  <a:pt x="4720" y="2775"/>
                </a:lnTo>
                <a:lnTo>
                  <a:pt x="4721" y="2764"/>
                </a:lnTo>
                <a:lnTo>
                  <a:pt x="4721" y="2753"/>
                </a:lnTo>
                <a:lnTo>
                  <a:pt x="4720" y="2742"/>
                </a:lnTo>
                <a:lnTo>
                  <a:pt x="4721" y="2740"/>
                </a:lnTo>
                <a:lnTo>
                  <a:pt x="4723" y="2738"/>
                </a:lnTo>
                <a:lnTo>
                  <a:pt x="4725" y="2736"/>
                </a:lnTo>
                <a:lnTo>
                  <a:pt x="4728" y="2734"/>
                </a:lnTo>
                <a:lnTo>
                  <a:pt x="4734" y="2730"/>
                </a:lnTo>
                <a:lnTo>
                  <a:pt x="4738" y="2730"/>
                </a:lnTo>
                <a:lnTo>
                  <a:pt x="4742" y="2729"/>
                </a:lnTo>
                <a:lnTo>
                  <a:pt x="4750" y="2730"/>
                </a:lnTo>
                <a:lnTo>
                  <a:pt x="4753" y="2732"/>
                </a:lnTo>
                <a:lnTo>
                  <a:pt x="4756" y="2732"/>
                </a:lnTo>
                <a:lnTo>
                  <a:pt x="4762" y="2735"/>
                </a:lnTo>
                <a:lnTo>
                  <a:pt x="4764" y="2737"/>
                </a:lnTo>
                <a:lnTo>
                  <a:pt x="4767" y="2740"/>
                </a:lnTo>
                <a:lnTo>
                  <a:pt x="4772" y="2745"/>
                </a:lnTo>
                <a:lnTo>
                  <a:pt x="4773" y="2749"/>
                </a:lnTo>
                <a:lnTo>
                  <a:pt x="4775" y="2753"/>
                </a:lnTo>
                <a:lnTo>
                  <a:pt x="4776" y="2757"/>
                </a:lnTo>
                <a:lnTo>
                  <a:pt x="4777" y="2762"/>
                </a:lnTo>
                <a:lnTo>
                  <a:pt x="4777" y="2767"/>
                </a:lnTo>
                <a:lnTo>
                  <a:pt x="4777" y="2773"/>
                </a:lnTo>
                <a:lnTo>
                  <a:pt x="4777" y="2789"/>
                </a:lnTo>
                <a:lnTo>
                  <a:pt x="4776" y="2805"/>
                </a:lnTo>
                <a:lnTo>
                  <a:pt x="4774" y="2820"/>
                </a:lnTo>
                <a:lnTo>
                  <a:pt x="4772" y="2835"/>
                </a:lnTo>
                <a:lnTo>
                  <a:pt x="4769" y="2850"/>
                </a:lnTo>
                <a:lnTo>
                  <a:pt x="4766" y="2866"/>
                </a:lnTo>
                <a:lnTo>
                  <a:pt x="4762" y="2880"/>
                </a:lnTo>
                <a:lnTo>
                  <a:pt x="4758" y="2895"/>
                </a:lnTo>
                <a:lnTo>
                  <a:pt x="4754" y="2908"/>
                </a:lnTo>
                <a:lnTo>
                  <a:pt x="4749" y="2923"/>
                </a:lnTo>
                <a:lnTo>
                  <a:pt x="4744" y="2936"/>
                </a:lnTo>
                <a:lnTo>
                  <a:pt x="4738" y="2949"/>
                </a:lnTo>
                <a:lnTo>
                  <a:pt x="4732" y="2961"/>
                </a:lnTo>
                <a:lnTo>
                  <a:pt x="4726" y="2975"/>
                </a:lnTo>
                <a:lnTo>
                  <a:pt x="4719" y="2986"/>
                </a:lnTo>
                <a:lnTo>
                  <a:pt x="4711" y="2997"/>
                </a:lnTo>
                <a:lnTo>
                  <a:pt x="4703" y="3008"/>
                </a:lnTo>
                <a:lnTo>
                  <a:pt x="4695" y="3018"/>
                </a:lnTo>
                <a:lnTo>
                  <a:pt x="4686" y="3028"/>
                </a:lnTo>
                <a:lnTo>
                  <a:pt x="4678" y="3038"/>
                </a:lnTo>
                <a:lnTo>
                  <a:pt x="4668" y="3046"/>
                </a:lnTo>
                <a:lnTo>
                  <a:pt x="4659" y="3054"/>
                </a:lnTo>
                <a:lnTo>
                  <a:pt x="4648" y="3061"/>
                </a:lnTo>
                <a:lnTo>
                  <a:pt x="4638" y="3068"/>
                </a:lnTo>
                <a:lnTo>
                  <a:pt x="4628" y="3074"/>
                </a:lnTo>
                <a:lnTo>
                  <a:pt x="4617" y="3079"/>
                </a:lnTo>
                <a:lnTo>
                  <a:pt x="4606" y="3083"/>
                </a:lnTo>
                <a:lnTo>
                  <a:pt x="4595" y="3087"/>
                </a:lnTo>
                <a:lnTo>
                  <a:pt x="4583" y="3090"/>
                </a:lnTo>
                <a:lnTo>
                  <a:pt x="4571" y="3093"/>
                </a:lnTo>
                <a:lnTo>
                  <a:pt x="4559" y="3094"/>
                </a:lnTo>
                <a:lnTo>
                  <a:pt x="4547" y="3095"/>
                </a:lnTo>
                <a:close/>
                <a:moveTo>
                  <a:pt x="4934" y="3088"/>
                </a:moveTo>
                <a:lnTo>
                  <a:pt x="4932" y="3088"/>
                </a:lnTo>
                <a:lnTo>
                  <a:pt x="4930" y="3087"/>
                </a:lnTo>
                <a:lnTo>
                  <a:pt x="4925" y="3084"/>
                </a:lnTo>
                <a:lnTo>
                  <a:pt x="4918" y="3080"/>
                </a:lnTo>
                <a:lnTo>
                  <a:pt x="4911" y="3075"/>
                </a:lnTo>
                <a:lnTo>
                  <a:pt x="4898" y="3064"/>
                </a:lnTo>
                <a:lnTo>
                  <a:pt x="4882" y="3050"/>
                </a:lnTo>
                <a:lnTo>
                  <a:pt x="4866" y="3034"/>
                </a:lnTo>
                <a:lnTo>
                  <a:pt x="4849" y="3016"/>
                </a:lnTo>
                <a:lnTo>
                  <a:pt x="4833" y="2999"/>
                </a:lnTo>
                <a:lnTo>
                  <a:pt x="4818" y="2983"/>
                </a:lnTo>
                <a:lnTo>
                  <a:pt x="4807" y="2967"/>
                </a:lnTo>
                <a:lnTo>
                  <a:pt x="4802" y="2961"/>
                </a:lnTo>
                <a:lnTo>
                  <a:pt x="4799" y="2956"/>
                </a:lnTo>
                <a:lnTo>
                  <a:pt x="4794" y="2946"/>
                </a:lnTo>
                <a:lnTo>
                  <a:pt x="4790" y="2936"/>
                </a:lnTo>
                <a:lnTo>
                  <a:pt x="4788" y="2926"/>
                </a:lnTo>
                <a:lnTo>
                  <a:pt x="4787" y="2916"/>
                </a:lnTo>
                <a:lnTo>
                  <a:pt x="4787" y="2910"/>
                </a:lnTo>
                <a:lnTo>
                  <a:pt x="4788" y="2904"/>
                </a:lnTo>
                <a:lnTo>
                  <a:pt x="4789" y="2898"/>
                </a:lnTo>
                <a:lnTo>
                  <a:pt x="4791" y="2892"/>
                </a:lnTo>
                <a:lnTo>
                  <a:pt x="4794" y="2886"/>
                </a:lnTo>
                <a:lnTo>
                  <a:pt x="4797" y="2880"/>
                </a:lnTo>
                <a:lnTo>
                  <a:pt x="4801" y="2873"/>
                </a:lnTo>
                <a:lnTo>
                  <a:pt x="4805" y="2866"/>
                </a:lnTo>
                <a:lnTo>
                  <a:pt x="4814" y="2855"/>
                </a:lnTo>
                <a:lnTo>
                  <a:pt x="4825" y="2841"/>
                </a:lnTo>
                <a:lnTo>
                  <a:pt x="4855" y="2807"/>
                </a:lnTo>
                <a:lnTo>
                  <a:pt x="4891" y="2767"/>
                </a:lnTo>
                <a:lnTo>
                  <a:pt x="4926" y="2726"/>
                </a:lnTo>
                <a:lnTo>
                  <a:pt x="4927" y="2725"/>
                </a:lnTo>
                <a:lnTo>
                  <a:pt x="4931" y="2725"/>
                </a:lnTo>
                <a:lnTo>
                  <a:pt x="4934" y="2725"/>
                </a:lnTo>
                <a:lnTo>
                  <a:pt x="4938" y="2726"/>
                </a:lnTo>
                <a:lnTo>
                  <a:pt x="4943" y="2728"/>
                </a:lnTo>
                <a:lnTo>
                  <a:pt x="4947" y="2732"/>
                </a:lnTo>
                <a:lnTo>
                  <a:pt x="4952" y="2735"/>
                </a:lnTo>
                <a:lnTo>
                  <a:pt x="4956" y="2739"/>
                </a:lnTo>
                <a:lnTo>
                  <a:pt x="4960" y="2743"/>
                </a:lnTo>
                <a:lnTo>
                  <a:pt x="4962" y="2748"/>
                </a:lnTo>
                <a:lnTo>
                  <a:pt x="4964" y="2752"/>
                </a:lnTo>
                <a:lnTo>
                  <a:pt x="4964" y="2757"/>
                </a:lnTo>
                <a:lnTo>
                  <a:pt x="4964" y="2762"/>
                </a:lnTo>
                <a:lnTo>
                  <a:pt x="4962" y="2768"/>
                </a:lnTo>
                <a:lnTo>
                  <a:pt x="4959" y="2773"/>
                </a:lnTo>
                <a:lnTo>
                  <a:pt x="4955" y="2779"/>
                </a:lnTo>
                <a:lnTo>
                  <a:pt x="4946" y="2790"/>
                </a:lnTo>
                <a:lnTo>
                  <a:pt x="4934" y="2804"/>
                </a:lnTo>
                <a:lnTo>
                  <a:pt x="4905" y="2837"/>
                </a:lnTo>
                <a:lnTo>
                  <a:pt x="4875" y="2871"/>
                </a:lnTo>
                <a:lnTo>
                  <a:pt x="4863" y="2886"/>
                </a:lnTo>
                <a:lnTo>
                  <a:pt x="4854" y="2897"/>
                </a:lnTo>
                <a:lnTo>
                  <a:pt x="4851" y="2901"/>
                </a:lnTo>
                <a:lnTo>
                  <a:pt x="4849" y="2905"/>
                </a:lnTo>
                <a:lnTo>
                  <a:pt x="4848" y="2908"/>
                </a:lnTo>
                <a:lnTo>
                  <a:pt x="4848" y="2913"/>
                </a:lnTo>
                <a:lnTo>
                  <a:pt x="4848" y="2917"/>
                </a:lnTo>
                <a:lnTo>
                  <a:pt x="4850" y="2922"/>
                </a:lnTo>
                <a:lnTo>
                  <a:pt x="4852" y="2926"/>
                </a:lnTo>
                <a:lnTo>
                  <a:pt x="4855" y="2931"/>
                </a:lnTo>
                <a:lnTo>
                  <a:pt x="4862" y="2940"/>
                </a:lnTo>
                <a:lnTo>
                  <a:pt x="4873" y="2952"/>
                </a:lnTo>
                <a:lnTo>
                  <a:pt x="4901" y="2982"/>
                </a:lnTo>
                <a:lnTo>
                  <a:pt x="4933" y="3014"/>
                </a:lnTo>
                <a:lnTo>
                  <a:pt x="4965" y="3045"/>
                </a:lnTo>
                <a:lnTo>
                  <a:pt x="4967" y="3047"/>
                </a:lnTo>
                <a:lnTo>
                  <a:pt x="4968" y="3049"/>
                </a:lnTo>
                <a:lnTo>
                  <a:pt x="4969" y="3051"/>
                </a:lnTo>
                <a:lnTo>
                  <a:pt x="4969" y="3054"/>
                </a:lnTo>
                <a:lnTo>
                  <a:pt x="4968" y="3060"/>
                </a:lnTo>
                <a:lnTo>
                  <a:pt x="4967" y="3062"/>
                </a:lnTo>
                <a:lnTo>
                  <a:pt x="4966" y="3065"/>
                </a:lnTo>
                <a:lnTo>
                  <a:pt x="4962" y="3071"/>
                </a:lnTo>
                <a:lnTo>
                  <a:pt x="4960" y="3074"/>
                </a:lnTo>
                <a:lnTo>
                  <a:pt x="4958" y="3076"/>
                </a:lnTo>
                <a:lnTo>
                  <a:pt x="4953" y="3081"/>
                </a:lnTo>
                <a:lnTo>
                  <a:pt x="4949" y="3083"/>
                </a:lnTo>
                <a:lnTo>
                  <a:pt x="4946" y="3085"/>
                </a:lnTo>
                <a:lnTo>
                  <a:pt x="4940" y="3087"/>
                </a:lnTo>
                <a:lnTo>
                  <a:pt x="4937" y="3088"/>
                </a:lnTo>
                <a:lnTo>
                  <a:pt x="4934" y="3088"/>
                </a:lnTo>
                <a:close/>
                <a:moveTo>
                  <a:pt x="1465" y="1136"/>
                </a:moveTo>
                <a:lnTo>
                  <a:pt x="1457" y="1136"/>
                </a:lnTo>
                <a:lnTo>
                  <a:pt x="1450" y="1135"/>
                </a:lnTo>
                <a:lnTo>
                  <a:pt x="1442" y="1134"/>
                </a:lnTo>
                <a:lnTo>
                  <a:pt x="1435" y="1132"/>
                </a:lnTo>
                <a:lnTo>
                  <a:pt x="1428" y="1131"/>
                </a:lnTo>
                <a:lnTo>
                  <a:pt x="1420" y="1128"/>
                </a:lnTo>
                <a:lnTo>
                  <a:pt x="1406" y="1122"/>
                </a:lnTo>
                <a:lnTo>
                  <a:pt x="1393" y="1115"/>
                </a:lnTo>
                <a:lnTo>
                  <a:pt x="1386" y="1110"/>
                </a:lnTo>
                <a:lnTo>
                  <a:pt x="1380" y="1105"/>
                </a:lnTo>
                <a:lnTo>
                  <a:pt x="1374" y="1101"/>
                </a:lnTo>
                <a:lnTo>
                  <a:pt x="1369" y="1095"/>
                </a:lnTo>
                <a:lnTo>
                  <a:pt x="1363" y="1090"/>
                </a:lnTo>
                <a:lnTo>
                  <a:pt x="1358" y="1084"/>
                </a:lnTo>
                <a:lnTo>
                  <a:pt x="1353" y="1078"/>
                </a:lnTo>
                <a:lnTo>
                  <a:pt x="1348" y="1072"/>
                </a:lnTo>
                <a:lnTo>
                  <a:pt x="1343" y="1065"/>
                </a:lnTo>
                <a:lnTo>
                  <a:pt x="1339" y="1058"/>
                </a:lnTo>
                <a:lnTo>
                  <a:pt x="1335" y="1050"/>
                </a:lnTo>
                <a:lnTo>
                  <a:pt x="1331" y="1043"/>
                </a:lnTo>
                <a:lnTo>
                  <a:pt x="1328" y="1035"/>
                </a:lnTo>
                <a:lnTo>
                  <a:pt x="1325" y="1027"/>
                </a:lnTo>
                <a:lnTo>
                  <a:pt x="1322" y="1020"/>
                </a:lnTo>
                <a:lnTo>
                  <a:pt x="1320" y="1011"/>
                </a:lnTo>
                <a:lnTo>
                  <a:pt x="1318" y="1003"/>
                </a:lnTo>
                <a:lnTo>
                  <a:pt x="1316" y="994"/>
                </a:lnTo>
                <a:lnTo>
                  <a:pt x="1315" y="985"/>
                </a:lnTo>
                <a:lnTo>
                  <a:pt x="1314" y="976"/>
                </a:lnTo>
                <a:lnTo>
                  <a:pt x="1314" y="967"/>
                </a:lnTo>
                <a:lnTo>
                  <a:pt x="1313" y="958"/>
                </a:lnTo>
                <a:lnTo>
                  <a:pt x="1314" y="939"/>
                </a:lnTo>
                <a:lnTo>
                  <a:pt x="1315" y="929"/>
                </a:lnTo>
                <a:lnTo>
                  <a:pt x="1317" y="920"/>
                </a:lnTo>
                <a:lnTo>
                  <a:pt x="1318" y="911"/>
                </a:lnTo>
                <a:lnTo>
                  <a:pt x="1320" y="902"/>
                </a:lnTo>
                <a:lnTo>
                  <a:pt x="1323" y="893"/>
                </a:lnTo>
                <a:lnTo>
                  <a:pt x="1326" y="884"/>
                </a:lnTo>
                <a:lnTo>
                  <a:pt x="1329" y="876"/>
                </a:lnTo>
                <a:lnTo>
                  <a:pt x="1332" y="867"/>
                </a:lnTo>
                <a:lnTo>
                  <a:pt x="1336" y="859"/>
                </a:lnTo>
                <a:lnTo>
                  <a:pt x="1340" y="851"/>
                </a:lnTo>
                <a:lnTo>
                  <a:pt x="1345" y="843"/>
                </a:lnTo>
                <a:lnTo>
                  <a:pt x="1349" y="836"/>
                </a:lnTo>
                <a:lnTo>
                  <a:pt x="1361" y="822"/>
                </a:lnTo>
                <a:lnTo>
                  <a:pt x="1366" y="816"/>
                </a:lnTo>
                <a:lnTo>
                  <a:pt x="1372" y="809"/>
                </a:lnTo>
                <a:lnTo>
                  <a:pt x="1384" y="797"/>
                </a:lnTo>
                <a:lnTo>
                  <a:pt x="1391" y="792"/>
                </a:lnTo>
                <a:lnTo>
                  <a:pt x="1397" y="787"/>
                </a:lnTo>
                <a:lnTo>
                  <a:pt x="1404" y="783"/>
                </a:lnTo>
                <a:lnTo>
                  <a:pt x="1412" y="779"/>
                </a:lnTo>
                <a:lnTo>
                  <a:pt x="1419" y="775"/>
                </a:lnTo>
                <a:lnTo>
                  <a:pt x="1427" y="772"/>
                </a:lnTo>
                <a:lnTo>
                  <a:pt x="1434" y="769"/>
                </a:lnTo>
                <a:lnTo>
                  <a:pt x="1442" y="767"/>
                </a:lnTo>
                <a:lnTo>
                  <a:pt x="1450" y="765"/>
                </a:lnTo>
                <a:lnTo>
                  <a:pt x="1458" y="764"/>
                </a:lnTo>
                <a:lnTo>
                  <a:pt x="1466" y="763"/>
                </a:lnTo>
                <a:lnTo>
                  <a:pt x="1475" y="763"/>
                </a:lnTo>
                <a:lnTo>
                  <a:pt x="1486" y="763"/>
                </a:lnTo>
                <a:lnTo>
                  <a:pt x="1490" y="764"/>
                </a:lnTo>
                <a:lnTo>
                  <a:pt x="1495" y="765"/>
                </a:lnTo>
                <a:lnTo>
                  <a:pt x="1500" y="766"/>
                </a:lnTo>
                <a:lnTo>
                  <a:pt x="1504" y="767"/>
                </a:lnTo>
                <a:lnTo>
                  <a:pt x="1513" y="770"/>
                </a:lnTo>
                <a:lnTo>
                  <a:pt x="1521" y="774"/>
                </a:lnTo>
                <a:lnTo>
                  <a:pt x="1528" y="779"/>
                </a:lnTo>
                <a:lnTo>
                  <a:pt x="1536" y="784"/>
                </a:lnTo>
                <a:lnTo>
                  <a:pt x="1542" y="790"/>
                </a:lnTo>
                <a:lnTo>
                  <a:pt x="1544" y="793"/>
                </a:lnTo>
                <a:lnTo>
                  <a:pt x="1547" y="797"/>
                </a:lnTo>
                <a:lnTo>
                  <a:pt x="1552" y="804"/>
                </a:lnTo>
                <a:lnTo>
                  <a:pt x="1556" y="813"/>
                </a:lnTo>
                <a:lnTo>
                  <a:pt x="1559" y="821"/>
                </a:lnTo>
                <a:lnTo>
                  <a:pt x="1562" y="830"/>
                </a:lnTo>
                <a:lnTo>
                  <a:pt x="1564" y="839"/>
                </a:lnTo>
                <a:lnTo>
                  <a:pt x="1565" y="848"/>
                </a:lnTo>
                <a:lnTo>
                  <a:pt x="1565" y="858"/>
                </a:lnTo>
                <a:lnTo>
                  <a:pt x="1564" y="872"/>
                </a:lnTo>
                <a:lnTo>
                  <a:pt x="1563" y="878"/>
                </a:lnTo>
                <a:lnTo>
                  <a:pt x="1562" y="884"/>
                </a:lnTo>
                <a:lnTo>
                  <a:pt x="1558" y="896"/>
                </a:lnTo>
                <a:lnTo>
                  <a:pt x="1553" y="907"/>
                </a:lnTo>
                <a:lnTo>
                  <a:pt x="1547" y="919"/>
                </a:lnTo>
                <a:lnTo>
                  <a:pt x="1540" y="929"/>
                </a:lnTo>
                <a:lnTo>
                  <a:pt x="1536" y="935"/>
                </a:lnTo>
                <a:lnTo>
                  <a:pt x="1532" y="940"/>
                </a:lnTo>
                <a:lnTo>
                  <a:pt x="1521" y="949"/>
                </a:lnTo>
                <a:lnTo>
                  <a:pt x="1511" y="958"/>
                </a:lnTo>
                <a:lnTo>
                  <a:pt x="1506" y="962"/>
                </a:lnTo>
                <a:lnTo>
                  <a:pt x="1501" y="965"/>
                </a:lnTo>
                <a:lnTo>
                  <a:pt x="1489" y="972"/>
                </a:lnTo>
                <a:lnTo>
                  <a:pt x="1478" y="978"/>
                </a:lnTo>
                <a:lnTo>
                  <a:pt x="1465" y="982"/>
                </a:lnTo>
                <a:lnTo>
                  <a:pt x="1458" y="984"/>
                </a:lnTo>
                <a:lnTo>
                  <a:pt x="1452" y="986"/>
                </a:lnTo>
                <a:lnTo>
                  <a:pt x="1446" y="987"/>
                </a:lnTo>
                <a:lnTo>
                  <a:pt x="1440" y="988"/>
                </a:lnTo>
                <a:lnTo>
                  <a:pt x="1427" y="988"/>
                </a:lnTo>
                <a:lnTo>
                  <a:pt x="1422" y="988"/>
                </a:lnTo>
                <a:lnTo>
                  <a:pt x="1417" y="986"/>
                </a:lnTo>
                <a:lnTo>
                  <a:pt x="1412" y="983"/>
                </a:lnTo>
                <a:lnTo>
                  <a:pt x="1409" y="981"/>
                </a:lnTo>
                <a:lnTo>
                  <a:pt x="1408" y="979"/>
                </a:lnTo>
                <a:lnTo>
                  <a:pt x="1404" y="974"/>
                </a:lnTo>
                <a:lnTo>
                  <a:pt x="1402" y="969"/>
                </a:lnTo>
                <a:lnTo>
                  <a:pt x="1401" y="966"/>
                </a:lnTo>
                <a:lnTo>
                  <a:pt x="1400" y="963"/>
                </a:lnTo>
                <a:lnTo>
                  <a:pt x="1400" y="957"/>
                </a:lnTo>
                <a:lnTo>
                  <a:pt x="1400" y="954"/>
                </a:lnTo>
                <a:lnTo>
                  <a:pt x="1400" y="951"/>
                </a:lnTo>
                <a:lnTo>
                  <a:pt x="1402" y="947"/>
                </a:lnTo>
                <a:lnTo>
                  <a:pt x="1403" y="944"/>
                </a:lnTo>
                <a:lnTo>
                  <a:pt x="1404" y="943"/>
                </a:lnTo>
                <a:lnTo>
                  <a:pt x="1405" y="941"/>
                </a:lnTo>
                <a:lnTo>
                  <a:pt x="1407" y="940"/>
                </a:lnTo>
                <a:lnTo>
                  <a:pt x="1419" y="938"/>
                </a:lnTo>
                <a:lnTo>
                  <a:pt x="1429" y="935"/>
                </a:lnTo>
                <a:lnTo>
                  <a:pt x="1440" y="932"/>
                </a:lnTo>
                <a:lnTo>
                  <a:pt x="1449" y="927"/>
                </a:lnTo>
                <a:lnTo>
                  <a:pt x="1458" y="922"/>
                </a:lnTo>
                <a:lnTo>
                  <a:pt x="1467" y="917"/>
                </a:lnTo>
                <a:lnTo>
                  <a:pt x="1475" y="912"/>
                </a:lnTo>
                <a:lnTo>
                  <a:pt x="1479" y="909"/>
                </a:lnTo>
                <a:lnTo>
                  <a:pt x="1483" y="906"/>
                </a:lnTo>
                <a:lnTo>
                  <a:pt x="1489" y="900"/>
                </a:lnTo>
                <a:lnTo>
                  <a:pt x="1495" y="893"/>
                </a:lnTo>
                <a:lnTo>
                  <a:pt x="1500" y="886"/>
                </a:lnTo>
                <a:lnTo>
                  <a:pt x="1504" y="880"/>
                </a:lnTo>
                <a:lnTo>
                  <a:pt x="1507" y="873"/>
                </a:lnTo>
                <a:lnTo>
                  <a:pt x="1510" y="865"/>
                </a:lnTo>
                <a:lnTo>
                  <a:pt x="1511" y="857"/>
                </a:lnTo>
                <a:lnTo>
                  <a:pt x="1512" y="850"/>
                </a:lnTo>
                <a:lnTo>
                  <a:pt x="1511" y="842"/>
                </a:lnTo>
                <a:lnTo>
                  <a:pt x="1509" y="835"/>
                </a:lnTo>
                <a:lnTo>
                  <a:pt x="1508" y="832"/>
                </a:lnTo>
                <a:lnTo>
                  <a:pt x="1506" y="829"/>
                </a:lnTo>
                <a:lnTo>
                  <a:pt x="1504" y="826"/>
                </a:lnTo>
                <a:lnTo>
                  <a:pt x="1501" y="823"/>
                </a:lnTo>
                <a:lnTo>
                  <a:pt x="1495" y="819"/>
                </a:lnTo>
                <a:lnTo>
                  <a:pt x="1492" y="817"/>
                </a:lnTo>
                <a:lnTo>
                  <a:pt x="1488" y="816"/>
                </a:lnTo>
                <a:lnTo>
                  <a:pt x="1480" y="814"/>
                </a:lnTo>
                <a:lnTo>
                  <a:pt x="1476" y="814"/>
                </a:lnTo>
                <a:lnTo>
                  <a:pt x="1472" y="814"/>
                </a:lnTo>
                <a:lnTo>
                  <a:pt x="1462" y="814"/>
                </a:lnTo>
                <a:lnTo>
                  <a:pt x="1457" y="815"/>
                </a:lnTo>
                <a:lnTo>
                  <a:pt x="1453" y="816"/>
                </a:lnTo>
                <a:lnTo>
                  <a:pt x="1448" y="818"/>
                </a:lnTo>
                <a:lnTo>
                  <a:pt x="1444" y="820"/>
                </a:lnTo>
                <a:lnTo>
                  <a:pt x="1440" y="822"/>
                </a:lnTo>
                <a:lnTo>
                  <a:pt x="1435" y="825"/>
                </a:lnTo>
                <a:lnTo>
                  <a:pt x="1431" y="827"/>
                </a:lnTo>
                <a:lnTo>
                  <a:pt x="1427" y="830"/>
                </a:lnTo>
                <a:lnTo>
                  <a:pt x="1419" y="838"/>
                </a:lnTo>
                <a:lnTo>
                  <a:pt x="1411" y="846"/>
                </a:lnTo>
                <a:lnTo>
                  <a:pt x="1402" y="855"/>
                </a:lnTo>
                <a:lnTo>
                  <a:pt x="1399" y="859"/>
                </a:lnTo>
                <a:lnTo>
                  <a:pt x="1395" y="865"/>
                </a:lnTo>
                <a:lnTo>
                  <a:pt x="1389" y="876"/>
                </a:lnTo>
                <a:lnTo>
                  <a:pt x="1384" y="888"/>
                </a:lnTo>
                <a:lnTo>
                  <a:pt x="1379" y="900"/>
                </a:lnTo>
                <a:lnTo>
                  <a:pt x="1375" y="913"/>
                </a:lnTo>
                <a:lnTo>
                  <a:pt x="1372" y="926"/>
                </a:lnTo>
                <a:lnTo>
                  <a:pt x="1371" y="941"/>
                </a:lnTo>
                <a:lnTo>
                  <a:pt x="1370" y="948"/>
                </a:lnTo>
                <a:lnTo>
                  <a:pt x="1370" y="955"/>
                </a:lnTo>
                <a:lnTo>
                  <a:pt x="1370" y="968"/>
                </a:lnTo>
                <a:lnTo>
                  <a:pt x="1372" y="980"/>
                </a:lnTo>
                <a:lnTo>
                  <a:pt x="1374" y="993"/>
                </a:lnTo>
                <a:lnTo>
                  <a:pt x="1375" y="998"/>
                </a:lnTo>
                <a:lnTo>
                  <a:pt x="1377" y="1004"/>
                </a:lnTo>
                <a:lnTo>
                  <a:pt x="1380" y="1014"/>
                </a:lnTo>
                <a:lnTo>
                  <a:pt x="1383" y="1019"/>
                </a:lnTo>
                <a:lnTo>
                  <a:pt x="1385" y="1024"/>
                </a:lnTo>
                <a:lnTo>
                  <a:pt x="1387" y="1029"/>
                </a:lnTo>
                <a:lnTo>
                  <a:pt x="1390" y="1033"/>
                </a:lnTo>
                <a:lnTo>
                  <a:pt x="1393" y="1037"/>
                </a:lnTo>
                <a:lnTo>
                  <a:pt x="1396" y="1041"/>
                </a:lnTo>
                <a:lnTo>
                  <a:pt x="1399" y="1045"/>
                </a:lnTo>
                <a:lnTo>
                  <a:pt x="1403" y="1049"/>
                </a:lnTo>
                <a:lnTo>
                  <a:pt x="1411" y="1056"/>
                </a:lnTo>
                <a:lnTo>
                  <a:pt x="1419" y="1062"/>
                </a:lnTo>
                <a:lnTo>
                  <a:pt x="1427" y="1067"/>
                </a:lnTo>
                <a:lnTo>
                  <a:pt x="1436" y="1071"/>
                </a:lnTo>
                <a:lnTo>
                  <a:pt x="1446" y="1073"/>
                </a:lnTo>
                <a:lnTo>
                  <a:pt x="1456" y="1075"/>
                </a:lnTo>
                <a:lnTo>
                  <a:pt x="1461" y="1076"/>
                </a:lnTo>
                <a:lnTo>
                  <a:pt x="1467" y="1076"/>
                </a:lnTo>
                <a:lnTo>
                  <a:pt x="1478" y="1075"/>
                </a:lnTo>
                <a:lnTo>
                  <a:pt x="1488" y="1074"/>
                </a:lnTo>
                <a:lnTo>
                  <a:pt x="1498" y="1071"/>
                </a:lnTo>
                <a:lnTo>
                  <a:pt x="1508" y="1068"/>
                </a:lnTo>
                <a:lnTo>
                  <a:pt x="1517" y="1064"/>
                </a:lnTo>
                <a:lnTo>
                  <a:pt x="1526" y="1059"/>
                </a:lnTo>
                <a:lnTo>
                  <a:pt x="1536" y="1053"/>
                </a:lnTo>
                <a:lnTo>
                  <a:pt x="1544" y="1045"/>
                </a:lnTo>
                <a:lnTo>
                  <a:pt x="1552" y="1038"/>
                </a:lnTo>
                <a:lnTo>
                  <a:pt x="1560" y="1030"/>
                </a:lnTo>
                <a:lnTo>
                  <a:pt x="1567" y="1022"/>
                </a:lnTo>
                <a:lnTo>
                  <a:pt x="1574" y="1013"/>
                </a:lnTo>
                <a:lnTo>
                  <a:pt x="1587" y="993"/>
                </a:lnTo>
                <a:lnTo>
                  <a:pt x="1594" y="982"/>
                </a:lnTo>
                <a:lnTo>
                  <a:pt x="1599" y="971"/>
                </a:lnTo>
                <a:lnTo>
                  <a:pt x="1604" y="960"/>
                </a:lnTo>
                <a:lnTo>
                  <a:pt x="1609" y="949"/>
                </a:lnTo>
                <a:lnTo>
                  <a:pt x="1614" y="937"/>
                </a:lnTo>
                <a:lnTo>
                  <a:pt x="1618" y="925"/>
                </a:lnTo>
                <a:lnTo>
                  <a:pt x="1622" y="913"/>
                </a:lnTo>
                <a:lnTo>
                  <a:pt x="1625" y="901"/>
                </a:lnTo>
                <a:lnTo>
                  <a:pt x="1628" y="889"/>
                </a:lnTo>
                <a:lnTo>
                  <a:pt x="1631" y="877"/>
                </a:lnTo>
                <a:lnTo>
                  <a:pt x="1633" y="864"/>
                </a:lnTo>
                <a:lnTo>
                  <a:pt x="1635" y="852"/>
                </a:lnTo>
                <a:lnTo>
                  <a:pt x="1636" y="840"/>
                </a:lnTo>
                <a:lnTo>
                  <a:pt x="1637" y="828"/>
                </a:lnTo>
                <a:lnTo>
                  <a:pt x="1638" y="817"/>
                </a:lnTo>
                <a:lnTo>
                  <a:pt x="1638" y="805"/>
                </a:lnTo>
                <a:lnTo>
                  <a:pt x="1638" y="794"/>
                </a:lnTo>
                <a:lnTo>
                  <a:pt x="1638" y="784"/>
                </a:lnTo>
                <a:lnTo>
                  <a:pt x="1639" y="781"/>
                </a:lnTo>
                <a:lnTo>
                  <a:pt x="1640" y="779"/>
                </a:lnTo>
                <a:lnTo>
                  <a:pt x="1643" y="777"/>
                </a:lnTo>
                <a:lnTo>
                  <a:pt x="1645" y="775"/>
                </a:lnTo>
                <a:lnTo>
                  <a:pt x="1653" y="773"/>
                </a:lnTo>
                <a:lnTo>
                  <a:pt x="1657" y="772"/>
                </a:lnTo>
                <a:lnTo>
                  <a:pt x="1661" y="772"/>
                </a:lnTo>
                <a:lnTo>
                  <a:pt x="1668" y="772"/>
                </a:lnTo>
                <a:lnTo>
                  <a:pt x="1672" y="773"/>
                </a:lnTo>
                <a:lnTo>
                  <a:pt x="1675" y="774"/>
                </a:lnTo>
                <a:lnTo>
                  <a:pt x="1681" y="777"/>
                </a:lnTo>
                <a:lnTo>
                  <a:pt x="1683" y="779"/>
                </a:lnTo>
                <a:lnTo>
                  <a:pt x="1685" y="781"/>
                </a:lnTo>
                <a:lnTo>
                  <a:pt x="1689" y="787"/>
                </a:lnTo>
                <a:lnTo>
                  <a:pt x="1691" y="790"/>
                </a:lnTo>
                <a:lnTo>
                  <a:pt x="1692" y="794"/>
                </a:lnTo>
                <a:lnTo>
                  <a:pt x="1694" y="798"/>
                </a:lnTo>
                <a:lnTo>
                  <a:pt x="1694" y="803"/>
                </a:lnTo>
                <a:lnTo>
                  <a:pt x="1695" y="809"/>
                </a:lnTo>
                <a:lnTo>
                  <a:pt x="1695" y="815"/>
                </a:lnTo>
                <a:lnTo>
                  <a:pt x="1694" y="831"/>
                </a:lnTo>
                <a:lnTo>
                  <a:pt x="1693" y="846"/>
                </a:lnTo>
                <a:lnTo>
                  <a:pt x="1692" y="862"/>
                </a:lnTo>
                <a:lnTo>
                  <a:pt x="1690" y="878"/>
                </a:lnTo>
                <a:lnTo>
                  <a:pt x="1687" y="893"/>
                </a:lnTo>
                <a:lnTo>
                  <a:pt x="1684" y="907"/>
                </a:lnTo>
                <a:lnTo>
                  <a:pt x="1681" y="922"/>
                </a:lnTo>
                <a:lnTo>
                  <a:pt x="1677" y="937"/>
                </a:lnTo>
                <a:lnTo>
                  <a:pt x="1673" y="951"/>
                </a:lnTo>
                <a:lnTo>
                  <a:pt x="1668" y="964"/>
                </a:lnTo>
                <a:lnTo>
                  <a:pt x="1663" y="978"/>
                </a:lnTo>
                <a:lnTo>
                  <a:pt x="1657" y="990"/>
                </a:lnTo>
                <a:lnTo>
                  <a:pt x="1651" y="1004"/>
                </a:lnTo>
                <a:lnTo>
                  <a:pt x="1643" y="1016"/>
                </a:lnTo>
                <a:lnTo>
                  <a:pt x="1636" y="1027"/>
                </a:lnTo>
                <a:lnTo>
                  <a:pt x="1629" y="1039"/>
                </a:lnTo>
                <a:lnTo>
                  <a:pt x="1621" y="1049"/>
                </a:lnTo>
                <a:lnTo>
                  <a:pt x="1613" y="1060"/>
                </a:lnTo>
                <a:lnTo>
                  <a:pt x="1605" y="1070"/>
                </a:lnTo>
                <a:lnTo>
                  <a:pt x="1596" y="1079"/>
                </a:lnTo>
                <a:lnTo>
                  <a:pt x="1586" y="1087"/>
                </a:lnTo>
                <a:lnTo>
                  <a:pt x="1577" y="1095"/>
                </a:lnTo>
                <a:lnTo>
                  <a:pt x="1567" y="1103"/>
                </a:lnTo>
                <a:lnTo>
                  <a:pt x="1557" y="1109"/>
                </a:lnTo>
                <a:lnTo>
                  <a:pt x="1547" y="1116"/>
                </a:lnTo>
                <a:lnTo>
                  <a:pt x="1536" y="1121"/>
                </a:lnTo>
                <a:lnTo>
                  <a:pt x="1524" y="1126"/>
                </a:lnTo>
                <a:lnTo>
                  <a:pt x="1513" y="1129"/>
                </a:lnTo>
                <a:lnTo>
                  <a:pt x="1502" y="1132"/>
                </a:lnTo>
                <a:lnTo>
                  <a:pt x="1490" y="1134"/>
                </a:lnTo>
                <a:lnTo>
                  <a:pt x="1478" y="1136"/>
                </a:lnTo>
                <a:lnTo>
                  <a:pt x="1465" y="1136"/>
                </a:lnTo>
                <a:close/>
                <a:moveTo>
                  <a:pt x="1853" y="1130"/>
                </a:moveTo>
                <a:lnTo>
                  <a:pt x="1851" y="1130"/>
                </a:lnTo>
                <a:lnTo>
                  <a:pt x="1849" y="1129"/>
                </a:lnTo>
                <a:lnTo>
                  <a:pt x="1843" y="1127"/>
                </a:lnTo>
                <a:lnTo>
                  <a:pt x="1837" y="1122"/>
                </a:lnTo>
                <a:lnTo>
                  <a:pt x="1829" y="1117"/>
                </a:lnTo>
                <a:lnTo>
                  <a:pt x="1816" y="1105"/>
                </a:lnTo>
                <a:lnTo>
                  <a:pt x="1801" y="1091"/>
                </a:lnTo>
                <a:lnTo>
                  <a:pt x="1784" y="1075"/>
                </a:lnTo>
                <a:lnTo>
                  <a:pt x="1767" y="1058"/>
                </a:lnTo>
                <a:lnTo>
                  <a:pt x="1751" y="1040"/>
                </a:lnTo>
                <a:lnTo>
                  <a:pt x="1737" y="1024"/>
                </a:lnTo>
                <a:lnTo>
                  <a:pt x="1725" y="1010"/>
                </a:lnTo>
                <a:lnTo>
                  <a:pt x="1721" y="1004"/>
                </a:lnTo>
                <a:lnTo>
                  <a:pt x="1718" y="998"/>
                </a:lnTo>
                <a:lnTo>
                  <a:pt x="1713" y="987"/>
                </a:lnTo>
                <a:lnTo>
                  <a:pt x="1708" y="977"/>
                </a:lnTo>
                <a:lnTo>
                  <a:pt x="1705" y="968"/>
                </a:lnTo>
                <a:lnTo>
                  <a:pt x="1705" y="958"/>
                </a:lnTo>
                <a:lnTo>
                  <a:pt x="1705" y="952"/>
                </a:lnTo>
                <a:lnTo>
                  <a:pt x="1706" y="946"/>
                </a:lnTo>
                <a:lnTo>
                  <a:pt x="1707" y="941"/>
                </a:lnTo>
                <a:lnTo>
                  <a:pt x="1709" y="935"/>
                </a:lnTo>
                <a:lnTo>
                  <a:pt x="1713" y="927"/>
                </a:lnTo>
                <a:lnTo>
                  <a:pt x="1716" y="921"/>
                </a:lnTo>
                <a:lnTo>
                  <a:pt x="1720" y="914"/>
                </a:lnTo>
                <a:lnTo>
                  <a:pt x="1724" y="908"/>
                </a:lnTo>
                <a:lnTo>
                  <a:pt x="1732" y="897"/>
                </a:lnTo>
                <a:lnTo>
                  <a:pt x="1744" y="883"/>
                </a:lnTo>
                <a:lnTo>
                  <a:pt x="1774" y="848"/>
                </a:lnTo>
                <a:lnTo>
                  <a:pt x="1809" y="808"/>
                </a:lnTo>
                <a:lnTo>
                  <a:pt x="1845" y="768"/>
                </a:lnTo>
                <a:lnTo>
                  <a:pt x="1846" y="768"/>
                </a:lnTo>
                <a:lnTo>
                  <a:pt x="1849" y="767"/>
                </a:lnTo>
                <a:lnTo>
                  <a:pt x="1853" y="768"/>
                </a:lnTo>
                <a:lnTo>
                  <a:pt x="1857" y="769"/>
                </a:lnTo>
                <a:lnTo>
                  <a:pt x="1861" y="771"/>
                </a:lnTo>
                <a:lnTo>
                  <a:pt x="1866" y="773"/>
                </a:lnTo>
                <a:lnTo>
                  <a:pt x="1870" y="776"/>
                </a:lnTo>
                <a:lnTo>
                  <a:pt x="1874" y="780"/>
                </a:lnTo>
                <a:lnTo>
                  <a:pt x="1877" y="784"/>
                </a:lnTo>
                <a:lnTo>
                  <a:pt x="1880" y="789"/>
                </a:lnTo>
                <a:lnTo>
                  <a:pt x="1881" y="794"/>
                </a:lnTo>
                <a:lnTo>
                  <a:pt x="1882" y="798"/>
                </a:lnTo>
                <a:lnTo>
                  <a:pt x="1881" y="804"/>
                </a:lnTo>
                <a:lnTo>
                  <a:pt x="1880" y="809"/>
                </a:lnTo>
                <a:lnTo>
                  <a:pt x="1877" y="816"/>
                </a:lnTo>
                <a:lnTo>
                  <a:pt x="1873" y="822"/>
                </a:lnTo>
                <a:lnTo>
                  <a:pt x="1865" y="832"/>
                </a:lnTo>
                <a:lnTo>
                  <a:pt x="1853" y="846"/>
                </a:lnTo>
                <a:lnTo>
                  <a:pt x="1823" y="879"/>
                </a:lnTo>
                <a:lnTo>
                  <a:pt x="1794" y="913"/>
                </a:lnTo>
                <a:lnTo>
                  <a:pt x="1781" y="927"/>
                </a:lnTo>
                <a:lnTo>
                  <a:pt x="1772" y="940"/>
                </a:lnTo>
                <a:lnTo>
                  <a:pt x="1769" y="944"/>
                </a:lnTo>
                <a:lnTo>
                  <a:pt x="1767" y="947"/>
                </a:lnTo>
                <a:lnTo>
                  <a:pt x="1766" y="951"/>
                </a:lnTo>
                <a:lnTo>
                  <a:pt x="1766" y="954"/>
                </a:lnTo>
                <a:lnTo>
                  <a:pt x="1766" y="959"/>
                </a:lnTo>
                <a:lnTo>
                  <a:pt x="1767" y="963"/>
                </a:lnTo>
                <a:lnTo>
                  <a:pt x="1771" y="968"/>
                </a:lnTo>
                <a:lnTo>
                  <a:pt x="1774" y="972"/>
                </a:lnTo>
                <a:lnTo>
                  <a:pt x="1781" y="981"/>
                </a:lnTo>
                <a:lnTo>
                  <a:pt x="1791" y="994"/>
                </a:lnTo>
                <a:lnTo>
                  <a:pt x="1819" y="1023"/>
                </a:lnTo>
                <a:lnTo>
                  <a:pt x="1852" y="1056"/>
                </a:lnTo>
                <a:lnTo>
                  <a:pt x="1883" y="1087"/>
                </a:lnTo>
                <a:lnTo>
                  <a:pt x="1884" y="1088"/>
                </a:lnTo>
                <a:lnTo>
                  <a:pt x="1886" y="1091"/>
                </a:lnTo>
                <a:lnTo>
                  <a:pt x="1887" y="1093"/>
                </a:lnTo>
                <a:lnTo>
                  <a:pt x="1887" y="1095"/>
                </a:lnTo>
                <a:lnTo>
                  <a:pt x="1886" y="1101"/>
                </a:lnTo>
                <a:lnTo>
                  <a:pt x="1885" y="1104"/>
                </a:lnTo>
                <a:lnTo>
                  <a:pt x="1884" y="1107"/>
                </a:lnTo>
                <a:lnTo>
                  <a:pt x="1880" y="1113"/>
                </a:lnTo>
                <a:lnTo>
                  <a:pt x="1878" y="1116"/>
                </a:lnTo>
                <a:lnTo>
                  <a:pt x="1876" y="1119"/>
                </a:lnTo>
                <a:lnTo>
                  <a:pt x="1870" y="1123"/>
                </a:lnTo>
                <a:lnTo>
                  <a:pt x="1867" y="1125"/>
                </a:lnTo>
                <a:lnTo>
                  <a:pt x="1864" y="1127"/>
                </a:lnTo>
                <a:lnTo>
                  <a:pt x="1858" y="1129"/>
                </a:lnTo>
                <a:lnTo>
                  <a:pt x="1856" y="1130"/>
                </a:lnTo>
                <a:lnTo>
                  <a:pt x="1853" y="1130"/>
                </a:lnTo>
                <a:close/>
                <a:moveTo>
                  <a:pt x="1465" y="2129"/>
                </a:moveTo>
                <a:lnTo>
                  <a:pt x="1457" y="2129"/>
                </a:lnTo>
                <a:lnTo>
                  <a:pt x="1450" y="2128"/>
                </a:lnTo>
                <a:lnTo>
                  <a:pt x="1442" y="2127"/>
                </a:lnTo>
                <a:lnTo>
                  <a:pt x="1435" y="2126"/>
                </a:lnTo>
                <a:lnTo>
                  <a:pt x="1428" y="2124"/>
                </a:lnTo>
                <a:lnTo>
                  <a:pt x="1420" y="2121"/>
                </a:lnTo>
                <a:lnTo>
                  <a:pt x="1406" y="2116"/>
                </a:lnTo>
                <a:lnTo>
                  <a:pt x="1393" y="2108"/>
                </a:lnTo>
                <a:lnTo>
                  <a:pt x="1386" y="2104"/>
                </a:lnTo>
                <a:lnTo>
                  <a:pt x="1380" y="2100"/>
                </a:lnTo>
                <a:lnTo>
                  <a:pt x="1374" y="2095"/>
                </a:lnTo>
                <a:lnTo>
                  <a:pt x="1369" y="2090"/>
                </a:lnTo>
                <a:lnTo>
                  <a:pt x="1363" y="2084"/>
                </a:lnTo>
                <a:lnTo>
                  <a:pt x="1358" y="2078"/>
                </a:lnTo>
                <a:lnTo>
                  <a:pt x="1353" y="2072"/>
                </a:lnTo>
                <a:lnTo>
                  <a:pt x="1348" y="2065"/>
                </a:lnTo>
                <a:lnTo>
                  <a:pt x="1343" y="2058"/>
                </a:lnTo>
                <a:lnTo>
                  <a:pt x="1339" y="2051"/>
                </a:lnTo>
                <a:lnTo>
                  <a:pt x="1335" y="2044"/>
                </a:lnTo>
                <a:lnTo>
                  <a:pt x="1331" y="2037"/>
                </a:lnTo>
                <a:lnTo>
                  <a:pt x="1328" y="2029"/>
                </a:lnTo>
                <a:lnTo>
                  <a:pt x="1325" y="2022"/>
                </a:lnTo>
                <a:lnTo>
                  <a:pt x="1322" y="2014"/>
                </a:lnTo>
                <a:lnTo>
                  <a:pt x="1320" y="2005"/>
                </a:lnTo>
                <a:lnTo>
                  <a:pt x="1318" y="1996"/>
                </a:lnTo>
                <a:lnTo>
                  <a:pt x="1316" y="1988"/>
                </a:lnTo>
                <a:lnTo>
                  <a:pt x="1315" y="1979"/>
                </a:lnTo>
                <a:lnTo>
                  <a:pt x="1314" y="1970"/>
                </a:lnTo>
                <a:lnTo>
                  <a:pt x="1314" y="1961"/>
                </a:lnTo>
                <a:lnTo>
                  <a:pt x="1313" y="1952"/>
                </a:lnTo>
                <a:lnTo>
                  <a:pt x="1314" y="1932"/>
                </a:lnTo>
                <a:lnTo>
                  <a:pt x="1315" y="1923"/>
                </a:lnTo>
                <a:lnTo>
                  <a:pt x="1317" y="1914"/>
                </a:lnTo>
                <a:lnTo>
                  <a:pt x="1318" y="1905"/>
                </a:lnTo>
                <a:lnTo>
                  <a:pt x="1320" y="1896"/>
                </a:lnTo>
                <a:lnTo>
                  <a:pt x="1323" y="1886"/>
                </a:lnTo>
                <a:lnTo>
                  <a:pt x="1326" y="1878"/>
                </a:lnTo>
                <a:lnTo>
                  <a:pt x="1329" y="1869"/>
                </a:lnTo>
                <a:lnTo>
                  <a:pt x="1332" y="1861"/>
                </a:lnTo>
                <a:lnTo>
                  <a:pt x="1336" y="1853"/>
                </a:lnTo>
                <a:lnTo>
                  <a:pt x="1340" y="1845"/>
                </a:lnTo>
                <a:lnTo>
                  <a:pt x="1345" y="1838"/>
                </a:lnTo>
                <a:lnTo>
                  <a:pt x="1349" y="1829"/>
                </a:lnTo>
                <a:lnTo>
                  <a:pt x="1361" y="1815"/>
                </a:lnTo>
                <a:lnTo>
                  <a:pt x="1366" y="1809"/>
                </a:lnTo>
                <a:lnTo>
                  <a:pt x="1372" y="1803"/>
                </a:lnTo>
                <a:lnTo>
                  <a:pt x="1384" y="1791"/>
                </a:lnTo>
                <a:lnTo>
                  <a:pt x="1391" y="1786"/>
                </a:lnTo>
                <a:lnTo>
                  <a:pt x="1397" y="1781"/>
                </a:lnTo>
                <a:lnTo>
                  <a:pt x="1404" y="1777"/>
                </a:lnTo>
                <a:lnTo>
                  <a:pt x="1412" y="1773"/>
                </a:lnTo>
                <a:lnTo>
                  <a:pt x="1419" y="1768"/>
                </a:lnTo>
                <a:lnTo>
                  <a:pt x="1427" y="1765"/>
                </a:lnTo>
                <a:lnTo>
                  <a:pt x="1434" y="1762"/>
                </a:lnTo>
                <a:lnTo>
                  <a:pt x="1442" y="1760"/>
                </a:lnTo>
                <a:lnTo>
                  <a:pt x="1450" y="1758"/>
                </a:lnTo>
                <a:lnTo>
                  <a:pt x="1458" y="1757"/>
                </a:lnTo>
                <a:lnTo>
                  <a:pt x="1466" y="1756"/>
                </a:lnTo>
                <a:lnTo>
                  <a:pt x="1475" y="1756"/>
                </a:lnTo>
                <a:lnTo>
                  <a:pt x="1486" y="1756"/>
                </a:lnTo>
                <a:lnTo>
                  <a:pt x="1490" y="1757"/>
                </a:lnTo>
                <a:lnTo>
                  <a:pt x="1495" y="1758"/>
                </a:lnTo>
                <a:lnTo>
                  <a:pt x="1500" y="1759"/>
                </a:lnTo>
                <a:lnTo>
                  <a:pt x="1504" y="1760"/>
                </a:lnTo>
                <a:lnTo>
                  <a:pt x="1513" y="1763"/>
                </a:lnTo>
                <a:lnTo>
                  <a:pt x="1521" y="1767"/>
                </a:lnTo>
                <a:lnTo>
                  <a:pt x="1528" y="1773"/>
                </a:lnTo>
                <a:lnTo>
                  <a:pt x="1536" y="1778"/>
                </a:lnTo>
                <a:lnTo>
                  <a:pt x="1542" y="1784"/>
                </a:lnTo>
                <a:lnTo>
                  <a:pt x="1544" y="1787"/>
                </a:lnTo>
                <a:lnTo>
                  <a:pt x="1547" y="1791"/>
                </a:lnTo>
                <a:lnTo>
                  <a:pt x="1552" y="1798"/>
                </a:lnTo>
                <a:lnTo>
                  <a:pt x="1556" y="1806"/>
                </a:lnTo>
                <a:lnTo>
                  <a:pt x="1559" y="1814"/>
                </a:lnTo>
                <a:lnTo>
                  <a:pt x="1562" y="1823"/>
                </a:lnTo>
                <a:lnTo>
                  <a:pt x="1564" y="1833"/>
                </a:lnTo>
                <a:lnTo>
                  <a:pt x="1565" y="1842"/>
                </a:lnTo>
                <a:lnTo>
                  <a:pt x="1565" y="1852"/>
                </a:lnTo>
                <a:lnTo>
                  <a:pt x="1564" y="1865"/>
                </a:lnTo>
                <a:lnTo>
                  <a:pt x="1563" y="1871"/>
                </a:lnTo>
                <a:lnTo>
                  <a:pt x="1562" y="1877"/>
                </a:lnTo>
                <a:lnTo>
                  <a:pt x="1558" y="1889"/>
                </a:lnTo>
                <a:lnTo>
                  <a:pt x="1553" y="1902"/>
                </a:lnTo>
                <a:lnTo>
                  <a:pt x="1547" y="1913"/>
                </a:lnTo>
                <a:lnTo>
                  <a:pt x="1540" y="1923"/>
                </a:lnTo>
                <a:lnTo>
                  <a:pt x="1536" y="1928"/>
                </a:lnTo>
                <a:lnTo>
                  <a:pt x="1532" y="1933"/>
                </a:lnTo>
                <a:lnTo>
                  <a:pt x="1521" y="1943"/>
                </a:lnTo>
                <a:lnTo>
                  <a:pt x="1511" y="1952"/>
                </a:lnTo>
                <a:lnTo>
                  <a:pt x="1506" y="1956"/>
                </a:lnTo>
                <a:lnTo>
                  <a:pt x="1501" y="1960"/>
                </a:lnTo>
                <a:lnTo>
                  <a:pt x="1489" y="1966"/>
                </a:lnTo>
                <a:lnTo>
                  <a:pt x="1478" y="1972"/>
                </a:lnTo>
                <a:lnTo>
                  <a:pt x="1465" y="1976"/>
                </a:lnTo>
                <a:lnTo>
                  <a:pt x="1458" y="1978"/>
                </a:lnTo>
                <a:lnTo>
                  <a:pt x="1452" y="1980"/>
                </a:lnTo>
                <a:lnTo>
                  <a:pt x="1446" y="1981"/>
                </a:lnTo>
                <a:lnTo>
                  <a:pt x="1440" y="1982"/>
                </a:lnTo>
                <a:lnTo>
                  <a:pt x="1427" y="1982"/>
                </a:lnTo>
                <a:lnTo>
                  <a:pt x="1422" y="1982"/>
                </a:lnTo>
                <a:lnTo>
                  <a:pt x="1417" y="1980"/>
                </a:lnTo>
                <a:lnTo>
                  <a:pt x="1412" y="1977"/>
                </a:lnTo>
                <a:lnTo>
                  <a:pt x="1409" y="1975"/>
                </a:lnTo>
                <a:lnTo>
                  <a:pt x="1408" y="1973"/>
                </a:lnTo>
                <a:lnTo>
                  <a:pt x="1404" y="1969"/>
                </a:lnTo>
                <a:lnTo>
                  <a:pt x="1402" y="1963"/>
                </a:lnTo>
                <a:lnTo>
                  <a:pt x="1401" y="1961"/>
                </a:lnTo>
                <a:lnTo>
                  <a:pt x="1400" y="1958"/>
                </a:lnTo>
                <a:lnTo>
                  <a:pt x="1400" y="1950"/>
                </a:lnTo>
                <a:lnTo>
                  <a:pt x="1400" y="1947"/>
                </a:lnTo>
                <a:lnTo>
                  <a:pt x="1400" y="1945"/>
                </a:lnTo>
                <a:lnTo>
                  <a:pt x="1402" y="1940"/>
                </a:lnTo>
                <a:lnTo>
                  <a:pt x="1403" y="1938"/>
                </a:lnTo>
                <a:lnTo>
                  <a:pt x="1404" y="1936"/>
                </a:lnTo>
                <a:lnTo>
                  <a:pt x="1405" y="1934"/>
                </a:lnTo>
                <a:lnTo>
                  <a:pt x="1407" y="1933"/>
                </a:lnTo>
                <a:lnTo>
                  <a:pt x="1419" y="1931"/>
                </a:lnTo>
                <a:lnTo>
                  <a:pt x="1429" y="1928"/>
                </a:lnTo>
                <a:lnTo>
                  <a:pt x="1440" y="1925"/>
                </a:lnTo>
                <a:lnTo>
                  <a:pt x="1449" y="1921"/>
                </a:lnTo>
                <a:lnTo>
                  <a:pt x="1458" y="1917"/>
                </a:lnTo>
                <a:lnTo>
                  <a:pt x="1467" y="1911"/>
                </a:lnTo>
                <a:lnTo>
                  <a:pt x="1475" y="1906"/>
                </a:lnTo>
                <a:lnTo>
                  <a:pt x="1479" y="1903"/>
                </a:lnTo>
                <a:lnTo>
                  <a:pt x="1483" y="1900"/>
                </a:lnTo>
                <a:lnTo>
                  <a:pt x="1489" y="1894"/>
                </a:lnTo>
                <a:lnTo>
                  <a:pt x="1495" y="1886"/>
                </a:lnTo>
                <a:lnTo>
                  <a:pt x="1500" y="1880"/>
                </a:lnTo>
                <a:lnTo>
                  <a:pt x="1504" y="1873"/>
                </a:lnTo>
                <a:lnTo>
                  <a:pt x="1507" y="1866"/>
                </a:lnTo>
                <a:lnTo>
                  <a:pt x="1510" y="1859"/>
                </a:lnTo>
                <a:lnTo>
                  <a:pt x="1511" y="1852"/>
                </a:lnTo>
                <a:lnTo>
                  <a:pt x="1512" y="1845"/>
                </a:lnTo>
                <a:lnTo>
                  <a:pt x="1511" y="1837"/>
                </a:lnTo>
                <a:lnTo>
                  <a:pt x="1509" y="1828"/>
                </a:lnTo>
                <a:lnTo>
                  <a:pt x="1508" y="1825"/>
                </a:lnTo>
                <a:lnTo>
                  <a:pt x="1506" y="1822"/>
                </a:lnTo>
                <a:lnTo>
                  <a:pt x="1504" y="1819"/>
                </a:lnTo>
                <a:lnTo>
                  <a:pt x="1501" y="1817"/>
                </a:lnTo>
                <a:lnTo>
                  <a:pt x="1495" y="1812"/>
                </a:lnTo>
                <a:lnTo>
                  <a:pt x="1492" y="1811"/>
                </a:lnTo>
                <a:lnTo>
                  <a:pt x="1488" y="1809"/>
                </a:lnTo>
                <a:lnTo>
                  <a:pt x="1480" y="1807"/>
                </a:lnTo>
                <a:lnTo>
                  <a:pt x="1476" y="1807"/>
                </a:lnTo>
                <a:lnTo>
                  <a:pt x="1472" y="1807"/>
                </a:lnTo>
                <a:lnTo>
                  <a:pt x="1462" y="1807"/>
                </a:lnTo>
                <a:lnTo>
                  <a:pt x="1457" y="1808"/>
                </a:lnTo>
                <a:lnTo>
                  <a:pt x="1453" y="1810"/>
                </a:lnTo>
                <a:lnTo>
                  <a:pt x="1448" y="1811"/>
                </a:lnTo>
                <a:lnTo>
                  <a:pt x="1444" y="1813"/>
                </a:lnTo>
                <a:lnTo>
                  <a:pt x="1440" y="1815"/>
                </a:lnTo>
                <a:lnTo>
                  <a:pt x="1435" y="1818"/>
                </a:lnTo>
                <a:lnTo>
                  <a:pt x="1431" y="1821"/>
                </a:lnTo>
                <a:lnTo>
                  <a:pt x="1427" y="1824"/>
                </a:lnTo>
                <a:lnTo>
                  <a:pt x="1419" y="1832"/>
                </a:lnTo>
                <a:lnTo>
                  <a:pt x="1411" y="1840"/>
                </a:lnTo>
                <a:lnTo>
                  <a:pt x="1402" y="1849"/>
                </a:lnTo>
                <a:lnTo>
                  <a:pt x="1399" y="1854"/>
                </a:lnTo>
                <a:lnTo>
                  <a:pt x="1395" y="1859"/>
                </a:lnTo>
                <a:lnTo>
                  <a:pt x="1389" y="1870"/>
                </a:lnTo>
                <a:lnTo>
                  <a:pt x="1384" y="1881"/>
                </a:lnTo>
                <a:lnTo>
                  <a:pt x="1379" y="1894"/>
                </a:lnTo>
                <a:lnTo>
                  <a:pt x="1375" y="1907"/>
                </a:lnTo>
                <a:lnTo>
                  <a:pt x="1372" y="1920"/>
                </a:lnTo>
                <a:lnTo>
                  <a:pt x="1371" y="1934"/>
                </a:lnTo>
                <a:lnTo>
                  <a:pt x="1370" y="1941"/>
                </a:lnTo>
                <a:lnTo>
                  <a:pt x="1370" y="1948"/>
                </a:lnTo>
                <a:lnTo>
                  <a:pt x="1370" y="1962"/>
                </a:lnTo>
                <a:lnTo>
                  <a:pt x="1372" y="1974"/>
                </a:lnTo>
                <a:lnTo>
                  <a:pt x="1374" y="1986"/>
                </a:lnTo>
                <a:lnTo>
                  <a:pt x="1375" y="1991"/>
                </a:lnTo>
                <a:lnTo>
                  <a:pt x="1377" y="1997"/>
                </a:lnTo>
                <a:lnTo>
                  <a:pt x="1380" y="2007"/>
                </a:lnTo>
                <a:lnTo>
                  <a:pt x="1383" y="2013"/>
                </a:lnTo>
                <a:lnTo>
                  <a:pt x="1385" y="2018"/>
                </a:lnTo>
                <a:lnTo>
                  <a:pt x="1387" y="2023"/>
                </a:lnTo>
                <a:lnTo>
                  <a:pt x="1390" y="2027"/>
                </a:lnTo>
                <a:lnTo>
                  <a:pt x="1393" y="2031"/>
                </a:lnTo>
                <a:lnTo>
                  <a:pt x="1396" y="2035"/>
                </a:lnTo>
                <a:lnTo>
                  <a:pt x="1399" y="2039"/>
                </a:lnTo>
                <a:lnTo>
                  <a:pt x="1403" y="2043"/>
                </a:lnTo>
                <a:lnTo>
                  <a:pt x="1411" y="2050"/>
                </a:lnTo>
                <a:lnTo>
                  <a:pt x="1419" y="2055"/>
                </a:lnTo>
                <a:lnTo>
                  <a:pt x="1427" y="2060"/>
                </a:lnTo>
                <a:lnTo>
                  <a:pt x="1436" y="2064"/>
                </a:lnTo>
                <a:lnTo>
                  <a:pt x="1446" y="2067"/>
                </a:lnTo>
                <a:lnTo>
                  <a:pt x="1456" y="2068"/>
                </a:lnTo>
                <a:lnTo>
                  <a:pt x="1461" y="2069"/>
                </a:lnTo>
                <a:lnTo>
                  <a:pt x="1467" y="2069"/>
                </a:lnTo>
                <a:lnTo>
                  <a:pt x="1478" y="2068"/>
                </a:lnTo>
                <a:lnTo>
                  <a:pt x="1488" y="2067"/>
                </a:lnTo>
                <a:lnTo>
                  <a:pt x="1498" y="2064"/>
                </a:lnTo>
                <a:lnTo>
                  <a:pt x="1508" y="2061"/>
                </a:lnTo>
                <a:lnTo>
                  <a:pt x="1517" y="2057"/>
                </a:lnTo>
                <a:lnTo>
                  <a:pt x="1526" y="2052"/>
                </a:lnTo>
                <a:lnTo>
                  <a:pt x="1536" y="2046"/>
                </a:lnTo>
                <a:lnTo>
                  <a:pt x="1544" y="2039"/>
                </a:lnTo>
                <a:lnTo>
                  <a:pt x="1552" y="2032"/>
                </a:lnTo>
                <a:lnTo>
                  <a:pt x="1560" y="2024"/>
                </a:lnTo>
                <a:lnTo>
                  <a:pt x="1567" y="2016"/>
                </a:lnTo>
                <a:lnTo>
                  <a:pt x="1574" y="2006"/>
                </a:lnTo>
                <a:lnTo>
                  <a:pt x="1587" y="1986"/>
                </a:lnTo>
                <a:lnTo>
                  <a:pt x="1594" y="1976"/>
                </a:lnTo>
                <a:lnTo>
                  <a:pt x="1599" y="1965"/>
                </a:lnTo>
                <a:lnTo>
                  <a:pt x="1604" y="1954"/>
                </a:lnTo>
                <a:lnTo>
                  <a:pt x="1609" y="1942"/>
                </a:lnTo>
                <a:lnTo>
                  <a:pt x="1614" y="1930"/>
                </a:lnTo>
                <a:lnTo>
                  <a:pt x="1618" y="1919"/>
                </a:lnTo>
                <a:lnTo>
                  <a:pt x="1622" y="1907"/>
                </a:lnTo>
                <a:lnTo>
                  <a:pt x="1625" y="1895"/>
                </a:lnTo>
                <a:lnTo>
                  <a:pt x="1628" y="1882"/>
                </a:lnTo>
                <a:lnTo>
                  <a:pt x="1631" y="1870"/>
                </a:lnTo>
                <a:lnTo>
                  <a:pt x="1633" y="1858"/>
                </a:lnTo>
                <a:lnTo>
                  <a:pt x="1635" y="1846"/>
                </a:lnTo>
                <a:lnTo>
                  <a:pt x="1636" y="1834"/>
                </a:lnTo>
                <a:lnTo>
                  <a:pt x="1637" y="1822"/>
                </a:lnTo>
                <a:lnTo>
                  <a:pt x="1638" y="1810"/>
                </a:lnTo>
                <a:lnTo>
                  <a:pt x="1638" y="1799"/>
                </a:lnTo>
                <a:lnTo>
                  <a:pt x="1638" y="1788"/>
                </a:lnTo>
                <a:lnTo>
                  <a:pt x="1638" y="1778"/>
                </a:lnTo>
                <a:lnTo>
                  <a:pt x="1639" y="1776"/>
                </a:lnTo>
                <a:lnTo>
                  <a:pt x="1640" y="1773"/>
                </a:lnTo>
                <a:lnTo>
                  <a:pt x="1643" y="1770"/>
                </a:lnTo>
                <a:lnTo>
                  <a:pt x="1645" y="1769"/>
                </a:lnTo>
                <a:lnTo>
                  <a:pt x="1653" y="1766"/>
                </a:lnTo>
                <a:lnTo>
                  <a:pt x="1657" y="1765"/>
                </a:lnTo>
                <a:lnTo>
                  <a:pt x="1661" y="1765"/>
                </a:lnTo>
                <a:lnTo>
                  <a:pt x="1668" y="1765"/>
                </a:lnTo>
                <a:lnTo>
                  <a:pt x="1672" y="1766"/>
                </a:lnTo>
                <a:lnTo>
                  <a:pt x="1675" y="1767"/>
                </a:lnTo>
                <a:lnTo>
                  <a:pt x="1681" y="1770"/>
                </a:lnTo>
                <a:lnTo>
                  <a:pt x="1683" y="1773"/>
                </a:lnTo>
                <a:lnTo>
                  <a:pt x="1685" y="1775"/>
                </a:lnTo>
                <a:lnTo>
                  <a:pt x="1689" y="1781"/>
                </a:lnTo>
                <a:lnTo>
                  <a:pt x="1691" y="1784"/>
                </a:lnTo>
                <a:lnTo>
                  <a:pt x="1692" y="1788"/>
                </a:lnTo>
                <a:lnTo>
                  <a:pt x="1694" y="1793"/>
                </a:lnTo>
                <a:lnTo>
                  <a:pt x="1694" y="1797"/>
                </a:lnTo>
                <a:lnTo>
                  <a:pt x="1695" y="1803"/>
                </a:lnTo>
                <a:lnTo>
                  <a:pt x="1695" y="1809"/>
                </a:lnTo>
                <a:lnTo>
                  <a:pt x="1694" y="1824"/>
                </a:lnTo>
                <a:lnTo>
                  <a:pt x="1693" y="1841"/>
                </a:lnTo>
                <a:lnTo>
                  <a:pt x="1692" y="1856"/>
                </a:lnTo>
                <a:lnTo>
                  <a:pt x="1690" y="1871"/>
                </a:lnTo>
                <a:lnTo>
                  <a:pt x="1687" y="1886"/>
                </a:lnTo>
                <a:lnTo>
                  <a:pt x="1684" y="1902"/>
                </a:lnTo>
                <a:lnTo>
                  <a:pt x="1681" y="1916"/>
                </a:lnTo>
                <a:lnTo>
                  <a:pt x="1677" y="1930"/>
                </a:lnTo>
                <a:lnTo>
                  <a:pt x="1673" y="1944"/>
                </a:lnTo>
                <a:lnTo>
                  <a:pt x="1668" y="1959"/>
                </a:lnTo>
                <a:lnTo>
                  <a:pt x="1663" y="1972"/>
                </a:lnTo>
                <a:lnTo>
                  <a:pt x="1657" y="1985"/>
                </a:lnTo>
                <a:lnTo>
                  <a:pt x="1651" y="1997"/>
                </a:lnTo>
                <a:lnTo>
                  <a:pt x="1643" y="2009"/>
                </a:lnTo>
                <a:lnTo>
                  <a:pt x="1636" y="2022"/>
                </a:lnTo>
                <a:lnTo>
                  <a:pt x="1629" y="2033"/>
                </a:lnTo>
                <a:lnTo>
                  <a:pt x="1621" y="2043"/>
                </a:lnTo>
                <a:lnTo>
                  <a:pt x="1613" y="2054"/>
                </a:lnTo>
                <a:lnTo>
                  <a:pt x="1605" y="2063"/>
                </a:lnTo>
                <a:lnTo>
                  <a:pt x="1596" y="2073"/>
                </a:lnTo>
                <a:lnTo>
                  <a:pt x="1586" y="2082"/>
                </a:lnTo>
                <a:lnTo>
                  <a:pt x="1577" y="2090"/>
                </a:lnTo>
                <a:lnTo>
                  <a:pt x="1567" y="2097"/>
                </a:lnTo>
                <a:lnTo>
                  <a:pt x="1557" y="2103"/>
                </a:lnTo>
                <a:lnTo>
                  <a:pt x="1547" y="2109"/>
                </a:lnTo>
                <a:lnTo>
                  <a:pt x="1536" y="2114"/>
                </a:lnTo>
                <a:lnTo>
                  <a:pt x="1524" y="2119"/>
                </a:lnTo>
                <a:lnTo>
                  <a:pt x="1513" y="2122"/>
                </a:lnTo>
                <a:lnTo>
                  <a:pt x="1502" y="2125"/>
                </a:lnTo>
                <a:lnTo>
                  <a:pt x="1490" y="2127"/>
                </a:lnTo>
                <a:lnTo>
                  <a:pt x="1478" y="2129"/>
                </a:lnTo>
                <a:lnTo>
                  <a:pt x="1465" y="2129"/>
                </a:lnTo>
                <a:close/>
                <a:moveTo>
                  <a:pt x="1853" y="2123"/>
                </a:moveTo>
                <a:lnTo>
                  <a:pt x="1851" y="2123"/>
                </a:lnTo>
                <a:lnTo>
                  <a:pt x="1849" y="2123"/>
                </a:lnTo>
                <a:lnTo>
                  <a:pt x="1843" y="2120"/>
                </a:lnTo>
                <a:lnTo>
                  <a:pt x="1837" y="2116"/>
                </a:lnTo>
                <a:lnTo>
                  <a:pt x="1829" y="2110"/>
                </a:lnTo>
                <a:lnTo>
                  <a:pt x="1816" y="2099"/>
                </a:lnTo>
                <a:lnTo>
                  <a:pt x="1801" y="2085"/>
                </a:lnTo>
                <a:lnTo>
                  <a:pt x="1784" y="2068"/>
                </a:lnTo>
                <a:lnTo>
                  <a:pt x="1767" y="2051"/>
                </a:lnTo>
                <a:lnTo>
                  <a:pt x="1751" y="2034"/>
                </a:lnTo>
                <a:lnTo>
                  <a:pt x="1737" y="2018"/>
                </a:lnTo>
                <a:lnTo>
                  <a:pt x="1725" y="2003"/>
                </a:lnTo>
                <a:lnTo>
                  <a:pt x="1721" y="1997"/>
                </a:lnTo>
                <a:lnTo>
                  <a:pt x="1718" y="1991"/>
                </a:lnTo>
                <a:lnTo>
                  <a:pt x="1713" y="1981"/>
                </a:lnTo>
                <a:lnTo>
                  <a:pt x="1708" y="1971"/>
                </a:lnTo>
                <a:lnTo>
                  <a:pt x="1705" y="1962"/>
                </a:lnTo>
                <a:lnTo>
                  <a:pt x="1705" y="1952"/>
                </a:lnTo>
                <a:lnTo>
                  <a:pt x="1705" y="1945"/>
                </a:lnTo>
                <a:lnTo>
                  <a:pt x="1706" y="1940"/>
                </a:lnTo>
                <a:lnTo>
                  <a:pt x="1707" y="1934"/>
                </a:lnTo>
                <a:lnTo>
                  <a:pt x="1709" y="1928"/>
                </a:lnTo>
                <a:lnTo>
                  <a:pt x="1713" y="1922"/>
                </a:lnTo>
                <a:lnTo>
                  <a:pt x="1716" y="1915"/>
                </a:lnTo>
                <a:lnTo>
                  <a:pt x="1720" y="1909"/>
                </a:lnTo>
                <a:lnTo>
                  <a:pt x="1724" y="1902"/>
                </a:lnTo>
                <a:lnTo>
                  <a:pt x="1732" y="1890"/>
                </a:lnTo>
                <a:lnTo>
                  <a:pt x="1744" y="1876"/>
                </a:lnTo>
                <a:lnTo>
                  <a:pt x="1774" y="1842"/>
                </a:lnTo>
                <a:lnTo>
                  <a:pt x="1809" y="1802"/>
                </a:lnTo>
                <a:lnTo>
                  <a:pt x="1845" y="1761"/>
                </a:lnTo>
                <a:lnTo>
                  <a:pt x="1846" y="1761"/>
                </a:lnTo>
                <a:lnTo>
                  <a:pt x="1849" y="1760"/>
                </a:lnTo>
                <a:lnTo>
                  <a:pt x="1853" y="1761"/>
                </a:lnTo>
                <a:lnTo>
                  <a:pt x="1857" y="1762"/>
                </a:lnTo>
                <a:lnTo>
                  <a:pt x="1861" y="1764"/>
                </a:lnTo>
                <a:lnTo>
                  <a:pt x="1866" y="1766"/>
                </a:lnTo>
                <a:lnTo>
                  <a:pt x="1870" y="1769"/>
                </a:lnTo>
                <a:lnTo>
                  <a:pt x="1874" y="1774"/>
                </a:lnTo>
                <a:lnTo>
                  <a:pt x="1877" y="1778"/>
                </a:lnTo>
                <a:lnTo>
                  <a:pt x="1880" y="1783"/>
                </a:lnTo>
                <a:lnTo>
                  <a:pt x="1881" y="1788"/>
                </a:lnTo>
                <a:lnTo>
                  <a:pt x="1882" y="1793"/>
                </a:lnTo>
                <a:lnTo>
                  <a:pt x="1881" y="1798"/>
                </a:lnTo>
                <a:lnTo>
                  <a:pt x="1880" y="1803"/>
                </a:lnTo>
                <a:lnTo>
                  <a:pt x="1877" y="1809"/>
                </a:lnTo>
                <a:lnTo>
                  <a:pt x="1873" y="1815"/>
                </a:lnTo>
                <a:lnTo>
                  <a:pt x="1865" y="1825"/>
                </a:lnTo>
                <a:lnTo>
                  <a:pt x="1853" y="1840"/>
                </a:lnTo>
                <a:lnTo>
                  <a:pt x="1823" y="1873"/>
                </a:lnTo>
                <a:lnTo>
                  <a:pt x="1794" y="1907"/>
                </a:lnTo>
                <a:lnTo>
                  <a:pt x="1781" y="1921"/>
                </a:lnTo>
                <a:lnTo>
                  <a:pt x="1772" y="1933"/>
                </a:lnTo>
                <a:lnTo>
                  <a:pt x="1769" y="1937"/>
                </a:lnTo>
                <a:lnTo>
                  <a:pt x="1767" y="1940"/>
                </a:lnTo>
                <a:lnTo>
                  <a:pt x="1766" y="1944"/>
                </a:lnTo>
                <a:lnTo>
                  <a:pt x="1766" y="1948"/>
                </a:lnTo>
                <a:lnTo>
                  <a:pt x="1766" y="1953"/>
                </a:lnTo>
                <a:lnTo>
                  <a:pt x="1767" y="1957"/>
                </a:lnTo>
                <a:lnTo>
                  <a:pt x="1771" y="1962"/>
                </a:lnTo>
                <a:lnTo>
                  <a:pt x="1774" y="1967"/>
                </a:lnTo>
                <a:lnTo>
                  <a:pt x="1781" y="1976"/>
                </a:lnTo>
                <a:lnTo>
                  <a:pt x="1791" y="1987"/>
                </a:lnTo>
                <a:lnTo>
                  <a:pt x="1819" y="2017"/>
                </a:lnTo>
                <a:lnTo>
                  <a:pt x="1852" y="2050"/>
                </a:lnTo>
                <a:lnTo>
                  <a:pt x="1883" y="2081"/>
                </a:lnTo>
                <a:lnTo>
                  <a:pt x="1884" y="2083"/>
                </a:lnTo>
                <a:lnTo>
                  <a:pt x="1886" y="2085"/>
                </a:lnTo>
                <a:lnTo>
                  <a:pt x="1887" y="2087"/>
                </a:lnTo>
                <a:lnTo>
                  <a:pt x="1887" y="2090"/>
                </a:lnTo>
                <a:lnTo>
                  <a:pt x="1886" y="2095"/>
                </a:lnTo>
                <a:lnTo>
                  <a:pt x="1885" y="2098"/>
                </a:lnTo>
                <a:lnTo>
                  <a:pt x="1884" y="2101"/>
                </a:lnTo>
                <a:lnTo>
                  <a:pt x="1880" y="2107"/>
                </a:lnTo>
                <a:lnTo>
                  <a:pt x="1878" y="2109"/>
                </a:lnTo>
                <a:lnTo>
                  <a:pt x="1876" y="2112"/>
                </a:lnTo>
                <a:lnTo>
                  <a:pt x="1870" y="2116"/>
                </a:lnTo>
                <a:lnTo>
                  <a:pt x="1867" y="2118"/>
                </a:lnTo>
                <a:lnTo>
                  <a:pt x="1864" y="2120"/>
                </a:lnTo>
                <a:lnTo>
                  <a:pt x="1858" y="2123"/>
                </a:lnTo>
                <a:lnTo>
                  <a:pt x="1856" y="2123"/>
                </a:lnTo>
                <a:lnTo>
                  <a:pt x="1853" y="2123"/>
                </a:lnTo>
                <a:close/>
                <a:moveTo>
                  <a:pt x="1465" y="3095"/>
                </a:moveTo>
                <a:lnTo>
                  <a:pt x="1457" y="3094"/>
                </a:lnTo>
                <a:lnTo>
                  <a:pt x="1450" y="3094"/>
                </a:lnTo>
                <a:lnTo>
                  <a:pt x="1442" y="3093"/>
                </a:lnTo>
                <a:lnTo>
                  <a:pt x="1435" y="3090"/>
                </a:lnTo>
                <a:lnTo>
                  <a:pt x="1428" y="3088"/>
                </a:lnTo>
                <a:lnTo>
                  <a:pt x="1420" y="3086"/>
                </a:lnTo>
                <a:lnTo>
                  <a:pt x="1406" y="3080"/>
                </a:lnTo>
                <a:lnTo>
                  <a:pt x="1393" y="3073"/>
                </a:lnTo>
                <a:lnTo>
                  <a:pt x="1386" y="3069"/>
                </a:lnTo>
                <a:lnTo>
                  <a:pt x="1380" y="3064"/>
                </a:lnTo>
                <a:lnTo>
                  <a:pt x="1374" y="3059"/>
                </a:lnTo>
                <a:lnTo>
                  <a:pt x="1369" y="3054"/>
                </a:lnTo>
                <a:lnTo>
                  <a:pt x="1363" y="3049"/>
                </a:lnTo>
                <a:lnTo>
                  <a:pt x="1358" y="3043"/>
                </a:lnTo>
                <a:lnTo>
                  <a:pt x="1353" y="3037"/>
                </a:lnTo>
                <a:lnTo>
                  <a:pt x="1348" y="3029"/>
                </a:lnTo>
                <a:lnTo>
                  <a:pt x="1343" y="3023"/>
                </a:lnTo>
                <a:lnTo>
                  <a:pt x="1339" y="3016"/>
                </a:lnTo>
                <a:lnTo>
                  <a:pt x="1335" y="3009"/>
                </a:lnTo>
                <a:lnTo>
                  <a:pt x="1331" y="3001"/>
                </a:lnTo>
                <a:lnTo>
                  <a:pt x="1328" y="2994"/>
                </a:lnTo>
                <a:lnTo>
                  <a:pt x="1325" y="2986"/>
                </a:lnTo>
                <a:lnTo>
                  <a:pt x="1322" y="2978"/>
                </a:lnTo>
                <a:lnTo>
                  <a:pt x="1320" y="2969"/>
                </a:lnTo>
                <a:lnTo>
                  <a:pt x="1318" y="2961"/>
                </a:lnTo>
                <a:lnTo>
                  <a:pt x="1316" y="2952"/>
                </a:lnTo>
                <a:lnTo>
                  <a:pt x="1315" y="2943"/>
                </a:lnTo>
                <a:lnTo>
                  <a:pt x="1314" y="2934"/>
                </a:lnTo>
                <a:lnTo>
                  <a:pt x="1314" y="2925"/>
                </a:lnTo>
                <a:lnTo>
                  <a:pt x="1313" y="2916"/>
                </a:lnTo>
                <a:lnTo>
                  <a:pt x="1314" y="2897"/>
                </a:lnTo>
                <a:lnTo>
                  <a:pt x="1315" y="2887"/>
                </a:lnTo>
                <a:lnTo>
                  <a:pt x="1317" y="2878"/>
                </a:lnTo>
                <a:lnTo>
                  <a:pt x="1318" y="2869"/>
                </a:lnTo>
                <a:lnTo>
                  <a:pt x="1320" y="2860"/>
                </a:lnTo>
                <a:lnTo>
                  <a:pt x="1323" y="2852"/>
                </a:lnTo>
                <a:lnTo>
                  <a:pt x="1326" y="2842"/>
                </a:lnTo>
                <a:lnTo>
                  <a:pt x="1329" y="2834"/>
                </a:lnTo>
                <a:lnTo>
                  <a:pt x="1332" y="2825"/>
                </a:lnTo>
                <a:lnTo>
                  <a:pt x="1336" y="2817"/>
                </a:lnTo>
                <a:lnTo>
                  <a:pt x="1340" y="2810"/>
                </a:lnTo>
                <a:lnTo>
                  <a:pt x="1345" y="2802"/>
                </a:lnTo>
                <a:lnTo>
                  <a:pt x="1349" y="2795"/>
                </a:lnTo>
                <a:lnTo>
                  <a:pt x="1361" y="2780"/>
                </a:lnTo>
                <a:lnTo>
                  <a:pt x="1366" y="2773"/>
                </a:lnTo>
                <a:lnTo>
                  <a:pt x="1372" y="2767"/>
                </a:lnTo>
                <a:lnTo>
                  <a:pt x="1384" y="2756"/>
                </a:lnTo>
                <a:lnTo>
                  <a:pt x="1391" y="2751"/>
                </a:lnTo>
                <a:lnTo>
                  <a:pt x="1397" y="2746"/>
                </a:lnTo>
                <a:lnTo>
                  <a:pt x="1404" y="2741"/>
                </a:lnTo>
                <a:lnTo>
                  <a:pt x="1412" y="2737"/>
                </a:lnTo>
                <a:lnTo>
                  <a:pt x="1419" y="2734"/>
                </a:lnTo>
                <a:lnTo>
                  <a:pt x="1427" y="2730"/>
                </a:lnTo>
                <a:lnTo>
                  <a:pt x="1434" y="2727"/>
                </a:lnTo>
                <a:lnTo>
                  <a:pt x="1442" y="2725"/>
                </a:lnTo>
                <a:lnTo>
                  <a:pt x="1450" y="2723"/>
                </a:lnTo>
                <a:lnTo>
                  <a:pt x="1458" y="2721"/>
                </a:lnTo>
                <a:lnTo>
                  <a:pt x="1466" y="2721"/>
                </a:lnTo>
                <a:lnTo>
                  <a:pt x="1475" y="2720"/>
                </a:lnTo>
                <a:lnTo>
                  <a:pt x="1486" y="2721"/>
                </a:lnTo>
                <a:lnTo>
                  <a:pt x="1490" y="2721"/>
                </a:lnTo>
                <a:lnTo>
                  <a:pt x="1495" y="2722"/>
                </a:lnTo>
                <a:lnTo>
                  <a:pt x="1500" y="2723"/>
                </a:lnTo>
                <a:lnTo>
                  <a:pt x="1504" y="2725"/>
                </a:lnTo>
                <a:lnTo>
                  <a:pt x="1513" y="2728"/>
                </a:lnTo>
                <a:lnTo>
                  <a:pt x="1521" y="2733"/>
                </a:lnTo>
                <a:lnTo>
                  <a:pt x="1528" y="2737"/>
                </a:lnTo>
                <a:lnTo>
                  <a:pt x="1536" y="2743"/>
                </a:lnTo>
                <a:lnTo>
                  <a:pt x="1542" y="2749"/>
                </a:lnTo>
                <a:lnTo>
                  <a:pt x="1544" y="2752"/>
                </a:lnTo>
                <a:lnTo>
                  <a:pt x="1547" y="2755"/>
                </a:lnTo>
                <a:lnTo>
                  <a:pt x="1552" y="2762"/>
                </a:lnTo>
                <a:lnTo>
                  <a:pt x="1556" y="2770"/>
                </a:lnTo>
                <a:lnTo>
                  <a:pt x="1559" y="2778"/>
                </a:lnTo>
                <a:lnTo>
                  <a:pt x="1562" y="2787"/>
                </a:lnTo>
                <a:lnTo>
                  <a:pt x="1564" y="2797"/>
                </a:lnTo>
                <a:lnTo>
                  <a:pt x="1565" y="2807"/>
                </a:lnTo>
                <a:lnTo>
                  <a:pt x="1565" y="2817"/>
                </a:lnTo>
                <a:lnTo>
                  <a:pt x="1564" y="2829"/>
                </a:lnTo>
                <a:lnTo>
                  <a:pt x="1563" y="2835"/>
                </a:lnTo>
                <a:lnTo>
                  <a:pt x="1562" y="2842"/>
                </a:lnTo>
                <a:lnTo>
                  <a:pt x="1558" y="2854"/>
                </a:lnTo>
                <a:lnTo>
                  <a:pt x="1553" y="2866"/>
                </a:lnTo>
                <a:lnTo>
                  <a:pt x="1547" y="2877"/>
                </a:lnTo>
                <a:lnTo>
                  <a:pt x="1540" y="2888"/>
                </a:lnTo>
                <a:lnTo>
                  <a:pt x="1536" y="2893"/>
                </a:lnTo>
                <a:lnTo>
                  <a:pt x="1532" y="2898"/>
                </a:lnTo>
                <a:lnTo>
                  <a:pt x="1521" y="2907"/>
                </a:lnTo>
                <a:lnTo>
                  <a:pt x="1511" y="2916"/>
                </a:lnTo>
                <a:lnTo>
                  <a:pt x="1506" y="2920"/>
                </a:lnTo>
                <a:lnTo>
                  <a:pt x="1501" y="2924"/>
                </a:lnTo>
                <a:lnTo>
                  <a:pt x="1489" y="2931"/>
                </a:lnTo>
                <a:lnTo>
                  <a:pt x="1478" y="2936"/>
                </a:lnTo>
                <a:lnTo>
                  <a:pt x="1465" y="2941"/>
                </a:lnTo>
                <a:lnTo>
                  <a:pt x="1458" y="2943"/>
                </a:lnTo>
                <a:lnTo>
                  <a:pt x="1452" y="2944"/>
                </a:lnTo>
                <a:lnTo>
                  <a:pt x="1446" y="2945"/>
                </a:lnTo>
                <a:lnTo>
                  <a:pt x="1440" y="2946"/>
                </a:lnTo>
                <a:lnTo>
                  <a:pt x="1427" y="2947"/>
                </a:lnTo>
                <a:lnTo>
                  <a:pt x="1422" y="2946"/>
                </a:lnTo>
                <a:lnTo>
                  <a:pt x="1417" y="2944"/>
                </a:lnTo>
                <a:lnTo>
                  <a:pt x="1412" y="2942"/>
                </a:lnTo>
                <a:lnTo>
                  <a:pt x="1409" y="2940"/>
                </a:lnTo>
                <a:lnTo>
                  <a:pt x="1408" y="2938"/>
                </a:lnTo>
                <a:lnTo>
                  <a:pt x="1404" y="2933"/>
                </a:lnTo>
                <a:lnTo>
                  <a:pt x="1402" y="2928"/>
                </a:lnTo>
                <a:lnTo>
                  <a:pt x="1401" y="2925"/>
                </a:lnTo>
                <a:lnTo>
                  <a:pt x="1400" y="2922"/>
                </a:lnTo>
                <a:lnTo>
                  <a:pt x="1400" y="2916"/>
                </a:lnTo>
                <a:lnTo>
                  <a:pt x="1400" y="2913"/>
                </a:lnTo>
                <a:lnTo>
                  <a:pt x="1400" y="2909"/>
                </a:lnTo>
                <a:lnTo>
                  <a:pt x="1402" y="2904"/>
                </a:lnTo>
                <a:lnTo>
                  <a:pt x="1403" y="2902"/>
                </a:lnTo>
                <a:lnTo>
                  <a:pt x="1404" y="2900"/>
                </a:lnTo>
                <a:lnTo>
                  <a:pt x="1405" y="2899"/>
                </a:lnTo>
                <a:lnTo>
                  <a:pt x="1407" y="2897"/>
                </a:lnTo>
                <a:lnTo>
                  <a:pt x="1419" y="2896"/>
                </a:lnTo>
                <a:lnTo>
                  <a:pt x="1429" y="2893"/>
                </a:lnTo>
                <a:lnTo>
                  <a:pt x="1440" y="2890"/>
                </a:lnTo>
                <a:lnTo>
                  <a:pt x="1449" y="2886"/>
                </a:lnTo>
                <a:lnTo>
                  <a:pt x="1458" y="2881"/>
                </a:lnTo>
                <a:lnTo>
                  <a:pt x="1467" y="2876"/>
                </a:lnTo>
                <a:lnTo>
                  <a:pt x="1475" y="2870"/>
                </a:lnTo>
                <a:lnTo>
                  <a:pt x="1479" y="2868"/>
                </a:lnTo>
                <a:lnTo>
                  <a:pt x="1483" y="2865"/>
                </a:lnTo>
                <a:lnTo>
                  <a:pt x="1489" y="2858"/>
                </a:lnTo>
                <a:lnTo>
                  <a:pt x="1495" y="2852"/>
                </a:lnTo>
                <a:lnTo>
                  <a:pt x="1500" y="2844"/>
                </a:lnTo>
                <a:lnTo>
                  <a:pt x="1504" y="2837"/>
                </a:lnTo>
                <a:lnTo>
                  <a:pt x="1507" y="2830"/>
                </a:lnTo>
                <a:lnTo>
                  <a:pt x="1510" y="2823"/>
                </a:lnTo>
                <a:lnTo>
                  <a:pt x="1511" y="2816"/>
                </a:lnTo>
                <a:lnTo>
                  <a:pt x="1512" y="2809"/>
                </a:lnTo>
                <a:lnTo>
                  <a:pt x="1511" y="2801"/>
                </a:lnTo>
                <a:lnTo>
                  <a:pt x="1509" y="2794"/>
                </a:lnTo>
                <a:lnTo>
                  <a:pt x="1508" y="2789"/>
                </a:lnTo>
                <a:lnTo>
                  <a:pt x="1506" y="2786"/>
                </a:lnTo>
                <a:lnTo>
                  <a:pt x="1504" y="2784"/>
                </a:lnTo>
                <a:lnTo>
                  <a:pt x="1501" y="2781"/>
                </a:lnTo>
                <a:lnTo>
                  <a:pt x="1495" y="2777"/>
                </a:lnTo>
                <a:lnTo>
                  <a:pt x="1492" y="2775"/>
                </a:lnTo>
                <a:lnTo>
                  <a:pt x="1488" y="2774"/>
                </a:lnTo>
                <a:lnTo>
                  <a:pt x="1480" y="2772"/>
                </a:lnTo>
                <a:lnTo>
                  <a:pt x="1476" y="2771"/>
                </a:lnTo>
                <a:lnTo>
                  <a:pt x="1472" y="2771"/>
                </a:lnTo>
                <a:lnTo>
                  <a:pt x="1462" y="2772"/>
                </a:lnTo>
                <a:lnTo>
                  <a:pt x="1457" y="2773"/>
                </a:lnTo>
                <a:lnTo>
                  <a:pt x="1453" y="2774"/>
                </a:lnTo>
                <a:lnTo>
                  <a:pt x="1448" y="2776"/>
                </a:lnTo>
                <a:lnTo>
                  <a:pt x="1444" y="2777"/>
                </a:lnTo>
                <a:lnTo>
                  <a:pt x="1440" y="2780"/>
                </a:lnTo>
                <a:lnTo>
                  <a:pt x="1435" y="2782"/>
                </a:lnTo>
                <a:lnTo>
                  <a:pt x="1431" y="2785"/>
                </a:lnTo>
                <a:lnTo>
                  <a:pt x="1427" y="2788"/>
                </a:lnTo>
                <a:lnTo>
                  <a:pt x="1419" y="2796"/>
                </a:lnTo>
                <a:lnTo>
                  <a:pt x="1411" y="2804"/>
                </a:lnTo>
                <a:lnTo>
                  <a:pt x="1402" y="2813"/>
                </a:lnTo>
                <a:lnTo>
                  <a:pt x="1399" y="2818"/>
                </a:lnTo>
                <a:lnTo>
                  <a:pt x="1395" y="2823"/>
                </a:lnTo>
                <a:lnTo>
                  <a:pt x="1389" y="2834"/>
                </a:lnTo>
                <a:lnTo>
                  <a:pt x="1384" y="2845"/>
                </a:lnTo>
                <a:lnTo>
                  <a:pt x="1379" y="2859"/>
                </a:lnTo>
                <a:lnTo>
                  <a:pt x="1375" y="2871"/>
                </a:lnTo>
                <a:lnTo>
                  <a:pt x="1372" y="2885"/>
                </a:lnTo>
                <a:lnTo>
                  <a:pt x="1371" y="2899"/>
                </a:lnTo>
                <a:lnTo>
                  <a:pt x="1370" y="2906"/>
                </a:lnTo>
                <a:lnTo>
                  <a:pt x="1370" y="2914"/>
                </a:lnTo>
                <a:lnTo>
                  <a:pt x="1370" y="2926"/>
                </a:lnTo>
                <a:lnTo>
                  <a:pt x="1372" y="2939"/>
                </a:lnTo>
                <a:lnTo>
                  <a:pt x="1374" y="2950"/>
                </a:lnTo>
                <a:lnTo>
                  <a:pt x="1375" y="2956"/>
                </a:lnTo>
                <a:lnTo>
                  <a:pt x="1377" y="2961"/>
                </a:lnTo>
                <a:lnTo>
                  <a:pt x="1380" y="2973"/>
                </a:lnTo>
                <a:lnTo>
                  <a:pt x="1383" y="2978"/>
                </a:lnTo>
                <a:lnTo>
                  <a:pt x="1385" y="2983"/>
                </a:lnTo>
                <a:lnTo>
                  <a:pt x="1387" y="2987"/>
                </a:lnTo>
                <a:lnTo>
                  <a:pt x="1390" y="2992"/>
                </a:lnTo>
                <a:lnTo>
                  <a:pt x="1393" y="2996"/>
                </a:lnTo>
                <a:lnTo>
                  <a:pt x="1396" y="3000"/>
                </a:lnTo>
                <a:lnTo>
                  <a:pt x="1399" y="3004"/>
                </a:lnTo>
                <a:lnTo>
                  <a:pt x="1403" y="3007"/>
                </a:lnTo>
                <a:lnTo>
                  <a:pt x="1411" y="3014"/>
                </a:lnTo>
                <a:lnTo>
                  <a:pt x="1419" y="3020"/>
                </a:lnTo>
                <a:lnTo>
                  <a:pt x="1427" y="3025"/>
                </a:lnTo>
                <a:lnTo>
                  <a:pt x="1436" y="3028"/>
                </a:lnTo>
                <a:lnTo>
                  <a:pt x="1446" y="3032"/>
                </a:lnTo>
                <a:lnTo>
                  <a:pt x="1456" y="3034"/>
                </a:lnTo>
                <a:lnTo>
                  <a:pt x="1461" y="3034"/>
                </a:lnTo>
                <a:lnTo>
                  <a:pt x="1467" y="3034"/>
                </a:lnTo>
                <a:lnTo>
                  <a:pt x="1478" y="3034"/>
                </a:lnTo>
                <a:lnTo>
                  <a:pt x="1488" y="3032"/>
                </a:lnTo>
                <a:lnTo>
                  <a:pt x="1498" y="3029"/>
                </a:lnTo>
                <a:lnTo>
                  <a:pt x="1508" y="3026"/>
                </a:lnTo>
                <a:lnTo>
                  <a:pt x="1517" y="3021"/>
                </a:lnTo>
                <a:lnTo>
                  <a:pt x="1526" y="3016"/>
                </a:lnTo>
                <a:lnTo>
                  <a:pt x="1536" y="3010"/>
                </a:lnTo>
                <a:lnTo>
                  <a:pt x="1544" y="3004"/>
                </a:lnTo>
                <a:lnTo>
                  <a:pt x="1552" y="2997"/>
                </a:lnTo>
                <a:lnTo>
                  <a:pt x="1560" y="2989"/>
                </a:lnTo>
                <a:lnTo>
                  <a:pt x="1567" y="2980"/>
                </a:lnTo>
                <a:lnTo>
                  <a:pt x="1574" y="2970"/>
                </a:lnTo>
                <a:lnTo>
                  <a:pt x="1587" y="2951"/>
                </a:lnTo>
                <a:lnTo>
                  <a:pt x="1594" y="2941"/>
                </a:lnTo>
                <a:lnTo>
                  <a:pt x="1599" y="2930"/>
                </a:lnTo>
                <a:lnTo>
                  <a:pt x="1604" y="2919"/>
                </a:lnTo>
                <a:lnTo>
                  <a:pt x="1609" y="2906"/>
                </a:lnTo>
                <a:lnTo>
                  <a:pt x="1614" y="2895"/>
                </a:lnTo>
                <a:lnTo>
                  <a:pt x="1618" y="2883"/>
                </a:lnTo>
                <a:lnTo>
                  <a:pt x="1622" y="2871"/>
                </a:lnTo>
                <a:lnTo>
                  <a:pt x="1625" y="2859"/>
                </a:lnTo>
                <a:lnTo>
                  <a:pt x="1628" y="2846"/>
                </a:lnTo>
                <a:lnTo>
                  <a:pt x="1631" y="2834"/>
                </a:lnTo>
                <a:lnTo>
                  <a:pt x="1633" y="2822"/>
                </a:lnTo>
                <a:lnTo>
                  <a:pt x="1635" y="2810"/>
                </a:lnTo>
                <a:lnTo>
                  <a:pt x="1636" y="2799"/>
                </a:lnTo>
                <a:lnTo>
                  <a:pt x="1637" y="2786"/>
                </a:lnTo>
                <a:lnTo>
                  <a:pt x="1638" y="2775"/>
                </a:lnTo>
                <a:lnTo>
                  <a:pt x="1638" y="2764"/>
                </a:lnTo>
                <a:lnTo>
                  <a:pt x="1638" y="2753"/>
                </a:lnTo>
                <a:lnTo>
                  <a:pt x="1638" y="2742"/>
                </a:lnTo>
                <a:lnTo>
                  <a:pt x="1639" y="2740"/>
                </a:lnTo>
                <a:lnTo>
                  <a:pt x="1640" y="2738"/>
                </a:lnTo>
                <a:lnTo>
                  <a:pt x="1643" y="2736"/>
                </a:lnTo>
                <a:lnTo>
                  <a:pt x="1645" y="2734"/>
                </a:lnTo>
                <a:lnTo>
                  <a:pt x="1653" y="2730"/>
                </a:lnTo>
                <a:lnTo>
                  <a:pt x="1657" y="2730"/>
                </a:lnTo>
                <a:lnTo>
                  <a:pt x="1661" y="2729"/>
                </a:lnTo>
                <a:lnTo>
                  <a:pt x="1668" y="2730"/>
                </a:lnTo>
                <a:lnTo>
                  <a:pt x="1672" y="2732"/>
                </a:lnTo>
                <a:lnTo>
                  <a:pt x="1675" y="2732"/>
                </a:lnTo>
                <a:lnTo>
                  <a:pt x="1681" y="2735"/>
                </a:lnTo>
                <a:lnTo>
                  <a:pt x="1683" y="2737"/>
                </a:lnTo>
                <a:lnTo>
                  <a:pt x="1685" y="2740"/>
                </a:lnTo>
                <a:lnTo>
                  <a:pt x="1689" y="2745"/>
                </a:lnTo>
                <a:lnTo>
                  <a:pt x="1691" y="2749"/>
                </a:lnTo>
                <a:lnTo>
                  <a:pt x="1692" y="2753"/>
                </a:lnTo>
                <a:lnTo>
                  <a:pt x="1694" y="2757"/>
                </a:lnTo>
                <a:lnTo>
                  <a:pt x="1694" y="2762"/>
                </a:lnTo>
                <a:lnTo>
                  <a:pt x="1695" y="2767"/>
                </a:lnTo>
                <a:lnTo>
                  <a:pt x="1695" y="2773"/>
                </a:lnTo>
                <a:lnTo>
                  <a:pt x="1694" y="2789"/>
                </a:lnTo>
                <a:lnTo>
                  <a:pt x="1693" y="2805"/>
                </a:lnTo>
                <a:lnTo>
                  <a:pt x="1692" y="2820"/>
                </a:lnTo>
                <a:lnTo>
                  <a:pt x="1690" y="2835"/>
                </a:lnTo>
                <a:lnTo>
                  <a:pt x="1687" y="2850"/>
                </a:lnTo>
                <a:lnTo>
                  <a:pt x="1684" y="2866"/>
                </a:lnTo>
                <a:lnTo>
                  <a:pt x="1681" y="2880"/>
                </a:lnTo>
                <a:lnTo>
                  <a:pt x="1677" y="2895"/>
                </a:lnTo>
                <a:lnTo>
                  <a:pt x="1673" y="2908"/>
                </a:lnTo>
                <a:lnTo>
                  <a:pt x="1668" y="2923"/>
                </a:lnTo>
                <a:lnTo>
                  <a:pt x="1663" y="2936"/>
                </a:lnTo>
                <a:lnTo>
                  <a:pt x="1657" y="2949"/>
                </a:lnTo>
                <a:lnTo>
                  <a:pt x="1651" y="2961"/>
                </a:lnTo>
                <a:lnTo>
                  <a:pt x="1643" y="2975"/>
                </a:lnTo>
                <a:lnTo>
                  <a:pt x="1636" y="2986"/>
                </a:lnTo>
                <a:lnTo>
                  <a:pt x="1629" y="2997"/>
                </a:lnTo>
                <a:lnTo>
                  <a:pt x="1621" y="3008"/>
                </a:lnTo>
                <a:lnTo>
                  <a:pt x="1613" y="3018"/>
                </a:lnTo>
                <a:lnTo>
                  <a:pt x="1605" y="3028"/>
                </a:lnTo>
                <a:lnTo>
                  <a:pt x="1596" y="3038"/>
                </a:lnTo>
                <a:lnTo>
                  <a:pt x="1586" y="3046"/>
                </a:lnTo>
                <a:lnTo>
                  <a:pt x="1577" y="3054"/>
                </a:lnTo>
                <a:lnTo>
                  <a:pt x="1567" y="3061"/>
                </a:lnTo>
                <a:lnTo>
                  <a:pt x="1557" y="3068"/>
                </a:lnTo>
                <a:lnTo>
                  <a:pt x="1547" y="3074"/>
                </a:lnTo>
                <a:lnTo>
                  <a:pt x="1536" y="3079"/>
                </a:lnTo>
                <a:lnTo>
                  <a:pt x="1524" y="3083"/>
                </a:lnTo>
                <a:lnTo>
                  <a:pt x="1513" y="3087"/>
                </a:lnTo>
                <a:lnTo>
                  <a:pt x="1502" y="3090"/>
                </a:lnTo>
                <a:lnTo>
                  <a:pt x="1490" y="3093"/>
                </a:lnTo>
                <a:lnTo>
                  <a:pt x="1478" y="3094"/>
                </a:lnTo>
                <a:lnTo>
                  <a:pt x="1465" y="3095"/>
                </a:lnTo>
                <a:close/>
                <a:moveTo>
                  <a:pt x="1853" y="3088"/>
                </a:moveTo>
                <a:lnTo>
                  <a:pt x="1851" y="3088"/>
                </a:lnTo>
                <a:lnTo>
                  <a:pt x="1849" y="3087"/>
                </a:lnTo>
                <a:lnTo>
                  <a:pt x="1843" y="3084"/>
                </a:lnTo>
                <a:lnTo>
                  <a:pt x="1837" y="3080"/>
                </a:lnTo>
                <a:lnTo>
                  <a:pt x="1829" y="3075"/>
                </a:lnTo>
                <a:lnTo>
                  <a:pt x="1816" y="3064"/>
                </a:lnTo>
                <a:lnTo>
                  <a:pt x="1801" y="3050"/>
                </a:lnTo>
                <a:lnTo>
                  <a:pt x="1784" y="3034"/>
                </a:lnTo>
                <a:lnTo>
                  <a:pt x="1767" y="3016"/>
                </a:lnTo>
                <a:lnTo>
                  <a:pt x="1751" y="2999"/>
                </a:lnTo>
                <a:lnTo>
                  <a:pt x="1737" y="2983"/>
                </a:lnTo>
                <a:lnTo>
                  <a:pt x="1725" y="2967"/>
                </a:lnTo>
                <a:lnTo>
                  <a:pt x="1721" y="2961"/>
                </a:lnTo>
                <a:lnTo>
                  <a:pt x="1718" y="2956"/>
                </a:lnTo>
                <a:lnTo>
                  <a:pt x="1713" y="2946"/>
                </a:lnTo>
                <a:lnTo>
                  <a:pt x="1708" y="2936"/>
                </a:lnTo>
                <a:lnTo>
                  <a:pt x="1705" y="2926"/>
                </a:lnTo>
                <a:lnTo>
                  <a:pt x="1705" y="2916"/>
                </a:lnTo>
                <a:lnTo>
                  <a:pt x="1705" y="2910"/>
                </a:lnTo>
                <a:lnTo>
                  <a:pt x="1706" y="2904"/>
                </a:lnTo>
                <a:lnTo>
                  <a:pt x="1707" y="2898"/>
                </a:lnTo>
                <a:lnTo>
                  <a:pt x="1709" y="2892"/>
                </a:lnTo>
                <a:lnTo>
                  <a:pt x="1713" y="2886"/>
                </a:lnTo>
                <a:lnTo>
                  <a:pt x="1716" y="2880"/>
                </a:lnTo>
                <a:lnTo>
                  <a:pt x="1720" y="2873"/>
                </a:lnTo>
                <a:lnTo>
                  <a:pt x="1724" y="2866"/>
                </a:lnTo>
                <a:lnTo>
                  <a:pt x="1732" y="2855"/>
                </a:lnTo>
                <a:lnTo>
                  <a:pt x="1744" y="2841"/>
                </a:lnTo>
                <a:lnTo>
                  <a:pt x="1774" y="2807"/>
                </a:lnTo>
                <a:lnTo>
                  <a:pt x="1809" y="2767"/>
                </a:lnTo>
                <a:lnTo>
                  <a:pt x="1845" y="2726"/>
                </a:lnTo>
                <a:lnTo>
                  <a:pt x="1846" y="2725"/>
                </a:lnTo>
                <a:lnTo>
                  <a:pt x="1849" y="2725"/>
                </a:lnTo>
                <a:lnTo>
                  <a:pt x="1853" y="2725"/>
                </a:lnTo>
                <a:lnTo>
                  <a:pt x="1857" y="2726"/>
                </a:lnTo>
                <a:lnTo>
                  <a:pt x="1861" y="2728"/>
                </a:lnTo>
                <a:lnTo>
                  <a:pt x="1866" y="2732"/>
                </a:lnTo>
                <a:lnTo>
                  <a:pt x="1870" y="2735"/>
                </a:lnTo>
                <a:lnTo>
                  <a:pt x="1874" y="2739"/>
                </a:lnTo>
                <a:lnTo>
                  <a:pt x="1877" y="2743"/>
                </a:lnTo>
                <a:lnTo>
                  <a:pt x="1880" y="2748"/>
                </a:lnTo>
                <a:lnTo>
                  <a:pt x="1881" y="2752"/>
                </a:lnTo>
                <a:lnTo>
                  <a:pt x="1882" y="2757"/>
                </a:lnTo>
                <a:lnTo>
                  <a:pt x="1881" y="2762"/>
                </a:lnTo>
                <a:lnTo>
                  <a:pt x="1880" y="2768"/>
                </a:lnTo>
                <a:lnTo>
                  <a:pt x="1877" y="2773"/>
                </a:lnTo>
                <a:lnTo>
                  <a:pt x="1873" y="2779"/>
                </a:lnTo>
                <a:lnTo>
                  <a:pt x="1865" y="2790"/>
                </a:lnTo>
                <a:lnTo>
                  <a:pt x="1853" y="2804"/>
                </a:lnTo>
                <a:lnTo>
                  <a:pt x="1823" y="2837"/>
                </a:lnTo>
                <a:lnTo>
                  <a:pt x="1794" y="2871"/>
                </a:lnTo>
                <a:lnTo>
                  <a:pt x="1781" y="2886"/>
                </a:lnTo>
                <a:lnTo>
                  <a:pt x="1772" y="2897"/>
                </a:lnTo>
                <a:lnTo>
                  <a:pt x="1769" y="2901"/>
                </a:lnTo>
                <a:lnTo>
                  <a:pt x="1767" y="2905"/>
                </a:lnTo>
                <a:lnTo>
                  <a:pt x="1766" y="2908"/>
                </a:lnTo>
                <a:lnTo>
                  <a:pt x="1766" y="2913"/>
                </a:lnTo>
                <a:lnTo>
                  <a:pt x="1766" y="2917"/>
                </a:lnTo>
                <a:lnTo>
                  <a:pt x="1767" y="2922"/>
                </a:lnTo>
                <a:lnTo>
                  <a:pt x="1771" y="2926"/>
                </a:lnTo>
                <a:lnTo>
                  <a:pt x="1774" y="2931"/>
                </a:lnTo>
                <a:lnTo>
                  <a:pt x="1781" y="2940"/>
                </a:lnTo>
                <a:lnTo>
                  <a:pt x="1791" y="2952"/>
                </a:lnTo>
                <a:lnTo>
                  <a:pt x="1819" y="2982"/>
                </a:lnTo>
                <a:lnTo>
                  <a:pt x="1852" y="3014"/>
                </a:lnTo>
                <a:lnTo>
                  <a:pt x="1883" y="3045"/>
                </a:lnTo>
                <a:lnTo>
                  <a:pt x="1884" y="3047"/>
                </a:lnTo>
                <a:lnTo>
                  <a:pt x="1886" y="3049"/>
                </a:lnTo>
                <a:lnTo>
                  <a:pt x="1887" y="3051"/>
                </a:lnTo>
                <a:lnTo>
                  <a:pt x="1887" y="3054"/>
                </a:lnTo>
                <a:lnTo>
                  <a:pt x="1886" y="3060"/>
                </a:lnTo>
                <a:lnTo>
                  <a:pt x="1885" y="3062"/>
                </a:lnTo>
                <a:lnTo>
                  <a:pt x="1884" y="3065"/>
                </a:lnTo>
                <a:lnTo>
                  <a:pt x="1880" y="3071"/>
                </a:lnTo>
                <a:lnTo>
                  <a:pt x="1878" y="3074"/>
                </a:lnTo>
                <a:lnTo>
                  <a:pt x="1876" y="3076"/>
                </a:lnTo>
                <a:lnTo>
                  <a:pt x="1870" y="3081"/>
                </a:lnTo>
                <a:lnTo>
                  <a:pt x="1867" y="3083"/>
                </a:lnTo>
                <a:lnTo>
                  <a:pt x="1864" y="3085"/>
                </a:lnTo>
                <a:lnTo>
                  <a:pt x="1858" y="3087"/>
                </a:lnTo>
                <a:lnTo>
                  <a:pt x="1856" y="3088"/>
                </a:lnTo>
                <a:lnTo>
                  <a:pt x="1853" y="3088"/>
                </a:lnTo>
                <a:close/>
                <a:moveTo>
                  <a:pt x="5295" y="1136"/>
                </a:moveTo>
                <a:lnTo>
                  <a:pt x="5287" y="1136"/>
                </a:lnTo>
                <a:lnTo>
                  <a:pt x="5279" y="1135"/>
                </a:lnTo>
                <a:lnTo>
                  <a:pt x="5272" y="1134"/>
                </a:lnTo>
                <a:lnTo>
                  <a:pt x="5265" y="1132"/>
                </a:lnTo>
                <a:lnTo>
                  <a:pt x="5257" y="1131"/>
                </a:lnTo>
                <a:lnTo>
                  <a:pt x="5249" y="1128"/>
                </a:lnTo>
                <a:lnTo>
                  <a:pt x="5236" y="1122"/>
                </a:lnTo>
                <a:lnTo>
                  <a:pt x="5223" y="1115"/>
                </a:lnTo>
                <a:lnTo>
                  <a:pt x="5216" y="1110"/>
                </a:lnTo>
                <a:lnTo>
                  <a:pt x="5210" y="1105"/>
                </a:lnTo>
                <a:lnTo>
                  <a:pt x="5204" y="1101"/>
                </a:lnTo>
                <a:lnTo>
                  <a:pt x="5199" y="1095"/>
                </a:lnTo>
                <a:lnTo>
                  <a:pt x="5193" y="1090"/>
                </a:lnTo>
                <a:lnTo>
                  <a:pt x="5187" y="1084"/>
                </a:lnTo>
                <a:lnTo>
                  <a:pt x="5182" y="1078"/>
                </a:lnTo>
                <a:lnTo>
                  <a:pt x="5177" y="1072"/>
                </a:lnTo>
                <a:lnTo>
                  <a:pt x="5173" y="1065"/>
                </a:lnTo>
                <a:lnTo>
                  <a:pt x="5169" y="1058"/>
                </a:lnTo>
                <a:lnTo>
                  <a:pt x="5165" y="1050"/>
                </a:lnTo>
                <a:lnTo>
                  <a:pt x="5161" y="1043"/>
                </a:lnTo>
                <a:lnTo>
                  <a:pt x="5158" y="1035"/>
                </a:lnTo>
                <a:lnTo>
                  <a:pt x="5155" y="1027"/>
                </a:lnTo>
                <a:lnTo>
                  <a:pt x="5152" y="1020"/>
                </a:lnTo>
                <a:lnTo>
                  <a:pt x="5150" y="1011"/>
                </a:lnTo>
                <a:lnTo>
                  <a:pt x="5148" y="1003"/>
                </a:lnTo>
                <a:lnTo>
                  <a:pt x="5146" y="994"/>
                </a:lnTo>
                <a:lnTo>
                  <a:pt x="5145" y="985"/>
                </a:lnTo>
                <a:lnTo>
                  <a:pt x="5144" y="976"/>
                </a:lnTo>
                <a:lnTo>
                  <a:pt x="5143" y="967"/>
                </a:lnTo>
                <a:lnTo>
                  <a:pt x="5143" y="958"/>
                </a:lnTo>
                <a:lnTo>
                  <a:pt x="5144" y="939"/>
                </a:lnTo>
                <a:lnTo>
                  <a:pt x="5145" y="929"/>
                </a:lnTo>
                <a:lnTo>
                  <a:pt x="5146" y="920"/>
                </a:lnTo>
                <a:lnTo>
                  <a:pt x="5148" y="911"/>
                </a:lnTo>
                <a:lnTo>
                  <a:pt x="5150" y="902"/>
                </a:lnTo>
                <a:lnTo>
                  <a:pt x="5153" y="893"/>
                </a:lnTo>
                <a:lnTo>
                  <a:pt x="5156" y="884"/>
                </a:lnTo>
                <a:lnTo>
                  <a:pt x="5159" y="876"/>
                </a:lnTo>
                <a:lnTo>
                  <a:pt x="5162" y="867"/>
                </a:lnTo>
                <a:lnTo>
                  <a:pt x="5166" y="859"/>
                </a:lnTo>
                <a:lnTo>
                  <a:pt x="5170" y="851"/>
                </a:lnTo>
                <a:lnTo>
                  <a:pt x="5175" y="843"/>
                </a:lnTo>
                <a:lnTo>
                  <a:pt x="5179" y="836"/>
                </a:lnTo>
                <a:lnTo>
                  <a:pt x="5189" y="822"/>
                </a:lnTo>
                <a:lnTo>
                  <a:pt x="5196" y="816"/>
                </a:lnTo>
                <a:lnTo>
                  <a:pt x="5202" y="809"/>
                </a:lnTo>
                <a:lnTo>
                  <a:pt x="5214" y="797"/>
                </a:lnTo>
                <a:lnTo>
                  <a:pt x="5220" y="792"/>
                </a:lnTo>
                <a:lnTo>
                  <a:pt x="5227" y="787"/>
                </a:lnTo>
                <a:lnTo>
                  <a:pt x="5234" y="783"/>
                </a:lnTo>
                <a:lnTo>
                  <a:pt x="5241" y="779"/>
                </a:lnTo>
                <a:lnTo>
                  <a:pt x="5248" y="775"/>
                </a:lnTo>
                <a:lnTo>
                  <a:pt x="5257" y="772"/>
                </a:lnTo>
                <a:lnTo>
                  <a:pt x="5264" y="769"/>
                </a:lnTo>
                <a:lnTo>
                  <a:pt x="5272" y="767"/>
                </a:lnTo>
                <a:lnTo>
                  <a:pt x="5280" y="765"/>
                </a:lnTo>
                <a:lnTo>
                  <a:pt x="5288" y="764"/>
                </a:lnTo>
                <a:lnTo>
                  <a:pt x="5296" y="763"/>
                </a:lnTo>
                <a:lnTo>
                  <a:pt x="5304" y="763"/>
                </a:lnTo>
                <a:lnTo>
                  <a:pt x="5315" y="763"/>
                </a:lnTo>
                <a:lnTo>
                  <a:pt x="5320" y="764"/>
                </a:lnTo>
                <a:lnTo>
                  <a:pt x="5325" y="765"/>
                </a:lnTo>
                <a:lnTo>
                  <a:pt x="5330" y="766"/>
                </a:lnTo>
                <a:lnTo>
                  <a:pt x="5334" y="767"/>
                </a:lnTo>
                <a:lnTo>
                  <a:pt x="5343" y="770"/>
                </a:lnTo>
                <a:lnTo>
                  <a:pt x="5351" y="774"/>
                </a:lnTo>
                <a:lnTo>
                  <a:pt x="5358" y="779"/>
                </a:lnTo>
                <a:lnTo>
                  <a:pt x="5365" y="784"/>
                </a:lnTo>
                <a:lnTo>
                  <a:pt x="5372" y="790"/>
                </a:lnTo>
                <a:lnTo>
                  <a:pt x="5374" y="793"/>
                </a:lnTo>
                <a:lnTo>
                  <a:pt x="5377" y="797"/>
                </a:lnTo>
                <a:lnTo>
                  <a:pt x="5382" y="804"/>
                </a:lnTo>
                <a:lnTo>
                  <a:pt x="5386" y="813"/>
                </a:lnTo>
                <a:lnTo>
                  <a:pt x="5389" y="821"/>
                </a:lnTo>
                <a:lnTo>
                  <a:pt x="5392" y="830"/>
                </a:lnTo>
                <a:lnTo>
                  <a:pt x="5394" y="839"/>
                </a:lnTo>
                <a:lnTo>
                  <a:pt x="5395" y="848"/>
                </a:lnTo>
                <a:lnTo>
                  <a:pt x="5395" y="858"/>
                </a:lnTo>
                <a:lnTo>
                  <a:pt x="5394" y="872"/>
                </a:lnTo>
                <a:lnTo>
                  <a:pt x="5393" y="878"/>
                </a:lnTo>
                <a:lnTo>
                  <a:pt x="5392" y="884"/>
                </a:lnTo>
                <a:lnTo>
                  <a:pt x="5388" y="896"/>
                </a:lnTo>
                <a:lnTo>
                  <a:pt x="5383" y="907"/>
                </a:lnTo>
                <a:lnTo>
                  <a:pt x="5377" y="919"/>
                </a:lnTo>
                <a:lnTo>
                  <a:pt x="5369" y="929"/>
                </a:lnTo>
                <a:lnTo>
                  <a:pt x="5365" y="935"/>
                </a:lnTo>
                <a:lnTo>
                  <a:pt x="5360" y="940"/>
                </a:lnTo>
                <a:lnTo>
                  <a:pt x="5351" y="949"/>
                </a:lnTo>
                <a:lnTo>
                  <a:pt x="5341" y="958"/>
                </a:lnTo>
                <a:lnTo>
                  <a:pt x="5336" y="962"/>
                </a:lnTo>
                <a:lnTo>
                  <a:pt x="5331" y="965"/>
                </a:lnTo>
                <a:lnTo>
                  <a:pt x="5319" y="972"/>
                </a:lnTo>
                <a:lnTo>
                  <a:pt x="5307" y="978"/>
                </a:lnTo>
                <a:lnTo>
                  <a:pt x="5294" y="982"/>
                </a:lnTo>
                <a:lnTo>
                  <a:pt x="5288" y="984"/>
                </a:lnTo>
                <a:lnTo>
                  <a:pt x="5282" y="986"/>
                </a:lnTo>
                <a:lnTo>
                  <a:pt x="5276" y="987"/>
                </a:lnTo>
                <a:lnTo>
                  <a:pt x="5270" y="988"/>
                </a:lnTo>
                <a:lnTo>
                  <a:pt x="5257" y="988"/>
                </a:lnTo>
                <a:lnTo>
                  <a:pt x="5252" y="988"/>
                </a:lnTo>
                <a:lnTo>
                  <a:pt x="5246" y="986"/>
                </a:lnTo>
                <a:lnTo>
                  <a:pt x="5241" y="983"/>
                </a:lnTo>
                <a:lnTo>
                  <a:pt x="5239" y="981"/>
                </a:lnTo>
                <a:lnTo>
                  <a:pt x="5237" y="979"/>
                </a:lnTo>
                <a:lnTo>
                  <a:pt x="5234" y="974"/>
                </a:lnTo>
                <a:lnTo>
                  <a:pt x="5232" y="969"/>
                </a:lnTo>
                <a:lnTo>
                  <a:pt x="5231" y="966"/>
                </a:lnTo>
                <a:lnTo>
                  <a:pt x="5230" y="963"/>
                </a:lnTo>
                <a:lnTo>
                  <a:pt x="5230" y="957"/>
                </a:lnTo>
                <a:lnTo>
                  <a:pt x="5230" y="954"/>
                </a:lnTo>
                <a:lnTo>
                  <a:pt x="5230" y="951"/>
                </a:lnTo>
                <a:lnTo>
                  <a:pt x="5231" y="947"/>
                </a:lnTo>
                <a:lnTo>
                  <a:pt x="5232" y="944"/>
                </a:lnTo>
                <a:lnTo>
                  <a:pt x="5234" y="943"/>
                </a:lnTo>
                <a:lnTo>
                  <a:pt x="5235" y="941"/>
                </a:lnTo>
                <a:lnTo>
                  <a:pt x="5237" y="940"/>
                </a:lnTo>
                <a:lnTo>
                  <a:pt x="5248" y="938"/>
                </a:lnTo>
                <a:lnTo>
                  <a:pt x="5259" y="935"/>
                </a:lnTo>
                <a:lnTo>
                  <a:pt x="5269" y="932"/>
                </a:lnTo>
                <a:lnTo>
                  <a:pt x="5279" y="927"/>
                </a:lnTo>
                <a:lnTo>
                  <a:pt x="5288" y="922"/>
                </a:lnTo>
                <a:lnTo>
                  <a:pt x="5297" y="917"/>
                </a:lnTo>
                <a:lnTo>
                  <a:pt x="5304" y="912"/>
                </a:lnTo>
                <a:lnTo>
                  <a:pt x="5308" y="909"/>
                </a:lnTo>
                <a:lnTo>
                  <a:pt x="5313" y="906"/>
                </a:lnTo>
                <a:lnTo>
                  <a:pt x="5319" y="900"/>
                </a:lnTo>
                <a:lnTo>
                  <a:pt x="5325" y="893"/>
                </a:lnTo>
                <a:lnTo>
                  <a:pt x="5330" y="886"/>
                </a:lnTo>
                <a:lnTo>
                  <a:pt x="5334" y="880"/>
                </a:lnTo>
                <a:lnTo>
                  <a:pt x="5337" y="873"/>
                </a:lnTo>
                <a:lnTo>
                  <a:pt x="5340" y="865"/>
                </a:lnTo>
                <a:lnTo>
                  <a:pt x="5341" y="857"/>
                </a:lnTo>
                <a:lnTo>
                  <a:pt x="5342" y="850"/>
                </a:lnTo>
                <a:lnTo>
                  <a:pt x="5341" y="842"/>
                </a:lnTo>
                <a:lnTo>
                  <a:pt x="5339" y="835"/>
                </a:lnTo>
                <a:lnTo>
                  <a:pt x="5337" y="832"/>
                </a:lnTo>
                <a:lnTo>
                  <a:pt x="5336" y="829"/>
                </a:lnTo>
                <a:lnTo>
                  <a:pt x="5333" y="826"/>
                </a:lnTo>
                <a:lnTo>
                  <a:pt x="5331" y="823"/>
                </a:lnTo>
                <a:lnTo>
                  <a:pt x="5325" y="819"/>
                </a:lnTo>
                <a:lnTo>
                  <a:pt x="5322" y="817"/>
                </a:lnTo>
                <a:lnTo>
                  <a:pt x="5318" y="816"/>
                </a:lnTo>
                <a:lnTo>
                  <a:pt x="5309" y="814"/>
                </a:lnTo>
                <a:lnTo>
                  <a:pt x="5305" y="814"/>
                </a:lnTo>
                <a:lnTo>
                  <a:pt x="5300" y="814"/>
                </a:lnTo>
                <a:lnTo>
                  <a:pt x="5292" y="814"/>
                </a:lnTo>
                <a:lnTo>
                  <a:pt x="5287" y="815"/>
                </a:lnTo>
                <a:lnTo>
                  <a:pt x="5283" y="816"/>
                </a:lnTo>
                <a:lnTo>
                  <a:pt x="5278" y="818"/>
                </a:lnTo>
                <a:lnTo>
                  <a:pt x="5274" y="820"/>
                </a:lnTo>
                <a:lnTo>
                  <a:pt x="5270" y="822"/>
                </a:lnTo>
                <a:lnTo>
                  <a:pt x="5265" y="825"/>
                </a:lnTo>
                <a:lnTo>
                  <a:pt x="5261" y="827"/>
                </a:lnTo>
                <a:lnTo>
                  <a:pt x="5257" y="830"/>
                </a:lnTo>
                <a:lnTo>
                  <a:pt x="5247" y="838"/>
                </a:lnTo>
                <a:lnTo>
                  <a:pt x="5240" y="846"/>
                </a:lnTo>
                <a:lnTo>
                  <a:pt x="5232" y="855"/>
                </a:lnTo>
                <a:lnTo>
                  <a:pt x="5229" y="859"/>
                </a:lnTo>
                <a:lnTo>
                  <a:pt x="5225" y="865"/>
                </a:lnTo>
                <a:lnTo>
                  <a:pt x="5219" y="876"/>
                </a:lnTo>
                <a:lnTo>
                  <a:pt x="5214" y="888"/>
                </a:lnTo>
                <a:lnTo>
                  <a:pt x="5209" y="900"/>
                </a:lnTo>
                <a:lnTo>
                  <a:pt x="5205" y="913"/>
                </a:lnTo>
                <a:lnTo>
                  <a:pt x="5202" y="926"/>
                </a:lnTo>
                <a:lnTo>
                  <a:pt x="5200" y="941"/>
                </a:lnTo>
                <a:lnTo>
                  <a:pt x="5200" y="948"/>
                </a:lnTo>
                <a:lnTo>
                  <a:pt x="5200" y="955"/>
                </a:lnTo>
                <a:lnTo>
                  <a:pt x="5200" y="968"/>
                </a:lnTo>
                <a:lnTo>
                  <a:pt x="5202" y="980"/>
                </a:lnTo>
                <a:lnTo>
                  <a:pt x="5204" y="993"/>
                </a:lnTo>
                <a:lnTo>
                  <a:pt x="5205" y="998"/>
                </a:lnTo>
                <a:lnTo>
                  <a:pt x="5207" y="1004"/>
                </a:lnTo>
                <a:lnTo>
                  <a:pt x="5210" y="1014"/>
                </a:lnTo>
                <a:lnTo>
                  <a:pt x="5212" y="1019"/>
                </a:lnTo>
                <a:lnTo>
                  <a:pt x="5215" y="1024"/>
                </a:lnTo>
                <a:lnTo>
                  <a:pt x="5217" y="1029"/>
                </a:lnTo>
                <a:lnTo>
                  <a:pt x="5220" y="1033"/>
                </a:lnTo>
                <a:lnTo>
                  <a:pt x="5223" y="1037"/>
                </a:lnTo>
                <a:lnTo>
                  <a:pt x="5226" y="1041"/>
                </a:lnTo>
                <a:lnTo>
                  <a:pt x="5229" y="1045"/>
                </a:lnTo>
                <a:lnTo>
                  <a:pt x="5233" y="1049"/>
                </a:lnTo>
                <a:lnTo>
                  <a:pt x="5240" y="1056"/>
                </a:lnTo>
                <a:lnTo>
                  <a:pt x="5248" y="1062"/>
                </a:lnTo>
                <a:lnTo>
                  <a:pt x="5257" y="1067"/>
                </a:lnTo>
                <a:lnTo>
                  <a:pt x="5266" y="1071"/>
                </a:lnTo>
                <a:lnTo>
                  <a:pt x="5276" y="1073"/>
                </a:lnTo>
                <a:lnTo>
                  <a:pt x="5286" y="1075"/>
                </a:lnTo>
                <a:lnTo>
                  <a:pt x="5291" y="1076"/>
                </a:lnTo>
                <a:lnTo>
                  <a:pt x="5297" y="1076"/>
                </a:lnTo>
                <a:lnTo>
                  <a:pt x="5307" y="1075"/>
                </a:lnTo>
                <a:lnTo>
                  <a:pt x="5318" y="1074"/>
                </a:lnTo>
                <a:lnTo>
                  <a:pt x="5328" y="1071"/>
                </a:lnTo>
                <a:lnTo>
                  <a:pt x="5338" y="1068"/>
                </a:lnTo>
                <a:lnTo>
                  <a:pt x="5347" y="1064"/>
                </a:lnTo>
                <a:lnTo>
                  <a:pt x="5356" y="1059"/>
                </a:lnTo>
                <a:lnTo>
                  <a:pt x="5365" y="1053"/>
                </a:lnTo>
                <a:lnTo>
                  <a:pt x="5374" y="1045"/>
                </a:lnTo>
                <a:lnTo>
                  <a:pt x="5382" y="1038"/>
                </a:lnTo>
                <a:lnTo>
                  <a:pt x="5390" y="1030"/>
                </a:lnTo>
                <a:lnTo>
                  <a:pt x="5397" y="1022"/>
                </a:lnTo>
                <a:lnTo>
                  <a:pt x="5404" y="1013"/>
                </a:lnTo>
                <a:lnTo>
                  <a:pt x="5417" y="993"/>
                </a:lnTo>
                <a:lnTo>
                  <a:pt x="5423" y="982"/>
                </a:lnTo>
                <a:lnTo>
                  <a:pt x="5428" y="971"/>
                </a:lnTo>
                <a:lnTo>
                  <a:pt x="5434" y="960"/>
                </a:lnTo>
                <a:lnTo>
                  <a:pt x="5439" y="949"/>
                </a:lnTo>
                <a:lnTo>
                  <a:pt x="5444" y="937"/>
                </a:lnTo>
                <a:lnTo>
                  <a:pt x="5448" y="925"/>
                </a:lnTo>
                <a:lnTo>
                  <a:pt x="5452" y="913"/>
                </a:lnTo>
                <a:lnTo>
                  <a:pt x="5455" y="901"/>
                </a:lnTo>
                <a:lnTo>
                  <a:pt x="5458" y="889"/>
                </a:lnTo>
                <a:lnTo>
                  <a:pt x="5461" y="877"/>
                </a:lnTo>
                <a:lnTo>
                  <a:pt x="5463" y="864"/>
                </a:lnTo>
                <a:lnTo>
                  <a:pt x="5465" y="852"/>
                </a:lnTo>
                <a:lnTo>
                  <a:pt x="5466" y="840"/>
                </a:lnTo>
                <a:lnTo>
                  <a:pt x="5467" y="828"/>
                </a:lnTo>
                <a:lnTo>
                  <a:pt x="5468" y="817"/>
                </a:lnTo>
                <a:lnTo>
                  <a:pt x="5468" y="805"/>
                </a:lnTo>
                <a:lnTo>
                  <a:pt x="5468" y="794"/>
                </a:lnTo>
                <a:lnTo>
                  <a:pt x="5468" y="784"/>
                </a:lnTo>
                <a:lnTo>
                  <a:pt x="5469" y="781"/>
                </a:lnTo>
                <a:lnTo>
                  <a:pt x="5470" y="779"/>
                </a:lnTo>
                <a:lnTo>
                  <a:pt x="5473" y="777"/>
                </a:lnTo>
                <a:lnTo>
                  <a:pt x="5475" y="775"/>
                </a:lnTo>
                <a:lnTo>
                  <a:pt x="5482" y="773"/>
                </a:lnTo>
                <a:lnTo>
                  <a:pt x="5486" y="772"/>
                </a:lnTo>
                <a:lnTo>
                  <a:pt x="5491" y="772"/>
                </a:lnTo>
                <a:lnTo>
                  <a:pt x="5498" y="772"/>
                </a:lnTo>
                <a:lnTo>
                  <a:pt x="5501" y="773"/>
                </a:lnTo>
                <a:lnTo>
                  <a:pt x="5505" y="774"/>
                </a:lnTo>
                <a:lnTo>
                  <a:pt x="5510" y="777"/>
                </a:lnTo>
                <a:lnTo>
                  <a:pt x="5513" y="779"/>
                </a:lnTo>
                <a:lnTo>
                  <a:pt x="5515" y="781"/>
                </a:lnTo>
                <a:lnTo>
                  <a:pt x="5519" y="787"/>
                </a:lnTo>
                <a:lnTo>
                  <a:pt x="5521" y="790"/>
                </a:lnTo>
                <a:lnTo>
                  <a:pt x="5522" y="794"/>
                </a:lnTo>
                <a:lnTo>
                  <a:pt x="5523" y="798"/>
                </a:lnTo>
                <a:lnTo>
                  <a:pt x="5524" y="803"/>
                </a:lnTo>
                <a:lnTo>
                  <a:pt x="5525" y="809"/>
                </a:lnTo>
                <a:lnTo>
                  <a:pt x="5525" y="815"/>
                </a:lnTo>
                <a:lnTo>
                  <a:pt x="5524" y="831"/>
                </a:lnTo>
                <a:lnTo>
                  <a:pt x="5523" y="846"/>
                </a:lnTo>
                <a:lnTo>
                  <a:pt x="5522" y="862"/>
                </a:lnTo>
                <a:lnTo>
                  <a:pt x="5520" y="878"/>
                </a:lnTo>
                <a:lnTo>
                  <a:pt x="5517" y="893"/>
                </a:lnTo>
                <a:lnTo>
                  <a:pt x="5514" y="907"/>
                </a:lnTo>
                <a:lnTo>
                  <a:pt x="5511" y="922"/>
                </a:lnTo>
                <a:lnTo>
                  <a:pt x="5507" y="937"/>
                </a:lnTo>
                <a:lnTo>
                  <a:pt x="5502" y="951"/>
                </a:lnTo>
                <a:lnTo>
                  <a:pt x="5498" y="964"/>
                </a:lnTo>
                <a:lnTo>
                  <a:pt x="5492" y="978"/>
                </a:lnTo>
                <a:lnTo>
                  <a:pt x="5486" y="990"/>
                </a:lnTo>
                <a:lnTo>
                  <a:pt x="5480" y="1004"/>
                </a:lnTo>
                <a:lnTo>
                  <a:pt x="5473" y="1016"/>
                </a:lnTo>
                <a:lnTo>
                  <a:pt x="5466" y="1027"/>
                </a:lnTo>
                <a:lnTo>
                  <a:pt x="5459" y="1039"/>
                </a:lnTo>
                <a:lnTo>
                  <a:pt x="5451" y="1049"/>
                </a:lnTo>
                <a:lnTo>
                  <a:pt x="5443" y="1060"/>
                </a:lnTo>
                <a:lnTo>
                  <a:pt x="5435" y="1070"/>
                </a:lnTo>
                <a:lnTo>
                  <a:pt x="5425" y="1079"/>
                </a:lnTo>
                <a:lnTo>
                  <a:pt x="5416" y="1087"/>
                </a:lnTo>
                <a:lnTo>
                  <a:pt x="5407" y="1095"/>
                </a:lnTo>
                <a:lnTo>
                  <a:pt x="5397" y="1103"/>
                </a:lnTo>
                <a:lnTo>
                  <a:pt x="5387" y="1109"/>
                </a:lnTo>
                <a:lnTo>
                  <a:pt x="5377" y="1116"/>
                </a:lnTo>
                <a:lnTo>
                  <a:pt x="5365" y="1121"/>
                </a:lnTo>
                <a:lnTo>
                  <a:pt x="5354" y="1126"/>
                </a:lnTo>
                <a:lnTo>
                  <a:pt x="5343" y="1129"/>
                </a:lnTo>
                <a:lnTo>
                  <a:pt x="5332" y="1132"/>
                </a:lnTo>
                <a:lnTo>
                  <a:pt x="5320" y="1134"/>
                </a:lnTo>
                <a:lnTo>
                  <a:pt x="5307" y="1136"/>
                </a:lnTo>
                <a:lnTo>
                  <a:pt x="5295" y="1136"/>
                </a:lnTo>
                <a:close/>
                <a:moveTo>
                  <a:pt x="5682" y="1130"/>
                </a:moveTo>
                <a:lnTo>
                  <a:pt x="5681" y="1130"/>
                </a:lnTo>
                <a:lnTo>
                  <a:pt x="5678" y="1129"/>
                </a:lnTo>
                <a:lnTo>
                  <a:pt x="5673" y="1127"/>
                </a:lnTo>
                <a:lnTo>
                  <a:pt x="5666" y="1122"/>
                </a:lnTo>
                <a:lnTo>
                  <a:pt x="5658" y="1117"/>
                </a:lnTo>
                <a:lnTo>
                  <a:pt x="5646" y="1105"/>
                </a:lnTo>
                <a:lnTo>
                  <a:pt x="5631" y="1091"/>
                </a:lnTo>
                <a:lnTo>
                  <a:pt x="5614" y="1075"/>
                </a:lnTo>
                <a:lnTo>
                  <a:pt x="5597" y="1058"/>
                </a:lnTo>
                <a:lnTo>
                  <a:pt x="5581" y="1040"/>
                </a:lnTo>
                <a:lnTo>
                  <a:pt x="5567" y="1024"/>
                </a:lnTo>
                <a:lnTo>
                  <a:pt x="5555" y="1010"/>
                </a:lnTo>
                <a:lnTo>
                  <a:pt x="5551" y="1004"/>
                </a:lnTo>
                <a:lnTo>
                  <a:pt x="5547" y="998"/>
                </a:lnTo>
                <a:lnTo>
                  <a:pt x="5541" y="987"/>
                </a:lnTo>
                <a:lnTo>
                  <a:pt x="5538" y="977"/>
                </a:lnTo>
                <a:lnTo>
                  <a:pt x="5535" y="968"/>
                </a:lnTo>
                <a:lnTo>
                  <a:pt x="5534" y="958"/>
                </a:lnTo>
                <a:lnTo>
                  <a:pt x="5535" y="952"/>
                </a:lnTo>
                <a:lnTo>
                  <a:pt x="5536" y="946"/>
                </a:lnTo>
                <a:lnTo>
                  <a:pt x="5537" y="941"/>
                </a:lnTo>
                <a:lnTo>
                  <a:pt x="5539" y="935"/>
                </a:lnTo>
                <a:lnTo>
                  <a:pt x="5542" y="927"/>
                </a:lnTo>
                <a:lnTo>
                  <a:pt x="5545" y="921"/>
                </a:lnTo>
                <a:lnTo>
                  <a:pt x="5549" y="914"/>
                </a:lnTo>
                <a:lnTo>
                  <a:pt x="5554" y="908"/>
                </a:lnTo>
                <a:lnTo>
                  <a:pt x="5562" y="897"/>
                </a:lnTo>
                <a:lnTo>
                  <a:pt x="5574" y="883"/>
                </a:lnTo>
                <a:lnTo>
                  <a:pt x="5603" y="848"/>
                </a:lnTo>
                <a:lnTo>
                  <a:pt x="5639" y="808"/>
                </a:lnTo>
                <a:lnTo>
                  <a:pt x="5675" y="768"/>
                </a:lnTo>
                <a:lnTo>
                  <a:pt x="5676" y="768"/>
                </a:lnTo>
                <a:lnTo>
                  <a:pt x="5679" y="767"/>
                </a:lnTo>
                <a:lnTo>
                  <a:pt x="5683" y="768"/>
                </a:lnTo>
                <a:lnTo>
                  <a:pt x="5687" y="769"/>
                </a:lnTo>
                <a:lnTo>
                  <a:pt x="5691" y="771"/>
                </a:lnTo>
                <a:lnTo>
                  <a:pt x="5696" y="773"/>
                </a:lnTo>
                <a:lnTo>
                  <a:pt x="5700" y="776"/>
                </a:lnTo>
                <a:lnTo>
                  <a:pt x="5704" y="780"/>
                </a:lnTo>
                <a:lnTo>
                  <a:pt x="5707" y="784"/>
                </a:lnTo>
                <a:lnTo>
                  <a:pt x="5710" y="789"/>
                </a:lnTo>
                <a:lnTo>
                  <a:pt x="5711" y="794"/>
                </a:lnTo>
                <a:lnTo>
                  <a:pt x="5712" y="798"/>
                </a:lnTo>
                <a:lnTo>
                  <a:pt x="5711" y="804"/>
                </a:lnTo>
                <a:lnTo>
                  <a:pt x="5710" y="809"/>
                </a:lnTo>
                <a:lnTo>
                  <a:pt x="5707" y="816"/>
                </a:lnTo>
                <a:lnTo>
                  <a:pt x="5703" y="822"/>
                </a:lnTo>
                <a:lnTo>
                  <a:pt x="5695" y="832"/>
                </a:lnTo>
                <a:lnTo>
                  <a:pt x="5683" y="846"/>
                </a:lnTo>
                <a:lnTo>
                  <a:pt x="5653" y="879"/>
                </a:lnTo>
                <a:lnTo>
                  <a:pt x="5624" y="913"/>
                </a:lnTo>
                <a:lnTo>
                  <a:pt x="5611" y="927"/>
                </a:lnTo>
                <a:lnTo>
                  <a:pt x="5601" y="940"/>
                </a:lnTo>
                <a:lnTo>
                  <a:pt x="5599" y="944"/>
                </a:lnTo>
                <a:lnTo>
                  <a:pt x="5597" y="947"/>
                </a:lnTo>
                <a:lnTo>
                  <a:pt x="5596" y="951"/>
                </a:lnTo>
                <a:lnTo>
                  <a:pt x="5596" y="954"/>
                </a:lnTo>
                <a:lnTo>
                  <a:pt x="5596" y="959"/>
                </a:lnTo>
                <a:lnTo>
                  <a:pt x="5597" y="963"/>
                </a:lnTo>
                <a:lnTo>
                  <a:pt x="5600" y="968"/>
                </a:lnTo>
                <a:lnTo>
                  <a:pt x="5603" y="972"/>
                </a:lnTo>
                <a:lnTo>
                  <a:pt x="5611" y="981"/>
                </a:lnTo>
                <a:lnTo>
                  <a:pt x="5621" y="994"/>
                </a:lnTo>
                <a:lnTo>
                  <a:pt x="5649" y="1023"/>
                </a:lnTo>
                <a:lnTo>
                  <a:pt x="5682" y="1056"/>
                </a:lnTo>
                <a:lnTo>
                  <a:pt x="5713" y="1087"/>
                </a:lnTo>
                <a:lnTo>
                  <a:pt x="5714" y="1088"/>
                </a:lnTo>
                <a:lnTo>
                  <a:pt x="5716" y="1091"/>
                </a:lnTo>
                <a:lnTo>
                  <a:pt x="5717" y="1093"/>
                </a:lnTo>
                <a:lnTo>
                  <a:pt x="5717" y="1095"/>
                </a:lnTo>
                <a:lnTo>
                  <a:pt x="5716" y="1101"/>
                </a:lnTo>
                <a:lnTo>
                  <a:pt x="5715" y="1104"/>
                </a:lnTo>
                <a:lnTo>
                  <a:pt x="5714" y="1107"/>
                </a:lnTo>
                <a:lnTo>
                  <a:pt x="5710" y="1113"/>
                </a:lnTo>
                <a:lnTo>
                  <a:pt x="5708" y="1116"/>
                </a:lnTo>
                <a:lnTo>
                  <a:pt x="5705" y="1119"/>
                </a:lnTo>
                <a:lnTo>
                  <a:pt x="5700" y="1123"/>
                </a:lnTo>
                <a:lnTo>
                  <a:pt x="5697" y="1125"/>
                </a:lnTo>
                <a:lnTo>
                  <a:pt x="5694" y="1127"/>
                </a:lnTo>
                <a:lnTo>
                  <a:pt x="5688" y="1129"/>
                </a:lnTo>
                <a:lnTo>
                  <a:pt x="5685" y="1130"/>
                </a:lnTo>
                <a:lnTo>
                  <a:pt x="5682" y="1130"/>
                </a:lnTo>
                <a:close/>
                <a:moveTo>
                  <a:pt x="5295" y="2129"/>
                </a:moveTo>
                <a:lnTo>
                  <a:pt x="5287" y="2129"/>
                </a:lnTo>
                <a:lnTo>
                  <a:pt x="5279" y="2128"/>
                </a:lnTo>
                <a:lnTo>
                  <a:pt x="5272" y="2127"/>
                </a:lnTo>
                <a:lnTo>
                  <a:pt x="5265" y="2126"/>
                </a:lnTo>
                <a:lnTo>
                  <a:pt x="5257" y="2124"/>
                </a:lnTo>
                <a:lnTo>
                  <a:pt x="5249" y="2121"/>
                </a:lnTo>
                <a:lnTo>
                  <a:pt x="5236" y="2116"/>
                </a:lnTo>
                <a:lnTo>
                  <a:pt x="5223" y="2108"/>
                </a:lnTo>
                <a:lnTo>
                  <a:pt x="5216" y="2104"/>
                </a:lnTo>
                <a:lnTo>
                  <a:pt x="5210" y="2100"/>
                </a:lnTo>
                <a:lnTo>
                  <a:pt x="5204" y="2095"/>
                </a:lnTo>
                <a:lnTo>
                  <a:pt x="5199" y="2090"/>
                </a:lnTo>
                <a:lnTo>
                  <a:pt x="5193" y="2084"/>
                </a:lnTo>
                <a:lnTo>
                  <a:pt x="5187" y="2078"/>
                </a:lnTo>
                <a:lnTo>
                  <a:pt x="5182" y="2072"/>
                </a:lnTo>
                <a:lnTo>
                  <a:pt x="5177" y="2065"/>
                </a:lnTo>
                <a:lnTo>
                  <a:pt x="5173" y="2058"/>
                </a:lnTo>
                <a:lnTo>
                  <a:pt x="5169" y="2051"/>
                </a:lnTo>
                <a:lnTo>
                  <a:pt x="5165" y="2044"/>
                </a:lnTo>
                <a:lnTo>
                  <a:pt x="5161" y="2037"/>
                </a:lnTo>
                <a:lnTo>
                  <a:pt x="5158" y="2029"/>
                </a:lnTo>
                <a:lnTo>
                  <a:pt x="5155" y="2022"/>
                </a:lnTo>
                <a:lnTo>
                  <a:pt x="5152" y="2014"/>
                </a:lnTo>
                <a:lnTo>
                  <a:pt x="5150" y="2005"/>
                </a:lnTo>
                <a:lnTo>
                  <a:pt x="5148" y="1996"/>
                </a:lnTo>
                <a:lnTo>
                  <a:pt x="5146" y="1988"/>
                </a:lnTo>
                <a:lnTo>
                  <a:pt x="5145" y="1979"/>
                </a:lnTo>
                <a:lnTo>
                  <a:pt x="5144" y="1970"/>
                </a:lnTo>
                <a:lnTo>
                  <a:pt x="5143" y="1961"/>
                </a:lnTo>
                <a:lnTo>
                  <a:pt x="5143" y="1952"/>
                </a:lnTo>
                <a:lnTo>
                  <a:pt x="5144" y="1932"/>
                </a:lnTo>
                <a:lnTo>
                  <a:pt x="5145" y="1923"/>
                </a:lnTo>
                <a:lnTo>
                  <a:pt x="5146" y="1914"/>
                </a:lnTo>
                <a:lnTo>
                  <a:pt x="5148" y="1905"/>
                </a:lnTo>
                <a:lnTo>
                  <a:pt x="5150" y="1896"/>
                </a:lnTo>
                <a:lnTo>
                  <a:pt x="5153" y="1886"/>
                </a:lnTo>
                <a:lnTo>
                  <a:pt x="5156" y="1878"/>
                </a:lnTo>
                <a:lnTo>
                  <a:pt x="5159" y="1869"/>
                </a:lnTo>
                <a:lnTo>
                  <a:pt x="5162" y="1861"/>
                </a:lnTo>
                <a:lnTo>
                  <a:pt x="5166" y="1853"/>
                </a:lnTo>
                <a:lnTo>
                  <a:pt x="5170" y="1845"/>
                </a:lnTo>
                <a:lnTo>
                  <a:pt x="5175" y="1838"/>
                </a:lnTo>
                <a:lnTo>
                  <a:pt x="5179" y="1829"/>
                </a:lnTo>
                <a:lnTo>
                  <a:pt x="5189" y="1815"/>
                </a:lnTo>
                <a:lnTo>
                  <a:pt x="5196" y="1809"/>
                </a:lnTo>
                <a:lnTo>
                  <a:pt x="5202" y="1803"/>
                </a:lnTo>
                <a:lnTo>
                  <a:pt x="5214" y="1791"/>
                </a:lnTo>
                <a:lnTo>
                  <a:pt x="5220" y="1786"/>
                </a:lnTo>
                <a:lnTo>
                  <a:pt x="5227" y="1781"/>
                </a:lnTo>
                <a:lnTo>
                  <a:pt x="5234" y="1777"/>
                </a:lnTo>
                <a:lnTo>
                  <a:pt x="5241" y="1773"/>
                </a:lnTo>
                <a:lnTo>
                  <a:pt x="5248" y="1768"/>
                </a:lnTo>
                <a:lnTo>
                  <a:pt x="5257" y="1765"/>
                </a:lnTo>
                <a:lnTo>
                  <a:pt x="5264" y="1762"/>
                </a:lnTo>
                <a:lnTo>
                  <a:pt x="5272" y="1760"/>
                </a:lnTo>
                <a:lnTo>
                  <a:pt x="5280" y="1758"/>
                </a:lnTo>
                <a:lnTo>
                  <a:pt x="5288" y="1757"/>
                </a:lnTo>
                <a:lnTo>
                  <a:pt x="5296" y="1756"/>
                </a:lnTo>
                <a:lnTo>
                  <a:pt x="5304" y="1756"/>
                </a:lnTo>
                <a:lnTo>
                  <a:pt x="5315" y="1756"/>
                </a:lnTo>
                <a:lnTo>
                  <a:pt x="5320" y="1757"/>
                </a:lnTo>
                <a:lnTo>
                  <a:pt x="5325" y="1758"/>
                </a:lnTo>
                <a:lnTo>
                  <a:pt x="5330" y="1759"/>
                </a:lnTo>
                <a:lnTo>
                  <a:pt x="5334" y="1760"/>
                </a:lnTo>
                <a:lnTo>
                  <a:pt x="5343" y="1763"/>
                </a:lnTo>
                <a:lnTo>
                  <a:pt x="5351" y="1767"/>
                </a:lnTo>
                <a:lnTo>
                  <a:pt x="5358" y="1773"/>
                </a:lnTo>
                <a:lnTo>
                  <a:pt x="5365" y="1778"/>
                </a:lnTo>
                <a:lnTo>
                  <a:pt x="5372" y="1784"/>
                </a:lnTo>
                <a:lnTo>
                  <a:pt x="5374" y="1787"/>
                </a:lnTo>
                <a:lnTo>
                  <a:pt x="5377" y="1791"/>
                </a:lnTo>
                <a:lnTo>
                  <a:pt x="5382" y="1798"/>
                </a:lnTo>
                <a:lnTo>
                  <a:pt x="5386" y="1806"/>
                </a:lnTo>
                <a:lnTo>
                  <a:pt x="5389" y="1814"/>
                </a:lnTo>
                <a:lnTo>
                  <a:pt x="5392" y="1823"/>
                </a:lnTo>
                <a:lnTo>
                  <a:pt x="5394" y="1833"/>
                </a:lnTo>
                <a:lnTo>
                  <a:pt x="5395" y="1842"/>
                </a:lnTo>
                <a:lnTo>
                  <a:pt x="5395" y="1852"/>
                </a:lnTo>
                <a:lnTo>
                  <a:pt x="5394" y="1865"/>
                </a:lnTo>
                <a:lnTo>
                  <a:pt x="5393" y="1871"/>
                </a:lnTo>
                <a:lnTo>
                  <a:pt x="5392" y="1877"/>
                </a:lnTo>
                <a:lnTo>
                  <a:pt x="5388" y="1889"/>
                </a:lnTo>
                <a:lnTo>
                  <a:pt x="5383" y="1902"/>
                </a:lnTo>
                <a:lnTo>
                  <a:pt x="5377" y="1913"/>
                </a:lnTo>
                <a:lnTo>
                  <a:pt x="5369" y="1923"/>
                </a:lnTo>
                <a:lnTo>
                  <a:pt x="5365" y="1928"/>
                </a:lnTo>
                <a:lnTo>
                  <a:pt x="5360" y="1933"/>
                </a:lnTo>
                <a:lnTo>
                  <a:pt x="5351" y="1943"/>
                </a:lnTo>
                <a:lnTo>
                  <a:pt x="5341" y="1952"/>
                </a:lnTo>
                <a:lnTo>
                  <a:pt x="5336" y="1956"/>
                </a:lnTo>
                <a:lnTo>
                  <a:pt x="5331" y="1960"/>
                </a:lnTo>
                <a:lnTo>
                  <a:pt x="5319" y="1966"/>
                </a:lnTo>
                <a:lnTo>
                  <a:pt x="5307" y="1972"/>
                </a:lnTo>
                <a:lnTo>
                  <a:pt x="5294" y="1976"/>
                </a:lnTo>
                <a:lnTo>
                  <a:pt x="5288" y="1978"/>
                </a:lnTo>
                <a:lnTo>
                  <a:pt x="5282" y="1980"/>
                </a:lnTo>
                <a:lnTo>
                  <a:pt x="5276" y="1981"/>
                </a:lnTo>
                <a:lnTo>
                  <a:pt x="5270" y="1982"/>
                </a:lnTo>
                <a:lnTo>
                  <a:pt x="5257" y="1982"/>
                </a:lnTo>
                <a:lnTo>
                  <a:pt x="5252" y="1982"/>
                </a:lnTo>
                <a:lnTo>
                  <a:pt x="5246" y="1980"/>
                </a:lnTo>
                <a:lnTo>
                  <a:pt x="5241" y="1977"/>
                </a:lnTo>
                <a:lnTo>
                  <a:pt x="5239" y="1975"/>
                </a:lnTo>
                <a:lnTo>
                  <a:pt x="5237" y="1973"/>
                </a:lnTo>
                <a:lnTo>
                  <a:pt x="5234" y="1969"/>
                </a:lnTo>
                <a:lnTo>
                  <a:pt x="5232" y="1963"/>
                </a:lnTo>
                <a:lnTo>
                  <a:pt x="5231" y="1961"/>
                </a:lnTo>
                <a:lnTo>
                  <a:pt x="5230" y="1958"/>
                </a:lnTo>
                <a:lnTo>
                  <a:pt x="5230" y="1950"/>
                </a:lnTo>
                <a:lnTo>
                  <a:pt x="5230" y="1947"/>
                </a:lnTo>
                <a:lnTo>
                  <a:pt x="5230" y="1945"/>
                </a:lnTo>
                <a:lnTo>
                  <a:pt x="5231" y="1940"/>
                </a:lnTo>
                <a:lnTo>
                  <a:pt x="5232" y="1938"/>
                </a:lnTo>
                <a:lnTo>
                  <a:pt x="5234" y="1936"/>
                </a:lnTo>
                <a:lnTo>
                  <a:pt x="5235" y="1934"/>
                </a:lnTo>
                <a:lnTo>
                  <a:pt x="5237" y="1933"/>
                </a:lnTo>
                <a:lnTo>
                  <a:pt x="5248" y="1931"/>
                </a:lnTo>
                <a:lnTo>
                  <a:pt x="5259" y="1928"/>
                </a:lnTo>
                <a:lnTo>
                  <a:pt x="5269" y="1925"/>
                </a:lnTo>
                <a:lnTo>
                  <a:pt x="5279" y="1921"/>
                </a:lnTo>
                <a:lnTo>
                  <a:pt x="5288" y="1917"/>
                </a:lnTo>
                <a:lnTo>
                  <a:pt x="5297" y="1911"/>
                </a:lnTo>
                <a:lnTo>
                  <a:pt x="5304" y="1906"/>
                </a:lnTo>
                <a:lnTo>
                  <a:pt x="5308" y="1903"/>
                </a:lnTo>
                <a:lnTo>
                  <a:pt x="5313" y="1900"/>
                </a:lnTo>
                <a:lnTo>
                  <a:pt x="5319" y="1894"/>
                </a:lnTo>
                <a:lnTo>
                  <a:pt x="5325" y="1886"/>
                </a:lnTo>
                <a:lnTo>
                  <a:pt x="5330" y="1880"/>
                </a:lnTo>
                <a:lnTo>
                  <a:pt x="5334" y="1873"/>
                </a:lnTo>
                <a:lnTo>
                  <a:pt x="5337" y="1866"/>
                </a:lnTo>
                <a:lnTo>
                  <a:pt x="5340" y="1859"/>
                </a:lnTo>
                <a:lnTo>
                  <a:pt x="5341" y="1852"/>
                </a:lnTo>
                <a:lnTo>
                  <a:pt x="5342" y="1845"/>
                </a:lnTo>
                <a:lnTo>
                  <a:pt x="5341" y="1837"/>
                </a:lnTo>
                <a:lnTo>
                  <a:pt x="5339" y="1828"/>
                </a:lnTo>
                <a:lnTo>
                  <a:pt x="5337" y="1825"/>
                </a:lnTo>
                <a:lnTo>
                  <a:pt x="5336" y="1822"/>
                </a:lnTo>
                <a:lnTo>
                  <a:pt x="5333" y="1819"/>
                </a:lnTo>
                <a:lnTo>
                  <a:pt x="5331" y="1817"/>
                </a:lnTo>
                <a:lnTo>
                  <a:pt x="5325" y="1812"/>
                </a:lnTo>
                <a:lnTo>
                  <a:pt x="5322" y="1811"/>
                </a:lnTo>
                <a:lnTo>
                  <a:pt x="5318" y="1809"/>
                </a:lnTo>
                <a:lnTo>
                  <a:pt x="5309" y="1807"/>
                </a:lnTo>
                <a:lnTo>
                  <a:pt x="5305" y="1807"/>
                </a:lnTo>
                <a:lnTo>
                  <a:pt x="5300" y="1807"/>
                </a:lnTo>
                <a:lnTo>
                  <a:pt x="5292" y="1807"/>
                </a:lnTo>
                <a:lnTo>
                  <a:pt x="5287" y="1808"/>
                </a:lnTo>
                <a:lnTo>
                  <a:pt x="5283" y="1810"/>
                </a:lnTo>
                <a:lnTo>
                  <a:pt x="5278" y="1811"/>
                </a:lnTo>
                <a:lnTo>
                  <a:pt x="5274" y="1813"/>
                </a:lnTo>
                <a:lnTo>
                  <a:pt x="5270" y="1815"/>
                </a:lnTo>
                <a:lnTo>
                  <a:pt x="5265" y="1818"/>
                </a:lnTo>
                <a:lnTo>
                  <a:pt x="5261" y="1821"/>
                </a:lnTo>
                <a:lnTo>
                  <a:pt x="5257" y="1824"/>
                </a:lnTo>
                <a:lnTo>
                  <a:pt x="5247" y="1832"/>
                </a:lnTo>
                <a:lnTo>
                  <a:pt x="5240" y="1840"/>
                </a:lnTo>
                <a:lnTo>
                  <a:pt x="5232" y="1849"/>
                </a:lnTo>
                <a:lnTo>
                  <a:pt x="5229" y="1854"/>
                </a:lnTo>
                <a:lnTo>
                  <a:pt x="5225" y="1859"/>
                </a:lnTo>
                <a:lnTo>
                  <a:pt x="5219" y="1870"/>
                </a:lnTo>
                <a:lnTo>
                  <a:pt x="5214" y="1881"/>
                </a:lnTo>
                <a:lnTo>
                  <a:pt x="5209" y="1894"/>
                </a:lnTo>
                <a:lnTo>
                  <a:pt x="5205" y="1907"/>
                </a:lnTo>
                <a:lnTo>
                  <a:pt x="5202" y="1920"/>
                </a:lnTo>
                <a:lnTo>
                  <a:pt x="5200" y="1934"/>
                </a:lnTo>
                <a:lnTo>
                  <a:pt x="5200" y="1941"/>
                </a:lnTo>
                <a:lnTo>
                  <a:pt x="5200" y="1948"/>
                </a:lnTo>
                <a:lnTo>
                  <a:pt x="5200" y="1962"/>
                </a:lnTo>
                <a:lnTo>
                  <a:pt x="5202" y="1974"/>
                </a:lnTo>
                <a:lnTo>
                  <a:pt x="5204" y="1986"/>
                </a:lnTo>
                <a:lnTo>
                  <a:pt x="5205" y="1991"/>
                </a:lnTo>
                <a:lnTo>
                  <a:pt x="5207" y="1997"/>
                </a:lnTo>
                <a:lnTo>
                  <a:pt x="5210" y="2007"/>
                </a:lnTo>
                <a:lnTo>
                  <a:pt x="5212" y="2013"/>
                </a:lnTo>
                <a:lnTo>
                  <a:pt x="5215" y="2018"/>
                </a:lnTo>
                <a:lnTo>
                  <a:pt x="5217" y="2023"/>
                </a:lnTo>
                <a:lnTo>
                  <a:pt x="5220" y="2027"/>
                </a:lnTo>
                <a:lnTo>
                  <a:pt x="5223" y="2031"/>
                </a:lnTo>
                <a:lnTo>
                  <a:pt x="5226" y="2035"/>
                </a:lnTo>
                <a:lnTo>
                  <a:pt x="5229" y="2039"/>
                </a:lnTo>
                <a:lnTo>
                  <a:pt x="5233" y="2043"/>
                </a:lnTo>
                <a:lnTo>
                  <a:pt x="5240" y="2050"/>
                </a:lnTo>
                <a:lnTo>
                  <a:pt x="5248" y="2055"/>
                </a:lnTo>
                <a:lnTo>
                  <a:pt x="5257" y="2060"/>
                </a:lnTo>
                <a:lnTo>
                  <a:pt x="5266" y="2064"/>
                </a:lnTo>
                <a:lnTo>
                  <a:pt x="5276" y="2067"/>
                </a:lnTo>
                <a:lnTo>
                  <a:pt x="5286" y="2068"/>
                </a:lnTo>
                <a:lnTo>
                  <a:pt x="5291" y="2069"/>
                </a:lnTo>
                <a:lnTo>
                  <a:pt x="5297" y="2069"/>
                </a:lnTo>
                <a:lnTo>
                  <a:pt x="5307" y="2068"/>
                </a:lnTo>
                <a:lnTo>
                  <a:pt x="5318" y="2067"/>
                </a:lnTo>
                <a:lnTo>
                  <a:pt x="5328" y="2064"/>
                </a:lnTo>
                <a:lnTo>
                  <a:pt x="5338" y="2061"/>
                </a:lnTo>
                <a:lnTo>
                  <a:pt x="5347" y="2057"/>
                </a:lnTo>
                <a:lnTo>
                  <a:pt x="5356" y="2052"/>
                </a:lnTo>
                <a:lnTo>
                  <a:pt x="5365" y="2046"/>
                </a:lnTo>
                <a:lnTo>
                  <a:pt x="5374" y="2039"/>
                </a:lnTo>
                <a:lnTo>
                  <a:pt x="5382" y="2032"/>
                </a:lnTo>
                <a:lnTo>
                  <a:pt x="5390" y="2024"/>
                </a:lnTo>
                <a:lnTo>
                  <a:pt x="5397" y="2016"/>
                </a:lnTo>
                <a:lnTo>
                  <a:pt x="5404" y="2006"/>
                </a:lnTo>
                <a:lnTo>
                  <a:pt x="5417" y="1986"/>
                </a:lnTo>
                <a:lnTo>
                  <a:pt x="5423" y="1976"/>
                </a:lnTo>
                <a:lnTo>
                  <a:pt x="5428" y="1965"/>
                </a:lnTo>
                <a:lnTo>
                  <a:pt x="5434" y="1954"/>
                </a:lnTo>
                <a:lnTo>
                  <a:pt x="5439" y="1942"/>
                </a:lnTo>
                <a:lnTo>
                  <a:pt x="5444" y="1930"/>
                </a:lnTo>
                <a:lnTo>
                  <a:pt x="5448" y="1919"/>
                </a:lnTo>
                <a:lnTo>
                  <a:pt x="5452" y="1907"/>
                </a:lnTo>
                <a:lnTo>
                  <a:pt x="5455" y="1895"/>
                </a:lnTo>
                <a:lnTo>
                  <a:pt x="5458" y="1882"/>
                </a:lnTo>
                <a:lnTo>
                  <a:pt x="5461" y="1870"/>
                </a:lnTo>
                <a:lnTo>
                  <a:pt x="5463" y="1858"/>
                </a:lnTo>
                <a:lnTo>
                  <a:pt x="5465" y="1846"/>
                </a:lnTo>
                <a:lnTo>
                  <a:pt x="5466" y="1834"/>
                </a:lnTo>
                <a:lnTo>
                  <a:pt x="5467" y="1822"/>
                </a:lnTo>
                <a:lnTo>
                  <a:pt x="5468" y="1810"/>
                </a:lnTo>
                <a:lnTo>
                  <a:pt x="5468" y="1799"/>
                </a:lnTo>
                <a:lnTo>
                  <a:pt x="5468" y="1788"/>
                </a:lnTo>
                <a:lnTo>
                  <a:pt x="5468" y="1778"/>
                </a:lnTo>
                <a:lnTo>
                  <a:pt x="5469" y="1776"/>
                </a:lnTo>
                <a:lnTo>
                  <a:pt x="5470" y="1773"/>
                </a:lnTo>
                <a:lnTo>
                  <a:pt x="5473" y="1770"/>
                </a:lnTo>
                <a:lnTo>
                  <a:pt x="5475" y="1769"/>
                </a:lnTo>
                <a:lnTo>
                  <a:pt x="5482" y="1766"/>
                </a:lnTo>
                <a:lnTo>
                  <a:pt x="5486" y="1765"/>
                </a:lnTo>
                <a:lnTo>
                  <a:pt x="5491" y="1765"/>
                </a:lnTo>
                <a:lnTo>
                  <a:pt x="5498" y="1765"/>
                </a:lnTo>
                <a:lnTo>
                  <a:pt x="5501" y="1766"/>
                </a:lnTo>
                <a:lnTo>
                  <a:pt x="5505" y="1767"/>
                </a:lnTo>
                <a:lnTo>
                  <a:pt x="5510" y="1770"/>
                </a:lnTo>
                <a:lnTo>
                  <a:pt x="5513" y="1773"/>
                </a:lnTo>
                <a:lnTo>
                  <a:pt x="5515" y="1775"/>
                </a:lnTo>
                <a:lnTo>
                  <a:pt x="5519" y="1781"/>
                </a:lnTo>
                <a:lnTo>
                  <a:pt x="5521" y="1784"/>
                </a:lnTo>
                <a:lnTo>
                  <a:pt x="5522" y="1788"/>
                </a:lnTo>
                <a:lnTo>
                  <a:pt x="5523" y="1793"/>
                </a:lnTo>
                <a:lnTo>
                  <a:pt x="5524" y="1797"/>
                </a:lnTo>
                <a:lnTo>
                  <a:pt x="5525" y="1803"/>
                </a:lnTo>
                <a:lnTo>
                  <a:pt x="5525" y="1809"/>
                </a:lnTo>
                <a:lnTo>
                  <a:pt x="5524" y="1824"/>
                </a:lnTo>
                <a:lnTo>
                  <a:pt x="5523" y="1841"/>
                </a:lnTo>
                <a:lnTo>
                  <a:pt x="5522" y="1856"/>
                </a:lnTo>
                <a:lnTo>
                  <a:pt x="5520" y="1871"/>
                </a:lnTo>
                <a:lnTo>
                  <a:pt x="5517" y="1886"/>
                </a:lnTo>
                <a:lnTo>
                  <a:pt x="5514" y="1902"/>
                </a:lnTo>
                <a:lnTo>
                  <a:pt x="5511" y="1916"/>
                </a:lnTo>
                <a:lnTo>
                  <a:pt x="5507" y="1930"/>
                </a:lnTo>
                <a:lnTo>
                  <a:pt x="5502" y="1944"/>
                </a:lnTo>
                <a:lnTo>
                  <a:pt x="5498" y="1959"/>
                </a:lnTo>
                <a:lnTo>
                  <a:pt x="5492" y="1972"/>
                </a:lnTo>
                <a:lnTo>
                  <a:pt x="5486" y="1985"/>
                </a:lnTo>
                <a:lnTo>
                  <a:pt x="5480" y="1997"/>
                </a:lnTo>
                <a:lnTo>
                  <a:pt x="5473" y="2009"/>
                </a:lnTo>
                <a:lnTo>
                  <a:pt x="5466" y="2022"/>
                </a:lnTo>
                <a:lnTo>
                  <a:pt x="5459" y="2033"/>
                </a:lnTo>
                <a:lnTo>
                  <a:pt x="5451" y="2043"/>
                </a:lnTo>
                <a:lnTo>
                  <a:pt x="5443" y="2054"/>
                </a:lnTo>
                <a:lnTo>
                  <a:pt x="5435" y="2063"/>
                </a:lnTo>
                <a:lnTo>
                  <a:pt x="5425" y="2073"/>
                </a:lnTo>
                <a:lnTo>
                  <a:pt x="5416" y="2082"/>
                </a:lnTo>
                <a:lnTo>
                  <a:pt x="5407" y="2090"/>
                </a:lnTo>
                <a:lnTo>
                  <a:pt x="5397" y="2097"/>
                </a:lnTo>
                <a:lnTo>
                  <a:pt x="5387" y="2103"/>
                </a:lnTo>
                <a:lnTo>
                  <a:pt x="5377" y="2109"/>
                </a:lnTo>
                <a:lnTo>
                  <a:pt x="5365" y="2114"/>
                </a:lnTo>
                <a:lnTo>
                  <a:pt x="5354" y="2119"/>
                </a:lnTo>
                <a:lnTo>
                  <a:pt x="5343" y="2122"/>
                </a:lnTo>
                <a:lnTo>
                  <a:pt x="5332" y="2125"/>
                </a:lnTo>
                <a:lnTo>
                  <a:pt x="5320" y="2127"/>
                </a:lnTo>
                <a:lnTo>
                  <a:pt x="5307" y="2129"/>
                </a:lnTo>
                <a:lnTo>
                  <a:pt x="5295" y="2129"/>
                </a:lnTo>
                <a:close/>
                <a:moveTo>
                  <a:pt x="5682" y="2123"/>
                </a:moveTo>
                <a:lnTo>
                  <a:pt x="5681" y="2123"/>
                </a:lnTo>
                <a:lnTo>
                  <a:pt x="5678" y="2123"/>
                </a:lnTo>
                <a:lnTo>
                  <a:pt x="5673" y="2120"/>
                </a:lnTo>
                <a:lnTo>
                  <a:pt x="5666" y="2116"/>
                </a:lnTo>
                <a:lnTo>
                  <a:pt x="5658" y="2110"/>
                </a:lnTo>
                <a:lnTo>
                  <a:pt x="5646" y="2099"/>
                </a:lnTo>
                <a:lnTo>
                  <a:pt x="5631" y="2085"/>
                </a:lnTo>
                <a:lnTo>
                  <a:pt x="5614" y="2068"/>
                </a:lnTo>
                <a:lnTo>
                  <a:pt x="5597" y="2051"/>
                </a:lnTo>
                <a:lnTo>
                  <a:pt x="5581" y="2034"/>
                </a:lnTo>
                <a:lnTo>
                  <a:pt x="5567" y="2018"/>
                </a:lnTo>
                <a:lnTo>
                  <a:pt x="5555" y="2003"/>
                </a:lnTo>
                <a:lnTo>
                  <a:pt x="5551" y="1997"/>
                </a:lnTo>
                <a:lnTo>
                  <a:pt x="5547" y="1991"/>
                </a:lnTo>
                <a:lnTo>
                  <a:pt x="5541" y="1981"/>
                </a:lnTo>
                <a:lnTo>
                  <a:pt x="5538" y="1971"/>
                </a:lnTo>
                <a:lnTo>
                  <a:pt x="5535" y="1962"/>
                </a:lnTo>
                <a:lnTo>
                  <a:pt x="5534" y="1952"/>
                </a:lnTo>
                <a:lnTo>
                  <a:pt x="5535" y="1945"/>
                </a:lnTo>
                <a:lnTo>
                  <a:pt x="5536" y="1940"/>
                </a:lnTo>
                <a:lnTo>
                  <a:pt x="5537" y="1934"/>
                </a:lnTo>
                <a:lnTo>
                  <a:pt x="5539" y="1928"/>
                </a:lnTo>
                <a:lnTo>
                  <a:pt x="5542" y="1922"/>
                </a:lnTo>
                <a:lnTo>
                  <a:pt x="5545" y="1915"/>
                </a:lnTo>
                <a:lnTo>
                  <a:pt x="5549" y="1909"/>
                </a:lnTo>
                <a:lnTo>
                  <a:pt x="5554" y="1902"/>
                </a:lnTo>
                <a:lnTo>
                  <a:pt x="5562" y="1890"/>
                </a:lnTo>
                <a:lnTo>
                  <a:pt x="5574" y="1876"/>
                </a:lnTo>
                <a:lnTo>
                  <a:pt x="5603" y="1842"/>
                </a:lnTo>
                <a:lnTo>
                  <a:pt x="5639" y="1802"/>
                </a:lnTo>
                <a:lnTo>
                  <a:pt x="5675" y="1761"/>
                </a:lnTo>
                <a:lnTo>
                  <a:pt x="5676" y="1761"/>
                </a:lnTo>
                <a:lnTo>
                  <a:pt x="5679" y="1760"/>
                </a:lnTo>
                <a:lnTo>
                  <a:pt x="5683" y="1761"/>
                </a:lnTo>
                <a:lnTo>
                  <a:pt x="5687" y="1762"/>
                </a:lnTo>
                <a:lnTo>
                  <a:pt x="5691" y="1764"/>
                </a:lnTo>
                <a:lnTo>
                  <a:pt x="5696" y="1766"/>
                </a:lnTo>
                <a:lnTo>
                  <a:pt x="5700" y="1769"/>
                </a:lnTo>
                <a:lnTo>
                  <a:pt x="5704" y="1774"/>
                </a:lnTo>
                <a:lnTo>
                  <a:pt x="5707" y="1778"/>
                </a:lnTo>
                <a:lnTo>
                  <a:pt x="5710" y="1783"/>
                </a:lnTo>
                <a:lnTo>
                  <a:pt x="5711" y="1788"/>
                </a:lnTo>
                <a:lnTo>
                  <a:pt x="5712" y="1793"/>
                </a:lnTo>
                <a:lnTo>
                  <a:pt x="5711" y="1798"/>
                </a:lnTo>
                <a:lnTo>
                  <a:pt x="5710" y="1803"/>
                </a:lnTo>
                <a:lnTo>
                  <a:pt x="5707" y="1809"/>
                </a:lnTo>
                <a:lnTo>
                  <a:pt x="5703" y="1815"/>
                </a:lnTo>
                <a:lnTo>
                  <a:pt x="5695" y="1825"/>
                </a:lnTo>
                <a:lnTo>
                  <a:pt x="5683" y="1840"/>
                </a:lnTo>
                <a:lnTo>
                  <a:pt x="5653" y="1873"/>
                </a:lnTo>
                <a:lnTo>
                  <a:pt x="5624" y="1907"/>
                </a:lnTo>
                <a:lnTo>
                  <a:pt x="5611" y="1921"/>
                </a:lnTo>
                <a:lnTo>
                  <a:pt x="5601" y="1933"/>
                </a:lnTo>
                <a:lnTo>
                  <a:pt x="5599" y="1937"/>
                </a:lnTo>
                <a:lnTo>
                  <a:pt x="5597" y="1940"/>
                </a:lnTo>
                <a:lnTo>
                  <a:pt x="5596" y="1944"/>
                </a:lnTo>
                <a:lnTo>
                  <a:pt x="5596" y="1948"/>
                </a:lnTo>
                <a:lnTo>
                  <a:pt x="5596" y="1953"/>
                </a:lnTo>
                <a:lnTo>
                  <a:pt x="5597" y="1957"/>
                </a:lnTo>
                <a:lnTo>
                  <a:pt x="5600" y="1962"/>
                </a:lnTo>
                <a:lnTo>
                  <a:pt x="5603" y="1967"/>
                </a:lnTo>
                <a:lnTo>
                  <a:pt x="5611" y="1976"/>
                </a:lnTo>
                <a:lnTo>
                  <a:pt x="5621" y="1987"/>
                </a:lnTo>
                <a:lnTo>
                  <a:pt x="5649" y="2017"/>
                </a:lnTo>
                <a:lnTo>
                  <a:pt x="5682" y="2050"/>
                </a:lnTo>
                <a:lnTo>
                  <a:pt x="5713" y="2081"/>
                </a:lnTo>
                <a:lnTo>
                  <a:pt x="5714" y="2083"/>
                </a:lnTo>
                <a:lnTo>
                  <a:pt x="5716" y="2085"/>
                </a:lnTo>
                <a:lnTo>
                  <a:pt x="5717" y="2087"/>
                </a:lnTo>
                <a:lnTo>
                  <a:pt x="5717" y="2090"/>
                </a:lnTo>
                <a:lnTo>
                  <a:pt x="5716" y="2095"/>
                </a:lnTo>
                <a:lnTo>
                  <a:pt x="5715" y="2098"/>
                </a:lnTo>
                <a:lnTo>
                  <a:pt x="5714" y="2101"/>
                </a:lnTo>
                <a:lnTo>
                  <a:pt x="5710" y="2107"/>
                </a:lnTo>
                <a:lnTo>
                  <a:pt x="5708" y="2109"/>
                </a:lnTo>
                <a:lnTo>
                  <a:pt x="5705" y="2112"/>
                </a:lnTo>
                <a:lnTo>
                  <a:pt x="5700" y="2116"/>
                </a:lnTo>
                <a:lnTo>
                  <a:pt x="5697" y="2118"/>
                </a:lnTo>
                <a:lnTo>
                  <a:pt x="5694" y="2120"/>
                </a:lnTo>
                <a:lnTo>
                  <a:pt x="5688" y="2123"/>
                </a:lnTo>
                <a:lnTo>
                  <a:pt x="5685" y="2123"/>
                </a:lnTo>
                <a:lnTo>
                  <a:pt x="5682" y="2123"/>
                </a:lnTo>
                <a:close/>
                <a:moveTo>
                  <a:pt x="5295" y="3095"/>
                </a:moveTo>
                <a:lnTo>
                  <a:pt x="5287" y="3094"/>
                </a:lnTo>
                <a:lnTo>
                  <a:pt x="5279" y="3094"/>
                </a:lnTo>
                <a:lnTo>
                  <a:pt x="5272" y="3093"/>
                </a:lnTo>
                <a:lnTo>
                  <a:pt x="5265" y="3090"/>
                </a:lnTo>
                <a:lnTo>
                  <a:pt x="5257" y="3088"/>
                </a:lnTo>
                <a:lnTo>
                  <a:pt x="5249" y="3086"/>
                </a:lnTo>
                <a:lnTo>
                  <a:pt x="5236" y="3080"/>
                </a:lnTo>
                <a:lnTo>
                  <a:pt x="5223" y="3073"/>
                </a:lnTo>
                <a:lnTo>
                  <a:pt x="5216" y="3069"/>
                </a:lnTo>
                <a:lnTo>
                  <a:pt x="5210" y="3064"/>
                </a:lnTo>
                <a:lnTo>
                  <a:pt x="5204" y="3059"/>
                </a:lnTo>
                <a:lnTo>
                  <a:pt x="5199" y="3054"/>
                </a:lnTo>
                <a:lnTo>
                  <a:pt x="5193" y="3049"/>
                </a:lnTo>
                <a:lnTo>
                  <a:pt x="5187" y="3043"/>
                </a:lnTo>
                <a:lnTo>
                  <a:pt x="5182" y="3037"/>
                </a:lnTo>
                <a:lnTo>
                  <a:pt x="5177" y="3029"/>
                </a:lnTo>
                <a:lnTo>
                  <a:pt x="5173" y="3023"/>
                </a:lnTo>
                <a:lnTo>
                  <a:pt x="5169" y="3016"/>
                </a:lnTo>
                <a:lnTo>
                  <a:pt x="5165" y="3009"/>
                </a:lnTo>
                <a:lnTo>
                  <a:pt x="5161" y="3001"/>
                </a:lnTo>
                <a:lnTo>
                  <a:pt x="5158" y="2994"/>
                </a:lnTo>
                <a:lnTo>
                  <a:pt x="5155" y="2986"/>
                </a:lnTo>
                <a:lnTo>
                  <a:pt x="5152" y="2978"/>
                </a:lnTo>
                <a:lnTo>
                  <a:pt x="5150" y="2969"/>
                </a:lnTo>
                <a:lnTo>
                  <a:pt x="5148" y="2961"/>
                </a:lnTo>
                <a:lnTo>
                  <a:pt x="5146" y="2952"/>
                </a:lnTo>
                <a:lnTo>
                  <a:pt x="5145" y="2943"/>
                </a:lnTo>
                <a:lnTo>
                  <a:pt x="5144" y="2934"/>
                </a:lnTo>
                <a:lnTo>
                  <a:pt x="5143" y="2925"/>
                </a:lnTo>
                <a:lnTo>
                  <a:pt x="5143" y="2916"/>
                </a:lnTo>
                <a:lnTo>
                  <a:pt x="5144" y="2897"/>
                </a:lnTo>
                <a:lnTo>
                  <a:pt x="5145" y="2887"/>
                </a:lnTo>
                <a:lnTo>
                  <a:pt x="5146" y="2878"/>
                </a:lnTo>
                <a:lnTo>
                  <a:pt x="5148" y="2869"/>
                </a:lnTo>
                <a:lnTo>
                  <a:pt x="5150" y="2860"/>
                </a:lnTo>
                <a:lnTo>
                  <a:pt x="5153" y="2852"/>
                </a:lnTo>
                <a:lnTo>
                  <a:pt x="5156" y="2842"/>
                </a:lnTo>
                <a:lnTo>
                  <a:pt x="5159" y="2834"/>
                </a:lnTo>
                <a:lnTo>
                  <a:pt x="5162" y="2825"/>
                </a:lnTo>
                <a:lnTo>
                  <a:pt x="5166" y="2817"/>
                </a:lnTo>
                <a:lnTo>
                  <a:pt x="5170" y="2810"/>
                </a:lnTo>
                <a:lnTo>
                  <a:pt x="5175" y="2802"/>
                </a:lnTo>
                <a:lnTo>
                  <a:pt x="5179" y="2795"/>
                </a:lnTo>
                <a:lnTo>
                  <a:pt x="5189" y="2780"/>
                </a:lnTo>
                <a:lnTo>
                  <a:pt x="5196" y="2773"/>
                </a:lnTo>
                <a:lnTo>
                  <a:pt x="5202" y="2767"/>
                </a:lnTo>
                <a:lnTo>
                  <a:pt x="5214" y="2756"/>
                </a:lnTo>
                <a:lnTo>
                  <a:pt x="5220" y="2751"/>
                </a:lnTo>
                <a:lnTo>
                  <a:pt x="5227" y="2746"/>
                </a:lnTo>
                <a:lnTo>
                  <a:pt x="5234" y="2741"/>
                </a:lnTo>
                <a:lnTo>
                  <a:pt x="5241" y="2737"/>
                </a:lnTo>
                <a:lnTo>
                  <a:pt x="5248" y="2734"/>
                </a:lnTo>
                <a:lnTo>
                  <a:pt x="5257" y="2730"/>
                </a:lnTo>
                <a:lnTo>
                  <a:pt x="5264" y="2727"/>
                </a:lnTo>
                <a:lnTo>
                  <a:pt x="5272" y="2725"/>
                </a:lnTo>
                <a:lnTo>
                  <a:pt x="5280" y="2723"/>
                </a:lnTo>
                <a:lnTo>
                  <a:pt x="5288" y="2721"/>
                </a:lnTo>
                <a:lnTo>
                  <a:pt x="5296" y="2721"/>
                </a:lnTo>
                <a:lnTo>
                  <a:pt x="5304" y="2720"/>
                </a:lnTo>
                <a:lnTo>
                  <a:pt x="5315" y="2721"/>
                </a:lnTo>
                <a:lnTo>
                  <a:pt x="5320" y="2721"/>
                </a:lnTo>
                <a:lnTo>
                  <a:pt x="5325" y="2722"/>
                </a:lnTo>
                <a:lnTo>
                  <a:pt x="5330" y="2723"/>
                </a:lnTo>
                <a:lnTo>
                  <a:pt x="5334" y="2725"/>
                </a:lnTo>
                <a:lnTo>
                  <a:pt x="5343" y="2728"/>
                </a:lnTo>
                <a:lnTo>
                  <a:pt x="5351" y="2733"/>
                </a:lnTo>
                <a:lnTo>
                  <a:pt x="5358" y="2737"/>
                </a:lnTo>
                <a:lnTo>
                  <a:pt x="5365" y="2743"/>
                </a:lnTo>
                <a:lnTo>
                  <a:pt x="5372" y="2749"/>
                </a:lnTo>
                <a:lnTo>
                  <a:pt x="5374" y="2752"/>
                </a:lnTo>
                <a:lnTo>
                  <a:pt x="5377" y="2755"/>
                </a:lnTo>
                <a:lnTo>
                  <a:pt x="5382" y="2762"/>
                </a:lnTo>
                <a:lnTo>
                  <a:pt x="5386" y="2770"/>
                </a:lnTo>
                <a:lnTo>
                  <a:pt x="5389" y="2778"/>
                </a:lnTo>
                <a:lnTo>
                  <a:pt x="5392" y="2787"/>
                </a:lnTo>
                <a:lnTo>
                  <a:pt x="5394" y="2797"/>
                </a:lnTo>
                <a:lnTo>
                  <a:pt x="5395" y="2807"/>
                </a:lnTo>
                <a:lnTo>
                  <a:pt x="5395" y="2817"/>
                </a:lnTo>
                <a:lnTo>
                  <a:pt x="5394" y="2829"/>
                </a:lnTo>
                <a:lnTo>
                  <a:pt x="5393" y="2835"/>
                </a:lnTo>
                <a:lnTo>
                  <a:pt x="5392" y="2842"/>
                </a:lnTo>
                <a:lnTo>
                  <a:pt x="5388" y="2854"/>
                </a:lnTo>
                <a:lnTo>
                  <a:pt x="5383" y="2866"/>
                </a:lnTo>
                <a:lnTo>
                  <a:pt x="5377" y="2877"/>
                </a:lnTo>
                <a:lnTo>
                  <a:pt x="5369" y="2888"/>
                </a:lnTo>
                <a:lnTo>
                  <a:pt x="5365" y="2893"/>
                </a:lnTo>
                <a:lnTo>
                  <a:pt x="5360" y="2898"/>
                </a:lnTo>
                <a:lnTo>
                  <a:pt x="5351" y="2907"/>
                </a:lnTo>
                <a:lnTo>
                  <a:pt x="5341" y="2916"/>
                </a:lnTo>
                <a:lnTo>
                  <a:pt x="5336" y="2920"/>
                </a:lnTo>
                <a:lnTo>
                  <a:pt x="5331" y="2924"/>
                </a:lnTo>
                <a:lnTo>
                  <a:pt x="5319" y="2931"/>
                </a:lnTo>
                <a:lnTo>
                  <a:pt x="5307" y="2936"/>
                </a:lnTo>
                <a:lnTo>
                  <a:pt x="5294" y="2941"/>
                </a:lnTo>
                <a:lnTo>
                  <a:pt x="5288" y="2943"/>
                </a:lnTo>
                <a:lnTo>
                  <a:pt x="5282" y="2944"/>
                </a:lnTo>
                <a:lnTo>
                  <a:pt x="5276" y="2945"/>
                </a:lnTo>
                <a:lnTo>
                  <a:pt x="5270" y="2946"/>
                </a:lnTo>
                <a:lnTo>
                  <a:pt x="5257" y="2947"/>
                </a:lnTo>
                <a:lnTo>
                  <a:pt x="5252" y="2946"/>
                </a:lnTo>
                <a:lnTo>
                  <a:pt x="5246" y="2944"/>
                </a:lnTo>
                <a:lnTo>
                  <a:pt x="5241" y="2942"/>
                </a:lnTo>
                <a:lnTo>
                  <a:pt x="5239" y="2940"/>
                </a:lnTo>
                <a:lnTo>
                  <a:pt x="5237" y="2938"/>
                </a:lnTo>
                <a:lnTo>
                  <a:pt x="5234" y="2933"/>
                </a:lnTo>
                <a:lnTo>
                  <a:pt x="5232" y="2928"/>
                </a:lnTo>
                <a:lnTo>
                  <a:pt x="5231" y="2925"/>
                </a:lnTo>
                <a:lnTo>
                  <a:pt x="5230" y="2922"/>
                </a:lnTo>
                <a:lnTo>
                  <a:pt x="5230" y="2916"/>
                </a:lnTo>
                <a:lnTo>
                  <a:pt x="5230" y="2913"/>
                </a:lnTo>
                <a:lnTo>
                  <a:pt x="5230" y="2909"/>
                </a:lnTo>
                <a:lnTo>
                  <a:pt x="5231" y="2904"/>
                </a:lnTo>
                <a:lnTo>
                  <a:pt x="5232" y="2902"/>
                </a:lnTo>
                <a:lnTo>
                  <a:pt x="5234" y="2900"/>
                </a:lnTo>
                <a:lnTo>
                  <a:pt x="5235" y="2899"/>
                </a:lnTo>
                <a:lnTo>
                  <a:pt x="5237" y="2897"/>
                </a:lnTo>
                <a:lnTo>
                  <a:pt x="5248" y="2896"/>
                </a:lnTo>
                <a:lnTo>
                  <a:pt x="5259" y="2893"/>
                </a:lnTo>
                <a:lnTo>
                  <a:pt x="5269" y="2890"/>
                </a:lnTo>
                <a:lnTo>
                  <a:pt x="5279" y="2886"/>
                </a:lnTo>
                <a:lnTo>
                  <a:pt x="5288" y="2881"/>
                </a:lnTo>
                <a:lnTo>
                  <a:pt x="5297" y="2876"/>
                </a:lnTo>
                <a:lnTo>
                  <a:pt x="5304" y="2870"/>
                </a:lnTo>
                <a:lnTo>
                  <a:pt x="5308" y="2868"/>
                </a:lnTo>
                <a:lnTo>
                  <a:pt x="5313" y="2865"/>
                </a:lnTo>
                <a:lnTo>
                  <a:pt x="5319" y="2858"/>
                </a:lnTo>
                <a:lnTo>
                  <a:pt x="5325" y="2852"/>
                </a:lnTo>
                <a:lnTo>
                  <a:pt x="5330" y="2844"/>
                </a:lnTo>
                <a:lnTo>
                  <a:pt x="5334" y="2837"/>
                </a:lnTo>
                <a:lnTo>
                  <a:pt x="5337" y="2830"/>
                </a:lnTo>
                <a:lnTo>
                  <a:pt x="5340" y="2823"/>
                </a:lnTo>
                <a:lnTo>
                  <a:pt x="5341" y="2816"/>
                </a:lnTo>
                <a:lnTo>
                  <a:pt x="5342" y="2809"/>
                </a:lnTo>
                <a:lnTo>
                  <a:pt x="5341" y="2801"/>
                </a:lnTo>
                <a:lnTo>
                  <a:pt x="5339" y="2794"/>
                </a:lnTo>
                <a:lnTo>
                  <a:pt x="5337" y="2789"/>
                </a:lnTo>
                <a:lnTo>
                  <a:pt x="5336" y="2786"/>
                </a:lnTo>
                <a:lnTo>
                  <a:pt x="5333" y="2784"/>
                </a:lnTo>
                <a:lnTo>
                  <a:pt x="5331" y="2781"/>
                </a:lnTo>
                <a:lnTo>
                  <a:pt x="5325" y="2777"/>
                </a:lnTo>
                <a:lnTo>
                  <a:pt x="5322" y="2775"/>
                </a:lnTo>
                <a:lnTo>
                  <a:pt x="5318" y="2774"/>
                </a:lnTo>
                <a:lnTo>
                  <a:pt x="5309" y="2772"/>
                </a:lnTo>
                <a:lnTo>
                  <a:pt x="5305" y="2771"/>
                </a:lnTo>
                <a:lnTo>
                  <a:pt x="5300" y="2771"/>
                </a:lnTo>
                <a:lnTo>
                  <a:pt x="5292" y="2772"/>
                </a:lnTo>
                <a:lnTo>
                  <a:pt x="5287" y="2773"/>
                </a:lnTo>
                <a:lnTo>
                  <a:pt x="5283" y="2774"/>
                </a:lnTo>
                <a:lnTo>
                  <a:pt x="5278" y="2776"/>
                </a:lnTo>
                <a:lnTo>
                  <a:pt x="5274" y="2777"/>
                </a:lnTo>
                <a:lnTo>
                  <a:pt x="5270" y="2780"/>
                </a:lnTo>
                <a:lnTo>
                  <a:pt x="5265" y="2782"/>
                </a:lnTo>
                <a:lnTo>
                  <a:pt x="5261" y="2785"/>
                </a:lnTo>
                <a:lnTo>
                  <a:pt x="5257" y="2788"/>
                </a:lnTo>
                <a:lnTo>
                  <a:pt x="5247" y="2796"/>
                </a:lnTo>
                <a:lnTo>
                  <a:pt x="5240" y="2804"/>
                </a:lnTo>
                <a:lnTo>
                  <a:pt x="5232" y="2813"/>
                </a:lnTo>
                <a:lnTo>
                  <a:pt x="5229" y="2818"/>
                </a:lnTo>
                <a:lnTo>
                  <a:pt x="5225" y="2823"/>
                </a:lnTo>
                <a:lnTo>
                  <a:pt x="5219" y="2834"/>
                </a:lnTo>
                <a:lnTo>
                  <a:pt x="5214" y="2845"/>
                </a:lnTo>
                <a:lnTo>
                  <a:pt x="5209" y="2859"/>
                </a:lnTo>
                <a:lnTo>
                  <a:pt x="5205" y="2871"/>
                </a:lnTo>
                <a:lnTo>
                  <a:pt x="5202" y="2885"/>
                </a:lnTo>
                <a:lnTo>
                  <a:pt x="5200" y="2899"/>
                </a:lnTo>
                <a:lnTo>
                  <a:pt x="5200" y="2906"/>
                </a:lnTo>
                <a:lnTo>
                  <a:pt x="5200" y="2914"/>
                </a:lnTo>
                <a:lnTo>
                  <a:pt x="5200" y="2926"/>
                </a:lnTo>
                <a:lnTo>
                  <a:pt x="5202" y="2939"/>
                </a:lnTo>
                <a:lnTo>
                  <a:pt x="5204" y="2950"/>
                </a:lnTo>
                <a:lnTo>
                  <a:pt x="5205" y="2956"/>
                </a:lnTo>
                <a:lnTo>
                  <a:pt x="5207" y="2961"/>
                </a:lnTo>
                <a:lnTo>
                  <a:pt x="5210" y="2973"/>
                </a:lnTo>
                <a:lnTo>
                  <a:pt x="5212" y="2978"/>
                </a:lnTo>
                <a:lnTo>
                  <a:pt x="5215" y="2983"/>
                </a:lnTo>
                <a:lnTo>
                  <a:pt x="5217" y="2987"/>
                </a:lnTo>
                <a:lnTo>
                  <a:pt x="5220" y="2992"/>
                </a:lnTo>
                <a:lnTo>
                  <a:pt x="5223" y="2996"/>
                </a:lnTo>
                <a:lnTo>
                  <a:pt x="5226" y="3000"/>
                </a:lnTo>
                <a:lnTo>
                  <a:pt x="5229" y="3004"/>
                </a:lnTo>
                <a:lnTo>
                  <a:pt x="5233" y="3007"/>
                </a:lnTo>
                <a:lnTo>
                  <a:pt x="5240" y="3014"/>
                </a:lnTo>
                <a:lnTo>
                  <a:pt x="5248" y="3020"/>
                </a:lnTo>
                <a:lnTo>
                  <a:pt x="5257" y="3025"/>
                </a:lnTo>
                <a:lnTo>
                  <a:pt x="5266" y="3028"/>
                </a:lnTo>
                <a:lnTo>
                  <a:pt x="5276" y="3032"/>
                </a:lnTo>
                <a:lnTo>
                  <a:pt x="5286" y="3034"/>
                </a:lnTo>
                <a:lnTo>
                  <a:pt x="5291" y="3034"/>
                </a:lnTo>
                <a:lnTo>
                  <a:pt x="5297" y="3034"/>
                </a:lnTo>
                <a:lnTo>
                  <a:pt x="5307" y="3034"/>
                </a:lnTo>
                <a:lnTo>
                  <a:pt x="5318" y="3032"/>
                </a:lnTo>
                <a:lnTo>
                  <a:pt x="5328" y="3029"/>
                </a:lnTo>
                <a:lnTo>
                  <a:pt x="5338" y="3026"/>
                </a:lnTo>
                <a:lnTo>
                  <a:pt x="5347" y="3021"/>
                </a:lnTo>
                <a:lnTo>
                  <a:pt x="5356" y="3016"/>
                </a:lnTo>
                <a:lnTo>
                  <a:pt x="5365" y="3010"/>
                </a:lnTo>
                <a:lnTo>
                  <a:pt x="5374" y="3004"/>
                </a:lnTo>
                <a:lnTo>
                  <a:pt x="5382" y="2997"/>
                </a:lnTo>
                <a:lnTo>
                  <a:pt x="5390" y="2989"/>
                </a:lnTo>
                <a:lnTo>
                  <a:pt x="5397" y="2980"/>
                </a:lnTo>
                <a:lnTo>
                  <a:pt x="5404" y="2970"/>
                </a:lnTo>
                <a:lnTo>
                  <a:pt x="5417" y="2951"/>
                </a:lnTo>
                <a:lnTo>
                  <a:pt x="5423" y="2941"/>
                </a:lnTo>
                <a:lnTo>
                  <a:pt x="5428" y="2930"/>
                </a:lnTo>
                <a:lnTo>
                  <a:pt x="5434" y="2919"/>
                </a:lnTo>
                <a:lnTo>
                  <a:pt x="5439" y="2906"/>
                </a:lnTo>
                <a:lnTo>
                  <a:pt x="5444" y="2895"/>
                </a:lnTo>
                <a:lnTo>
                  <a:pt x="5448" y="2883"/>
                </a:lnTo>
                <a:lnTo>
                  <a:pt x="5452" y="2871"/>
                </a:lnTo>
                <a:lnTo>
                  <a:pt x="5455" y="2859"/>
                </a:lnTo>
                <a:lnTo>
                  <a:pt x="5458" y="2846"/>
                </a:lnTo>
                <a:lnTo>
                  <a:pt x="5461" y="2834"/>
                </a:lnTo>
                <a:lnTo>
                  <a:pt x="5463" y="2822"/>
                </a:lnTo>
                <a:lnTo>
                  <a:pt x="5465" y="2810"/>
                </a:lnTo>
                <a:lnTo>
                  <a:pt x="5466" y="2799"/>
                </a:lnTo>
                <a:lnTo>
                  <a:pt x="5467" y="2786"/>
                </a:lnTo>
                <a:lnTo>
                  <a:pt x="5468" y="2775"/>
                </a:lnTo>
                <a:lnTo>
                  <a:pt x="5468" y="2764"/>
                </a:lnTo>
                <a:lnTo>
                  <a:pt x="5468" y="2753"/>
                </a:lnTo>
                <a:lnTo>
                  <a:pt x="5468" y="2742"/>
                </a:lnTo>
                <a:lnTo>
                  <a:pt x="5469" y="2740"/>
                </a:lnTo>
                <a:lnTo>
                  <a:pt x="5470" y="2738"/>
                </a:lnTo>
                <a:lnTo>
                  <a:pt x="5473" y="2736"/>
                </a:lnTo>
                <a:lnTo>
                  <a:pt x="5475" y="2734"/>
                </a:lnTo>
                <a:lnTo>
                  <a:pt x="5482" y="2730"/>
                </a:lnTo>
                <a:lnTo>
                  <a:pt x="5486" y="2730"/>
                </a:lnTo>
                <a:lnTo>
                  <a:pt x="5491" y="2729"/>
                </a:lnTo>
                <a:lnTo>
                  <a:pt x="5498" y="2730"/>
                </a:lnTo>
                <a:lnTo>
                  <a:pt x="5501" y="2732"/>
                </a:lnTo>
                <a:lnTo>
                  <a:pt x="5505" y="2732"/>
                </a:lnTo>
                <a:lnTo>
                  <a:pt x="5510" y="2735"/>
                </a:lnTo>
                <a:lnTo>
                  <a:pt x="5513" y="2737"/>
                </a:lnTo>
                <a:lnTo>
                  <a:pt x="5515" y="2740"/>
                </a:lnTo>
                <a:lnTo>
                  <a:pt x="5519" y="2745"/>
                </a:lnTo>
                <a:lnTo>
                  <a:pt x="5521" y="2749"/>
                </a:lnTo>
                <a:lnTo>
                  <a:pt x="5522" y="2753"/>
                </a:lnTo>
                <a:lnTo>
                  <a:pt x="5523" y="2757"/>
                </a:lnTo>
                <a:lnTo>
                  <a:pt x="5524" y="2762"/>
                </a:lnTo>
                <a:lnTo>
                  <a:pt x="5525" y="2767"/>
                </a:lnTo>
                <a:lnTo>
                  <a:pt x="5525" y="2773"/>
                </a:lnTo>
                <a:lnTo>
                  <a:pt x="5524" y="2789"/>
                </a:lnTo>
                <a:lnTo>
                  <a:pt x="5523" y="2805"/>
                </a:lnTo>
                <a:lnTo>
                  <a:pt x="5522" y="2820"/>
                </a:lnTo>
                <a:lnTo>
                  <a:pt x="5520" y="2835"/>
                </a:lnTo>
                <a:lnTo>
                  <a:pt x="5517" y="2850"/>
                </a:lnTo>
                <a:lnTo>
                  <a:pt x="5514" y="2866"/>
                </a:lnTo>
                <a:lnTo>
                  <a:pt x="5511" y="2880"/>
                </a:lnTo>
                <a:lnTo>
                  <a:pt x="5507" y="2895"/>
                </a:lnTo>
                <a:lnTo>
                  <a:pt x="5502" y="2908"/>
                </a:lnTo>
                <a:lnTo>
                  <a:pt x="5498" y="2923"/>
                </a:lnTo>
                <a:lnTo>
                  <a:pt x="5492" y="2936"/>
                </a:lnTo>
                <a:lnTo>
                  <a:pt x="5486" y="2949"/>
                </a:lnTo>
                <a:lnTo>
                  <a:pt x="5480" y="2961"/>
                </a:lnTo>
                <a:lnTo>
                  <a:pt x="5473" y="2975"/>
                </a:lnTo>
                <a:lnTo>
                  <a:pt x="5466" y="2986"/>
                </a:lnTo>
                <a:lnTo>
                  <a:pt x="5459" y="2997"/>
                </a:lnTo>
                <a:lnTo>
                  <a:pt x="5451" y="3008"/>
                </a:lnTo>
                <a:lnTo>
                  <a:pt x="5443" y="3018"/>
                </a:lnTo>
                <a:lnTo>
                  <a:pt x="5435" y="3028"/>
                </a:lnTo>
                <a:lnTo>
                  <a:pt x="5425" y="3038"/>
                </a:lnTo>
                <a:lnTo>
                  <a:pt x="5416" y="3046"/>
                </a:lnTo>
                <a:lnTo>
                  <a:pt x="5407" y="3054"/>
                </a:lnTo>
                <a:lnTo>
                  <a:pt x="5397" y="3061"/>
                </a:lnTo>
                <a:lnTo>
                  <a:pt x="5387" y="3068"/>
                </a:lnTo>
                <a:lnTo>
                  <a:pt x="5377" y="3074"/>
                </a:lnTo>
                <a:lnTo>
                  <a:pt x="5365" y="3079"/>
                </a:lnTo>
                <a:lnTo>
                  <a:pt x="5354" y="3083"/>
                </a:lnTo>
                <a:lnTo>
                  <a:pt x="5343" y="3087"/>
                </a:lnTo>
                <a:lnTo>
                  <a:pt x="5332" y="3090"/>
                </a:lnTo>
                <a:lnTo>
                  <a:pt x="5320" y="3093"/>
                </a:lnTo>
                <a:lnTo>
                  <a:pt x="5307" y="3094"/>
                </a:lnTo>
                <a:lnTo>
                  <a:pt x="5295" y="3095"/>
                </a:lnTo>
                <a:close/>
                <a:moveTo>
                  <a:pt x="5682" y="3088"/>
                </a:moveTo>
                <a:lnTo>
                  <a:pt x="5681" y="3088"/>
                </a:lnTo>
                <a:lnTo>
                  <a:pt x="5678" y="3087"/>
                </a:lnTo>
                <a:lnTo>
                  <a:pt x="5673" y="3084"/>
                </a:lnTo>
                <a:lnTo>
                  <a:pt x="5666" y="3080"/>
                </a:lnTo>
                <a:lnTo>
                  <a:pt x="5658" y="3075"/>
                </a:lnTo>
                <a:lnTo>
                  <a:pt x="5646" y="3064"/>
                </a:lnTo>
                <a:lnTo>
                  <a:pt x="5631" y="3050"/>
                </a:lnTo>
                <a:lnTo>
                  <a:pt x="5614" y="3034"/>
                </a:lnTo>
                <a:lnTo>
                  <a:pt x="5597" y="3016"/>
                </a:lnTo>
                <a:lnTo>
                  <a:pt x="5581" y="2999"/>
                </a:lnTo>
                <a:lnTo>
                  <a:pt x="5567" y="2983"/>
                </a:lnTo>
                <a:lnTo>
                  <a:pt x="5555" y="2967"/>
                </a:lnTo>
                <a:lnTo>
                  <a:pt x="5551" y="2961"/>
                </a:lnTo>
                <a:lnTo>
                  <a:pt x="5547" y="2956"/>
                </a:lnTo>
                <a:lnTo>
                  <a:pt x="5541" y="2946"/>
                </a:lnTo>
                <a:lnTo>
                  <a:pt x="5538" y="2936"/>
                </a:lnTo>
                <a:lnTo>
                  <a:pt x="5535" y="2926"/>
                </a:lnTo>
                <a:lnTo>
                  <a:pt x="5534" y="2916"/>
                </a:lnTo>
                <a:lnTo>
                  <a:pt x="5535" y="2910"/>
                </a:lnTo>
                <a:lnTo>
                  <a:pt x="5536" y="2904"/>
                </a:lnTo>
                <a:lnTo>
                  <a:pt x="5537" y="2898"/>
                </a:lnTo>
                <a:lnTo>
                  <a:pt x="5539" y="2892"/>
                </a:lnTo>
                <a:lnTo>
                  <a:pt x="5542" y="2886"/>
                </a:lnTo>
                <a:lnTo>
                  <a:pt x="5545" y="2880"/>
                </a:lnTo>
                <a:lnTo>
                  <a:pt x="5549" y="2873"/>
                </a:lnTo>
                <a:lnTo>
                  <a:pt x="5554" y="2866"/>
                </a:lnTo>
                <a:lnTo>
                  <a:pt x="5562" y="2855"/>
                </a:lnTo>
                <a:lnTo>
                  <a:pt x="5574" y="2841"/>
                </a:lnTo>
                <a:lnTo>
                  <a:pt x="5603" y="2807"/>
                </a:lnTo>
                <a:lnTo>
                  <a:pt x="5639" y="2767"/>
                </a:lnTo>
                <a:lnTo>
                  <a:pt x="5675" y="2726"/>
                </a:lnTo>
                <a:lnTo>
                  <a:pt x="5676" y="2725"/>
                </a:lnTo>
                <a:lnTo>
                  <a:pt x="5679" y="2725"/>
                </a:lnTo>
                <a:lnTo>
                  <a:pt x="5683" y="2725"/>
                </a:lnTo>
                <a:lnTo>
                  <a:pt x="5687" y="2726"/>
                </a:lnTo>
                <a:lnTo>
                  <a:pt x="5691" y="2728"/>
                </a:lnTo>
                <a:lnTo>
                  <a:pt x="5696" y="2732"/>
                </a:lnTo>
                <a:lnTo>
                  <a:pt x="5700" y="2735"/>
                </a:lnTo>
                <a:lnTo>
                  <a:pt x="5704" y="2739"/>
                </a:lnTo>
                <a:lnTo>
                  <a:pt x="5707" y="2743"/>
                </a:lnTo>
                <a:lnTo>
                  <a:pt x="5710" y="2748"/>
                </a:lnTo>
                <a:lnTo>
                  <a:pt x="5711" y="2752"/>
                </a:lnTo>
                <a:lnTo>
                  <a:pt x="5712" y="2757"/>
                </a:lnTo>
                <a:lnTo>
                  <a:pt x="5711" y="2762"/>
                </a:lnTo>
                <a:lnTo>
                  <a:pt x="5710" y="2768"/>
                </a:lnTo>
                <a:lnTo>
                  <a:pt x="5707" y="2773"/>
                </a:lnTo>
                <a:lnTo>
                  <a:pt x="5703" y="2779"/>
                </a:lnTo>
                <a:lnTo>
                  <a:pt x="5695" y="2790"/>
                </a:lnTo>
                <a:lnTo>
                  <a:pt x="5683" y="2804"/>
                </a:lnTo>
                <a:lnTo>
                  <a:pt x="5653" y="2837"/>
                </a:lnTo>
                <a:lnTo>
                  <a:pt x="5624" y="2871"/>
                </a:lnTo>
                <a:lnTo>
                  <a:pt x="5611" y="2886"/>
                </a:lnTo>
                <a:lnTo>
                  <a:pt x="5601" y="2897"/>
                </a:lnTo>
                <a:lnTo>
                  <a:pt x="5599" y="2901"/>
                </a:lnTo>
                <a:lnTo>
                  <a:pt x="5597" y="2905"/>
                </a:lnTo>
                <a:lnTo>
                  <a:pt x="5596" y="2908"/>
                </a:lnTo>
                <a:lnTo>
                  <a:pt x="5596" y="2913"/>
                </a:lnTo>
                <a:lnTo>
                  <a:pt x="5596" y="2917"/>
                </a:lnTo>
                <a:lnTo>
                  <a:pt x="5597" y="2922"/>
                </a:lnTo>
                <a:lnTo>
                  <a:pt x="5600" y="2926"/>
                </a:lnTo>
                <a:lnTo>
                  <a:pt x="5603" y="2931"/>
                </a:lnTo>
                <a:lnTo>
                  <a:pt x="5611" y="2940"/>
                </a:lnTo>
                <a:lnTo>
                  <a:pt x="5621" y="2952"/>
                </a:lnTo>
                <a:lnTo>
                  <a:pt x="5649" y="2982"/>
                </a:lnTo>
                <a:lnTo>
                  <a:pt x="5682" y="3014"/>
                </a:lnTo>
                <a:lnTo>
                  <a:pt x="5713" y="3045"/>
                </a:lnTo>
                <a:lnTo>
                  <a:pt x="5714" y="3047"/>
                </a:lnTo>
                <a:lnTo>
                  <a:pt x="5716" y="3049"/>
                </a:lnTo>
                <a:lnTo>
                  <a:pt x="5717" y="3051"/>
                </a:lnTo>
                <a:lnTo>
                  <a:pt x="5717" y="3054"/>
                </a:lnTo>
                <a:lnTo>
                  <a:pt x="5716" y="3060"/>
                </a:lnTo>
                <a:lnTo>
                  <a:pt x="5715" y="3062"/>
                </a:lnTo>
                <a:lnTo>
                  <a:pt x="5714" y="3065"/>
                </a:lnTo>
                <a:lnTo>
                  <a:pt x="5710" y="3071"/>
                </a:lnTo>
                <a:lnTo>
                  <a:pt x="5708" y="3074"/>
                </a:lnTo>
                <a:lnTo>
                  <a:pt x="5705" y="3076"/>
                </a:lnTo>
                <a:lnTo>
                  <a:pt x="5700" y="3081"/>
                </a:lnTo>
                <a:lnTo>
                  <a:pt x="5697" y="3083"/>
                </a:lnTo>
                <a:lnTo>
                  <a:pt x="5694" y="3085"/>
                </a:lnTo>
                <a:lnTo>
                  <a:pt x="5688" y="3087"/>
                </a:lnTo>
                <a:lnTo>
                  <a:pt x="5685" y="3088"/>
                </a:lnTo>
                <a:lnTo>
                  <a:pt x="5682" y="3088"/>
                </a:lnTo>
                <a:close/>
                <a:moveTo>
                  <a:pt x="2533" y="639"/>
                </a:moveTo>
                <a:lnTo>
                  <a:pt x="2525" y="639"/>
                </a:lnTo>
                <a:lnTo>
                  <a:pt x="2518" y="639"/>
                </a:lnTo>
                <a:lnTo>
                  <a:pt x="2510" y="637"/>
                </a:lnTo>
                <a:lnTo>
                  <a:pt x="2503" y="636"/>
                </a:lnTo>
                <a:lnTo>
                  <a:pt x="2496" y="634"/>
                </a:lnTo>
                <a:lnTo>
                  <a:pt x="2488" y="632"/>
                </a:lnTo>
                <a:lnTo>
                  <a:pt x="2474" y="625"/>
                </a:lnTo>
                <a:lnTo>
                  <a:pt x="2461" y="618"/>
                </a:lnTo>
                <a:lnTo>
                  <a:pt x="2455" y="613"/>
                </a:lnTo>
                <a:lnTo>
                  <a:pt x="2449" y="609"/>
                </a:lnTo>
                <a:lnTo>
                  <a:pt x="2443" y="604"/>
                </a:lnTo>
                <a:lnTo>
                  <a:pt x="2437" y="599"/>
                </a:lnTo>
                <a:lnTo>
                  <a:pt x="2432" y="593"/>
                </a:lnTo>
                <a:lnTo>
                  <a:pt x="2425" y="588"/>
                </a:lnTo>
                <a:lnTo>
                  <a:pt x="2420" y="582"/>
                </a:lnTo>
                <a:lnTo>
                  <a:pt x="2416" y="575"/>
                </a:lnTo>
                <a:lnTo>
                  <a:pt x="2411" y="568"/>
                </a:lnTo>
                <a:lnTo>
                  <a:pt x="2407" y="561"/>
                </a:lnTo>
                <a:lnTo>
                  <a:pt x="2403" y="554"/>
                </a:lnTo>
                <a:lnTo>
                  <a:pt x="2400" y="546"/>
                </a:lnTo>
                <a:lnTo>
                  <a:pt x="2396" y="539"/>
                </a:lnTo>
                <a:lnTo>
                  <a:pt x="2393" y="531"/>
                </a:lnTo>
                <a:lnTo>
                  <a:pt x="2391" y="523"/>
                </a:lnTo>
                <a:lnTo>
                  <a:pt x="2388" y="515"/>
                </a:lnTo>
                <a:lnTo>
                  <a:pt x="2386" y="505"/>
                </a:lnTo>
                <a:lnTo>
                  <a:pt x="2385" y="497"/>
                </a:lnTo>
                <a:lnTo>
                  <a:pt x="2383" y="488"/>
                </a:lnTo>
                <a:lnTo>
                  <a:pt x="2382" y="479"/>
                </a:lnTo>
                <a:lnTo>
                  <a:pt x="2382" y="470"/>
                </a:lnTo>
                <a:lnTo>
                  <a:pt x="2382" y="461"/>
                </a:lnTo>
                <a:lnTo>
                  <a:pt x="2382" y="441"/>
                </a:lnTo>
                <a:lnTo>
                  <a:pt x="2383" y="432"/>
                </a:lnTo>
                <a:lnTo>
                  <a:pt x="2385" y="423"/>
                </a:lnTo>
                <a:lnTo>
                  <a:pt x="2386" y="414"/>
                </a:lnTo>
                <a:lnTo>
                  <a:pt x="2389" y="405"/>
                </a:lnTo>
                <a:lnTo>
                  <a:pt x="2391" y="396"/>
                </a:lnTo>
                <a:lnTo>
                  <a:pt x="2394" y="387"/>
                </a:lnTo>
                <a:lnTo>
                  <a:pt x="2397" y="378"/>
                </a:lnTo>
                <a:lnTo>
                  <a:pt x="2401" y="370"/>
                </a:lnTo>
                <a:lnTo>
                  <a:pt x="2404" y="362"/>
                </a:lnTo>
                <a:lnTo>
                  <a:pt x="2408" y="354"/>
                </a:lnTo>
                <a:lnTo>
                  <a:pt x="2413" y="347"/>
                </a:lnTo>
                <a:lnTo>
                  <a:pt x="2418" y="339"/>
                </a:lnTo>
                <a:lnTo>
                  <a:pt x="2428" y="325"/>
                </a:lnTo>
                <a:lnTo>
                  <a:pt x="2434" y="318"/>
                </a:lnTo>
                <a:lnTo>
                  <a:pt x="2440" y="312"/>
                </a:lnTo>
                <a:lnTo>
                  <a:pt x="2452" y="301"/>
                </a:lnTo>
                <a:lnTo>
                  <a:pt x="2459" y="295"/>
                </a:lnTo>
                <a:lnTo>
                  <a:pt x="2465" y="291"/>
                </a:lnTo>
                <a:lnTo>
                  <a:pt x="2472" y="286"/>
                </a:lnTo>
                <a:lnTo>
                  <a:pt x="2479" y="282"/>
                </a:lnTo>
                <a:lnTo>
                  <a:pt x="2487" y="278"/>
                </a:lnTo>
                <a:lnTo>
                  <a:pt x="2495" y="275"/>
                </a:lnTo>
                <a:lnTo>
                  <a:pt x="2503" y="273"/>
                </a:lnTo>
                <a:lnTo>
                  <a:pt x="2510" y="269"/>
                </a:lnTo>
                <a:lnTo>
                  <a:pt x="2518" y="268"/>
                </a:lnTo>
                <a:lnTo>
                  <a:pt x="2526" y="266"/>
                </a:lnTo>
                <a:lnTo>
                  <a:pt x="2534" y="265"/>
                </a:lnTo>
                <a:lnTo>
                  <a:pt x="2543" y="265"/>
                </a:lnTo>
                <a:lnTo>
                  <a:pt x="2554" y="266"/>
                </a:lnTo>
                <a:lnTo>
                  <a:pt x="2559" y="266"/>
                </a:lnTo>
                <a:lnTo>
                  <a:pt x="2563" y="267"/>
                </a:lnTo>
                <a:lnTo>
                  <a:pt x="2568" y="268"/>
                </a:lnTo>
                <a:lnTo>
                  <a:pt x="2572" y="269"/>
                </a:lnTo>
                <a:lnTo>
                  <a:pt x="2581" y="273"/>
                </a:lnTo>
                <a:lnTo>
                  <a:pt x="2589" y="277"/>
                </a:lnTo>
                <a:lnTo>
                  <a:pt x="2596" y="282"/>
                </a:lnTo>
                <a:lnTo>
                  <a:pt x="2603" y="287"/>
                </a:lnTo>
                <a:lnTo>
                  <a:pt x="2609" y="293"/>
                </a:lnTo>
                <a:lnTo>
                  <a:pt x="2613" y="297"/>
                </a:lnTo>
                <a:lnTo>
                  <a:pt x="2615" y="300"/>
                </a:lnTo>
                <a:lnTo>
                  <a:pt x="2620" y="307"/>
                </a:lnTo>
                <a:lnTo>
                  <a:pt x="2624" y="315"/>
                </a:lnTo>
                <a:lnTo>
                  <a:pt x="2627" y="323"/>
                </a:lnTo>
                <a:lnTo>
                  <a:pt x="2630" y="333"/>
                </a:lnTo>
                <a:lnTo>
                  <a:pt x="2632" y="342"/>
                </a:lnTo>
                <a:lnTo>
                  <a:pt x="2633" y="352"/>
                </a:lnTo>
                <a:lnTo>
                  <a:pt x="2633" y="362"/>
                </a:lnTo>
                <a:lnTo>
                  <a:pt x="2633" y="374"/>
                </a:lnTo>
                <a:lnTo>
                  <a:pt x="2632" y="380"/>
                </a:lnTo>
                <a:lnTo>
                  <a:pt x="2630" y="386"/>
                </a:lnTo>
                <a:lnTo>
                  <a:pt x="2627" y="399"/>
                </a:lnTo>
                <a:lnTo>
                  <a:pt x="2622" y="411"/>
                </a:lnTo>
                <a:lnTo>
                  <a:pt x="2615" y="422"/>
                </a:lnTo>
                <a:lnTo>
                  <a:pt x="2607" y="433"/>
                </a:lnTo>
                <a:lnTo>
                  <a:pt x="2603" y="438"/>
                </a:lnTo>
                <a:lnTo>
                  <a:pt x="2599" y="442"/>
                </a:lnTo>
                <a:lnTo>
                  <a:pt x="2590" y="453"/>
                </a:lnTo>
                <a:lnTo>
                  <a:pt x="2580" y="461"/>
                </a:lnTo>
                <a:lnTo>
                  <a:pt x="2574" y="465"/>
                </a:lnTo>
                <a:lnTo>
                  <a:pt x="2569" y="469"/>
                </a:lnTo>
                <a:lnTo>
                  <a:pt x="2558" y="475"/>
                </a:lnTo>
                <a:lnTo>
                  <a:pt x="2545" y="481"/>
                </a:lnTo>
                <a:lnTo>
                  <a:pt x="2533" y="486"/>
                </a:lnTo>
                <a:lnTo>
                  <a:pt x="2527" y="487"/>
                </a:lnTo>
                <a:lnTo>
                  <a:pt x="2520" y="489"/>
                </a:lnTo>
                <a:lnTo>
                  <a:pt x="2514" y="490"/>
                </a:lnTo>
                <a:lnTo>
                  <a:pt x="2508" y="491"/>
                </a:lnTo>
                <a:lnTo>
                  <a:pt x="2495" y="492"/>
                </a:lnTo>
                <a:lnTo>
                  <a:pt x="2489" y="491"/>
                </a:lnTo>
                <a:lnTo>
                  <a:pt x="2484" y="489"/>
                </a:lnTo>
                <a:lnTo>
                  <a:pt x="2480" y="486"/>
                </a:lnTo>
                <a:lnTo>
                  <a:pt x="2478" y="485"/>
                </a:lnTo>
                <a:lnTo>
                  <a:pt x="2476" y="483"/>
                </a:lnTo>
                <a:lnTo>
                  <a:pt x="2473" y="478"/>
                </a:lnTo>
                <a:lnTo>
                  <a:pt x="2470" y="473"/>
                </a:lnTo>
                <a:lnTo>
                  <a:pt x="2469" y="470"/>
                </a:lnTo>
                <a:lnTo>
                  <a:pt x="2469" y="467"/>
                </a:lnTo>
                <a:lnTo>
                  <a:pt x="2468" y="460"/>
                </a:lnTo>
                <a:lnTo>
                  <a:pt x="2468" y="458"/>
                </a:lnTo>
                <a:lnTo>
                  <a:pt x="2469" y="455"/>
                </a:lnTo>
                <a:lnTo>
                  <a:pt x="2470" y="449"/>
                </a:lnTo>
                <a:lnTo>
                  <a:pt x="2471" y="447"/>
                </a:lnTo>
                <a:lnTo>
                  <a:pt x="2472" y="445"/>
                </a:lnTo>
                <a:lnTo>
                  <a:pt x="2473" y="443"/>
                </a:lnTo>
                <a:lnTo>
                  <a:pt x="2475" y="442"/>
                </a:lnTo>
                <a:lnTo>
                  <a:pt x="2486" y="440"/>
                </a:lnTo>
                <a:lnTo>
                  <a:pt x="2498" y="438"/>
                </a:lnTo>
                <a:lnTo>
                  <a:pt x="2508" y="434"/>
                </a:lnTo>
                <a:lnTo>
                  <a:pt x="2517" y="430"/>
                </a:lnTo>
                <a:lnTo>
                  <a:pt x="2526" y="426"/>
                </a:lnTo>
                <a:lnTo>
                  <a:pt x="2535" y="421"/>
                </a:lnTo>
                <a:lnTo>
                  <a:pt x="2543" y="415"/>
                </a:lnTo>
                <a:lnTo>
                  <a:pt x="2546" y="412"/>
                </a:lnTo>
                <a:lnTo>
                  <a:pt x="2551" y="409"/>
                </a:lnTo>
                <a:lnTo>
                  <a:pt x="2557" y="403"/>
                </a:lnTo>
                <a:lnTo>
                  <a:pt x="2563" y="397"/>
                </a:lnTo>
                <a:lnTo>
                  <a:pt x="2568" y="389"/>
                </a:lnTo>
                <a:lnTo>
                  <a:pt x="2572" y="382"/>
                </a:lnTo>
                <a:lnTo>
                  <a:pt x="2576" y="375"/>
                </a:lnTo>
                <a:lnTo>
                  <a:pt x="2578" y="368"/>
                </a:lnTo>
                <a:lnTo>
                  <a:pt x="2580" y="361"/>
                </a:lnTo>
                <a:lnTo>
                  <a:pt x="2580" y="354"/>
                </a:lnTo>
                <a:lnTo>
                  <a:pt x="2579" y="346"/>
                </a:lnTo>
                <a:lnTo>
                  <a:pt x="2577" y="338"/>
                </a:lnTo>
                <a:lnTo>
                  <a:pt x="2576" y="335"/>
                </a:lnTo>
                <a:lnTo>
                  <a:pt x="2574" y="332"/>
                </a:lnTo>
                <a:lnTo>
                  <a:pt x="2572" y="328"/>
                </a:lnTo>
                <a:lnTo>
                  <a:pt x="2569" y="326"/>
                </a:lnTo>
                <a:lnTo>
                  <a:pt x="2563" y="322"/>
                </a:lnTo>
                <a:lnTo>
                  <a:pt x="2560" y="320"/>
                </a:lnTo>
                <a:lnTo>
                  <a:pt x="2557" y="318"/>
                </a:lnTo>
                <a:lnTo>
                  <a:pt x="2548" y="317"/>
                </a:lnTo>
                <a:lnTo>
                  <a:pt x="2543" y="316"/>
                </a:lnTo>
                <a:lnTo>
                  <a:pt x="2539" y="316"/>
                </a:lnTo>
                <a:lnTo>
                  <a:pt x="2530" y="317"/>
                </a:lnTo>
                <a:lnTo>
                  <a:pt x="2526" y="318"/>
                </a:lnTo>
                <a:lnTo>
                  <a:pt x="2521" y="319"/>
                </a:lnTo>
                <a:lnTo>
                  <a:pt x="2517" y="320"/>
                </a:lnTo>
                <a:lnTo>
                  <a:pt x="2512" y="322"/>
                </a:lnTo>
                <a:lnTo>
                  <a:pt x="2508" y="324"/>
                </a:lnTo>
                <a:lnTo>
                  <a:pt x="2504" y="327"/>
                </a:lnTo>
                <a:lnTo>
                  <a:pt x="2499" y="330"/>
                </a:lnTo>
                <a:lnTo>
                  <a:pt x="2495" y="334"/>
                </a:lnTo>
                <a:lnTo>
                  <a:pt x="2486" y="341"/>
                </a:lnTo>
                <a:lnTo>
                  <a:pt x="2478" y="349"/>
                </a:lnTo>
                <a:lnTo>
                  <a:pt x="2470" y="358"/>
                </a:lnTo>
                <a:lnTo>
                  <a:pt x="2467" y="363"/>
                </a:lnTo>
                <a:lnTo>
                  <a:pt x="2464" y="368"/>
                </a:lnTo>
                <a:lnTo>
                  <a:pt x="2457" y="379"/>
                </a:lnTo>
                <a:lnTo>
                  <a:pt x="2452" y="390"/>
                </a:lnTo>
                <a:lnTo>
                  <a:pt x="2447" y="403"/>
                </a:lnTo>
                <a:lnTo>
                  <a:pt x="2443" y="416"/>
                </a:lnTo>
                <a:lnTo>
                  <a:pt x="2440" y="430"/>
                </a:lnTo>
                <a:lnTo>
                  <a:pt x="2439" y="443"/>
                </a:lnTo>
                <a:lnTo>
                  <a:pt x="2438" y="450"/>
                </a:lnTo>
                <a:lnTo>
                  <a:pt x="2438" y="459"/>
                </a:lnTo>
                <a:lnTo>
                  <a:pt x="2439" y="471"/>
                </a:lnTo>
                <a:lnTo>
                  <a:pt x="2440" y="483"/>
                </a:lnTo>
                <a:lnTo>
                  <a:pt x="2442" y="495"/>
                </a:lnTo>
                <a:lnTo>
                  <a:pt x="2443" y="501"/>
                </a:lnTo>
                <a:lnTo>
                  <a:pt x="2445" y="506"/>
                </a:lnTo>
                <a:lnTo>
                  <a:pt x="2449" y="518"/>
                </a:lnTo>
                <a:lnTo>
                  <a:pt x="2451" y="523"/>
                </a:lnTo>
                <a:lnTo>
                  <a:pt x="2453" y="527"/>
                </a:lnTo>
                <a:lnTo>
                  <a:pt x="2456" y="532"/>
                </a:lnTo>
                <a:lnTo>
                  <a:pt x="2458" y="536"/>
                </a:lnTo>
                <a:lnTo>
                  <a:pt x="2461" y="541"/>
                </a:lnTo>
                <a:lnTo>
                  <a:pt x="2464" y="545"/>
                </a:lnTo>
                <a:lnTo>
                  <a:pt x="2467" y="548"/>
                </a:lnTo>
                <a:lnTo>
                  <a:pt x="2471" y="552"/>
                </a:lnTo>
                <a:lnTo>
                  <a:pt x="2478" y="559"/>
                </a:lnTo>
                <a:lnTo>
                  <a:pt x="2486" y="564"/>
                </a:lnTo>
                <a:lnTo>
                  <a:pt x="2495" y="569"/>
                </a:lnTo>
                <a:lnTo>
                  <a:pt x="2505" y="574"/>
                </a:lnTo>
                <a:lnTo>
                  <a:pt x="2514" y="577"/>
                </a:lnTo>
                <a:lnTo>
                  <a:pt x="2524" y="579"/>
                </a:lnTo>
                <a:lnTo>
                  <a:pt x="2530" y="579"/>
                </a:lnTo>
                <a:lnTo>
                  <a:pt x="2535" y="579"/>
                </a:lnTo>
                <a:lnTo>
                  <a:pt x="2545" y="579"/>
                </a:lnTo>
                <a:lnTo>
                  <a:pt x="2557" y="577"/>
                </a:lnTo>
                <a:lnTo>
                  <a:pt x="2567" y="575"/>
                </a:lnTo>
                <a:lnTo>
                  <a:pt x="2576" y="570"/>
                </a:lnTo>
                <a:lnTo>
                  <a:pt x="2585" y="566"/>
                </a:lnTo>
                <a:lnTo>
                  <a:pt x="2594" y="561"/>
                </a:lnTo>
                <a:lnTo>
                  <a:pt x="2603" y="555"/>
                </a:lnTo>
                <a:lnTo>
                  <a:pt x="2612" y="549"/>
                </a:lnTo>
                <a:lnTo>
                  <a:pt x="2620" y="541"/>
                </a:lnTo>
                <a:lnTo>
                  <a:pt x="2628" y="534"/>
                </a:lnTo>
                <a:lnTo>
                  <a:pt x="2635" y="525"/>
                </a:lnTo>
                <a:lnTo>
                  <a:pt x="2642" y="516"/>
                </a:lnTo>
                <a:lnTo>
                  <a:pt x="2655" y="496"/>
                </a:lnTo>
                <a:lnTo>
                  <a:pt x="2661" y="485"/>
                </a:lnTo>
                <a:lnTo>
                  <a:pt x="2666" y="475"/>
                </a:lnTo>
                <a:lnTo>
                  <a:pt x="2673" y="464"/>
                </a:lnTo>
                <a:lnTo>
                  <a:pt x="2678" y="452"/>
                </a:lnTo>
                <a:lnTo>
                  <a:pt x="2682" y="440"/>
                </a:lnTo>
                <a:lnTo>
                  <a:pt x="2686" y="428"/>
                </a:lnTo>
                <a:lnTo>
                  <a:pt x="2690" y="416"/>
                </a:lnTo>
                <a:lnTo>
                  <a:pt x="2693" y="404"/>
                </a:lnTo>
                <a:lnTo>
                  <a:pt x="2696" y="392"/>
                </a:lnTo>
                <a:lnTo>
                  <a:pt x="2699" y="379"/>
                </a:lnTo>
                <a:lnTo>
                  <a:pt x="2701" y="367"/>
                </a:lnTo>
                <a:lnTo>
                  <a:pt x="2703" y="355"/>
                </a:lnTo>
                <a:lnTo>
                  <a:pt x="2705" y="343"/>
                </a:lnTo>
                <a:lnTo>
                  <a:pt x="2706" y="332"/>
                </a:lnTo>
                <a:lnTo>
                  <a:pt x="2706" y="320"/>
                </a:lnTo>
                <a:lnTo>
                  <a:pt x="2707" y="308"/>
                </a:lnTo>
                <a:lnTo>
                  <a:pt x="2706" y="298"/>
                </a:lnTo>
                <a:lnTo>
                  <a:pt x="2706" y="287"/>
                </a:lnTo>
                <a:lnTo>
                  <a:pt x="2707" y="285"/>
                </a:lnTo>
                <a:lnTo>
                  <a:pt x="2709" y="283"/>
                </a:lnTo>
                <a:lnTo>
                  <a:pt x="2711" y="281"/>
                </a:lnTo>
                <a:lnTo>
                  <a:pt x="2714" y="279"/>
                </a:lnTo>
                <a:lnTo>
                  <a:pt x="2720" y="276"/>
                </a:lnTo>
                <a:lnTo>
                  <a:pt x="2724" y="275"/>
                </a:lnTo>
                <a:lnTo>
                  <a:pt x="2728" y="275"/>
                </a:lnTo>
                <a:lnTo>
                  <a:pt x="2736" y="276"/>
                </a:lnTo>
                <a:lnTo>
                  <a:pt x="2740" y="276"/>
                </a:lnTo>
                <a:lnTo>
                  <a:pt x="2743" y="277"/>
                </a:lnTo>
                <a:lnTo>
                  <a:pt x="2749" y="280"/>
                </a:lnTo>
                <a:lnTo>
                  <a:pt x="2751" y="282"/>
                </a:lnTo>
                <a:lnTo>
                  <a:pt x="2754" y="284"/>
                </a:lnTo>
                <a:lnTo>
                  <a:pt x="2758" y="290"/>
                </a:lnTo>
                <a:lnTo>
                  <a:pt x="2759" y="294"/>
                </a:lnTo>
                <a:lnTo>
                  <a:pt x="2761" y="297"/>
                </a:lnTo>
                <a:lnTo>
                  <a:pt x="2762" y="302"/>
                </a:lnTo>
                <a:lnTo>
                  <a:pt x="2763" y="307"/>
                </a:lnTo>
                <a:lnTo>
                  <a:pt x="2763" y="312"/>
                </a:lnTo>
                <a:lnTo>
                  <a:pt x="2763" y="318"/>
                </a:lnTo>
                <a:lnTo>
                  <a:pt x="2763" y="334"/>
                </a:lnTo>
                <a:lnTo>
                  <a:pt x="2762" y="350"/>
                </a:lnTo>
                <a:lnTo>
                  <a:pt x="2760" y="365"/>
                </a:lnTo>
                <a:lnTo>
                  <a:pt x="2758" y="380"/>
                </a:lnTo>
                <a:lnTo>
                  <a:pt x="2756" y="396"/>
                </a:lnTo>
                <a:lnTo>
                  <a:pt x="2753" y="411"/>
                </a:lnTo>
                <a:lnTo>
                  <a:pt x="2749" y="425"/>
                </a:lnTo>
                <a:lnTo>
                  <a:pt x="2745" y="439"/>
                </a:lnTo>
                <a:lnTo>
                  <a:pt x="2741" y="454"/>
                </a:lnTo>
                <a:lnTo>
                  <a:pt x="2736" y="468"/>
                </a:lnTo>
                <a:lnTo>
                  <a:pt x="2731" y="481"/>
                </a:lnTo>
                <a:lnTo>
                  <a:pt x="2724" y="494"/>
                </a:lnTo>
                <a:lnTo>
                  <a:pt x="2718" y="506"/>
                </a:lnTo>
                <a:lnTo>
                  <a:pt x="2711" y="519"/>
                </a:lnTo>
                <a:lnTo>
                  <a:pt x="2705" y="531"/>
                </a:lnTo>
                <a:lnTo>
                  <a:pt x="2697" y="542"/>
                </a:lnTo>
                <a:lnTo>
                  <a:pt x="2690" y="553"/>
                </a:lnTo>
                <a:lnTo>
                  <a:pt x="2682" y="563"/>
                </a:lnTo>
                <a:lnTo>
                  <a:pt x="2673" y="573"/>
                </a:lnTo>
                <a:lnTo>
                  <a:pt x="2663" y="582"/>
                </a:lnTo>
                <a:lnTo>
                  <a:pt x="2654" y="591"/>
                </a:lnTo>
                <a:lnTo>
                  <a:pt x="2645" y="599"/>
                </a:lnTo>
                <a:lnTo>
                  <a:pt x="2635" y="606"/>
                </a:lnTo>
                <a:lnTo>
                  <a:pt x="2625" y="612"/>
                </a:lnTo>
                <a:lnTo>
                  <a:pt x="2615" y="618"/>
                </a:lnTo>
                <a:lnTo>
                  <a:pt x="2603" y="624"/>
                </a:lnTo>
                <a:lnTo>
                  <a:pt x="2592" y="628"/>
                </a:lnTo>
                <a:lnTo>
                  <a:pt x="2581" y="633"/>
                </a:lnTo>
                <a:lnTo>
                  <a:pt x="2570" y="636"/>
                </a:lnTo>
                <a:lnTo>
                  <a:pt x="2558" y="638"/>
                </a:lnTo>
                <a:lnTo>
                  <a:pt x="2545" y="639"/>
                </a:lnTo>
                <a:lnTo>
                  <a:pt x="2533" y="639"/>
                </a:lnTo>
                <a:close/>
                <a:moveTo>
                  <a:pt x="2921" y="634"/>
                </a:moveTo>
                <a:lnTo>
                  <a:pt x="2919" y="633"/>
                </a:lnTo>
                <a:lnTo>
                  <a:pt x="2917" y="633"/>
                </a:lnTo>
                <a:lnTo>
                  <a:pt x="2911" y="629"/>
                </a:lnTo>
                <a:lnTo>
                  <a:pt x="2904" y="625"/>
                </a:lnTo>
                <a:lnTo>
                  <a:pt x="2897" y="619"/>
                </a:lnTo>
                <a:lnTo>
                  <a:pt x="2884" y="608"/>
                </a:lnTo>
                <a:lnTo>
                  <a:pt x="2869" y="595"/>
                </a:lnTo>
                <a:lnTo>
                  <a:pt x="2853" y="579"/>
                </a:lnTo>
                <a:lnTo>
                  <a:pt x="2835" y="561"/>
                </a:lnTo>
                <a:lnTo>
                  <a:pt x="2819" y="544"/>
                </a:lnTo>
                <a:lnTo>
                  <a:pt x="2805" y="527"/>
                </a:lnTo>
                <a:lnTo>
                  <a:pt x="2794" y="513"/>
                </a:lnTo>
                <a:lnTo>
                  <a:pt x="2788" y="506"/>
                </a:lnTo>
                <a:lnTo>
                  <a:pt x="2785" y="501"/>
                </a:lnTo>
                <a:lnTo>
                  <a:pt x="2780" y="490"/>
                </a:lnTo>
                <a:lnTo>
                  <a:pt x="2776" y="481"/>
                </a:lnTo>
                <a:lnTo>
                  <a:pt x="2774" y="471"/>
                </a:lnTo>
                <a:lnTo>
                  <a:pt x="2773" y="461"/>
                </a:lnTo>
                <a:lnTo>
                  <a:pt x="2773" y="456"/>
                </a:lnTo>
                <a:lnTo>
                  <a:pt x="2774" y="449"/>
                </a:lnTo>
                <a:lnTo>
                  <a:pt x="2775" y="443"/>
                </a:lnTo>
                <a:lnTo>
                  <a:pt x="2777" y="437"/>
                </a:lnTo>
                <a:lnTo>
                  <a:pt x="2780" y="431"/>
                </a:lnTo>
                <a:lnTo>
                  <a:pt x="2783" y="424"/>
                </a:lnTo>
                <a:lnTo>
                  <a:pt x="2787" y="418"/>
                </a:lnTo>
                <a:lnTo>
                  <a:pt x="2792" y="411"/>
                </a:lnTo>
                <a:lnTo>
                  <a:pt x="2801" y="400"/>
                </a:lnTo>
                <a:lnTo>
                  <a:pt x="2812" y="385"/>
                </a:lnTo>
                <a:lnTo>
                  <a:pt x="2841" y="352"/>
                </a:lnTo>
                <a:lnTo>
                  <a:pt x="2877" y="312"/>
                </a:lnTo>
                <a:lnTo>
                  <a:pt x="2913" y="270"/>
                </a:lnTo>
                <a:lnTo>
                  <a:pt x="2914" y="270"/>
                </a:lnTo>
                <a:lnTo>
                  <a:pt x="2918" y="270"/>
                </a:lnTo>
                <a:lnTo>
                  <a:pt x="2921" y="270"/>
                </a:lnTo>
                <a:lnTo>
                  <a:pt x="2925" y="272"/>
                </a:lnTo>
                <a:lnTo>
                  <a:pt x="2930" y="274"/>
                </a:lnTo>
                <a:lnTo>
                  <a:pt x="2934" y="276"/>
                </a:lnTo>
                <a:lnTo>
                  <a:pt x="2938" y="280"/>
                </a:lnTo>
                <a:lnTo>
                  <a:pt x="2942" y="283"/>
                </a:lnTo>
                <a:lnTo>
                  <a:pt x="2945" y="288"/>
                </a:lnTo>
                <a:lnTo>
                  <a:pt x="2948" y="292"/>
                </a:lnTo>
                <a:lnTo>
                  <a:pt x="2950" y="297"/>
                </a:lnTo>
                <a:lnTo>
                  <a:pt x="2950" y="302"/>
                </a:lnTo>
                <a:lnTo>
                  <a:pt x="2950" y="307"/>
                </a:lnTo>
                <a:lnTo>
                  <a:pt x="2948" y="313"/>
                </a:lnTo>
                <a:lnTo>
                  <a:pt x="2945" y="318"/>
                </a:lnTo>
                <a:lnTo>
                  <a:pt x="2941" y="324"/>
                </a:lnTo>
                <a:lnTo>
                  <a:pt x="2933" y="336"/>
                </a:lnTo>
                <a:lnTo>
                  <a:pt x="2921" y="349"/>
                </a:lnTo>
                <a:lnTo>
                  <a:pt x="2891" y="382"/>
                </a:lnTo>
                <a:lnTo>
                  <a:pt x="2862" y="416"/>
                </a:lnTo>
                <a:lnTo>
                  <a:pt x="2849" y="431"/>
                </a:lnTo>
                <a:lnTo>
                  <a:pt x="2840" y="442"/>
                </a:lnTo>
                <a:lnTo>
                  <a:pt x="2837" y="446"/>
                </a:lnTo>
                <a:lnTo>
                  <a:pt x="2835" y="450"/>
                </a:lnTo>
                <a:lnTo>
                  <a:pt x="2834" y="454"/>
                </a:lnTo>
                <a:lnTo>
                  <a:pt x="2834" y="458"/>
                </a:lnTo>
                <a:lnTo>
                  <a:pt x="2834" y="462"/>
                </a:lnTo>
                <a:lnTo>
                  <a:pt x="2836" y="467"/>
                </a:lnTo>
                <a:lnTo>
                  <a:pt x="2838" y="471"/>
                </a:lnTo>
                <a:lnTo>
                  <a:pt x="2841" y="476"/>
                </a:lnTo>
                <a:lnTo>
                  <a:pt x="2848" y="485"/>
                </a:lnTo>
                <a:lnTo>
                  <a:pt x="2860" y="497"/>
                </a:lnTo>
                <a:lnTo>
                  <a:pt x="2887" y="527"/>
                </a:lnTo>
                <a:lnTo>
                  <a:pt x="2920" y="559"/>
                </a:lnTo>
                <a:lnTo>
                  <a:pt x="2951" y="590"/>
                </a:lnTo>
                <a:lnTo>
                  <a:pt x="2953" y="592"/>
                </a:lnTo>
                <a:lnTo>
                  <a:pt x="2954" y="594"/>
                </a:lnTo>
                <a:lnTo>
                  <a:pt x="2955" y="596"/>
                </a:lnTo>
                <a:lnTo>
                  <a:pt x="2955" y="599"/>
                </a:lnTo>
                <a:lnTo>
                  <a:pt x="2954" y="604"/>
                </a:lnTo>
                <a:lnTo>
                  <a:pt x="2953" y="607"/>
                </a:lnTo>
                <a:lnTo>
                  <a:pt x="2952" y="610"/>
                </a:lnTo>
                <a:lnTo>
                  <a:pt x="2948" y="616"/>
                </a:lnTo>
                <a:lnTo>
                  <a:pt x="2946" y="618"/>
                </a:lnTo>
                <a:lnTo>
                  <a:pt x="2944" y="621"/>
                </a:lnTo>
                <a:lnTo>
                  <a:pt x="2938" y="626"/>
                </a:lnTo>
                <a:lnTo>
                  <a:pt x="2936" y="628"/>
                </a:lnTo>
                <a:lnTo>
                  <a:pt x="2933" y="629"/>
                </a:lnTo>
                <a:lnTo>
                  <a:pt x="2927" y="633"/>
                </a:lnTo>
                <a:lnTo>
                  <a:pt x="2924" y="633"/>
                </a:lnTo>
                <a:lnTo>
                  <a:pt x="2921" y="634"/>
                </a:lnTo>
                <a:close/>
                <a:moveTo>
                  <a:pt x="2533" y="1633"/>
                </a:moveTo>
                <a:lnTo>
                  <a:pt x="2525" y="1632"/>
                </a:lnTo>
                <a:lnTo>
                  <a:pt x="2518" y="1632"/>
                </a:lnTo>
                <a:lnTo>
                  <a:pt x="2510" y="1631"/>
                </a:lnTo>
                <a:lnTo>
                  <a:pt x="2503" y="1629"/>
                </a:lnTo>
                <a:lnTo>
                  <a:pt x="2496" y="1627"/>
                </a:lnTo>
                <a:lnTo>
                  <a:pt x="2488" y="1625"/>
                </a:lnTo>
                <a:lnTo>
                  <a:pt x="2474" y="1619"/>
                </a:lnTo>
                <a:lnTo>
                  <a:pt x="2461" y="1612"/>
                </a:lnTo>
                <a:lnTo>
                  <a:pt x="2455" y="1608"/>
                </a:lnTo>
                <a:lnTo>
                  <a:pt x="2449" y="1603"/>
                </a:lnTo>
                <a:lnTo>
                  <a:pt x="2443" y="1598"/>
                </a:lnTo>
                <a:lnTo>
                  <a:pt x="2437" y="1593"/>
                </a:lnTo>
                <a:lnTo>
                  <a:pt x="2432" y="1587"/>
                </a:lnTo>
                <a:lnTo>
                  <a:pt x="2425" y="1581"/>
                </a:lnTo>
                <a:lnTo>
                  <a:pt x="2420" y="1575"/>
                </a:lnTo>
                <a:lnTo>
                  <a:pt x="2416" y="1568"/>
                </a:lnTo>
                <a:lnTo>
                  <a:pt x="2411" y="1562"/>
                </a:lnTo>
                <a:lnTo>
                  <a:pt x="2407" y="1555"/>
                </a:lnTo>
                <a:lnTo>
                  <a:pt x="2403" y="1548"/>
                </a:lnTo>
                <a:lnTo>
                  <a:pt x="2400" y="1540"/>
                </a:lnTo>
                <a:lnTo>
                  <a:pt x="2396" y="1533"/>
                </a:lnTo>
                <a:lnTo>
                  <a:pt x="2393" y="1524"/>
                </a:lnTo>
                <a:lnTo>
                  <a:pt x="2391" y="1516"/>
                </a:lnTo>
                <a:lnTo>
                  <a:pt x="2388" y="1508"/>
                </a:lnTo>
                <a:lnTo>
                  <a:pt x="2386" y="1500"/>
                </a:lnTo>
                <a:lnTo>
                  <a:pt x="2385" y="1491"/>
                </a:lnTo>
                <a:lnTo>
                  <a:pt x="2383" y="1482"/>
                </a:lnTo>
                <a:lnTo>
                  <a:pt x="2382" y="1473"/>
                </a:lnTo>
                <a:lnTo>
                  <a:pt x="2382" y="1463"/>
                </a:lnTo>
                <a:lnTo>
                  <a:pt x="2382" y="1454"/>
                </a:lnTo>
                <a:lnTo>
                  <a:pt x="2382" y="1436"/>
                </a:lnTo>
                <a:lnTo>
                  <a:pt x="2383" y="1426"/>
                </a:lnTo>
                <a:lnTo>
                  <a:pt x="2385" y="1417"/>
                </a:lnTo>
                <a:lnTo>
                  <a:pt x="2386" y="1407"/>
                </a:lnTo>
                <a:lnTo>
                  <a:pt x="2389" y="1398"/>
                </a:lnTo>
                <a:lnTo>
                  <a:pt x="2391" y="1390"/>
                </a:lnTo>
                <a:lnTo>
                  <a:pt x="2394" y="1381"/>
                </a:lnTo>
                <a:lnTo>
                  <a:pt x="2397" y="1373"/>
                </a:lnTo>
                <a:lnTo>
                  <a:pt x="2401" y="1364"/>
                </a:lnTo>
                <a:lnTo>
                  <a:pt x="2404" y="1356"/>
                </a:lnTo>
                <a:lnTo>
                  <a:pt x="2408" y="1348"/>
                </a:lnTo>
                <a:lnTo>
                  <a:pt x="2413" y="1340"/>
                </a:lnTo>
                <a:lnTo>
                  <a:pt x="2418" y="1333"/>
                </a:lnTo>
                <a:lnTo>
                  <a:pt x="2428" y="1319"/>
                </a:lnTo>
                <a:lnTo>
                  <a:pt x="2434" y="1312"/>
                </a:lnTo>
                <a:lnTo>
                  <a:pt x="2440" y="1306"/>
                </a:lnTo>
                <a:lnTo>
                  <a:pt x="2452" y="1295"/>
                </a:lnTo>
                <a:lnTo>
                  <a:pt x="2459" y="1289"/>
                </a:lnTo>
                <a:lnTo>
                  <a:pt x="2465" y="1284"/>
                </a:lnTo>
                <a:lnTo>
                  <a:pt x="2472" y="1279"/>
                </a:lnTo>
                <a:lnTo>
                  <a:pt x="2479" y="1275"/>
                </a:lnTo>
                <a:lnTo>
                  <a:pt x="2487" y="1272"/>
                </a:lnTo>
                <a:lnTo>
                  <a:pt x="2495" y="1269"/>
                </a:lnTo>
                <a:lnTo>
                  <a:pt x="2503" y="1266"/>
                </a:lnTo>
                <a:lnTo>
                  <a:pt x="2510" y="1264"/>
                </a:lnTo>
                <a:lnTo>
                  <a:pt x="2518" y="1262"/>
                </a:lnTo>
                <a:lnTo>
                  <a:pt x="2526" y="1260"/>
                </a:lnTo>
                <a:lnTo>
                  <a:pt x="2534" y="1260"/>
                </a:lnTo>
                <a:lnTo>
                  <a:pt x="2543" y="1259"/>
                </a:lnTo>
                <a:lnTo>
                  <a:pt x="2554" y="1260"/>
                </a:lnTo>
                <a:lnTo>
                  <a:pt x="2559" y="1260"/>
                </a:lnTo>
                <a:lnTo>
                  <a:pt x="2563" y="1261"/>
                </a:lnTo>
                <a:lnTo>
                  <a:pt x="2568" y="1262"/>
                </a:lnTo>
                <a:lnTo>
                  <a:pt x="2572" y="1263"/>
                </a:lnTo>
                <a:lnTo>
                  <a:pt x="2581" y="1267"/>
                </a:lnTo>
                <a:lnTo>
                  <a:pt x="2589" y="1270"/>
                </a:lnTo>
                <a:lnTo>
                  <a:pt x="2596" y="1275"/>
                </a:lnTo>
                <a:lnTo>
                  <a:pt x="2603" y="1280"/>
                </a:lnTo>
                <a:lnTo>
                  <a:pt x="2609" y="1286"/>
                </a:lnTo>
                <a:lnTo>
                  <a:pt x="2613" y="1290"/>
                </a:lnTo>
                <a:lnTo>
                  <a:pt x="2615" y="1294"/>
                </a:lnTo>
                <a:lnTo>
                  <a:pt x="2620" y="1301"/>
                </a:lnTo>
                <a:lnTo>
                  <a:pt x="2624" y="1309"/>
                </a:lnTo>
                <a:lnTo>
                  <a:pt x="2627" y="1317"/>
                </a:lnTo>
                <a:lnTo>
                  <a:pt x="2630" y="1326"/>
                </a:lnTo>
                <a:lnTo>
                  <a:pt x="2632" y="1335"/>
                </a:lnTo>
                <a:lnTo>
                  <a:pt x="2633" y="1345"/>
                </a:lnTo>
                <a:lnTo>
                  <a:pt x="2633" y="1356"/>
                </a:lnTo>
                <a:lnTo>
                  <a:pt x="2633" y="1368"/>
                </a:lnTo>
                <a:lnTo>
                  <a:pt x="2632" y="1374"/>
                </a:lnTo>
                <a:lnTo>
                  <a:pt x="2630" y="1380"/>
                </a:lnTo>
                <a:lnTo>
                  <a:pt x="2627" y="1392"/>
                </a:lnTo>
                <a:lnTo>
                  <a:pt x="2622" y="1404"/>
                </a:lnTo>
                <a:lnTo>
                  <a:pt x="2615" y="1416"/>
                </a:lnTo>
                <a:lnTo>
                  <a:pt x="2607" y="1427"/>
                </a:lnTo>
                <a:lnTo>
                  <a:pt x="2603" y="1432"/>
                </a:lnTo>
                <a:lnTo>
                  <a:pt x="2599" y="1437"/>
                </a:lnTo>
                <a:lnTo>
                  <a:pt x="2590" y="1446"/>
                </a:lnTo>
                <a:lnTo>
                  <a:pt x="2580" y="1454"/>
                </a:lnTo>
                <a:lnTo>
                  <a:pt x="2574" y="1458"/>
                </a:lnTo>
                <a:lnTo>
                  <a:pt x="2569" y="1462"/>
                </a:lnTo>
                <a:lnTo>
                  <a:pt x="2558" y="1469"/>
                </a:lnTo>
                <a:lnTo>
                  <a:pt x="2545" y="1475"/>
                </a:lnTo>
                <a:lnTo>
                  <a:pt x="2533" y="1480"/>
                </a:lnTo>
                <a:lnTo>
                  <a:pt x="2527" y="1482"/>
                </a:lnTo>
                <a:lnTo>
                  <a:pt x="2520" y="1483"/>
                </a:lnTo>
                <a:lnTo>
                  <a:pt x="2514" y="1484"/>
                </a:lnTo>
                <a:lnTo>
                  <a:pt x="2508" y="1485"/>
                </a:lnTo>
                <a:lnTo>
                  <a:pt x="2495" y="1486"/>
                </a:lnTo>
                <a:lnTo>
                  <a:pt x="2489" y="1485"/>
                </a:lnTo>
                <a:lnTo>
                  <a:pt x="2484" y="1483"/>
                </a:lnTo>
                <a:lnTo>
                  <a:pt x="2480" y="1481"/>
                </a:lnTo>
                <a:lnTo>
                  <a:pt x="2478" y="1479"/>
                </a:lnTo>
                <a:lnTo>
                  <a:pt x="2476" y="1477"/>
                </a:lnTo>
                <a:lnTo>
                  <a:pt x="2473" y="1472"/>
                </a:lnTo>
                <a:lnTo>
                  <a:pt x="2470" y="1466"/>
                </a:lnTo>
                <a:lnTo>
                  <a:pt x="2469" y="1463"/>
                </a:lnTo>
                <a:lnTo>
                  <a:pt x="2469" y="1460"/>
                </a:lnTo>
                <a:lnTo>
                  <a:pt x="2468" y="1454"/>
                </a:lnTo>
                <a:lnTo>
                  <a:pt x="2468" y="1451"/>
                </a:lnTo>
                <a:lnTo>
                  <a:pt x="2469" y="1448"/>
                </a:lnTo>
                <a:lnTo>
                  <a:pt x="2470" y="1443"/>
                </a:lnTo>
                <a:lnTo>
                  <a:pt x="2471" y="1441"/>
                </a:lnTo>
                <a:lnTo>
                  <a:pt x="2472" y="1439"/>
                </a:lnTo>
                <a:lnTo>
                  <a:pt x="2473" y="1438"/>
                </a:lnTo>
                <a:lnTo>
                  <a:pt x="2475" y="1436"/>
                </a:lnTo>
                <a:lnTo>
                  <a:pt x="2486" y="1434"/>
                </a:lnTo>
                <a:lnTo>
                  <a:pt x="2498" y="1432"/>
                </a:lnTo>
                <a:lnTo>
                  <a:pt x="2508" y="1428"/>
                </a:lnTo>
                <a:lnTo>
                  <a:pt x="2517" y="1424"/>
                </a:lnTo>
                <a:lnTo>
                  <a:pt x="2526" y="1420"/>
                </a:lnTo>
                <a:lnTo>
                  <a:pt x="2535" y="1415"/>
                </a:lnTo>
                <a:lnTo>
                  <a:pt x="2543" y="1408"/>
                </a:lnTo>
                <a:lnTo>
                  <a:pt x="2546" y="1406"/>
                </a:lnTo>
                <a:lnTo>
                  <a:pt x="2551" y="1403"/>
                </a:lnTo>
                <a:lnTo>
                  <a:pt x="2557" y="1396"/>
                </a:lnTo>
                <a:lnTo>
                  <a:pt x="2563" y="1390"/>
                </a:lnTo>
                <a:lnTo>
                  <a:pt x="2568" y="1383"/>
                </a:lnTo>
                <a:lnTo>
                  <a:pt x="2572" y="1376"/>
                </a:lnTo>
                <a:lnTo>
                  <a:pt x="2576" y="1369"/>
                </a:lnTo>
                <a:lnTo>
                  <a:pt x="2578" y="1362"/>
                </a:lnTo>
                <a:lnTo>
                  <a:pt x="2580" y="1355"/>
                </a:lnTo>
                <a:lnTo>
                  <a:pt x="2580" y="1347"/>
                </a:lnTo>
                <a:lnTo>
                  <a:pt x="2579" y="1339"/>
                </a:lnTo>
                <a:lnTo>
                  <a:pt x="2577" y="1332"/>
                </a:lnTo>
                <a:lnTo>
                  <a:pt x="2576" y="1328"/>
                </a:lnTo>
                <a:lnTo>
                  <a:pt x="2574" y="1325"/>
                </a:lnTo>
                <a:lnTo>
                  <a:pt x="2572" y="1323"/>
                </a:lnTo>
                <a:lnTo>
                  <a:pt x="2569" y="1320"/>
                </a:lnTo>
                <a:lnTo>
                  <a:pt x="2563" y="1316"/>
                </a:lnTo>
                <a:lnTo>
                  <a:pt x="2560" y="1314"/>
                </a:lnTo>
                <a:lnTo>
                  <a:pt x="2557" y="1313"/>
                </a:lnTo>
                <a:lnTo>
                  <a:pt x="2548" y="1311"/>
                </a:lnTo>
                <a:lnTo>
                  <a:pt x="2543" y="1310"/>
                </a:lnTo>
                <a:lnTo>
                  <a:pt x="2539" y="1310"/>
                </a:lnTo>
                <a:lnTo>
                  <a:pt x="2530" y="1311"/>
                </a:lnTo>
                <a:lnTo>
                  <a:pt x="2526" y="1312"/>
                </a:lnTo>
                <a:lnTo>
                  <a:pt x="2521" y="1313"/>
                </a:lnTo>
                <a:lnTo>
                  <a:pt x="2517" y="1315"/>
                </a:lnTo>
                <a:lnTo>
                  <a:pt x="2512" y="1316"/>
                </a:lnTo>
                <a:lnTo>
                  <a:pt x="2508" y="1319"/>
                </a:lnTo>
                <a:lnTo>
                  <a:pt x="2504" y="1321"/>
                </a:lnTo>
                <a:lnTo>
                  <a:pt x="2499" y="1324"/>
                </a:lnTo>
                <a:lnTo>
                  <a:pt x="2495" y="1327"/>
                </a:lnTo>
                <a:lnTo>
                  <a:pt x="2486" y="1334"/>
                </a:lnTo>
                <a:lnTo>
                  <a:pt x="2478" y="1342"/>
                </a:lnTo>
                <a:lnTo>
                  <a:pt x="2470" y="1352"/>
                </a:lnTo>
                <a:lnTo>
                  <a:pt x="2467" y="1357"/>
                </a:lnTo>
                <a:lnTo>
                  <a:pt x="2464" y="1362"/>
                </a:lnTo>
                <a:lnTo>
                  <a:pt x="2457" y="1373"/>
                </a:lnTo>
                <a:lnTo>
                  <a:pt x="2452" y="1384"/>
                </a:lnTo>
                <a:lnTo>
                  <a:pt x="2447" y="1397"/>
                </a:lnTo>
                <a:lnTo>
                  <a:pt x="2443" y="1409"/>
                </a:lnTo>
                <a:lnTo>
                  <a:pt x="2440" y="1424"/>
                </a:lnTo>
                <a:lnTo>
                  <a:pt x="2439" y="1438"/>
                </a:lnTo>
                <a:lnTo>
                  <a:pt x="2438" y="1445"/>
                </a:lnTo>
                <a:lnTo>
                  <a:pt x="2438" y="1452"/>
                </a:lnTo>
                <a:lnTo>
                  <a:pt x="2439" y="1464"/>
                </a:lnTo>
                <a:lnTo>
                  <a:pt x="2440" y="1478"/>
                </a:lnTo>
                <a:lnTo>
                  <a:pt x="2442" y="1489"/>
                </a:lnTo>
                <a:lnTo>
                  <a:pt x="2443" y="1495"/>
                </a:lnTo>
                <a:lnTo>
                  <a:pt x="2445" y="1500"/>
                </a:lnTo>
                <a:lnTo>
                  <a:pt x="2449" y="1511"/>
                </a:lnTo>
                <a:lnTo>
                  <a:pt x="2451" y="1516"/>
                </a:lnTo>
                <a:lnTo>
                  <a:pt x="2453" y="1521"/>
                </a:lnTo>
                <a:lnTo>
                  <a:pt x="2456" y="1525"/>
                </a:lnTo>
                <a:lnTo>
                  <a:pt x="2458" y="1530"/>
                </a:lnTo>
                <a:lnTo>
                  <a:pt x="2461" y="1535"/>
                </a:lnTo>
                <a:lnTo>
                  <a:pt x="2464" y="1539"/>
                </a:lnTo>
                <a:lnTo>
                  <a:pt x="2467" y="1543"/>
                </a:lnTo>
                <a:lnTo>
                  <a:pt x="2471" y="1546"/>
                </a:lnTo>
                <a:lnTo>
                  <a:pt x="2478" y="1553"/>
                </a:lnTo>
                <a:lnTo>
                  <a:pt x="2486" y="1559"/>
                </a:lnTo>
                <a:lnTo>
                  <a:pt x="2495" y="1563"/>
                </a:lnTo>
                <a:lnTo>
                  <a:pt x="2505" y="1567"/>
                </a:lnTo>
                <a:lnTo>
                  <a:pt x="2514" y="1570"/>
                </a:lnTo>
                <a:lnTo>
                  <a:pt x="2524" y="1572"/>
                </a:lnTo>
                <a:lnTo>
                  <a:pt x="2530" y="1572"/>
                </a:lnTo>
                <a:lnTo>
                  <a:pt x="2535" y="1572"/>
                </a:lnTo>
                <a:lnTo>
                  <a:pt x="2545" y="1572"/>
                </a:lnTo>
                <a:lnTo>
                  <a:pt x="2557" y="1570"/>
                </a:lnTo>
                <a:lnTo>
                  <a:pt x="2567" y="1568"/>
                </a:lnTo>
                <a:lnTo>
                  <a:pt x="2576" y="1564"/>
                </a:lnTo>
                <a:lnTo>
                  <a:pt x="2585" y="1560"/>
                </a:lnTo>
                <a:lnTo>
                  <a:pt x="2594" y="1555"/>
                </a:lnTo>
                <a:lnTo>
                  <a:pt x="2603" y="1549"/>
                </a:lnTo>
                <a:lnTo>
                  <a:pt x="2612" y="1543"/>
                </a:lnTo>
                <a:lnTo>
                  <a:pt x="2620" y="1536"/>
                </a:lnTo>
                <a:lnTo>
                  <a:pt x="2628" y="1527"/>
                </a:lnTo>
                <a:lnTo>
                  <a:pt x="2635" y="1518"/>
                </a:lnTo>
                <a:lnTo>
                  <a:pt x="2642" y="1509"/>
                </a:lnTo>
                <a:lnTo>
                  <a:pt x="2655" y="1490"/>
                </a:lnTo>
                <a:lnTo>
                  <a:pt x="2661" y="1479"/>
                </a:lnTo>
                <a:lnTo>
                  <a:pt x="2666" y="1468"/>
                </a:lnTo>
                <a:lnTo>
                  <a:pt x="2673" y="1457"/>
                </a:lnTo>
                <a:lnTo>
                  <a:pt x="2678" y="1445"/>
                </a:lnTo>
                <a:lnTo>
                  <a:pt x="2682" y="1434"/>
                </a:lnTo>
                <a:lnTo>
                  <a:pt x="2686" y="1422"/>
                </a:lnTo>
                <a:lnTo>
                  <a:pt x="2690" y="1409"/>
                </a:lnTo>
                <a:lnTo>
                  <a:pt x="2693" y="1397"/>
                </a:lnTo>
                <a:lnTo>
                  <a:pt x="2696" y="1385"/>
                </a:lnTo>
                <a:lnTo>
                  <a:pt x="2699" y="1373"/>
                </a:lnTo>
                <a:lnTo>
                  <a:pt x="2701" y="1361"/>
                </a:lnTo>
                <a:lnTo>
                  <a:pt x="2703" y="1348"/>
                </a:lnTo>
                <a:lnTo>
                  <a:pt x="2705" y="1337"/>
                </a:lnTo>
                <a:lnTo>
                  <a:pt x="2706" y="1325"/>
                </a:lnTo>
                <a:lnTo>
                  <a:pt x="2706" y="1314"/>
                </a:lnTo>
                <a:lnTo>
                  <a:pt x="2707" y="1303"/>
                </a:lnTo>
                <a:lnTo>
                  <a:pt x="2706" y="1292"/>
                </a:lnTo>
                <a:lnTo>
                  <a:pt x="2706" y="1280"/>
                </a:lnTo>
                <a:lnTo>
                  <a:pt x="2707" y="1278"/>
                </a:lnTo>
                <a:lnTo>
                  <a:pt x="2709" y="1276"/>
                </a:lnTo>
                <a:lnTo>
                  <a:pt x="2711" y="1274"/>
                </a:lnTo>
                <a:lnTo>
                  <a:pt x="2714" y="1272"/>
                </a:lnTo>
                <a:lnTo>
                  <a:pt x="2720" y="1269"/>
                </a:lnTo>
                <a:lnTo>
                  <a:pt x="2724" y="1269"/>
                </a:lnTo>
                <a:lnTo>
                  <a:pt x="2728" y="1268"/>
                </a:lnTo>
                <a:lnTo>
                  <a:pt x="2736" y="1269"/>
                </a:lnTo>
                <a:lnTo>
                  <a:pt x="2740" y="1269"/>
                </a:lnTo>
                <a:lnTo>
                  <a:pt x="2743" y="1270"/>
                </a:lnTo>
                <a:lnTo>
                  <a:pt x="2749" y="1273"/>
                </a:lnTo>
                <a:lnTo>
                  <a:pt x="2751" y="1275"/>
                </a:lnTo>
                <a:lnTo>
                  <a:pt x="2754" y="1277"/>
                </a:lnTo>
                <a:lnTo>
                  <a:pt x="2758" y="1283"/>
                </a:lnTo>
                <a:lnTo>
                  <a:pt x="2759" y="1287"/>
                </a:lnTo>
                <a:lnTo>
                  <a:pt x="2761" y="1292"/>
                </a:lnTo>
                <a:lnTo>
                  <a:pt x="2762" y="1296"/>
                </a:lnTo>
                <a:lnTo>
                  <a:pt x="2763" y="1301"/>
                </a:lnTo>
                <a:lnTo>
                  <a:pt x="2763" y="1306"/>
                </a:lnTo>
                <a:lnTo>
                  <a:pt x="2763" y="1312"/>
                </a:lnTo>
                <a:lnTo>
                  <a:pt x="2763" y="1328"/>
                </a:lnTo>
                <a:lnTo>
                  <a:pt x="2762" y="1343"/>
                </a:lnTo>
                <a:lnTo>
                  <a:pt x="2760" y="1359"/>
                </a:lnTo>
                <a:lnTo>
                  <a:pt x="2758" y="1374"/>
                </a:lnTo>
                <a:lnTo>
                  <a:pt x="2756" y="1389"/>
                </a:lnTo>
                <a:lnTo>
                  <a:pt x="2753" y="1404"/>
                </a:lnTo>
                <a:lnTo>
                  <a:pt x="2749" y="1419"/>
                </a:lnTo>
                <a:lnTo>
                  <a:pt x="2745" y="1434"/>
                </a:lnTo>
                <a:lnTo>
                  <a:pt x="2741" y="1447"/>
                </a:lnTo>
                <a:lnTo>
                  <a:pt x="2736" y="1461"/>
                </a:lnTo>
                <a:lnTo>
                  <a:pt x="2731" y="1475"/>
                </a:lnTo>
                <a:lnTo>
                  <a:pt x="2724" y="1488"/>
                </a:lnTo>
                <a:lnTo>
                  <a:pt x="2718" y="1500"/>
                </a:lnTo>
                <a:lnTo>
                  <a:pt x="2711" y="1512"/>
                </a:lnTo>
                <a:lnTo>
                  <a:pt x="2705" y="1524"/>
                </a:lnTo>
                <a:lnTo>
                  <a:pt x="2697" y="1536"/>
                </a:lnTo>
                <a:lnTo>
                  <a:pt x="2690" y="1547"/>
                </a:lnTo>
                <a:lnTo>
                  <a:pt x="2682" y="1557"/>
                </a:lnTo>
                <a:lnTo>
                  <a:pt x="2673" y="1567"/>
                </a:lnTo>
                <a:lnTo>
                  <a:pt x="2663" y="1576"/>
                </a:lnTo>
                <a:lnTo>
                  <a:pt x="2654" y="1584"/>
                </a:lnTo>
                <a:lnTo>
                  <a:pt x="2645" y="1593"/>
                </a:lnTo>
                <a:lnTo>
                  <a:pt x="2635" y="1600"/>
                </a:lnTo>
                <a:lnTo>
                  <a:pt x="2625" y="1607"/>
                </a:lnTo>
                <a:lnTo>
                  <a:pt x="2615" y="1613"/>
                </a:lnTo>
                <a:lnTo>
                  <a:pt x="2603" y="1618"/>
                </a:lnTo>
                <a:lnTo>
                  <a:pt x="2592" y="1622"/>
                </a:lnTo>
                <a:lnTo>
                  <a:pt x="2581" y="1626"/>
                </a:lnTo>
                <a:lnTo>
                  <a:pt x="2570" y="1629"/>
                </a:lnTo>
                <a:lnTo>
                  <a:pt x="2558" y="1631"/>
                </a:lnTo>
                <a:lnTo>
                  <a:pt x="2545" y="1632"/>
                </a:lnTo>
                <a:lnTo>
                  <a:pt x="2533" y="1633"/>
                </a:lnTo>
                <a:close/>
                <a:moveTo>
                  <a:pt x="2921" y="1627"/>
                </a:moveTo>
                <a:lnTo>
                  <a:pt x="2919" y="1627"/>
                </a:lnTo>
                <a:lnTo>
                  <a:pt x="2917" y="1626"/>
                </a:lnTo>
                <a:lnTo>
                  <a:pt x="2911" y="1623"/>
                </a:lnTo>
                <a:lnTo>
                  <a:pt x="2904" y="1619"/>
                </a:lnTo>
                <a:lnTo>
                  <a:pt x="2897" y="1613"/>
                </a:lnTo>
                <a:lnTo>
                  <a:pt x="2884" y="1603"/>
                </a:lnTo>
                <a:lnTo>
                  <a:pt x="2869" y="1588"/>
                </a:lnTo>
                <a:lnTo>
                  <a:pt x="2853" y="1572"/>
                </a:lnTo>
                <a:lnTo>
                  <a:pt x="2835" y="1555"/>
                </a:lnTo>
                <a:lnTo>
                  <a:pt x="2819" y="1538"/>
                </a:lnTo>
                <a:lnTo>
                  <a:pt x="2805" y="1521"/>
                </a:lnTo>
                <a:lnTo>
                  <a:pt x="2794" y="1506"/>
                </a:lnTo>
                <a:lnTo>
                  <a:pt x="2788" y="1500"/>
                </a:lnTo>
                <a:lnTo>
                  <a:pt x="2785" y="1495"/>
                </a:lnTo>
                <a:lnTo>
                  <a:pt x="2780" y="1485"/>
                </a:lnTo>
                <a:lnTo>
                  <a:pt x="2776" y="1475"/>
                </a:lnTo>
                <a:lnTo>
                  <a:pt x="2774" y="1464"/>
                </a:lnTo>
                <a:lnTo>
                  <a:pt x="2773" y="1454"/>
                </a:lnTo>
                <a:lnTo>
                  <a:pt x="2773" y="1449"/>
                </a:lnTo>
                <a:lnTo>
                  <a:pt x="2774" y="1443"/>
                </a:lnTo>
                <a:lnTo>
                  <a:pt x="2775" y="1437"/>
                </a:lnTo>
                <a:lnTo>
                  <a:pt x="2777" y="1431"/>
                </a:lnTo>
                <a:lnTo>
                  <a:pt x="2780" y="1425"/>
                </a:lnTo>
                <a:lnTo>
                  <a:pt x="2783" y="1419"/>
                </a:lnTo>
                <a:lnTo>
                  <a:pt x="2787" y="1412"/>
                </a:lnTo>
                <a:lnTo>
                  <a:pt x="2792" y="1404"/>
                </a:lnTo>
                <a:lnTo>
                  <a:pt x="2801" y="1393"/>
                </a:lnTo>
                <a:lnTo>
                  <a:pt x="2812" y="1380"/>
                </a:lnTo>
                <a:lnTo>
                  <a:pt x="2841" y="1345"/>
                </a:lnTo>
                <a:lnTo>
                  <a:pt x="2877" y="1306"/>
                </a:lnTo>
                <a:lnTo>
                  <a:pt x="2913" y="1264"/>
                </a:lnTo>
                <a:lnTo>
                  <a:pt x="2914" y="1264"/>
                </a:lnTo>
                <a:lnTo>
                  <a:pt x="2918" y="1264"/>
                </a:lnTo>
                <a:lnTo>
                  <a:pt x="2921" y="1264"/>
                </a:lnTo>
                <a:lnTo>
                  <a:pt x="2925" y="1265"/>
                </a:lnTo>
                <a:lnTo>
                  <a:pt x="2930" y="1267"/>
                </a:lnTo>
                <a:lnTo>
                  <a:pt x="2934" y="1270"/>
                </a:lnTo>
                <a:lnTo>
                  <a:pt x="2938" y="1273"/>
                </a:lnTo>
                <a:lnTo>
                  <a:pt x="2942" y="1276"/>
                </a:lnTo>
                <a:lnTo>
                  <a:pt x="2945" y="1281"/>
                </a:lnTo>
                <a:lnTo>
                  <a:pt x="2948" y="1286"/>
                </a:lnTo>
                <a:lnTo>
                  <a:pt x="2950" y="1290"/>
                </a:lnTo>
                <a:lnTo>
                  <a:pt x="2950" y="1296"/>
                </a:lnTo>
                <a:lnTo>
                  <a:pt x="2950" y="1301"/>
                </a:lnTo>
                <a:lnTo>
                  <a:pt x="2948" y="1307"/>
                </a:lnTo>
                <a:lnTo>
                  <a:pt x="2945" y="1312"/>
                </a:lnTo>
                <a:lnTo>
                  <a:pt x="2941" y="1318"/>
                </a:lnTo>
                <a:lnTo>
                  <a:pt x="2933" y="1329"/>
                </a:lnTo>
                <a:lnTo>
                  <a:pt x="2921" y="1342"/>
                </a:lnTo>
                <a:lnTo>
                  <a:pt x="2891" y="1376"/>
                </a:lnTo>
                <a:lnTo>
                  <a:pt x="2862" y="1409"/>
                </a:lnTo>
                <a:lnTo>
                  <a:pt x="2849" y="1425"/>
                </a:lnTo>
                <a:lnTo>
                  <a:pt x="2840" y="1436"/>
                </a:lnTo>
                <a:lnTo>
                  <a:pt x="2837" y="1440"/>
                </a:lnTo>
                <a:lnTo>
                  <a:pt x="2835" y="1444"/>
                </a:lnTo>
                <a:lnTo>
                  <a:pt x="2834" y="1447"/>
                </a:lnTo>
                <a:lnTo>
                  <a:pt x="2834" y="1451"/>
                </a:lnTo>
                <a:lnTo>
                  <a:pt x="2834" y="1455"/>
                </a:lnTo>
                <a:lnTo>
                  <a:pt x="2836" y="1460"/>
                </a:lnTo>
                <a:lnTo>
                  <a:pt x="2838" y="1464"/>
                </a:lnTo>
                <a:lnTo>
                  <a:pt x="2841" y="1469"/>
                </a:lnTo>
                <a:lnTo>
                  <a:pt x="2848" y="1479"/>
                </a:lnTo>
                <a:lnTo>
                  <a:pt x="2860" y="1491"/>
                </a:lnTo>
                <a:lnTo>
                  <a:pt x="2887" y="1520"/>
                </a:lnTo>
                <a:lnTo>
                  <a:pt x="2920" y="1553"/>
                </a:lnTo>
                <a:lnTo>
                  <a:pt x="2951" y="1583"/>
                </a:lnTo>
                <a:lnTo>
                  <a:pt x="2953" y="1585"/>
                </a:lnTo>
                <a:lnTo>
                  <a:pt x="2954" y="1587"/>
                </a:lnTo>
                <a:lnTo>
                  <a:pt x="2955" y="1589"/>
                </a:lnTo>
                <a:lnTo>
                  <a:pt x="2955" y="1593"/>
                </a:lnTo>
                <a:lnTo>
                  <a:pt x="2954" y="1599"/>
                </a:lnTo>
                <a:lnTo>
                  <a:pt x="2953" y="1601"/>
                </a:lnTo>
                <a:lnTo>
                  <a:pt x="2952" y="1604"/>
                </a:lnTo>
                <a:lnTo>
                  <a:pt x="2948" y="1610"/>
                </a:lnTo>
                <a:lnTo>
                  <a:pt x="2946" y="1613"/>
                </a:lnTo>
                <a:lnTo>
                  <a:pt x="2944" y="1615"/>
                </a:lnTo>
                <a:lnTo>
                  <a:pt x="2938" y="1620"/>
                </a:lnTo>
                <a:lnTo>
                  <a:pt x="2936" y="1622"/>
                </a:lnTo>
                <a:lnTo>
                  <a:pt x="2933" y="1624"/>
                </a:lnTo>
                <a:lnTo>
                  <a:pt x="2927" y="1626"/>
                </a:lnTo>
                <a:lnTo>
                  <a:pt x="2924" y="1627"/>
                </a:lnTo>
                <a:lnTo>
                  <a:pt x="2921" y="1627"/>
                </a:lnTo>
                <a:close/>
                <a:moveTo>
                  <a:pt x="2533" y="2627"/>
                </a:moveTo>
                <a:lnTo>
                  <a:pt x="2525" y="2627"/>
                </a:lnTo>
                <a:lnTo>
                  <a:pt x="2518" y="2626"/>
                </a:lnTo>
                <a:lnTo>
                  <a:pt x="2510" y="2625"/>
                </a:lnTo>
                <a:lnTo>
                  <a:pt x="2503" y="2623"/>
                </a:lnTo>
                <a:lnTo>
                  <a:pt x="2496" y="2621"/>
                </a:lnTo>
                <a:lnTo>
                  <a:pt x="2488" y="2619"/>
                </a:lnTo>
                <a:lnTo>
                  <a:pt x="2474" y="2613"/>
                </a:lnTo>
                <a:lnTo>
                  <a:pt x="2461" y="2605"/>
                </a:lnTo>
                <a:lnTo>
                  <a:pt x="2455" y="2601"/>
                </a:lnTo>
                <a:lnTo>
                  <a:pt x="2449" y="2596"/>
                </a:lnTo>
                <a:lnTo>
                  <a:pt x="2443" y="2591"/>
                </a:lnTo>
                <a:lnTo>
                  <a:pt x="2437" y="2586"/>
                </a:lnTo>
                <a:lnTo>
                  <a:pt x="2432" y="2581"/>
                </a:lnTo>
                <a:lnTo>
                  <a:pt x="2425" y="2575"/>
                </a:lnTo>
                <a:lnTo>
                  <a:pt x="2420" y="2569"/>
                </a:lnTo>
                <a:lnTo>
                  <a:pt x="2416" y="2563"/>
                </a:lnTo>
                <a:lnTo>
                  <a:pt x="2411" y="2556"/>
                </a:lnTo>
                <a:lnTo>
                  <a:pt x="2407" y="2548"/>
                </a:lnTo>
                <a:lnTo>
                  <a:pt x="2403" y="2541"/>
                </a:lnTo>
                <a:lnTo>
                  <a:pt x="2400" y="2534"/>
                </a:lnTo>
                <a:lnTo>
                  <a:pt x="2396" y="2526"/>
                </a:lnTo>
                <a:lnTo>
                  <a:pt x="2393" y="2518"/>
                </a:lnTo>
                <a:lnTo>
                  <a:pt x="2391" y="2510"/>
                </a:lnTo>
                <a:lnTo>
                  <a:pt x="2388" y="2502"/>
                </a:lnTo>
                <a:lnTo>
                  <a:pt x="2386" y="2494"/>
                </a:lnTo>
                <a:lnTo>
                  <a:pt x="2385" y="2484"/>
                </a:lnTo>
                <a:lnTo>
                  <a:pt x="2383" y="2475"/>
                </a:lnTo>
                <a:lnTo>
                  <a:pt x="2382" y="2467"/>
                </a:lnTo>
                <a:lnTo>
                  <a:pt x="2382" y="2458"/>
                </a:lnTo>
                <a:lnTo>
                  <a:pt x="2382" y="2448"/>
                </a:lnTo>
                <a:lnTo>
                  <a:pt x="2382" y="2429"/>
                </a:lnTo>
                <a:lnTo>
                  <a:pt x="2383" y="2420"/>
                </a:lnTo>
                <a:lnTo>
                  <a:pt x="2385" y="2410"/>
                </a:lnTo>
                <a:lnTo>
                  <a:pt x="2386" y="2401"/>
                </a:lnTo>
                <a:lnTo>
                  <a:pt x="2389" y="2393"/>
                </a:lnTo>
                <a:lnTo>
                  <a:pt x="2391" y="2384"/>
                </a:lnTo>
                <a:lnTo>
                  <a:pt x="2394" y="2375"/>
                </a:lnTo>
                <a:lnTo>
                  <a:pt x="2397" y="2366"/>
                </a:lnTo>
                <a:lnTo>
                  <a:pt x="2401" y="2358"/>
                </a:lnTo>
                <a:lnTo>
                  <a:pt x="2404" y="2350"/>
                </a:lnTo>
                <a:lnTo>
                  <a:pt x="2408" y="2342"/>
                </a:lnTo>
                <a:lnTo>
                  <a:pt x="2413" y="2334"/>
                </a:lnTo>
                <a:lnTo>
                  <a:pt x="2418" y="2327"/>
                </a:lnTo>
                <a:lnTo>
                  <a:pt x="2428" y="2313"/>
                </a:lnTo>
                <a:lnTo>
                  <a:pt x="2434" y="2305"/>
                </a:lnTo>
                <a:lnTo>
                  <a:pt x="2440" y="2299"/>
                </a:lnTo>
                <a:lnTo>
                  <a:pt x="2452" y="2288"/>
                </a:lnTo>
                <a:lnTo>
                  <a:pt x="2459" y="2283"/>
                </a:lnTo>
                <a:lnTo>
                  <a:pt x="2465" y="2278"/>
                </a:lnTo>
                <a:lnTo>
                  <a:pt x="2472" y="2274"/>
                </a:lnTo>
                <a:lnTo>
                  <a:pt x="2479" y="2269"/>
                </a:lnTo>
                <a:lnTo>
                  <a:pt x="2487" y="2266"/>
                </a:lnTo>
                <a:lnTo>
                  <a:pt x="2495" y="2263"/>
                </a:lnTo>
                <a:lnTo>
                  <a:pt x="2503" y="2260"/>
                </a:lnTo>
                <a:lnTo>
                  <a:pt x="2510" y="2258"/>
                </a:lnTo>
                <a:lnTo>
                  <a:pt x="2518" y="2256"/>
                </a:lnTo>
                <a:lnTo>
                  <a:pt x="2526" y="2255"/>
                </a:lnTo>
                <a:lnTo>
                  <a:pt x="2534" y="2254"/>
                </a:lnTo>
                <a:lnTo>
                  <a:pt x="2543" y="2254"/>
                </a:lnTo>
                <a:lnTo>
                  <a:pt x="2554" y="2254"/>
                </a:lnTo>
                <a:lnTo>
                  <a:pt x="2559" y="2255"/>
                </a:lnTo>
                <a:lnTo>
                  <a:pt x="2563" y="2255"/>
                </a:lnTo>
                <a:lnTo>
                  <a:pt x="2568" y="2256"/>
                </a:lnTo>
                <a:lnTo>
                  <a:pt x="2572" y="2258"/>
                </a:lnTo>
                <a:lnTo>
                  <a:pt x="2581" y="2261"/>
                </a:lnTo>
                <a:lnTo>
                  <a:pt x="2589" y="2265"/>
                </a:lnTo>
                <a:lnTo>
                  <a:pt x="2596" y="2269"/>
                </a:lnTo>
                <a:lnTo>
                  <a:pt x="2603" y="2275"/>
                </a:lnTo>
                <a:lnTo>
                  <a:pt x="2609" y="2281"/>
                </a:lnTo>
                <a:lnTo>
                  <a:pt x="2613" y="2284"/>
                </a:lnTo>
                <a:lnTo>
                  <a:pt x="2615" y="2287"/>
                </a:lnTo>
                <a:lnTo>
                  <a:pt x="2620" y="2295"/>
                </a:lnTo>
                <a:lnTo>
                  <a:pt x="2624" y="2302"/>
                </a:lnTo>
                <a:lnTo>
                  <a:pt x="2627" y="2312"/>
                </a:lnTo>
                <a:lnTo>
                  <a:pt x="2630" y="2320"/>
                </a:lnTo>
                <a:lnTo>
                  <a:pt x="2632" y="2329"/>
                </a:lnTo>
                <a:lnTo>
                  <a:pt x="2633" y="2339"/>
                </a:lnTo>
                <a:lnTo>
                  <a:pt x="2633" y="2349"/>
                </a:lnTo>
                <a:lnTo>
                  <a:pt x="2633" y="2361"/>
                </a:lnTo>
                <a:lnTo>
                  <a:pt x="2632" y="2368"/>
                </a:lnTo>
                <a:lnTo>
                  <a:pt x="2630" y="2375"/>
                </a:lnTo>
                <a:lnTo>
                  <a:pt x="2627" y="2387"/>
                </a:lnTo>
                <a:lnTo>
                  <a:pt x="2622" y="2398"/>
                </a:lnTo>
                <a:lnTo>
                  <a:pt x="2615" y="2409"/>
                </a:lnTo>
                <a:lnTo>
                  <a:pt x="2607" y="2420"/>
                </a:lnTo>
                <a:lnTo>
                  <a:pt x="2603" y="2425"/>
                </a:lnTo>
                <a:lnTo>
                  <a:pt x="2599" y="2430"/>
                </a:lnTo>
                <a:lnTo>
                  <a:pt x="2590" y="2440"/>
                </a:lnTo>
                <a:lnTo>
                  <a:pt x="2580" y="2449"/>
                </a:lnTo>
                <a:lnTo>
                  <a:pt x="2574" y="2452"/>
                </a:lnTo>
                <a:lnTo>
                  <a:pt x="2569" y="2456"/>
                </a:lnTo>
                <a:lnTo>
                  <a:pt x="2558" y="2463"/>
                </a:lnTo>
                <a:lnTo>
                  <a:pt x="2545" y="2468"/>
                </a:lnTo>
                <a:lnTo>
                  <a:pt x="2533" y="2473"/>
                </a:lnTo>
                <a:lnTo>
                  <a:pt x="2527" y="2475"/>
                </a:lnTo>
                <a:lnTo>
                  <a:pt x="2520" y="2476"/>
                </a:lnTo>
                <a:lnTo>
                  <a:pt x="2514" y="2478"/>
                </a:lnTo>
                <a:lnTo>
                  <a:pt x="2508" y="2478"/>
                </a:lnTo>
                <a:lnTo>
                  <a:pt x="2495" y="2479"/>
                </a:lnTo>
                <a:lnTo>
                  <a:pt x="2489" y="2478"/>
                </a:lnTo>
                <a:lnTo>
                  <a:pt x="2484" y="2477"/>
                </a:lnTo>
                <a:lnTo>
                  <a:pt x="2480" y="2474"/>
                </a:lnTo>
                <a:lnTo>
                  <a:pt x="2478" y="2472"/>
                </a:lnTo>
                <a:lnTo>
                  <a:pt x="2476" y="2470"/>
                </a:lnTo>
                <a:lnTo>
                  <a:pt x="2473" y="2465"/>
                </a:lnTo>
                <a:lnTo>
                  <a:pt x="2470" y="2460"/>
                </a:lnTo>
                <a:lnTo>
                  <a:pt x="2469" y="2457"/>
                </a:lnTo>
                <a:lnTo>
                  <a:pt x="2469" y="2454"/>
                </a:lnTo>
                <a:lnTo>
                  <a:pt x="2468" y="2448"/>
                </a:lnTo>
                <a:lnTo>
                  <a:pt x="2468" y="2445"/>
                </a:lnTo>
                <a:lnTo>
                  <a:pt x="2469" y="2442"/>
                </a:lnTo>
                <a:lnTo>
                  <a:pt x="2470" y="2437"/>
                </a:lnTo>
                <a:lnTo>
                  <a:pt x="2471" y="2435"/>
                </a:lnTo>
                <a:lnTo>
                  <a:pt x="2472" y="2433"/>
                </a:lnTo>
                <a:lnTo>
                  <a:pt x="2473" y="2432"/>
                </a:lnTo>
                <a:lnTo>
                  <a:pt x="2475" y="2430"/>
                </a:lnTo>
                <a:lnTo>
                  <a:pt x="2486" y="2428"/>
                </a:lnTo>
                <a:lnTo>
                  <a:pt x="2498" y="2425"/>
                </a:lnTo>
                <a:lnTo>
                  <a:pt x="2508" y="2422"/>
                </a:lnTo>
                <a:lnTo>
                  <a:pt x="2517" y="2418"/>
                </a:lnTo>
                <a:lnTo>
                  <a:pt x="2526" y="2413"/>
                </a:lnTo>
                <a:lnTo>
                  <a:pt x="2535" y="2408"/>
                </a:lnTo>
                <a:lnTo>
                  <a:pt x="2543" y="2403"/>
                </a:lnTo>
                <a:lnTo>
                  <a:pt x="2546" y="2400"/>
                </a:lnTo>
                <a:lnTo>
                  <a:pt x="2551" y="2397"/>
                </a:lnTo>
                <a:lnTo>
                  <a:pt x="2557" y="2390"/>
                </a:lnTo>
                <a:lnTo>
                  <a:pt x="2563" y="2384"/>
                </a:lnTo>
                <a:lnTo>
                  <a:pt x="2568" y="2377"/>
                </a:lnTo>
                <a:lnTo>
                  <a:pt x="2572" y="2369"/>
                </a:lnTo>
                <a:lnTo>
                  <a:pt x="2576" y="2362"/>
                </a:lnTo>
                <a:lnTo>
                  <a:pt x="2578" y="2355"/>
                </a:lnTo>
                <a:lnTo>
                  <a:pt x="2580" y="2348"/>
                </a:lnTo>
                <a:lnTo>
                  <a:pt x="2580" y="2341"/>
                </a:lnTo>
                <a:lnTo>
                  <a:pt x="2579" y="2333"/>
                </a:lnTo>
                <a:lnTo>
                  <a:pt x="2577" y="2326"/>
                </a:lnTo>
                <a:lnTo>
                  <a:pt x="2576" y="2323"/>
                </a:lnTo>
                <a:lnTo>
                  <a:pt x="2574" y="2319"/>
                </a:lnTo>
                <a:lnTo>
                  <a:pt x="2572" y="2317"/>
                </a:lnTo>
                <a:lnTo>
                  <a:pt x="2569" y="2314"/>
                </a:lnTo>
                <a:lnTo>
                  <a:pt x="2563" y="2309"/>
                </a:lnTo>
                <a:lnTo>
                  <a:pt x="2560" y="2307"/>
                </a:lnTo>
                <a:lnTo>
                  <a:pt x="2557" y="2306"/>
                </a:lnTo>
                <a:lnTo>
                  <a:pt x="2548" y="2304"/>
                </a:lnTo>
                <a:lnTo>
                  <a:pt x="2543" y="2303"/>
                </a:lnTo>
                <a:lnTo>
                  <a:pt x="2539" y="2303"/>
                </a:lnTo>
                <a:lnTo>
                  <a:pt x="2530" y="2304"/>
                </a:lnTo>
                <a:lnTo>
                  <a:pt x="2526" y="2305"/>
                </a:lnTo>
                <a:lnTo>
                  <a:pt x="2521" y="2306"/>
                </a:lnTo>
                <a:lnTo>
                  <a:pt x="2517" y="2308"/>
                </a:lnTo>
                <a:lnTo>
                  <a:pt x="2512" y="2310"/>
                </a:lnTo>
                <a:lnTo>
                  <a:pt x="2508" y="2313"/>
                </a:lnTo>
                <a:lnTo>
                  <a:pt x="2504" y="2315"/>
                </a:lnTo>
                <a:lnTo>
                  <a:pt x="2499" y="2318"/>
                </a:lnTo>
                <a:lnTo>
                  <a:pt x="2495" y="2321"/>
                </a:lnTo>
                <a:lnTo>
                  <a:pt x="2486" y="2328"/>
                </a:lnTo>
                <a:lnTo>
                  <a:pt x="2478" y="2336"/>
                </a:lnTo>
                <a:lnTo>
                  <a:pt x="2470" y="2345"/>
                </a:lnTo>
                <a:lnTo>
                  <a:pt x="2467" y="2350"/>
                </a:lnTo>
                <a:lnTo>
                  <a:pt x="2464" y="2355"/>
                </a:lnTo>
                <a:lnTo>
                  <a:pt x="2457" y="2366"/>
                </a:lnTo>
                <a:lnTo>
                  <a:pt x="2452" y="2379"/>
                </a:lnTo>
                <a:lnTo>
                  <a:pt x="2447" y="2391"/>
                </a:lnTo>
                <a:lnTo>
                  <a:pt x="2443" y="2404"/>
                </a:lnTo>
                <a:lnTo>
                  <a:pt x="2440" y="2417"/>
                </a:lnTo>
                <a:lnTo>
                  <a:pt x="2439" y="2432"/>
                </a:lnTo>
                <a:lnTo>
                  <a:pt x="2438" y="2439"/>
                </a:lnTo>
                <a:lnTo>
                  <a:pt x="2438" y="2446"/>
                </a:lnTo>
                <a:lnTo>
                  <a:pt x="2439" y="2459"/>
                </a:lnTo>
                <a:lnTo>
                  <a:pt x="2440" y="2471"/>
                </a:lnTo>
                <a:lnTo>
                  <a:pt x="2442" y="2482"/>
                </a:lnTo>
                <a:lnTo>
                  <a:pt x="2443" y="2488"/>
                </a:lnTo>
                <a:lnTo>
                  <a:pt x="2445" y="2494"/>
                </a:lnTo>
                <a:lnTo>
                  <a:pt x="2449" y="2505"/>
                </a:lnTo>
                <a:lnTo>
                  <a:pt x="2451" y="2510"/>
                </a:lnTo>
                <a:lnTo>
                  <a:pt x="2453" y="2515"/>
                </a:lnTo>
                <a:lnTo>
                  <a:pt x="2456" y="2519"/>
                </a:lnTo>
                <a:lnTo>
                  <a:pt x="2458" y="2524"/>
                </a:lnTo>
                <a:lnTo>
                  <a:pt x="2461" y="2528"/>
                </a:lnTo>
                <a:lnTo>
                  <a:pt x="2464" y="2532"/>
                </a:lnTo>
                <a:lnTo>
                  <a:pt x="2467" y="2536"/>
                </a:lnTo>
                <a:lnTo>
                  <a:pt x="2471" y="2540"/>
                </a:lnTo>
                <a:lnTo>
                  <a:pt x="2478" y="2546"/>
                </a:lnTo>
                <a:lnTo>
                  <a:pt x="2486" y="2553"/>
                </a:lnTo>
                <a:lnTo>
                  <a:pt x="2495" y="2558"/>
                </a:lnTo>
                <a:lnTo>
                  <a:pt x="2505" y="2561"/>
                </a:lnTo>
                <a:lnTo>
                  <a:pt x="2514" y="2564"/>
                </a:lnTo>
                <a:lnTo>
                  <a:pt x="2524" y="2566"/>
                </a:lnTo>
                <a:lnTo>
                  <a:pt x="2530" y="2566"/>
                </a:lnTo>
                <a:lnTo>
                  <a:pt x="2535" y="2567"/>
                </a:lnTo>
                <a:lnTo>
                  <a:pt x="2545" y="2566"/>
                </a:lnTo>
                <a:lnTo>
                  <a:pt x="2557" y="2564"/>
                </a:lnTo>
                <a:lnTo>
                  <a:pt x="2567" y="2562"/>
                </a:lnTo>
                <a:lnTo>
                  <a:pt x="2576" y="2559"/>
                </a:lnTo>
                <a:lnTo>
                  <a:pt x="2585" y="2554"/>
                </a:lnTo>
                <a:lnTo>
                  <a:pt x="2594" y="2548"/>
                </a:lnTo>
                <a:lnTo>
                  <a:pt x="2603" y="2543"/>
                </a:lnTo>
                <a:lnTo>
                  <a:pt x="2612" y="2536"/>
                </a:lnTo>
                <a:lnTo>
                  <a:pt x="2620" y="2529"/>
                </a:lnTo>
                <a:lnTo>
                  <a:pt x="2628" y="2521"/>
                </a:lnTo>
                <a:lnTo>
                  <a:pt x="2635" y="2512"/>
                </a:lnTo>
                <a:lnTo>
                  <a:pt x="2642" y="2503"/>
                </a:lnTo>
                <a:lnTo>
                  <a:pt x="2655" y="2483"/>
                </a:lnTo>
                <a:lnTo>
                  <a:pt x="2661" y="2473"/>
                </a:lnTo>
                <a:lnTo>
                  <a:pt x="2666" y="2462"/>
                </a:lnTo>
                <a:lnTo>
                  <a:pt x="2673" y="2451"/>
                </a:lnTo>
                <a:lnTo>
                  <a:pt x="2678" y="2440"/>
                </a:lnTo>
                <a:lnTo>
                  <a:pt x="2682" y="2427"/>
                </a:lnTo>
                <a:lnTo>
                  <a:pt x="2686" y="2415"/>
                </a:lnTo>
                <a:lnTo>
                  <a:pt x="2690" y="2403"/>
                </a:lnTo>
                <a:lnTo>
                  <a:pt x="2693" y="2391"/>
                </a:lnTo>
                <a:lnTo>
                  <a:pt x="2696" y="2379"/>
                </a:lnTo>
                <a:lnTo>
                  <a:pt x="2699" y="2366"/>
                </a:lnTo>
                <a:lnTo>
                  <a:pt x="2701" y="2354"/>
                </a:lnTo>
                <a:lnTo>
                  <a:pt x="2703" y="2343"/>
                </a:lnTo>
                <a:lnTo>
                  <a:pt x="2705" y="2331"/>
                </a:lnTo>
                <a:lnTo>
                  <a:pt x="2706" y="2319"/>
                </a:lnTo>
                <a:lnTo>
                  <a:pt x="2706" y="2307"/>
                </a:lnTo>
                <a:lnTo>
                  <a:pt x="2707" y="2296"/>
                </a:lnTo>
                <a:lnTo>
                  <a:pt x="2706" y="2285"/>
                </a:lnTo>
                <a:lnTo>
                  <a:pt x="2706" y="2275"/>
                </a:lnTo>
                <a:lnTo>
                  <a:pt x="2707" y="2272"/>
                </a:lnTo>
                <a:lnTo>
                  <a:pt x="2709" y="2270"/>
                </a:lnTo>
                <a:lnTo>
                  <a:pt x="2711" y="2268"/>
                </a:lnTo>
                <a:lnTo>
                  <a:pt x="2714" y="2266"/>
                </a:lnTo>
                <a:lnTo>
                  <a:pt x="2720" y="2263"/>
                </a:lnTo>
                <a:lnTo>
                  <a:pt x="2724" y="2263"/>
                </a:lnTo>
                <a:lnTo>
                  <a:pt x="2728" y="2262"/>
                </a:lnTo>
                <a:lnTo>
                  <a:pt x="2736" y="2263"/>
                </a:lnTo>
                <a:lnTo>
                  <a:pt x="2740" y="2264"/>
                </a:lnTo>
                <a:lnTo>
                  <a:pt x="2743" y="2265"/>
                </a:lnTo>
                <a:lnTo>
                  <a:pt x="2749" y="2267"/>
                </a:lnTo>
                <a:lnTo>
                  <a:pt x="2751" y="2269"/>
                </a:lnTo>
                <a:lnTo>
                  <a:pt x="2754" y="2272"/>
                </a:lnTo>
                <a:lnTo>
                  <a:pt x="2758" y="2277"/>
                </a:lnTo>
                <a:lnTo>
                  <a:pt x="2759" y="2281"/>
                </a:lnTo>
                <a:lnTo>
                  <a:pt x="2761" y="2285"/>
                </a:lnTo>
                <a:lnTo>
                  <a:pt x="2762" y="2289"/>
                </a:lnTo>
                <a:lnTo>
                  <a:pt x="2763" y="2294"/>
                </a:lnTo>
                <a:lnTo>
                  <a:pt x="2763" y="2299"/>
                </a:lnTo>
                <a:lnTo>
                  <a:pt x="2763" y="2305"/>
                </a:lnTo>
                <a:lnTo>
                  <a:pt x="2763" y="2322"/>
                </a:lnTo>
                <a:lnTo>
                  <a:pt x="2762" y="2337"/>
                </a:lnTo>
                <a:lnTo>
                  <a:pt x="2760" y="2352"/>
                </a:lnTo>
                <a:lnTo>
                  <a:pt x="2758" y="2368"/>
                </a:lnTo>
                <a:lnTo>
                  <a:pt x="2756" y="2383"/>
                </a:lnTo>
                <a:lnTo>
                  <a:pt x="2753" y="2398"/>
                </a:lnTo>
                <a:lnTo>
                  <a:pt x="2749" y="2413"/>
                </a:lnTo>
                <a:lnTo>
                  <a:pt x="2745" y="2427"/>
                </a:lnTo>
                <a:lnTo>
                  <a:pt x="2741" y="2442"/>
                </a:lnTo>
                <a:lnTo>
                  <a:pt x="2736" y="2455"/>
                </a:lnTo>
                <a:lnTo>
                  <a:pt x="2731" y="2468"/>
                </a:lnTo>
                <a:lnTo>
                  <a:pt x="2724" y="2481"/>
                </a:lnTo>
                <a:lnTo>
                  <a:pt x="2718" y="2495"/>
                </a:lnTo>
                <a:lnTo>
                  <a:pt x="2711" y="2507"/>
                </a:lnTo>
                <a:lnTo>
                  <a:pt x="2705" y="2518"/>
                </a:lnTo>
                <a:lnTo>
                  <a:pt x="2697" y="2529"/>
                </a:lnTo>
                <a:lnTo>
                  <a:pt x="2690" y="2540"/>
                </a:lnTo>
                <a:lnTo>
                  <a:pt x="2682" y="2550"/>
                </a:lnTo>
                <a:lnTo>
                  <a:pt x="2673" y="2561"/>
                </a:lnTo>
                <a:lnTo>
                  <a:pt x="2663" y="2570"/>
                </a:lnTo>
                <a:lnTo>
                  <a:pt x="2654" y="2578"/>
                </a:lnTo>
                <a:lnTo>
                  <a:pt x="2645" y="2586"/>
                </a:lnTo>
                <a:lnTo>
                  <a:pt x="2635" y="2593"/>
                </a:lnTo>
                <a:lnTo>
                  <a:pt x="2625" y="2600"/>
                </a:lnTo>
                <a:lnTo>
                  <a:pt x="2615" y="2606"/>
                </a:lnTo>
                <a:lnTo>
                  <a:pt x="2603" y="2612"/>
                </a:lnTo>
                <a:lnTo>
                  <a:pt x="2592" y="2616"/>
                </a:lnTo>
                <a:lnTo>
                  <a:pt x="2581" y="2620"/>
                </a:lnTo>
                <a:lnTo>
                  <a:pt x="2570" y="2623"/>
                </a:lnTo>
                <a:lnTo>
                  <a:pt x="2558" y="2625"/>
                </a:lnTo>
                <a:lnTo>
                  <a:pt x="2545" y="2626"/>
                </a:lnTo>
                <a:lnTo>
                  <a:pt x="2533" y="2627"/>
                </a:lnTo>
                <a:close/>
                <a:moveTo>
                  <a:pt x="2921" y="2621"/>
                </a:moveTo>
                <a:lnTo>
                  <a:pt x="2919" y="2621"/>
                </a:lnTo>
                <a:lnTo>
                  <a:pt x="2917" y="2620"/>
                </a:lnTo>
                <a:lnTo>
                  <a:pt x="2911" y="2617"/>
                </a:lnTo>
                <a:lnTo>
                  <a:pt x="2904" y="2613"/>
                </a:lnTo>
                <a:lnTo>
                  <a:pt x="2897" y="2607"/>
                </a:lnTo>
                <a:lnTo>
                  <a:pt x="2884" y="2596"/>
                </a:lnTo>
                <a:lnTo>
                  <a:pt x="2869" y="2582"/>
                </a:lnTo>
                <a:lnTo>
                  <a:pt x="2853" y="2566"/>
                </a:lnTo>
                <a:lnTo>
                  <a:pt x="2835" y="2548"/>
                </a:lnTo>
                <a:lnTo>
                  <a:pt x="2819" y="2531"/>
                </a:lnTo>
                <a:lnTo>
                  <a:pt x="2805" y="2515"/>
                </a:lnTo>
                <a:lnTo>
                  <a:pt x="2794" y="2501"/>
                </a:lnTo>
                <a:lnTo>
                  <a:pt x="2788" y="2494"/>
                </a:lnTo>
                <a:lnTo>
                  <a:pt x="2785" y="2488"/>
                </a:lnTo>
                <a:lnTo>
                  <a:pt x="2780" y="2478"/>
                </a:lnTo>
                <a:lnTo>
                  <a:pt x="2776" y="2468"/>
                </a:lnTo>
                <a:lnTo>
                  <a:pt x="2774" y="2458"/>
                </a:lnTo>
                <a:lnTo>
                  <a:pt x="2773" y="2448"/>
                </a:lnTo>
                <a:lnTo>
                  <a:pt x="2773" y="2443"/>
                </a:lnTo>
                <a:lnTo>
                  <a:pt x="2774" y="2437"/>
                </a:lnTo>
                <a:lnTo>
                  <a:pt x="2775" y="2430"/>
                </a:lnTo>
                <a:lnTo>
                  <a:pt x="2777" y="2424"/>
                </a:lnTo>
                <a:lnTo>
                  <a:pt x="2780" y="2418"/>
                </a:lnTo>
                <a:lnTo>
                  <a:pt x="2783" y="2412"/>
                </a:lnTo>
                <a:lnTo>
                  <a:pt x="2787" y="2405"/>
                </a:lnTo>
                <a:lnTo>
                  <a:pt x="2792" y="2398"/>
                </a:lnTo>
                <a:lnTo>
                  <a:pt x="2801" y="2387"/>
                </a:lnTo>
                <a:lnTo>
                  <a:pt x="2812" y="2374"/>
                </a:lnTo>
                <a:lnTo>
                  <a:pt x="2841" y="2339"/>
                </a:lnTo>
                <a:lnTo>
                  <a:pt x="2877" y="2299"/>
                </a:lnTo>
                <a:lnTo>
                  <a:pt x="2913" y="2259"/>
                </a:lnTo>
                <a:lnTo>
                  <a:pt x="2914" y="2258"/>
                </a:lnTo>
                <a:lnTo>
                  <a:pt x="2918" y="2258"/>
                </a:lnTo>
                <a:lnTo>
                  <a:pt x="2921" y="2258"/>
                </a:lnTo>
                <a:lnTo>
                  <a:pt x="2925" y="2260"/>
                </a:lnTo>
                <a:lnTo>
                  <a:pt x="2930" y="2261"/>
                </a:lnTo>
                <a:lnTo>
                  <a:pt x="2934" y="2264"/>
                </a:lnTo>
                <a:lnTo>
                  <a:pt x="2938" y="2267"/>
                </a:lnTo>
                <a:lnTo>
                  <a:pt x="2942" y="2271"/>
                </a:lnTo>
                <a:lnTo>
                  <a:pt x="2945" y="2275"/>
                </a:lnTo>
                <a:lnTo>
                  <a:pt x="2948" y="2280"/>
                </a:lnTo>
                <a:lnTo>
                  <a:pt x="2950" y="2284"/>
                </a:lnTo>
                <a:lnTo>
                  <a:pt x="2950" y="2289"/>
                </a:lnTo>
                <a:lnTo>
                  <a:pt x="2950" y="2295"/>
                </a:lnTo>
                <a:lnTo>
                  <a:pt x="2948" y="2300"/>
                </a:lnTo>
                <a:lnTo>
                  <a:pt x="2945" y="2306"/>
                </a:lnTo>
                <a:lnTo>
                  <a:pt x="2941" y="2313"/>
                </a:lnTo>
                <a:lnTo>
                  <a:pt x="2933" y="2323"/>
                </a:lnTo>
                <a:lnTo>
                  <a:pt x="2921" y="2336"/>
                </a:lnTo>
                <a:lnTo>
                  <a:pt x="2891" y="2369"/>
                </a:lnTo>
                <a:lnTo>
                  <a:pt x="2862" y="2404"/>
                </a:lnTo>
                <a:lnTo>
                  <a:pt x="2849" y="2418"/>
                </a:lnTo>
                <a:lnTo>
                  <a:pt x="2840" y="2430"/>
                </a:lnTo>
                <a:lnTo>
                  <a:pt x="2837" y="2434"/>
                </a:lnTo>
                <a:lnTo>
                  <a:pt x="2835" y="2438"/>
                </a:lnTo>
                <a:lnTo>
                  <a:pt x="2834" y="2442"/>
                </a:lnTo>
                <a:lnTo>
                  <a:pt x="2834" y="2445"/>
                </a:lnTo>
                <a:lnTo>
                  <a:pt x="2834" y="2450"/>
                </a:lnTo>
                <a:lnTo>
                  <a:pt x="2836" y="2454"/>
                </a:lnTo>
                <a:lnTo>
                  <a:pt x="2838" y="2458"/>
                </a:lnTo>
                <a:lnTo>
                  <a:pt x="2841" y="2463"/>
                </a:lnTo>
                <a:lnTo>
                  <a:pt x="2848" y="2472"/>
                </a:lnTo>
                <a:lnTo>
                  <a:pt x="2860" y="2484"/>
                </a:lnTo>
                <a:lnTo>
                  <a:pt x="2887" y="2514"/>
                </a:lnTo>
                <a:lnTo>
                  <a:pt x="2920" y="2546"/>
                </a:lnTo>
                <a:lnTo>
                  <a:pt x="2951" y="2577"/>
                </a:lnTo>
                <a:lnTo>
                  <a:pt x="2953" y="2579"/>
                </a:lnTo>
                <a:lnTo>
                  <a:pt x="2954" y="2581"/>
                </a:lnTo>
                <a:lnTo>
                  <a:pt x="2955" y="2584"/>
                </a:lnTo>
                <a:lnTo>
                  <a:pt x="2955" y="2586"/>
                </a:lnTo>
                <a:lnTo>
                  <a:pt x="2954" y="2592"/>
                </a:lnTo>
                <a:lnTo>
                  <a:pt x="2953" y="2595"/>
                </a:lnTo>
                <a:lnTo>
                  <a:pt x="2952" y="2597"/>
                </a:lnTo>
                <a:lnTo>
                  <a:pt x="2948" y="2603"/>
                </a:lnTo>
                <a:lnTo>
                  <a:pt x="2946" y="2606"/>
                </a:lnTo>
                <a:lnTo>
                  <a:pt x="2944" y="2608"/>
                </a:lnTo>
                <a:lnTo>
                  <a:pt x="2938" y="2614"/>
                </a:lnTo>
                <a:lnTo>
                  <a:pt x="2936" y="2616"/>
                </a:lnTo>
                <a:lnTo>
                  <a:pt x="2933" y="2618"/>
                </a:lnTo>
                <a:lnTo>
                  <a:pt x="2927" y="2620"/>
                </a:lnTo>
                <a:lnTo>
                  <a:pt x="2924" y="2621"/>
                </a:lnTo>
                <a:lnTo>
                  <a:pt x="2921" y="2621"/>
                </a:lnTo>
                <a:close/>
                <a:moveTo>
                  <a:pt x="251" y="639"/>
                </a:moveTo>
                <a:lnTo>
                  <a:pt x="243" y="639"/>
                </a:lnTo>
                <a:lnTo>
                  <a:pt x="235" y="639"/>
                </a:lnTo>
                <a:lnTo>
                  <a:pt x="228" y="637"/>
                </a:lnTo>
                <a:lnTo>
                  <a:pt x="220" y="636"/>
                </a:lnTo>
                <a:lnTo>
                  <a:pt x="213" y="634"/>
                </a:lnTo>
                <a:lnTo>
                  <a:pt x="205" y="632"/>
                </a:lnTo>
                <a:lnTo>
                  <a:pt x="191" y="625"/>
                </a:lnTo>
                <a:lnTo>
                  <a:pt x="178" y="618"/>
                </a:lnTo>
                <a:lnTo>
                  <a:pt x="172" y="613"/>
                </a:lnTo>
                <a:lnTo>
                  <a:pt x="166" y="609"/>
                </a:lnTo>
                <a:lnTo>
                  <a:pt x="160" y="604"/>
                </a:lnTo>
                <a:lnTo>
                  <a:pt x="155" y="599"/>
                </a:lnTo>
                <a:lnTo>
                  <a:pt x="148" y="593"/>
                </a:lnTo>
                <a:lnTo>
                  <a:pt x="143" y="588"/>
                </a:lnTo>
                <a:lnTo>
                  <a:pt x="138" y="582"/>
                </a:lnTo>
                <a:lnTo>
                  <a:pt x="133" y="575"/>
                </a:lnTo>
                <a:lnTo>
                  <a:pt x="129" y="568"/>
                </a:lnTo>
                <a:lnTo>
                  <a:pt x="125" y="561"/>
                </a:lnTo>
                <a:lnTo>
                  <a:pt x="121" y="554"/>
                </a:lnTo>
                <a:lnTo>
                  <a:pt x="117" y="546"/>
                </a:lnTo>
                <a:lnTo>
                  <a:pt x="114" y="539"/>
                </a:lnTo>
                <a:lnTo>
                  <a:pt x="111" y="531"/>
                </a:lnTo>
                <a:lnTo>
                  <a:pt x="108" y="523"/>
                </a:lnTo>
                <a:lnTo>
                  <a:pt x="106" y="515"/>
                </a:lnTo>
                <a:lnTo>
                  <a:pt x="104" y="505"/>
                </a:lnTo>
                <a:lnTo>
                  <a:pt x="102" y="497"/>
                </a:lnTo>
                <a:lnTo>
                  <a:pt x="101" y="488"/>
                </a:lnTo>
                <a:lnTo>
                  <a:pt x="100" y="479"/>
                </a:lnTo>
                <a:lnTo>
                  <a:pt x="99" y="470"/>
                </a:lnTo>
                <a:lnTo>
                  <a:pt x="99" y="461"/>
                </a:lnTo>
                <a:lnTo>
                  <a:pt x="100" y="441"/>
                </a:lnTo>
                <a:lnTo>
                  <a:pt x="101" y="432"/>
                </a:lnTo>
                <a:lnTo>
                  <a:pt x="102" y="423"/>
                </a:lnTo>
                <a:lnTo>
                  <a:pt x="104" y="414"/>
                </a:lnTo>
                <a:lnTo>
                  <a:pt x="106" y="405"/>
                </a:lnTo>
                <a:lnTo>
                  <a:pt x="109" y="396"/>
                </a:lnTo>
                <a:lnTo>
                  <a:pt x="111" y="387"/>
                </a:lnTo>
                <a:lnTo>
                  <a:pt x="115" y="378"/>
                </a:lnTo>
                <a:lnTo>
                  <a:pt x="118" y="370"/>
                </a:lnTo>
                <a:lnTo>
                  <a:pt x="122" y="362"/>
                </a:lnTo>
                <a:lnTo>
                  <a:pt x="126" y="354"/>
                </a:lnTo>
                <a:lnTo>
                  <a:pt x="130" y="347"/>
                </a:lnTo>
                <a:lnTo>
                  <a:pt x="135" y="339"/>
                </a:lnTo>
                <a:lnTo>
                  <a:pt x="145" y="325"/>
                </a:lnTo>
                <a:lnTo>
                  <a:pt x="152" y="318"/>
                </a:lnTo>
                <a:lnTo>
                  <a:pt x="158" y="312"/>
                </a:lnTo>
                <a:lnTo>
                  <a:pt x="170" y="301"/>
                </a:lnTo>
                <a:lnTo>
                  <a:pt x="176" y="295"/>
                </a:lnTo>
                <a:lnTo>
                  <a:pt x="183" y="291"/>
                </a:lnTo>
                <a:lnTo>
                  <a:pt x="190" y="286"/>
                </a:lnTo>
                <a:lnTo>
                  <a:pt x="197" y="282"/>
                </a:lnTo>
                <a:lnTo>
                  <a:pt x="204" y="278"/>
                </a:lnTo>
                <a:lnTo>
                  <a:pt x="212" y="275"/>
                </a:lnTo>
                <a:lnTo>
                  <a:pt x="220" y="273"/>
                </a:lnTo>
                <a:lnTo>
                  <a:pt x="228" y="269"/>
                </a:lnTo>
                <a:lnTo>
                  <a:pt x="236" y="268"/>
                </a:lnTo>
                <a:lnTo>
                  <a:pt x="244" y="266"/>
                </a:lnTo>
                <a:lnTo>
                  <a:pt x="252" y="265"/>
                </a:lnTo>
                <a:lnTo>
                  <a:pt x="260" y="265"/>
                </a:lnTo>
                <a:lnTo>
                  <a:pt x="271" y="266"/>
                </a:lnTo>
                <a:lnTo>
                  <a:pt x="276" y="266"/>
                </a:lnTo>
                <a:lnTo>
                  <a:pt x="281" y="267"/>
                </a:lnTo>
                <a:lnTo>
                  <a:pt x="286" y="268"/>
                </a:lnTo>
                <a:lnTo>
                  <a:pt x="290" y="269"/>
                </a:lnTo>
                <a:lnTo>
                  <a:pt x="298" y="273"/>
                </a:lnTo>
                <a:lnTo>
                  <a:pt x="306" y="277"/>
                </a:lnTo>
                <a:lnTo>
                  <a:pt x="314" y="282"/>
                </a:lnTo>
                <a:lnTo>
                  <a:pt x="320" y="287"/>
                </a:lnTo>
                <a:lnTo>
                  <a:pt x="326" y="293"/>
                </a:lnTo>
                <a:lnTo>
                  <a:pt x="329" y="297"/>
                </a:lnTo>
                <a:lnTo>
                  <a:pt x="333" y="300"/>
                </a:lnTo>
                <a:lnTo>
                  <a:pt x="338" y="307"/>
                </a:lnTo>
                <a:lnTo>
                  <a:pt x="342" y="315"/>
                </a:lnTo>
                <a:lnTo>
                  <a:pt x="345" y="323"/>
                </a:lnTo>
                <a:lnTo>
                  <a:pt x="348" y="333"/>
                </a:lnTo>
                <a:lnTo>
                  <a:pt x="349" y="342"/>
                </a:lnTo>
                <a:lnTo>
                  <a:pt x="351" y="352"/>
                </a:lnTo>
                <a:lnTo>
                  <a:pt x="351" y="362"/>
                </a:lnTo>
                <a:lnTo>
                  <a:pt x="350" y="374"/>
                </a:lnTo>
                <a:lnTo>
                  <a:pt x="349" y="380"/>
                </a:lnTo>
                <a:lnTo>
                  <a:pt x="348" y="386"/>
                </a:lnTo>
                <a:lnTo>
                  <a:pt x="344" y="399"/>
                </a:lnTo>
                <a:lnTo>
                  <a:pt x="339" y="411"/>
                </a:lnTo>
                <a:lnTo>
                  <a:pt x="333" y="422"/>
                </a:lnTo>
                <a:lnTo>
                  <a:pt x="325" y="433"/>
                </a:lnTo>
                <a:lnTo>
                  <a:pt x="321" y="438"/>
                </a:lnTo>
                <a:lnTo>
                  <a:pt x="316" y="442"/>
                </a:lnTo>
                <a:lnTo>
                  <a:pt x="307" y="453"/>
                </a:lnTo>
                <a:lnTo>
                  <a:pt x="297" y="461"/>
                </a:lnTo>
                <a:lnTo>
                  <a:pt x="292" y="465"/>
                </a:lnTo>
                <a:lnTo>
                  <a:pt x="286" y="469"/>
                </a:lnTo>
                <a:lnTo>
                  <a:pt x="275" y="475"/>
                </a:lnTo>
                <a:lnTo>
                  <a:pt x="262" y="481"/>
                </a:lnTo>
                <a:lnTo>
                  <a:pt x="250" y="486"/>
                </a:lnTo>
                <a:lnTo>
                  <a:pt x="244" y="487"/>
                </a:lnTo>
                <a:lnTo>
                  <a:pt x="238" y="489"/>
                </a:lnTo>
                <a:lnTo>
                  <a:pt x="232" y="490"/>
                </a:lnTo>
                <a:lnTo>
                  <a:pt x="225" y="491"/>
                </a:lnTo>
                <a:lnTo>
                  <a:pt x="213" y="492"/>
                </a:lnTo>
                <a:lnTo>
                  <a:pt x="207" y="491"/>
                </a:lnTo>
                <a:lnTo>
                  <a:pt x="202" y="489"/>
                </a:lnTo>
                <a:lnTo>
                  <a:pt x="197" y="486"/>
                </a:lnTo>
                <a:lnTo>
                  <a:pt x="195" y="485"/>
                </a:lnTo>
                <a:lnTo>
                  <a:pt x="193" y="483"/>
                </a:lnTo>
                <a:lnTo>
                  <a:pt x="190" y="478"/>
                </a:lnTo>
                <a:lnTo>
                  <a:pt x="188" y="473"/>
                </a:lnTo>
                <a:lnTo>
                  <a:pt x="187" y="470"/>
                </a:lnTo>
                <a:lnTo>
                  <a:pt x="186" y="467"/>
                </a:lnTo>
                <a:lnTo>
                  <a:pt x="186" y="460"/>
                </a:lnTo>
                <a:lnTo>
                  <a:pt x="186" y="458"/>
                </a:lnTo>
                <a:lnTo>
                  <a:pt x="186" y="455"/>
                </a:lnTo>
                <a:lnTo>
                  <a:pt x="187" y="449"/>
                </a:lnTo>
                <a:lnTo>
                  <a:pt x="188" y="447"/>
                </a:lnTo>
                <a:lnTo>
                  <a:pt x="189" y="445"/>
                </a:lnTo>
                <a:lnTo>
                  <a:pt x="191" y="443"/>
                </a:lnTo>
                <a:lnTo>
                  <a:pt x="193" y="442"/>
                </a:lnTo>
                <a:lnTo>
                  <a:pt x="204" y="440"/>
                </a:lnTo>
                <a:lnTo>
                  <a:pt x="215" y="438"/>
                </a:lnTo>
                <a:lnTo>
                  <a:pt x="225" y="434"/>
                </a:lnTo>
                <a:lnTo>
                  <a:pt x="235" y="430"/>
                </a:lnTo>
                <a:lnTo>
                  <a:pt x="244" y="426"/>
                </a:lnTo>
                <a:lnTo>
                  <a:pt x="252" y="421"/>
                </a:lnTo>
                <a:lnTo>
                  <a:pt x="260" y="415"/>
                </a:lnTo>
                <a:lnTo>
                  <a:pt x="264" y="412"/>
                </a:lnTo>
                <a:lnTo>
                  <a:pt x="267" y="409"/>
                </a:lnTo>
                <a:lnTo>
                  <a:pt x="275" y="403"/>
                </a:lnTo>
                <a:lnTo>
                  <a:pt x="281" y="397"/>
                </a:lnTo>
                <a:lnTo>
                  <a:pt x="286" y="389"/>
                </a:lnTo>
                <a:lnTo>
                  <a:pt x="290" y="382"/>
                </a:lnTo>
                <a:lnTo>
                  <a:pt x="293" y="375"/>
                </a:lnTo>
                <a:lnTo>
                  <a:pt x="296" y="368"/>
                </a:lnTo>
                <a:lnTo>
                  <a:pt x="297" y="361"/>
                </a:lnTo>
                <a:lnTo>
                  <a:pt x="298" y="354"/>
                </a:lnTo>
                <a:lnTo>
                  <a:pt x="297" y="346"/>
                </a:lnTo>
                <a:lnTo>
                  <a:pt x="295" y="338"/>
                </a:lnTo>
                <a:lnTo>
                  <a:pt x="293" y="335"/>
                </a:lnTo>
                <a:lnTo>
                  <a:pt x="291" y="332"/>
                </a:lnTo>
                <a:lnTo>
                  <a:pt x="289" y="328"/>
                </a:lnTo>
                <a:lnTo>
                  <a:pt x="287" y="326"/>
                </a:lnTo>
                <a:lnTo>
                  <a:pt x="281" y="322"/>
                </a:lnTo>
                <a:lnTo>
                  <a:pt x="278" y="320"/>
                </a:lnTo>
                <a:lnTo>
                  <a:pt x="274" y="318"/>
                </a:lnTo>
                <a:lnTo>
                  <a:pt x="265" y="317"/>
                </a:lnTo>
                <a:lnTo>
                  <a:pt x="261" y="316"/>
                </a:lnTo>
                <a:lnTo>
                  <a:pt x="256" y="316"/>
                </a:lnTo>
                <a:lnTo>
                  <a:pt x="248" y="317"/>
                </a:lnTo>
                <a:lnTo>
                  <a:pt x="243" y="318"/>
                </a:lnTo>
                <a:lnTo>
                  <a:pt x="239" y="319"/>
                </a:lnTo>
                <a:lnTo>
                  <a:pt x="234" y="320"/>
                </a:lnTo>
                <a:lnTo>
                  <a:pt x="230" y="322"/>
                </a:lnTo>
                <a:lnTo>
                  <a:pt x="225" y="324"/>
                </a:lnTo>
                <a:lnTo>
                  <a:pt x="221" y="327"/>
                </a:lnTo>
                <a:lnTo>
                  <a:pt x="217" y="330"/>
                </a:lnTo>
                <a:lnTo>
                  <a:pt x="213" y="334"/>
                </a:lnTo>
                <a:lnTo>
                  <a:pt x="203" y="341"/>
                </a:lnTo>
                <a:lnTo>
                  <a:pt x="195" y="349"/>
                </a:lnTo>
                <a:lnTo>
                  <a:pt x="188" y="358"/>
                </a:lnTo>
                <a:lnTo>
                  <a:pt x="184" y="363"/>
                </a:lnTo>
                <a:lnTo>
                  <a:pt x="181" y="368"/>
                </a:lnTo>
                <a:lnTo>
                  <a:pt x="175" y="379"/>
                </a:lnTo>
                <a:lnTo>
                  <a:pt x="169" y="390"/>
                </a:lnTo>
                <a:lnTo>
                  <a:pt x="165" y="403"/>
                </a:lnTo>
                <a:lnTo>
                  <a:pt x="161" y="416"/>
                </a:lnTo>
                <a:lnTo>
                  <a:pt x="158" y="430"/>
                </a:lnTo>
                <a:lnTo>
                  <a:pt x="156" y="443"/>
                </a:lnTo>
                <a:lnTo>
                  <a:pt x="156" y="450"/>
                </a:lnTo>
                <a:lnTo>
                  <a:pt x="156" y="459"/>
                </a:lnTo>
                <a:lnTo>
                  <a:pt x="156" y="471"/>
                </a:lnTo>
                <a:lnTo>
                  <a:pt x="157" y="483"/>
                </a:lnTo>
                <a:lnTo>
                  <a:pt x="160" y="495"/>
                </a:lnTo>
                <a:lnTo>
                  <a:pt x="161" y="501"/>
                </a:lnTo>
                <a:lnTo>
                  <a:pt x="162" y="506"/>
                </a:lnTo>
                <a:lnTo>
                  <a:pt x="166" y="518"/>
                </a:lnTo>
                <a:lnTo>
                  <a:pt x="168" y="523"/>
                </a:lnTo>
                <a:lnTo>
                  <a:pt x="171" y="527"/>
                </a:lnTo>
                <a:lnTo>
                  <a:pt x="173" y="532"/>
                </a:lnTo>
                <a:lnTo>
                  <a:pt x="176" y="536"/>
                </a:lnTo>
                <a:lnTo>
                  <a:pt x="179" y="541"/>
                </a:lnTo>
                <a:lnTo>
                  <a:pt x="182" y="545"/>
                </a:lnTo>
                <a:lnTo>
                  <a:pt x="185" y="548"/>
                </a:lnTo>
                <a:lnTo>
                  <a:pt x="188" y="552"/>
                </a:lnTo>
                <a:lnTo>
                  <a:pt x="196" y="559"/>
                </a:lnTo>
                <a:lnTo>
                  <a:pt x="203" y="564"/>
                </a:lnTo>
                <a:lnTo>
                  <a:pt x="213" y="569"/>
                </a:lnTo>
                <a:lnTo>
                  <a:pt x="222" y="574"/>
                </a:lnTo>
                <a:lnTo>
                  <a:pt x="232" y="577"/>
                </a:lnTo>
                <a:lnTo>
                  <a:pt x="242" y="579"/>
                </a:lnTo>
                <a:lnTo>
                  <a:pt x="247" y="579"/>
                </a:lnTo>
                <a:lnTo>
                  <a:pt x="252" y="579"/>
                </a:lnTo>
                <a:lnTo>
                  <a:pt x="263" y="579"/>
                </a:lnTo>
                <a:lnTo>
                  <a:pt x="274" y="577"/>
                </a:lnTo>
                <a:lnTo>
                  <a:pt x="284" y="575"/>
                </a:lnTo>
                <a:lnTo>
                  <a:pt x="294" y="570"/>
                </a:lnTo>
                <a:lnTo>
                  <a:pt x="303" y="566"/>
                </a:lnTo>
                <a:lnTo>
                  <a:pt x="312" y="561"/>
                </a:lnTo>
                <a:lnTo>
                  <a:pt x="320" y="555"/>
                </a:lnTo>
                <a:lnTo>
                  <a:pt x="329" y="549"/>
                </a:lnTo>
                <a:lnTo>
                  <a:pt x="338" y="541"/>
                </a:lnTo>
                <a:lnTo>
                  <a:pt x="345" y="534"/>
                </a:lnTo>
                <a:lnTo>
                  <a:pt x="353" y="525"/>
                </a:lnTo>
                <a:lnTo>
                  <a:pt x="360" y="516"/>
                </a:lnTo>
                <a:lnTo>
                  <a:pt x="373" y="496"/>
                </a:lnTo>
                <a:lnTo>
                  <a:pt x="378" y="485"/>
                </a:lnTo>
                <a:lnTo>
                  <a:pt x="384" y="475"/>
                </a:lnTo>
                <a:lnTo>
                  <a:pt x="389" y="464"/>
                </a:lnTo>
                <a:lnTo>
                  <a:pt x="395" y="452"/>
                </a:lnTo>
                <a:lnTo>
                  <a:pt x="400" y="440"/>
                </a:lnTo>
                <a:lnTo>
                  <a:pt x="404" y="428"/>
                </a:lnTo>
                <a:lnTo>
                  <a:pt x="407" y="416"/>
                </a:lnTo>
                <a:lnTo>
                  <a:pt x="411" y="404"/>
                </a:lnTo>
                <a:lnTo>
                  <a:pt x="414" y="392"/>
                </a:lnTo>
                <a:lnTo>
                  <a:pt x="416" y="379"/>
                </a:lnTo>
                <a:lnTo>
                  <a:pt x="419" y="367"/>
                </a:lnTo>
                <a:lnTo>
                  <a:pt x="421" y="355"/>
                </a:lnTo>
                <a:lnTo>
                  <a:pt x="422" y="343"/>
                </a:lnTo>
                <a:lnTo>
                  <a:pt x="423" y="332"/>
                </a:lnTo>
                <a:lnTo>
                  <a:pt x="424" y="320"/>
                </a:lnTo>
                <a:lnTo>
                  <a:pt x="424" y="308"/>
                </a:lnTo>
                <a:lnTo>
                  <a:pt x="424" y="298"/>
                </a:lnTo>
                <a:lnTo>
                  <a:pt x="423" y="287"/>
                </a:lnTo>
                <a:lnTo>
                  <a:pt x="425" y="285"/>
                </a:lnTo>
                <a:lnTo>
                  <a:pt x="426" y="283"/>
                </a:lnTo>
                <a:lnTo>
                  <a:pt x="428" y="281"/>
                </a:lnTo>
                <a:lnTo>
                  <a:pt x="431" y="279"/>
                </a:lnTo>
                <a:lnTo>
                  <a:pt x="438" y="276"/>
                </a:lnTo>
                <a:lnTo>
                  <a:pt x="442" y="275"/>
                </a:lnTo>
                <a:lnTo>
                  <a:pt x="446" y="275"/>
                </a:lnTo>
                <a:lnTo>
                  <a:pt x="454" y="276"/>
                </a:lnTo>
                <a:lnTo>
                  <a:pt x="457" y="276"/>
                </a:lnTo>
                <a:lnTo>
                  <a:pt x="461" y="277"/>
                </a:lnTo>
                <a:lnTo>
                  <a:pt x="466" y="280"/>
                </a:lnTo>
                <a:lnTo>
                  <a:pt x="469" y="282"/>
                </a:lnTo>
                <a:lnTo>
                  <a:pt x="471" y="284"/>
                </a:lnTo>
                <a:lnTo>
                  <a:pt x="475" y="290"/>
                </a:lnTo>
                <a:lnTo>
                  <a:pt x="477" y="294"/>
                </a:lnTo>
                <a:lnTo>
                  <a:pt x="478" y="297"/>
                </a:lnTo>
                <a:lnTo>
                  <a:pt x="479" y="302"/>
                </a:lnTo>
                <a:lnTo>
                  <a:pt x="480" y="307"/>
                </a:lnTo>
                <a:lnTo>
                  <a:pt x="481" y="312"/>
                </a:lnTo>
                <a:lnTo>
                  <a:pt x="481" y="318"/>
                </a:lnTo>
                <a:lnTo>
                  <a:pt x="480" y="334"/>
                </a:lnTo>
                <a:lnTo>
                  <a:pt x="479" y="350"/>
                </a:lnTo>
                <a:lnTo>
                  <a:pt x="478" y="365"/>
                </a:lnTo>
                <a:lnTo>
                  <a:pt x="476" y="380"/>
                </a:lnTo>
                <a:lnTo>
                  <a:pt x="473" y="396"/>
                </a:lnTo>
                <a:lnTo>
                  <a:pt x="470" y="411"/>
                </a:lnTo>
                <a:lnTo>
                  <a:pt x="467" y="425"/>
                </a:lnTo>
                <a:lnTo>
                  <a:pt x="463" y="439"/>
                </a:lnTo>
                <a:lnTo>
                  <a:pt x="458" y="454"/>
                </a:lnTo>
                <a:lnTo>
                  <a:pt x="454" y="468"/>
                </a:lnTo>
                <a:lnTo>
                  <a:pt x="447" y="481"/>
                </a:lnTo>
                <a:lnTo>
                  <a:pt x="442" y="494"/>
                </a:lnTo>
                <a:lnTo>
                  <a:pt x="435" y="506"/>
                </a:lnTo>
                <a:lnTo>
                  <a:pt x="429" y="519"/>
                </a:lnTo>
                <a:lnTo>
                  <a:pt x="422" y="531"/>
                </a:lnTo>
                <a:lnTo>
                  <a:pt x="415" y="542"/>
                </a:lnTo>
                <a:lnTo>
                  <a:pt x="407" y="553"/>
                </a:lnTo>
                <a:lnTo>
                  <a:pt x="399" y="563"/>
                </a:lnTo>
                <a:lnTo>
                  <a:pt x="391" y="573"/>
                </a:lnTo>
                <a:lnTo>
                  <a:pt x="381" y="582"/>
                </a:lnTo>
                <a:lnTo>
                  <a:pt x="372" y="591"/>
                </a:lnTo>
                <a:lnTo>
                  <a:pt x="363" y="599"/>
                </a:lnTo>
                <a:lnTo>
                  <a:pt x="353" y="606"/>
                </a:lnTo>
                <a:lnTo>
                  <a:pt x="343" y="612"/>
                </a:lnTo>
                <a:lnTo>
                  <a:pt x="332" y="618"/>
                </a:lnTo>
                <a:lnTo>
                  <a:pt x="321" y="624"/>
                </a:lnTo>
                <a:lnTo>
                  <a:pt x="310" y="628"/>
                </a:lnTo>
                <a:lnTo>
                  <a:pt x="299" y="633"/>
                </a:lnTo>
                <a:lnTo>
                  <a:pt x="287" y="636"/>
                </a:lnTo>
                <a:lnTo>
                  <a:pt x="276" y="638"/>
                </a:lnTo>
                <a:lnTo>
                  <a:pt x="263" y="639"/>
                </a:lnTo>
                <a:lnTo>
                  <a:pt x="251" y="639"/>
                </a:lnTo>
                <a:close/>
                <a:moveTo>
                  <a:pt x="638" y="634"/>
                </a:moveTo>
                <a:lnTo>
                  <a:pt x="636" y="633"/>
                </a:lnTo>
                <a:lnTo>
                  <a:pt x="634" y="633"/>
                </a:lnTo>
                <a:lnTo>
                  <a:pt x="628" y="629"/>
                </a:lnTo>
                <a:lnTo>
                  <a:pt x="622" y="625"/>
                </a:lnTo>
                <a:lnTo>
                  <a:pt x="614" y="619"/>
                </a:lnTo>
                <a:lnTo>
                  <a:pt x="602" y="608"/>
                </a:lnTo>
                <a:lnTo>
                  <a:pt x="587" y="595"/>
                </a:lnTo>
                <a:lnTo>
                  <a:pt x="569" y="579"/>
                </a:lnTo>
                <a:lnTo>
                  <a:pt x="553" y="561"/>
                </a:lnTo>
                <a:lnTo>
                  <a:pt x="537" y="544"/>
                </a:lnTo>
                <a:lnTo>
                  <a:pt x="523" y="527"/>
                </a:lnTo>
                <a:lnTo>
                  <a:pt x="511" y="513"/>
                </a:lnTo>
                <a:lnTo>
                  <a:pt x="506" y="506"/>
                </a:lnTo>
                <a:lnTo>
                  <a:pt x="502" y="501"/>
                </a:lnTo>
                <a:lnTo>
                  <a:pt x="497" y="490"/>
                </a:lnTo>
                <a:lnTo>
                  <a:pt x="493" y="481"/>
                </a:lnTo>
                <a:lnTo>
                  <a:pt x="491" y="471"/>
                </a:lnTo>
                <a:lnTo>
                  <a:pt x="490" y="461"/>
                </a:lnTo>
                <a:lnTo>
                  <a:pt x="491" y="456"/>
                </a:lnTo>
                <a:lnTo>
                  <a:pt x="491" y="449"/>
                </a:lnTo>
                <a:lnTo>
                  <a:pt x="493" y="443"/>
                </a:lnTo>
                <a:lnTo>
                  <a:pt x="495" y="437"/>
                </a:lnTo>
                <a:lnTo>
                  <a:pt x="497" y="431"/>
                </a:lnTo>
                <a:lnTo>
                  <a:pt x="501" y="424"/>
                </a:lnTo>
                <a:lnTo>
                  <a:pt x="504" y="418"/>
                </a:lnTo>
                <a:lnTo>
                  <a:pt x="509" y="411"/>
                </a:lnTo>
                <a:lnTo>
                  <a:pt x="518" y="400"/>
                </a:lnTo>
                <a:lnTo>
                  <a:pt x="529" y="385"/>
                </a:lnTo>
                <a:lnTo>
                  <a:pt x="559" y="352"/>
                </a:lnTo>
                <a:lnTo>
                  <a:pt x="595" y="312"/>
                </a:lnTo>
                <a:lnTo>
                  <a:pt x="631" y="270"/>
                </a:lnTo>
                <a:lnTo>
                  <a:pt x="632" y="270"/>
                </a:lnTo>
                <a:lnTo>
                  <a:pt x="635" y="270"/>
                </a:lnTo>
                <a:lnTo>
                  <a:pt x="639" y="270"/>
                </a:lnTo>
                <a:lnTo>
                  <a:pt x="643" y="272"/>
                </a:lnTo>
                <a:lnTo>
                  <a:pt x="647" y="274"/>
                </a:lnTo>
                <a:lnTo>
                  <a:pt x="651" y="276"/>
                </a:lnTo>
                <a:lnTo>
                  <a:pt x="656" y="280"/>
                </a:lnTo>
                <a:lnTo>
                  <a:pt x="660" y="283"/>
                </a:lnTo>
                <a:lnTo>
                  <a:pt x="663" y="288"/>
                </a:lnTo>
                <a:lnTo>
                  <a:pt x="666" y="292"/>
                </a:lnTo>
                <a:lnTo>
                  <a:pt x="667" y="297"/>
                </a:lnTo>
                <a:lnTo>
                  <a:pt x="668" y="302"/>
                </a:lnTo>
                <a:lnTo>
                  <a:pt x="667" y="307"/>
                </a:lnTo>
                <a:lnTo>
                  <a:pt x="665" y="313"/>
                </a:lnTo>
                <a:lnTo>
                  <a:pt x="663" y="318"/>
                </a:lnTo>
                <a:lnTo>
                  <a:pt x="659" y="324"/>
                </a:lnTo>
                <a:lnTo>
                  <a:pt x="650" y="336"/>
                </a:lnTo>
                <a:lnTo>
                  <a:pt x="639" y="349"/>
                </a:lnTo>
                <a:lnTo>
                  <a:pt x="609" y="382"/>
                </a:lnTo>
                <a:lnTo>
                  <a:pt x="579" y="416"/>
                </a:lnTo>
                <a:lnTo>
                  <a:pt x="566" y="431"/>
                </a:lnTo>
                <a:lnTo>
                  <a:pt x="557" y="442"/>
                </a:lnTo>
                <a:lnTo>
                  <a:pt x="555" y="446"/>
                </a:lnTo>
                <a:lnTo>
                  <a:pt x="553" y="450"/>
                </a:lnTo>
                <a:lnTo>
                  <a:pt x="552" y="454"/>
                </a:lnTo>
                <a:lnTo>
                  <a:pt x="551" y="458"/>
                </a:lnTo>
                <a:lnTo>
                  <a:pt x="552" y="462"/>
                </a:lnTo>
                <a:lnTo>
                  <a:pt x="553" y="467"/>
                </a:lnTo>
                <a:lnTo>
                  <a:pt x="555" y="471"/>
                </a:lnTo>
                <a:lnTo>
                  <a:pt x="558" y="476"/>
                </a:lnTo>
                <a:lnTo>
                  <a:pt x="566" y="485"/>
                </a:lnTo>
                <a:lnTo>
                  <a:pt x="577" y="497"/>
                </a:lnTo>
                <a:lnTo>
                  <a:pt x="604" y="527"/>
                </a:lnTo>
                <a:lnTo>
                  <a:pt x="637" y="559"/>
                </a:lnTo>
                <a:lnTo>
                  <a:pt x="668" y="590"/>
                </a:lnTo>
                <a:lnTo>
                  <a:pt x="670" y="592"/>
                </a:lnTo>
                <a:lnTo>
                  <a:pt x="672" y="594"/>
                </a:lnTo>
                <a:lnTo>
                  <a:pt x="672" y="596"/>
                </a:lnTo>
                <a:lnTo>
                  <a:pt x="673" y="599"/>
                </a:lnTo>
                <a:lnTo>
                  <a:pt x="672" y="604"/>
                </a:lnTo>
                <a:lnTo>
                  <a:pt x="671" y="607"/>
                </a:lnTo>
                <a:lnTo>
                  <a:pt x="670" y="610"/>
                </a:lnTo>
                <a:lnTo>
                  <a:pt x="666" y="616"/>
                </a:lnTo>
                <a:lnTo>
                  <a:pt x="664" y="618"/>
                </a:lnTo>
                <a:lnTo>
                  <a:pt x="661" y="621"/>
                </a:lnTo>
                <a:lnTo>
                  <a:pt x="656" y="626"/>
                </a:lnTo>
                <a:lnTo>
                  <a:pt x="653" y="628"/>
                </a:lnTo>
                <a:lnTo>
                  <a:pt x="650" y="629"/>
                </a:lnTo>
                <a:lnTo>
                  <a:pt x="644" y="633"/>
                </a:lnTo>
                <a:lnTo>
                  <a:pt x="641" y="633"/>
                </a:lnTo>
                <a:lnTo>
                  <a:pt x="638" y="634"/>
                </a:lnTo>
                <a:close/>
                <a:moveTo>
                  <a:pt x="251" y="1633"/>
                </a:moveTo>
                <a:lnTo>
                  <a:pt x="243" y="1632"/>
                </a:lnTo>
                <a:lnTo>
                  <a:pt x="235" y="1632"/>
                </a:lnTo>
                <a:lnTo>
                  <a:pt x="228" y="1631"/>
                </a:lnTo>
                <a:lnTo>
                  <a:pt x="220" y="1629"/>
                </a:lnTo>
                <a:lnTo>
                  <a:pt x="213" y="1627"/>
                </a:lnTo>
                <a:lnTo>
                  <a:pt x="205" y="1625"/>
                </a:lnTo>
                <a:lnTo>
                  <a:pt x="191" y="1619"/>
                </a:lnTo>
                <a:lnTo>
                  <a:pt x="178" y="1612"/>
                </a:lnTo>
                <a:lnTo>
                  <a:pt x="172" y="1608"/>
                </a:lnTo>
                <a:lnTo>
                  <a:pt x="166" y="1603"/>
                </a:lnTo>
                <a:lnTo>
                  <a:pt x="160" y="1598"/>
                </a:lnTo>
                <a:lnTo>
                  <a:pt x="155" y="1593"/>
                </a:lnTo>
                <a:lnTo>
                  <a:pt x="148" y="1587"/>
                </a:lnTo>
                <a:lnTo>
                  <a:pt x="143" y="1581"/>
                </a:lnTo>
                <a:lnTo>
                  <a:pt x="138" y="1575"/>
                </a:lnTo>
                <a:lnTo>
                  <a:pt x="133" y="1568"/>
                </a:lnTo>
                <a:lnTo>
                  <a:pt x="129" y="1562"/>
                </a:lnTo>
                <a:lnTo>
                  <a:pt x="125" y="1555"/>
                </a:lnTo>
                <a:lnTo>
                  <a:pt x="121" y="1548"/>
                </a:lnTo>
                <a:lnTo>
                  <a:pt x="117" y="1540"/>
                </a:lnTo>
                <a:lnTo>
                  <a:pt x="114" y="1533"/>
                </a:lnTo>
                <a:lnTo>
                  <a:pt x="111" y="1524"/>
                </a:lnTo>
                <a:lnTo>
                  <a:pt x="108" y="1516"/>
                </a:lnTo>
                <a:lnTo>
                  <a:pt x="106" y="1508"/>
                </a:lnTo>
                <a:lnTo>
                  <a:pt x="104" y="1500"/>
                </a:lnTo>
                <a:lnTo>
                  <a:pt x="102" y="1491"/>
                </a:lnTo>
                <a:lnTo>
                  <a:pt x="101" y="1482"/>
                </a:lnTo>
                <a:lnTo>
                  <a:pt x="100" y="1473"/>
                </a:lnTo>
                <a:lnTo>
                  <a:pt x="99" y="1463"/>
                </a:lnTo>
                <a:lnTo>
                  <a:pt x="99" y="1454"/>
                </a:lnTo>
                <a:lnTo>
                  <a:pt x="100" y="1436"/>
                </a:lnTo>
                <a:lnTo>
                  <a:pt x="101" y="1426"/>
                </a:lnTo>
                <a:lnTo>
                  <a:pt x="102" y="1417"/>
                </a:lnTo>
                <a:lnTo>
                  <a:pt x="104" y="1407"/>
                </a:lnTo>
                <a:lnTo>
                  <a:pt x="106" y="1398"/>
                </a:lnTo>
                <a:lnTo>
                  <a:pt x="109" y="1390"/>
                </a:lnTo>
                <a:lnTo>
                  <a:pt x="111" y="1381"/>
                </a:lnTo>
                <a:lnTo>
                  <a:pt x="115" y="1373"/>
                </a:lnTo>
                <a:lnTo>
                  <a:pt x="118" y="1364"/>
                </a:lnTo>
                <a:lnTo>
                  <a:pt x="122" y="1356"/>
                </a:lnTo>
                <a:lnTo>
                  <a:pt x="126" y="1348"/>
                </a:lnTo>
                <a:lnTo>
                  <a:pt x="130" y="1340"/>
                </a:lnTo>
                <a:lnTo>
                  <a:pt x="135" y="1333"/>
                </a:lnTo>
                <a:lnTo>
                  <a:pt x="145" y="1319"/>
                </a:lnTo>
                <a:lnTo>
                  <a:pt x="152" y="1312"/>
                </a:lnTo>
                <a:lnTo>
                  <a:pt x="158" y="1306"/>
                </a:lnTo>
                <a:lnTo>
                  <a:pt x="170" y="1295"/>
                </a:lnTo>
                <a:lnTo>
                  <a:pt x="176" y="1289"/>
                </a:lnTo>
                <a:lnTo>
                  <a:pt x="183" y="1284"/>
                </a:lnTo>
                <a:lnTo>
                  <a:pt x="190" y="1279"/>
                </a:lnTo>
                <a:lnTo>
                  <a:pt x="197" y="1275"/>
                </a:lnTo>
                <a:lnTo>
                  <a:pt x="204" y="1272"/>
                </a:lnTo>
                <a:lnTo>
                  <a:pt x="212" y="1269"/>
                </a:lnTo>
                <a:lnTo>
                  <a:pt x="220" y="1266"/>
                </a:lnTo>
                <a:lnTo>
                  <a:pt x="228" y="1264"/>
                </a:lnTo>
                <a:lnTo>
                  <a:pt x="236" y="1262"/>
                </a:lnTo>
                <a:lnTo>
                  <a:pt x="244" y="1260"/>
                </a:lnTo>
                <a:lnTo>
                  <a:pt x="252" y="1260"/>
                </a:lnTo>
                <a:lnTo>
                  <a:pt x="260" y="1259"/>
                </a:lnTo>
                <a:lnTo>
                  <a:pt x="271" y="1260"/>
                </a:lnTo>
                <a:lnTo>
                  <a:pt x="276" y="1260"/>
                </a:lnTo>
                <a:lnTo>
                  <a:pt x="281" y="1261"/>
                </a:lnTo>
                <a:lnTo>
                  <a:pt x="286" y="1262"/>
                </a:lnTo>
                <a:lnTo>
                  <a:pt x="290" y="1263"/>
                </a:lnTo>
                <a:lnTo>
                  <a:pt x="298" y="1267"/>
                </a:lnTo>
                <a:lnTo>
                  <a:pt x="306" y="1270"/>
                </a:lnTo>
                <a:lnTo>
                  <a:pt x="314" y="1275"/>
                </a:lnTo>
                <a:lnTo>
                  <a:pt x="320" y="1280"/>
                </a:lnTo>
                <a:lnTo>
                  <a:pt x="326" y="1286"/>
                </a:lnTo>
                <a:lnTo>
                  <a:pt x="329" y="1290"/>
                </a:lnTo>
                <a:lnTo>
                  <a:pt x="333" y="1294"/>
                </a:lnTo>
                <a:lnTo>
                  <a:pt x="338" y="1301"/>
                </a:lnTo>
                <a:lnTo>
                  <a:pt x="342" y="1309"/>
                </a:lnTo>
                <a:lnTo>
                  <a:pt x="345" y="1317"/>
                </a:lnTo>
                <a:lnTo>
                  <a:pt x="348" y="1326"/>
                </a:lnTo>
                <a:lnTo>
                  <a:pt x="349" y="1335"/>
                </a:lnTo>
                <a:lnTo>
                  <a:pt x="351" y="1345"/>
                </a:lnTo>
                <a:lnTo>
                  <a:pt x="351" y="1356"/>
                </a:lnTo>
                <a:lnTo>
                  <a:pt x="350" y="1368"/>
                </a:lnTo>
                <a:lnTo>
                  <a:pt x="349" y="1374"/>
                </a:lnTo>
                <a:lnTo>
                  <a:pt x="348" y="1380"/>
                </a:lnTo>
                <a:lnTo>
                  <a:pt x="344" y="1392"/>
                </a:lnTo>
                <a:lnTo>
                  <a:pt x="339" y="1404"/>
                </a:lnTo>
                <a:lnTo>
                  <a:pt x="333" y="1416"/>
                </a:lnTo>
                <a:lnTo>
                  <a:pt x="325" y="1427"/>
                </a:lnTo>
                <a:lnTo>
                  <a:pt x="321" y="1432"/>
                </a:lnTo>
                <a:lnTo>
                  <a:pt x="316" y="1437"/>
                </a:lnTo>
                <a:lnTo>
                  <a:pt x="307" y="1446"/>
                </a:lnTo>
                <a:lnTo>
                  <a:pt x="297" y="1454"/>
                </a:lnTo>
                <a:lnTo>
                  <a:pt x="292" y="1458"/>
                </a:lnTo>
                <a:lnTo>
                  <a:pt x="286" y="1462"/>
                </a:lnTo>
                <a:lnTo>
                  <a:pt x="275" y="1469"/>
                </a:lnTo>
                <a:lnTo>
                  <a:pt x="262" y="1475"/>
                </a:lnTo>
                <a:lnTo>
                  <a:pt x="250" y="1480"/>
                </a:lnTo>
                <a:lnTo>
                  <a:pt x="244" y="1482"/>
                </a:lnTo>
                <a:lnTo>
                  <a:pt x="238" y="1483"/>
                </a:lnTo>
                <a:lnTo>
                  <a:pt x="232" y="1484"/>
                </a:lnTo>
                <a:lnTo>
                  <a:pt x="225" y="1485"/>
                </a:lnTo>
                <a:lnTo>
                  <a:pt x="213" y="1486"/>
                </a:lnTo>
                <a:lnTo>
                  <a:pt x="207" y="1485"/>
                </a:lnTo>
                <a:lnTo>
                  <a:pt x="202" y="1483"/>
                </a:lnTo>
                <a:lnTo>
                  <a:pt x="197" y="1481"/>
                </a:lnTo>
                <a:lnTo>
                  <a:pt x="195" y="1479"/>
                </a:lnTo>
                <a:lnTo>
                  <a:pt x="193" y="1477"/>
                </a:lnTo>
                <a:lnTo>
                  <a:pt x="190" y="1472"/>
                </a:lnTo>
                <a:lnTo>
                  <a:pt x="188" y="1466"/>
                </a:lnTo>
                <a:lnTo>
                  <a:pt x="187" y="1463"/>
                </a:lnTo>
                <a:lnTo>
                  <a:pt x="186" y="1460"/>
                </a:lnTo>
                <a:lnTo>
                  <a:pt x="186" y="1454"/>
                </a:lnTo>
                <a:lnTo>
                  <a:pt x="186" y="1451"/>
                </a:lnTo>
                <a:lnTo>
                  <a:pt x="186" y="1448"/>
                </a:lnTo>
                <a:lnTo>
                  <a:pt x="187" y="1443"/>
                </a:lnTo>
                <a:lnTo>
                  <a:pt x="188" y="1441"/>
                </a:lnTo>
                <a:lnTo>
                  <a:pt x="189" y="1439"/>
                </a:lnTo>
                <a:lnTo>
                  <a:pt x="191" y="1438"/>
                </a:lnTo>
                <a:lnTo>
                  <a:pt x="193" y="1436"/>
                </a:lnTo>
                <a:lnTo>
                  <a:pt x="204" y="1434"/>
                </a:lnTo>
                <a:lnTo>
                  <a:pt x="215" y="1432"/>
                </a:lnTo>
                <a:lnTo>
                  <a:pt x="225" y="1428"/>
                </a:lnTo>
                <a:lnTo>
                  <a:pt x="235" y="1424"/>
                </a:lnTo>
                <a:lnTo>
                  <a:pt x="244" y="1420"/>
                </a:lnTo>
                <a:lnTo>
                  <a:pt x="252" y="1415"/>
                </a:lnTo>
                <a:lnTo>
                  <a:pt x="260" y="1408"/>
                </a:lnTo>
                <a:lnTo>
                  <a:pt x="264" y="1406"/>
                </a:lnTo>
                <a:lnTo>
                  <a:pt x="267" y="1403"/>
                </a:lnTo>
                <a:lnTo>
                  <a:pt x="275" y="1396"/>
                </a:lnTo>
                <a:lnTo>
                  <a:pt x="281" y="1390"/>
                </a:lnTo>
                <a:lnTo>
                  <a:pt x="286" y="1383"/>
                </a:lnTo>
                <a:lnTo>
                  <a:pt x="290" y="1376"/>
                </a:lnTo>
                <a:lnTo>
                  <a:pt x="293" y="1369"/>
                </a:lnTo>
                <a:lnTo>
                  <a:pt x="296" y="1362"/>
                </a:lnTo>
                <a:lnTo>
                  <a:pt x="297" y="1355"/>
                </a:lnTo>
                <a:lnTo>
                  <a:pt x="298" y="1347"/>
                </a:lnTo>
                <a:lnTo>
                  <a:pt x="297" y="1339"/>
                </a:lnTo>
                <a:lnTo>
                  <a:pt x="295" y="1332"/>
                </a:lnTo>
                <a:lnTo>
                  <a:pt x="293" y="1328"/>
                </a:lnTo>
                <a:lnTo>
                  <a:pt x="291" y="1325"/>
                </a:lnTo>
                <a:lnTo>
                  <a:pt x="289" y="1323"/>
                </a:lnTo>
                <a:lnTo>
                  <a:pt x="287" y="1320"/>
                </a:lnTo>
                <a:lnTo>
                  <a:pt x="281" y="1316"/>
                </a:lnTo>
                <a:lnTo>
                  <a:pt x="278" y="1314"/>
                </a:lnTo>
                <a:lnTo>
                  <a:pt x="274" y="1313"/>
                </a:lnTo>
                <a:lnTo>
                  <a:pt x="265" y="1311"/>
                </a:lnTo>
                <a:lnTo>
                  <a:pt x="261" y="1310"/>
                </a:lnTo>
                <a:lnTo>
                  <a:pt x="256" y="1310"/>
                </a:lnTo>
                <a:lnTo>
                  <a:pt x="248" y="1311"/>
                </a:lnTo>
                <a:lnTo>
                  <a:pt x="243" y="1312"/>
                </a:lnTo>
                <a:lnTo>
                  <a:pt x="239" y="1313"/>
                </a:lnTo>
                <a:lnTo>
                  <a:pt x="234" y="1315"/>
                </a:lnTo>
                <a:lnTo>
                  <a:pt x="230" y="1316"/>
                </a:lnTo>
                <a:lnTo>
                  <a:pt x="225" y="1319"/>
                </a:lnTo>
                <a:lnTo>
                  <a:pt x="221" y="1321"/>
                </a:lnTo>
                <a:lnTo>
                  <a:pt x="217" y="1324"/>
                </a:lnTo>
                <a:lnTo>
                  <a:pt x="213" y="1327"/>
                </a:lnTo>
                <a:lnTo>
                  <a:pt x="203" y="1334"/>
                </a:lnTo>
                <a:lnTo>
                  <a:pt x="195" y="1342"/>
                </a:lnTo>
                <a:lnTo>
                  <a:pt x="188" y="1352"/>
                </a:lnTo>
                <a:lnTo>
                  <a:pt x="184" y="1357"/>
                </a:lnTo>
                <a:lnTo>
                  <a:pt x="181" y="1362"/>
                </a:lnTo>
                <a:lnTo>
                  <a:pt x="175" y="1373"/>
                </a:lnTo>
                <a:lnTo>
                  <a:pt x="169" y="1384"/>
                </a:lnTo>
                <a:lnTo>
                  <a:pt x="165" y="1397"/>
                </a:lnTo>
                <a:lnTo>
                  <a:pt x="161" y="1409"/>
                </a:lnTo>
                <a:lnTo>
                  <a:pt x="158" y="1424"/>
                </a:lnTo>
                <a:lnTo>
                  <a:pt x="156" y="1438"/>
                </a:lnTo>
                <a:lnTo>
                  <a:pt x="156" y="1445"/>
                </a:lnTo>
                <a:lnTo>
                  <a:pt x="156" y="1452"/>
                </a:lnTo>
                <a:lnTo>
                  <a:pt x="156" y="1464"/>
                </a:lnTo>
                <a:lnTo>
                  <a:pt x="157" y="1478"/>
                </a:lnTo>
                <a:lnTo>
                  <a:pt x="160" y="1489"/>
                </a:lnTo>
                <a:lnTo>
                  <a:pt x="161" y="1495"/>
                </a:lnTo>
                <a:lnTo>
                  <a:pt x="162" y="1500"/>
                </a:lnTo>
                <a:lnTo>
                  <a:pt x="166" y="1511"/>
                </a:lnTo>
                <a:lnTo>
                  <a:pt x="168" y="1516"/>
                </a:lnTo>
                <a:lnTo>
                  <a:pt x="171" y="1521"/>
                </a:lnTo>
                <a:lnTo>
                  <a:pt x="173" y="1525"/>
                </a:lnTo>
                <a:lnTo>
                  <a:pt x="176" y="1530"/>
                </a:lnTo>
                <a:lnTo>
                  <a:pt x="179" y="1535"/>
                </a:lnTo>
                <a:lnTo>
                  <a:pt x="182" y="1539"/>
                </a:lnTo>
                <a:lnTo>
                  <a:pt x="185" y="1543"/>
                </a:lnTo>
                <a:lnTo>
                  <a:pt x="188" y="1546"/>
                </a:lnTo>
                <a:lnTo>
                  <a:pt x="196" y="1553"/>
                </a:lnTo>
                <a:lnTo>
                  <a:pt x="203" y="1559"/>
                </a:lnTo>
                <a:lnTo>
                  <a:pt x="213" y="1563"/>
                </a:lnTo>
                <a:lnTo>
                  <a:pt x="222" y="1567"/>
                </a:lnTo>
                <a:lnTo>
                  <a:pt x="232" y="1570"/>
                </a:lnTo>
                <a:lnTo>
                  <a:pt x="242" y="1572"/>
                </a:lnTo>
                <a:lnTo>
                  <a:pt x="247" y="1572"/>
                </a:lnTo>
                <a:lnTo>
                  <a:pt x="252" y="1572"/>
                </a:lnTo>
                <a:lnTo>
                  <a:pt x="263" y="1572"/>
                </a:lnTo>
                <a:lnTo>
                  <a:pt x="274" y="1570"/>
                </a:lnTo>
                <a:lnTo>
                  <a:pt x="284" y="1568"/>
                </a:lnTo>
                <a:lnTo>
                  <a:pt x="294" y="1564"/>
                </a:lnTo>
                <a:lnTo>
                  <a:pt x="303" y="1560"/>
                </a:lnTo>
                <a:lnTo>
                  <a:pt x="312" y="1555"/>
                </a:lnTo>
                <a:lnTo>
                  <a:pt x="320" y="1549"/>
                </a:lnTo>
                <a:lnTo>
                  <a:pt x="329" y="1543"/>
                </a:lnTo>
                <a:lnTo>
                  <a:pt x="338" y="1536"/>
                </a:lnTo>
                <a:lnTo>
                  <a:pt x="345" y="1527"/>
                </a:lnTo>
                <a:lnTo>
                  <a:pt x="353" y="1518"/>
                </a:lnTo>
                <a:lnTo>
                  <a:pt x="360" y="1509"/>
                </a:lnTo>
                <a:lnTo>
                  <a:pt x="373" y="1490"/>
                </a:lnTo>
                <a:lnTo>
                  <a:pt x="378" y="1479"/>
                </a:lnTo>
                <a:lnTo>
                  <a:pt x="384" y="1468"/>
                </a:lnTo>
                <a:lnTo>
                  <a:pt x="389" y="1457"/>
                </a:lnTo>
                <a:lnTo>
                  <a:pt x="395" y="1445"/>
                </a:lnTo>
                <a:lnTo>
                  <a:pt x="400" y="1434"/>
                </a:lnTo>
                <a:lnTo>
                  <a:pt x="404" y="1422"/>
                </a:lnTo>
                <a:lnTo>
                  <a:pt x="407" y="1409"/>
                </a:lnTo>
                <a:lnTo>
                  <a:pt x="411" y="1397"/>
                </a:lnTo>
                <a:lnTo>
                  <a:pt x="414" y="1385"/>
                </a:lnTo>
                <a:lnTo>
                  <a:pt x="416" y="1373"/>
                </a:lnTo>
                <a:lnTo>
                  <a:pt x="419" y="1361"/>
                </a:lnTo>
                <a:lnTo>
                  <a:pt x="421" y="1348"/>
                </a:lnTo>
                <a:lnTo>
                  <a:pt x="422" y="1337"/>
                </a:lnTo>
                <a:lnTo>
                  <a:pt x="423" y="1325"/>
                </a:lnTo>
                <a:lnTo>
                  <a:pt x="424" y="1314"/>
                </a:lnTo>
                <a:lnTo>
                  <a:pt x="424" y="1303"/>
                </a:lnTo>
                <a:lnTo>
                  <a:pt x="424" y="1292"/>
                </a:lnTo>
                <a:lnTo>
                  <a:pt x="423" y="1280"/>
                </a:lnTo>
                <a:lnTo>
                  <a:pt x="425" y="1278"/>
                </a:lnTo>
                <a:lnTo>
                  <a:pt x="426" y="1276"/>
                </a:lnTo>
                <a:lnTo>
                  <a:pt x="428" y="1274"/>
                </a:lnTo>
                <a:lnTo>
                  <a:pt x="431" y="1272"/>
                </a:lnTo>
                <a:lnTo>
                  <a:pt x="438" y="1269"/>
                </a:lnTo>
                <a:lnTo>
                  <a:pt x="442" y="1269"/>
                </a:lnTo>
                <a:lnTo>
                  <a:pt x="446" y="1268"/>
                </a:lnTo>
                <a:lnTo>
                  <a:pt x="454" y="1269"/>
                </a:lnTo>
                <a:lnTo>
                  <a:pt x="457" y="1269"/>
                </a:lnTo>
                <a:lnTo>
                  <a:pt x="461" y="1270"/>
                </a:lnTo>
                <a:lnTo>
                  <a:pt x="466" y="1273"/>
                </a:lnTo>
                <a:lnTo>
                  <a:pt x="469" y="1275"/>
                </a:lnTo>
                <a:lnTo>
                  <a:pt x="471" y="1277"/>
                </a:lnTo>
                <a:lnTo>
                  <a:pt x="475" y="1283"/>
                </a:lnTo>
                <a:lnTo>
                  <a:pt x="477" y="1287"/>
                </a:lnTo>
                <a:lnTo>
                  <a:pt x="478" y="1292"/>
                </a:lnTo>
                <a:lnTo>
                  <a:pt x="479" y="1296"/>
                </a:lnTo>
                <a:lnTo>
                  <a:pt x="480" y="1301"/>
                </a:lnTo>
                <a:lnTo>
                  <a:pt x="481" y="1306"/>
                </a:lnTo>
                <a:lnTo>
                  <a:pt x="481" y="1312"/>
                </a:lnTo>
                <a:lnTo>
                  <a:pt x="480" y="1328"/>
                </a:lnTo>
                <a:lnTo>
                  <a:pt x="479" y="1343"/>
                </a:lnTo>
                <a:lnTo>
                  <a:pt x="478" y="1359"/>
                </a:lnTo>
                <a:lnTo>
                  <a:pt x="476" y="1374"/>
                </a:lnTo>
                <a:lnTo>
                  <a:pt x="473" y="1389"/>
                </a:lnTo>
                <a:lnTo>
                  <a:pt x="470" y="1404"/>
                </a:lnTo>
                <a:lnTo>
                  <a:pt x="467" y="1419"/>
                </a:lnTo>
                <a:lnTo>
                  <a:pt x="463" y="1434"/>
                </a:lnTo>
                <a:lnTo>
                  <a:pt x="458" y="1447"/>
                </a:lnTo>
                <a:lnTo>
                  <a:pt x="454" y="1461"/>
                </a:lnTo>
                <a:lnTo>
                  <a:pt x="447" y="1475"/>
                </a:lnTo>
                <a:lnTo>
                  <a:pt x="442" y="1488"/>
                </a:lnTo>
                <a:lnTo>
                  <a:pt x="435" y="1500"/>
                </a:lnTo>
                <a:lnTo>
                  <a:pt x="429" y="1512"/>
                </a:lnTo>
                <a:lnTo>
                  <a:pt x="422" y="1524"/>
                </a:lnTo>
                <a:lnTo>
                  <a:pt x="415" y="1536"/>
                </a:lnTo>
                <a:lnTo>
                  <a:pt x="407" y="1547"/>
                </a:lnTo>
                <a:lnTo>
                  <a:pt x="399" y="1557"/>
                </a:lnTo>
                <a:lnTo>
                  <a:pt x="391" y="1567"/>
                </a:lnTo>
                <a:lnTo>
                  <a:pt x="381" y="1576"/>
                </a:lnTo>
                <a:lnTo>
                  <a:pt x="372" y="1584"/>
                </a:lnTo>
                <a:lnTo>
                  <a:pt x="363" y="1593"/>
                </a:lnTo>
                <a:lnTo>
                  <a:pt x="353" y="1600"/>
                </a:lnTo>
                <a:lnTo>
                  <a:pt x="343" y="1607"/>
                </a:lnTo>
                <a:lnTo>
                  <a:pt x="332" y="1613"/>
                </a:lnTo>
                <a:lnTo>
                  <a:pt x="321" y="1618"/>
                </a:lnTo>
                <a:lnTo>
                  <a:pt x="310" y="1622"/>
                </a:lnTo>
                <a:lnTo>
                  <a:pt x="299" y="1626"/>
                </a:lnTo>
                <a:lnTo>
                  <a:pt x="287" y="1629"/>
                </a:lnTo>
                <a:lnTo>
                  <a:pt x="276" y="1631"/>
                </a:lnTo>
                <a:lnTo>
                  <a:pt x="263" y="1632"/>
                </a:lnTo>
                <a:lnTo>
                  <a:pt x="251" y="1633"/>
                </a:lnTo>
                <a:close/>
                <a:moveTo>
                  <a:pt x="638" y="1627"/>
                </a:moveTo>
                <a:lnTo>
                  <a:pt x="636" y="1627"/>
                </a:lnTo>
                <a:lnTo>
                  <a:pt x="634" y="1626"/>
                </a:lnTo>
                <a:lnTo>
                  <a:pt x="628" y="1623"/>
                </a:lnTo>
                <a:lnTo>
                  <a:pt x="622" y="1619"/>
                </a:lnTo>
                <a:lnTo>
                  <a:pt x="614" y="1613"/>
                </a:lnTo>
                <a:lnTo>
                  <a:pt x="602" y="1603"/>
                </a:lnTo>
                <a:lnTo>
                  <a:pt x="587" y="1588"/>
                </a:lnTo>
                <a:lnTo>
                  <a:pt x="569" y="1572"/>
                </a:lnTo>
                <a:lnTo>
                  <a:pt x="553" y="1555"/>
                </a:lnTo>
                <a:lnTo>
                  <a:pt x="537" y="1538"/>
                </a:lnTo>
                <a:lnTo>
                  <a:pt x="523" y="1521"/>
                </a:lnTo>
                <a:lnTo>
                  <a:pt x="511" y="1506"/>
                </a:lnTo>
                <a:lnTo>
                  <a:pt x="506" y="1500"/>
                </a:lnTo>
                <a:lnTo>
                  <a:pt x="502" y="1495"/>
                </a:lnTo>
                <a:lnTo>
                  <a:pt x="497" y="1485"/>
                </a:lnTo>
                <a:lnTo>
                  <a:pt x="493" y="1475"/>
                </a:lnTo>
                <a:lnTo>
                  <a:pt x="491" y="1464"/>
                </a:lnTo>
                <a:lnTo>
                  <a:pt x="490" y="1454"/>
                </a:lnTo>
                <a:lnTo>
                  <a:pt x="491" y="1449"/>
                </a:lnTo>
                <a:lnTo>
                  <a:pt x="491" y="1443"/>
                </a:lnTo>
                <a:lnTo>
                  <a:pt x="493" y="1437"/>
                </a:lnTo>
                <a:lnTo>
                  <a:pt x="495" y="1431"/>
                </a:lnTo>
                <a:lnTo>
                  <a:pt x="497" y="1425"/>
                </a:lnTo>
                <a:lnTo>
                  <a:pt x="501" y="1419"/>
                </a:lnTo>
                <a:lnTo>
                  <a:pt x="504" y="1412"/>
                </a:lnTo>
                <a:lnTo>
                  <a:pt x="509" y="1404"/>
                </a:lnTo>
                <a:lnTo>
                  <a:pt x="518" y="1393"/>
                </a:lnTo>
                <a:lnTo>
                  <a:pt x="529" y="1380"/>
                </a:lnTo>
                <a:lnTo>
                  <a:pt x="559" y="1345"/>
                </a:lnTo>
                <a:lnTo>
                  <a:pt x="595" y="1306"/>
                </a:lnTo>
                <a:lnTo>
                  <a:pt x="631" y="1264"/>
                </a:lnTo>
                <a:lnTo>
                  <a:pt x="632" y="1264"/>
                </a:lnTo>
                <a:lnTo>
                  <a:pt x="635" y="1264"/>
                </a:lnTo>
                <a:lnTo>
                  <a:pt x="639" y="1264"/>
                </a:lnTo>
                <a:lnTo>
                  <a:pt x="643" y="1265"/>
                </a:lnTo>
                <a:lnTo>
                  <a:pt x="647" y="1267"/>
                </a:lnTo>
                <a:lnTo>
                  <a:pt x="651" y="1270"/>
                </a:lnTo>
                <a:lnTo>
                  <a:pt x="656" y="1273"/>
                </a:lnTo>
                <a:lnTo>
                  <a:pt x="660" y="1276"/>
                </a:lnTo>
                <a:lnTo>
                  <a:pt x="663" y="1281"/>
                </a:lnTo>
                <a:lnTo>
                  <a:pt x="666" y="1286"/>
                </a:lnTo>
                <a:lnTo>
                  <a:pt x="667" y="1290"/>
                </a:lnTo>
                <a:lnTo>
                  <a:pt x="668" y="1296"/>
                </a:lnTo>
                <a:lnTo>
                  <a:pt x="667" y="1301"/>
                </a:lnTo>
                <a:lnTo>
                  <a:pt x="665" y="1307"/>
                </a:lnTo>
                <a:lnTo>
                  <a:pt x="663" y="1312"/>
                </a:lnTo>
                <a:lnTo>
                  <a:pt x="659" y="1318"/>
                </a:lnTo>
                <a:lnTo>
                  <a:pt x="650" y="1329"/>
                </a:lnTo>
                <a:lnTo>
                  <a:pt x="639" y="1342"/>
                </a:lnTo>
                <a:lnTo>
                  <a:pt x="609" y="1376"/>
                </a:lnTo>
                <a:lnTo>
                  <a:pt x="579" y="1409"/>
                </a:lnTo>
                <a:lnTo>
                  <a:pt x="566" y="1425"/>
                </a:lnTo>
                <a:lnTo>
                  <a:pt x="557" y="1436"/>
                </a:lnTo>
                <a:lnTo>
                  <a:pt x="555" y="1440"/>
                </a:lnTo>
                <a:lnTo>
                  <a:pt x="553" y="1444"/>
                </a:lnTo>
                <a:lnTo>
                  <a:pt x="552" y="1447"/>
                </a:lnTo>
                <a:lnTo>
                  <a:pt x="551" y="1451"/>
                </a:lnTo>
                <a:lnTo>
                  <a:pt x="552" y="1455"/>
                </a:lnTo>
                <a:lnTo>
                  <a:pt x="553" y="1460"/>
                </a:lnTo>
                <a:lnTo>
                  <a:pt x="555" y="1464"/>
                </a:lnTo>
                <a:lnTo>
                  <a:pt x="558" y="1469"/>
                </a:lnTo>
                <a:lnTo>
                  <a:pt x="566" y="1479"/>
                </a:lnTo>
                <a:lnTo>
                  <a:pt x="577" y="1491"/>
                </a:lnTo>
                <a:lnTo>
                  <a:pt x="604" y="1520"/>
                </a:lnTo>
                <a:lnTo>
                  <a:pt x="637" y="1553"/>
                </a:lnTo>
                <a:lnTo>
                  <a:pt x="668" y="1583"/>
                </a:lnTo>
                <a:lnTo>
                  <a:pt x="670" y="1585"/>
                </a:lnTo>
                <a:lnTo>
                  <a:pt x="672" y="1587"/>
                </a:lnTo>
                <a:lnTo>
                  <a:pt x="672" y="1589"/>
                </a:lnTo>
                <a:lnTo>
                  <a:pt x="673" y="1593"/>
                </a:lnTo>
                <a:lnTo>
                  <a:pt x="672" y="1599"/>
                </a:lnTo>
                <a:lnTo>
                  <a:pt x="671" y="1601"/>
                </a:lnTo>
                <a:lnTo>
                  <a:pt x="670" y="1604"/>
                </a:lnTo>
                <a:lnTo>
                  <a:pt x="666" y="1610"/>
                </a:lnTo>
                <a:lnTo>
                  <a:pt x="664" y="1613"/>
                </a:lnTo>
                <a:lnTo>
                  <a:pt x="661" y="1615"/>
                </a:lnTo>
                <a:lnTo>
                  <a:pt x="656" y="1620"/>
                </a:lnTo>
                <a:lnTo>
                  <a:pt x="653" y="1622"/>
                </a:lnTo>
                <a:lnTo>
                  <a:pt x="650" y="1624"/>
                </a:lnTo>
                <a:lnTo>
                  <a:pt x="644" y="1626"/>
                </a:lnTo>
                <a:lnTo>
                  <a:pt x="641" y="1627"/>
                </a:lnTo>
                <a:lnTo>
                  <a:pt x="638" y="1627"/>
                </a:lnTo>
                <a:close/>
                <a:moveTo>
                  <a:pt x="251" y="2627"/>
                </a:moveTo>
                <a:lnTo>
                  <a:pt x="243" y="2627"/>
                </a:lnTo>
                <a:lnTo>
                  <a:pt x="235" y="2626"/>
                </a:lnTo>
                <a:lnTo>
                  <a:pt x="228" y="2625"/>
                </a:lnTo>
                <a:lnTo>
                  <a:pt x="220" y="2623"/>
                </a:lnTo>
                <a:lnTo>
                  <a:pt x="213" y="2621"/>
                </a:lnTo>
                <a:lnTo>
                  <a:pt x="205" y="2619"/>
                </a:lnTo>
                <a:lnTo>
                  <a:pt x="191" y="2613"/>
                </a:lnTo>
                <a:lnTo>
                  <a:pt x="178" y="2605"/>
                </a:lnTo>
                <a:lnTo>
                  <a:pt x="172" y="2601"/>
                </a:lnTo>
                <a:lnTo>
                  <a:pt x="166" y="2596"/>
                </a:lnTo>
                <a:lnTo>
                  <a:pt x="160" y="2591"/>
                </a:lnTo>
                <a:lnTo>
                  <a:pt x="155" y="2586"/>
                </a:lnTo>
                <a:lnTo>
                  <a:pt x="148" y="2581"/>
                </a:lnTo>
                <a:lnTo>
                  <a:pt x="143" y="2575"/>
                </a:lnTo>
                <a:lnTo>
                  <a:pt x="138" y="2569"/>
                </a:lnTo>
                <a:lnTo>
                  <a:pt x="133" y="2563"/>
                </a:lnTo>
                <a:lnTo>
                  <a:pt x="129" y="2556"/>
                </a:lnTo>
                <a:lnTo>
                  <a:pt x="125" y="2548"/>
                </a:lnTo>
                <a:lnTo>
                  <a:pt x="121" y="2541"/>
                </a:lnTo>
                <a:lnTo>
                  <a:pt x="117" y="2534"/>
                </a:lnTo>
                <a:lnTo>
                  <a:pt x="114" y="2526"/>
                </a:lnTo>
                <a:lnTo>
                  <a:pt x="111" y="2518"/>
                </a:lnTo>
                <a:lnTo>
                  <a:pt x="108" y="2510"/>
                </a:lnTo>
                <a:lnTo>
                  <a:pt x="106" y="2502"/>
                </a:lnTo>
                <a:lnTo>
                  <a:pt x="104" y="2494"/>
                </a:lnTo>
                <a:lnTo>
                  <a:pt x="102" y="2484"/>
                </a:lnTo>
                <a:lnTo>
                  <a:pt x="101" y="2475"/>
                </a:lnTo>
                <a:lnTo>
                  <a:pt x="100" y="2467"/>
                </a:lnTo>
                <a:lnTo>
                  <a:pt x="99" y="2458"/>
                </a:lnTo>
                <a:lnTo>
                  <a:pt x="99" y="2448"/>
                </a:lnTo>
                <a:lnTo>
                  <a:pt x="100" y="2429"/>
                </a:lnTo>
                <a:lnTo>
                  <a:pt x="101" y="2420"/>
                </a:lnTo>
                <a:lnTo>
                  <a:pt x="102" y="2410"/>
                </a:lnTo>
                <a:lnTo>
                  <a:pt x="104" y="2401"/>
                </a:lnTo>
                <a:lnTo>
                  <a:pt x="106" y="2393"/>
                </a:lnTo>
                <a:lnTo>
                  <a:pt x="109" y="2384"/>
                </a:lnTo>
                <a:lnTo>
                  <a:pt x="111" y="2375"/>
                </a:lnTo>
                <a:lnTo>
                  <a:pt x="115" y="2366"/>
                </a:lnTo>
                <a:lnTo>
                  <a:pt x="118" y="2358"/>
                </a:lnTo>
                <a:lnTo>
                  <a:pt x="122" y="2350"/>
                </a:lnTo>
                <a:lnTo>
                  <a:pt x="126" y="2342"/>
                </a:lnTo>
                <a:lnTo>
                  <a:pt x="130" y="2334"/>
                </a:lnTo>
                <a:lnTo>
                  <a:pt x="135" y="2327"/>
                </a:lnTo>
                <a:lnTo>
                  <a:pt x="145" y="2313"/>
                </a:lnTo>
                <a:lnTo>
                  <a:pt x="152" y="2305"/>
                </a:lnTo>
                <a:lnTo>
                  <a:pt x="158" y="2299"/>
                </a:lnTo>
                <a:lnTo>
                  <a:pt x="170" y="2288"/>
                </a:lnTo>
                <a:lnTo>
                  <a:pt x="176" y="2283"/>
                </a:lnTo>
                <a:lnTo>
                  <a:pt x="183" y="2278"/>
                </a:lnTo>
                <a:lnTo>
                  <a:pt x="190" y="2274"/>
                </a:lnTo>
                <a:lnTo>
                  <a:pt x="197" y="2269"/>
                </a:lnTo>
                <a:lnTo>
                  <a:pt x="204" y="2266"/>
                </a:lnTo>
                <a:lnTo>
                  <a:pt x="212" y="2263"/>
                </a:lnTo>
                <a:lnTo>
                  <a:pt x="220" y="2260"/>
                </a:lnTo>
                <a:lnTo>
                  <a:pt x="228" y="2258"/>
                </a:lnTo>
                <a:lnTo>
                  <a:pt x="236" y="2256"/>
                </a:lnTo>
                <a:lnTo>
                  <a:pt x="244" y="2255"/>
                </a:lnTo>
                <a:lnTo>
                  <a:pt x="252" y="2254"/>
                </a:lnTo>
                <a:lnTo>
                  <a:pt x="260" y="2254"/>
                </a:lnTo>
                <a:lnTo>
                  <a:pt x="271" y="2254"/>
                </a:lnTo>
                <a:lnTo>
                  <a:pt x="276" y="2255"/>
                </a:lnTo>
                <a:lnTo>
                  <a:pt x="281" y="2255"/>
                </a:lnTo>
                <a:lnTo>
                  <a:pt x="286" y="2256"/>
                </a:lnTo>
                <a:lnTo>
                  <a:pt x="290" y="2258"/>
                </a:lnTo>
                <a:lnTo>
                  <a:pt x="298" y="2261"/>
                </a:lnTo>
                <a:lnTo>
                  <a:pt x="306" y="2265"/>
                </a:lnTo>
                <a:lnTo>
                  <a:pt x="314" y="2269"/>
                </a:lnTo>
                <a:lnTo>
                  <a:pt x="320" y="2275"/>
                </a:lnTo>
                <a:lnTo>
                  <a:pt x="326" y="2281"/>
                </a:lnTo>
                <a:lnTo>
                  <a:pt x="329" y="2284"/>
                </a:lnTo>
                <a:lnTo>
                  <a:pt x="333" y="2287"/>
                </a:lnTo>
                <a:lnTo>
                  <a:pt x="338" y="2295"/>
                </a:lnTo>
                <a:lnTo>
                  <a:pt x="342" y="2302"/>
                </a:lnTo>
                <a:lnTo>
                  <a:pt x="345" y="2312"/>
                </a:lnTo>
                <a:lnTo>
                  <a:pt x="348" y="2320"/>
                </a:lnTo>
                <a:lnTo>
                  <a:pt x="349" y="2329"/>
                </a:lnTo>
                <a:lnTo>
                  <a:pt x="351" y="2339"/>
                </a:lnTo>
                <a:lnTo>
                  <a:pt x="351" y="2349"/>
                </a:lnTo>
                <a:lnTo>
                  <a:pt x="350" y="2361"/>
                </a:lnTo>
                <a:lnTo>
                  <a:pt x="349" y="2368"/>
                </a:lnTo>
                <a:lnTo>
                  <a:pt x="348" y="2375"/>
                </a:lnTo>
                <a:lnTo>
                  <a:pt x="344" y="2387"/>
                </a:lnTo>
                <a:lnTo>
                  <a:pt x="339" y="2398"/>
                </a:lnTo>
                <a:lnTo>
                  <a:pt x="333" y="2409"/>
                </a:lnTo>
                <a:lnTo>
                  <a:pt x="325" y="2420"/>
                </a:lnTo>
                <a:lnTo>
                  <a:pt x="321" y="2425"/>
                </a:lnTo>
                <a:lnTo>
                  <a:pt x="316" y="2430"/>
                </a:lnTo>
                <a:lnTo>
                  <a:pt x="307" y="2440"/>
                </a:lnTo>
                <a:lnTo>
                  <a:pt x="297" y="2449"/>
                </a:lnTo>
                <a:lnTo>
                  <a:pt x="292" y="2452"/>
                </a:lnTo>
                <a:lnTo>
                  <a:pt x="286" y="2456"/>
                </a:lnTo>
                <a:lnTo>
                  <a:pt x="275" y="2463"/>
                </a:lnTo>
                <a:lnTo>
                  <a:pt x="262" y="2468"/>
                </a:lnTo>
                <a:lnTo>
                  <a:pt x="250" y="2473"/>
                </a:lnTo>
                <a:lnTo>
                  <a:pt x="244" y="2475"/>
                </a:lnTo>
                <a:lnTo>
                  <a:pt x="238" y="2476"/>
                </a:lnTo>
                <a:lnTo>
                  <a:pt x="232" y="2478"/>
                </a:lnTo>
                <a:lnTo>
                  <a:pt x="225" y="2478"/>
                </a:lnTo>
                <a:lnTo>
                  <a:pt x="213" y="2479"/>
                </a:lnTo>
                <a:lnTo>
                  <a:pt x="207" y="2478"/>
                </a:lnTo>
                <a:lnTo>
                  <a:pt x="202" y="2477"/>
                </a:lnTo>
                <a:lnTo>
                  <a:pt x="197" y="2474"/>
                </a:lnTo>
                <a:lnTo>
                  <a:pt x="195" y="2472"/>
                </a:lnTo>
                <a:lnTo>
                  <a:pt x="193" y="2470"/>
                </a:lnTo>
                <a:lnTo>
                  <a:pt x="190" y="2465"/>
                </a:lnTo>
                <a:lnTo>
                  <a:pt x="188" y="2460"/>
                </a:lnTo>
                <a:lnTo>
                  <a:pt x="187" y="2457"/>
                </a:lnTo>
                <a:lnTo>
                  <a:pt x="186" y="2454"/>
                </a:lnTo>
                <a:lnTo>
                  <a:pt x="186" y="2448"/>
                </a:lnTo>
                <a:lnTo>
                  <a:pt x="186" y="2445"/>
                </a:lnTo>
                <a:lnTo>
                  <a:pt x="186" y="2442"/>
                </a:lnTo>
                <a:lnTo>
                  <a:pt x="187" y="2437"/>
                </a:lnTo>
                <a:lnTo>
                  <a:pt x="188" y="2435"/>
                </a:lnTo>
                <a:lnTo>
                  <a:pt x="189" y="2433"/>
                </a:lnTo>
                <a:lnTo>
                  <a:pt x="191" y="2432"/>
                </a:lnTo>
                <a:lnTo>
                  <a:pt x="193" y="2430"/>
                </a:lnTo>
                <a:lnTo>
                  <a:pt x="204" y="2428"/>
                </a:lnTo>
                <a:lnTo>
                  <a:pt x="215" y="2425"/>
                </a:lnTo>
                <a:lnTo>
                  <a:pt x="225" y="2422"/>
                </a:lnTo>
                <a:lnTo>
                  <a:pt x="235" y="2418"/>
                </a:lnTo>
                <a:lnTo>
                  <a:pt x="244" y="2413"/>
                </a:lnTo>
                <a:lnTo>
                  <a:pt x="252" y="2408"/>
                </a:lnTo>
                <a:lnTo>
                  <a:pt x="260" y="2403"/>
                </a:lnTo>
                <a:lnTo>
                  <a:pt x="264" y="2400"/>
                </a:lnTo>
                <a:lnTo>
                  <a:pt x="267" y="2397"/>
                </a:lnTo>
                <a:lnTo>
                  <a:pt x="275" y="2390"/>
                </a:lnTo>
                <a:lnTo>
                  <a:pt x="281" y="2384"/>
                </a:lnTo>
                <a:lnTo>
                  <a:pt x="286" y="2377"/>
                </a:lnTo>
                <a:lnTo>
                  <a:pt x="290" y="2369"/>
                </a:lnTo>
                <a:lnTo>
                  <a:pt x="293" y="2362"/>
                </a:lnTo>
                <a:lnTo>
                  <a:pt x="296" y="2355"/>
                </a:lnTo>
                <a:lnTo>
                  <a:pt x="297" y="2348"/>
                </a:lnTo>
                <a:lnTo>
                  <a:pt x="298" y="2341"/>
                </a:lnTo>
                <a:lnTo>
                  <a:pt x="297" y="2333"/>
                </a:lnTo>
                <a:lnTo>
                  <a:pt x="295" y="2326"/>
                </a:lnTo>
                <a:lnTo>
                  <a:pt x="293" y="2323"/>
                </a:lnTo>
                <a:lnTo>
                  <a:pt x="291" y="2319"/>
                </a:lnTo>
                <a:lnTo>
                  <a:pt x="289" y="2317"/>
                </a:lnTo>
                <a:lnTo>
                  <a:pt x="287" y="2314"/>
                </a:lnTo>
                <a:lnTo>
                  <a:pt x="281" y="2309"/>
                </a:lnTo>
                <a:lnTo>
                  <a:pt x="278" y="2307"/>
                </a:lnTo>
                <a:lnTo>
                  <a:pt x="274" y="2306"/>
                </a:lnTo>
                <a:lnTo>
                  <a:pt x="265" y="2304"/>
                </a:lnTo>
                <a:lnTo>
                  <a:pt x="261" y="2303"/>
                </a:lnTo>
                <a:lnTo>
                  <a:pt x="256" y="2303"/>
                </a:lnTo>
                <a:lnTo>
                  <a:pt x="248" y="2304"/>
                </a:lnTo>
                <a:lnTo>
                  <a:pt x="243" y="2305"/>
                </a:lnTo>
                <a:lnTo>
                  <a:pt x="239" y="2306"/>
                </a:lnTo>
                <a:lnTo>
                  <a:pt x="234" y="2308"/>
                </a:lnTo>
                <a:lnTo>
                  <a:pt x="230" y="2310"/>
                </a:lnTo>
                <a:lnTo>
                  <a:pt x="225" y="2313"/>
                </a:lnTo>
                <a:lnTo>
                  <a:pt x="221" y="2315"/>
                </a:lnTo>
                <a:lnTo>
                  <a:pt x="217" y="2318"/>
                </a:lnTo>
                <a:lnTo>
                  <a:pt x="213" y="2321"/>
                </a:lnTo>
                <a:lnTo>
                  <a:pt x="203" y="2328"/>
                </a:lnTo>
                <a:lnTo>
                  <a:pt x="195" y="2336"/>
                </a:lnTo>
                <a:lnTo>
                  <a:pt x="188" y="2345"/>
                </a:lnTo>
                <a:lnTo>
                  <a:pt x="184" y="2350"/>
                </a:lnTo>
                <a:lnTo>
                  <a:pt x="181" y="2355"/>
                </a:lnTo>
                <a:lnTo>
                  <a:pt x="175" y="2366"/>
                </a:lnTo>
                <a:lnTo>
                  <a:pt x="169" y="2379"/>
                </a:lnTo>
                <a:lnTo>
                  <a:pt x="165" y="2391"/>
                </a:lnTo>
                <a:lnTo>
                  <a:pt x="161" y="2404"/>
                </a:lnTo>
                <a:lnTo>
                  <a:pt x="158" y="2417"/>
                </a:lnTo>
                <a:lnTo>
                  <a:pt x="156" y="2432"/>
                </a:lnTo>
                <a:lnTo>
                  <a:pt x="156" y="2439"/>
                </a:lnTo>
                <a:lnTo>
                  <a:pt x="156" y="2446"/>
                </a:lnTo>
                <a:lnTo>
                  <a:pt x="156" y="2459"/>
                </a:lnTo>
                <a:lnTo>
                  <a:pt x="157" y="2471"/>
                </a:lnTo>
                <a:lnTo>
                  <a:pt x="160" y="2482"/>
                </a:lnTo>
                <a:lnTo>
                  <a:pt x="161" y="2488"/>
                </a:lnTo>
                <a:lnTo>
                  <a:pt x="162" y="2494"/>
                </a:lnTo>
                <a:lnTo>
                  <a:pt x="166" y="2505"/>
                </a:lnTo>
                <a:lnTo>
                  <a:pt x="168" y="2510"/>
                </a:lnTo>
                <a:lnTo>
                  <a:pt x="171" y="2515"/>
                </a:lnTo>
                <a:lnTo>
                  <a:pt x="173" y="2519"/>
                </a:lnTo>
                <a:lnTo>
                  <a:pt x="176" y="2524"/>
                </a:lnTo>
                <a:lnTo>
                  <a:pt x="179" y="2528"/>
                </a:lnTo>
                <a:lnTo>
                  <a:pt x="182" y="2532"/>
                </a:lnTo>
                <a:lnTo>
                  <a:pt x="185" y="2536"/>
                </a:lnTo>
                <a:lnTo>
                  <a:pt x="188" y="2540"/>
                </a:lnTo>
                <a:lnTo>
                  <a:pt x="196" y="2546"/>
                </a:lnTo>
                <a:lnTo>
                  <a:pt x="203" y="2553"/>
                </a:lnTo>
                <a:lnTo>
                  <a:pt x="213" y="2558"/>
                </a:lnTo>
                <a:lnTo>
                  <a:pt x="222" y="2561"/>
                </a:lnTo>
                <a:lnTo>
                  <a:pt x="232" y="2564"/>
                </a:lnTo>
                <a:lnTo>
                  <a:pt x="242" y="2566"/>
                </a:lnTo>
                <a:lnTo>
                  <a:pt x="247" y="2566"/>
                </a:lnTo>
                <a:lnTo>
                  <a:pt x="252" y="2567"/>
                </a:lnTo>
                <a:lnTo>
                  <a:pt x="263" y="2566"/>
                </a:lnTo>
                <a:lnTo>
                  <a:pt x="274" y="2564"/>
                </a:lnTo>
                <a:lnTo>
                  <a:pt x="284" y="2562"/>
                </a:lnTo>
                <a:lnTo>
                  <a:pt x="294" y="2559"/>
                </a:lnTo>
                <a:lnTo>
                  <a:pt x="303" y="2554"/>
                </a:lnTo>
                <a:lnTo>
                  <a:pt x="312" y="2548"/>
                </a:lnTo>
                <a:lnTo>
                  <a:pt x="320" y="2543"/>
                </a:lnTo>
                <a:lnTo>
                  <a:pt x="329" y="2536"/>
                </a:lnTo>
                <a:lnTo>
                  <a:pt x="338" y="2529"/>
                </a:lnTo>
                <a:lnTo>
                  <a:pt x="345" y="2521"/>
                </a:lnTo>
                <a:lnTo>
                  <a:pt x="353" y="2512"/>
                </a:lnTo>
                <a:lnTo>
                  <a:pt x="360" y="2503"/>
                </a:lnTo>
                <a:lnTo>
                  <a:pt x="373" y="2483"/>
                </a:lnTo>
                <a:lnTo>
                  <a:pt x="378" y="2473"/>
                </a:lnTo>
                <a:lnTo>
                  <a:pt x="384" y="2462"/>
                </a:lnTo>
                <a:lnTo>
                  <a:pt x="389" y="2451"/>
                </a:lnTo>
                <a:lnTo>
                  <a:pt x="395" y="2440"/>
                </a:lnTo>
                <a:lnTo>
                  <a:pt x="400" y="2427"/>
                </a:lnTo>
                <a:lnTo>
                  <a:pt x="404" y="2415"/>
                </a:lnTo>
                <a:lnTo>
                  <a:pt x="407" y="2403"/>
                </a:lnTo>
                <a:lnTo>
                  <a:pt x="411" y="2391"/>
                </a:lnTo>
                <a:lnTo>
                  <a:pt x="414" y="2379"/>
                </a:lnTo>
                <a:lnTo>
                  <a:pt x="416" y="2366"/>
                </a:lnTo>
                <a:lnTo>
                  <a:pt x="419" y="2354"/>
                </a:lnTo>
                <a:lnTo>
                  <a:pt x="421" y="2343"/>
                </a:lnTo>
                <a:lnTo>
                  <a:pt x="422" y="2331"/>
                </a:lnTo>
                <a:lnTo>
                  <a:pt x="423" y="2319"/>
                </a:lnTo>
                <a:lnTo>
                  <a:pt x="424" y="2307"/>
                </a:lnTo>
                <a:lnTo>
                  <a:pt x="424" y="2296"/>
                </a:lnTo>
                <a:lnTo>
                  <a:pt x="424" y="2285"/>
                </a:lnTo>
                <a:lnTo>
                  <a:pt x="423" y="2275"/>
                </a:lnTo>
                <a:lnTo>
                  <a:pt x="425" y="2272"/>
                </a:lnTo>
                <a:lnTo>
                  <a:pt x="426" y="2270"/>
                </a:lnTo>
                <a:lnTo>
                  <a:pt x="428" y="2268"/>
                </a:lnTo>
                <a:lnTo>
                  <a:pt x="431" y="2266"/>
                </a:lnTo>
                <a:lnTo>
                  <a:pt x="438" y="2263"/>
                </a:lnTo>
                <a:lnTo>
                  <a:pt x="442" y="2263"/>
                </a:lnTo>
                <a:lnTo>
                  <a:pt x="446" y="2262"/>
                </a:lnTo>
                <a:lnTo>
                  <a:pt x="454" y="2263"/>
                </a:lnTo>
                <a:lnTo>
                  <a:pt x="457" y="2264"/>
                </a:lnTo>
                <a:lnTo>
                  <a:pt x="461" y="2265"/>
                </a:lnTo>
                <a:lnTo>
                  <a:pt x="466" y="2267"/>
                </a:lnTo>
                <a:lnTo>
                  <a:pt x="469" y="2269"/>
                </a:lnTo>
                <a:lnTo>
                  <a:pt x="471" y="2272"/>
                </a:lnTo>
                <a:lnTo>
                  <a:pt x="475" y="2277"/>
                </a:lnTo>
                <a:lnTo>
                  <a:pt x="477" y="2281"/>
                </a:lnTo>
                <a:lnTo>
                  <a:pt x="478" y="2285"/>
                </a:lnTo>
                <a:lnTo>
                  <a:pt x="479" y="2289"/>
                </a:lnTo>
                <a:lnTo>
                  <a:pt x="480" y="2294"/>
                </a:lnTo>
                <a:lnTo>
                  <a:pt x="481" y="2299"/>
                </a:lnTo>
                <a:lnTo>
                  <a:pt x="481" y="2305"/>
                </a:lnTo>
                <a:lnTo>
                  <a:pt x="480" y="2322"/>
                </a:lnTo>
                <a:lnTo>
                  <a:pt x="479" y="2337"/>
                </a:lnTo>
                <a:lnTo>
                  <a:pt x="478" y="2352"/>
                </a:lnTo>
                <a:lnTo>
                  <a:pt x="476" y="2368"/>
                </a:lnTo>
                <a:lnTo>
                  <a:pt x="473" y="2383"/>
                </a:lnTo>
                <a:lnTo>
                  <a:pt x="470" y="2398"/>
                </a:lnTo>
                <a:lnTo>
                  <a:pt x="467" y="2413"/>
                </a:lnTo>
                <a:lnTo>
                  <a:pt x="463" y="2427"/>
                </a:lnTo>
                <a:lnTo>
                  <a:pt x="458" y="2442"/>
                </a:lnTo>
                <a:lnTo>
                  <a:pt x="454" y="2455"/>
                </a:lnTo>
                <a:lnTo>
                  <a:pt x="447" y="2468"/>
                </a:lnTo>
                <a:lnTo>
                  <a:pt x="442" y="2481"/>
                </a:lnTo>
                <a:lnTo>
                  <a:pt x="435" y="2495"/>
                </a:lnTo>
                <a:lnTo>
                  <a:pt x="429" y="2507"/>
                </a:lnTo>
                <a:lnTo>
                  <a:pt x="422" y="2518"/>
                </a:lnTo>
                <a:lnTo>
                  <a:pt x="415" y="2529"/>
                </a:lnTo>
                <a:lnTo>
                  <a:pt x="407" y="2540"/>
                </a:lnTo>
                <a:lnTo>
                  <a:pt x="399" y="2550"/>
                </a:lnTo>
                <a:lnTo>
                  <a:pt x="391" y="2561"/>
                </a:lnTo>
                <a:lnTo>
                  <a:pt x="381" y="2570"/>
                </a:lnTo>
                <a:lnTo>
                  <a:pt x="372" y="2578"/>
                </a:lnTo>
                <a:lnTo>
                  <a:pt x="363" y="2586"/>
                </a:lnTo>
                <a:lnTo>
                  <a:pt x="353" y="2593"/>
                </a:lnTo>
                <a:lnTo>
                  <a:pt x="343" y="2600"/>
                </a:lnTo>
                <a:lnTo>
                  <a:pt x="332" y="2606"/>
                </a:lnTo>
                <a:lnTo>
                  <a:pt x="321" y="2612"/>
                </a:lnTo>
                <a:lnTo>
                  <a:pt x="310" y="2616"/>
                </a:lnTo>
                <a:lnTo>
                  <a:pt x="299" y="2620"/>
                </a:lnTo>
                <a:lnTo>
                  <a:pt x="287" y="2623"/>
                </a:lnTo>
                <a:lnTo>
                  <a:pt x="276" y="2625"/>
                </a:lnTo>
                <a:lnTo>
                  <a:pt x="263" y="2626"/>
                </a:lnTo>
                <a:lnTo>
                  <a:pt x="251" y="2627"/>
                </a:lnTo>
                <a:close/>
                <a:moveTo>
                  <a:pt x="638" y="2621"/>
                </a:moveTo>
                <a:lnTo>
                  <a:pt x="636" y="2621"/>
                </a:lnTo>
                <a:lnTo>
                  <a:pt x="634" y="2620"/>
                </a:lnTo>
                <a:lnTo>
                  <a:pt x="628" y="2617"/>
                </a:lnTo>
                <a:lnTo>
                  <a:pt x="622" y="2613"/>
                </a:lnTo>
                <a:lnTo>
                  <a:pt x="614" y="2607"/>
                </a:lnTo>
                <a:lnTo>
                  <a:pt x="602" y="2596"/>
                </a:lnTo>
                <a:lnTo>
                  <a:pt x="587" y="2582"/>
                </a:lnTo>
                <a:lnTo>
                  <a:pt x="569" y="2566"/>
                </a:lnTo>
                <a:lnTo>
                  <a:pt x="553" y="2548"/>
                </a:lnTo>
                <a:lnTo>
                  <a:pt x="537" y="2531"/>
                </a:lnTo>
                <a:lnTo>
                  <a:pt x="523" y="2515"/>
                </a:lnTo>
                <a:lnTo>
                  <a:pt x="511" y="2501"/>
                </a:lnTo>
                <a:lnTo>
                  <a:pt x="506" y="2494"/>
                </a:lnTo>
                <a:lnTo>
                  <a:pt x="502" y="2488"/>
                </a:lnTo>
                <a:lnTo>
                  <a:pt x="497" y="2478"/>
                </a:lnTo>
                <a:lnTo>
                  <a:pt x="493" y="2468"/>
                </a:lnTo>
                <a:lnTo>
                  <a:pt x="491" y="2458"/>
                </a:lnTo>
                <a:lnTo>
                  <a:pt x="490" y="2448"/>
                </a:lnTo>
                <a:lnTo>
                  <a:pt x="491" y="2443"/>
                </a:lnTo>
                <a:lnTo>
                  <a:pt x="491" y="2437"/>
                </a:lnTo>
                <a:lnTo>
                  <a:pt x="493" y="2430"/>
                </a:lnTo>
                <a:lnTo>
                  <a:pt x="495" y="2424"/>
                </a:lnTo>
                <a:lnTo>
                  <a:pt x="497" y="2418"/>
                </a:lnTo>
                <a:lnTo>
                  <a:pt x="501" y="2412"/>
                </a:lnTo>
                <a:lnTo>
                  <a:pt x="504" y="2405"/>
                </a:lnTo>
                <a:lnTo>
                  <a:pt x="509" y="2398"/>
                </a:lnTo>
                <a:lnTo>
                  <a:pt x="518" y="2387"/>
                </a:lnTo>
                <a:lnTo>
                  <a:pt x="529" y="2374"/>
                </a:lnTo>
                <a:lnTo>
                  <a:pt x="559" y="2339"/>
                </a:lnTo>
                <a:lnTo>
                  <a:pt x="595" y="2299"/>
                </a:lnTo>
                <a:lnTo>
                  <a:pt x="631" y="2259"/>
                </a:lnTo>
                <a:lnTo>
                  <a:pt x="632" y="2258"/>
                </a:lnTo>
                <a:lnTo>
                  <a:pt x="635" y="2258"/>
                </a:lnTo>
                <a:lnTo>
                  <a:pt x="639" y="2258"/>
                </a:lnTo>
                <a:lnTo>
                  <a:pt x="643" y="2260"/>
                </a:lnTo>
                <a:lnTo>
                  <a:pt x="647" y="2261"/>
                </a:lnTo>
                <a:lnTo>
                  <a:pt x="651" y="2264"/>
                </a:lnTo>
                <a:lnTo>
                  <a:pt x="656" y="2267"/>
                </a:lnTo>
                <a:lnTo>
                  <a:pt x="660" y="2271"/>
                </a:lnTo>
                <a:lnTo>
                  <a:pt x="663" y="2275"/>
                </a:lnTo>
                <a:lnTo>
                  <a:pt x="666" y="2280"/>
                </a:lnTo>
                <a:lnTo>
                  <a:pt x="667" y="2284"/>
                </a:lnTo>
                <a:lnTo>
                  <a:pt x="668" y="2289"/>
                </a:lnTo>
                <a:lnTo>
                  <a:pt x="667" y="2295"/>
                </a:lnTo>
                <a:lnTo>
                  <a:pt x="665" y="2300"/>
                </a:lnTo>
                <a:lnTo>
                  <a:pt x="663" y="2306"/>
                </a:lnTo>
                <a:lnTo>
                  <a:pt x="659" y="2313"/>
                </a:lnTo>
                <a:lnTo>
                  <a:pt x="650" y="2323"/>
                </a:lnTo>
                <a:lnTo>
                  <a:pt x="639" y="2336"/>
                </a:lnTo>
                <a:lnTo>
                  <a:pt x="609" y="2369"/>
                </a:lnTo>
                <a:lnTo>
                  <a:pt x="579" y="2404"/>
                </a:lnTo>
                <a:lnTo>
                  <a:pt x="566" y="2418"/>
                </a:lnTo>
                <a:lnTo>
                  <a:pt x="557" y="2430"/>
                </a:lnTo>
                <a:lnTo>
                  <a:pt x="555" y="2434"/>
                </a:lnTo>
                <a:lnTo>
                  <a:pt x="553" y="2438"/>
                </a:lnTo>
                <a:lnTo>
                  <a:pt x="552" y="2442"/>
                </a:lnTo>
                <a:lnTo>
                  <a:pt x="551" y="2445"/>
                </a:lnTo>
                <a:lnTo>
                  <a:pt x="552" y="2450"/>
                </a:lnTo>
                <a:lnTo>
                  <a:pt x="553" y="2454"/>
                </a:lnTo>
                <a:lnTo>
                  <a:pt x="555" y="2458"/>
                </a:lnTo>
                <a:lnTo>
                  <a:pt x="558" y="2463"/>
                </a:lnTo>
                <a:lnTo>
                  <a:pt x="566" y="2472"/>
                </a:lnTo>
                <a:lnTo>
                  <a:pt x="577" y="2484"/>
                </a:lnTo>
                <a:lnTo>
                  <a:pt x="604" y="2514"/>
                </a:lnTo>
                <a:lnTo>
                  <a:pt x="637" y="2546"/>
                </a:lnTo>
                <a:lnTo>
                  <a:pt x="668" y="2577"/>
                </a:lnTo>
                <a:lnTo>
                  <a:pt x="670" y="2579"/>
                </a:lnTo>
                <a:lnTo>
                  <a:pt x="672" y="2581"/>
                </a:lnTo>
                <a:lnTo>
                  <a:pt x="672" y="2584"/>
                </a:lnTo>
                <a:lnTo>
                  <a:pt x="673" y="2586"/>
                </a:lnTo>
                <a:lnTo>
                  <a:pt x="672" y="2592"/>
                </a:lnTo>
                <a:lnTo>
                  <a:pt x="671" y="2595"/>
                </a:lnTo>
                <a:lnTo>
                  <a:pt x="670" y="2597"/>
                </a:lnTo>
                <a:lnTo>
                  <a:pt x="666" y="2603"/>
                </a:lnTo>
                <a:lnTo>
                  <a:pt x="664" y="2606"/>
                </a:lnTo>
                <a:lnTo>
                  <a:pt x="661" y="2608"/>
                </a:lnTo>
                <a:lnTo>
                  <a:pt x="656" y="2614"/>
                </a:lnTo>
                <a:lnTo>
                  <a:pt x="653" y="2616"/>
                </a:lnTo>
                <a:lnTo>
                  <a:pt x="650" y="2618"/>
                </a:lnTo>
                <a:lnTo>
                  <a:pt x="644" y="2620"/>
                </a:lnTo>
                <a:lnTo>
                  <a:pt x="641" y="2621"/>
                </a:lnTo>
                <a:lnTo>
                  <a:pt x="638" y="2621"/>
                </a:lnTo>
                <a:close/>
                <a:moveTo>
                  <a:pt x="4080" y="639"/>
                </a:moveTo>
                <a:lnTo>
                  <a:pt x="4073" y="639"/>
                </a:lnTo>
                <a:lnTo>
                  <a:pt x="4065" y="639"/>
                </a:lnTo>
                <a:lnTo>
                  <a:pt x="4058" y="637"/>
                </a:lnTo>
                <a:lnTo>
                  <a:pt x="4049" y="636"/>
                </a:lnTo>
                <a:lnTo>
                  <a:pt x="4042" y="634"/>
                </a:lnTo>
                <a:lnTo>
                  <a:pt x="4035" y="632"/>
                </a:lnTo>
                <a:lnTo>
                  <a:pt x="4021" y="625"/>
                </a:lnTo>
                <a:lnTo>
                  <a:pt x="4008" y="618"/>
                </a:lnTo>
                <a:lnTo>
                  <a:pt x="4002" y="613"/>
                </a:lnTo>
                <a:lnTo>
                  <a:pt x="3996" y="609"/>
                </a:lnTo>
                <a:lnTo>
                  <a:pt x="3989" y="604"/>
                </a:lnTo>
                <a:lnTo>
                  <a:pt x="3983" y="599"/>
                </a:lnTo>
                <a:lnTo>
                  <a:pt x="3978" y="593"/>
                </a:lnTo>
                <a:lnTo>
                  <a:pt x="3973" y="588"/>
                </a:lnTo>
                <a:lnTo>
                  <a:pt x="3968" y="582"/>
                </a:lnTo>
                <a:lnTo>
                  <a:pt x="3963" y="575"/>
                </a:lnTo>
                <a:lnTo>
                  <a:pt x="3959" y="568"/>
                </a:lnTo>
                <a:lnTo>
                  <a:pt x="3955" y="561"/>
                </a:lnTo>
                <a:lnTo>
                  <a:pt x="3951" y="554"/>
                </a:lnTo>
                <a:lnTo>
                  <a:pt x="3947" y="546"/>
                </a:lnTo>
                <a:lnTo>
                  <a:pt x="3944" y="539"/>
                </a:lnTo>
                <a:lnTo>
                  <a:pt x="3941" y="531"/>
                </a:lnTo>
                <a:lnTo>
                  <a:pt x="3938" y="523"/>
                </a:lnTo>
                <a:lnTo>
                  <a:pt x="3936" y="515"/>
                </a:lnTo>
                <a:lnTo>
                  <a:pt x="3934" y="505"/>
                </a:lnTo>
                <a:lnTo>
                  <a:pt x="3932" y="497"/>
                </a:lnTo>
                <a:lnTo>
                  <a:pt x="3931" y="488"/>
                </a:lnTo>
                <a:lnTo>
                  <a:pt x="3929" y="479"/>
                </a:lnTo>
                <a:lnTo>
                  <a:pt x="3928" y="470"/>
                </a:lnTo>
                <a:lnTo>
                  <a:pt x="3928" y="461"/>
                </a:lnTo>
                <a:lnTo>
                  <a:pt x="3929" y="441"/>
                </a:lnTo>
                <a:lnTo>
                  <a:pt x="3931" y="432"/>
                </a:lnTo>
                <a:lnTo>
                  <a:pt x="3932" y="423"/>
                </a:lnTo>
                <a:lnTo>
                  <a:pt x="3934" y="414"/>
                </a:lnTo>
                <a:lnTo>
                  <a:pt x="3936" y="405"/>
                </a:lnTo>
                <a:lnTo>
                  <a:pt x="3939" y="396"/>
                </a:lnTo>
                <a:lnTo>
                  <a:pt x="3941" y="387"/>
                </a:lnTo>
                <a:lnTo>
                  <a:pt x="3944" y="378"/>
                </a:lnTo>
                <a:lnTo>
                  <a:pt x="3948" y="370"/>
                </a:lnTo>
                <a:lnTo>
                  <a:pt x="3952" y="362"/>
                </a:lnTo>
                <a:lnTo>
                  <a:pt x="3956" y="354"/>
                </a:lnTo>
                <a:lnTo>
                  <a:pt x="3960" y="347"/>
                </a:lnTo>
                <a:lnTo>
                  <a:pt x="3965" y="339"/>
                </a:lnTo>
                <a:lnTo>
                  <a:pt x="3975" y="325"/>
                </a:lnTo>
                <a:lnTo>
                  <a:pt x="3981" y="318"/>
                </a:lnTo>
                <a:lnTo>
                  <a:pt x="3986" y="312"/>
                </a:lnTo>
                <a:lnTo>
                  <a:pt x="4000" y="301"/>
                </a:lnTo>
                <a:lnTo>
                  <a:pt x="4006" y="295"/>
                </a:lnTo>
                <a:lnTo>
                  <a:pt x="4013" y="291"/>
                </a:lnTo>
                <a:lnTo>
                  <a:pt x="4020" y="286"/>
                </a:lnTo>
                <a:lnTo>
                  <a:pt x="4027" y="282"/>
                </a:lnTo>
                <a:lnTo>
                  <a:pt x="4034" y="278"/>
                </a:lnTo>
                <a:lnTo>
                  <a:pt x="4041" y="275"/>
                </a:lnTo>
                <a:lnTo>
                  <a:pt x="4049" y="273"/>
                </a:lnTo>
                <a:lnTo>
                  <a:pt x="4058" y="269"/>
                </a:lnTo>
                <a:lnTo>
                  <a:pt x="4066" y="268"/>
                </a:lnTo>
                <a:lnTo>
                  <a:pt x="4074" y="266"/>
                </a:lnTo>
                <a:lnTo>
                  <a:pt x="4082" y="265"/>
                </a:lnTo>
                <a:lnTo>
                  <a:pt x="4090" y="265"/>
                </a:lnTo>
                <a:lnTo>
                  <a:pt x="4100" y="266"/>
                </a:lnTo>
                <a:lnTo>
                  <a:pt x="4105" y="266"/>
                </a:lnTo>
                <a:lnTo>
                  <a:pt x="4111" y="267"/>
                </a:lnTo>
                <a:lnTo>
                  <a:pt x="4115" y="268"/>
                </a:lnTo>
                <a:lnTo>
                  <a:pt x="4120" y="269"/>
                </a:lnTo>
                <a:lnTo>
                  <a:pt x="4128" y="273"/>
                </a:lnTo>
                <a:lnTo>
                  <a:pt x="4136" y="277"/>
                </a:lnTo>
                <a:lnTo>
                  <a:pt x="4144" y="282"/>
                </a:lnTo>
                <a:lnTo>
                  <a:pt x="4150" y="287"/>
                </a:lnTo>
                <a:lnTo>
                  <a:pt x="4156" y="293"/>
                </a:lnTo>
                <a:lnTo>
                  <a:pt x="4159" y="297"/>
                </a:lnTo>
                <a:lnTo>
                  <a:pt x="4162" y="300"/>
                </a:lnTo>
                <a:lnTo>
                  <a:pt x="4166" y="307"/>
                </a:lnTo>
                <a:lnTo>
                  <a:pt x="4171" y="315"/>
                </a:lnTo>
                <a:lnTo>
                  <a:pt x="4175" y="323"/>
                </a:lnTo>
                <a:lnTo>
                  <a:pt x="4177" y="333"/>
                </a:lnTo>
                <a:lnTo>
                  <a:pt x="4179" y="342"/>
                </a:lnTo>
                <a:lnTo>
                  <a:pt x="4180" y="352"/>
                </a:lnTo>
                <a:lnTo>
                  <a:pt x="4181" y="362"/>
                </a:lnTo>
                <a:lnTo>
                  <a:pt x="4180" y="374"/>
                </a:lnTo>
                <a:lnTo>
                  <a:pt x="4179" y="380"/>
                </a:lnTo>
                <a:lnTo>
                  <a:pt x="4178" y="386"/>
                </a:lnTo>
                <a:lnTo>
                  <a:pt x="4174" y="399"/>
                </a:lnTo>
                <a:lnTo>
                  <a:pt x="4168" y="411"/>
                </a:lnTo>
                <a:lnTo>
                  <a:pt x="4162" y="422"/>
                </a:lnTo>
                <a:lnTo>
                  <a:pt x="4154" y="433"/>
                </a:lnTo>
                <a:lnTo>
                  <a:pt x="4150" y="438"/>
                </a:lnTo>
                <a:lnTo>
                  <a:pt x="4146" y="442"/>
                </a:lnTo>
                <a:lnTo>
                  <a:pt x="4137" y="453"/>
                </a:lnTo>
                <a:lnTo>
                  <a:pt x="4127" y="461"/>
                </a:lnTo>
                <a:lnTo>
                  <a:pt x="4122" y="465"/>
                </a:lnTo>
                <a:lnTo>
                  <a:pt x="4116" y="469"/>
                </a:lnTo>
                <a:lnTo>
                  <a:pt x="4104" y="475"/>
                </a:lnTo>
                <a:lnTo>
                  <a:pt x="4092" y="481"/>
                </a:lnTo>
                <a:lnTo>
                  <a:pt x="4080" y="486"/>
                </a:lnTo>
                <a:lnTo>
                  <a:pt x="4074" y="487"/>
                </a:lnTo>
                <a:lnTo>
                  <a:pt x="4068" y="489"/>
                </a:lnTo>
                <a:lnTo>
                  <a:pt x="4062" y="490"/>
                </a:lnTo>
                <a:lnTo>
                  <a:pt x="4055" y="491"/>
                </a:lnTo>
                <a:lnTo>
                  <a:pt x="4042" y="492"/>
                </a:lnTo>
                <a:lnTo>
                  <a:pt x="4036" y="491"/>
                </a:lnTo>
                <a:lnTo>
                  <a:pt x="4031" y="489"/>
                </a:lnTo>
                <a:lnTo>
                  <a:pt x="4027" y="486"/>
                </a:lnTo>
                <a:lnTo>
                  <a:pt x="4025" y="485"/>
                </a:lnTo>
                <a:lnTo>
                  <a:pt x="4023" y="483"/>
                </a:lnTo>
                <a:lnTo>
                  <a:pt x="4020" y="478"/>
                </a:lnTo>
                <a:lnTo>
                  <a:pt x="4018" y="473"/>
                </a:lnTo>
                <a:lnTo>
                  <a:pt x="4017" y="470"/>
                </a:lnTo>
                <a:lnTo>
                  <a:pt x="4016" y="467"/>
                </a:lnTo>
                <a:lnTo>
                  <a:pt x="4016" y="460"/>
                </a:lnTo>
                <a:lnTo>
                  <a:pt x="4016" y="458"/>
                </a:lnTo>
                <a:lnTo>
                  <a:pt x="4016" y="455"/>
                </a:lnTo>
                <a:lnTo>
                  <a:pt x="4017" y="449"/>
                </a:lnTo>
                <a:lnTo>
                  <a:pt x="4018" y="447"/>
                </a:lnTo>
                <a:lnTo>
                  <a:pt x="4019" y="445"/>
                </a:lnTo>
                <a:lnTo>
                  <a:pt x="4021" y="443"/>
                </a:lnTo>
                <a:lnTo>
                  <a:pt x="4023" y="442"/>
                </a:lnTo>
                <a:lnTo>
                  <a:pt x="4034" y="440"/>
                </a:lnTo>
                <a:lnTo>
                  <a:pt x="4044" y="438"/>
                </a:lnTo>
                <a:lnTo>
                  <a:pt x="4055" y="434"/>
                </a:lnTo>
                <a:lnTo>
                  <a:pt x="4065" y="430"/>
                </a:lnTo>
                <a:lnTo>
                  <a:pt x="4074" y="426"/>
                </a:lnTo>
                <a:lnTo>
                  <a:pt x="4082" y="421"/>
                </a:lnTo>
                <a:lnTo>
                  <a:pt x="4090" y="415"/>
                </a:lnTo>
                <a:lnTo>
                  <a:pt x="4094" y="412"/>
                </a:lnTo>
                <a:lnTo>
                  <a:pt x="4097" y="409"/>
                </a:lnTo>
                <a:lnTo>
                  <a:pt x="4104" y="403"/>
                </a:lnTo>
                <a:lnTo>
                  <a:pt x="4111" y="397"/>
                </a:lnTo>
                <a:lnTo>
                  <a:pt x="4116" y="389"/>
                </a:lnTo>
                <a:lnTo>
                  <a:pt x="4120" y="382"/>
                </a:lnTo>
                <a:lnTo>
                  <a:pt x="4123" y="375"/>
                </a:lnTo>
                <a:lnTo>
                  <a:pt x="4125" y="368"/>
                </a:lnTo>
                <a:lnTo>
                  <a:pt x="4127" y="361"/>
                </a:lnTo>
                <a:lnTo>
                  <a:pt x="4127" y="354"/>
                </a:lnTo>
                <a:lnTo>
                  <a:pt x="4127" y="346"/>
                </a:lnTo>
                <a:lnTo>
                  <a:pt x="4125" y="338"/>
                </a:lnTo>
                <a:lnTo>
                  <a:pt x="4123" y="335"/>
                </a:lnTo>
                <a:lnTo>
                  <a:pt x="4121" y="332"/>
                </a:lnTo>
                <a:lnTo>
                  <a:pt x="4119" y="328"/>
                </a:lnTo>
                <a:lnTo>
                  <a:pt x="4117" y="326"/>
                </a:lnTo>
                <a:lnTo>
                  <a:pt x="4111" y="322"/>
                </a:lnTo>
                <a:lnTo>
                  <a:pt x="4107" y="320"/>
                </a:lnTo>
                <a:lnTo>
                  <a:pt x="4103" y="318"/>
                </a:lnTo>
                <a:lnTo>
                  <a:pt x="4095" y="317"/>
                </a:lnTo>
                <a:lnTo>
                  <a:pt x="4091" y="316"/>
                </a:lnTo>
                <a:lnTo>
                  <a:pt x="4086" y="316"/>
                </a:lnTo>
                <a:lnTo>
                  <a:pt x="4077" y="317"/>
                </a:lnTo>
                <a:lnTo>
                  <a:pt x="4073" y="318"/>
                </a:lnTo>
                <a:lnTo>
                  <a:pt x="4069" y="319"/>
                </a:lnTo>
                <a:lnTo>
                  <a:pt x="4064" y="320"/>
                </a:lnTo>
                <a:lnTo>
                  <a:pt x="4060" y="322"/>
                </a:lnTo>
                <a:lnTo>
                  <a:pt x="4055" y="324"/>
                </a:lnTo>
                <a:lnTo>
                  <a:pt x="4051" y="327"/>
                </a:lnTo>
                <a:lnTo>
                  <a:pt x="4046" y="330"/>
                </a:lnTo>
                <a:lnTo>
                  <a:pt x="4041" y="334"/>
                </a:lnTo>
                <a:lnTo>
                  <a:pt x="4033" y="341"/>
                </a:lnTo>
                <a:lnTo>
                  <a:pt x="4025" y="349"/>
                </a:lnTo>
                <a:lnTo>
                  <a:pt x="4018" y="358"/>
                </a:lnTo>
                <a:lnTo>
                  <a:pt x="4014" y="363"/>
                </a:lnTo>
                <a:lnTo>
                  <a:pt x="4011" y="368"/>
                </a:lnTo>
                <a:lnTo>
                  <a:pt x="4005" y="379"/>
                </a:lnTo>
                <a:lnTo>
                  <a:pt x="3999" y="390"/>
                </a:lnTo>
                <a:lnTo>
                  <a:pt x="3995" y="403"/>
                </a:lnTo>
                <a:lnTo>
                  <a:pt x="3991" y="416"/>
                </a:lnTo>
                <a:lnTo>
                  <a:pt x="3987" y="430"/>
                </a:lnTo>
                <a:lnTo>
                  <a:pt x="3985" y="443"/>
                </a:lnTo>
                <a:lnTo>
                  <a:pt x="3985" y="450"/>
                </a:lnTo>
                <a:lnTo>
                  <a:pt x="3985" y="459"/>
                </a:lnTo>
                <a:lnTo>
                  <a:pt x="3985" y="471"/>
                </a:lnTo>
                <a:lnTo>
                  <a:pt x="3986" y="483"/>
                </a:lnTo>
                <a:lnTo>
                  <a:pt x="3988" y="495"/>
                </a:lnTo>
                <a:lnTo>
                  <a:pt x="3991" y="501"/>
                </a:lnTo>
                <a:lnTo>
                  <a:pt x="3992" y="506"/>
                </a:lnTo>
                <a:lnTo>
                  <a:pt x="3996" y="518"/>
                </a:lnTo>
                <a:lnTo>
                  <a:pt x="3998" y="523"/>
                </a:lnTo>
                <a:lnTo>
                  <a:pt x="4001" y="527"/>
                </a:lnTo>
                <a:lnTo>
                  <a:pt x="4003" y="532"/>
                </a:lnTo>
                <a:lnTo>
                  <a:pt x="4006" y="536"/>
                </a:lnTo>
                <a:lnTo>
                  <a:pt x="4009" y="541"/>
                </a:lnTo>
                <a:lnTo>
                  <a:pt x="4012" y="545"/>
                </a:lnTo>
                <a:lnTo>
                  <a:pt x="4015" y="548"/>
                </a:lnTo>
                <a:lnTo>
                  <a:pt x="4018" y="552"/>
                </a:lnTo>
                <a:lnTo>
                  <a:pt x="4026" y="559"/>
                </a:lnTo>
                <a:lnTo>
                  <a:pt x="4033" y="564"/>
                </a:lnTo>
                <a:lnTo>
                  <a:pt x="4042" y="569"/>
                </a:lnTo>
                <a:lnTo>
                  <a:pt x="4052" y="574"/>
                </a:lnTo>
                <a:lnTo>
                  <a:pt x="4062" y="577"/>
                </a:lnTo>
                <a:lnTo>
                  <a:pt x="4072" y="579"/>
                </a:lnTo>
                <a:lnTo>
                  <a:pt x="4077" y="579"/>
                </a:lnTo>
                <a:lnTo>
                  <a:pt x="4082" y="579"/>
                </a:lnTo>
                <a:lnTo>
                  <a:pt x="4093" y="579"/>
                </a:lnTo>
                <a:lnTo>
                  <a:pt x="4103" y="577"/>
                </a:lnTo>
                <a:lnTo>
                  <a:pt x="4114" y="575"/>
                </a:lnTo>
                <a:lnTo>
                  <a:pt x="4124" y="570"/>
                </a:lnTo>
                <a:lnTo>
                  <a:pt x="4133" y="566"/>
                </a:lnTo>
                <a:lnTo>
                  <a:pt x="4142" y="561"/>
                </a:lnTo>
                <a:lnTo>
                  <a:pt x="4150" y="555"/>
                </a:lnTo>
                <a:lnTo>
                  <a:pt x="4159" y="549"/>
                </a:lnTo>
                <a:lnTo>
                  <a:pt x="4167" y="541"/>
                </a:lnTo>
                <a:lnTo>
                  <a:pt x="4175" y="534"/>
                </a:lnTo>
                <a:lnTo>
                  <a:pt x="4183" y="525"/>
                </a:lnTo>
                <a:lnTo>
                  <a:pt x="4190" y="516"/>
                </a:lnTo>
                <a:lnTo>
                  <a:pt x="4202" y="496"/>
                </a:lnTo>
                <a:lnTo>
                  <a:pt x="4208" y="485"/>
                </a:lnTo>
                <a:lnTo>
                  <a:pt x="4214" y="475"/>
                </a:lnTo>
                <a:lnTo>
                  <a:pt x="4219" y="464"/>
                </a:lnTo>
                <a:lnTo>
                  <a:pt x="4224" y="452"/>
                </a:lnTo>
                <a:lnTo>
                  <a:pt x="4228" y="440"/>
                </a:lnTo>
                <a:lnTo>
                  <a:pt x="4234" y="428"/>
                </a:lnTo>
                <a:lnTo>
                  <a:pt x="4237" y="416"/>
                </a:lnTo>
                <a:lnTo>
                  <a:pt x="4241" y="404"/>
                </a:lnTo>
                <a:lnTo>
                  <a:pt x="4244" y="392"/>
                </a:lnTo>
                <a:lnTo>
                  <a:pt x="4246" y="379"/>
                </a:lnTo>
                <a:lnTo>
                  <a:pt x="4249" y="367"/>
                </a:lnTo>
                <a:lnTo>
                  <a:pt x="4250" y="355"/>
                </a:lnTo>
                <a:lnTo>
                  <a:pt x="4252" y="343"/>
                </a:lnTo>
                <a:lnTo>
                  <a:pt x="4253" y="332"/>
                </a:lnTo>
                <a:lnTo>
                  <a:pt x="4254" y="320"/>
                </a:lnTo>
                <a:lnTo>
                  <a:pt x="4254" y="308"/>
                </a:lnTo>
                <a:lnTo>
                  <a:pt x="4254" y="298"/>
                </a:lnTo>
                <a:lnTo>
                  <a:pt x="4253" y="287"/>
                </a:lnTo>
                <a:lnTo>
                  <a:pt x="4254" y="285"/>
                </a:lnTo>
                <a:lnTo>
                  <a:pt x="4256" y="283"/>
                </a:lnTo>
                <a:lnTo>
                  <a:pt x="4258" y="281"/>
                </a:lnTo>
                <a:lnTo>
                  <a:pt x="4261" y="279"/>
                </a:lnTo>
                <a:lnTo>
                  <a:pt x="4268" y="276"/>
                </a:lnTo>
                <a:lnTo>
                  <a:pt x="4272" y="275"/>
                </a:lnTo>
                <a:lnTo>
                  <a:pt x="4276" y="275"/>
                </a:lnTo>
                <a:lnTo>
                  <a:pt x="4283" y="276"/>
                </a:lnTo>
                <a:lnTo>
                  <a:pt x="4286" y="276"/>
                </a:lnTo>
                <a:lnTo>
                  <a:pt x="4289" y="277"/>
                </a:lnTo>
                <a:lnTo>
                  <a:pt x="4296" y="280"/>
                </a:lnTo>
                <a:lnTo>
                  <a:pt x="4299" y="282"/>
                </a:lnTo>
                <a:lnTo>
                  <a:pt x="4301" y="284"/>
                </a:lnTo>
                <a:lnTo>
                  <a:pt x="4305" y="290"/>
                </a:lnTo>
                <a:lnTo>
                  <a:pt x="4307" y="294"/>
                </a:lnTo>
                <a:lnTo>
                  <a:pt x="4308" y="297"/>
                </a:lnTo>
                <a:lnTo>
                  <a:pt x="4309" y="302"/>
                </a:lnTo>
                <a:lnTo>
                  <a:pt x="4310" y="307"/>
                </a:lnTo>
                <a:lnTo>
                  <a:pt x="4310" y="312"/>
                </a:lnTo>
                <a:lnTo>
                  <a:pt x="4311" y="318"/>
                </a:lnTo>
                <a:lnTo>
                  <a:pt x="4310" y="334"/>
                </a:lnTo>
                <a:lnTo>
                  <a:pt x="4309" y="350"/>
                </a:lnTo>
                <a:lnTo>
                  <a:pt x="4308" y="365"/>
                </a:lnTo>
                <a:lnTo>
                  <a:pt x="4306" y="380"/>
                </a:lnTo>
                <a:lnTo>
                  <a:pt x="4303" y="396"/>
                </a:lnTo>
                <a:lnTo>
                  <a:pt x="4300" y="411"/>
                </a:lnTo>
                <a:lnTo>
                  <a:pt x="4297" y="425"/>
                </a:lnTo>
                <a:lnTo>
                  <a:pt x="4293" y="439"/>
                </a:lnTo>
                <a:lnTo>
                  <a:pt x="4287" y="454"/>
                </a:lnTo>
                <a:lnTo>
                  <a:pt x="4282" y="468"/>
                </a:lnTo>
                <a:lnTo>
                  <a:pt x="4277" y="481"/>
                </a:lnTo>
                <a:lnTo>
                  <a:pt x="4271" y="494"/>
                </a:lnTo>
                <a:lnTo>
                  <a:pt x="4265" y="506"/>
                </a:lnTo>
                <a:lnTo>
                  <a:pt x="4259" y="519"/>
                </a:lnTo>
                <a:lnTo>
                  <a:pt x="4252" y="531"/>
                </a:lnTo>
                <a:lnTo>
                  <a:pt x="4245" y="542"/>
                </a:lnTo>
                <a:lnTo>
                  <a:pt x="4237" y="553"/>
                </a:lnTo>
                <a:lnTo>
                  <a:pt x="4228" y="563"/>
                </a:lnTo>
                <a:lnTo>
                  <a:pt x="4220" y="573"/>
                </a:lnTo>
                <a:lnTo>
                  <a:pt x="4211" y="582"/>
                </a:lnTo>
                <a:lnTo>
                  <a:pt x="4202" y="591"/>
                </a:lnTo>
                <a:lnTo>
                  <a:pt x="4192" y="599"/>
                </a:lnTo>
                <a:lnTo>
                  <a:pt x="4183" y="606"/>
                </a:lnTo>
                <a:lnTo>
                  <a:pt x="4173" y="612"/>
                </a:lnTo>
                <a:lnTo>
                  <a:pt x="4161" y="618"/>
                </a:lnTo>
                <a:lnTo>
                  <a:pt x="4151" y="624"/>
                </a:lnTo>
                <a:lnTo>
                  <a:pt x="4140" y="628"/>
                </a:lnTo>
                <a:lnTo>
                  <a:pt x="4129" y="633"/>
                </a:lnTo>
                <a:lnTo>
                  <a:pt x="4117" y="636"/>
                </a:lnTo>
                <a:lnTo>
                  <a:pt x="4105" y="638"/>
                </a:lnTo>
                <a:lnTo>
                  <a:pt x="4093" y="639"/>
                </a:lnTo>
                <a:lnTo>
                  <a:pt x="4080" y="639"/>
                </a:lnTo>
                <a:close/>
                <a:moveTo>
                  <a:pt x="4467" y="634"/>
                </a:moveTo>
                <a:lnTo>
                  <a:pt x="4465" y="633"/>
                </a:lnTo>
                <a:lnTo>
                  <a:pt x="4463" y="633"/>
                </a:lnTo>
                <a:lnTo>
                  <a:pt x="4458" y="629"/>
                </a:lnTo>
                <a:lnTo>
                  <a:pt x="4451" y="625"/>
                </a:lnTo>
                <a:lnTo>
                  <a:pt x="4444" y="619"/>
                </a:lnTo>
                <a:lnTo>
                  <a:pt x="4431" y="608"/>
                </a:lnTo>
                <a:lnTo>
                  <a:pt x="4416" y="595"/>
                </a:lnTo>
                <a:lnTo>
                  <a:pt x="4399" y="579"/>
                </a:lnTo>
                <a:lnTo>
                  <a:pt x="4383" y="561"/>
                </a:lnTo>
                <a:lnTo>
                  <a:pt x="4367" y="544"/>
                </a:lnTo>
                <a:lnTo>
                  <a:pt x="4352" y="527"/>
                </a:lnTo>
                <a:lnTo>
                  <a:pt x="4340" y="513"/>
                </a:lnTo>
                <a:lnTo>
                  <a:pt x="4336" y="506"/>
                </a:lnTo>
                <a:lnTo>
                  <a:pt x="4332" y="501"/>
                </a:lnTo>
                <a:lnTo>
                  <a:pt x="4327" y="490"/>
                </a:lnTo>
                <a:lnTo>
                  <a:pt x="4323" y="481"/>
                </a:lnTo>
                <a:lnTo>
                  <a:pt x="4321" y="471"/>
                </a:lnTo>
                <a:lnTo>
                  <a:pt x="4320" y="461"/>
                </a:lnTo>
                <a:lnTo>
                  <a:pt x="4320" y="456"/>
                </a:lnTo>
                <a:lnTo>
                  <a:pt x="4321" y="449"/>
                </a:lnTo>
                <a:lnTo>
                  <a:pt x="4323" y="443"/>
                </a:lnTo>
                <a:lnTo>
                  <a:pt x="4325" y="437"/>
                </a:lnTo>
                <a:lnTo>
                  <a:pt x="4327" y="431"/>
                </a:lnTo>
                <a:lnTo>
                  <a:pt x="4330" y="424"/>
                </a:lnTo>
                <a:lnTo>
                  <a:pt x="4334" y="418"/>
                </a:lnTo>
                <a:lnTo>
                  <a:pt x="4339" y="411"/>
                </a:lnTo>
                <a:lnTo>
                  <a:pt x="4347" y="400"/>
                </a:lnTo>
                <a:lnTo>
                  <a:pt x="4359" y="385"/>
                </a:lnTo>
                <a:lnTo>
                  <a:pt x="4389" y="352"/>
                </a:lnTo>
                <a:lnTo>
                  <a:pt x="4425" y="312"/>
                </a:lnTo>
                <a:lnTo>
                  <a:pt x="4460" y="270"/>
                </a:lnTo>
                <a:lnTo>
                  <a:pt x="4461" y="270"/>
                </a:lnTo>
                <a:lnTo>
                  <a:pt x="4464" y="270"/>
                </a:lnTo>
                <a:lnTo>
                  <a:pt x="4468" y="270"/>
                </a:lnTo>
                <a:lnTo>
                  <a:pt x="4473" y="272"/>
                </a:lnTo>
                <a:lnTo>
                  <a:pt x="4477" y="274"/>
                </a:lnTo>
                <a:lnTo>
                  <a:pt x="4481" y="276"/>
                </a:lnTo>
                <a:lnTo>
                  <a:pt x="4486" y="280"/>
                </a:lnTo>
                <a:lnTo>
                  <a:pt x="4489" y="283"/>
                </a:lnTo>
                <a:lnTo>
                  <a:pt x="4493" y="288"/>
                </a:lnTo>
                <a:lnTo>
                  <a:pt x="4496" y="292"/>
                </a:lnTo>
                <a:lnTo>
                  <a:pt x="4497" y="297"/>
                </a:lnTo>
                <a:lnTo>
                  <a:pt x="4498" y="302"/>
                </a:lnTo>
                <a:lnTo>
                  <a:pt x="4497" y="307"/>
                </a:lnTo>
                <a:lnTo>
                  <a:pt x="4495" y="313"/>
                </a:lnTo>
                <a:lnTo>
                  <a:pt x="4492" y="318"/>
                </a:lnTo>
                <a:lnTo>
                  <a:pt x="4489" y="324"/>
                </a:lnTo>
                <a:lnTo>
                  <a:pt x="4480" y="336"/>
                </a:lnTo>
                <a:lnTo>
                  <a:pt x="4468" y="349"/>
                </a:lnTo>
                <a:lnTo>
                  <a:pt x="4439" y="382"/>
                </a:lnTo>
                <a:lnTo>
                  <a:pt x="4408" y="416"/>
                </a:lnTo>
                <a:lnTo>
                  <a:pt x="4396" y="431"/>
                </a:lnTo>
                <a:lnTo>
                  <a:pt x="4387" y="442"/>
                </a:lnTo>
                <a:lnTo>
                  <a:pt x="4384" y="446"/>
                </a:lnTo>
                <a:lnTo>
                  <a:pt x="4383" y="450"/>
                </a:lnTo>
                <a:lnTo>
                  <a:pt x="4382" y="454"/>
                </a:lnTo>
                <a:lnTo>
                  <a:pt x="4381" y="458"/>
                </a:lnTo>
                <a:lnTo>
                  <a:pt x="4382" y="462"/>
                </a:lnTo>
                <a:lnTo>
                  <a:pt x="4383" y="467"/>
                </a:lnTo>
                <a:lnTo>
                  <a:pt x="4385" y="471"/>
                </a:lnTo>
                <a:lnTo>
                  <a:pt x="4388" y="476"/>
                </a:lnTo>
                <a:lnTo>
                  <a:pt x="4396" y="485"/>
                </a:lnTo>
                <a:lnTo>
                  <a:pt x="4406" y="497"/>
                </a:lnTo>
                <a:lnTo>
                  <a:pt x="4434" y="527"/>
                </a:lnTo>
                <a:lnTo>
                  <a:pt x="4466" y="559"/>
                </a:lnTo>
                <a:lnTo>
                  <a:pt x="4498" y="590"/>
                </a:lnTo>
                <a:lnTo>
                  <a:pt x="4500" y="592"/>
                </a:lnTo>
                <a:lnTo>
                  <a:pt x="4501" y="594"/>
                </a:lnTo>
                <a:lnTo>
                  <a:pt x="4502" y="596"/>
                </a:lnTo>
                <a:lnTo>
                  <a:pt x="4503" y="599"/>
                </a:lnTo>
                <a:lnTo>
                  <a:pt x="4502" y="604"/>
                </a:lnTo>
                <a:lnTo>
                  <a:pt x="4501" y="607"/>
                </a:lnTo>
                <a:lnTo>
                  <a:pt x="4499" y="610"/>
                </a:lnTo>
                <a:lnTo>
                  <a:pt x="4496" y="616"/>
                </a:lnTo>
                <a:lnTo>
                  <a:pt x="4494" y="618"/>
                </a:lnTo>
                <a:lnTo>
                  <a:pt x="4491" y="621"/>
                </a:lnTo>
                <a:lnTo>
                  <a:pt x="4486" y="626"/>
                </a:lnTo>
                <a:lnTo>
                  <a:pt x="4483" y="628"/>
                </a:lnTo>
                <a:lnTo>
                  <a:pt x="4480" y="629"/>
                </a:lnTo>
                <a:lnTo>
                  <a:pt x="4474" y="633"/>
                </a:lnTo>
                <a:lnTo>
                  <a:pt x="4471" y="633"/>
                </a:lnTo>
                <a:lnTo>
                  <a:pt x="4467" y="634"/>
                </a:lnTo>
                <a:close/>
                <a:moveTo>
                  <a:pt x="4080" y="1633"/>
                </a:moveTo>
                <a:lnTo>
                  <a:pt x="4073" y="1632"/>
                </a:lnTo>
                <a:lnTo>
                  <a:pt x="4065" y="1632"/>
                </a:lnTo>
                <a:lnTo>
                  <a:pt x="4058" y="1631"/>
                </a:lnTo>
                <a:lnTo>
                  <a:pt x="4049" y="1629"/>
                </a:lnTo>
                <a:lnTo>
                  <a:pt x="4042" y="1627"/>
                </a:lnTo>
                <a:lnTo>
                  <a:pt x="4035" y="1625"/>
                </a:lnTo>
                <a:lnTo>
                  <a:pt x="4021" y="1619"/>
                </a:lnTo>
                <a:lnTo>
                  <a:pt x="4008" y="1612"/>
                </a:lnTo>
                <a:lnTo>
                  <a:pt x="4002" y="1608"/>
                </a:lnTo>
                <a:lnTo>
                  <a:pt x="3996" y="1603"/>
                </a:lnTo>
                <a:lnTo>
                  <a:pt x="3989" y="1598"/>
                </a:lnTo>
                <a:lnTo>
                  <a:pt x="3983" y="1593"/>
                </a:lnTo>
                <a:lnTo>
                  <a:pt x="3978" y="1587"/>
                </a:lnTo>
                <a:lnTo>
                  <a:pt x="3973" y="1581"/>
                </a:lnTo>
                <a:lnTo>
                  <a:pt x="3968" y="1575"/>
                </a:lnTo>
                <a:lnTo>
                  <a:pt x="3963" y="1568"/>
                </a:lnTo>
                <a:lnTo>
                  <a:pt x="3959" y="1562"/>
                </a:lnTo>
                <a:lnTo>
                  <a:pt x="3955" y="1555"/>
                </a:lnTo>
                <a:lnTo>
                  <a:pt x="3951" y="1548"/>
                </a:lnTo>
                <a:lnTo>
                  <a:pt x="3947" y="1540"/>
                </a:lnTo>
                <a:lnTo>
                  <a:pt x="3944" y="1533"/>
                </a:lnTo>
                <a:lnTo>
                  <a:pt x="3941" y="1524"/>
                </a:lnTo>
                <a:lnTo>
                  <a:pt x="3938" y="1516"/>
                </a:lnTo>
                <a:lnTo>
                  <a:pt x="3936" y="1508"/>
                </a:lnTo>
                <a:lnTo>
                  <a:pt x="3934" y="1500"/>
                </a:lnTo>
                <a:lnTo>
                  <a:pt x="3932" y="1491"/>
                </a:lnTo>
                <a:lnTo>
                  <a:pt x="3931" y="1482"/>
                </a:lnTo>
                <a:lnTo>
                  <a:pt x="3929" y="1473"/>
                </a:lnTo>
                <a:lnTo>
                  <a:pt x="3928" y="1463"/>
                </a:lnTo>
                <a:lnTo>
                  <a:pt x="3928" y="1454"/>
                </a:lnTo>
                <a:lnTo>
                  <a:pt x="3929" y="1436"/>
                </a:lnTo>
                <a:lnTo>
                  <a:pt x="3931" y="1426"/>
                </a:lnTo>
                <a:lnTo>
                  <a:pt x="3932" y="1417"/>
                </a:lnTo>
                <a:lnTo>
                  <a:pt x="3934" y="1407"/>
                </a:lnTo>
                <a:lnTo>
                  <a:pt x="3936" y="1398"/>
                </a:lnTo>
                <a:lnTo>
                  <a:pt x="3939" y="1390"/>
                </a:lnTo>
                <a:lnTo>
                  <a:pt x="3941" y="1381"/>
                </a:lnTo>
                <a:lnTo>
                  <a:pt x="3944" y="1373"/>
                </a:lnTo>
                <a:lnTo>
                  <a:pt x="3948" y="1364"/>
                </a:lnTo>
                <a:lnTo>
                  <a:pt x="3952" y="1356"/>
                </a:lnTo>
                <a:lnTo>
                  <a:pt x="3956" y="1348"/>
                </a:lnTo>
                <a:lnTo>
                  <a:pt x="3960" y="1340"/>
                </a:lnTo>
                <a:lnTo>
                  <a:pt x="3965" y="1333"/>
                </a:lnTo>
                <a:lnTo>
                  <a:pt x="3975" y="1319"/>
                </a:lnTo>
                <a:lnTo>
                  <a:pt x="3981" y="1312"/>
                </a:lnTo>
                <a:lnTo>
                  <a:pt x="3986" y="1306"/>
                </a:lnTo>
                <a:lnTo>
                  <a:pt x="4000" y="1295"/>
                </a:lnTo>
                <a:lnTo>
                  <a:pt x="4006" y="1289"/>
                </a:lnTo>
                <a:lnTo>
                  <a:pt x="4013" y="1284"/>
                </a:lnTo>
                <a:lnTo>
                  <a:pt x="4020" y="1279"/>
                </a:lnTo>
                <a:lnTo>
                  <a:pt x="4027" y="1275"/>
                </a:lnTo>
                <a:lnTo>
                  <a:pt x="4034" y="1272"/>
                </a:lnTo>
                <a:lnTo>
                  <a:pt x="4041" y="1269"/>
                </a:lnTo>
                <a:lnTo>
                  <a:pt x="4049" y="1266"/>
                </a:lnTo>
                <a:lnTo>
                  <a:pt x="4058" y="1264"/>
                </a:lnTo>
                <a:lnTo>
                  <a:pt x="4066" y="1262"/>
                </a:lnTo>
                <a:lnTo>
                  <a:pt x="4074" y="1260"/>
                </a:lnTo>
                <a:lnTo>
                  <a:pt x="4082" y="1260"/>
                </a:lnTo>
                <a:lnTo>
                  <a:pt x="4090" y="1259"/>
                </a:lnTo>
                <a:lnTo>
                  <a:pt x="4100" y="1260"/>
                </a:lnTo>
                <a:lnTo>
                  <a:pt x="4105" y="1260"/>
                </a:lnTo>
                <a:lnTo>
                  <a:pt x="4111" y="1261"/>
                </a:lnTo>
                <a:lnTo>
                  <a:pt x="4115" y="1262"/>
                </a:lnTo>
                <a:lnTo>
                  <a:pt x="4120" y="1263"/>
                </a:lnTo>
                <a:lnTo>
                  <a:pt x="4128" y="1267"/>
                </a:lnTo>
                <a:lnTo>
                  <a:pt x="4136" y="1270"/>
                </a:lnTo>
                <a:lnTo>
                  <a:pt x="4144" y="1275"/>
                </a:lnTo>
                <a:lnTo>
                  <a:pt x="4150" y="1280"/>
                </a:lnTo>
                <a:lnTo>
                  <a:pt x="4156" y="1286"/>
                </a:lnTo>
                <a:lnTo>
                  <a:pt x="4159" y="1290"/>
                </a:lnTo>
                <a:lnTo>
                  <a:pt x="4162" y="1294"/>
                </a:lnTo>
                <a:lnTo>
                  <a:pt x="4166" y="1301"/>
                </a:lnTo>
                <a:lnTo>
                  <a:pt x="4171" y="1309"/>
                </a:lnTo>
                <a:lnTo>
                  <a:pt x="4175" y="1317"/>
                </a:lnTo>
                <a:lnTo>
                  <a:pt x="4177" y="1326"/>
                </a:lnTo>
                <a:lnTo>
                  <a:pt x="4179" y="1335"/>
                </a:lnTo>
                <a:lnTo>
                  <a:pt x="4180" y="1345"/>
                </a:lnTo>
                <a:lnTo>
                  <a:pt x="4181" y="1356"/>
                </a:lnTo>
                <a:lnTo>
                  <a:pt x="4180" y="1368"/>
                </a:lnTo>
                <a:lnTo>
                  <a:pt x="4179" y="1374"/>
                </a:lnTo>
                <a:lnTo>
                  <a:pt x="4178" y="1380"/>
                </a:lnTo>
                <a:lnTo>
                  <a:pt x="4174" y="1392"/>
                </a:lnTo>
                <a:lnTo>
                  <a:pt x="4168" y="1404"/>
                </a:lnTo>
                <a:lnTo>
                  <a:pt x="4162" y="1416"/>
                </a:lnTo>
                <a:lnTo>
                  <a:pt x="4154" y="1427"/>
                </a:lnTo>
                <a:lnTo>
                  <a:pt x="4150" y="1432"/>
                </a:lnTo>
                <a:lnTo>
                  <a:pt x="4146" y="1437"/>
                </a:lnTo>
                <a:lnTo>
                  <a:pt x="4137" y="1446"/>
                </a:lnTo>
                <a:lnTo>
                  <a:pt x="4127" y="1454"/>
                </a:lnTo>
                <a:lnTo>
                  <a:pt x="4122" y="1458"/>
                </a:lnTo>
                <a:lnTo>
                  <a:pt x="4116" y="1462"/>
                </a:lnTo>
                <a:lnTo>
                  <a:pt x="4104" y="1469"/>
                </a:lnTo>
                <a:lnTo>
                  <a:pt x="4092" y="1475"/>
                </a:lnTo>
                <a:lnTo>
                  <a:pt x="4080" y="1480"/>
                </a:lnTo>
                <a:lnTo>
                  <a:pt x="4074" y="1482"/>
                </a:lnTo>
                <a:lnTo>
                  <a:pt x="4068" y="1483"/>
                </a:lnTo>
                <a:lnTo>
                  <a:pt x="4062" y="1484"/>
                </a:lnTo>
                <a:lnTo>
                  <a:pt x="4055" y="1485"/>
                </a:lnTo>
                <a:lnTo>
                  <a:pt x="4042" y="1486"/>
                </a:lnTo>
                <a:lnTo>
                  <a:pt x="4036" y="1485"/>
                </a:lnTo>
                <a:lnTo>
                  <a:pt x="4031" y="1483"/>
                </a:lnTo>
                <a:lnTo>
                  <a:pt x="4027" y="1481"/>
                </a:lnTo>
                <a:lnTo>
                  <a:pt x="4025" y="1479"/>
                </a:lnTo>
                <a:lnTo>
                  <a:pt x="4023" y="1477"/>
                </a:lnTo>
                <a:lnTo>
                  <a:pt x="4020" y="1472"/>
                </a:lnTo>
                <a:lnTo>
                  <a:pt x="4018" y="1466"/>
                </a:lnTo>
                <a:lnTo>
                  <a:pt x="4017" y="1463"/>
                </a:lnTo>
                <a:lnTo>
                  <a:pt x="4016" y="1460"/>
                </a:lnTo>
                <a:lnTo>
                  <a:pt x="4016" y="1454"/>
                </a:lnTo>
                <a:lnTo>
                  <a:pt x="4016" y="1451"/>
                </a:lnTo>
                <a:lnTo>
                  <a:pt x="4016" y="1448"/>
                </a:lnTo>
                <a:lnTo>
                  <a:pt x="4017" y="1443"/>
                </a:lnTo>
                <a:lnTo>
                  <a:pt x="4018" y="1441"/>
                </a:lnTo>
                <a:lnTo>
                  <a:pt x="4019" y="1439"/>
                </a:lnTo>
                <a:lnTo>
                  <a:pt x="4021" y="1438"/>
                </a:lnTo>
                <a:lnTo>
                  <a:pt x="4023" y="1436"/>
                </a:lnTo>
                <a:lnTo>
                  <a:pt x="4034" y="1434"/>
                </a:lnTo>
                <a:lnTo>
                  <a:pt x="4044" y="1432"/>
                </a:lnTo>
                <a:lnTo>
                  <a:pt x="4055" y="1428"/>
                </a:lnTo>
                <a:lnTo>
                  <a:pt x="4065" y="1424"/>
                </a:lnTo>
                <a:lnTo>
                  <a:pt x="4074" y="1420"/>
                </a:lnTo>
                <a:lnTo>
                  <a:pt x="4082" y="1415"/>
                </a:lnTo>
                <a:lnTo>
                  <a:pt x="4090" y="1408"/>
                </a:lnTo>
                <a:lnTo>
                  <a:pt x="4094" y="1406"/>
                </a:lnTo>
                <a:lnTo>
                  <a:pt x="4097" y="1403"/>
                </a:lnTo>
                <a:lnTo>
                  <a:pt x="4104" y="1396"/>
                </a:lnTo>
                <a:lnTo>
                  <a:pt x="4111" y="1390"/>
                </a:lnTo>
                <a:lnTo>
                  <a:pt x="4116" y="1383"/>
                </a:lnTo>
                <a:lnTo>
                  <a:pt x="4120" y="1376"/>
                </a:lnTo>
                <a:lnTo>
                  <a:pt x="4123" y="1369"/>
                </a:lnTo>
                <a:lnTo>
                  <a:pt x="4125" y="1362"/>
                </a:lnTo>
                <a:lnTo>
                  <a:pt x="4127" y="1355"/>
                </a:lnTo>
                <a:lnTo>
                  <a:pt x="4127" y="1347"/>
                </a:lnTo>
                <a:lnTo>
                  <a:pt x="4127" y="1339"/>
                </a:lnTo>
                <a:lnTo>
                  <a:pt x="4125" y="1332"/>
                </a:lnTo>
                <a:lnTo>
                  <a:pt x="4123" y="1328"/>
                </a:lnTo>
                <a:lnTo>
                  <a:pt x="4121" y="1325"/>
                </a:lnTo>
                <a:lnTo>
                  <a:pt x="4119" y="1323"/>
                </a:lnTo>
                <a:lnTo>
                  <a:pt x="4117" y="1320"/>
                </a:lnTo>
                <a:lnTo>
                  <a:pt x="4111" y="1316"/>
                </a:lnTo>
                <a:lnTo>
                  <a:pt x="4107" y="1314"/>
                </a:lnTo>
                <a:lnTo>
                  <a:pt x="4103" y="1313"/>
                </a:lnTo>
                <a:lnTo>
                  <a:pt x="4095" y="1311"/>
                </a:lnTo>
                <a:lnTo>
                  <a:pt x="4091" y="1310"/>
                </a:lnTo>
                <a:lnTo>
                  <a:pt x="4086" y="1310"/>
                </a:lnTo>
                <a:lnTo>
                  <a:pt x="4077" y="1311"/>
                </a:lnTo>
                <a:lnTo>
                  <a:pt x="4073" y="1312"/>
                </a:lnTo>
                <a:lnTo>
                  <a:pt x="4069" y="1313"/>
                </a:lnTo>
                <a:lnTo>
                  <a:pt x="4064" y="1315"/>
                </a:lnTo>
                <a:lnTo>
                  <a:pt x="4060" y="1316"/>
                </a:lnTo>
                <a:lnTo>
                  <a:pt x="4055" y="1319"/>
                </a:lnTo>
                <a:lnTo>
                  <a:pt x="4051" y="1321"/>
                </a:lnTo>
                <a:lnTo>
                  <a:pt x="4046" y="1324"/>
                </a:lnTo>
                <a:lnTo>
                  <a:pt x="4041" y="1327"/>
                </a:lnTo>
                <a:lnTo>
                  <a:pt x="4033" y="1334"/>
                </a:lnTo>
                <a:lnTo>
                  <a:pt x="4025" y="1342"/>
                </a:lnTo>
                <a:lnTo>
                  <a:pt x="4018" y="1352"/>
                </a:lnTo>
                <a:lnTo>
                  <a:pt x="4014" y="1357"/>
                </a:lnTo>
                <a:lnTo>
                  <a:pt x="4011" y="1362"/>
                </a:lnTo>
                <a:lnTo>
                  <a:pt x="4005" y="1373"/>
                </a:lnTo>
                <a:lnTo>
                  <a:pt x="3999" y="1384"/>
                </a:lnTo>
                <a:lnTo>
                  <a:pt x="3995" y="1397"/>
                </a:lnTo>
                <a:lnTo>
                  <a:pt x="3991" y="1409"/>
                </a:lnTo>
                <a:lnTo>
                  <a:pt x="3987" y="1424"/>
                </a:lnTo>
                <a:lnTo>
                  <a:pt x="3985" y="1438"/>
                </a:lnTo>
                <a:lnTo>
                  <a:pt x="3985" y="1445"/>
                </a:lnTo>
                <a:lnTo>
                  <a:pt x="3985" y="1452"/>
                </a:lnTo>
                <a:lnTo>
                  <a:pt x="3985" y="1464"/>
                </a:lnTo>
                <a:lnTo>
                  <a:pt x="3986" y="1478"/>
                </a:lnTo>
                <a:lnTo>
                  <a:pt x="3988" y="1489"/>
                </a:lnTo>
                <a:lnTo>
                  <a:pt x="3991" y="1495"/>
                </a:lnTo>
                <a:lnTo>
                  <a:pt x="3992" y="1500"/>
                </a:lnTo>
                <a:lnTo>
                  <a:pt x="3996" y="1511"/>
                </a:lnTo>
                <a:lnTo>
                  <a:pt x="3998" y="1516"/>
                </a:lnTo>
                <a:lnTo>
                  <a:pt x="4001" y="1521"/>
                </a:lnTo>
                <a:lnTo>
                  <a:pt x="4003" y="1525"/>
                </a:lnTo>
                <a:lnTo>
                  <a:pt x="4006" y="1530"/>
                </a:lnTo>
                <a:lnTo>
                  <a:pt x="4009" y="1535"/>
                </a:lnTo>
                <a:lnTo>
                  <a:pt x="4012" y="1539"/>
                </a:lnTo>
                <a:lnTo>
                  <a:pt x="4015" y="1543"/>
                </a:lnTo>
                <a:lnTo>
                  <a:pt x="4018" y="1546"/>
                </a:lnTo>
                <a:lnTo>
                  <a:pt x="4026" y="1553"/>
                </a:lnTo>
                <a:lnTo>
                  <a:pt x="4033" y="1559"/>
                </a:lnTo>
                <a:lnTo>
                  <a:pt x="4042" y="1563"/>
                </a:lnTo>
                <a:lnTo>
                  <a:pt x="4052" y="1567"/>
                </a:lnTo>
                <a:lnTo>
                  <a:pt x="4062" y="1570"/>
                </a:lnTo>
                <a:lnTo>
                  <a:pt x="4072" y="1572"/>
                </a:lnTo>
                <a:lnTo>
                  <a:pt x="4077" y="1572"/>
                </a:lnTo>
                <a:lnTo>
                  <a:pt x="4082" y="1572"/>
                </a:lnTo>
                <a:lnTo>
                  <a:pt x="4093" y="1572"/>
                </a:lnTo>
                <a:lnTo>
                  <a:pt x="4103" y="1570"/>
                </a:lnTo>
                <a:lnTo>
                  <a:pt x="4114" y="1568"/>
                </a:lnTo>
                <a:lnTo>
                  <a:pt x="4124" y="1564"/>
                </a:lnTo>
                <a:lnTo>
                  <a:pt x="4133" y="1560"/>
                </a:lnTo>
                <a:lnTo>
                  <a:pt x="4142" y="1555"/>
                </a:lnTo>
                <a:lnTo>
                  <a:pt x="4150" y="1549"/>
                </a:lnTo>
                <a:lnTo>
                  <a:pt x="4159" y="1543"/>
                </a:lnTo>
                <a:lnTo>
                  <a:pt x="4167" y="1536"/>
                </a:lnTo>
                <a:lnTo>
                  <a:pt x="4175" y="1527"/>
                </a:lnTo>
                <a:lnTo>
                  <a:pt x="4183" y="1518"/>
                </a:lnTo>
                <a:lnTo>
                  <a:pt x="4190" y="1509"/>
                </a:lnTo>
                <a:lnTo>
                  <a:pt x="4202" y="1490"/>
                </a:lnTo>
                <a:lnTo>
                  <a:pt x="4208" y="1479"/>
                </a:lnTo>
                <a:lnTo>
                  <a:pt x="4214" y="1468"/>
                </a:lnTo>
                <a:lnTo>
                  <a:pt x="4219" y="1457"/>
                </a:lnTo>
                <a:lnTo>
                  <a:pt x="4224" y="1445"/>
                </a:lnTo>
                <a:lnTo>
                  <a:pt x="4228" y="1434"/>
                </a:lnTo>
                <a:lnTo>
                  <a:pt x="4234" y="1422"/>
                </a:lnTo>
                <a:lnTo>
                  <a:pt x="4237" y="1409"/>
                </a:lnTo>
                <a:lnTo>
                  <a:pt x="4241" y="1397"/>
                </a:lnTo>
                <a:lnTo>
                  <a:pt x="4244" y="1385"/>
                </a:lnTo>
                <a:lnTo>
                  <a:pt x="4246" y="1373"/>
                </a:lnTo>
                <a:lnTo>
                  <a:pt x="4249" y="1361"/>
                </a:lnTo>
                <a:lnTo>
                  <a:pt x="4250" y="1348"/>
                </a:lnTo>
                <a:lnTo>
                  <a:pt x="4252" y="1337"/>
                </a:lnTo>
                <a:lnTo>
                  <a:pt x="4253" y="1325"/>
                </a:lnTo>
                <a:lnTo>
                  <a:pt x="4254" y="1314"/>
                </a:lnTo>
                <a:lnTo>
                  <a:pt x="4254" y="1303"/>
                </a:lnTo>
                <a:lnTo>
                  <a:pt x="4254" y="1292"/>
                </a:lnTo>
                <a:lnTo>
                  <a:pt x="4253" y="1280"/>
                </a:lnTo>
                <a:lnTo>
                  <a:pt x="4254" y="1278"/>
                </a:lnTo>
                <a:lnTo>
                  <a:pt x="4256" y="1276"/>
                </a:lnTo>
                <a:lnTo>
                  <a:pt x="4258" y="1274"/>
                </a:lnTo>
                <a:lnTo>
                  <a:pt x="4261" y="1272"/>
                </a:lnTo>
                <a:lnTo>
                  <a:pt x="4268" y="1269"/>
                </a:lnTo>
                <a:lnTo>
                  <a:pt x="4272" y="1269"/>
                </a:lnTo>
                <a:lnTo>
                  <a:pt x="4276" y="1268"/>
                </a:lnTo>
                <a:lnTo>
                  <a:pt x="4283" y="1269"/>
                </a:lnTo>
                <a:lnTo>
                  <a:pt x="4286" y="1269"/>
                </a:lnTo>
                <a:lnTo>
                  <a:pt x="4289" y="1270"/>
                </a:lnTo>
                <a:lnTo>
                  <a:pt x="4296" y="1273"/>
                </a:lnTo>
                <a:lnTo>
                  <a:pt x="4299" y="1275"/>
                </a:lnTo>
                <a:lnTo>
                  <a:pt x="4301" y="1277"/>
                </a:lnTo>
                <a:lnTo>
                  <a:pt x="4305" y="1283"/>
                </a:lnTo>
                <a:lnTo>
                  <a:pt x="4307" y="1287"/>
                </a:lnTo>
                <a:lnTo>
                  <a:pt x="4308" y="1292"/>
                </a:lnTo>
                <a:lnTo>
                  <a:pt x="4309" y="1296"/>
                </a:lnTo>
                <a:lnTo>
                  <a:pt x="4310" y="1301"/>
                </a:lnTo>
                <a:lnTo>
                  <a:pt x="4310" y="1306"/>
                </a:lnTo>
                <a:lnTo>
                  <a:pt x="4311" y="1312"/>
                </a:lnTo>
                <a:lnTo>
                  <a:pt x="4310" y="1328"/>
                </a:lnTo>
                <a:lnTo>
                  <a:pt x="4309" y="1343"/>
                </a:lnTo>
                <a:lnTo>
                  <a:pt x="4308" y="1359"/>
                </a:lnTo>
                <a:lnTo>
                  <a:pt x="4306" y="1374"/>
                </a:lnTo>
                <a:lnTo>
                  <a:pt x="4303" y="1389"/>
                </a:lnTo>
                <a:lnTo>
                  <a:pt x="4300" y="1404"/>
                </a:lnTo>
                <a:lnTo>
                  <a:pt x="4297" y="1419"/>
                </a:lnTo>
                <a:lnTo>
                  <a:pt x="4293" y="1434"/>
                </a:lnTo>
                <a:lnTo>
                  <a:pt x="4287" y="1447"/>
                </a:lnTo>
                <a:lnTo>
                  <a:pt x="4282" y="1461"/>
                </a:lnTo>
                <a:lnTo>
                  <a:pt x="4277" y="1475"/>
                </a:lnTo>
                <a:lnTo>
                  <a:pt x="4271" y="1488"/>
                </a:lnTo>
                <a:lnTo>
                  <a:pt x="4265" y="1500"/>
                </a:lnTo>
                <a:lnTo>
                  <a:pt x="4259" y="1512"/>
                </a:lnTo>
                <a:lnTo>
                  <a:pt x="4252" y="1524"/>
                </a:lnTo>
                <a:lnTo>
                  <a:pt x="4245" y="1536"/>
                </a:lnTo>
                <a:lnTo>
                  <a:pt x="4237" y="1547"/>
                </a:lnTo>
                <a:lnTo>
                  <a:pt x="4228" y="1557"/>
                </a:lnTo>
                <a:lnTo>
                  <a:pt x="4220" y="1567"/>
                </a:lnTo>
                <a:lnTo>
                  <a:pt x="4211" y="1576"/>
                </a:lnTo>
                <a:lnTo>
                  <a:pt x="4202" y="1584"/>
                </a:lnTo>
                <a:lnTo>
                  <a:pt x="4192" y="1593"/>
                </a:lnTo>
                <a:lnTo>
                  <a:pt x="4183" y="1600"/>
                </a:lnTo>
                <a:lnTo>
                  <a:pt x="4173" y="1607"/>
                </a:lnTo>
                <a:lnTo>
                  <a:pt x="4161" y="1613"/>
                </a:lnTo>
                <a:lnTo>
                  <a:pt x="4151" y="1618"/>
                </a:lnTo>
                <a:lnTo>
                  <a:pt x="4140" y="1622"/>
                </a:lnTo>
                <a:lnTo>
                  <a:pt x="4129" y="1626"/>
                </a:lnTo>
                <a:lnTo>
                  <a:pt x="4117" y="1629"/>
                </a:lnTo>
                <a:lnTo>
                  <a:pt x="4105" y="1631"/>
                </a:lnTo>
                <a:lnTo>
                  <a:pt x="4093" y="1632"/>
                </a:lnTo>
                <a:lnTo>
                  <a:pt x="4080" y="1633"/>
                </a:lnTo>
                <a:close/>
                <a:moveTo>
                  <a:pt x="4467" y="1627"/>
                </a:moveTo>
                <a:lnTo>
                  <a:pt x="4465" y="1627"/>
                </a:lnTo>
                <a:lnTo>
                  <a:pt x="4463" y="1626"/>
                </a:lnTo>
                <a:lnTo>
                  <a:pt x="4458" y="1623"/>
                </a:lnTo>
                <a:lnTo>
                  <a:pt x="4451" y="1619"/>
                </a:lnTo>
                <a:lnTo>
                  <a:pt x="4444" y="1613"/>
                </a:lnTo>
                <a:lnTo>
                  <a:pt x="4431" y="1603"/>
                </a:lnTo>
                <a:lnTo>
                  <a:pt x="4416" y="1588"/>
                </a:lnTo>
                <a:lnTo>
                  <a:pt x="4399" y="1572"/>
                </a:lnTo>
                <a:lnTo>
                  <a:pt x="4383" y="1555"/>
                </a:lnTo>
                <a:lnTo>
                  <a:pt x="4367" y="1538"/>
                </a:lnTo>
                <a:lnTo>
                  <a:pt x="4352" y="1521"/>
                </a:lnTo>
                <a:lnTo>
                  <a:pt x="4340" y="1506"/>
                </a:lnTo>
                <a:lnTo>
                  <a:pt x="4336" y="1500"/>
                </a:lnTo>
                <a:lnTo>
                  <a:pt x="4332" y="1495"/>
                </a:lnTo>
                <a:lnTo>
                  <a:pt x="4327" y="1485"/>
                </a:lnTo>
                <a:lnTo>
                  <a:pt x="4323" y="1475"/>
                </a:lnTo>
                <a:lnTo>
                  <a:pt x="4321" y="1464"/>
                </a:lnTo>
                <a:lnTo>
                  <a:pt x="4320" y="1454"/>
                </a:lnTo>
                <a:lnTo>
                  <a:pt x="4320" y="1449"/>
                </a:lnTo>
                <a:lnTo>
                  <a:pt x="4321" y="1443"/>
                </a:lnTo>
                <a:lnTo>
                  <a:pt x="4323" y="1437"/>
                </a:lnTo>
                <a:lnTo>
                  <a:pt x="4325" y="1431"/>
                </a:lnTo>
                <a:lnTo>
                  <a:pt x="4327" y="1425"/>
                </a:lnTo>
                <a:lnTo>
                  <a:pt x="4330" y="1419"/>
                </a:lnTo>
                <a:lnTo>
                  <a:pt x="4334" y="1412"/>
                </a:lnTo>
                <a:lnTo>
                  <a:pt x="4339" y="1404"/>
                </a:lnTo>
                <a:lnTo>
                  <a:pt x="4347" y="1393"/>
                </a:lnTo>
                <a:lnTo>
                  <a:pt x="4359" y="1380"/>
                </a:lnTo>
                <a:lnTo>
                  <a:pt x="4389" y="1345"/>
                </a:lnTo>
                <a:lnTo>
                  <a:pt x="4425" y="1306"/>
                </a:lnTo>
                <a:lnTo>
                  <a:pt x="4460" y="1264"/>
                </a:lnTo>
                <a:lnTo>
                  <a:pt x="4461" y="1264"/>
                </a:lnTo>
                <a:lnTo>
                  <a:pt x="4464" y="1264"/>
                </a:lnTo>
                <a:lnTo>
                  <a:pt x="4468" y="1264"/>
                </a:lnTo>
                <a:lnTo>
                  <a:pt x="4473" y="1265"/>
                </a:lnTo>
                <a:lnTo>
                  <a:pt x="4477" y="1267"/>
                </a:lnTo>
                <a:lnTo>
                  <a:pt x="4481" y="1270"/>
                </a:lnTo>
                <a:lnTo>
                  <a:pt x="4486" y="1273"/>
                </a:lnTo>
                <a:lnTo>
                  <a:pt x="4489" y="1276"/>
                </a:lnTo>
                <a:lnTo>
                  <a:pt x="4493" y="1281"/>
                </a:lnTo>
                <a:lnTo>
                  <a:pt x="4496" y="1286"/>
                </a:lnTo>
                <a:lnTo>
                  <a:pt x="4497" y="1290"/>
                </a:lnTo>
                <a:lnTo>
                  <a:pt x="4498" y="1296"/>
                </a:lnTo>
                <a:lnTo>
                  <a:pt x="4497" y="1301"/>
                </a:lnTo>
                <a:lnTo>
                  <a:pt x="4495" y="1307"/>
                </a:lnTo>
                <a:lnTo>
                  <a:pt x="4492" y="1312"/>
                </a:lnTo>
                <a:lnTo>
                  <a:pt x="4489" y="1318"/>
                </a:lnTo>
                <a:lnTo>
                  <a:pt x="4480" y="1329"/>
                </a:lnTo>
                <a:lnTo>
                  <a:pt x="4468" y="1342"/>
                </a:lnTo>
                <a:lnTo>
                  <a:pt x="4439" y="1376"/>
                </a:lnTo>
                <a:lnTo>
                  <a:pt x="4408" y="1409"/>
                </a:lnTo>
                <a:lnTo>
                  <a:pt x="4396" y="1425"/>
                </a:lnTo>
                <a:lnTo>
                  <a:pt x="4387" y="1436"/>
                </a:lnTo>
                <a:lnTo>
                  <a:pt x="4384" y="1440"/>
                </a:lnTo>
                <a:lnTo>
                  <a:pt x="4383" y="1444"/>
                </a:lnTo>
                <a:lnTo>
                  <a:pt x="4382" y="1447"/>
                </a:lnTo>
                <a:lnTo>
                  <a:pt x="4381" y="1451"/>
                </a:lnTo>
                <a:lnTo>
                  <a:pt x="4382" y="1455"/>
                </a:lnTo>
                <a:lnTo>
                  <a:pt x="4383" y="1460"/>
                </a:lnTo>
                <a:lnTo>
                  <a:pt x="4385" y="1464"/>
                </a:lnTo>
                <a:lnTo>
                  <a:pt x="4388" y="1469"/>
                </a:lnTo>
                <a:lnTo>
                  <a:pt x="4396" y="1479"/>
                </a:lnTo>
                <a:lnTo>
                  <a:pt x="4406" y="1491"/>
                </a:lnTo>
                <a:lnTo>
                  <a:pt x="4434" y="1520"/>
                </a:lnTo>
                <a:lnTo>
                  <a:pt x="4466" y="1553"/>
                </a:lnTo>
                <a:lnTo>
                  <a:pt x="4498" y="1583"/>
                </a:lnTo>
                <a:lnTo>
                  <a:pt x="4500" y="1585"/>
                </a:lnTo>
                <a:lnTo>
                  <a:pt x="4501" y="1587"/>
                </a:lnTo>
                <a:lnTo>
                  <a:pt x="4502" y="1589"/>
                </a:lnTo>
                <a:lnTo>
                  <a:pt x="4503" y="1593"/>
                </a:lnTo>
                <a:lnTo>
                  <a:pt x="4502" y="1599"/>
                </a:lnTo>
                <a:lnTo>
                  <a:pt x="4501" y="1601"/>
                </a:lnTo>
                <a:lnTo>
                  <a:pt x="4499" y="1604"/>
                </a:lnTo>
                <a:lnTo>
                  <a:pt x="4496" y="1610"/>
                </a:lnTo>
                <a:lnTo>
                  <a:pt x="4494" y="1613"/>
                </a:lnTo>
                <a:lnTo>
                  <a:pt x="4491" y="1615"/>
                </a:lnTo>
                <a:lnTo>
                  <a:pt x="4486" y="1620"/>
                </a:lnTo>
                <a:lnTo>
                  <a:pt x="4483" y="1622"/>
                </a:lnTo>
                <a:lnTo>
                  <a:pt x="4480" y="1624"/>
                </a:lnTo>
                <a:lnTo>
                  <a:pt x="4474" y="1626"/>
                </a:lnTo>
                <a:lnTo>
                  <a:pt x="4471" y="1627"/>
                </a:lnTo>
                <a:lnTo>
                  <a:pt x="4467" y="1627"/>
                </a:lnTo>
                <a:close/>
                <a:moveTo>
                  <a:pt x="4080" y="2627"/>
                </a:moveTo>
                <a:lnTo>
                  <a:pt x="4073" y="2627"/>
                </a:lnTo>
                <a:lnTo>
                  <a:pt x="4065" y="2626"/>
                </a:lnTo>
                <a:lnTo>
                  <a:pt x="4058" y="2625"/>
                </a:lnTo>
                <a:lnTo>
                  <a:pt x="4049" y="2623"/>
                </a:lnTo>
                <a:lnTo>
                  <a:pt x="4042" y="2621"/>
                </a:lnTo>
                <a:lnTo>
                  <a:pt x="4035" y="2619"/>
                </a:lnTo>
                <a:lnTo>
                  <a:pt x="4021" y="2613"/>
                </a:lnTo>
                <a:lnTo>
                  <a:pt x="4008" y="2605"/>
                </a:lnTo>
                <a:lnTo>
                  <a:pt x="4002" y="2601"/>
                </a:lnTo>
                <a:lnTo>
                  <a:pt x="3996" y="2596"/>
                </a:lnTo>
                <a:lnTo>
                  <a:pt x="3989" y="2591"/>
                </a:lnTo>
                <a:lnTo>
                  <a:pt x="3983" y="2586"/>
                </a:lnTo>
                <a:lnTo>
                  <a:pt x="3978" y="2581"/>
                </a:lnTo>
                <a:lnTo>
                  <a:pt x="3973" y="2575"/>
                </a:lnTo>
                <a:lnTo>
                  <a:pt x="3968" y="2569"/>
                </a:lnTo>
                <a:lnTo>
                  <a:pt x="3963" y="2563"/>
                </a:lnTo>
                <a:lnTo>
                  <a:pt x="3959" y="2556"/>
                </a:lnTo>
                <a:lnTo>
                  <a:pt x="3955" y="2548"/>
                </a:lnTo>
                <a:lnTo>
                  <a:pt x="3951" y="2541"/>
                </a:lnTo>
                <a:lnTo>
                  <a:pt x="3947" y="2534"/>
                </a:lnTo>
                <a:lnTo>
                  <a:pt x="3944" y="2526"/>
                </a:lnTo>
                <a:lnTo>
                  <a:pt x="3941" y="2518"/>
                </a:lnTo>
                <a:lnTo>
                  <a:pt x="3938" y="2510"/>
                </a:lnTo>
                <a:lnTo>
                  <a:pt x="3936" y="2502"/>
                </a:lnTo>
                <a:lnTo>
                  <a:pt x="3934" y="2494"/>
                </a:lnTo>
                <a:lnTo>
                  <a:pt x="3932" y="2484"/>
                </a:lnTo>
                <a:lnTo>
                  <a:pt x="3931" y="2475"/>
                </a:lnTo>
                <a:lnTo>
                  <a:pt x="3929" y="2467"/>
                </a:lnTo>
                <a:lnTo>
                  <a:pt x="3928" y="2458"/>
                </a:lnTo>
                <a:lnTo>
                  <a:pt x="3928" y="2448"/>
                </a:lnTo>
                <a:lnTo>
                  <a:pt x="3929" y="2429"/>
                </a:lnTo>
                <a:lnTo>
                  <a:pt x="3931" y="2420"/>
                </a:lnTo>
                <a:lnTo>
                  <a:pt x="3932" y="2410"/>
                </a:lnTo>
                <a:lnTo>
                  <a:pt x="3934" y="2401"/>
                </a:lnTo>
                <a:lnTo>
                  <a:pt x="3936" y="2393"/>
                </a:lnTo>
                <a:lnTo>
                  <a:pt x="3939" y="2384"/>
                </a:lnTo>
                <a:lnTo>
                  <a:pt x="3941" y="2375"/>
                </a:lnTo>
                <a:lnTo>
                  <a:pt x="3944" y="2366"/>
                </a:lnTo>
                <a:lnTo>
                  <a:pt x="3948" y="2358"/>
                </a:lnTo>
                <a:lnTo>
                  <a:pt x="3952" y="2350"/>
                </a:lnTo>
                <a:lnTo>
                  <a:pt x="3956" y="2342"/>
                </a:lnTo>
                <a:lnTo>
                  <a:pt x="3960" y="2334"/>
                </a:lnTo>
                <a:lnTo>
                  <a:pt x="3965" y="2327"/>
                </a:lnTo>
                <a:lnTo>
                  <a:pt x="3975" y="2313"/>
                </a:lnTo>
                <a:lnTo>
                  <a:pt x="3981" y="2305"/>
                </a:lnTo>
                <a:lnTo>
                  <a:pt x="3986" y="2299"/>
                </a:lnTo>
                <a:lnTo>
                  <a:pt x="4000" y="2288"/>
                </a:lnTo>
                <a:lnTo>
                  <a:pt x="4006" y="2283"/>
                </a:lnTo>
                <a:lnTo>
                  <a:pt x="4013" y="2278"/>
                </a:lnTo>
                <a:lnTo>
                  <a:pt x="4020" y="2274"/>
                </a:lnTo>
                <a:lnTo>
                  <a:pt x="4027" y="2269"/>
                </a:lnTo>
                <a:lnTo>
                  <a:pt x="4034" y="2266"/>
                </a:lnTo>
                <a:lnTo>
                  <a:pt x="4041" y="2263"/>
                </a:lnTo>
                <a:lnTo>
                  <a:pt x="4049" y="2260"/>
                </a:lnTo>
                <a:lnTo>
                  <a:pt x="4058" y="2258"/>
                </a:lnTo>
                <a:lnTo>
                  <a:pt x="4066" y="2256"/>
                </a:lnTo>
                <a:lnTo>
                  <a:pt x="4074" y="2255"/>
                </a:lnTo>
                <a:lnTo>
                  <a:pt x="4082" y="2254"/>
                </a:lnTo>
                <a:lnTo>
                  <a:pt x="4090" y="2254"/>
                </a:lnTo>
                <a:lnTo>
                  <a:pt x="4100" y="2254"/>
                </a:lnTo>
                <a:lnTo>
                  <a:pt x="4105" y="2255"/>
                </a:lnTo>
                <a:lnTo>
                  <a:pt x="4111" y="2255"/>
                </a:lnTo>
                <a:lnTo>
                  <a:pt x="4115" y="2256"/>
                </a:lnTo>
                <a:lnTo>
                  <a:pt x="4120" y="2258"/>
                </a:lnTo>
                <a:lnTo>
                  <a:pt x="4128" y="2261"/>
                </a:lnTo>
                <a:lnTo>
                  <a:pt x="4136" y="2265"/>
                </a:lnTo>
                <a:lnTo>
                  <a:pt x="4144" y="2269"/>
                </a:lnTo>
                <a:lnTo>
                  <a:pt x="4150" y="2275"/>
                </a:lnTo>
                <a:lnTo>
                  <a:pt x="4156" y="2281"/>
                </a:lnTo>
                <a:lnTo>
                  <a:pt x="4159" y="2284"/>
                </a:lnTo>
                <a:lnTo>
                  <a:pt x="4162" y="2287"/>
                </a:lnTo>
                <a:lnTo>
                  <a:pt x="4166" y="2295"/>
                </a:lnTo>
                <a:lnTo>
                  <a:pt x="4171" y="2302"/>
                </a:lnTo>
                <a:lnTo>
                  <a:pt x="4175" y="2312"/>
                </a:lnTo>
                <a:lnTo>
                  <a:pt x="4177" y="2320"/>
                </a:lnTo>
                <a:lnTo>
                  <a:pt x="4179" y="2329"/>
                </a:lnTo>
                <a:lnTo>
                  <a:pt x="4180" y="2339"/>
                </a:lnTo>
                <a:lnTo>
                  <a:pt x="4181" y="2349"/>
                </a:lnTo>
                <a:lnTo>
                  <a:pt x="4180" y="2361"/>
                </a:lnTo>
                <a:lnTo>
                  <a:pt x="4179" y="2368"/>
                </a:lnTo>
                <a:lnTo>
                  <a:pt x="4178" y="2375"/>
                </a:lnTo>
                <a:lnTo>
                  <a:pt x="4174" y="2387"/>
                </a:lnTo>
                <a:lnTo>
                  <a:pt x="4168" y="2398"/>
                </a:lnTo>
                <a:lnTo>
                  <a:pt x="4162" y="2409"/>
                </a:lnTo>
                <a:lnTo>
                  <a:pt x="4154" y="2420"/>
                </a:lnTo>
                <a:lnTo>
                  <a:pt x="4150" y="2425"/>
                </a:lnTo>
                <a:lnTo>
                  <a:pt x="4146" y="2430"/>
                </a:lnTo>
                <a:lnTo>
                  <a:pt x="4137" y="2440"/>
                </a:lnTo>
                <a:lnTo>
                  <a:pt x="4127" y="2449"/>
                </a:lnTo>
                <a:lnTo>
                  <a:pt x="4122" y="2452"/>
                </a:lnTo>
                <a:lnTo>
                  <a:pt x="4116" y="2456"/>
                </a:lnTo>
                <a:lnTo>
                  <a:pt x="4104" y="2463"/>
                </a:lnTo>
                <a:lnTo>
                  <a:pt x="4092" y="2468"/>
                </a:lnTo>
                <a:lnTo>
                  <a:pt x="4080" y="2473"/>
                </a:lnTo>
                <a:lnTo>
                  <a:pt x="4074" y="2475"/>
                </a:lnTo>
                <a:lnTo>
                  <a:pt x="4068" y="2476"/>
                </a:lnTo>
                <a:lnTo>
                  <a:pt x="4062" y="2478"/>
                </a:lnTo>
                <a:lnTo>
                  <a:pt x="4055" y="2478"/>
                </a:lnTo>
                <a:lnTo>
                  <a:pt x="4042" y="2479"/>
                </a:lnTo>
                <a:lnTo>
                  <a:pt x="4036" y="2478"/>
                </a:lnTo>
                <a:lnTo>
                  <a:pt x="4031" y="2477"/>
                </a:lnTo>
                <a:lnTo>
                  <a:pt x="4027" y="2474"/>
                </a:lnTo>
                <a:lnTo>
                  <a:pt x="4025" y="2472"/>
                </a:lnTo>
                <a:lnTo>
                  <a:pt x="4023" y="2470"/>
                </a:lnTo>
                <a:lnTo>
                  <a:pt x="4020" y="2465"/>
                </a:lnTo>
                <a:lnTo>
                  <a:pt x="4018" y="2460"/>
                </a:lnTo>
                <a:lnTo>
                  <a:pt x="4017" y="2457"/>
                </a:lnTo>
                <a:lnTo>
                  <a:pt x="4016" y="2454"/>
                </a:lnTo>
                <a:lnTo>
                  <a:pt x="4016" y="2448"/>
                </a:lnTo>
                <a:lnTo>
                  <a:pt x="4016" y="2445"/>
                </a:lnTo>
                <a:lnTo>
                  <a:pt x="4016" y="2442"/>
                </a:lnTo>
                <a:lnTo>
                  <a:pt x="4017" y="2437"/>
                </a:lnTo>
                <a:lnTo>
                  <a:pt x="4018" y="2435"/>
                </a:lnTo>
                <a:lnTo>
                  <a:pt x="4019" y="2433"/>
                </a:lnTo>
                <a:lnTo>
                  <a:pt x="4021" y="2432"/>
                </a:lnTo>
                <a:lnTo>
                  <a:pt x="4023" y="2430"/>
                </a:lnTo>
                <a:lnTo>
                  <a:pt x="4034" y="2428"/>
                </a:lnTo>
                <a:lnTo>
                  <a:pt x="4044" y="2425"/>
                </a:lnTo>
                <a:lnTo>
                  <a:pt x="4055" y="2422"/>
                </a:lnTo>
                <a:lnTo>
                  <a:pt x="4065" y="2418"/>
                </a:lnTo>
                <a:lnTo>
                  <a:pt x="4074" y="2413"/>
                </a:lnTo>
                <a:lnTo>
                  <a:pt x="4082" y="2408"/>
                </a:lnTo>
                <a:lnTo>
                  <a:pt x="4090" y="2403"/>
                </a:lnTo>
                <a:lnTo>
                  <a:pt x="4094" y="2400"/>
                </a:lnTo>
                <a:lnTo>
                  <a:pt x="4097" y="2397"/>
                </a:lnTo>
                <a:lnTo>
                  <a:pt x="4104" y="2390"/>
                </a:lnTo>
                <a:lnTo>
                  <a:pt x="4111" y="2384"/>
                </a:lnTo>
                <a:lnTo>
                  <a:pt x="4116" y="2377"/>
                </a:lnTo>
                <a:lnTo>
                  <a:pt x="4120" y="2369"/>
                </a:lnTo>
                <a:lnTo>
                  <a:pt x="4123" y="2362"/>
                </a:lnTo>
                <a:lnTo>
                  <a:pt x="4125" y="2355"/>
                </a:lnTo>
                <a:lnTo>
                  <a:pt x="4127" y="2348"/>
                </a:lnTo>
                <a:lnTo>
                  <a:pt x="4127" y="2341"/>
                </a:lnTo>
                <a:lnTo>
                  <a:pt x="4127" y="2333"/>
                </a:lnTo>
                <a:lnTo>
                  <a:pt x="4125" y="2326"/>
                </a:lnTo>
                <a:lnTo>
                  <a:pt x="4123" y="2323"/>
                </a:lnTo>
                <a:lnTo>
                  <a:pt x="4121" y="2319"/>
                </a:lnTo>
                <a:lnTo>
                  <a:pt x="4119" y="2317"/>
                </a:lnTo>
                <a:lnTo>
                  <a:pt x="4117" y="2314"/>
                </a:lnTo>
                <a:lnTo>
                  <a:pt x="4111" y="2309"/>
                </a:lnTo>
                <a:lnTo>
                  <a:pt x="4107" y="2307"/>
                </a:lnTo>
                <a:lnTo>
                  <a:pt x="4103" y="2306"/>
                </a:lnTo>
                <a:lnTo>
                  <a:pt x="4095" y="2304"/>
                </a:lnTo>
                <a:lnTo>
                  <a:pt x="4091" y="2303"/>
                </a:lnTo>
                <a:lnTo>
                  <a:pt x="4086" y="2303"/>
                </a:lnTo>
                <a:lnTo>
                  <a:pt x="4077" y="2304"/>
                </a:lnTo>
                <a:lnTo>
                  <a:pt x="4073" y="2305"/>
                </a:lnTo>
                <a:lnTo>
                  <a:pt x="4069" y="2306"/>
                </a:lnTo>
                <a:lnTo>
                  <a:pt x="4064" y="2308"/>
                </a:lnTo>
                <a:lnTo>
                  <a:pt x="4060" y="2310"/>
                </a:lnTo>
                <a:lnTo>
                  <a:pt x="4055" y="2313"/>
                </a:lnTo>
                <a:lnTo>
                  <a:pt x="4051" y="2315"/>
                </a:lnTo>
                <a:lnTo>
                  <a:pt x="4046" y="2318"/>
                </a:lnTo>
                <a:lnTo>
                  <a:pt x="4041" y="2321"/>
                </a:lnTo>
                <a:lnTo>
                  <a:pt x="4033" y="2328"/>
                </a:lnTo>
                <a:lnTo>
                  <a:pt x="4025" y="2336"/>
                </a:lnTo>
                <a:lnTo>
                  <a:pt x="4018" y="2345"/>
                </a:lnTo>
                <a:lnTo>
                  <a:pt x="4014" y="2350"/>
                </a:lnTo>
                <a:lnTo>
                  <a:pt x="4011" y="2355"/>
                </a:lnTo>
                <a:lnTo>
                  <a:pt x="4005" y="2366"/>
                </a:lnTo>
                <a:lnTo>
                  <a:pt x="3999" y="2379"/>
                </a:lnTo>
                <a:lnTo>
                  <a:pt x="3995" y="2391"/>
                </a:lnTo>
                <a:lnTo>
                  <a:pt x="3991" y="2404"/>
                </a:lnTo>
                <a:lnTo>
                  <a:pt x="3987" y="2417"/>
                </a:lnTo>
                <a:lnTo>
                  <a:pt x="3985" y="2432"/>
                </a:lnTo>
                <a:lnTo>
                  <a:pt x="3985" y="2439"/>
                </a:lnTo>
                <a:lnTo>
                  <a:pt x="3985" y="2446"/>
                </a:lnTo>
                <a:lnTo>
                  <a:pt x="3985" y="2459"/>
                </a:lnTo>
                <a:lnTo>
                  <a:pt x="3986" y="2471"/>
                </a:lnTo>
                <a:lnTo>
                  <a:pt x="3988" y="2482"/>
                </a:lnTo>
                <a:lnTo>
                  <a:pt x="3991" y="2488"/>
                </a:lnTo>
                <a:lnTo>
                  <a:pt x="3992" y="2494"/>
                </a:lnTo>
                <a:lnTo>
                  <a:pt x="3996" y="2505"/>
                </a:lnTo>
                <a:lnTo>
                  <a:pt x="3998" y="2510"/>
                </a:lnTo>
                <a:lnTo>
                  <a:pt x="4001" y="2515"/>
                </a:lnTo>
                <a:lnTo>
                  <a:pt x="4003" y="2519"/>
                </a:lnTo>
                <a:lnTo>
                  <a:pt x="4006" y="2524"/>
                </a:lnTo>
                <a:lnTo>
                  <a:pt x="4009" y="2528"/>
                </a:lnTo>
                <a:lnTo>
                  <a:pt x="4012" y="2532"/>
                </a:lnTo>
                <a:lnTo>
                  <a:pt x="4015" y="2536"/>
                </a:lnTo>
                <a:lnTo>
                  <a:pt x="4018" y="2540"/>
                </a:lnTo>
                <a:lnTo>
                  <a:pt x="4026" y="2546"/>
                </a:lnTo>
                <a:lnTo>
                  <a:pt x="4033" y="2553"/>
                </a:lnTo>
                <a:lnTo>
                  <a:pt x="4042" y="2558"/>
                </a:lnTo>
                <a:lnTo>
                  <a:pt x="4052" y="2561"/>
                </a:lnTo>
                <a:lnTo>
                  <a:pt x="4062" y="2564"/>
                </a:lnTo>
                <a:lnTo>
                  <a:pt x="4072" y="2566"/>
                </a:lnTo>
                <a:lnTo>
                  <a:pt x="4077" y="2566"/>
                </a:lnTo>
                <a:lnTo>
                  <a:pt x="4082" y="2567"/>
                </a:lnTo>
                <a:lnTo>
                  <a:pt x="4093" y="2566"/>
                </a:lnTo>
                <a:lnTo>
                  <a:pt x="4103" y="2564"/>
                </a:lnTo>
                <a:lnTo>
                  <a:pt x="4114" y="2562"/>
                </a:lnTo>
                <a:lnTo>
                  <a:pt x="4124" y="2559"/>
                </a:lnTo>
                <a:lnTo>
                  <a:pt x="4133" y="2554"/>
                </a:lnTo>
                <a:lnTo>
                  <a:pt x="4142" y="2548"/>
                </a:lnTo>
                <a:lnTo>
                  <a:pt x="4150" y="2543"/>
                </a:lnTo>
                <a:lnTo>
                  <a:pt x="4159" y="2536"/>
                </a:lnTo>
                <a:lnTo>
                  <a:pt x="4167" y="2529"/>
                </a:lnTo>
                <a:lnTo>
                  <a:pt x="4175" y="2521"/>
                </a:lnTo>
                <a:lnTo>
                  <a:pt x="4183" y="2512"/>
                </a:lnTo>
                <a:lnTo>
                  <a:pt x="4190" y="2503"/>
                </a:lnTo>
                <a:lnTo>
                  <a:pt x="4202" y="2483"/>
                </a:lnTo>
                <a:lnTo>
                  <a:pt x="4208" y="2473"/>
                </a:lnTo>
                <a:lnTo>
                  <a:pt x="4214" y="2462"/>
                </a:lnTo>
                <a:lnTo>
                  <a:pt x="4219" y="2451"/>
                </a:lnTo>
                <a:lnTo>
                  <a:pt x="4224" y="2440"/>
                </a:lnTo>
                <a:lnTo>
                  <a:pt x="4228" y="2427"/>
                </a:lnTo>
                <a:lnTo>
                  <a:pt x="4234" y="2415"/>
                </a:lnTo>
                <a:lnTo>
                  <a:pt x="4237" y="2403"/>
                </a:lnTo>
                <a:lnTo>
                  <a:pt x="4241" y="2391"/>
                </a:lnTo>
                <a:lnTo>
                  <a:pt x="4244" y="2379"/>
                </a:lnTo>
                <a:lnTo>
                  <a:pt x="4246" y="2366"/>
                </a:lnTo>
                <a:lnTo>
                  <a:pt x="4249" y="2354"/>
                </a:lnTo>
                <a:lnTo>
                  <a:pt x="4250" y="2343"/>
                </a:lnTo>
                <a:lnTo>
                  <a:pt x="4252" y="2331"/>
                </a:lnTo>
                <a:lnTo>
                  <a:pt x="4253" y="2319"/>
                </a:lnTo>
                <a:lnTo>
                  <a:pt x="4254" y="2307"/>
                </a:lnTo>
                <a:lnTo>
                  <a:pt x="4254" y="2296"/>
                </a:lnTo>
                <a:lnTo>
                  <a:pt x="4254" y="2285"/>
                </a:lnTo>
                <a:lnTo>
                  <a:pt x="4253" y="2275"/>
                </a:lnTo>
                <a:lnTo>
                  <a:pt x="4254" y="2272"/>
                </a:lnTo>
                <a:lnTo>
                  <a:pt x="4256" y="2270"/>
                </a:lnTo>
                <a:lnTo>
                  <a:pt x="4258" y="2268"/>
                </a:lnTo>
                <a:lnTo>
                  <a:pt x="4261" y="2266"/>
                </a:lnTo>
                <a:lnTo>
                  <a:pt x="4268" y="2263"/>
                </a:lnTo>
                <a:lnTo>
                  <a:pt x="4272" y="2263"/>
                </a:lnTo>
                <a:lnTo>
                  <a:pt x="4276" y="2262"/>
                </a:lnTo>
                <a:lnTo>
                  <a:pt x="4283" y="2263"/>
                </a:lnTo>
                <a:lnTo>
                  <a:pt x="4286" y="2264"/>
                </a:lnTo>
                <a:lnTo>
                  <a:pt x="4289" y="2265"/>
                </a:lnTo>
                <a:lnTo>
                  <a:pt x="4296" y="2267"/>
                </a:lnTo>
                <a:lnTo>
                  <a:pt x="4299" y="2269"/>
                </a:lnTo>
                <a:lnTo>
                  <a:pt x="4301" y="2272"/>
                </a:lnTo>
                <a:lnTo>
                  <a:pt x="4305" y="2277"/>
                </a:lnTo>
                <a:lnTo>
                  <a:pt x="4307" y="2281"/>
                </a:lnTo>
                <a:lnTo>
                  <a:pt x="4308" y="2285"/>
                </a:lnTo>
                <a:lnTo>
                  <a:pt x="4309" y="2289"/>
                </a:lnTo>
                <a:lnTo>
                  <a:pt x="4310" y="2294"/>
                </a:lnTo>
                <a:lnTo>
                  <a:pt x="4310" y="2299"/>
                </a:lnTo>
                <a:lnTo>
                  <a:pt x="4311" y="2305"/>
                </a:lnTo>
                <a:lnTo>
                  <a:pt x="4310" y="2322"/>
                </a:lnTo>
                <a:lnTo>
                  <a:pt x="4309" y="2337"/>
                </a:lnTo>
                <a:lnTo>
                  <a:pt x="4308" y="2352"/>
                </a:lnTo>
                <a:lnTo>
                  <a:pt x="4306" y="2368"/>
                </a:lnTo>
                <a:lnTo>
                  <a:pt x="4303" y="2383"/>
                </a:lnTo>
                <a:lnTo>
                  <a:pt x="4300" y="2398"/>
                </a:lnTo>
                <a:lnTo>
                  <a:pt x="4297" y="2413"/>
                </a:lnTo>
                <a:lnTo>
                  <a:pt x="4293" y="2427"/>
                </a:lnTo>
                <a:lnTo>
                  <a:pt x="4287" y="2442"/>
                </a:lnTo>
                <a:lnTo>
                  <a:pt x="4282" y="2455"/>
                </a:lnTo>
                <a:lnTo>
                  <a:pt x="4277" y="2468"/>
                </a:lnTo>
                <a:lnTo>
                  <a:pt x="4271" y="2481"/>
                </a:lnTo>
                <a:lnTo>
                  <a:pt x="4265" y="2495"/>
                </a:lnTo>
                <a:lnTo>
                  <a:pt x="4259" y="2507"/>
                </a:lnTo>
                <a:lnTo>
                  <a:pt x="4252" y="2518"/>
                </a:lnTo>
                <a:lnTo>
                  <a:pt x="4245" y="2529"/>
                </a:lnTo>
                <a:lnTo>
                  <a:pt x="4237" y="2540"/>
                </a:lnTo>
                <a:lnTo>
                  <a:pt x="4228" y="2550"/>
                </a:lnTo>
                <a:lnTo>
                  <a:pt x="4220" y="2561"/>
                </a:lnTo>
                <a:lnTo>
                  <a:pt x="4211" y="2570"/>
                </a:lnTo>
                <a:lnTo>
                  <a:pt x="4202" y="2578"/>
                </a:lnTo>
                <a:lnTo>
                  <a:pt x="4192" y="2586"/>
                </a:lnTo>
                <a:lnTo>
                  <a:pt x="4183" y="2593"/>
                </a:lnTo>
                <a:lnTo>
                  <a:pt x="4173" y="2600"/>
                </a:lnTo>
                <a:lnTo>
                  <a:pt x="4161" y="2606"/>
                </a:lnTo>
                <a:lnTo>
                  <a:pt x="4151" y="2612"/>
                </a:lnTo>
                <a:lnTo>
                  <a:pt x="4140" y="2616"/>
                </a:lnTo>
                <a:lnTo>
                  <a:pt x="4129" y="2620"/>
                </a:lnTo>
                <a:lnTo>
                  <a:pt x="4117" y="2623"/>
                </a:lnTo>
                <a:lnTo>
                  <a:pt x="4105" y="2625"/>
                </a:lnTo>
                <a:lnTo>
                  <a:pt x="4093" y="2626"/>
                </a:lnTo>
                <a:lnTo>
                  <a:pt x="4080" y="2627"/>
                </a:lnTo>
                <a:close/>
                <a:moveTo>
                  <a:pt x="4467" y="2621"/>
                </a:moveTo>
                <a:lnTo>
                  <a:pt x="4465" y="2621"/>
                </a:lnTo>
                <a:lnTo>
                  <a:pt x="4463" y="2620"/>
                </a:lnTo>
                <a:lnTo>
                  <a:pt x="4458" y="2617"/>
                </a:lnTo>
                <a:lnTo>
                  <a:pt x="4451" y="2613"/>
                </a:lnTo>
                <a:lnTo>
                  <a:pt x="4444" y="2607"/>
                </a:lnTo>
                <a:lnTo>
                  <a:pt x="4431" y="2596"/>
                </a:lnTo>
                <a:lnTo>
                  <a:pt x="4416" y="2582"/>
                </a:lnTo>
                <a:lnTo>
                  <a:pt x="4399" y="2566"/>
                </a:lnTo>
                <a:lnTo>
                  <a:pt x="4383" y="2548"/>
                </a:lnTo>
                <a:lnTo>
                  <a:pt x="4367" y="2531"/>
                </a:lnTo>
                <a:lnTo>
                  <a:pt x="4352" y="2515"/>
                </a:lnTo>
                <a:lnTo>
                  <a:pt x="4340" y="2501"/>
                </a:lnTo>
                <a:lnTo>
                  <a:pt x="4336" y="2494"/>
                </a:lnTo>
                <a:lnTo>
                  <a:pt x="4332" y="2488"/>
                </a:lnTo>
                <a:lnTo>
                  <a:pt x="4327" y="2478"/>
                </a:lnTo>
                <a:lnTo>
                  <a:pt x="4323" y="2468"/>
                </a:lnTo>
                <a:lnTo>
                  <a:pt x="4321" y="2458"/>
                </a:lnTo>
                <a:lnTo>
                  <a:pt x="4320" y="2448"/>
                </a:lnTo>
                <a:lnTo>
                  <a:pt x="4320" y="2443"/>
                </a:lnTo>
                <a:lnTo>
                  <a:pt x="4321" y="2437"/>
                </a:lnTo>
                <a:lnTo>
                  <a:pt x="4323" y="2430"/>
                </a:lnTo>
                <a:lnTo>
                  <a:pt x="4325" y="2424"/>
                </a:lnTo>
                <a:lnTo>
                  <a:pt x="4327" y="2418"/>
                </a:lnTo>
                <a:lnTo>
                  <a:pt x="4330" y="2412"/>
                </a:lnTo>
                <a:lnTo>
                  <a:pt x="4334" y="2405"/>
                </a:lnTo>
                <a:lnTo>
                  <a:pt x="4339" y="2398"/>
                </a:lnTo>
                <a:lnTo>
                  <a:pt x="4347" y="2387"/>
                </a:lnTo>
                <a:lnTo>
                  <a:pt x="4359" y="2374"/>
                </a:lnTo>
                <a:lnTo>
                  <a:pt x="4389" y="2339"/>
                </a:lnTo>
                <a:lnTo>
                  <a:pt x="4425" y="2299"/>
                </a:lnTo>
                <a:lnTo>
                  <a:pt x="4460" y="2259"/>
                </a:lnTo>
                <a:lnTo>
                  <a:pt x="4461" y="2258"/>
                </a:lnTo>
                <a:lnTo>
                  <a:pt x="4464" y="2258"/>
                </a:lnTo>
                <a:lnTo>
                  <a:pt x="4468" y="2258"/>
                </a:lnTo>
                <a:lnTo>
                  <a:pt x="4473" y="2260"/>
                </a:lnTo>
                <a:lnTo>
                  <a:pt x="4477" y="2261"/>
                </a:lnTo>
                <a:lnTo>
                  <a:pt x="4481" y="2264"/>
                </a:lnTo>
                <a:lnTo>
                  <a:pt x="4486" y="2267"/>
                </a:lnTo>
                <a:lnTo>
                  <a:pt x="4489" y="2271"/>
                </a:lnTo>
                <a:lnTo>
                  <a:pt x="4493" y="2275"/>
                </a:lnTo>
                <a:lnTo>
                  <a:pt x="4496" y="2280"/>
                </a:lnTo>
                <a:lnTo>
                  <a:pt x="4497" y="2284"/>
                </a:lnTo>
                <a:lnTo>
                  <a:pt x="4498" y="2289"/>
                </a:lnTo>
                <a:lnTo>
                  <a:pt x="4497" y="2295"/>
                </a:lnTo>
                <a:lnTo>
                  <a:pt x="4495" y="2300"/>
                </a:lnTo>
                <a:lnTo>
                  <a:pt x="4492" y="2306"/>
                </a:lnTo>
                <a:lnTo>
                  <a:pt x="4489" y="2313"/>
                </a:lnTo>
                <a:lnTo>
                  <a:pt x="4480" y="2323"/>
                </a:lnTo>
                <a:lnTo>
                  <a:pt x="4468" y="2336"/>
                </a:lnTo>
                <a:lnTo>
                  <a:pt x="4439" y="2369"/>
                </a:lnTo>
                <a:lnTo>
                  <a:pt x="4408" y="2404"/>
                </a:lnTo>
                <a:lnTo>
                  <a:pt x="4396" y="2418"/>
                </a:lnTo>
                <a:lnTo>
                  <a:pt x="4387" y="2430"/>
                </a:lnTo>
                <a:lnTo>
                  <a:pt x="4384" y="2434"/>
                </a:lnTo>
                <a:lnTo>
                  <a:pt x="4383" y="2438"/>
                </a:lnTo>
                <a:lnTo>
                  <a:pt x="4382" y="2442"/>
                </a:lnTo>
                <a:lnTo>
                  <a:pt x="4381" y="2445"/>
                </a:lnTo>
                <a:lnTo>
                  <a:pt x="4382" y="2450"/>
                </a:lnTo>
                <a:lnTo>
                  <a:pt x="4383" y="2454"/>
                </a:lnTo>
                <a:lnTo>
                  <a:pt x="4385" y="2458"/>
                </a:lnTo>
                <a:lnTo>
                  <a:pt x="4388" y="2463"/>
                </a:lnTo>
                <a:lnTo>
                  <a:pt x="4396" y="2472"/>
                </a:lnTo>
                <a:lnTo>
                  <a:pt x="4406" y="2484"/>
                </a:lnTo>
                <a:lnTo>
                  <a:pt x="4434" y="2514"/>
                </a:lnTo>
                <a:lnTo>
                  <a:pt x="4466" y="2546"/>
                </a:lnTo>
                <a:lnTo>
                  <a:pt x="4498" y="2577"/>
                </a:lnTo>
                <a:lnTo>
                  <a:pt x="4500" y="2579"/>
                </a:lnTo>
                <a:lnTo>
                  <a:pt x="4501" y="2581"/>
                </a:lnTo>
                <a:lnTo>
                  <a:pt x="4502" y="2584"/>
                </a:lnTo>
                <a:lnTo>
                  <a:pt x="4503" y="2586"/>
                </a:lnTo>
                <a:lnTo>
                  <a:pt x="4502" y="2592"/>
                </a:lnTo>
                <a:lnTo>
                  <a:pt x="4501" y="2595"/>
                </a:lnTo>
                <a:lnTo>
                  <a:pt x="4499" y="2597"/>
                </a:lnTo>
                <a:lnTo>
                  <a:pt x="4496" y="2603"/>
                </a:lnTo>
                <a:lnTo>
                  <a:pt x="4494" y="2606"/>
                </a:lnTo>
                <a:lnTo>
                  <a:pt x="4491" y="2608"/>
                </a:lnTo>
                <a:lnTo>
                  <a:pt x="4486" y="2614"/>
                </a:lnTo>
                <a:lnTo>
                  <a:pt x="4483" y="2616"/>
                </a:lnTo>
                <a:lnTo>
                  <a:pt x="4480" y="2618"/>
                </a:lnTo>
                <a:lnTo>
                  <a:pt x="4474" y="2620"/>
                </a:lnTo>
                <a:lnTo>
                  <a:pt x="4471" y="2621"/>
                </a:lnTo>
                <a:lnTo>
                  <a:pt x="4467" y="2621"/>
                </a:lnTo>
                <a:close/>
                <a:moveTo>
                  <a:pt x="3303" y="639"/>
                </a:moveTo>
                <a:lnTo>
                  <a:pt x="3296" y="639"/>
                </a:lnTo>
                <a:lnTo>
                  <a:pt x="3288" y="639"/>
                </a:lnTo>
                <a:lnTo>
                  <a:pt x="3280" y="637"/>
                </a:lnTo>
                <a:lnTo>
                  <a:pt x="3273" y="636"/>
                </a:lnTo>
                <a:lnTo>
                  <a:pt x="3265" y="634"/>
                </a:lnTo>
                <a:lnTo>
                  <a:pt x="3258" y="632"/>
                </a:lnTo>
                <a:lnTo>
                  <a:pt x="3244" y="625"/>
                </a:lnTo>
                <a:lnTo>
                  <a:pt x="3231" y="618"/>
                </a:lnTo>
                <a:lnTo>
                  <a:pt x="3225" y="613"/>
                </a:lnTo>
                <a:lnTo>
                  <a:pt x="3219" y="609"/>
                </a:lnTo>
                <a:lnTo>
                  <a:pt x="3213" y="604"/>
                </a:lnTo>
                <a:lnTo>
                  <a:pt x="3206" y="599"/>
                </a:lnTo>
                <a:lnTo>
                  <a:pt x="3201" y="593"/>
                </a:lnTo>
                <a:lnTo>
                  <a:pt x="3196" y="588"/>
                </a:lnTo>
                <a:lnTo>
                  <a:pt x="3191" y="582"/>
                </a:lnTo>
                <a:lnTo>
                  <a:pt x="3186" y="575"/>
                </a:lnTo>
                <a:lnTo>
                  <a:pt x="3181" y="568"/>
                </a:lnTo>
                <a:lnTo>
                  <a:pt x="3177" y="561"/>
                </a:lnTo>
                <a:lnTo>
                  <a:pt x="3173" y="554"/>
                </a:lnTo>
                <a:lnTo>
                  <a:pt x="3170" y="546"/>
                </a:lnTo>
                <a:lnTo>
                  <a:pt x="3166" y="539"/>
                </a:lnTo>
                <a:lnTo>
                  <a:pt x="3163" y="531"/>
                </a:lnTo>
                <a:lnTo>
                  <a:pt x="3161" y="523"/>
                </a:lnTo>
                <a:lnTo>
                  <a:pt x="3158" y="515"/>
                </a:lnTo>
                <a:lnTo>
                  <a:pt x="3156" y="505"/>
                </a:lnTo>
                <a:lnTo>
                  <a:pt x="3155" y="497"/>
                </a:lnTo>
                <a:lnTo>
                  <a:pt x="3153" y="488"/>
                </a:lnTo>
                <a:lnTo>
                  <a:pt x="3153" y="479"/>
                </a:lnTo>
                <a:lnTo>
                  <a:pt x="3152" y="470"/>
                </a:lnTo>
                <a:lnTo>
                  <a:pt x="3152" y="461"/>
                </a:lnTo>
                <a:lnTo>
                  <a:pt x="3153" y="441"/>
                </a:lnTo>
                <a:lnTo>
                  <a:pt x="3154" y="432"/>
                </a:lnTo>
                <a:lnTo>
                  <a:pt x="3155" y="423"/>
                </a:lnTo>
                <a:lnTo>
                  <a:pt x="3157" y="414"/>
                </a:lnTo>
                <a:lnTo>
                  <a:pt x="3159" y="405"/>
                </a:lnTo>
                <a:lnTo>
                  <a:pt x="3161" y="396"/>
                </a:lnTo>
                <a:lnTo>
                  <a:pt x="3164" y="387"/>
                </a:lnTo>
                <a:lnTo>
                  <a:pt x="3167" y="378"/>
                </a:lnTo>
                <a:lnTo>
                  <a:pt x="3171" y="370"/>
                </a:lnTo>
                <a:lnTo>
                  <a:pt x="3175" y="362"/>
                </a:lnTo>
                <a:lnTo>
                  <a:pt x="3179" y="354"/>
                </a:lnTo>
                <a:lnTo>
                  <a:pt x="3183" y="347"/>
                </a:lnTo>
                <a:lnTo>
                  <a:pt x="3188" y="339"/>
                </a:lnTo>
                <a:lnTo>
                  <a:pt x="3198" y="325"/>
                </a:lnTo>
                <a:lnTo>
                  <a:pt x="3203" y="318"/>
                </a:lnTo>
                <a:lnTo>
                  <a:pt x="3209" y="312"/>
                </a:lnTo>
                <a:lnTo>
                  <a:pt x="3222" y="301"/>
                </a:lnTo>
                <a:lnTo>
                  <a:pt x="3229" y="295"/>
                </a:lnTo>
                <a:lnTo>
                  <a:pt x="3236" y="291"/>
                </a:lnTo>
                <a:lnTo>
                  <a:pt x="3242" y="286"/>
                </a:lnTo>
                <a:lnTo>
                  <a:pt x="3249" y="282"/>
                </a:lnTo>
                <a:lnTo>
                  <a:pt x="3257" y="278"/>
                </a:lnTo>
                <a:lnTo>
                  <a:pt x="3264" y="275"/>
                </a:lnTo>
                <a:lnTo>
                  <a:pt x="3273" y="273"/>
                </a:lnTo>
                <a:lnTo>
                  <a:pt x="3280" y="269"/>
                </a:lnTo>
                <a:lnTo>
                  <a:pt x="3288" y="268"/>
                </a:lnTo>
                <a:lnTo>
                  <a:pt x="3296" y="266"/>
                </a:lnTo>
                <a:lnTo>
                  <a:pt x="3305" y="265"/>
                </a:lnTo>
                <a:lnTo>
                  <a:pt x="3313" y="265"/>
                </a:lnTo>
                <a:lnTo>
                  <a:pt x="3323" y="266"/>
                </a:lnTo>
                <a:lnTo>
                  <a:pt x="3328" y="266"/>
                </a:lnTo>
                <a:lnTo>
                  <a:pt x="3334" y="267"/>
                </a:lnTo>
                <a:lnTo>
                  <a:pt x="3338" y="268"/>
                </a:lnTo>
                <a:lnTo>
                  <a:pt x="3343" y="269"/>
                </a:lnTo>
                <a:lnTo>
                  <a:pt x="3351" y="273"/>
                </a:lnTo>
                <a:lnTo>
                  <a:pt x="3359" y="277"/>
                </a:lnTo>
                <a:lnTo>
                  <a:pt x="3366" y="282"/>
                </a:lnTo>
                <a:lnTo>
                  <a:pt x="3373" y="287"/>
                </a:lnTo>
                <a:lnTo>
                  <a:pt x="3379" y="293"/>
                </a:lnTo>
                <a:lnTo>
                  <a:pt x="3382" y="297"/>
                </a:lnTo>
                <a:lnTo>
                  <a:pt x="3384" y="300"/>
                </a:lnTo>
                <a:lnTo>
                  <a:pt x="3389" y="307"/>
                </a:lnTo>
                <a:lnTo>
                  <a:pt x="3394" y="315"/>
                </a:lnTo>
                <a:lnTo>
                  <a:pt x="3398" y="323"/>
                </a:lnTo>
                <a:lnTo>
                  <a:pt x="3400" y="333"/>
                </a:lnTo>
                <a:lnTo>
                  <a:pt x="3402" y="342"/>
                </a:lnTo>
                <a:lnTo>
                  <a:pt x="3403" y="352"/>
                </a:lnTo>
                <a:lnTo>
                  <a:pt x="3404" y="362"/>
                </a:lnTo>
                <a:lnTo>
                  <a:pt x="3403" y="374"/>
                </a:lnTo>
                <a:lnTo>
                  <a:pt x="3402" y="380"/>
                </a:lnTo>
                <a:lnTo>
                  <a:pt x="3401" y="386"/>
                </a:lnTo>
                <a:lnTo>
                  <a:pt x="3397" y="399"/>
                </a:lnTo>
                <a:lnTo>
                  <a:pt x="3392" y="411"/>
                </a:lnTo>
                <a:lnTo>
                  <a:pt x="3385" y="422"/>
                </a:lnTo>
                <a:lnTo>
                  <a:pt x="3377" y="433"/>
                </a:lnTo>
                <a:lnTo>
                  <a:pt x="3373" y="438"/>
                </a:lnTo>
                <a:lnTo>
                  <a:pt x="3369" y="442"/>
                </a:lnTo>
                <a:lnTo>
                  <a:pt x="3360" y="453"/>
                </a:lnTo>
                <a:lnTo>
                  <a:pt x="3350" y="461"/>
                </a:lnTo>
                <a:lnTo>
                  <a:pt x="3344" y="465"/>
                </a:lnTo>
                <a:lnTo>
                  <a:pt x="3339" y="469"/>
                </a:lnTo>
                <a:lnTo>
                  <a:pt x="3327" y="475"/>
                </a:lnTo>
                <a:lnTo>
                  <a:pt x="3315" y="481"/>
                </a:lnTo>
                <a:lnTo>
                  <a:pt x="3303" y="486"/>
                </a:lnTo>
                <a:lnTo>
                  <a:pt x="3297" y="487"/>
                </a:lnTo>
                <a:lnTo>
                  <a:pt x="3291" y="489"/>
                </a:lnTo>
                <a:lnTo>
                  <a:pt x="3284" y="490"/>
                </a:lnTo>
                <a:lnTo>
                  <a:pt x="3278" y="491"/>
                </a:lnTo>
                <a:lnTo>
                  <a:pt x="3265" y="492"/>
                </a:lnTo>
                <a:lnTo>
                  <a:pt x="3259" y="491"/>
                </a:lnTo>
                <a:lnTo>
                  <a:pt x="3254" y="489"/>
                </a:lnTo>
                <a:lnTo>
                  <a:pt x="3250" y="486"/>
                </a:lnTo>
                <a:lnTo>
                  <a:pt x="3248" y="485"/>
                </a:lnTo>
                <a:lnTo>
                  <a:pt x="3246" y="483"/>
                </a:lnTo>
                <a:lnTo>
                  <a:pt x="3243" y="478"/>
                </a:lnTo>
                <a:lnTo>
                  <a:pt x="3240" y="473"/>
                </a:lnTo>
                <a:lnTo>
                  <a:pt x="3239" y="470"/>
                </a:lnTo>
                <a:lnTo>
                  <a:pt x="3239" y="467"/>
                </a:lnTo>
                <a:lnTo>
                  <a:pt x="3238" y="460"/>
                </a:lnTo>
                <a:lnTo>
                  <a:pt x="3238" y="458"/>
                </a:lnTo>
                <a:lnTo>
                  <a:pt x="3239" y="455"/>
                </a:lnTo>
                <a:lnTo>
                  <a:pt x="3240" y="449"/>
                </a:lnTo>
                <a:lnTo>
                  <a:pt x="3241" y="447"/>
                </a:lnTo>
                <a:lnTo>
                  <a:pt x="3242" y="445"/>
                </a:lnTo>
                <a:lnTo>
                  <a:pt x="3244" y="443"/>
                </a:lnTo>
                <a:lnTo>
                  <a:pt x="3245" y="442"/>
                </a:lnTo>
                <a:lnTo>
                  <a:pt x="3256" y="440"/>
                </a:lnTo>
                <a:lnTo>
                  <a:pt x="3267" y="438"/>
                </a:lnTo>
                <a:lnTo>
                  <a:pt x="3278" y="434"/>
                </a:lnTo>
                <a:lnTo>
                  <a:pt x="3288" y="430"/>
                </a:lnTo>
                <a:lnTo>
                  <a:pt x="3297" y="426"/>
                </a:lnTo>
                <a:lnTo>
                  <a:pt x="3305" y="421"/>
                </a:lnTo>
                <a:lnTo>
                  <a:pt x="3313" y="415"/>
                </a:lnTo>
                <a:lnTo>
                  <a:pt x="3317" y="412"/>
                </a:lnTo>
                <a:lnTo>
                  <a:pt x="3320" y="409"/>
                </a:lnTo>
                <a:lnTo>
                  <a:pt x="3327" y="403"/>
                </a:lnTo>
                <a:lnTo>
                  <a:pt x="3333" y="397"/>
                </a:lnTo>
                <a:lnTo>
                  <a:pt x="3338" y="389"/>
                </a:lnTo>
                <a:lnTo>
                  <a:pt x="3343" y="382"/>
                </a:lnTo>
                <a:lnTo>
                  <a:pt x="3346" y="375"/>
                </a:lnTo>
                <a:lnTo>
                  <a:pt x="3348" y="368"/>
                </a:lnTo>
                <a:lnTo>
                  <a:pt x="3350" y="361"/>
                </a:lnTo>
                <a:lnTo>
                  <a:pt x="3350" y="354"/>
                </a:lnTo>
                <a:lnTo>
                  <a:pt x="3350" y="346"/>
                </a:lnTo>
                <a:lnTo>
                  <a:pt x="3347" y="338"/>
                </a:lnTo>
                <a:lnTo>
                  <a:pt x="3346" y="335"/>
                </a:lnTo>
                <a:lnTo>
                  <a:pt x="3344" y="332"/>
                </a:lnTo>
                <a:lnTo>
                  <a:pt x="3342" y="328"/>
                </a:lnTo>
                <a:lnTo>
                  <a:pt x="3339" y="326"/>
                </a:lnTo>
                <a:lnTo>
                  <a:pt x="3334" y="322"/>
                </a:lnTo>
                <a:lnTo>
                  <a:pt x="3329" y="320"/>
                </a:lnTo>
                <a:lnTo>
                  <a:pt x="3326" y="318"/>
                </a:lnTo>
                <a:lnTo>
                  <a:pt x="3318" y="317"/>
                </a:lnTo>
                <a:lnTo>
                  <a:pt x="3314" y="316"/>
                </a:lnTo>
                <a:lnTo>
                  <a:pt x="3309" y="316"/>
                </a:lnTo>
                <a:lnTo>
                  <a:pt x="3300" y="317"/>
                </a:lnTo>
                <a:lnTo>
                  <a:pt x="3296" y="318"/>
                </a:lnTo>
                <a:lnTo>
                  <a:pt x="3291" y="319"/>
                </a:lnTo>
                <a:lnTo>
                  <a:pt x="3287" y="320"/>
                </a:lnTo>
                <a:lnTo>
                  <a:pt x="3282" y="322"/>
                </a:lnTo>
                <a:lnTo>
                  <a:pt x="3278" y="324"/>
                </a:lnTo>
                <a:lnTo>
                  <a:pt x="3274" y="327"/>
                </a:lnTo>
                <a:lnTo>
                  <a:pt x="3268" y="330"/>
                </a:lnTo>
                <a:lnTo>
                  <a:pt x="3264" y="334"/>
                </a:lnTo>
                <a:lnTo>
                  <a:pt x="3256" y="341"/>
                </a:lnTo>
                <a:lnTo>
                  <a:pt x="3248" y="349"/>
                </a:lnTo>
                <a:lnTo>
                  <a:pt x="3241" y="358"/>
                </a:lnTo>
                <a:lnTo>
                  <a:pt x="3237" y="363"/>
                </a:lnTo>
                <a:lnTo>
                  <a:pt x="3234" y="368"/>
                </a:lnTo>
                <a:lnTo>
                  <a:pt x="3228" y="379"/>
                </a:lnTo>
                <a:lnTo>
                  <a:pt x="3222" y="390"/>
                </a:lnTo>
                <a:lnTo>
                  <a:pt x="3217" y="403"/>
                </a:lnTo>
                <a:lnTo>
                  <a:pt x="3214" y="416"/>
                </a:lnTo>
                <a:lnTo>
                  <a:pt x="3211" y="430"/>
                </a:lnTo>
                <a:lnTo>
                  <a:pt x="3208" y="443"/>
                </a:lnTo>
                <a:lnTo>
                  <a:pt x="3207" y="450"/>
                </a:lnTo>
                <a:lnTo>
                  <a:pt x="3207" y="459"/>
                </a:lnTo>
                <a:lnTo>
                  <a:pt x="3208" y="471"/>
                </a:lnTo>
                <a:lnTo>
                  <a:pt x="3209" y="483"/>
                </a:lnTo>
                <a:lnTo>
                  <a:pt x="3212" y="495"/>
                </a:lnTo>
                <a:lnTo>
                  <a:pt x="3214" y="501"/>
                </a:lnTo>
                <a:lnTo>
                  <a:pt x="3215" y="506"/>
                </a:lnTo>
                <a:lnTo>
                  <a:pt x="3219" y="518"/>
                </a:lnTo>
                <a:lnTo>
                  <a:pt x="3221" y="523"/>
                </a:lnTo>
                <a:lnTo>
                  <a:pt x="3223" y="527"/>
                </a:lnTo>
                <a:lnTo>
                  <a:pt x="3226" y="532"/>
                </a:lnTo>
                <a:lnTo>
                  <a:pt x="3229" y="536"/>
                </a:lnTo>
                <a:lnTo>
                  <a:pt x="3231" y="541"/>
                </a:lnTo>
                <a:lnTo>
                  <a:pt x="3234" y="545"/>
                </a:lnTo>
                <a:lnTo>
                  <a:pt x="3238" y="548"/>
                </a:lnTo>
                <a:lnTo>
                  <a:pt x="3241" y="552"/>
                </a:lnTo>
                <a:lnTo>
                  <a:pt x="3248" y="559"/>
                </a:lnTo>
                <a:lnTo>
                  <a:pt x="3256" y="564"/>
                </a:lnTo>
                <a:lnTo>
                  <a:pt x="3265" y="569"/>
                </a:lnTo>
                <a:lnTo>
                  <a:pt x="3275" y="574"/>
                </a:lnTo>
                <a:lnTo>
                  <a:pt x="3284" y="577"/>
                </a:lnTo>
                <a:lnTo>
                  <a:pt x="3294" y="579"/>
                </a:lnTo>
                <a:lnTo>
                  <a:pt x="3300" y="579"/>
                </a:lnTo>
                <a:lnTo>
                  <a:pt x="3305" y="579"/>
                </a:lnTo>
                <a:lnTo>
                  <a:pt x="3316" y="579"/>
                </a:lnTo>
                <a:lnTo>
                  <a:pt x="3326" y="577"/>
                </a:lnTo>
                <a:lnTo>
                  <a:pt x="3337" y="575"/>
                </a:lnTo>
                <a:lnTo>
                  <a:pt x="3346" y="570"/>
                </a:lnTo>
                <a:lnTo>
                  <a:pt x="3356" y="566"/>
                </a:lnTo>
                <a:lnTo>
                  <a:pt x="3365" y="561"/>
                </a:lnTo>
                <a:lnTo>
                  <a:pt x="3373" y="555"/>
                </a:lnTo>
                <a:lnTo>
                  <a:pt x="3381" y="549"/>
                </a:lnTo>
                <a:lnTo>
                  <a:pt x="3389" y="541"/>
                </a:lnTo>
                <a:lnTo>
                  <a:pt x="3398" y="534"/>
                </a:lnTo>
                <a:lnTo>
                  <a:pt x="3405" y="525"/>
                </a:lnTo>
                <a:lnTo>
                  <a:pt x="3412" y="516"/>
                </a:lnTo>
                <a:lnTo>
                  <a:pt x="3425" y="496"/>
                </a:lnTo>
                <a:lnTo>
                  <a:pt x="3431" y="485"/>
                </a:lnTo>
                <a:lnTo>
                  <a:pt x="3437" y="475"/>
                </a:lnTo>
                <a:lnTo>
                  <a:pt x="3442" y="464"/>
                </a:lnTo>
                <a:lnTo>
                  <a:pt x="3447" y="452"/>
                </a:lnTo>
                <a:lnTo>
                  <a:pt x="3452" y="440"/>
                </a:lnTo>
                <a:lnTo>
                  <a:pt x="3456" y="428"/>
                </a:lnTo>
                <a:lnTo>
                  <a:pt x="3460" y="416"/>
                </a:lnTo>
                <a:lnTo>
                  <a:pt x="3463" y="404"/>
                </a:lnTo>
                <a:lnTo>
                  <a:pt x="3466" y="392"/>
                </a:lnTo>
                <a:lnTo>
                  <a:pt x="3469" y="379"/>
                </a:lnTo>
                <a:lnTo>
                  <a:pt x="3471" y="367"/>
                </a:lnTo>
                <a:lnTo>
                  <a:pt x="3473" y="355"/>
                </a:lnTo>
                <a:lnTo>
                  <a:pt x="3475" y="343"/>
                </a:lnTo>
                <a:lnTo>
                  <a:pt x="3476" y="332"/>
                </a:lnTo>
                <a:lnTo>
                  <a:pt x="3476" y="320"/>
                </a:lnTo>
                <a:lnTo>
                  <a:pt x="3477" y="308"/>
                </a:lnTo>
                <a:lnTo>
                  <a:pt x="3477" y="298"/>
                </a:lnTo>
                <a:lnTo>
                  <a:pt x="3476" y="287"/>
                </a:lnTo>
                <a:lnTo>
                  <a:pt x="3477" y="285"/>
                </a:lnTo>
                <a:lnTo>
                  <a:pt x="3479" y="283"/>
                </a:lnTo>
                <a:lnTo>
                  <a:pt x="3481" y="281"/>
                </a:lnTo>
                <a:lnTo>
                  <a:pt x="3484" y="279"/>
                </a:lnTo>
                <a:lnTo>
                  <a:pt x="3490" y="276"/>
                </a:lnTo>
                <a:lnTo>
                  <a:pt x="3494" y="275"/>
                </a:lnTo>
                <a:lnTo>
                  <a:pt x="3499" y="275"/>
                </a:lnTo>
                <a:lnTo>
                  <a:pt x="3506" y="276"/>
                </a:lnTo>
                <a:lnTo>
                  <a:pt x="3509" y="276"/>
                </a:lnTo>
                <a:lnTo>
                  <a:pt x="3513" y="277"/>
                </a:lnTo>
                <a:lnTo>
                  <a:pt x="3519" y="280"/>
                </a:lnTo>
                <a:lnTo>
                  <a:pt x="3522" y="282"/>
                </a:lnTo>
                <a:lnTo>
                  <a:pt x="3524" y="284"/>
                </a:lnTo>
                <a:lnTo>
                  <a:pt x="3528" y="290"/>
                </a:lnTo>
                <a:lnTo>
                  <a:pt x="3530" y="294"/>
                </a:lnTo>
                <a:lnTo>
                  <a:pt x="3531" y="297"/>
                </a:lnTo>
                <a:lnTo>
                  <a:pt x="3532" y="302"/>
                </a:lnTo>
                <a:lnTo>
                  <a:pt x="3533" y="307"/>
                </a:lnTo>
                <a:lnTo>
                  <a:pt x="3533" y="312"/>
                </a:lnTo>
                <a:lnTo>
                  <a:pt x="3533" y="318"/>
                </a:lnTo>
                <a:lnTo>
                  <a:pt x="3533" y="334"/>
                </a:lnTo>
                <a:lnTo>
                  <a:pt x="3532" y="350"/>
                </a:lnTo>
                <a:lnTo>
                  <a:pt x="3530" y="365"/>
                </a:lnTo>
                <a:lnTo>
                  <a:pt x="3528" y="380"/>
                </a:lnTo>
                <a:lnTo>
                  <a:pt x="3526" y="396"/>
                </a:lnTo>
                <a:lnTo>
                  <a:pt x="3523" y="411"/>
                </a:lnTo>
                <a:lnTo>
                  <a:pt x="3519" y="425"/>
                </a:lnTo>
                <a:lnTo>
                  <a:pt x="3515" y="439"/>
                </a:lnTo>
                <a:lnTo>
                  <a:pt x="3511" y="454"/>
                </a:lnTo>
                <a:lnTo>
                  <a:pt x="3505" y="468"/>
                </a:lnTo>
                <a:lnTo>
                  <a:pt x="3500" y="481"/>
                </a:lnTo>
                <a:lnTo>
                  <a:pt x="3494" y="494"/>
                </a:lnTo>
                <a:lnTo>
                  <a:pt x="3488" y="506"/>
                </a:lnTo>
                <a:lnTo>
                  <a:pt x="3482" y="519"/>
                </a:lnTo>
                <a:lnTo>
                  <a:pt x="3475" y="531"/>
                </a:lnTo>
                <a:lnTo>
                  <a:pt x="3467" y="542"/>
                </a:lnTo>
                <a:lnTo>
                  <a:pt x="3460" y="553"/>
                </a:lnTo>
                <a:lnTo>
                  <a:pt x="3452" y="563"/>
                </a:lnTo>
                <a:lnTo>
                  <a:pt x="3442" y="573"/>
                </a:lnTo>
                <a:lnTo>
                  <a:pt x="3434" y="582"/>
                </a:lnTo>
                <a:lnTo>
                  <a:pt x="3425" y="591"/>
                </a:lnTo>
                <a:lnTo>
                  <a:pt x="3415" y="599"/>
                </a:lnTo>
                <a:lnTo>
                  <a:pt x="3405" y="606"/>
                </a:lnTo>
                <a:lnTo>
                  <a:pt x="3395" y="612"/>
                </a:lnTo>
                <a:lnTo>
                  <a:pt x="3384" y="618"/>
                </a:lnTo>
                <a:lnTo>
                  <a:pt x="3374" y="624"/>
                </a:lnTo>
                <a:lnTo>
                  <a:pt x="3363" y="628"/>
                </a:lnTo>
                <a:lnTo>
                  <a:pt x="3351" y="633"/>
                </a:lnTo>
                <a:lnTo>
                  <a:pt x="3340" y="636"/>
                </a:lnTo>
                <a:lnTo>
                  <a:pt x="3327" y="638"/>
                </a:lnTo>
                <a:lnTo>
                  <a:pt x="3315" y="639"/>
                </a:lnTo>
                <a:lnTo>
                  <a:pt x="3303" y="639"/>
                </a:lnTo>
                <a:close/>
                <a:moveTo>
                  <a:pt x="3691" y="634"/>
                </a:moveTo>
                <a:lnTo>
                  <a:pt x="3688" y="633"/>
                </a:lnTo>
                <a:lnTo>
                  <a:pt x="3686" y="633"/>
                </a:lnTo>
                <a:lnTo>
                  <a:pt x="3681" y="629"/>
                </a:lnTo>
                <a:lnTo>
                  <a:pt x="3674" y="625"/>
                </a:lnTo>
                <a:lnTo>
                  <a:pt x="3667" y="619"/>
                </a:lnTo>
                <a:lnTo>
                  <a:pt x="3654" y="608"/>
                </a:lnTo>
                <a:lnTo>
                  <a:pt x="3639" y="595"/>
                </a:lnTo>
                <a:lnTo>
                  <a:pt x="3622" y="579"/>
                </a:lnTo>
                <a:lnTo>
                  <a:pt x="3605" y="561"/>
                </a:lnTo>
                <a:lnTo>
                  <a:pt x="3589" y="544"/>
                </a:lnTo>
                <a:lnTo>
                  <a:pt x="3575" y="527"/>
                </a:lnTo>
                <a:lnTo>
                  <a:pt x="3563" y="513"/>
                </a:lnTo>
                <a:lnTo>
                  <a:pt x="3558" y="506"/>
                </a:lnTo>
                <a:lnTo>
                  <a:pt x="3555" y="501"/>
                </a:lnTo>
                <a:lnTo>
                  <a:pt x="3550" y="490"/>
                </a:lnTo>
                <a:lnTo>
                  <a:pt x="3546" y="481"/>
                </a:lnTo>
                <a:lnTo>
                  <a:pt x="3544" y="471"/>
                </a:lnTo>
                <a:lnTo>
                  <a:pt x="3543" y="461"/>
                </a:lnTo>
                <a:lnTo>
                  <a:pt x="3543" y="456"/>
                </a:lnTo>
                <a:lnTo>
                  <a:pt x="3544" y="449"/>
                </a:lnTo>
                <a:lnTo>
                  <a:pt x="3545" y="443"/>
                </a:lnTo>
                <a:lnTo>
                  <a:pt x="3547" y="437"/>
                </a:lnTo>
                <a:lnTo>
                  <a:pt x="3550" y="431"/>
                </a:lnTo>
                <a:lnTo>
                  <a:pt x="3553" y="424"/>
                </a:lnTo>
                <a:lnTo>
                  <a:pt x="3557" y="418"/>
                </a:lnTo>
                <a:lnTo>
                  <a:pt x="3561" y="411"/>
                </a:lnTo>
                <a:lnTo>
                  <a:pt x="3571" y="400"/>
                </a:lnTo>
                <a:lnTo>
                  <a:pt x="3582" y="385"/>
                </a:lnTo>
                <a:lnTo>
                  <a:pt x="3612" y="352"/>
                </a:lnTo>
                <a:lnTo>
                  <a:pt x="3647" y="312"/>
                </a:lnTo>
                <a:lnTo>
                  <a:pt x="3682" y="270"/>
                </a:lnTo>
                <a:lnTo>
                  <a:pt x="3683" y="270"/>
                </a:lnTo>
                <a:lnTo>
                  <a:pt x="3687" y="270"/>
                </a:lnTo>
                <a:lnTo>
                  <a:pt x="3691" y="270"/>
                </a:lnTo>
                <a:lnTo>
                  <a:pt x="3695" y="272"/>
                </a:lnTo>
                <a:lnTo>
                  <a:pt x="3700" y="274"/>
                </a:lnTo>
                <a:lnTo>
                  <a:pt x="3704" y="276"/>
                </a:lnTo>
                <a:lnTo>
                  <a:pt x="3708" y="280"/>
                </a:lnTo>
                <a:lnTo>
                  <a:pt x="3712" y="283"/>
                </a:lnTo>
                <a:lnTo>
                  <a:pt x="3716" y="288"/>
                </a:lnTo>
                <a:lnTo>
                  <a:pt x="3718" y="292"/>
                </a:lnTo>
                <a:lnTo>
                  <a:pt x="3720" y="297"/>
                </a:lnTo>
                <a:lnTo>
                  <a:pt x="3720" y="302"/>
                </a:lnTo>
                <a:lnTo>
                  <a:pt x="3720" y="307"/>
                </a:lnTo>
                <a:lnTo>
                  <a:pt x="3718" y="313"/>
                </a:lnTo>
                <a:lnTo>
                  <a:pt x="3715" y="318"/>
                </a:lnTo>
                <a:lnTo>
                  <a:pt x="3711" y="324"/>
                </a:lnTo>
                <a:lnTo>
                  <a:pt x="3703" y="336"/>
                </a:lnTo>
                <a:lnTo>
                  <a:pt x="3692" y="349"/>
                </a:lnTo>
                <a:lnTo>
                  <a:pt x="3662" y="382"/>
                </a:lnTo>
                <a:lnTo>
                  <a:pt x="3632" y="416"/>
                </a:lnTo>
                <a:lnTo>
                  <a:pt x="3619" y="431"/>
                </a:lnTo>
                <a:lnTo>
                  <a:pt x="3610" y="442"/>
                </a:lnTo>
                <a:lnTo>
                  <a:pt x="3607" y="446"/>
                </a:lnTo>
                <a:lnTo>
                  <a:pt x="3605" y="450"/>
                </a:lnTo>
                <a:lnTo>
                  <a:pt x="3604" y="454"/>
                </a:lnTo>
                <a:lnTo>
                  <a:pt x="3604" y="458"/>
                </a:lnTo>
                <a:lnTo>
                  <a:pt x="3604" y="462"/>
                </a:lnTo>
                <a:lnTo>
                  <a:pt x="3606" y="467"/>
                </a:lnTo>
                <a:lnTo>
                  <a:pt x="3608" y="471"/>
                </a:lnTo>
                <a:lnTo>
                  <a:pt x="3611" y="476"/>
                </a:lnTo>
                <a:lnTo>
                  <a:pt x="3618" y="485"/>
                </a:lnTo>
                <a:lnTo>
                  <a:pt x="3629" y="497"/>
                </a:lnTo>
                <a:lnTo>
                  <a:pt x="3657" y="527"/>
                </a:lnTo>
                <a:lnTo>
                  <a:pt x="3689" y="559"/>
                </a:lnTo>
                <a:lnTo>
                  <a:pt x="3721" y="590"/>
                </a:lnTo>
                <a:lnTo>
                  <a:pt x="3723" y="592"/>
                </a:lnTo>
                <a:lnTo>
                  <a:pt x="3724" y="594"/>
                </a:lnTo>
                <a:lnTo>
                  <a:pt x="3725" y="596"/>
                </a:lnTo>
                <a:lnTo>
                  <a:pt x="3725" y="599"/>
                </a:lnTo>
                <a:lnTo>
                  <a:pt x="3725" y="604"/>
                </a:lnTo>
                <a:lnTo>
                  <a:pt x="3724" y="607"/>
                </a:lnTo>
                <a:lnTo>
                  <a:pt x="3722" y="610"/>
                </a:lnTo>
                <a:lnTo>
                  <a:pt x="3719" y="616"/>
                </a:lnTo>
                <a:lnTo>
                  <a:pt x="3716" y="618"/>
                </a:lnTo>
                <a:lnTo>
                  <a:pt x="3714" y="621"/>
                </a:lnTo>
                <a:lnTo>
                  <a:pt x="3709" y="626"/>
                </a:lnTo>
                <a:lnTo>
                  <a:pt x="3706" y="628"/>
                </a:lnTo>
                <a:lnTo>
                  <a:pt x="3703" y="629"/>
                </a:lnTo>
                <a:lnTo>
                  <a:pt x="3697" y="633"/>
                </a:lnTo>
                <a:lnTo>
                  <a:pt x="3694" y="633"/>
                </a:lnTo>
                <a:lnTo>
                  <a:pt x="3691" y="634"/>
                </a:lnTo>
                <a:close/>
                <a:moveTo>
                  <a:pt x="3303" y="1633"/>
                </a:moveTo>
                <a:lnTo>
                  <a:pt x="3296" y="1632"/>
                </a:lnTo>
                <a:lnTo>
                  <a:pt x="3288" y="1632"/>
                </a:lnTo>
                <a:lnTo>
                  <a:pt x="3280" y="1631"/>
                </a:lnTo>
                <a:lnTo>
                  <a:pt x="3273" y="1629"/>
                </a:lnTo>
                <a:lnTo>
                  <a:pt x="3265" y="1627"/>
                </a:lnTo>
                <a:lnTo>
                  <a:pt x="3258" y="1625"/>
                </a:lnTo>
                <a:lnTo>
                  <a:pt x="3244" y="1619"/>
                </a:lnTo>
                <a:lnTo>
                  <a:pt x="3231" y="1612"/>
                </a:lnTo>
                <a:lnTo>
                  <a:pt x="3225" y="1608"/>
                </a:lnTo>
                <a:lnTo>
                  <a:pt x="3219" y="1603"/>
                </a:lnTo>
                <a:lnTo>
                  <a:pt x="3213" y="1598"/>
                </a:lnTo>
                <a:lnTo>
                  <a:pt x="3206" y="1593"/>
                </a:lnTo>
                <a:lnTo>
                  <a:pt x="3201" y="1587"/>
                </a:lnTo>
                <a:lnTo>
                  <a:pt x="3196" y="1581"/>
                </a:lnTo>
                <a:lnTo>
                  <a:pt x="3191" y="1575"/>
                </a:lnTo>
                <a:lnTo>
                  <a:pt x="3186" y="1568"/>
                </a:lnTo>
                <a:lnTo>
                  <a:pt x="3181" y="1562"/>
                </a:lnTo>
                <a:lnTo>
                  <a:pt x="3177" y="1555"/>
                </a:lnTo>
                <a:lnTo>
                  <a:pt x="3173" y="1548"/>
                </a:lnTo>
                <a:lnTo>
                  <a:pt x="3170" y="1540"/>
                </a:lnTo>
                <a:lnTo>
                  <a:pt x="3166" y="1533"/>
                </a:lnTo>
                <a:lnTo>
                  <a:pt x="3163" y="1524"/>
                </a:lnTo>
                <a:lnTo>
                  <a:pt x="3161" y="1516"/>
                </a:lnTo>
                <a:lnTo>
                  <a:pt x="3158" y="1508"/>
                </a:lnTo>
                <a:lnTo>
                  <a:pt x="3156" y="1500"/>
                </a:lnTo>
                <a:lnTo>
                  <a:pt x="3155" y="1491"/>
                </a:lnTo>
                <a:lnTo>
                  <a:pt x="3153" y="1482"/>
                </a:lnTo>
                <a:lnTo>
                  <a:pt x="3153" y="1473"/>
                </a:lnTo>
                <a:lnTo>
                  <a:pt x="3152" y="1463"/>
                </a:lnTo>
                <a:lnTo>
                  <a:pt x="3152" y="1454"/>
                </a:lnTo>
                <a:lnTo>
                  <a:pt x="3153" y="1436"/>
                </a:lnTo>
                <a:lnTo>
                  <a:pt x="3154" y="1426"/>
                </a:lnTo>
                <a:lnTo>
                  <a:pt x="3155" y="1417"/>
                </a:lnTo>
                <a:lnTo>
                  <a:pt x="3157" y="1407"/>
                </a:lnTo>
                <a:lnTo>
                  <a:pt x="3159" y="1398"/>
                </a:lnTo>
                <a:lnTo>
                  <a:pt x="3161" y="1390"/>
                </a:lnTo>
                <a:lnTo>
                  <a:pt x="3164" y="1381"/>
                </a:lnTo>
                <a:lnTo>
                  <a:pt x="3167" y="1373"/>
                </a:lnTo>
                <a:lnTo>
                  <a:pt x="3171" y="1364"/>
                </a:lnTo>
                <a:lnTo>
                  <a:pt x="3175" y="1356"/>
                </a:lnTo>
                <a:lnTo>
                  <a:pt x="3179" y="1348"/>
                </a:lnTo>
                <a:lnTo>
                  <a:pt x="3183" y="1340"/>
                </a:lnTo>
                <a:lnTo>
                  <a:pt x="3188" y="1333"/>
                </a:lnTo>
                <a:lnTo>
                  <a:pt x="3198" y="1319"/>
                </a:lnTo>
                <a:lnTo>
                  <a:pt x="3203" y="1312"/>
                </a:lnTo>
                <a:lnTo>
                  <a:pt x="3209" y="1306"/>
                </a:lnTo>
                <a:lnTo>
                  <a:pt x="3222" y="1295"/>
                </a:lnTo>
                <a:lnTo>
                  <a:pt x="3229" y="1289"/>
                </a:lnTo>
                <a:lnTo>
                  <a:pt x="3236" y="1284"/>
                </a:lnTo>
                <a:lnTo>
                  <a:pt x="3242" y="1279"/>
                </a:lnTo>
                <a:lnTo>
                  <a:pt x="3249" y="1275"/>
                </a:lnTo>
                <a:lnTo>
                  <a:pt x="3257" y="1272"/>
                </a:lnTo>
                <a:lnTo>
                  <a:pt x="3264" y="1269"/>
                </a:lnTo>
                <a:lnTo>
                  <a:pt x="3273" y="1266"/>
                </a:lnTo>
                <a:lnTo>
                  <a:pt x="3280" y="1264"/>
                </a:lnTo>
                <a:lnTo>
                  <a:pt x="3288" y="1262"/>
                </a:lnTo>
                <a:lnTo>
                  <a:pt x="3296" y="1260"/>
                </a:lnTo>
                <a:lnTo>
                  <a:pt x="3305" y="1260"/>
                </a:lnTo>
                <a:lnTo>
                  <a:pt x="3313" y="1259"/>
                </a:lnTo>
                <a:lnTo>
                  <a:pt x="3323" y="1260"/>
                </a:lnTo>
                <a:lnTo>
                  <a:pt x="3328" y="1260"/>
                </a:lnTo>
                <a:lnTo>
                  <a:pt x="3334" y="1261"/>
                </a:lnTo>
                <a:lnTo>
                  <a:pt x="3338" y="1262"/>
                </a:lnTo>
                <a:lnTo>
                  <a:pt x="3343" y="1263"/>
                </a:lnTo>
                <a:lnTo>
                  <a:pt x="3351" y="1267"/>
                </a:lnTo>
                <a:lnTo>
                  <a:pt x="3359" y="1270"/>
                </a:lnTo>
                <a:lnTo>
                  <a:pt x="3366" y="1275"/>
                </a:lnTo>
                <a:lnTo>
                  <a:pt x="3373" y="1280"/>
                </a:lnTo>
                <a:lnTo>
                  <a:pt x="3379" y="1286"/>
                </a:lnTo>
                <a:lnTo>
                  <a:pt x="3382" y="1290"/>
                </a:lnTo>
                <a:lnTo>
                  <a:pt x="3384" y="1294"/>
                </a:lnTo>
                <a:lnTo>
                  <a:pt x="3389" y="1301"/>
                </a:lnTo>
                <a:lnTo>
                  <a:pt x="3394" y="1309"/>
                </a:lnTo>
                <a:lnTo>
                  <a:pt x="3398" y="1317"/>
                </a:lnTo>
                <a:lnTo>
                  <a:pt x="3400" y="1326"/>
                </a:lnTo>
                <a:lnTo>
                  <a:pt x="3402" y="1335"/>
                </a:lnTo>
                <a:lnTo>
                  <a:pt x="3403" y="1345"/>
                </a:lnTo>
                <a:lnTo>
                  <a:pt x="3404" y="1356"/>
                </a:lnTo>
                <a:lnTo>
                  <a:pt x="3403" y="1368"/>
                </a:lnTo>
                <a:lnTo>
                  <a:pt x="3402" y="1374"/>
                </a:lnTo>
                <a:lnTo>
                  <a:pt x="3401" y="1380"/>
                </a:lnTo>
                <a:lnTo>
                  <a:pt x="3397" y="1392"/>
                </a:lnTo>
                <a:lnTo>
                  <a:pt x="3392" y="1404"/>
                </a:lnTo>
                <a:lnTo>
                  <a:pt x="3385" y="1416"/>
                </a:lnTo>
                <a:lnTo>
                  <a:pt x="3377" y="1427"/>
                </a:lnTo>
                <a:lnTo>
                  <a:pt x="3373" y="1432"/>
                </a:lnTo>
                <a:lnTo>
                  <a:pt x="3369" y="1437"/>
                </a:lnTo>
                <a:lnTo>
                  <a:pt x="3360" y="1446"/>
                </a:lnTo>
                <a:lnTo>
                  <a:pt x="3350" y="1454"/>
                </a:lnTo>
                <a:lnTo>
                  <a:pt x="3344" y="1458"/>
                </a:lnTo>
                <a:lnTo>
                  <a:pt x="3339" y="1462"/>
                </a:lnTo>
                <a:lnTo>
                  <a:pt x="3327" y="1469"/>
                </a:lnTo>
                <a:lnTo>
                  <a:pt x="3315" y="1475"/>
                </a:lnTo>
                <a:lnTo>
                  <a:pt x="3303" y="1480"/>
                </a:lnTo>
                <a:lnTo>
                  <a:pt x="3297" y="1482"/>
                </a:lnTo>
                <a:lnTo>
                  <a:pt x="3291" y="1483"/>
                </a:lnTo>
                <a:lnTo>
                  <a:pt x="3284" y="1484"/>
                </a:lnTo>
                <a:lnTo>
                  <a:pt x="3278" y="1485"/>
                </a:lnTo>
                <a:lnTo>
                  <a:pt x="3265" y="1486"/>
                </a:lnTo>
                <a:lnTo>
                  <a:pt x="3259" y="1485"/>
                </a:lnTo>
                <a:lnTo>
                  <a:pt x="3254" y="1483"/>
                </a:lnTo>
                <a:lnTo>
                  <a:pt x="3250" y="1481"/>
                </a:lnTo>
                <a:lnTo>
                  <a:pt x="3248" y="1479"/>
                </a:lnTo>
                <a:lnTo>
                  <a:pt x="3246" y="1477"/>
                </a:lnTo>
                <a:lnTo>
                  <a:pt x="3243" y="1472"/>
                </a:lnTo>
                <a:lnTo>
                  <a:pt x="3240" y="1466"/>
                </a:lnTo>
                <a:lnTo>
                  <a:pt x="3239" y="1463"/>
                </a:lnTo>
                <a:lnTo>
                  <a:pt x="3239" y="1460"/>
                </a:lnTo>
                <a:lnTo>
                  <a:pt x="3238" y="1454"/>
                </a:lnTo>
                <a:lnTo>
                  <a:pt x="3238" y="1451"/>
                </a:lnTo>
                <a:lnTo>
                  <a:pt x="3239" y="1448"/>
                </a:lnTo>
                <a:lnTo>
                  <a:pt x="3240" y="1443"/>
                </a:lnTo>
                <a:lnTo>
                  <a:pt x="3241" y="1441"/>
                </a:lnTo>
                <a:lnTo>
                  <a:pt x="3242" y="1439"/>
                </a:lnTo>
                <a:lnTo>
                  <a:pt x="3244" y="1438"/>
                </a:lnTo>
                <a:lnTo>
                  <a:pt x="3245" y="1436"/>
                </a:lnTo>
                <a:lnTo>
                  <a:pt x="3256" y="1434"/>
                </a:lnTo>
                <a:lnTo>
                  <a:pt x="3267" y="1432"/>
                </a:lnTo>
                <a:lnTo>
                  <a:pt x="3278" y="1428"/>
                </a:lnTo>
                <a:lnTo>
                  <a:pt x="3288" y="1424"/>
                </a:lnTo>
                <a:lnTo>
                  <a:pt x="3297" y="1420"/>
                </a:lnTo>
                <a:lnTo>
                  <a:pt x="3305" y="1415"/>
                </a:lnTo>
                <a:lnTo>
                  <a:pt x="3313" y="1408"/>
                </a:lnTo>
                <a:lnTo>
                  <a:pt x="3317" y="1406"/>
                </a:lnTo>
                <a:lnTo>
                  <a:pt x="3320" y="1403"/>
                </a:lnTo>
                <a:lnTo>
                  <a:pt x="3327" y="1396"/>
                </a:lnTo>
                <a:lnTo>
                  <a:pt x="3333" y="1390"/>
                </a:lnTo>
                <a:lnTo>
                  <a:pt x="3338" y="1383"/>
                </a:lnTo>
                <a:lnTo>
                  <a:pt x="3343" y="1376"/>
                </a:lnTo>
                <a:lnTo>
                  <a:pt x="3346" y="1369"/>
                </a:lnTo>
                <a:lnTo>
                  <a:pt x="3348" y="1362"/>
                </a:lnTo>
                <a:lnTo>
                  <a:pt x="3350" y="1355"/>
                </a:lnTo>
                <a:lnTo>
                  <a:pt x="3350" y="1347"/>
                </a:lnTo>
                <a:lnTo>
                  <a:pt x="3350" y="1339"/>
                </a:lnTo>
                <a:lnTo>
                  <a:pt x="3347" y="1332"/>
                </a:lnTo>
                <a:lnTo>
                  <a:pt x="3346" y="1328"/>
                </a:lnTo>
                <a:lnTo>
                  <a:pt x="3344" y="1325"/>
                </a:lnTo>
                <a:lnTo>
                  <a:pt x="3342" y="1323"/>
                </a:lnTo>
                <a:lnTo>
                  <a:pt x="3339" y="1320"/>
                </a:lnTo>
                <a:lnTo>
                  <a:pt x="3334" y="1316"/>
                </a:lnTo>
                <a:lnTo>
                  <a:pt x="3329" y="1314"/>
                </a:lnTo>
                <a:lnTo>
                  <a:pt x="3326" y="1313"/>
                </a:lnTo>
                <a:lnTo>
                  <a:pt x="3318" y="1311"/>
                </a:lnTo>
                <a:lnTo>
                  <a:pt x="3314" y="1310"/>
                </a:lnTo>
                <a:lnTo>
                  <a:pt x="3309" y="1310"/>
                </a:lnTo>
                <a:lnTo>
                  <a:pt x="3300" y="1311"/>
                </a:lnTo>
                <a:lnTo>
                  <a:pt x="3296" y="1312"/>
                </a:lnTo>
                <a:lnTo>
                  <a:pt x="3291" y="1313"/>
                </a:lnTo>
                <a:lnTo>
                  <a:pt x="3287" y="1315"/>
                </a:lnTo>
                <a:lnTo>
                  <a:pt x="3282" y="1316"/>
                </a:lnTo>
                <a:lnTo>
                  <a:pt x="3278" y="1319"/>
                </a:lnTo>
                <a:lnTo>
                  <a:pt x="3274" y="1321"/>
                </a:lnTo>
                <a:lnTo>
                  <a:pt x="3268" y="1324"/>
                </a:lnTo>
                <a:lnTo>
                  <a:pt x="3264" y="1327"/>
                </a:lnTo>
                <a:lnTo>
                  <a:pt x="3256" y="1334"/>
                </a:lnTo>
                <a:lnTo>
                  <a:pt x="3248" y="1342"/>
                </a:lnTo>
                <a:lnTo>
                  <a:pt x="3241" y="1352"/>
                </a:lnTo>
                <a:lnTo>
                  <a:pt x="3237" y="1357"/>
                </a:lnTo>
                <a:lnTo>
                  <a:pt x="3234" y="1362"/>
                </a:lnTo>
                <a:lnTo>
                  <a:pt x="3228" y="1373"/>
                </a:lnTo>
                <a:lnTo>
                  <a:pt x="3222" y="1384"/>
                </a:lnTo>
                <a:lnTo>
                  <a:pt x="3217" y="1397"/>
                </a:lnTo>
                <a:lnTo>
                  <a:pt x="3214" y="1409"/>
                </a:lnTo>
                <a:lnTo>
                  <a:pt x="3211" y="1424"/>
                </a:lnTo>
                <a:lnTo>
                  <a:pt x="3208" y="1438"/>
                </a:lnTo>
                <a:lnTo>
                  <a:pt x="3207" y="1445"/>
                </a:lnTo>
                <a:lnTo>
                  <a:pt x="3207" y="1452"/>
                </a:lnTo>
                <a:lnTo>
                  <a:pt x="3208" y="1464"/>
                </a:lnTo>
                <a:lnTo>
                  <a:pt x="3209" y="1478"/>
                </a:lnTo>
                <a:lnTo>
                  <a:pt x="3212" y="1489"/>
                </a:lnTo>
                <a:lnTo>
                  <a:pt x="3214" y="1495"/>
                </a:lnTo>
                <a:lnTo>
                  <a:pt x="3215" y="1500"/>
                </a:lnTo>
                <a:lnTo>
                  <a:pt x="3219" y="1511"/>
                </a:lnTo>
                <a:lnTo>
                  <a:pt x="3221" y="1516"/>
                </a:lnTo>
                <a:lnTo>
                  <a:pt x="3223" y="1521"/>
                </a:lnTo>
                <a:lnTo>
                  <a:pt x="3226" y="1525"/>
                </a:lnTo>
                <a:lnTo>
                  <a:pt x="3229" y="1530"/>
                </a:lnTo>
                <a:lnTo>
                  <a:pt x="3231" y="1535"/>
                </a:lnTo>
                <a:lnTo>
                  <a:pt x="3234" y="1539"/>
                </a:lnTo>
                <a:lnTo>
                  <a:pt x="3238" y="1543"/>
                </a:lnTo>
                <a:lnTo>
                  <a:pt x="3241" y="1546"/>
                </a:lnTo>
                <a:lnTo>
                  <a:pt x="3248" y="1553"/>
                </a:lnTo>
                <a:lnTo>
                  <a:pt x="3256" y="1559"/>
                </a:lnTo>
                <a:lnTo>
                  <a:pt x="3265" y="1563"/>
                </a:lnTo>
                <a:lnTo>
                  <a:pt x="3275" y="1567"/>
                </a:lnTo>
                <a:lnTo>
                  <a:pt x="3284" y="1570"/>
                </a:lnTo>
                <a:lnTo>
                  <a:pt x="3294" y="1572"/>
                </a:lnTo>
                <a:lnTo>
                  <a:pt x="3300" y="1572"/>
                </a:lnTo>
                <a:lnTo>
                  <a:pt x="3305" y="1572"/>
                </a:lnTo>
                <a:lnTo>
                  <a:pt x="3316" y="1572"/>
                </a:lnTo>
                <a:lnTo>
                  <a:pt x="3326" y="1570"/>
                </a:lnTo>
                <a:lnTo>
                  <a:pt x="3337" y="1568"/>
                </a:lnTo>
                <a:lnTo>
                  <a:pt x="3346" y="1564"/>
                </a:lnTo>
                <a:lnTo>
                  <a:pt x="3356" y="1560"/>
                </a:lnTo>
                <a:lnTo>
                  <a:pt x="3365" y="1555"/>
                </a:lnTo>
                <a:lnTo>
                  <a:pt x="3373" y="1549"/>
                </a:lnTo>
                <a:lnTo>
                  <a:pt x="3381" y="1543"/>
                </a:lnTo>
                <a:lnTo>
                  <a:pt x="3389" y="1536"/>
                </a:lnTo>
                <a:lnTo>
                  <a:pt x="3398" y="1527"/>
                </a:lnTo>
                <a:lnTo>
                  <a:pt x="3405" y="1518"/>
                </a:lnTo>
                <a:lnTo>
                  <a:pt x="3412" y="1509"/>
                </a:lnTo>
                <a:lnTo>
                  <a:pt x="3425" y="1490"/>
                </a:lnTo>
                <a:lnTo>
                  <a:pt x="3431" y="1479"/>
                </a:lnTo>
                <a:lnTo>
                  <a:pt x="3437" y="1468"/>
                </a:lnTo>
                <a:lnTo>
                  <a:pt x="3442" y="1457"/>
                </a:lnTo>
                <a:lnTo>
                  <a:pt x="3447" y="1445"/>
                </a:lnTo>
                <a:lnTo>
                  <a:pt x="3452" y="1434"/>
                </a:lnTo>
                <a:lnTo>
                  <a:pt x="3456" y="1422"/>
                </a:lnTo>
                <a:lnTo>
                  <a:pt x="3460" y="1409"/>
                </a:lnTo>
                <a:lnTo>
                  <a:pt x="3463" y="1397"/>
                </a:lnTo>
                <a:lnTo>
                  <a:pt x="3466" y="1385"/>
                </a:lnTo>
                <a:lnTo>
                  <a:pt x="3469" y="1373"/>
                </a:lnTo>
                <a:lnTo>
                  <a:pt x="3471" y="1361"/>
                </a:lnTo>
                <a:lnTo>
                  <a:pt x="3473" y="1348"/>
                </a:lnTo>
                <a:lnTo>
                  <a:pt x="3475" y="1337"/>
                </a:lnTo>
                <a:lnTo>
                  <a:pt x="3476" y="1325"/>
                </a:lnTo>
                <a:lnTo>
                  <a:pt x="3476" y="1314"/>
                </a:lnTo>
                <a:lnTo>
                  <a:pt x="3477" y="1303"/>
                </a:lnTo>
                <a:lnTo>
                  <a:pt x="3477" y="1292"/>
                </a:lnTo>
                <a:lnTo>
                  <a:pt x="3476" y="1280"/>
                </a:lnTo>
                <a:lnTo>
                  <a:pt x="3477" y="1278"/>
                </a:lnTo>
                <a:lnTo>
                  <a:pt x="3479" y="1276"/>
                </a:lnTo>
                <a:lnTo>
                  <a:pt x="3481" y="1274"/>
                </a:lnTo>
                <a:lnTo>
                  <a:pt x="3484" y="1272"/>
                </a:lnTo>
                <a:lnTo>
                  <a:pt x="3490" y="1269"/>
                </a:lnTo>
                <a:lnTo>
                  <a:pt x="3494" y="1269"/>
                </a:lnTo>
                <a:lnTo>
                  <a:pt x="3499" y="1268"/>
                </a:lnTo>
                <a:lnTo>
                  <a:pt x="3506" y="1269"/>
                </a:lnTo>
                <a:lnTo>
                  <a:pt x="3509" y="1269"/>
                </a:lnTo>
                <a:lnTo>
                  <a:pt x="3513" y="1270"/>
                </a:lnTo>
                <a:lnTo>
                  <a:pt x="3519" y="1273"/>
                </a:lnTo>
                <a:lnTo>
                  <a:pt x="3522" y="1275"/>
                </a:lnTo>
                <a:lnTo>
                  <a:pt x="3524" y="1277"/>
                </a:lnTo>
                <a:lnTo>
                  <a:pt x="3528" y="1283"/>
                </a:lnTo>
                <a:lnTo>
                  <a:pt x="3530" y="1287"/>
                </a:lnTo>
                <a:lnTo>
                  <a:pt x="3531" y="1292"/>
                </a:lnTo>
                <a:lnTo>
                  <a:pt x="3532" y="1296"/>
                </a:lnTo>
                <a:lnTo>
                  <a:pt x="3533" y="1301"/>
                </a:lnTo>
                <a:lnTo>
                  <a:pt x="3533" y="1306"/>
                </a:lnTo>
                <a:lnTo>
                  <a:pt x="3533" y="1312"/>
                </a:lnTo>
                <a:lnTo>
                  <a:pt x="3533" y="1328"/>
                </a:lnTo>
                <a:lnTo>
                  <a:pt x="3532" y="1343"/>
                </a:lnTo>
                <a:lnTo>
                  <a:pt x="3530" y="1359"/>
                </a:lnTo>
                <a:lnTo>
                  <a:pt x="3528" y="1374"/>
                </a:lnTo>
                <a:lnTo>
                  <a:pt x="3526" y="1389"/>
                </a:lnTo>
                <a:lnTo>
                  <a:pt x="3523" y="1404"/>
                </a:lnTo>
                <a:lnTo>
                  <a:pt x="3519" y="1419"/>
                </a:lnTo>
                <a:lnTo>
                  <a:pt x="3515" y="1434"/>
                </a:lnTo>
                <a:lnTo>
                  <a:pt x="3511" y="1447"/>
                </a:lnTo>
                <a:lnTo>
                  <a:pt x="3505" y="1461"/>
                </a:lnTo>
                <a:lnTo>
                  <a:pt x="3500" y="1475"/>
                </a:lnTo>
                <a:lnTo>
                  <a:pt x="3494" y="1488"/>
                </a:lnTo>
                <a:lnTo>
                  <a:pt x="3488" y="1500"/>
                </a:lnTo>
                <a:lnTo>
                  <a:pt x="3482" y="1512"/>
                </a:lnTo>
                <a:lnTo>
                  <a:pt x="3475" y="1524"/>
                </a:lnTo>
                <a:lnTo>
                  <a:pt x="3467" y="1536"/>
                </a:lnTo>
                <a:lnTo>
                  <a:pt x="3460" y="1547"/>
                </a:lnTo>
                <a:lnTo>
                  <a:pt x="3452" y="1557"/>
                </a:lnTo>
                <a:lnTo>
                  <a:pt x="3442" y="1567"/>
                </a:lnTo>
                <a:lnTo>
                  <a:pt x="3434" y="1576"/>
                </a:lnTo>
                <a:lnTo>
                  <a:pt x="3425" y="1584"/>
                </a:lnTo>
                <a:lnTo>
                  <a:pt x="3415" y="1593"/>
                </a:lnTo>
                <a:lnTo>
                  <a:pt x="3405" y="1600"/>
                </a:lnTo>
                <a:lnTo>
                  <a:pt x="3395" y="1607"/>
                </a:lnTo>
                <a:lnTo>
                  <a:pt x="3384" y="1613"/>
                </a:lnTo>
                <a:lnTo>
                  <a:pt x="3374" y="1618"/>
                </a:lnTo>
                <a:lnTo>
                  <a:pt x="3363" y="1622"/>
                </a:lnTo>
                <a:lnTo>
                  <a:pt x="3351" y="1626"/>
                </a:lnTo>
                <a:lnTo>
                  <a:pt x="3340" y="1629"/>
                </a:lnTo>
                <a:lnTo>
                  <a:pt x="3327" y="1631"/>
                </a:lnTo>
                <a:lnTo>
                  <a:pt x="3315" y="1632"/>
                </a:lnTo>
                <a:lnTo>
                  <a:pt x="3303" y="1633"/>
                </a:lnTo>
                <a:close/>
                <a:moveTo>
                  <a:pt x="3691" y="1627"/>
                </a:moveTo>
                <a:lnTo>
                  <a:pt x="3688" y="1627"/>
                </a:lnTo>
                <a:lnTo>
                  <a:pt x="3686" y="1626"/>
                </a:lnTo>
                <a:lnTo>
                  <a:pt x="3681" y="1623"/>
                </a:lnTo>
                <a:lnTo>
                  <a:pt x="3674" y="1619"/>
                </a:lnTo>
                <a:lnTo>
                  <a:pt x="3667" y="1613"/>
                </a:lnTo>
                <a:lnTo>
                  <a:pt x="3654" y="1603"/>
                </a:lnTo>
                <a:lnTo>
                  <a:pt x="3639" y="1588"/>
                </a:lnTo>
                <a:lnTo>
                  <a:pt x="3622" y="1572"/>
                </a:lnTo>
                <a:lnTo>
                  <a:pt x="3605" y="1555"/>
                </a:lnTo>
                <a:lnTo>
                  <a:pt x="3589" y="1538"/>
                </a:lnTo>
                <a:lnTo>
                  <a:pt x="3575" y="1521"/>
                </a:lnTo>
                <a:lnTo>
                  <a:pt x="3563" y="1506"/>
                </a:lnTo>
                <a:lnTo>
                  <a:pt x="3558" y="1500"/>
                </a:lnTo>
                <a:lnTo>
                  <a:pt x="3555" y="1495"/>
                </a:lnTo>
                <a:lnTo>
                  <a:pt x="3550" y="1485"/>
                </a:lnTo>
                <a:lnTo>
                  <a:pt x="3546" y="1475"/>
                </a:lnTo>
                <a:lnTo>
                  <a:pt x="3544" y="1464"/>
                </a:lnTo>
                <a:lnTo>
                  <a:pt x="3543" y="1454"/>
                </a:lnTo>
                <a:lnTo>
                  <a:pt x="3543" y="1449"/>
                </a:lnTo>
                <a:lnTo>
                  <a:pt x="3544" y="1443"/>
                </a:lnTo>
                <a:lnTo>
                  <a:pt x="3545" y="1437"/>
                </a:lnTo>
                <a:lnTo>
                  <a:pt x="3547" y="1431"/>
                </a:lnTo>
                <a:lnTo>
                  <a:pt x="3550" y="1425"/>
                </a:lnTo>
                <a:lnTo>
                  <a:pt x="3553" y="1419"/>
                </a:lnTo>
                <a:lnTo>
                  <a:pt x="3557" y="1412"/>
                </a:lnTo>
                <a:lnTo>
                  <a:pt x="3561" y="1404"/>
                </a:lnTo>
                <a:lnTo>
                  <a:pt x="3571" y="1393"/>
                </a:lnTo>
                <a:lnTo>
                  <a:pt x="3582" y="1380"/>
                </a:lnTo>
                <a:lnTo>
                  <a:pt x="3612" y="1345"/>
                </a:lnTo>
                <a:lnTo>
                  <a:pt x="3647" y="1306"/>
                </a:lnTo>
                <a:lnTo>
                  <a:pt x="3682" y="1264"/>
                </a:lnTo>
                <a:lnTo>
                  <a:pt x="3683" y="1264"/>
                </a:lnTo>
                <a:lnTo>
                  <a:pt x="3687" y="1264"/>
                </a:lnTo>
                <a:lnTo>
                  <a:pt x="3691" y="1264"/>
                </a:lnTo>
                <a:lnTo>
                  <a:pt x="3695" y="1265"/>
                </a:lnTo>
                <a:lnTo>
                  <a:pt x="3700" y="1267"/>
                </a:lnTo>
                <a:lnTo>
                  <a:pt x="3704" y="1270"/>
                </a:lnTo>
                <a:lnTo>
                  <a:pt x="3708" y="1273"/>
                </a:lnTo>
                <a:lnTo>
                  <a:pt x="3712" y="1276"/>
                </a:lnTo>
                <a:lnTo>
                  <a:pt x="3716" y="1281"/>
                </a:lnTo>
                <a:lnTo>
                  <a:pt x="3718" y="1286"/>
                </a:lnTo>
                <a:lnTo>
                  <a:pt x="3720" y="1290"/>
                </a:lnTo>
                <a:lnTo>
                  <a:pt x="3720" y="1296"/>
                </a:lnTo>
                <a:lnTo>
                  <a:pt x="3720" y="1301"/>
                </a:lnTo>
                <a:lnTo>
                  <a:pt x="3718" y="1307"/>
                </a:lnTo>
                <a:lnTo>
                  <a:pt x="3715" y="1312"/>
                </a:lnTo>
                <a:lnTo>
                  <a:pt x="3711" y="1318"/>
                </a:lnTo>
                <a:lnTo>
                  <a:pt x="3703" y="1329"/>
                </a:lnTo>
                <a:lnTo>
                  <a:pt x="3692" y="1342"/>
                </a:lnTo>
                <a:lnTo>
                  <a:pt x="3662" y="1376"/>
                </a:lnTo>
                <a:lnTo>
                  <a:pt x="3632" y="1409"/>
                </a:lnTo>
                <a:lnTo>
                  <a:pt x="3619" y="1425"/>
                </a:lnTo>
                <a:lnTo>
                  <a:pt x="3610" y="1436"/>
                </a:lnTo>
                <a:lnTo>
                  <a:pt x="3607" y="1440"/>
                </a:lnTo>
                <a:lnTo>
                  <a:pt x="3605" y="1444"/>
                </a:lnTo>
                <a:lnTo>
                  <a:pt x="3604" y="1447"/>
                </a:lnTo>
                <a:lnTo>
                  <a:pt x="3604" y="1451"/>
                </a:lnTo>
                <a:lnTo>
                  <a:pt x="3604" y="1455"/>
                </a:lnTo>
                <a:lnTo>
                  <a:pt x="3606" y="1460"/>
                </a:lnTo>
                <a:lnTo>
                  <a:pt x="3608" y="1464"/>
                </a:lnTo>
                <a:lnTo>
                  <a:pt x="3611" y="1469"/>
                </a:lnTo>
                <a:lnTo>
                  <a:pt x="3618" y="1479"/>
                </a:lnTo>
                <a:lnTo>
                  <a:pt x="3629" y="1491"/>
                </a:lnTo>
                <a:lnTo>
                  <a:pt x="3657" y="1520"/>
                </a:lnTo>
                <a:lnTo>
                  <a:pt x="3689" y="1553"/>
                </a:lnTo>
                <a:lnTo>
                  <a:pt x="3721" y="1583"/>
                </a:lnTo>
                <a:lnTo>
                  <a:pt x="3723" y="1585"/>
                </a:lnTo>
                <a:lnTo>
                  <a:pt x="3724" y="1587"/>
                </a:lnTo>
                <a:lnTo>
                  <a:pt x="3725" y="1589"/>
                </a:lnTo>
                <a:lnTo>
                  <a:pt x="3725" y="1593"/>
                </a:lnTo>
                <a:lnTo>
                  <a:pt x="3725" y="1599"/>
                </a:lnTo>
                <a:lnTo>
                  <a:pt x="3724" y="1601"/>
                </a:lnTo>
                <a:lnTo>
                  <a:pt x="3722" y="1604"/>
                </a:lnTo>
                <a:lnTo>
                  <a:pt x="3719" y="1610"/>
                </a:lnTo>
                <a:lnTo>
                  <a:pt x="3716" y="1613"/>
                </a:lnTo>
                <a:lnTo>
                  <a:pt x="3714" y="1615"/>
                </a:lnTo>
                <a:lnTo>
                  <a:pt x="3709" y="1620"/>
                </a:lnTo>
                <a:lnTo>
                  <a:pt x="3706" y="1622"/>
                </a:lnTo>
                <a:lnTo>
                  <a:pt x="3703" y="1624"/>
                </a:lnTo>
                <a:lnTo>
                  <a:pt x="3697" y="1626"/>
                </a:lnTo>
                <a:lnTo>
                  <a:pt x="3694" y="1627"/>
                </a:lnTo>
                <a:lnTo>
                  <a:pt x="3691" y="1627"/>
                </a:lnTo>
                <a:close/>
                <a:moveTo>
                  <a:pt x="3303" y="2627"/>
                </a:moveTo>
                <a:lnTo>
                  <a:pt x="3296" y="2627"/>
                </a:lnTo>
                <a:lnTo>
                  <a:pt x="3288" y="2626"/>
                </a:lnTo>
                <a:lnTo>
                  <a:pt x="3280" y="2625"/>
                </a:lnTo>
                <a:lnTo>
                  <a:pt x="3273" y="2623"/>
                </a:lnTo>
                <a:lnTo>
                  <a:pt x="3265" y="2621"/>
                </a:lnTo>
                <a:lnTo>
                  <a:pt x="3258" y="2619"/>
                </a:lnTo>
                <a:lnTo>
                  <a:pt x="3244" y="2613"/>
                </a:lnTo>
                <a:lnTo>
                  <a:pt x="3231" y="2605"/>
                </a:lnTo>
                <a:lnTo>
                  <a:pt x="3225" y="2601"/>
                </a:lnTo>
                <a:lnTo>
                  <a:pt x="3219" y="2596"/>
                </a:lnTo>
                <a:lnTo>
                  <a:pt x="3213" y="2591"/>
                </a:lnTo>
                <a:lnTo>
                  <a:pt x="3206" y="2586"/>
                </a:lnTo>
                <a:lnTo>
                  <a:pt x="3201" y="2581"/>
                </a:lnTo>
                <a:lnTo>
                  <a:pt x="3196" y="2575"/>
                </a:lnTo>
                <a:lnTo>
                  <a:pt x="3191" y="2569"/>
                </a:lnTo>
                <a:lnTo>
                  <a:pt x="3186" y="2563"/>
                </a:lnTo>
                <a:lnTo>
                  <a:pt x="3181" y="2556"/>
                </a:lnTo>
                <a:lnTo>
                  <a:pt x="3177" y="2548"/>
                </a:lnTo>
                <a:lnTo>
                  <a:pt x="3173" y="2541"/>
                </a:lnTo>
                <a:lnTo>
                  <a:pt x="3170" y="2534"/>
                </a:lnTo>
                <a:lnTo>
                  <a:pt x="3166" y="2526"/>
                </a:lnTo>
                <a:lnTo>
                  <a:pt x="3163" y="2518"/>
                </a:lnTo>
                <a:lnTo>
                  <a:pt x="3161" y="2510"/>
                </a:lnTo>
                <a:lnTo>
                  <a:pt x="3158" y="2502"/>
                </a:lnTo>
                <a:lnTo>
                  <a:pt x="3156" y="2494"/>
                </a:lnTo>
                <a:lnTo>
                  <a:pt x="3155" y="2484"/>
                </a:lnTo>
                <a:lnTo>
                  <a:pt x="3153" y="2475"/>
                </a:lnTo>
                <a:lnTo>
                  <a:pt x="3153" y="2467"/>
                </a:lnTo>
                <a:lnTo>
                  <a:pt x="3152" y="2458"/>
                </a:lnTo>
                <a:lnTo>
                  <a:pt x="3152" y="2448"/>
                </a:lnTo>
                <a:lnTo>
                  <a:pt x="3153" y="2429"/>
                </a:lnTo>
                <a:lnTo>
                  <a:pt x="3154" y="2420"/>
                </a:lnTo>
                <a:lnTo>
                  <a:pt x="3155" y="2410"/>
                </a:lnTo>
                <a:lnTo>
                  <a:pt x="3157" y="2401"/>
                </a:lnTo>
                <a:lnTo>
                  <a:pt x="3159" y="2393"/>
                </a:lnTo>
                <a:lnTo>
                  <a:pt x="3161" y="2384"/>
                </a:lnTo>
                <a:lnTo>
                  <a:pt x="3164" y="2375"/>
                </a:lnTo>
                <a:lnTo>
                  <a:pt x="3167" y="2366"/>
                </a:lnTo>
                <a:lnTo>
                  <a:pt x="3171" y="2358"/>
                </a:lnTo>
                <a:lnTo>
                  <a:pt x="3175" y="2350"/>
                </a:lnTo>
                <a:lnTo>
                  <a:pt x="3179" y="2342"/>
                </a:lnTo>
                <a:lnTo>
                  <a:pt x="3183" y="2334"/>
                </a:lnTo>
                <a:lnTo>
                  <a:pt x="3188" y="2327"/>
                </a:lnTo>
                <a:lnTo>
                  <a:pt x="3198" y="2313"/>
                </a:lnTo>
                <a:lnTo>
                  <a:pt x="3203" y="2305"/>
                </a:lnTo>
                <a:lnTo>
                  <a:pt x="3209" y="2299"/>
                </a:lnTo>
                <a:lnTo>
                  <a:pt x="3222" y="2288"/>
                </a:lnTo>
                <a:lnTo>
                  <a:pt x="3229" y="2283"/>
                </a:lnTo>
                <a:lnTo>
                  <a:pt x="3236" y="2278"/>
                </a:lnTo>
                <a:lnTo>
                  <a:pt x="3242" y="2274"/>
                </a:lnTo>
                <a:lnTo>
                  <a:pt x="3249" y="2269"/>
                </a:lnTo>
                <a:lnTo>
                  <a:pt x="3257" y="2266"/>
                </a:lnTo>
                <a:lnTo>
                  <a:pt x="3264" y="2263"/>
                </a:lnTo>
                <a:lnTo>
                  <a:pt x="3273" y="2260"/>
                </a:lnTo>
                <a:lnTo>
                  <a:pt x="3280" y="2258"/>
                </a:lnTo>
                <a:lnTo>
                  <a:pt x="3288" y="2256"/>
                </a:lnTo>
                <a:lnTo>
                  <a:pt x="3296" y="2255"/>
                </a:lnTo>
                <a:lnTo>
                  <a:pt x="3305" y="2254"/>
                </a:lnTo>
                <a:lnTo>
                  <a:pt x="3313" y="2254"/>
                </a:lnTo>
                <a:lnTo>
                  <a:pt x="3323" y="2254"/>
                </a:lnTo>
                <a:lnTo>
                  <a:pt x="3328" y="2255"/>
                </a:lnTo>
                <a:lnTo>
                  <a:pt x="3334" y="2255"/>
                </a:lnTo>
                <a:lnTo>
                  <a:pt x="3338" y="2256"/>
                </a:lnTo>
                <a:lnTo>
                  <a:pt x="3343" y="2258"/>
                </a:lnTo>
                <a:lnTo>
                  <a:pt x="3351" y="2261"/>
                </a:lnTo>
                <a:lnTo>
                  <a:pt x="3359" y="2265"/>
                </a:lnTo>
                <a:lnTo>
                  <a:pt x="3366" y="2269"/>
                </a:lnTo>
                <a:lnTo>
                  <a:pt x="3373" y="2275"/>
                </a:lnTo>
                <a:lnTo>
                  <a:pt x="3379" y="2281"/>
                </a:lnTo>
                <a:lnTo>
                  <a:pt x="3382" y="2284"/>
                </a:lnTo>
                <a:lnTo>
                  <a:pt x="3384" y="2287"/>
                </a:lnTo>
                <a:lnTo>
                  <a:pt x="3389" y="2295"/>
                </a:lnTo>
                <a:lnTo>
                  <a:pt x="3394" y="2302"/>
                </a:lnTo>
                <a:lnTo>
                  <a:pt x="3398" y="2312"/>
                </a:lnTo>
                <a:lnTo>
                  <a:pt x="3400" y="2320"/>
                </a:lnTo>
                <a:lnTo>
                  <a:pt x="3402" y="2329"/>
                </a:lnTo>
                <a:lnTo>
                  <a:pt x="3403" y="2339"/>
                </a:lnTo>
                <a:lnTo>
                  <a:pt x="3404" y="2349"/>
                </a:lnTo>
                <a:lnTo>
                  <a:pt x="3403" y="2361"/>
                </a:lnTo>
                <a:lnTo>
                  <a:pt x="3402" y="2368"/>
                </a:lnTo>
                <a:lnTo>
                  <a:pt x="3401" y="2375"/>
                </a:lnTo>
                <a:lnTo>
                  <a:pt x="3397" y="2387"/>
                </a:lnTo>
                <a:lnTo>
                  <a:pt x="3392" y="2398"/>
                </a:lnTo>
                <a:lnTo>
                  <a:pt x="3385" y="2409"/>
                </a:lnTo>
                <a:lnTo>
                  <a:pt x="3377" y="2420"/>
                </a:lnTo>
                <a:lnTo>
                  <a:pt x="3373" y="2425"/>
                </a:lnTo>
                <a:lnTo>
                  <a:pt x="3369" y="2430"/>
                </a:lnTo>
                <a:lnTo>
                  <a:pt x="3360" y="2440"/>
                </a:lnTo>
                <a:lnTo>
                  <a:pt x="3350" y="2449"/>
                </a:lnTo>
                <a:lnTo>
                  <a:pt x="3344" y="2452"/>
                </a:lnTo>
                <a:lnTo>
                  <a:pt x="3339" y="2456"/>
                </a:lnTo>
                <a:lnTo>
                  <a:pt x="3327" y="2463"/>
                </a:lnTo>
                <a:lnTo>
                  <a:pt x="3315" y="2468"/>
                </a:lnTo>
                <a:lnTo>
                  <a:pt x="3303" y="2473"/>
                </a:lnTo>
                <a:lnTo>
                  <a:pt x="3297" y="2475"/>
                </a:lnTo>
                <a:lnTo>
                  <a:pt x="3291" y="2476"/>
                </a:lnTo>
                <a:lnTo>
                  <a:pt x="3284" y="2478"/>
                </a:lnTo>
                <a:lnTo>
                  <a:pt x="3278" y="2478"/>
                </a:lnTo>
                <a:lnTo>
                  <a:pt x="3265" y="2479"/>
                </a:lnTo>
                <a:lnTo>
                  <a:pt x="3259" y="2478"/>
                </a:lnTo>
                <a:lnTo>
                  <a:pt x="3254" y="2477"/>
                </a:lnTo>
                <a:lnTo>
                  <a:pt x="3250" y="2474"/>
                </a:lnTo>
                <a:lnTo>
                  <a:pt x="3248" y="2472"/>
                </a:lnTo>
                <a:lnTo>
                  <a:pt x="3246" y="2470"/>
                </a:lnTo>
                <a:lnTo>
                  <a:pt x="3243" y="2465"/>
                </a:lnTo>
                <a:lnTo>
                  <a:pt x="3240" y="2460"/>
                </a:lnTo>
                <a:lnTo>
                  <a:pt x="3239" y="2457"/>
                </a:lnTo>
                <a:lnTo>
                  <a:pt x="3239" y="2454"/>
                </a:lnTo>
                <a:lnTo>
                  <a:pt x="3238" y="2448"/>
                </a:lnTo>
                <a:lnTo>
                  <a:pt x="3238" y="2445"/>
                </a:lnTo>
                <a:lnTo>
                  <a:pt x="3239" y="2442"/>
                </a:lnTo>
                <a:lnTo>
                  <a:pt x="3240" y="2437"/>
                </a:lnTo>
                <a:lnTo>
                  <a:pt x="3241" y="2435"/>
                </a:lnTo>
                <a:lnTo>
                  <a:pt x="3242" y="2433"/>
                </a:lnTo>
                <a:lnTo>
                  <a:pt x="3244" y="2432"/>
                </a:lnTo>
                <a:lnTo>
                  <a:pt x="3245" y="2430"/>
                </a:lnTo>
                <a:lnTo>
                  <a:pt x="3256" y="2428"/>
                </a:lnTo>
                <a:lnTo>
                  <a:pt x="3267" y="2425"/>
                </a:lnTo>
                <a:lnTo>
                  <a:pt x="3278" y="2422"/>
                </a:lnTo>
                <a:lnTo>
                  <a:pt x="3288" y="2418"/>
                </a:lnTo>
                <a:lnTo>
                  <a:pt x="3297" y="2413"/>
                </a:lnTo>
                <a:lnTo>
                  <a:pt x="3305" y="2408"/>
                </a:lnTo>
                <a:lnTo>
                  <a:pt x="3313" y="2403"/>
                </a:lnTo>
                <a:lnTo>
                  <a:pt x="3317" y="2400"/>
                </a:lnTo>
                <a:lnTo>
                  <a:pt x="3320" y="2397"/>
                </a:lnTo>
                <a:lnTo>
                  <a:pt x="3327" y="2390"/>
                </a:lnTo>
                <a:lnTo>
                  <a:pt x="3333" y="2384"/>
                </a:lnTo>
                <a:lnTo>
                  <a:pt x="3338" y="2377"/>
                </a:lnTo>
                <a:lnTo>
                  <a:pt x="3343" y="2369"/>
                </a:lnTo>
                <a:lnTo>
                  <a:pt x="3346" y="2362"/>
                </a:lnTo>
                <a:lnTo>
                  <a:pt x="3348" y="2355"/>
                </a:lnTo>
                <a:lnTo>
                  <a:pt x="3350" y="2348"/>
                </a:lnTo>
                <a:lnTo>
                  <a:pt x="3350" y="2341"/>
                </a:lnTo>
                <a:lnTo>
                  <a:pt x="3350" y="2333"/>
                </a:lnTo>
                <a:lnTo>
                  <a:pt x="3347" y="2326"/>
                </a:lnTo>
                <a:lnTo>
                  <a:pt x="3346" y="2323"/>
                </a:lnTo>
                <a:lnTo>
                  <a:pt x="3344" y="2319"/>
                </a:lnTo>
                <a:lnTo>
                  <a:pt x="3342" y="2317"/>
                </a:lnTo>
                <a:lnTo>
                  <a:pt x="3339" y="2314"/>
                </a:lnTo>
                <a:lnTo>
                  <a:pt x="3334" y="2309"/>
                </a:lnTo>
                <a:lnTo>
                  <a:pt x="3329" y="2307"/>
                </a:lnTo>
                <a:lnTo>
                  <a:pt x="3326" y="2306"/>
                </a:lnTo>
                <a:lnTo>
                  <a:pt x="3318" y="2304"/>
                </a:lnTo>
                <a:lnTo>
                  <a:pt x="3314" y="2303"/>
                </a:lnTo>
                <a:lnTo>
                  <a:pt x="3309" y="2303"/>
                </a:lnTo>
                <a:lnTo>
                  <a:pt x="3300" y="2304"/>
                </a:lnTo>
                <a:lnTo>
                  <a:pt x="3296" y="2305"/>
                </a:lnTo>
                <a:lnTo>
                  <a:pt x="3291" y="2306"/>
                </a:lnTo>
                <a:lnTo>
                  <a:pt x="3287" y="2308"/>
                </a:lnTo>
                <a:lnTo>
                  <a:pt x="3282" y="2310"/>
                </a:lnTo>
                <a:lnTo>
                  <a:pt x="3278" y="2313"/>
                </a:lnTo>
                <a:lnTo>
                  <a:pt x="3274" y="2315"/>
                </a:lnTo>
                <a:lnTo>
                  <a:pt x="3268" y="2318"/>
                </a:lnTo>
                <a:lnTo>
                  <a:pt x="3264" y="2321"/>
                </a:lnTo>
                <a:lnTo>
                  <a:pt x="3256" y="2328"/>
                </a:lnTo>
                <a:lnTo>
                  <a:pt x="3248" y="2336"/>
                </a:lnTo>
                <a:lnTo>
                  <a:pt x="3241" y="2345"/>
                </a:lnTo>
                <a:lnTo>
                  <a:pt x="3237" y="2350"/>
                </a:lnTo>
                <a:lnTo>
                  <a:pt x="3234" y="2355"/>
                </a:lnTo>
                <a:lnTo>
                  <a:pt x="3228" y="2366"/>
                </a:lnTo>
                <a:lnTo>
                  <a:pt x="3222" y="2379"/>
                </a:lnTo>
                <a:lnTo>
                  <a:pt x="3217" y="2391"/>
                </a:lnTo>
                <a:lnTo>
                  <a:pt x="3214" y="2404"/>
                </a:lnTo>
                <a:lnTo>
                  <a:pt x="3211" y="2417"/>
                </a:lnTo>
                <a:lnTo>
                  <a:pt x="3208" y="2432"/>
                </a:lnTo>
                <a:lnTo>
                  <a:pt x="3207" y="2439"/>
                </a:lnTo>
                <a:lnTo>
                  <a:pt x="3207" y="2446"/>
                </a:lnTo>
                <a:lnTo>
                  <a:pt x="3208" y="2459"/>
                </a:lnTo>
                <a:lnTo>
                  <a:pt x="3209" y="2471"/>
                </a:lnTo>
                <a:lnTo>
                  <a:pt x="3212" y="2482"/>
                </a:lnTo>
                <a:lnTo>
                  <a:pt x="3214" y="2488"/>
                </a:lnTo>
                <a:lnTo>
                  <a:pt x="3215" y="2494"/>
                </a:lnTo>
                <a:lnTo>
                  <a:pt x="3219" y="2505"/>
                </a:lnTo>
                <a:lnTo>
                  <a:pt x="3221" y="2510"/>
                </a:lnTo>
                <a:lnTo>
                  <a:pt x="3223" y="2515"/>
                </a:lnTo>
                <a:lnTo>
                  <a:pt x="3226" y="2519"/>
                </a:lnTo>
                <a:lnTo>
                  <a:pt x="3229" y="2524"/>
                </a:lnTo>
                <a:lnTo>
                  <a:pt x="3231" y="2528"/>
                </a:lnTo>
                <a:lnTo>
                  <a:pt x="3234" y="2532"/>
                </a:lnTo>
                <a:lnTo>
                  <a:pt x="3238" y="2536"/>
                </a:lnTo>
                <a:lnTo>
                  <a:pt x="3241" y="2540"/>
                </a:lnTo>
                <a:lnTo>
                  <a:pt x="3248" y="2546"/>
                </a:lnTo>
                <a:lnTo>
                  <a:pt x="3256" y="2553"/>
                </a:lnTo>
                <a:lnTo>
                  <a:pt x="3265" y="2558"/>
                </a:lnTo>
                <a:lnTo>
                  <a:pt x="3275" y="2561"/>
                </a:lnTo>
                <a:lnTo>
                  <a:pt x="3284" y="2564"/>
                </a:lnTo>
                <a:lnTo>
                  <a:pt x="3294" y="2566"/>
                </a:lnTo>
                <a:lnTo>
                  <a:pt x="3300" y="2566"/>
                </a:lnTo>
                <a:lnTo>
                  <a:pt x="3305" y="2567"/>
                </a:lnTo>
                <a:lnTo>
                  <a:pt x="3316" y="2566"/>
                </a:lnTo>
                <a:lnTo>
                  <a:pt x="3326" y="2564"/>
                </a:lnTo>
                <a:lnTo>
                  <a:pt x="3337" y="2562"/>
                </a:lnTo>
                <a:lnTo>
                  <a:pt x="3346" y="2559"/>
                </a:lnTo>
                <a:lnTo>
                  <a:pt x="3356" y="2554"/>
                </a:lnTo>
                <a:lnTo>
                  <a:pt x="3365" y="2548"/>
                </a:lnTo>
                <a:lnTo>
                  <a:pt x="3373" y="2543"/>
                </a:lnTo>
                <a:lnTo>
                  <a:pt x="3381" y="2536"/>
                </a:lnTo>
                <a:lnTo>
                  <a:pt x="3389" y="2529"/>
                </a:lnTo>
                <a:lnTo>
                  <a:pt x="3398" y="2521"/>
                </a:lnTo>
                <a:lnTo>
                  <a:pt x="3405" y="2512"/>
                </a:lnTo>
                <a:lnTo>
                  <a:pt x="3412" y="2503"/>
                </a:lnTo>
                <a:lnTo>
                  <a:pt x="3425" y="2483"/>
                </a:lnTo>
                <a:lnTo>
                  <a:pt x="3431" y="2473"/>
                </a:lnTo>
                <a:lnTo>
                  <a:pt x="3437" y="2462"/>
                </a:lnTo>
                <a:lnTo>
                  <a:pt x="3442" y="2451"/>
                </a:lnTo>
                <a:lnTo>
                  <a:pt x="3447" y="2440"/>
                </a:lnTo>
                <a:lnTo>
                  <a:pt x="3452" y="2427"/>
                </a:lnTo>
                <a:lnTo>
                  <a:pt x="3456" y="2415"/>
                </a:lnTo>
                <a:lnTo>
                  <a:pt x="3460" y="2403"/>
                </a:lnTo>
                <a:lnTo>
                  <a:pt x="3463" y="2391"/>
                </a:lnTo>
                <a:lnTo>
                  <a:pt x="3466" y="2379"/>
                </a:lnTo>
                <a:lnTo>
                  <a:pt x="3469" y="2366"/>
                </a:lnTo>
                <a:lnTo>
                  <a:pt x="3471" y="2354"/>
                </a:lnTo>
                <a:lnTo>
                  <a:pt x="3473" y="2343"/>
                </a:lnTo>
                <a:lnTo>
                  <a:pt x="3475" y="2331"/>
                </a:lnTo>
                <a:lnTo>
                  <a:pt x="3476" y="2319"/>
                </a:lnTo>
                <a:lnTo>
                  <a:pt x="3476" y="2307"/>
                </a:lnTo>
                <a:lnTo>
                  <a:pt x="3477" y="2296"/>
                </a:lnTo>
                <a:lnTo>
                  <a:pt x="3477" y="2285"/>
                </a:lnTo>
                <a:lnTo>
                  <a:pt x="3476" y="2275"/>
                </a:lnTo>
                <a:lnTo>
                  <a:pt x="3477" y="2272"/>
                </a:lnTo>
                <a:lnTo>
                  <a:pt x="3479" y="2270"/>
                </a:lnTo>
                <a:lnTo>
                  <a:pt x="3481" y="2268"/>
                </a:lnTo>
                <a:lnTo>
                  <a:pt x="3484" y="2266"/>
                </a:lnTo>
                <a:lnTo>
                  <a:pt x="3490" y="2263"/>
                </a:lnTo>
                <a:lnTo>
                  <a:pt x="3494" y="2263"/>
                </a:lnTo>
                <a:lnTo>
                  <a:pt x="3499" y="2262"/>
                </a:lnTo>
                <a:lnTo>
                  <a:pt x="3506" y="2263"/>
                </a:lnTo>
                <a:lnTo>
                  <a:pt x="3509" y="2264"/>
                </a:lnTo>
                <a:lnTo>
                  <a:pt x="3513" y="2265"/>
                </a:lnTo>
                <a:lnTo>
                  <a:pt x="3519" y="2267"/>
                </a:lnTo>
                <a:lnTo>
                  <a:pt x="3522" y="2269"/>
                </a:lnTo>
                <a:lnTo>
                  <a:pt x="3524" y="2272"/>
                </a:lnTo>
                <a:lnTo>
                  <a:pt x="3528" y="2277"/>
                </a:lnTo>
                <a:lnTo>
                  <a:pt x="3530" y="2281"/>
                </a:lnTo>
                <a:lnTo>
                  <a:pt x="3531" y="2285"/>
                </a:lnTo>
                <a:lnTo>
                  <a:pt x="3532" y="2289"/>
                </a:lnTo>
                <a:lnTo>
                  <a:pt x="3533" y="2294"/>
                </a:lnTo>
                <a:lnTo>
                  <a:pt x="3533" y="2299"/>
                </a:lnTo>
                <a:lnTo>
                  <a:pt x="3533" y="2305"/>
                </a:lnTo>
                <a:lnTo>
                  <a:pt x="3533" y="2322"/>
                </a:lnTo>
                <a:lnTo>
                  <a:pt x="3532" y="2337"/>
                </a:lnTo>
                <a:lnTo>
                  <a:pt x="3530" y="2352"/>
                </a:lnTo>
                <a:lnTo>
                  <a:pt x="3528" y="2368"/>
                </a:lnTo>
                <a:lnTo>
                  <a:pt x="3526" y="2383"/>
                </a:lnTo>
                <a:lnTo>
                  <a:pt x="3523" y="2398"/>
                </a:lnTo>
                <a:lnTo>
                  <a:pt x="3519" y="2413"/>
                </a:lnTo>
                <a:lnTo>
                  <a:pt x="3515" y="2427"/>
                </a:lnTo>
                <a:lnTo>
                  <a:pt x="3511" y="2442"/>
                </a:lnTo>
                <a:lnTo>
                  <a:pt x="3505" y="2455"/>
                </a:lnTo>
                <a:lnTo>
                  <a:pt x="3500" y="2468"/>
                </a:lnTo>
                <a:lnTo>
                  <a:pt x="3494" y="2481"/>
                </a:lnTo>
                <a:lnTo>
                  <a:pt x="3488" y="2495"/>
                </a:lnTo>
                <a:lnTo>
                  <a:pt x="3482" y="2507"/>
                </a:lnTo>
                <a:lnTo>
                  <a:pt x="3475" y="2518"/>
                </a:lnTo>
                <a:lnTo>
                  <a:pt x="3467" y="2529"/>
                </a:lnTo>
                <a:lnTo>
                  <a:pt x="3460" y="2540"/>
                </a:lnTo>
                <a:lnTo>
                  <a:pt x="3452" y="2550"/>
                </a:lnTo>
                <a:lnTo>
                  <a:pt x="3442" y="2561"/>
                </a:lnTo>
                <a:lnTo>
                  <a:pt x="3434" y="2570"/>
                </a:lnTo>
                <a:lnTo>
                  <a:pt x="3425" y="2578"/>
                </a:lnTo>
                <a:lnTo>
                  <a:pt x="3415" y="2586"/>
                </a:lnTo>
                <a:lnTo>
                  <a:pt x="3405" y="2593"/>
                </a:lnTo>
                <a:lnTo>
                  <a:pt x="3395" y="2600"/>
                </a:lnTo>
                <a:lnTo>
                  <a:pt x="3384" y="2606"/>
                </a:lnTo>
                <a:lnTo>
                  <a:pt x="3374" y="2612"/>
                </a:lnTo>
                <a:lnTo>
                  <a:pt x="3363" y="2616"/>
                </a:lnTo>
                <a:lnTo>
                  <a:pt x="3351" y="2620"/>
                </a:lnTo>
                <a:lnTo>
                  <a:pt x="3340" y="2623"/>
                </a:lnTo>
                <a:lnTo>
                  <a:pt x="3327" y="2625"/>
                </a:lnTo>
                <a:lnTo>
                  <a:pt x="3315" y="2626"/>
                </a:lnTo>
                <a:lnTo>
                  <a:pt x="3303" y="2627"/>
                </a:lnTo>
                <a:close/>
                <a:moveTo>
                  <a:pt x="3691" y="2621"/>
                </a:moveTo>
                <a:lnTo>
                  <a:pt x="3688" y="2621"/>
                </a:lnTo>
                <a:lnTo>
                  <a:pt x="3686" y="2620"/>
                </a:lnTo>
                <a:lnTo>
                  <a:pt x="3681" y="2617"/>
                </a:lnTo>
                <a:lnTo>
                  <a:pt x="3674" y="2613"/>
                </a:lnTo>
                <a:lnTo>
                  <a:pt x="3667" y="2607"/>
                </a:lnTo>
                <a:lnTo>
                  <a:pt x="3654" y="2596"/>
                </a:lnTo>
                <a:lnTo>
                  <a:pt x="3639" y="2582"/>
                </a:lnTo>
                <a:lnTo>
                  <a:pt x="3622" y="2566"/>
                </a:lnTo>
                <a:lnTo>
                  <a:pt x="3605" y="2548"/>
                </a:lnTo>
                <a:lnTo>
                  <a:pt x="3589" y="2531"/>
                </a:lnTo>
                <a:lnTo>
                  <a:pt x="3575" y="2515"/>
                </a:lnTo>
                <a:lnTo>
                  <a:pt x="3563" y="2501"/>
                </a:lnTo>
                <a:lnTo>
                  <a:pt x="3558" y="2494"/>
                </a:lnTo>
                <a:lnTo>
                  <a:pt x="3555" y="2488"/>
                </a:lnTo>
                <a:lnTo>
                  <a:pt x="3550" y="2478"/>
                </a:lnTo>
                <a:lnTo>
                  <a:pt x="3546" y="2468"/>
                </a:lnTo>
                <a:lnTo>
                  <a:pt x="3544" y="2458"/>
                </a:lnTo>
                <a:lnTo>
                  <a:pt x="3543" y="2448"/>
                </a:lnTo>
                <a:lnTo>
                  <a:pt x="3543" y="2443"/>
                </a:lnTo>
                <a:lnTo>
                  <a:pt x="3544" y="2437"/>
                </a:lnTo>
                <a:lnTo>
                  <a:pt x="3545" y="2430"/>
                </a:lnTo>
                <a:lnTo>
                  <a:pt x="3547" y="2424"/>
                </a:lnTo>
                <a:lnTo>
                  <a:pt x="3550" y="2418"/>
                </a:lnTo>
                <a:lnTo>
                  <a:pt x="3553" y="2412"/>
                </a:lnTo>
                <a:lnTo>
                  <a:pt x="3557" y="2405"/>
                </a:lnTo>
                <a:lnTo>
                  <a:pt x="3561" y="2398"/>
                </a:lnTo>
                <a:lnTo>
                  <a:pt x="3571" y="2387"/>
                </a:lnTo>
                <a:lnTo>
                  <a:pt x="3582" y="2374"/>
                </a:lnTo>
                <a:lnTo>
                  <a:pt x="3612" y="2339"/>
                </a:lnTo>
                <a:lnTo>
                  <a:pt x="3647" y="2299"/>
                </a:lnTo>
                <a:lnTo>
                  <a:pt x="3682" y="2259"/>
                </a:lnTo>
                <a:lnTo>
                  <a:pt x="3683" y="2258"/>
                </a:lnTo>
                <a:lnTo>
                  <a:pt x="3687" y="2258"/>
                </a:lnTo>
                <a:lnTo>
                  <a:pt x="3691" y="2258"/>
                </a:lnTo>
                <a:lnTo>
                  <a:pt x="3695" y="2260"/>
                </a:lnTo>
                <a:lnTo>
                  <a:pt x="3700" y="2261"/>
                </a:lnTo>
                <a:lnTo>
                  <a:pt x="3704" y="2264"/>
                </a:lnTo>
                <a:lnTo>
                  <a:pt x="3708" y="2267"/>
                </a:lnTo>
                <a:lnTo>
                  <a:pt x="3712" y="2271"/>
                </a:lnTo>
                <a:lnTo>
                  <a:pt x="3716" y="2275"/>
                </a:lnTo>
                <a:lnTo>
                  <a:pt x="3718" y="2280"/>
                </a:lnTo>
                <a:lnTo>
                  <a:pt x="3720" y="2284"/>
                </a:lnTo>
                <a:lnTo>
                  <a:pt x="3720" y="2289"/>
                </a:lnTo>
                <a:lnTo>
                  <a:pt x="3720" y="2295"/>
                </a:lnTo>
                <a:lnTo>
                  <a:pt x="3718" y="2300"/>
                </a:lnTo>
                <a:lnTo>
                  <a:pt x="3715" y="2306"/>
                </a:lnTo>
                <a:lnTo>
                  <a:pt x="3711" y="2313"/>
                </a:lnTo>
                <a:lnTo>
                  <a:pt x="3703" y="2323"/>
                </a:lnTo>
                <a:lnTo>
                  <a:pt x="3692" y="2336"/>
                </a:lnTo>
                <a:lnTo>
                  <a:pt x="3662" y="2369"/>
                </a:lnTo>
                <a:lnTo>
                  <a:pt x="3632" y="2404"/>
                </a:lnTo>
                <a:lnTo>
                  <a:pt x="3619" y="2418"/>
                </a:lnTo>
                <a:lnTo>
                  <a:pt x="3610" y="2430"/>
                </a:lnTo>
                <a:lnTo>
                  <a:pt x="3607" y="2434"/>
                </a:lnTo>
                <a:lnTo>
                  <a:pt x="3605" y="2438"/>
                </a:lnTo>
                <a:lnTo>
                  <a:pt x="3604" y="2442"/>
                </a:lnTo>
                <a:lnTo>
                  <a:pt x="3604" y="2445"/>
                </a:lnTo>
                <a:lnTo>
                  <a:pt x="3604" y="2450"/>
                </a:lnTo>
                <a:lnTo>
                  <a:pt x="3606" y="2454"/>
                </a:lnTo>
                <a:lnTo>
                  <a:pt x="3608" y="2458"/>
                </a:lnTo>
                <a:lnTo>
                  <a:pt x="3611" y="2463"/>
                </a:lnTo>
                <a:lnTo>
                  <a:pt x="3618" y="2472"/>
                </a:lnTo>
                <a:lnTo>
                  <a:pt x="3629" y="2484"/>
                </a:lnTo>
                <a:lnTo>
                  <a:pt x="3657" y="2514"/>
                </a:lnTo>
                <a:lnTo>
                  <a:pt x="3689" y="2546"/>
                </a:lnTo>
                <a:lnTo>
                  <a:pt x="3721" y="2577"/>
                </a:lnTo>
                <a:lnTo>
                  <a:pt x="3723" y="2579"/>
                </a:lnTo>
                <a:lnTo>
                  <a:pt x="3724" y="2581"/>
                </a:lnTo>
                <a:lnTo>
                  <a:pt x="3725" y="2584"/>
                </a:lnTo>
                <a:lnTo>
                  <a:pt x="3725" y="2586"/>
                </a:lnTo>
                <a:lnTo>
                  <a:pt x="3725" y="2592"/>
                </a:lnTo>
                <a:lnTo>
                  <a:pt x="3724" y="2595"/>
                </a:lnTo>
                <a:lnTo>
                  <a:pt x="3722" y="2597"/>
                </a:lnTo>
                <a:lnTo>
                  <a:pt x="3719" y="2603"/>
                </a:lnTo>
                <a:lnTo>
                  <a:pt x="3716" y="2606"/>
                </a:lnTo>
                <a:lnTo>
                  <a:pt x="3714" y="2608"/>
                </a:lnTo>
                <a:lnTo>
                  <a:pt x="3709" y="2614"/>
                </a:lnTo>
                <a:lnTo>
                  <a:pt x="3706" y="2616"/>
                </a:lnTo>
                <a:lnTo>
                  <a:pt x="3703" y="2618"/>
                </a:lnTo>
                <a:lnTo>
                  <a:pt x="3697" y="2620"/>
                </a:lnTo>
                <a:lnTo>
                  <a:pt x="3694" y="2621"/>
                </a:lnTo>
                <a:lnTo>
                  <a:pt x="3691" y="2621"/>
                </a:lnTo>
                <a:close/>
                <a:moveTo>
                  <a:pt x="1021" y="639"/>
                </a:moveTo>
                <a:lnTo>
                  <a:pt x="1013" y="639"/>
                </a:lnTo>
                <a:lnTo>
                  <a:pt x="1006" y="639"/>
                </a:lnTo>
                <a:lnTo>
                  <a:pt x="998" y="637"/>
                </a:lnTo>
                <a:lnTo>
                  <a:pt x="991" y="636"/>
                </a:lnTo>
                <a:lnTo>
                  <a:pt x="982" y="634"/>
                </a:lnTo>
                <a:lnTo>
                  <a:pt x="975" y="632"/>
                </a:lnTo>
                <a:lnTo>
                  <a:pt x="962" y="625"/>
                </a:lnTo>
                <a:lnTo>
                  <a:pt x="949" y="618"/>
                </a:lnTo>
                <a:lnTo>
                  <a:pt x="942" y="613"/>
                </a:lnTo>
                <a:lnTo>
                  <a:pt x="936" y="609"/>
                </a:lnTo>
                <a:lnTo>
                  <a:pt x="929" y="604"/>
                </a:lnTo>
                <a:lnTo>
                  <a:pt x="924" y="599"/>
                </a:lnTo>
                <a:lnTo>
                  <a:pt x="918" y="593"/>
                </a:lnTo>
                <a:lnTo>
                  <a:pt x="913" y="588"/>
                </a:lnTo>
                <a:lnTo>
                  <a:pt x="908" y="582"/>
                </a:lnTo>
                <a:lnTo>
                  <a:pt x="903" y="575"/>
                </a:lnTo>
                <a:lnTo>
                  <a:pt x="899" y="568"/>
                </a:lnTo>
                <a:lnTo>
                  <a:pt x="895" y="561"/>
                </a:lnTo>
                <a:lnTo>
                  <a:pt x="891" y="554"/>
                </a:lnTo>
                <a:lnTo>
                  <a:pt x="887" y="546"/>
                </a:lnTo>
                <a:lnTo>
                  <a:pt x="884" y="539"/>
                </a:lnTo>
                <a:lnTo>
                  <a:pt x="881" y="531"/>
                </a:lnTo>
                <a:lnTo>
                  <a:pt x="878" y="523"/>
                </a:lnTo>
                <a:lnTo>
                  <a:pt x="876" y="515"/>
                </a:lnTo>
                <a:lnTo>
                  <a:pt x="874" y="505"/>
                </a:lnTo>
                <a:lnTo>
                  <a:pt x="872" y="497"/>
                </a:lnTo>
                <a:lnTo>
                  <a:pt x="871" y="488"/>
                </a:lnTo>
                <a:lnTo>
                  <a:pt x="869" y="479"/>
                </a:lnTo>
                <a:lnTo>
                  <a:pt x="868" y="470"/>
                </a:lnTo>
                <a:lnTo>
                  <a:pt x="868" y="461"/>
                </a:lnTo>
                <a:lnTo>
                  <a:pt x="869" y="441"/>
                </a:lnTo>
                <a:lnTo>
                  <a:pt x="871" y="432"/>
                </a:lnTo>
                <a:lnTo>
                  <a:pt x="872" y="423"/>
                </a:lnTo>
                <a:lnTo>
                  <a:pt x="874" y="414"/>
                </a:lnTo>
                <a:lnTo>
                  <a:pt x="876" y="405"/>
                </a:lnTo>
                <a:lnTo>
                  <a:pt x="879" y="396"/>
                </a:lnTo>
                <a:lnTo>
                  <a:pt x="882" y="387"/>
                </a:lnTo>
                <a:lnTo>
                  <a:pt x="885" y="378"/>
                </a:lnTo>
                <a:lnTo>
                  <a:pt x="888" y="370"/>
                </a:lnTo>
                <a:lnTo>
                  <a:pt x="892" y="362"/>
                </a:lnTo>
                <a:lnTo>
                  <a:pt x="896" y="354"/>
                </a:lnTo>
                <a:lnTo>
                  <a:pt x="901" y="347"/>
                </a:lnTo>
                <a:lnTo>
                  <a:pt x="905" y="339"/>
                </a:lnTo>
                <a:lnTo>
                  <a:pt x="916" y="325"/>
                </a:lnTo>
                <a:lnTo>
                  <a:pt x="921" y="318"/>
                </a:lnTo>
                <a:lnTo>
                  <a:pt x="927" y="312"/>
                </a:lnTo>
                <a:lnTo>
                  <a:pt x="940" y="301"/>
                </a:lnTo>
                <a:lnTo>
                  <a:pt x="946" y="295"/>
                </a:lnTo>
                <a:lnTo>
                  <a:pt x="953" y="291"/>
                </a:lnTo>
                <a:lnTo>
                  <a:pt x="960" y="286"/>
                </a:lnTo>
                <a:lnTo>
                  <a:pt x="967" y="282"/>
                </a:lnTo>
                <a:lnTo>
                  <a:pt x="974" y="278"/>
                </a:lnTo>
                <a:lnTo>
                  <a:pt x="982" y="275"/>
                </a:lnTo>
                <a:lnTo>
                  <a:pt x="989" y="273"/>
                </a:lnTo>
                <a:lnTo>
                  <a:pt x="998" y="269"/>
                </a:lnTo>
                <a:lnTo>
                  <a:pt x="1006" y="268"/>
                </a:lnTo>
                <a:lnTo>
                  <a:pt x="1014" y="266"/>
                </a:lnTo>
                <a:lnTo>
                  <a:pt x="1022" y="265"/>
                </a:lnTo>
                <a:lnTo>
                  <a:pt x="1030" y="265"/>
                </a:lnTo>
                <a:lnTo>
                  <a:pt x="1041" y="266"/>
                </a:lnTo>
                <a:lnTo>
                  <a:pt x="1045" y="266"/>
                </a:lnTo>
                <a:lnTo>
                  <a:pt x="1051" y="267"/>
                </a:lnTo>
                <a:lnTo>
                  <a:pt x="1056" y="268"/>
                </a:lnTo>
                <a:lnTo>
                  <a:pt x="1060" y="269"/>
                </a:lnTo>
                <a:lnTo>
                  <a:pt x="1069" y="273"/>
                </a:lnTo>
                <a:lnTo>
                  <a:pt x="1077" y="277"/>
                </a:lnTo>
                <a:lnTo>
                  <a:pt x="1084" y="282"/>
                </a:lnTo>
                <a:lnTo>
                  <a:pt x="1091" y="287"/>
                </a:lnTo>
                <a:lnTo>
                  <a:pt x="1097" y="293"/>
                </a:lnTo>
                <a:lnTo>
                  <a:pt x="1099" y="297"/>
                </a:lnTo>
                <a:lnTo>
                  <a:pt x="1102" y="300"/>
                </a:lnTo>
                <a:lnTo>
                  <a:pt x="1107" y="307"/>
                </a:lnTo>
                <a:lnTo>
                  <a:pt x="1112" y="315"/>
                </a:lnTo>
                <a:lnTo>
                  <a:pt x="1115" y="323"/>
                </a:lnTo>
                <a:lnTo>
                  <a:pt x="1118" y="333"/>
                </a:lnTo>
                <a:lnTo>
                  <a:pt x="1120" y="342"/>
                </a:lnTo>
                <a:lnTo>
                  <a:pt x="1121" y="352"/>
                </a:lnTo>
                <a:lnTo>
                  <a:pt x="1121" y="362"/>
                </a:lnTo>
                <a:lnTo>
                  <a:pt x="1120" y="374"/>
                </a:lnTo>
                <a:lnTo>
                  <a:pt x="1119" y="380"/>
                </a:lnTo>
                <a:lnTo>
                  <a:pt x="1118" y="386"/>
                </a:lnTo>
                <a:lnTo>
                  <a:pt x="1114" y="399"/>
                </a:lnTo>
                <a:lnTo>
                  <a:pt x="1108" y="411"/>
                </a:lnTo>
                <a:lnTo>
                  <a:pt x="1102" y="422"/>
                </a:lnTo>
                <a:lnTo>
                  <a:pt x="1095" y="433"/>
                </a:lnTo>
                <a:lnTo>
                  <a:pt x="1091" y="438"/>
                </a:lnTo>
                <a:lnTo>
                  <a:pt x="1086" y="442"/>
                </a:lnTo>
                <a:lnTo>
                  <a:pt x="1077" y="453"/>
                </a:lnTo>
                <a:lnTo>
                  <a:pt x="1067" y="461"/>
                </a:lnTo>
                <a:lnTo>
                  <a:pt x="1062" y="465"/>
                </a:lnTo>
                <a:lnTo>
                  <a:pt x="1057" y="469"/>
                </a:lnTo>
                <a:lnTo>
                  <a:pt x="1044" y="475"/>
                </a:lnTo>
                <a:lnTo>
                  <a:pt x="1033" y="481"/>
                </a:lnTo>
                <a:lnTo>
                  <a:pt x="1021" y="486"/>
                </a:lnTo>
                <a:lnTo>
                  <a:pt x="1014" y="487"/>
                </a:lnTo>
                <a:lnTo>
                  <a:pt x="1008" y="489"/>
                </a:lnTo>
                <a:lnTo>
                  <a:pt x="1002" y="490"/>
                </a:lnTo>
                <a:lnTo>
                  <a:pt x="996" y="491"/>
                </a:lnTo>
                <a:lnTo>
                  <a:pt x="982" y="492"/>
                </a:lnTo>
                <a:lnTo>
                  <a:pt x="977" y="491"/>
                </a:lnTo>
                <a:lnTo>
                  <a:pt x="972" y="489"/>
                </a:lnTo>
                <a:lnTo>
                  <a:pt x="967" y="486"/>
                </a:lnTo>
                <a:lnTo>
                  <a:pt x="965" y="485"/>
                </a:lnTo>
                <a:lnTo>
                  <a:pt x="963" y="483"/>
                </a:lnTo>
                <a:lnTo>
                  <a:pt x="960" y="478"/>
                </a:lnTo>
                <a:lnTo>
                  <a:pt x="958" y="473"/>
                </a:lnTo>
                <a:lnTo>
                  <a:pt x="957" y="470"/>
                </a:lnTo>
                <a:lnTo>
                  <a:pt x="956" y="467"/>
                </a:lnTo>
                <a:lnTo>
                  <a:pt x="956" y="460"/>
                </a:lnTo>
                <a:lnTo>
                  <a:pt x="956" y="458"/>
                </a:lnTo>
                <a:lnTo>
                  <a:pt x="956" y="455"/>
                </a:lnTo>
                <a:lnTo>
                  <a:pt x="957" y="449"/>
                </a:lnTo>
                <a:lnTo>
                  <a:pt x="958" y="447"/>
                </a:lnTo>
                <a:lnTo>
                  <a:pt x="960" y="445"/>
                </a:lnTo>
                <a:lnTo>
                  <a:pt x="961" y="443"/>
                </a:lnTo>
                <a:lnTo>
                  <a:pt x="963" y="442"/>
                </a:lnTo>
                <a:lnTo>
                  <a:pt x="974" y="440"/>
                </a:lnTo>
                <a:lnTo>
                  <a:pt x="984" y="438"/>
                </a:lnTo>
                <a:lnTo>
                  <a:pt x="995" y="434"/>
                </a:lnTo>
                <a:lnTo>
                  <a:pt x="1005" y="430"/>
                </a:lnTo>
                <a:lnTo>
                  <a:pt x="1014" y="426"/>
                </a:lnTo>
                <a:lnTo>
                  <a:pt x="1023" y="421"/>
                </a:lnTo>
                <a:lnTo>
                  <a:pt x="1030" y="415"/>
                </a:lnTo>
                <a:lnTo>
                  <a:pt x="1034" y="412"/>
                </a:lnTo>
                <a:lnTo>
                  <a:pt x="1038" y="409"/>
                </a:lnTo>
                <a:lnTo>
                  <a:pt x="1044" y="403"/>
                </a:lnTo>
                <a:lnTo>
                  <a:pt x="1051" y="397"/>
                </a:lnTo>
                <a:lnTo>
                  <a:pt x="1056" y="389"/>
                </a:lnTo>
                <a:lnTo>
                  <a:pt x="1060" y="382"/>
                </a:lnTo>
                <a:lnTo>
                  <a:pt x="1063" y="375"/>
                </a:lnTo>
                <a:lnTo>
                  <a:pt x="1066" y="368"/>
                </a:lnTo>
                <a:lnTo>
                  <a:pt x="1067" y="361"/>
                </a:lnTo>
                <a:lnTo>
                  <a:pt x="1068" y="354"/>
                </a:lnTo>
                <a:lnTo>
                  <a:pt x="1067" y="346"/>
                </a:lnTo>
                <a:lnTo>
                  <a:pt x="1065" y="338"/>
                </a:lnTo>
                <a:lnTo>
                  <a:pt x="1063" y="335"/>
                </a:lnTo>
                <a:lnTo>
                  <a:pt x="1062" y="332"/>
                </a:lnTo>
                <a:lnTo>
                  <a:pt x="1059" y="328"/>
                </a:lnTo>
                <a:lnTo>
                  <a:pt x="1057" y="326"/>
                </a:lnTo>
                <a:lnTo>
                  <a:pt x="1051" y="322"/>
                </a:lnTo>
                <a:lnTo>
                  <a:pt x="1047" y="320"/>
                </a:lnTo>
                <a:lnTo>
                  <a:pt x="1043" y="318"/>
                </a:lnTo>
                <a:lnTo>
                  <a:pt x="1035" y="317"/>
                </a:lnTo>
                <a:lnTo>
                  <a:pt x="1031" y="316"/>
                </a:lnTo>
                <a:lnTo>
                  <a:pt x="1027" y="316"/>
                </a:lnTo>
                <a:lnTo>
                  <a:pt x="1018" y="317"/>
                </a:lnTo>
                <a:lnTo>
                  <a:pt x="1013" y="318"/>
                </a:lnTo>
                <a:lnTo>
                  <a:pt x="1009" y="319"/>
                </a:lnTo>
                <a:lnTo>
                  <a:pt x="1004" y="320"/>
                </a:lnTo>
                <a:lnTo>
                  <a:pt x="1000" y="322"/>
                </a:lnTo>
                <a:lnTo>
                  <a:pt x="996" y="324"/>
                </a:lnTo>
                <a:lnTo>
                  <a:pt x="991" y="327"/>
                </a:lnTo>
                <a:lnTo>
                  <a:pt x="986" y="330"/>
                </a:lnTo>
                <a:lnTo>
                  <a:pt x="982" y="334"/>
                </a:lnTo>
                <a:lnTo>
                  <a:pt x="973" y="341"/>
                </a:lnTo>
                <a:lnTo>
                  <a:pt x="966" y="349"/>
                </a:lnTo>
                <a:lnTo>
                  <a:pt x="958" y="358"/>
                </a:lnTo>
                <a:lnTo>
                  <a:pt x="955" y="363"/>
                </a:lnTo>
                <a:lnTo>
                  <a:pt x="951" y="368"/>
                </a:lnTo>
                <a:lnTo>
                  <a:pt x="945" y="379"/>
                </a:lnTo>
                <a:lnTo>
                  <a:pt x="940" y="390"/>
                </a:lnTo>
                <a:lnTo>
                  <a:pt x="935" y="403"/>
                </a:lnTo>
                <a:lnTo>
                  <a:pt x="931" y="416"/>
                </a:lnTo>
                <a:lnTo>
                  <a:pt x="927" y="430"/>
                </a:lnTo>
                <a:lnTo>
                  <a:pt x="925" y="443"/>
                </a:lnTo>
                <a:lnTo>
                  <a:pt x="925" y="450"/>
                </a:lnTo>
                <a:lnTo>
                  <a:pt x="925" y="459"/>
                </a:lnTo>
                <a:lnTo>
                  <a:pt x="925" y="471"/>
                </a:lnTo>
                <a:lnTo>
                  <a:pt x="927" y="483"/>
                </a:lnTo>
                <a:lnTo>
                  <a:pt x="929" y="495"/>
                </a:lnTo>
                <a:lnTo>
                  <a:pt x="931" y="501"/>
                </a:lnTo>
                <a:lnTo>
                  <a:pt x="933" y="506"/>
                </a:lnTo>
                <a:lnTo>
                  <a:pt x="936" y="518"/>
                </a:lnTo>
                <a:lnTo>
                  <a:pt x="939" y="523"/>
                </a:lnTo>
                <a:lnTo>
                  <a:pt x="941" y="527"/>
                </a:lnTo>
                <a:lnTo>
                  <a:pt x="943" y="532"/>
                </a:lnTo>
                <a:lnTo>
                  <a:pt x="946" y="536"/>
                </a:lnTo>
                <a:lnTo>
                  <a:pt x="949" y="541"/>
                </a:lnTo>
                <a:lnTo>
                  <a:pt x="952" y="545"/>
                </a:lnTo>
                <a:lnTo>
                  <a:pt x="955" y="548"/>
                </a:lnTo>
                <a:lnTo>
                  <a:pt x="959" y="552"/>
                </a:lnTo>
                <a:lnTo>
                  <a:pt x="966" y="559"/>
                </a:lnTo>
                <a:lnTo>
                  <a:pt x="974" y="564"/>
                </a:lnTo>
                <a:lnTo>
                  <a:pt x="982" y="569"/>
                </a:lnTo>
                <a:lnTo>
                  <a:pt x="992" y="574"/>
                </a:lnTo>
                <a:lnTo>
                  <a:pt x="1002" y="577"/>
                </a:lnTo>
                <a:lnTo>
                  <a:pt x="1012" y="579"/>
                </a:lnTo>
                <a:lnTo>
                  <a:pt x="1017" y="579"/>
                </a:lnTo>
                <a:lnTo>
                  <a:pt x="1023" y="579"/>
                </a:lnTo>
                <a:lnTo>
                  <a:pt x="1033" y="579"/>
                </a:lnTo>
                <a:lnTo>
                  <a:pt x="1043" y="577"/>
                </a:lnTo>
                <a:lnTo>
                  <a:pt x="1054" y="575"/>
                </a:lnTo>
                <a:lnTo>
                  <a:pt x="1064" y="570"/>
                </a:lnTo>
                <a:lnTo>
                  <a:pt x="1073" y="566"/>
                </a:lnTo>
                <a:lnTo>
                  <a:pt x="1082" y="561"/>
                </a:lnTo>
                <a:lnTo>
                  <a:pt x="1091" y="555"/>
                </a:lnTo>
                <a:lnTo>
                  <a:pt x="1099" y="549"/>
                </a:lnTo>
                <a:lnTo>
                  <a:pt x="1107" y="541"/>
                </a:lnTo>
                <a:lnTo>
                  <a:pt x="1116" y="534"/>
                </a:lnTo>
                <a:lnTo>
                  <a:pt x="1123" y="525"/>
                </a:lnTo>
                <a:lnTo>
                  <a:pt x="1130" y="516"/>
                </a:lnTo>
                <a:lnTo>
                  <a:pt x="1143" y="496"/>
                </a:lnTo>
                <a:lnTo>
                  <a:pt x="1149" y="485"/>
                </a:lnTo>
                <a:lnTo>
                  <a:pt x="1154" y="475"/>
                </a:lnTo>
                <a:lnTo>
                  <a:pt x="1159" y="464"/>
                </a:lnTo>
                <a:lnTo>
                  <a:pt x="1164" y="452"/>
                </a:lnTo>
                <a:lnTo>
                  <a:pt x="1169" y="440"/>
                </a:lnTo>
                <a:lnTo>
                  <a:pt x="1174" y="428"/>
                </a:lnTo>
                <a:lnTo>
                  <a:pt x="1178" y="416"/>
                </a:lnTo>
                <a:lnTo>
                  <a:pt x="1181" y="404"/>
                </a:lnTo>
                <a:lnTo>
                  <a:pt x="1184" y="392"/>
                </a:lnTo>
                <a:lnTo>
                  <a:pt x="1187" y="379"/>
                </a:lnTo>
                <a:lnTo>
                  <a:pt x="1189" y="367"/>
                </a:lnTo>
                <a:lnTo>
                  <a:pt x="1191" y="355"/>
                </a:lnTo>
                <a:lnTo>
                  <a:pt x="1192" y="343"/>
                </a:lnTo>
                <a:lnTo>
                  <a:pt x="1193" y="332"/>
                </a:lnTo>
                <a:lnTo>
                  <a:pt x="1194" y="320"/>
                </a:lnTo>
                <a:lnTo>
                  <a:pt x="1194" y="308"/>
                </a:lnTo>
                <a:lnTo>
                  <a:pt x="1194" y="298"/>
                </a:lnTo>
                <a:lnTo>
                  <a:pt x="1194" y="287"/>
                </a:lnTo>
                <a:lnTo>
                  <a:pt x="1195" y="285"/>
                </a:lnTo>
                <a:lnTo>
                  <a:pt x="1196" y="283"/>
                </a:lnTo>
                <a:lnTo>
                  <a:pt x="1199" y="281"/>
                </a:lnTo>
                <a:lnTo>
                  <a:pt x="1201" y="279"/>
                </a:lnTo>
                <a:lnTo>
                  <a:pt x="1208" y="276"/>
                </a:lnTo>
                <a:lnTo>
                  <a:pt x="1212" y="275"/>
                </a:lnTo>
                <a:lnTo>
                  <a:pt x="1216" y="275"/>
                </a:lnTo>
                <a:lnTo>
                  <a:pt x="1223" y="276"/>
                </a:lnTo>
                <a:lnTo>
                  <a:pt x="1227" y="276"/>
                </a:lnTo>
                <a:lnTo>
                  <a:pt x="1231" y="277"/>
                </a:lnTo>
                <a:lnTo>
                  <a:pt x="1236" y="280"/>
                </a:lnTo>
                <a:lnTo>
                  <a:pt x="1239" y="282"/>
                </a:lnTo>
                <a:lnTo>
                  <a:pt x="1241" y="284"/>
                </a:lnTo>
                <a:lnTo>
                  <a:pt x="1245" y="290"/>
                </a:lnTo>
                <a:lnTo>
                  <a:pt x="1247" y="294"/>
                </a:lnTo>
                <a:lnTo>
                  <a:pt x="1248" y="297"/>
                </a:lnTo>
                <a:lnTo>
                  <a:pt x="1249" y="302"/>
                </a:lnTo>
                <a:lnTo>
                  <a:pt x="1250" y="307"/>
                </a:lnTo>
                <a:lnTo>
                  <a:pt x="1251" y="312"/>
                </a:lnTo>
                <a:lnTo>
                  <a:pt x="1251" y="318"/>
                </a:lnTo>
                <a:lnTo>
                  <a:pt x="1250" y="334"/>
                </a:lnTo>
                <a:lnTo>
                  <a:pt x="1249" y="350"/>
                </a:lnTo>
                <a:lnTo>
                  <a:pt x="1248" y="365"/>
                </a:lnTo>
                <a:lnTo>
                  <a:pt x="1246" y="380"/>
                </a:lnTo>
                <a:lnTo>
                  <a:pt x="1243" y="396"/>
                </a:lnTo>
                <a:lnTo>
                  <a:pt x="1240" y="411"/>
                </a:lnTo>
                <a:lnTo>
                  <a:pt x="1237" y="425"/>
                </a:lnTo>
                <a:lnTo>
                  <a:pt x="1233" y="439"/>
                </a:lnTo>
                <a:lnTo>
                  <a:pt x="1228" y="454"/>
                </a:lnTo>
                <a:lnTo>
                  <a:pt x="1223" y="468"/>
                </a:lnTo>
                <a:lnTo>
                  <a:pt x="1217" y="481"/>
                </a:lnTo>
                <a:lnTo>
                  <a:pt x="1212" y="494"/>
                </a:lnTo>
                <a:lnTo>
                  <a:pt x="1206" y="506"/>
                </a:lnTo>
                <a:lnTo>
                  <a:pt x="1199" y="519"/>
                </a:lnTo>
                <a:lnTo>
                  <a:pt x="1192" y="531"/>
                </a:lnTo>
                <a:lnTo>
                  <a:pt x="1185" y="542"/>
                </a:lnTo>
                <a:lnTo>
                  <a:pt x="1177" y="553"/>
                </a:lnTo>
                <a:lnTo>
                  <a:pt x="1168" y="563"/>
                </a:lnTo>
                <a:lnTo>
                  <a:pt x="1160" y="573"/>
                </a:lnTo>
                <a:lnTo>
                  <a:pt x="1151" y="582"/>
                </a:lnTo>
                <a:lnTo>
                  <a:pt x="1142" y="591"/>
                </a:lnTo>
                <a:lnTo>
                  <a:pt x="1133" y="599"/>
                </a:lnTo>
                <a:lnTo>
                  <a:pt x="1123" y="606"/>
                </a:lnTo>
                <a:lnTo>
                  <a:pt x="1113" y="612"/>
                </a:lnTo>
                <a:lnTo>
                  <a:pt x="1102" y="618"/>
                </a:lnTo>
                <a:lnTo>
                  <a:pt x="1091" y="624"/>
                </a:lnTo>
                <a:lnTo>
                  <a:pt x="1080" y="628"/>
                </a:lnTo>
                <a:lnTo>
                  <a:pt x="1069" y="633"/>
                </a:lnTo>
                <a:lnTo>
                  <a:pt x="1058" y="636"/>
                </a:lnTo>
                <a:lnTo>
                  <a:pt x="1045" y="638"/>
                </a:lnTo>
                <a:lnTo>
                  <a:pt x="1033" y="639"/>
                </a:lnTo>
                <a:lnTo>
                  <a:pt x="1021" y="639"/>
                </a:lnTo>
                <a:close/>
                <a:moveTo>
                  <a:pt x="1408" y="634"/>
                </a:moveTo>
                <a:lnTo>
                  <a:pt x="1406" y="633"/>
                </a:lnTo>
                <a:lnTo>
                  <a:pt x="1403" y="633"/>
                </a:lnTo>
                <a:lnTo>
                  <a:pt x="1398" y="629"/>
                </a:lnTo>
                <a:lnTo>
                  <a:pt x="1392" y="625"/>
                </a:lnTo>
                <a:lnTo>
                  <a:pt x="1385" y="619"/>
                </a:lnTo>
                <a:lnTo>
                  <a:pt x="1372" y="608"/>
                </a:lnTo>
                <a:lnTo>
                  <a:pt x="1357" y="595"/>
                </a:lnTo>
                <a:lnTo>
                  <a:pt x="1339" y="579"/>
                </a:lnTo>
                <a:lnTo>
                  <a:pt x="1323" y="561"/>
                </a:lnTo>
                <a:lnTo>
                  <a:pt x="1307" y="544"/>
                </a:lnTo>
                <a:lnTo>
                  <a:pt x="1293" y="527"/>
                </a:lnTo>
                <a:lnTo>
                  <a:pt x="1280" y="513"/>
                </a:lnTo>
                <a:lnTo>
                  <a:pt x="1276" y="506"/>
                </a:lnTo>
                <a:lnTo>
                  <a:pt x="1273" y="501"/>
                </a:lnTo>
                <a:lnTo>
                  <a:pt x="1268" y="490"/>
                </a:lnTo>
                <a:lnTo>
                  <a:pt x="1264" y="481"/>
                </a:lnTo>
                <a:lnTo>
                  <a:pt x="1261" y="471"/>
                </a:lnTo>
                <a:lnTo>
                  <a:pt x="1260" y="461"/>
                </a:lnTo>
                <a:lnTo>
                  <a:pt x="1261" y="456"/>
                </a:lnTo>
                <a:lnTo>
                  <a:pt x="1262" y="449"/>
                </a:lnTo>
                <a:lnTo>
                  <a:pt x="1263" y="443"/>
                </a:lnTo>
                <a:lnTo>
                  <a:pt x="1265" y="437"/>
                </a:lnTo>
                <a:lnTo>
                  <a:pt x="1268" y="431"/>
                </a:lnTo>
                <a:lnTo>
                  <a:pt x="1271" y="424"/>
                </a:lnTo>
                <a:lnTo>
                  <a:pt x="1275" y="418"/>
                </a:lnTo>
                <a:lnTo>
                  <a:pt x="1279" y="411"/>
                </a:lnTo>
                <a:lnTo>
                  <a:pt x="1287" y="400"/>
                </a:lnTo>
                <a:lnTo>
                  <a:pt x="1300" y="385"/>
                </a:lnTo>
                <a:lnTo>
                  <a:pt x="1329" y="352"/>
                </a:lnTo>
                <a:lnTo>
                  <a:pt x="1365" y="312"/>
                </a:lnTo>
                <a:lnTo>
                  <a:pt x="1400" y="270"/>
                </a:lnTo>
                <a:lnTo>
                  <a:pt x="1401" y="270"/>
                </a:lnTo>
                <a:lnTo>
                  <a:pt x="1404" y="270"/>
                </a:lnTo>
                <a:lnTo>
                  <a:pt x="1408" y="270"/>
                </a:lnTo>
                <a:lnTo>
                  <a:pt x="1413" y="272"/>
                </a:lnTo>
                <a:lnTo>
                  <a:pt x="1417" y="274"/>
                </a:lnTo>
                <a:lnTo>
                  <a:pt x="1422" y="276"/>
                </a:lnTo>
                <a:lnTo>
                  <a:pt x="1426" y="280"/>
                </a:lnTo>
                <a:lnTo>
                  <a:pt x="1430" y="283"/>
                </a:lnTo>
                <a:lnTo>
                  <a:pt x="1433" y="288"/>
                </a:lnTo>
                <a:lnTo>
                  <a:pt x="1436" y="292"/>
                </a:lnTo>
                <a:lnTo>
                  <a:pt x="1437" y="297"/>
                </a:lnTo>
                <a:lnTo>
                  <a:pt x="1438" y="302"/>
                </a:lnTo>
                <a:lnTo>
                  <a:pt x="1437" y="307"/>
                </a:lnTo>
                <a:lnTo>
                  <a:pt x="1436" y="313"/>
                </a:lnTo>
                <a:lnTo>
                  <a:pt x="1433" y="318"/>
                </a:lnTo>
                <a:lnTo>
                  <a:pt x="1429" y="324"/>
                </a:lnTo>
                <a:lnTo>
                  <a:pt x="1421" y="336"/>
                </a:lnTo>
                <a:lnTo>
                  <a:pt x="1408" y="349"/>
                </a:lnTo>
                <a:lnTo>
                  <a:pt x="1379" y="382"/>
                </a:lnTo>
                <a:lnTo>
                  <a:pt x="1349" y="416"/>
                </a:lnTo>
                <a:lnTo>
                  <a:pt x="1336" y="431"/>
                </a:lnTo>
                <a:lnTo>
                  <a:pt x="1327" y="442"/>
                </a:lnTo>
                <a:lnTo>
                  <a:pt x="1325" y="446"/>
                </a:lnTo>
                <a:lnTo>
                  <a:pt x="1323" y="450"/>
                </a:lnTo>
                <a:lnTo>
                  <a:pt x="1322" y="454"/>
                </a:lnTo>
                <a:lnTo>
                  <a:pt x="1322" y="458"/>
                </a:lnTo>
                <a:lnTo>
                  <a:pt x="1322" y="462"/>
                </a:lnTo>
                <a:lnTo>
                  <a:pt x="1323" y="467"/>
                </a:lnTo>
                <a:lnTo>
                  <a:pt x="1326" y="471"/>
                </a:lnTo>
                <a:lnTo>
                  <a:pt x="1329" y="476"/>
                </a:lnTo>
                <a:lnTo>
                  <a:pt x="1336" y="485"/>
                </a:lnTo>
                <a:lnTo>
                  <a:pt x="1346" y="497"/>
                </a:lnTo>
                <a:lnTo>
                  <a:pt x="1375" y="527"/>
                </a:lnTo>
                <a:lnTo>
                  <a:pt x="1407" y="559"/>
                </a:lnTo>
                <a:lnTo>
                  <a:pt x="1439" y="590"/>
                </a:lnTo>
                <a:lnTo>
                  <a:pt x="1440" y="592"/>
                </a:lnTo>
                <a:lnTo>
                  <a:pt x="1442" y="594"/>
                </a:lnTo>
                <a:lnTo>
                  <a:pt x="1443" y="596"/>
                </a:lnTo>
                <a:lnTo>
                  <a:pt x="1443" y="599"/>
                </a:lnTo>
                <a:lnTo>
                  <a:pt x="1442" y="604"/>
                </a:lnTo>
                <a:lnTo>
                  <a:pt x="1441" y="607"/>
                </a:lnTo>
                <a:lnTo>
                  <a:pt x="1440" y="610"/>
                </a:lnTo>
                <a:lnTo>
                  <a:pt x="1436" y="616"/>
                </a:lnTo>
                <a:lnTo>
                  <a:pt x="1434" y="618"/>
                </a:lnTo>
                <a:lnTo>
                  <a:pt x="1432" y="621"/>
                </a:lnTo>
                <a:lnTo>
                  <a:pt x="1426" y="626"/>
                </a:lnTo>
                <a:lnTo>
                  <a:pt x="1423" y="628"/>
                </a:lnTo>
                <a:lnTo>
                  <a:pt x="1420" y="629"/>
                </a:lnTo>
                <a:lnTo>
                  <a:pt x="1414" y="633"/>
                </a:lnTo>
                <a:lnTo>
                  <a:pt x="1411" y="633"/>
                </a:lnTo>
                <a:lnTo>
                  <a:pt x="1408" y="634"/>
                </a:lnTo>
                <a:close/>
                <a:moveTo>
                  <a:pt x="1021" y="1633"/>
                </a:moveTo>
                <a:lnTo>
                  <a:pt x="1013" y="1632"/>
                </a:lnTo>
                <a:lnTo>
                  <a:pt x="1006" y="1632"/>
                </a:lnTo>
                <a:lnTo>
                  <a:pt x="998" y="1631"/>
                </a:lnTo>
                <a:lnTo>
                  <a:pt x="991" y="1629"/>
                </a:lnTo>
                <a:lnTo>
                  <a:pt x="982" y="1627"/>
                </a:lnTo>
                <a:lnTo>
                  <a:pt x="975" y="1625"/>
                </a:lnTo>
                <a:lnTo>
                  <a:pt x="962" y="1619"/>
                </a:lnTo>
                <a:lnTo>
                  <a:pt x="949" y="1612"/>
                </a:lnTo>
                <a:lnTo>
                  <a:pt x="942" y="1608"/>
                </a:lnTo>
                <a:lnTo>
                  <a:pt x="936" y="1603"/>
                </a:lnTo>
                <a:lnTo>
                  <a:pt x="929" y="1598"/>
                </a:lnTo>
                <a:lnTo>
                  <a:pt x="924" y="1593"/>
                </a:lnTo>
                <a:lnTo>
                  <a:pt x="918" y="1587"/>
                </a:lnTo>
                <a:lnTo>
                  <a:pt x="913" y="1581"/>
                </a:lnTo>
                <a:lnTo>
                  <a:pt x="908" y="1575"/>
                </a:lnTo>
                <a:lnTo>
                  <a:pt x="903" y="1568"/>
                </a:lnTo>
                <a:lnTo>
                  <a:pt x="899" y="1562"/>
                </a:lnTo>
                <a:lnTo>
                  <a:pt x="895" y="1555"/>
                </a:lnTo>
                <a:lnTo>
                  <a:pt x="891" y="1548"/>
                </a:lnTo>
                <a:lnTo>
                  <a:pt x="887" y="1540"/>
                </a:lnTo>
                <a:lnTo>
                  <a:pt x="884" y="1533"/>
                </a:lnTo>
                <a:lnTo>
                  <a:pt x="881" y="1524"/>
                </a:lnTo>
                <a:lnTo>
                  <a:pt x="878" y="1516"/>
                </a:lnTo>
                <a:lnTo>
                  <a:pt x="876" y="1508"/>
                </a:lnTo>
                <a:lnTo>
                  <a:pt x="874" y="1500"/>
                </a:lnTo>
                <a:lnTo>
                  <a:pt x="872" y="1491"/>
                </a:lnTo>
                <a:lnTo>
                  <a:pt x="871" y="1482"/>
                </a:lnTo>
                <a:lnTo>
                  <a:pt x="869" y="1473"/>
                </a:lnTo>
                <a:lnTo>
                  <a:pt x="868" y="1463"/>
                </a:lnTo>
                <a:lnTo>
                  <a:pt x="868" y="1454"/>
                </a:lnTo>
                <a:lnTo>
                  <a:pt x="869" y="1436"/>
                </a:lnTo>
                <a:lnTo>
                  <a:pt x="871" y="1426"/>
                </a:lnTo>
                <a:lnTo>
                  <a:pt x="872" y="1417"/>
                </a:lnTo>
                <a:lnTo>
                  <a:pt x="874" y="1407"/>
                </a:lnTo>
                <a:lnTo>
                  <a:pt x="876" y="1398"/>
                </a:lnTo>
                <a:lnTo>
                  <a:pt x="879" y="1390"/>
                </a:lnTo>
                <a:lnTo>
                  <a:pt x="882" y="1381"/>
                </a:lnTo>
                <a:lnTo>
                  <a:pt x="885" y="1373"/>
                </a:lnTo>
                <a:lnTo>
                  <a:pt x="888" y="1364"/>
                </a:lnTo>
                <a:lnTo>
                  <a:pt x="892" y="1356"/>
                </a:lnTo>
                <a:lnTo>
                  <a:pt x="896" y="1348"/>
                </a:lnTo>
                <a:lnTo>
                  <a:pt x="901" y="1340"/>
                </a:lnTo>
                <a:lnTo>
                  <a:pt x="905" y="1333"/>
                </a:lnTo>
                <a:lnTo>
                  <a:pt x="916" y="1319"/>
                </a:lnTo>
                <a:lnTo>
                  <a:pt x="921" y="1312"/>
                </a:lnTo>
                <a:lnTo>
                  <a:pt x="927" y="1306"/>
                </a:lnTo>
                <a:lnTo>
                  <a:pt x="940" y="1295"/>
                </a:lnTo>
                <a:lnTo>
                  <a:pt x="946" y="1289"/>
                </a:lnTo>
                <a:lnTo>
                  <a:pt x="953" y="1284"/>
                </a:lnTo>
                <a:lnTo>
                  <a:pt x="960" y="1279"/>
                </a:lnTo>
                <a:lnTo>
                  <a:pt x="967" y="1275"/>
                </a:lnTo>
                <a:lnTo>
                  <a:pt x="974" y="1272"/>
                </a:lnTo>
                <a:lnTo>
                  <a:pt x="982" y="1269"/>
                </a:lnTo>
                <a:lnTo>
                  <a:pt x="989" y="1266"/>
                </a:lnTo>
                <a:lnTo>
                  <a:pt x="998" y="1264"/>
                </a:lnTo>
                <a:lnTo>
                  <a:pt x="1006" y="1262"/>
                </a:lnTo>
                <a:lnTo>
                  <a:pt x="1014" y="1260"/>
                </a:lnTo>
                <a:lnTo>
                  <a:pt x="1022" y="1260"/>
                </a:lnTo>
                <a:lnTo>
                  <a:pt x="1030" y="1259"/>
                </a:lnTo>
                <a:lnTo>
                  <a:pt x="1041" y="1260"/>
                </a:lnTo>
                <a:lnTo>
                  <a:pt x="1045" y="1260"/>
                </a:lnTo>
                <a:lnTo>
                  <a:pt x="1051" y="1261"/>
                </a:lnTo>
                <a:lnTo>
                  <a:pt x="1056" y="1262"/>
                </a:lnTo>
                <a:lnTo>
                  <a:pt x="1060" y="1263"/>
                </a:lnTo>
                <a:lnTo>
                  <a:pt x="1069" y="1267"/>
                </a:lnTo>
                <a:lnTo>
                  <a:pt x="1077" y="1270"/>
                </a:lnTo>
                <a:lnTo>
                  <a:pt x="1084" y="1275"/>
                </a:lnTo>
                <a:lnTo>
                  <a:pt x="1091" y="1280"/>
                </a:lnTo>
                <a:lnTo>
                  <a:pt x="1097" y="1286"/>
                </a:lnTo>
                <a:lnTo>
                  <a:pt x="1099" y="1290"/>
                </a:lnTo>
                <a:lnTo>
                  <a:pt x="1102" y="1294"/>
                </a:lnTo>
                <a:lnTo>
                  <a:pt x="1107" y="1301"/>
                </a:lnTo>
                <a:lnTo>
                  <a:pt x="1112" y="1309"/>
                </a:lnTo>
                <a:lnTo>
                  <a:pt x="1115" y="1317"/>
                </a:lnTo>
                <a:lnTo>
                  <a:pt x="1118" y="1326"/>
                </a:lnTo>
                <a:lnTo>
                  <a:pt x="1120" y="1335"/>
                </a:lnTo>
                <a:lnTo>
                  <a:pt x="1121" y="1345"/>
                </a:lnTo>
                <a:lnTo>
                  <a:pt x="1121" y="1356"/>
                </a:lnTo>
                <a:lnTo>
                  <a:pt x="1120" y="1368"/>
                </a:lnTo>
                <a:lnTo>
                  <a:pt x="1119" y="1374"/>
                </a:lnTo>
                <a:lnTo>
                  <a:pt x="1118" y="1380"/>
                </a:lnTo>
                <a:lnTo>
                  <a:pt x="1114" y="1392"/>
                </a:lnTo>
                <a:lnTo>
                  <a:pt x="1108" y="1404"/>
                </a:lnTo>
                <a:lnTo>
                  <a:pt x="1102" y="1416"/>
                </a:lnTo>
                <a:lnTo>
                  <a:pt x="1095" y="1427"/>
                </a:lnTo>
                <a:lnTo>
                  <a:pt x="1091" y="1432"/>
                </a:lnTo>
                <a:lnTo>
                  <a:pt x="1086" y="1437"/>
                </a:lnTo>
                <a:lnTo>
                  <a:pt x="1077" y="1446"/>
                </a:lnTo>
                <a:lnTo>
                  <a:pt x="1067" y="1454"/>
                </a:lnTo>
                <a:lnTo>
                  <a:pt x="1062" y="1458"/>
                </a:lnTo>
                <a:lnTo>
                  <a:pt x="1057" y="1462"/>
                </a:lnTo>
                <a:lnTo>
                  <a:pt x="1044" y="1469"/>
                </a:lnTo>
                <a:lnTo>
                  <a:pt x="1033" y="1475"/>
                </a:lnTo>
                <a:lnTo>
                  <a:pt x="1021" y="1480"/>
                </a:lnTo>
                <a:lnTo>
                  <a:pt x="1014" y="1482"/>
                </a:lnTo>
                <a:lnTo>
                  <a:pt x="1008" y="1483"/>
                </a:lnTo>
                <a:lnTo>
                  <a:pt x="1002" y="1484"/>
                </a:lnTo>
                <a:lnTo>
                  <a:pt x="996" y="1485"/>
                </a:lnTo>
                <a:lnTo>
                  <a:pt x="982" y="1486"/>
                </a:lnTo>
                <a:lnTo>
                  <a:pt x="977" y="1485"/>
                </a:lnTo>
                <a:lnTo>
                  <a:pt x="972" y="1483"/>
                </a:lnTo>
                <a:lnTo>
                  <a:pt x="967" y="1481"/>
                </a:lnTo>
                <a:lnTo>
                  <a:pt x="965" y="1479"/>
                </a:lnTo>
                <a:lnTo>
                  <a:pt x="963" y="1477"/>
                </a:lnTo>
                <a:lnTo>
                  <a:pt x="960" y="1472"/>
                </a:lnTo>
                <a:lnTo>
                  <a:pt x="958" y="1466"/>
                </a:lnTo>
                <a:lnTo>
                  <a:pt x="957" y="1463"/>
                </a:lnTo>
                <a:lnTo>
                  <a:pt x="956" y="1460"/>
                </a:lnTo>
                <a:lnTo>
                  <a:pt x="956" y="1454"/>
                </a:lnTo>
                <a:lnTo>
                  <a:pt x="956" y="1451"/>
                </a:lnTo>
                <a:lnTo>
                  <a:pt x="956" y="1448"/>
                </a:lnTo>
                <a:lnTo>
                  <a:pt x="957" y="1443"/>
                </a:lnTo>
                <a:lnTo>
                  <a:pt x="958" y="1441"/>
                </a:lnTo>
                <a:lnTo>
                  <a:pt x="960" y="1439"/>
                </a:lnTo>
                <a:lnTo>
                  <a:pt x="961" y="1438"/>
                </a:lnTo>
                <a:lnTo>
                  <a:pt x="963" y="1436"/>
                </a:lnTo>
                <a:lnTo>
                  <a:pt x="974" y="1434"/>
                </a:lnTo>
                <a:lnTo>
                  <a:pt x="984" y="1432"/>
                </a:lnTo>
                <a:lnTo>
                  <a:pt x="995" y="1428"/>
                </a:lnTo>
                <a:lnTo>
                  <a:pt x="1005" y="1424"/>
                </a:lnTo>
                <a:lnTo>
                  <a:pt x="1014" y="1420"/>
                </a:lnTo>
                <a:lnTo>
                  <a:pt x="1023" y="1415"/>
                </a:lnTo>
                <a:lnTo>
                  <a:pt x="1030" y="1408"/>
                </a:lnTo>
                <a:lnTo>
                  <a:pt x="1034" y="1406"/>
                </a:lnTo>
                <a:lnTo>
                  <a:pt x="1038" y="1403"/>
                </a:lnTo>
                <a:lnTo>
                  <a:pt x="1044" y="1396"/>
                </a:lnTo>
                <a:lnTo>
                  <a:pt x="1051" y="1390"/>
                </a:lnTo>
                <a:lnTo>
                  <a:pt x="1056" y="1383"/>
                </a:lnTo>
                <a:lnTo>
                  <a:pt x="1060" y="1376"/>
                </a:lnTo>
                <a:lnTo>
                  <a:pt x="1063" y="1369"/>
                </a:lnTo>
                <a:lnTo>
                  <a:pt x="1066" y="1362"/>
                </a:lnTo>
                <a:lnTo>
                  <a:pt x="1067" y="1355"/>
                </a:lnTo>
                <a:lnTo>
                  <a:pt x="1068" y="1347"/>
                </a:lnTo>
                <a:lnTo>
                  <a:pt x="1067" y="1339"/>
                </a:lnTo>
                <a:lnTo>
                  <a:pt x="1065" y="1332"/>
                </a:lnTo>
                <a:lnTo>
                  <a:pt x="1063" y="1328"/>
                </a:lnTo>
                <a:lnTo>
                  <a:pt x="1062" y="1325"/>
                </a:lnTo>
                <a:lnTo>
                  <a:pt x="1059" y="1323"/>
                </a:lnTo>
                <a:lnTo>
                  <a:pt x="1057" y="1320"/>
                </a:lnTo>
                <a:lnTo>
                  <a:pt x="1051" y="1316"/>
                </a:lnTo>
                <a:lnTo>
                  <a:pt x="1047" y="1314"/>
                </a:lnTo>
                <a:lnTo>
                  <a:pt x="1043" y="1313"/>
                </a:lnTo>
                <a:lnTo>
                  <a:pt x="1035" y="1311"/>
                </a:lnTo>
                <a:lnTo>
                  <a:pt x="1031" y="1310"/>
                </a:lnTo>
                <a:lnTo>
                  <a:pt x="1027" y="1310"/>
                </a:lnTo>
                <a:lnTo>
                  <a:pt x="1018" y="1311"/>
                </a:lnTo>
                <a:lnTo>
                  <a:pt x="1013" y="1312"/>
                </a:lnTo>
                <a:lnTo>
                  <a:pt x="1009" y="1313"/>
                </a:lnTo>
                <a:lnTo>
                  <a:pt x="1004" y="1315"/>
                </a:lnTo>
                <a:lnTo>
                  <a:pt x="1000" y="1316"/>
                </a:lnTo>
                <a:lnTo>
                  <a:pt x="996" y="1319"/>
                </a:lnTo>
                <a:lnTo>
                  <a:pt x="991" y="1321"/>
                </a:lnTo>
                <a:lnTo>
                  <a:pt x="986" y="1324"/>
                </a:lnTo>
                <a:lnTo>
                  <a:pt x="982" y="1327"/>
                </a:lnTo>
                <a:lnTo>
                  <a:pt x="973" y="1334"/>
                </a:lnTo>
                <a:lnTo>
                  <a:pt x="966" y="1342"/>
                </a:lnTo>
                <a:lnTo>
                  <a:pt x="958" y="1352"/>
                </a:lnTo>
                <a:lnTo>
                  <a:pt x="955" y="1357"/>
                </a:lnTo>
                <a:lnTo>
                  <a:pt x="951" y="1362"/>
                </a:lnTo>
                <a:lnTo>
                  <a:pt x="945" y="1373"/>
                </a:lnTo>
                <a:lnTo>
                  <a:pt x="940" y="1384"/>
                </a:lnTo>
                <a:lnTo>
                  <a:pt x="935" y="1397"/>
                </a:lnTo>
                <a:lnTo>
                  <a:pt x="931" y="1409"/>
                </a:lnTo>
                <a:lnTo>
                  <a:pt x="927" y="1424"/>
                </a:lnTo>
                <a:lnTo>
                  <a:pt x="925" y="1438"/>
                </a:lnTo>
                <a:lnTo>
                  <a:pt x="925" y="1445"/>
                </a:lnTo>
                <a:lnTo>
                  <a:pt x="925" y="1452"/>
                </a:lnTo>
                <a:lnTo>
                  <a:pt x="925" y="1464"/>
                </a:lnTo>
                <a:lnTo>
                  <a:pt x="927" y="1478"/>
                </a:lnTo>
                <a:lnTo>
                  <a:pt x="929" y="1489"/>
                </a:lnTo>
                <a:lnTo>
                  <a:pt x="931" y="1495"/>
                </a:lnTo>
                <a:lnTo>
                  <a:pt x="933" y="1500"/>
                </a:lnTo>
                <a:lnTo>
                  <a:pt x="936" y="1511"/>
                </a:lnTo>
                <a:lnTo>
                  <a:pt x="939" y="1516"/>
                </a:lnTo>
                <a:lnTo>
                  <a:pt x="941" y="1521"/>
                </a:lnTo>
                <a:lnTo>
                  <a:pt x="943" y="1525"/>
                </a:lnTo>
                <a:lnTo>
                  <a:pt x="946" y="1530"/>
                </a:lnTo>
                <a:lnTo>
                  <a:pt x="949" y="1535"/>
                </a:lnTo>
                <a:lnTo>
                  <a:pt x="952" y="1539"/>
                </a:lnTo>
                <a:lnTo>
                  <a:pt x="955" y="1543"/>
                </a:lnTo>
                <a:lnTo>
                  <a:pt x="959" y="1546"/>
                </a:lnTo>
                <a:lnTo>
                  <a:pt x="966" y="1553"/>
                </a:lnTo>
                <a:lnTo>
                  <a:pt x="974" y="1559"/>
                </a:lnTo>
                <a:lnTo>
                  <a:pt x="982" y="1563"/>
                </a:lnTo>
                <a:lnTo>
                  <a:pt x="992" y="1567"/>
                </a:lnTo>
                <a:lnTo>
                  <a:pt x="1002" y="1570"/>
                </a:lnTo>
                <a:lnTo>
                  <a:pt x="1012" y="1572"/>
                </a:lnTo>
                <a:lnTo>
                  <a:pt x="1017" y="1572"/>
                </a:lnTo>
                <a:lnTo>
                  <a:pt x="1023" y="1572"/>
                </a:lnTo>
                <a:lnTo>
                  <a:pt x="1033" y="1572"/>
                </a:lnTo>
                <a:lnTo>
                  <a:pt x="1043" y="1570"/>
                </a:lnTo>
                <a:lnTo>
                  <a:pt x="1054" y="1568"/>
                </a:lnTo>
                <a:lnTo>
                  <a:pt x="1064" y="1564"/>
                </a:lnTo>
                <a:lnTo>
                  <a:pt x="1073" y="1560"/>
                </a:lnTo>
                <a:lnTo>
                  <a:pt x="1082" y="1555"/>
                </a:lnTo>
                <a:lnTo>
                  <a:pt x="1091" y="1549"/>
                </a:lnTo>
                <a:lnTo>
                  <a:pt x="1099" y="1543"/>
                </a:lnTo>
                <a:lnTo>
                  <a:pt x="1107" y="1536"/>
                </a:lnTo>
                <a:lnTo>
                  <a:pt x="1116" y="1527"/>
                </a:lnTo>
                <a:lnTo>
                  <a:pt x="1123" y="1518"/>
                </a:lnTo>
                <a:lnTo>
                  <a:pt x="1130" y="1509"/>
                </a:lnTo>
                <a:lnTo>
                  <a:pt x="1143" y="1490"/>
                </a:lnTo>
                <a:lnTo>
                  <a:pt x="1149" y="1479"/>
                </a:lnTo>
                <a:lnTo>
                  <a:pt x="1154" y="1468"/>
                </a:lnTo>
                <a:lnTo>
                  <a:pt x="1159" y="1457"/>
                </a:lnTo>
                <a:lnTo>
                  <a:pt x="1164" y="1445"/>
                </a:lnTo>
                <a:lnTo>
                  <a:pt x="1169" y="1434"/>
                </a:lnTo>
                <a:lnTo>
                  <a:pt x="1174" y="1422"/>
                </a:lnTo>
                <a:lnTo>
                  <a:pt x="1178" y="1409"/>
                </a:lnTo>
                <a:lnTo>
                  <a:pt x="1181" y="1397"/>
                </a:lnTo>
                <a:lnTo>
                  <a:pt x="1184" y="1385"/>
                </a:lnTo>
                <a:lnTo>
                  <a:pt x="1187" y="1373"/>
                </a:lnTo>
                <a:lnTo>
                  <a:pt x="1189" y="1361"/>
                </a:lnTo>
                <a:lnTo>
                  <a:pt x="1191" y="1348"/>
                </a:lnTo>
                <a:lnTo>
                  <a:pt x="1192" y="1337"/>
                </a:lnTo>
                <a:lnTo>
                  <a:pt x="1193" y="1325"/>
                </a:lnTo>
                <a:lnTo>
                  <a:pt x="1194" y="1314"/>
                </a:lnTo>
                <a:lnTo>
                  <a:pt x="1194" y="1303"/>
                </a:lnTo>
                <a:lnTo>
                  <a:pt x="1194" y="1292"/>
                </a:lnTo>
                <a:lnTo>
                  <a:pt x="1194" y="1280"/>
                </a:lnTo>
                <a:lnTo>
                  <a:pt x="1195" y="1278"/>
                </a:lnTo>
                <a:lnTo>
                  <a:pt x="1196" y="1276"/>
                </a:lnTo>
                <a:lnTo>
                  <a:pt x="1199" y="1274"/>
                </a:lnTo>
                <a:lnTo>
                  <a:pt x="1201" y="1272"/>
                </a:lnTo>
                <a:lnTo>
                  <a:pt x="1208" y="1269"/>
                </a:lnTo>
                <a:lnTo>
                  <a:pt x="1212" y="1269"/>
                </a:lnTo>
                <a:lnTo>
                  <a:pt x="1216" y="1268"/>
                </a:lnTo>
                <a:lnTo>
                  <a:pt x="1223" y="1269"/>
                </a:lnTo>
                <a:lnTo>
                  <a:pt x="1227" y="1269"/>
                </a:lnTo>
                <a:lnTo>
                  <a:pt x="1231" y="1270"/>
                </a:lnTo>
                <a:lnTo>
                  <a:pt x="1236" y="1273"/>
                </a:lnTo>
                <a:lnTo>
                  <a:pt x="1239" y="1275"/>
                </a:lnTo>
                <a:lnTo>
                  <a:pt x="1241" y="1277"/>
                </a:lnTo>
                <a:lnTo>
                  <a:pt x="1245" y="1283"/>
                </a:lnTo>
                <a:lnTo>
                  <a:pt x="1247" y="1287"/>
                </a:lnTo>
                <a:lnTo>
                  <a:pt x="1248" y="1292"/>
                </a:lnTo>
                <a:lnTo>
                  <a:pt x="1249" y="1296"/>
                </a:lnTo>
                <a:lnTo>
                  <a:pt x="1250" y="1301"/>
                </a:lnTo>
                <a:lnTo>
                  <a:pt x="1251" y="1306"/>
                </a:lnTo>
                <a:lnTo>
                  <a:pt x="1251" y="1312"/>
                </a:lnTo>
                <a:lnTo>
                  <a:pt x="1250" y="1328"/>
                </a:lnTo>
                <a:lnTo>
                  <a:pt x="1249" y="1343"/>
                </a:lnTo>
                <a:lnTo>
                  <a:pt x="1248" y="1359"/>
                </a:lnTo>
                <a:lnTo>
                  <a:pt x="1246" y="1374"/>
                </a:lnTo>
                <a:lnTo>
                  <a:pt x="1243" y="1389"/>
                </a:lnTo>
                <a:lnTo>
                  <a:pt x="1240" y="1404"/>
                </a:lnTo>
                <a:lnTo>
                  <a:pt x="1237" y="1419"/>
                </a:lnTo>
                <a:lnTo>
                  <a:pt x="1233" y="1434"/>
                </a:lnTo>
                <a:lnTo>
                  <a:pt x="1228" y="1447"/>
                </a:lnTo>
                <a:lnTo>
                  <a:pt x="1223" y="1461"/>
                </a:lnTo>
                <a:lnTo>
                  <a:pt x="1217" y="1475"/>
                </a:lnTo>
                <a:lnTo>
                  <a:pt x="1212" y="1488"/>
                </a:lnTo>
                <a:lnTo>
                  <a:pt x="1206" y="1500"/>
                </a:lnTo>
                <a:lnTo>
                  <a:pt x="1199" y="1512"/>
                </a:lnTo>
                <a:lnTo>
                  <a:pt x="1192" y="1524"/>
                </a:lnTo>
                <a:lnTo>
                  <a:pt x="1185" y="1536"/>
                </a:lnTo>
                <a:lnTo>
                  <a:pt x="1177" y="1547"/>
                </a:lnTo>
                <a:lnTo>
                  <a:pt x="1168" y="1557"/>
                </a:lnTo>
                <a:lnTo>
                  <a:pt x="1160" y="1567"/>
                </a:lnTo>
                <a:lnTo>
                  <a:pt x="1151" y="1576"/>
                </a:lnTo>
                <a:lnTo>
                  <a:pt x="1142" y="1584"/>
                </a:lnTo>
                <a:lnTo>
                  <a:pt x="1133" y="1593"/>
                </a:lnTo>
                <a:lnTo>
                  <a:pt x="1123" y="1600"/>
                </a:lnTo>
                <a:lnTo>
                  <a:pt x="1113" y="1607"/>
                </a:lnTo>
                <a:lnTo>
                  <a:pt x="1102" y="1613"/>
                </a:lnTo>
                <a:lnTo>
                  <a:pt x="1091" y="1618"/>
                </a:lnTo>
                <a:lnTo>
                  <a:pt x="1080" y="1622"/>
                </a:lnTo>
                <a:lnTo>
                  <a:pt x="1069" y="1626"/>
                </a:lnTo>
                <a:lnTo>
                  <a:pt x="1058" y="1629"/>
                </a:lnTo>
                <a:lnTo>
                  <a:pt x="1045" y="1631"/>
                </a:lnTo>
                <a:lnTo>
                  <a:pt x="1033" y="1632"/>
                </a:lnTo>
                <a:lnTo>
                  <a:pt x="1021" y="1633"/>
                </a:lnTo>
                <a:close/>
                <a:moveTo>
                  <a:pt x="1408" y="1627"/>
                </a:moveTo>
                <a:lnTo>
                  <a:pt x="1406" y="1627"/>
                </a:lnTo>
                <a:lnTo>
                  <a:pt x="1403" y="1626"/>
                </a:lnTo>
                <a:lnTo>
                  <a:pt x="1398" y="1623"/>
                </a:lnTo>
                <a:lnTo>
                  <a:pt x="1392" y="1619"/>
                </a:lnTo>
                <a:lnTo>
                  <a:pt x="1385" y="1613"/>
                </a:lnTo>
                <a:lnTo>
                  <a:pt x="1372" y="1603"/>
                </a:lnTo>
                <a:lnTo>
                  <a:pt x="1357" y="1588"/>
                </a:lnTo>
                <a:lnTo>
                  <a:pt x="1339" y="1572"/>
                </a:lnTo>
                <a:lnTo>
                  <a:pt x="1323" y="1555"/>
                </a:lnTo>
                <a:lnTo>
                  <a:pt x="1307" y="1538"/>
                </a:lnTo>
                <a:lnTo>
                  <a:pt x="1293" y="1521"/>
                </a:lnTo>
                <a:lnTo>
                  <a:pt x="1280" y="1506"/>
                </a:lnTo>
                <a:lnTo>
                  <a:pt x="1276" y="1500"/>
                </a:lnTo>
                <a:lnTo>
                  <a:pt x="1273" y="1495"/>
                </a:lnTo>
                <a:lnTo>
                  <a:pt x="1268" y="1485"/>
                </a:lnTo>
                <a:lnTo>
                  <a:pt x="1264" y="1475"/>
                </a:lnTo>
                <a:lnTo>
                  <a:pt x="1261" y="1464"/>
                </a:lnTo>
                <a:lnTo>
                  <a:pt x="1260" y="1454"/>
                </a:lnTo>
                <a:lnTo>
                  <a:pt x="1261" y="1449"/>
                </a:lnTo>
                <a:lnTo>
                  <a:pt x="1262" y="1443"/>
                </a:lnTo>
                <a:lnTo>
                  <a:pt x="1263" y="1437"/>
                </a:lnTo>
                <a:lnTo>
                  <a:pt x="1265" y="1431"/>
                </a:lnTo>
                <a:lnTo>
                  <a:pt x="1268" y="1425"/>
                </a:lnTo>
                <a:lnTo>
                  <a:pt x="1271" y="1419"/>
                </a:lnTo>
                <a:lnTo>
                  <a:pt x="1275" y="1412"/>
                </a:lnTo>
                <a:lnTo>
                  <a:pt x="1279" y="1404"/>
                </a:lnTo>
                <a:lnTo>
                  <a:pt x="1287" y="1393"/>
                </a:lnTo>
                <a:lnTo>
                  <a:pt x="1300" y="1380"/>
                </a:lnTo>
                <a:lnTo>
                  <a:pt x="1329" y="1345"/>
                </a:lnTo>
                <a:lnTo>
                  <a:pt x="1365" y="1306"/>
                </a:lnTo>
                <a:lnTo>
                  <a:pt x="1400" y="1264"/>
                </a:lnTo>
                <a:lnTo>
                  <a:pt x="1401" y="1264"/>
                </a:lnTo>
                <a:lnTo>
                  <a:pt x="1404" y="1264"/>
                </a:lnTo>
                <a:lnTo>
                  <a:pt x="1408" y="1264"/>
                </a:lnTo>
                <a:lnTo>
                  <a:pt x="1413" y="1265"/>
                </a:lnTo>
                <a:lnTo>
                  <a:pt x="1417" y="1267"/>
                </a:lnTo>
                <a:lnTo>
                  <a:pt x="1422" y="1270"/>
                </a:lnTo>
                <a:lnTo>
                  <a:pt x="1426" y="1273"/>
                </a:lnTo>
                <a:lnTo>
                  <a:pt x="1430" y="1276"/>
                </a:lnTo>
                <a:lnTo>
                  <a:pt x="1433" y="1281"/>
                </a:lnTo>
                <a:lnTo>
                  <a:pt x="1436" y="1286"/>
                </a:lnTo>
                <a:lnTo>
                  <a:pt x="1437" y="1290"/>
                </a:lnTo>
                <a:lnTo>
                  <a:pt x="1438" y="1296"/>
                </a:lnTo>
                <a:lnTo>
                  <a:pt x="1437" y="1301"/>
                </a:lnTo>
                <a:lnTo>
                  <a:pt x="1436" y="1307"/>
                </a:lnTo>
                <a:lnTo>
                  <a:pt x="1433" y="1312"/>
                </a:lnTo>
                <a:lnTo>
                  <a:pt x="1429" y="1318"/>
                </a:lnTo>
                <a:lnTo>
                  <a:pt x="1421" y="1329"/>
                </a:lnTo>
                <a:lnTo>
                  <a:pt x="1408" y="1342"/>
                </a:lnTo>
                <a:lnTo>
                  <a:pt x="1379" y="1376"/>
                </a:lnTo>
                <a:lnTo>
                  <a:pt x="1349" y="1409"/>
                </a:lnTo>
                <a:lnTo>
                  <a:pt x="1336" y="1425"/>
                </a:lnTo>
                <a:lnTo>
                  <a:pt x="1327" y="1436"/>
                </a:lnTo>
                <a:lnTo>
                  <a:pt x="1325" y="1440"/>
                </a:lnTo>
                <a:lnTo>
                  <a:pt x="1323" y="1444"/>
                </a:lnTo>
                <a:lnTo>
                  <a:pt x="1322" y="1447"/>
                </a:lnTo>
                <a:lnTo>
                  <a:pt x="1322" y="1451"/>
                </a:lnTo>
                <a:lnTo>
                  <a:pt x="1322" y="1455"/>
                </a:lnTo>
                <a:lnTo>
                  <a:pt x="1323" y="1460"/>
                </a:lnTo>
                <a:lnTo>
                  <a:pt x="1326" y="1464"/>
                </a:lnTo>
                <a:lnTo>
                  <a:pt x="1329" y="1469"/>
                </a:lnTo>
                <a:lnTo>
                  <a:pt x="1336" y="1479"/>
                </a:lnTo>
                <a:lnTo>
                  <a:pt x="1346" y="1491"/>
                </a:lnTo>
                <a:lnTo>
                  <a:pt x="1375" y="1520"/>
                </a:lnTo>
                <a:lnTo>
                  <a:pt x="1407" y="1553"/>
                </a:lnTo>
                <a:lnTo>
                  <a:pt x="1439" y="1583"/>
                </a:lnTo>
                <a:lnTo>
                  <a:pt x="1440" y="1585"/>
                </a:lnTo>
                <a:lnTo>
                  <a:pt x="1442" y="1587"/>
                </a:lnTo>
                <a:lnTo>
                  <a:pt x="1443" y="1589"/>
                </a:lnTo>
                <a:lnTo>
                  <a:pt x="1443" y="1593"/>
                </a:lnTo>
                <a:lnTo>
                  <a:pt x="1442" y="1599"/>
                </a:lnTo>
                <a:lnTo>
                  <a:pt x="1441" y="1601"/>
                </a:lnTo>
                <a:lnTo>
                  <a:pt x="1440" y="1604"/>
                </a:lnTo>
                <a:lnTo>
                  <a:pt x="1436" y="1610"/>
                </a:lnTo>
                <a:lnTo>
                  <a:pt x="1434" y="1613"/>
                </a:lnTo>
                <a:lnTo>
                  <a:pt x="1432" y="1615"/>
                </a:lnTo>
                <a:lnTo>
                  <a:pt x="1426" y="1620"/>
                </a:lnTo>
                <a:lnTo>
                  <a:pt x="1423" y="1622"/>
                </a:lnTo>
                <a:lnTo>
                  <a:pt x="1420" y="1624"/>
                </a:lnTo>
                <a:lnTo>
                  <a:pt x="1414" y="1626"/>
                </a:lnTo>
                <a:lnTo>
                  <a:pt x="1411" y="1627"/>
                </a:lnTo>
                <a:lnTo>
                  <a:pt x="1408" y="1627"/>
                </a:lnTo>
                <a:close/>
                <a:moveTo>
                  <a:pt x="1021" y="2627"/>
                </a:moveTo>
                <a:lnTo>
                  <a:pt x="1013" y="2627"/>
                </a:lnTo>
                <a:lnTo>
                  <a:pt x="1006" y="2626"/>
                </a:lnTo>
                <a:lnTo>
                  <a:pt x="998" y="2625"/>
                </a:lnTo>
                <a:lnTo>
                  <a:pt x="991" y="2623"/>
                </a:lnTo>
                <a:lnTo>
                  <a:pt x="982" y="2621"/>
                </a:lnTo>
                <a:lnTo>
                  <a:pt x="975" y="2619"/>
                </a:lnTo>
                <a:lnTo>
                  <a:pt x="962" y="2613"/>
                </a:lnTo>
                <a:lnTo>
                  <a:pt x="949" y="2605"/>
                </a:lnTo>
                <a:lnTo>
                  <a:pt x="942" y="2601"/>
                </a:lnTo>
                <a:lnTo>
                  <a:pt x="936" y="2596"/>
                </a:lnTo>
                <a:lnTo>
                  <a:pt x="929" y="2591"/>
                </a:lnTo>
                <a:lnTo>
                  <a:pt x="924" y="2586"/>
                </a:lnTo>
                <a:lnTo>
                  <a:pt x="918" y="2581"/>
                </a:lnTo>
                <a:lnTo>
                  <a:pt x="913" y="2575"/>
                </a:lnTo>
                <a:lnTo>
                  <a:pt x="908" y="2569"/>
                </a:lnTo>
                <a:lnTo>
                  <a:pt x="903" y="2563"/>
                </a:lnTo>
                <a:lnTo>
                  <a:pt x="899" y="2556"/>
                </a:lnTo>
                <a:lnTo>
                  <a:pt x="895" y="2548"/>
                </a:lnTo>
                <a:lnTo>
                  <a:pt x="891" y="2541"/>
                </a:lnTo>
                <a:lnTo>
                  <a:pt x="887" y="2534"/>
                </a:lnTo>
                <a:lnTo>
                  <a:pt x="884" y="2526"/>
                </a:lnTo>
                <a:lnTo>
                  <a:pt x="881" y="2518"/>
                </a:lnTo>
                <a:lnTo>
                  <a:pt x="878" y="2510"/>
                </a:lnTo>
                <a:lnTo>
                  <a:pt x="876" y="2502"/>
                </a:lnTo>
                <a:lnTo>
                  <a:pt x="874" y="2494"/>
                </a:lnTo>
                <a:lnTo>
                  <a:pt x="872" y="2484"/>
                </a:lnTo>
                <a:lnTo>
                  <a:pt x="871" y="2475"/>
                </a:lnTo>
                <a:lnTo>
                  <a:pt x="869" y="2467"/>
                </a:lnTo>
                <a:lnTo>
                  <a:pt x="868" y="2458"/>
                </a:lnTo>
                <a:lnTo>
                  <a:pt x="868" y="2448"/>
                </a:lnTo>
                <a:lnTo>
                  <a:pt x="869" y="2429"/>
                </a:lnTo>
                <a:lnTo>
                  <a:pt x="871" y="2420"/>
                </a:lnTo>
                <a:lnTo>
                  <a:pt x="872" y="2410"/>
                </a:lnTo>
                <a:lnTo>
                  <a:pt x="874" y="2401"/>
                </a:lnTo>
                <a:lnTo>
                  <a:pt x="876" y="2393"/>
                </a:lnTo>
                <a:lnTo>
                  <a:pt x="879" y="2384"/>
                </a:lnTo>
                <a:lnTo>
                  <a:pt x="882" y="2375"/>
                </a:lnTo>
                <a:lnTo>
                  <a:pt x="885" y="2366"/>
                </a:lnTo>
                <a:lnTo>
                  <a:pt x="888" y="2358"/>
                </a:lnTo>
                <a:lnTo>
                  <a:pt x="892" y="2350"/>
                </a:lnTo>
                <a:lnTo>
                  <a:pt x="896" y="2342"/>
                </a:lnTo>
                <a:lnTo>
                  <a:pt x="901" y="2334"/>
                </a:lnTo>
                <a:lnTo>
                  <a:pt x="905" y="2327"/>
                </a:lnTo>
                <a:lnTo>
                  <a:pt x="916" y="2313"/>
                </a:lnTo>
                <a:lnTo>
                  <a:pt x="921" y="2305"/>
                </a:lnTo>
                <a:lnTo>
                  <a:pt x="927" y="2299"/>
                </a:lnTo>
                <a:lnTo>
                  <a:pt x="940" y="2288"/>
                </a:lnTo>
                <a:lnTo>
                  <a:pt x="946" y="2283"/>
                </a:lnTo>
                <a:lnTo>
                  <a:pt x="953" y="2278"/>
                </a:lnTo>
                <a:lnTo>
                  <a:pt x="960" y="2274"/>
                </a:lnTo>
                <a:lnTo>
                  <a:pt x="967" y="2269"/>
                </a:lnTo>
                <a:lnTo>
                  <a:pt x="974" y="2266"/>
                </a:lnTo>
                <a:lnTo>
                  <a:pt x="982" y="2263"/>
                </a:lnTo>
                <a:lnTo>
                  <a:pt x="989" y="2260"/>
                </a:lnTo>
                <a:lnTo>
                  <a:pt x="998" y="2258"/>
                </a:lnTo>
                <a:lnTo>
                  <a:pt x="1006" y="2256"/>
                </a:lnTo>
                <a:lnTo>
                  <a:pt x="1014" y="2255"/>
                </a:lnTo>
                <a:lnTo>
                  <a:pt x="1022" y="2254"/>
                </a:lnTo>
                <a:lnTo>
                  <a:pt x="1030" y="2254"/>
                </a:lnTo>
                <a:lnTo>
                  <a:pt x="1041" y="2254"/>
                </a:lnTo>
                <a:lnTo>
                  <a:pt x="1045" y="2255"/>
                </a:lnTo>
                <a:lnTo>
                  <a:pt x="1051" y="2255"/>
                </a:lnTo>
                <a:lnTo>
                  <a:pt x="1056" y="2256"/>
                </a:lnTo>
                <a:lnTo>
                  <a:pt x="1060" y="2258"/>
                </a:lnTo>
                <a:lnTo>
                  <a:pt x="1069" y="2261"/>
                </a:lnTo>
                <a:lnTo>
                  <a:pt x="1077" y="2265"/>
                </a:lnTo>
                <a:lnTo>
                  <a:pt x="1084" y="2269"/>
                </a:lnTo>
                <a:lnTo>
                  <a:pt x="1091" y="2275"/>
                </a:lnTo>
                <a:lnTo>
                  <a:pt x="1097" y="2281"/>
                </a:lnTo>
                <a:lnTo>
                  <a:pt x="1099" y="2284"/>
                </a:lnTo>
                <a:lnTo>
                  <a:pt x="1102" y="2287"/>
                </a:lnTo>
                <a:lnTo>
                  <a:pt x="1107" y="2295"/>
                </a:lnTo>
                <a:lnTo>
                  <a:pt x="1112" y="2302"/>
                </a:lnTo>
                <a:lnTo>
                  <a:pt x="1115" y="2312"/>
                </a:lnTo>
                <a:lnTo>
                  <a:pt x="1118" y="2320"/>
                </a:lnTo>
                <a:lnTo>
                  <a:pt x="1120" y="2329"/>
                </a:lnTo>
                <a:lnTo>
                  <a:pt x="1121" y="2339"/>
                </a:lnTo>
                <a:lnTo>
                  <a:pt x="1121" y="2349"/>
                </a:lnTo>
                <a:lnTo>
                  <a:pt x="1120" y="2361"/>
                </a:lnTo>
                <a:lnTo>
                  <a:pt x="1119" y="2368"/>
                </a:lnTo>
                <a:lnTo>
                  <a:pt x="1118" y="2375"/>
                </a:lnTo>
                <a:lnTo>
                  <a:pt x="1114" y="2387"/>
                </a:lnTo>
                <a:lnTo>
                  <a:pt x="1108" y="2398"/>
                </a:lnTo>
                <a:lnTo>
                  <a:pt x="1102" y="2409"/>
                </a:lnTo>
                <a:lnTo>
                  <a:pt x="1095" y="2420"/>
                </a:lnTo>
                <a:lnTo>
                  <a:pt x="1091" y="2425"/>
                </a:lnTo>
                <a:lnTo>
                  <a:pt x="1086" y="2430"/>
                </a:lnTo>
                <a:lnTo>
                  <a:pt x="1077" y="2440"/>
                </a:lnTo>
                <a:lnTo>
                  <a:pt x="1067" y="2449"/>
                </a:lnTo>
                <a:lnTo>
                  <a:pt x="1062" y="2452"/>
                </a:lnTo>
                <a:lnTo>
                  <a:pt x="1057" y="2456"/>
                </a:lnTo>
                <a:lnTo>
                  <a:pt x="1044" y="2463"/>
                </a:lnTo>
                <a:lnTo>
                  <a:pt x="1033" y="2468"/>
                </a:lnTo>
                <a:lnTo>
                  <a:pt x="1021" y="2473"/>
                </a:lnTo>
                <a:lnTo>
                  <a:pt x="1014" y="2475"/>
                </a:lnTo>
                <a:lnTo>
                  <a:pt x="1008" y="2476"/>
                </a:lnTo>
                <a:lnTo>
                  <a:pt x="1002" y="2478"/>
                </a:lnTo>
                <a:lnTo>
                  <a:pt x="996" y="2478"/>
                </a:lnTo>
                <a:lnTo>
                  <a:pt x="982" y="2479"/>
                </a:lnTo>
                <a:lnTo>
                  <a:pt x="977" y="2478"/>
                </a:lnTo>
                <a:lnTo>
                  <a:pt x="972" y="2477"/>
                </a:lnTo>
                <a:lnTo>
                  <a:pt x="967" y="2474"/>
                </a:lnTo>
                <a:lnTo>
                  <a:pt x="965" y="2472"/>
                </a:lnTo>
                <a:lnTo>
                  <a:pt x="963" y="2470"/>
                </a:lnTo>
                <a:lnTo>
                  <a:pt x="960" y="2465"/>
                </a:lnTo>
                <a:lnTo>
                  <a:pt x="958" y="2460"/>
                </a:lnTo>
                <a:lnTo>
                  <a:pt x="957" y="2457"/>
                </a:lnTo>
                <a:lnTo>
                  <a:pt x="956" y="2454"/>
                </a:lnTo>
                <a:lnTo>
                  <a:pt x="956" y="2448"/>
                </a:lnTo>
                <a:lnTo>
                  <a:pt x="956" y="2445"/>
                </a:lnTo>
                <a:lnTo>
                  <a:pt x="956" y="2442"/>
                </a:lnTo>
                <a:lnTo>
                  <a:pt x="957" y="2437"/>
                </a:lnTo>
                <a:lnTo>
                  <a:pt x="958" y="2435"/>
                </a:lnTo>
                <a:lnTo>
                  <a:pt x="960" y="2433"/>
                </a:lnTo>
                <a:lnTo>
                  <a:pt x="961" y="2432"/>
                </a:lnTo>
                <a:lnTo>
                  <a:pt x="963" y="2430"/>
                </a:lnTo>
                <a:lnTo>
                  <a:pt x="974" y="2428"/>
                </a:lnTo>
                <a:lnTo>
                  <a:pt x="984" y="2425"/>
                </a:lnTo>
                <a:lnTo>
                  <a:pt x="995" y="2422"/>
                </a:lnTo>
                <a:lnTo>
                  <a:pt x="1005" y="2418"/>
                </a:lnTo>
                <a:lnTo>
                  <a:pt x="1014" y="2413"/>
                </a:lnTo>
                <a:lnTo>
                  <a:pt x="1023" y="2408"/>
                </a:lnTo>
                <a:lnTo>
                  <a:pt x="1030" y="2403"/>
                </a:lnTo>
                <a:lnTo>
                  <a:pt x="1034" y="2400"/>
                </a:lnTo>
                <a:lnTo>
                  <a:pt x="1038" y="2397"/>
                </a:lnTo>
                <a:lnTo>
                  <a:pt x="1044" y="2390"/>
                </a:lnTo>
                <a:lnTo>
                  <a:pt x="1051" y="2384"/>
                </a:lnTo>
                <a:lnTo>
                  <a:pt x="1056" y="2377"/>
                </a:lnTo>
                <a:lnTo>
                  <a:pt x="1060" y="2369"/>
                </a:lnTo>
                <a:lnTo>
                  <a:pt x="1063" y="2362"/>
                </a:lnTo>
                <a:lnTo>
                  <a:pt x="1066" y="2355"/>
                </a:lnTo>
                <a:lnTo>
                  <a:pt x="1067" y="2348"/>
                </a:lnTo>
                <a:lnTo>
                  <a:pt x="1068" y="2341"/>
                </a:lnTo>
                <a:lnTo>
                  <a:pt x="1067" y="2333"/>
                </a:lnTo>
                <a:lnTo>
                  <a:pt x="1065" y="2326"/>
                </a:lnTo>
                <a:lnTo>
                  <a:pt x="1063" y="2323"/>
                </a:lnTo>
                <a:lnTo>
                  <a:pt x="1062" y="2319"/>
                </a:lnTo>
                <a:lnTo>
                  <a:pt x="1059" y="2317"/>
                </a:lnTo>
                <a:lnTo>
                  <a:pt x="1057" y="2314"/>
                </a:lnTo>
                <a:lnTo>
                  <a:pt x="1051" y="2309"/>
                </a:lnTo>
                <a:lnTo>
                  <a:pt x="1047" y="2307"/>
                </a:lnTo>
                <a:lnTo>
                  <a:pt x="1043" y="2306"/>
                </a:lnTo>
                <a:lnTo>
                  <a:pt x="1035" y="2304"/>
                </a:lnTo>
                <a:lnTo>
                  <a:pt x="1031" y="2303"/>
                </a:lnTo>
                <a:lnTo>
                  <a:pt x="1027" y="2303"/>
                </a:lnTo>
                <a:lnTo>
                  <a:pt x="1018" y="2304"/>
                </a:lnTo>
                <a:lnTo>
                  <a:pt x="1013" y="2305"/>
                </a:lnTo>
                <a:lnTo>
                  <a:pt x="1009" y="2306"/>
                </a:lnTo>
                <a:lnTo>
                  <a:pt x="1004" y="2308"/>
                </a:lnTo>
                <a:lnTo>
                  <a:pt x="1000" y="2310"/>
                </a:lnTo>
                <a:lnTo>
                  <a:pt x="996" y="2313"/>
                </a:lnTo>
                <a:lnTo>
                  <a:pt x="991" y="2315"/>
                </a:lnTo>
                <a:lnTo>
                  <a:pt x="986" y="2318"/>
                </a:lnTo>
                <a:lnTo>
                  <a:pt x="982" y="2321"/>
                </a:lnTo>
                <a:lnTo>
                  <a:pt x="973" y="2328"/>
                </a:lnTo>
                <a:lnTo>
                  <a:pt x="966" y="2336"/>
                </a:lnTo>
                <a:lnTo>
                  <a:pt x="958" y="2345"/>
                </a:lnTo>
                <a:lnTo>
                  <a:pt x="955" y="2350"/>
                </a:lnTo>
                <a:lnTo>
                  <a:pt x="951" y="2355"/>
                </a:lnTo>
                <a:lnTo>
                  <a:pt x="945" y="2366"/>
                </a:lnTo>
                <a:lnTo>
                  <a:pt x="940" y="2379"/>
                </a:lnTo>
                <a:lnTo>
                  <a:pt x="935" y="2391"/>
                </a:lnTo>
                <a:lnTo>
                  <a:pt x="931" y="2404"/>
                </a:lnTo>
                <a:lnTo>
                  <a:pt x="927" y="2417"/>
                </a:lnTo>
                <a:lnTo>
                  <a:pt x="925" y="2432"/>
                </a:lnTo>
                <a:lnTo>
                  <a:pt x="925" y="2439"/>
                </a:lnTo>
                <a:lnTo>
                  <a:pt x="925" y="2446"/>
                </a:lnTo>
                <a:lnTo>
                  <a:pt x="925" y="2459"/>
                </a:lnTo>
                <a:lnTo>
                  <a:pt x="927" y="2471"/>
                </a:lnTo>
                <a:lnTo>
                  <a:pt x="929" y="2482"/>
                </a:lnTo>
                <a:lnTo>
                  <a:pt x="931" y="2488"/>
                </a:lnTo>
                <a:lnTo>
                  <a:pt x="933" y="2494"/>
                </a:lnTo>
                <a:lnTo>
                  <a:pt x="936" y="2505"/>
                </a:lnTo>
                <a:lnTo>
                  <a:pt x="939" y="2510"/>
                </a:lnTo>
                <a:lnTo>
                  <a:pt x="941" y="2515"/>
                </a:lnTo>
                <a:lnTo>
                  <a:pt x="943" y="2519"/>
                </a:lnTo>
                <a:lnTo>
                  <a:pt x="946" y="2524"/>
                </a:lnTo>
                <a:lnTo>
                  <a:pt x="949" y="2528"/>
                </a:lnTo>
                <a:lnTo>
                  <a:pt x="952" y="2532"/>
                </a:lnTo>
                <a:lnTo>
                  <a:pt x="955" y="2536"/>
                </a:lnTo>
                <a:lnTo>
                  <a:pt x="959" y="2540"/>
                </a:lnTo>
                <a:lnTo>
                  <a:pt x="966" y="2546"/>
                </a:lnTo>
                <a:lnTo>
                  <a:pt x="974" y="2553"/>
                </a:lnTo>
                <a:lnTo>
                  <a:pt x="982" y="2558"/>
                </a:lnTo>
                <a:lnTo>
                  <a:pt x="992" y="2561"/>
                </a:lnTo>
                <a:lnTo>
                  <a:pt x="1002" y="2564"/>
                </a:lnTo>
                <a:lnTo>
                  <a:pt x="1012" y="2566"/>
                </a:lnTo>
                <a:lnTo>
                  <a:pt x="1017" y="2566"/>
                </a:lnTo>
                <a:lnTo>
                  <a:pt x="1023" y="2567"/>
                </a:lnTo>
                <a:lnTo>
                  <a:pt x="1033" y="2566"/>
                </a:lnTo>
                <a:lnTo>
                  <a:pt x="1043" y="2564"/>
                </a:lnTo>
                <a:lnTo>
                  <a:pt x="1054" y="2562"/>
                </a:lnTo>
                <a:lnTo>
                  <a:pt x="1064" y="2559"/>
                </a:lnTo>
                <a:lnTo>
                  <a:pt x="1073" y="2554"/>
                </a:lnTo>
                <a:lnTo>
                  <a:pt x="1082" y="2548"/>
                </a:lnTo>
                <a:lnTo>
                  <a:pt x="1091" y="2543"/>
                </a:lnTo>
                <a:lnTo>
                  <a:pt x="1099" y="2536"/>
                </a:lnTo>
                <a:lnTo>
                  <a:pt x="1107" y="2529"/>
                </a:lnTo>
                <a:lnTo>
                  <a:pt x="1116" y="2521"/>
                </a:lnTo>
                <a:lnTo>
                  <a:pt x="1123" y="2512"/>
                </a:lnTo>
                <a:lnTo>
                  <a:pt x="1130" y="2503"/>
                </a:lnTo>
                <a:lnTo>
                  <a:pt x="1143" y="2483"/>
                </a:lnTo>
                <a:lnTo>
                  <a:pt x="1149" y="2473"/>
                </a:lnTo>
                <a:lnTo>
                  <a:pt x="1154" y="2462"/>
                </a:lnTo>
                <a:lnTo>
                  <a:pt x="1159" y="2451"/>
                </a:lnTo>
                <a:lnTo>
                  <a:pt x="1164" y="2440"/>
                </a:lnTo>
                <a:lnTo>
                  <a:pt x="1169" y="2427"/>
                </a:lnTo>
                <a:lnTo>
                  <a:pt x="1174" y="2415"/>
                </a:lnTo>
                <a:lnTo>
                  <a:pt x="1178" y="2403"/>
                </a:lnTo>
                <a:lnTo>
                  <a:pt x="1181" y="2391"/>
                </a:lnTo>
                <a:lnTo>
                  <a:pt x="1184" y="2379"/>
                </a:lnTo>
                <a:lnTo>
                  <a:pt x="1187" y="2366"/>
                </a:lnTo>
                <a:lnTo>
                  <a:pt x="1189" y="2354"/>
                </a:lnTo>
                <a:lnTo>
                  <a:pt x="1191" y="2343"/>
                </a:lnTo>
                <a:lnTo>
                  <a:pt x="1192" y="2331"/>
                </a:lnTo>
                <a:lnTo>
                  <a:pt x="1193" y="2319"/>
                </a:lnTo>
                <a:lnTo>
                  <a:pt x="1194" y="2307"/>
                </a:lnTo>
                <a:lnTo>
                  <a:pt x="1194" y="2296"/>
                </a:lnTo>
                <a:lnTo>
                  <a:pt x="1194" y="2285"/>
                </a:lnTo>
                <a:lnTo>
                  <a:pt x="1194" y="2275"/>
                </a:lnTo>
                <a:lnTo>
                  <a:pt x="1195" y="2272"/>
                </a:lnTo>
                <a:lnTo>
                  <a:pt x="1196" y="2270"/>
                </a:lnTo>
                <a:lnTo>
                  <a:pt x="1199" y="2268"/>
                </a:lnTo>
                <a:lnTo>
                  <a:pt x="1201" y="2266"/>
                </a:lnTo>
                <a:lnTo>
                  <a:pt x="1208" y="2263"/>
                </a:lnTo>
                <a:lnTo>
                  <a:pt x="1212" y="2263"/>
                </a:lnTo>
                <a:lnTo>
                  <a:pt x="1216" y="2262"/>
                </a:lnTo>
                <a:lnTo>
                  <a:pt x="1223" y="2263"/>
                </a:lnTo>
                <a:lnTo>
                  <a:pt x="1227" y="2264"/>
                </a:lnTo>
                <a:lnTo>
                  <a:pt x="1231" y="2265"/>
                </a:lnTo>
                <a:lnTo>
                  <a:pt x="1236" y="2267"/>
                </a:lnTo>
                <a:lnTo>
                  <a:pt x="1239" y="2269"/>
                </a:lnTo>
                <a:lnTo>
                  <a:pt x="1241" y="2272"/>
                </a:lnTo>
                <a:lnTo>
                  <a:pt x="1245" y="2277"/>
                </a:lnTo>
                <a:lnTo>
                  <a:pt x="1247" y="2281"/>
                </a:lnTo>
                <a:lnTo>
                  <a:pt x="1248" y="2285"/>
                </a:lnTo>
                <a:lnTo>
                  <a:pt x="1249" y="2289"/>
                </a:lnTo>
                <a:lnTo>
                  <a:pt x="1250" y="2294"/>
                </a:lnTo>
                <a:lnTo>
                  <a:pt x="1251" y="2299"/>
                </a:lnTo>
                <a:lnTo>
                  <a:pt x="1251" y="2305"/>
                </a:lnTo>
                <a:lnTo>
                  <a:pt x="1250" y="2322"/>
                </a:lnTo>
                <a:lnTo>
                  <a:pt x="1249" y="2337"/>
                </a:lnTo>
                <a:lnTo>
                  <a:pt x="1248" y="2352"/>
                </a:lnTo>
                <a:lnTo>
                  <a:pt x="1246" y="2368"/>
                </a:lnTo>
                <a:lnTo>
                  <a:pt x="1243" y="2383"/>
                </a:lnTo>
                <a:lnTo>
                  <a:pt x="1240" y="2398"/>
                </a:lnTo>
                <a:lnTo>
                  <a:pt x="1237" y="2413"/>
                </a:lnTo>
                <a:lnTo>
                  <a:pt x="1233" y="2427"/>
                </a:lnTo>
                <a:lnTo>
                  <a:pt x="1228" y="2442"/>
                </a:lnTo>
                <a:lnTo>
                  <a:pt x="1223" y="2455"/>
                </a:lnTo>
                <a:lnTo>
                  <a:pt x="1217" y="2468"/>
                </a:lnTo>
                <a:lnTo>
                  <a:pt x="1212" y="2481"/>
                </a:lnTo>
                <a:lnTo>
                  <a:pt x="1206" y="2495"/>
                </a:lnTo>
                <a:lnTo>
                  <a:pt x="1199" y="2507"/>
                </a:lnTo>
                <a:lnTo>
                  <a:pt x="1192" y="2518"/>
                </a:lnTo>
                <a:lnTo>
                  <a:pt x="1185" y="2529"/>
                </a:lnTo>
                <a:lnTo>
                  <a:pt x="1177" y="2540"/>
                </a:lnTo>
                <a:lnTo>
                  <a:pt x="1168" y="2550"/>
                </a:lnTo>
                <a:lnTo>
                  <a:pt x="1160" y="2561"/>
                </a:lnTo>
                <a:lnTo>
                  <a:pt x="1151" y="2570"/>
                </a:lnTo>
                <a:lnTo>
                  <a:pt x="1142" y="2578"/>
                </a:lnTo>
                <a:lnTo>
                  <a:pt x="1133" y="2586"/>
                </a:lnTo>
                <a:lnTo>
                  <a:pt x="1123" y="2593"/>
                </a:lnTo>
                <a:lnTo>
                  <a:pt x="1113" y="2600"/>
                </a:lnTo>
                <a:lnTo>
                  <a:pt x="1102" y="2606"/>
                </a:lnTo>
                <a:lnTo>
                  <a:pt x="1091" y="2612"/>
                </a:lnTo>
                <a:lnTo>
                  <a:pt x="1080" y="2616"/>
                </a:lnTo>
                <a:lnTo>
                  <a:pt x="1069" y="2620"/>
                </a:lnTo>
                <a:lnTo>
                  <a:pt x="1058" y="2623"/>
                </a:lnTo>
                <a:lnTo>
                  <a:pt x="1045" y="2625"/>
                </a:lnTo>
                <a:lnTo>
                  <a:pt x="1033" y="2626"/>
                </a:lnTo>
                <a:lnTo>
                  <a:pt x="1021" y="2627"/>
                </a:lnTo>
                <a:close/>
                <a:moveTo>
                  <a:pt x="1408" y="2621"/>
                </a:moveTo>
                <a:lnTo>
                  <a:pt x="1406" y="2621"/>
                </a:lnTo>
                <a:lnTo>
                  <a:pt x="1403" y="2620"/>
                </a:lnTo>
                <a:lnTo>
                  <a:pt x="1398" y="2617"/>
                </a:lnTo>
                <a:lnTo>
                  <a:pt x="1392" y="2613"/>
                </a:lnTo>
                <a:lnTo>
                  <a:pt x="1385" y="2607"/>
                </a:lnTo>
                <a:lnTo>
                  <a:pt x="1372" y="2596"/>
                </a:lnTo>
                <a:lnTo>
                  <a:pt x="1357" y="2582"/>
                </a:lnTo>
                <a:lnTo>
                  <a:pt x="1339" y="2566"/>
                </a:lnTo>
                <a:lnTo>
                  <a:pt x="1323" y="2548"/>
                </a:lnTo>
                <a:lnTo>
                  <a:pt x="1307" y="2531"/>
                </a:lnTo>
                <a:lnTo>
                  <a:pt x="1293" y="2515"/>
                </a:lnTo>
                <a:lnTo>
                  <a:pt x="1280" y="2501"/>
                </a:lnTo>
                <a:lnTo>
                  <a:pt x="1276" y="2494"/>
                </a:lnTo>
                <a:lnTo>
                  <a:pt x="1273" y="2488"/>
                </a:lnTo>
                <a:lnTo>
                  <a:pt x="1268" y="2478"/>
                </a:lnTo>
                <a:lnTo>
                  <a:pt x="1264" y="2468"/>
                </a:lnTo>
                <a:lnTo>
                  <a:pt x="1261" y="2458"/>
                </a:lnTo>
                <a:lnTo>
                  <a:pt x="1260" y="2448"/>
                </a:lnTo>
                <a:lnTo>
                  <a:pt x="1261" y="2443"/>
                </a:lnTo>
                <a:lnTo>
                  <a:pt x="1262" y="2437"/>
                </a:lnTo>
                <a:lnTo>
                  <a:pt x="1263" y="2430"/>
                </a:lnTo>
                <a:lnTo>
                  <a:pt x="1265" y="2424"/>
                </a:lnTo>
                <a:lnTo>
                  <a:pt x="1268" y="2418"/>
                </a:lnTo>
                <a:lnTo>
                  <a:pt x="1271" y="2412"/>
                </a:lnTo>
                <a:lnTo>
                  <a:pt x="1275" y="2405"/>
                </a:lnTo>
                <a:lnTo>
                  <a:pt x="1279" y="2398"/>
                </a:lnTo>
                <a:lnTo>
                  <a:pt x="1287" y="2387"/>
                </a:lnTo>
                <a:lnTo>
                  <a:pt x="1300" y="2374"/>
                </a:lnTo>
                <a:lnTo>
                  <a:pt x="1329" y="2339"/>
                </a:lnTo>
                <a:lnTo>
                  <a:pt x="1365" y="2299"/>
                </a:lnTo>
                <a:lnTo>
                  <a:pt x="1400" y="2259"/>
                </a:lnTo>
                <a:lnTo>
                  <a:pt x="1401" y="2258"/>
                </a:lnTo>
                <a:lnTo>
                  <a:pt x="1404" y="2258"/>
                </a:lnTo>
                <a:lnTo>
                  <a:pt x="1408" y="2258"/>
                </a:lnTo>
                <a:lnTo>
                  <a:pt x="1413" y="2260"/>
                </a:lnTo>
                <a:lnTo>
                  <a:pt x="1417" y="2261"/>
                </a:lnTo>
                <a:lnTo>
                  <a:pt x="1422" y="2264"/>
                </a:lnTo>
                <a:lnTo>
                  <a:pt x="1426" y="2267"/>
                </a:lnTo>
                <a:lnTo>
                  <a:pt x="1430" y="2271"/>
                </a:lnTo>
                <a:lnTo>
                  <a:pt x="1433" y="2275"/>
                </a:lnTo>
                <a:lnTo>
                  <a:pt x="1436" y="2280"/>
                </a:lnTo>
                <a:lnTo>
                  <a:pt x="1437" y="2284"/>
                </a:lnTo>
                <a:lnTo>
                  <a:pt x="1438" y="2289"/>
                </a:lnTo>
                <a:lnTo>
                  <a:pt x="1437" y="2295"/>
                </a:lnTo>
                <a:lnTo>
                  <a:pt x="1436" y="2300"/>
                </a:lnTo>
                <a:lnTo>
                  <a:pt x="1433" y="2306"/>
                </a:lnTo>
                <a:lnTo>
                  <a:pt x="1429" y="2313"/>
                </a:lnTo>
                <a:lnTo>
                  <a:pt x="1421" y="2323"/>
                </a:lnTo>
                <a:lnTo>
                  <a:pt x="1408" y="2336"/>
                </a:lnTo>
                <a:lnTo>
                  <a:pt x="1379" y="2369"/>
                </a:lnTo>
                <a:lnTo>
                  <a:pt x="1349" y="2404"/>
                </a:lnTo>
                <a:lnTo>
                  <a:pt x="1336" y="2418"/>
                </a:lnTo>
                <a:lnTo>
                  <a:pt x="1327" y="2430"/>
                </a:lnTo>
                <a:lnTo>
                  <a:pt x="1325" y="2434"/>
                </a:lnTo>
                <a:lnTo>
                  <a:pt x="1323" y="2438"/>
                </a:lnTo>
                <a:lnTo>
                  <a:pt x="1322" y="2442"/>
                </a:lnTo>
                <a:lnTo>
                  <a:pt x="1322" y="2445"/>
                </a:lnTo>
                <a:lnTo>
                  <a:pt x="1322" y="2450"/>
                </a:lnTo>
                <a:lnTo>
                  <a:pt x="1323" y="2454"/>
                </a:lnTo>
                <a:lnTo>
                  <a:pt x="1326" y="2458"/>
                </a:lnTo>
                <a:lnTo>
                  <a:pt x="1329" y="2463"/>
                </a:lnTo>
                <a:lnTo>
                  <a:pt x="1336" y="2472"/>
                </a:lnTo>
                <a:lnTo>
                  <a:pt x="1346" y="2484"/>
                </a:lnTo>
                <a:lnTo>
                  <a:pt x="1375" y="2514"/>
                </a:lnTo>
                <a:lnTo>
                  <a:pt x="1407" y="2546"/>
                </a:lnTo>
                <a:lnTo>
                  <a:pt x="1439" y="2577"/>
                </a:lnTo>
                <a:lnTo>
                  <a:pt x="1440" y="2579"/>
                </a:lnTo>
                <a:lnTo>
                  <a:pt x="1442" y="2581"/>
                </a:lnTo>
                <a:lnTo>
                  <a:pt x="1443" y="2584"/>
                </a:lnTo>
                <a:lnTo>
                  <a:pt x="1443" y="2586"/>
                </a:lnTo>
                <a:lnTo>
                  <a:pt x="1442" y="2592"/>
                </a:lnTo>
                <a:lnTo>
                  <a:pt x="1441" y="2595"/>
                </a:lnTo>
                <a:lnTo>
                  <a:pt x="1440" y="2597"/>
                </a:lnTo>
                <a:lnTo>
                  <a:pt x="1436" y="2603"/>
                </a:lnTo>
                <a:lnTo>
                  <a:pt x="1434" y="2606"/>
                </a:lnTo>
                <a:lnTo>
                  <a:pt x="1432" y="2608"/>
                </a:lnTo>
                <a:lnTo>
                  <a:pt x="1426" y="2614"/>
                </a:lnTo>
                <a:lnTo>
                  <a:pt x="1423" y="2616"/>
                </a:lnTo>
                <a:lnTo>
                  <a:pt x="1420" y="2618"/>
                </a:lnTo>
                <a:lnTo>
                  <a:pt x="1414" y="2620"/>
                </a:lnTo>
                <a:lnTo>
                  <a:pt x="1411" y="2621"/>
                </a:lnTo>
                <a:lnTo>
                  <a:pt x="1408" y="2621"/>
                </a:lnTo>
                <a:close/>
                <a:moveTo>
                  <a:pt x="4851" y="639"/>
                </a:moveTo>
                <a:lnTo>
                  <a:pt x="4843" y="639"/>
                </a:lnTo>
                <a:lnTo>
                  <a:pt x="4835" y="639"/>
                </a:lnTo>
                <a:lnTo>
                  <a:pt x="4827" y="637"/>
                </a:lnTo>
                <a:lnTo>
                  <a:pt x="4820" y="636"/>
                </a:lnTo>
                <a:lnTo>
                  <a:pt x="4812" y="634"/>
                </a:lnTo>
                <a:lnTo>
                  <a:pt x="4805" y="632"/>
                </a:lnTo>
                <a:lnTo>
                  <a:pt x="4792" y="625"/>
                </a:lnTo>
                <a:lnTo>
                  <a:pt x="4778" y="618"/>
                </a:lnTo>
                <a:lnTo>
                  <a:pt x="4772" y="613"/>
                </a:lnTo>
                <a:lnTo>
                  <a:pt x="4765" y="609"/>
                </a:lnTo>
                <a:lnTo>
                  <a:pt x="4759" y="604"/>
                </a:lnTo>
                <a:lnTo>
                  <a:pt x="4754" y="599"/>
                </a:lnTo>
                <a:lnTo>
                  <a:pt x="4748" y="593"/>
                </a:lnTo>
                <a:lnTo>
                  <a:pt x="4743" y="588"/>
                </a:lnTo>
                <a:lnTo>
                  <a:pt x="4738" y="582"/>
                </a:lnTo>
                <a:lnTo>
                  <a:pt x="4733" y="575"/>
                </a:lnTo>
                <a:lnTo>
                  <a:pt x="4729" y="568"/>
                </a:lnTo>
                <a:lnTo>
                  <a:pt x="4725" y="561"/>
                </a:lnTo>
                <a:lnTo>
                  <a:pt x="4721" y="554"/>
                </a:lnTo>
                <a:lnTo>
                  <a:pt x="4717" y="546"/>
                </a:lnTo>
                <a:lnTo>
                  <a:pt x="4714" y="539"/>
                </a:lnTo>
                <a:lnTo>
                  <a:pt x="4711" y="531"/>
                </a:lnTo>
                <a:lnTo>
                  <a:pt x="4707" y="523"/>
                </a:lnTo>
                <a:lnTo>
                  <a:pt x="4705" y="515"/>
                </a:lnTo>
                <a:lnTo>
                  <a:pt x="4703" y="505"/>
                </a:lnTo>
                <a:lnTo>
                  <a:pt x="4701" y="497"/>
                </a:lnTo>
                <a:lnTo>
                  <a:pt x="4700" y="488"/>
                </a:lnTo>
                <a:lnTo>
                  <a:pt x="4699" y="479"/>
                </a:lnTo>
                <a:lnTo>
                  <a:pt x="4698" y="470"/>
                </a:lnTo>
                <a:lnTo>
                  <a:pt x="4698" y="461"/>
                </a:lnTo>
                <a:lnTo>
                  <a:pt x="4699" y="441"/>
                </a:lnTo>
                <a:lnTo>
                  <a:pt x="4700" y="432"/>
                </a:lnTo>
                <a:lnTo>
                  <a:pt x="4701" y="423"/>
                </a:lnTo>
                <a:lnTo>
                  <a:pt x="4703" y="414"/>
                </a:lnTo>
                <a:lnTo>
                  <a:pt x="4705" y="405"/>
                </a:lnTo>
                <a:lnTo>
                  <a:pt x="4708" y="396"/>
                </a:lnTo>
                <a:lnTo>
                  <a:pt x="4712" y="387"/>
                </a:lnTo>
                <a:lnTo>
                  <a:pt x="4715" y="378"/>
                </a:lnTo>
                <a:lnTo>
                  <a:pt x="4718" y="370"/>
                </a:lnTo>
                <a:lnTo>
                  <a:pt x="4722" y="362"/>
                </a:lnTo>
                <a:lnTo>
                  <a:pt x="4726" y="354"/>
                </a:lnTo>
                <a:lnTo>
                  <a:pt x="4730" y="347"/>
                </a:lnTo>
                <a:lnTo>
                  <a:pt x="4735" y="339"/>
                </a:lnTo>
                <a:lnTo>
                  <a:pt x="4745" y="325"/>
                </a:lnTo>
                <a:lnTo>
                  <a:pt x="4751" y="318"/>
                </a:lnTo>
                <a:lnTo>
                  <a:pt x="4757" y="312"/>
                </a:lnTo>
                <a:lnTo>
                  <a:pt x="4769" y="301"/>
                </a:lnTo>
                <a:lnTo>
                  <a:pt x="4776" y="295"/>
                </a:lnTo>
                <a:lnTo>
                  <a:pt x="4783" y="291"/>
                </a:lnTo>
                <a:lnTo>
                  <a:pt x="4790" y="286"/>
                </a:lnTo>
                <a:lnTo>
                  <a:pt x="4797" y="282"/>
                </a:lnTo>
                <a:lnTo>
                  <a:pt x="4804" y="278"/>
                </a:lnTo>
                <a:lnTo>
                  <a:pt x="4812" y="275"/>
                </a:lnTo>
                <a:lnTo>
                  <a:pt x="4819" y="273"/>
                </a:lnTo>
                <a:lnTo>
                  <a:pt x="4827" y="269"/>
                </a:lnTo>
                <a:lnTo>
                  <a:pt x="4836" y="268"/>
                </a:lnTo>
                <a:lnTo>
                  <a:pt x="4844" y="266"/>
                </a:lnTo>
                <a:lnTo>
                  <a:pt x="4852" y="265"/>
                </a:lnTo>
                <a:lnTo>
                  <a:pt x="4860" y="265"/>
                </a:lnTo>
                <a:lnTo>
                  <a:pt x="4870" y="266"/>
                </a:lnTo>
                <a:lnTo>
                  <a:pt x="4875" y="266"/>
                </a:lnTo>
                <a:lnTo>
                  <a:pt x="4880" y="267"/>
                </a:lnTo>
                <a:lnTo>
                  <a:pt x="4885" y="268"/>
                </a:lnTo>
                <a:lnTo>
                  <a:pt x="4889" y="269"/>
                </a:lnTo>
                <a:lnTo>
                  <a:pt x="4899" y="273"/>
                </a:lnTo>
                <a:lnTo>
                  <a:pt x="4906" y="277"/>
                </a:lnTo>
                <a:lnTo>
                  <a:pt x="4914" y="282"/>
                </a:lnTo>
                <a:lnTo>
                  <a:pt x="4920" y="287"/>
                </a:lnTo>
                <a:lnTo>
                  <a:pt x="4926" y="293"/>
                </a:lnTo>
                <a:lnTo>
                  <a:pt x="4929" y="297"/>
                </a:lnTo>
                <a:lnTo>
                  <a:pt x="4932" y="300"/>
                </a:lnTo>
                <a:lnTo>
                  <a:pt x="4937" y="307"/>
                </a:lnTo>
                <a:lnTo>
                  <a:pt x="4941" y="315"/>
                </a:lnTo>
                <a:lnTo>
                  <a:pt x="4944" y="323"/>
                </a:lnTo>
                <a:lnTo>
                  <a:pt x="4947" y="333"/>
                </a:lnTo>
                <a:lnTo>
                  <a:pt x="4949" y="342"/>
                </a:lnTo>
                <a:lnTo>
                  <a:pt x="4951" y="352"/>
                </a:lnTo>
                <a:lnTo>
                  <a:pt x="4951" y="362"/>
                </a:lnTo>
                <a:lnTo>
                  <a:pt x="4949" y="374"/>
                </a:lnTo>
                <a:lnTo>
                  <a:pt x="4948" y="380"/>
                </a:lnTo>
                <a:lnTo>
                  <a:pt x="4947" y="386"/>
                </a:lnTo>
                <a:lnTo>
                  <a:pt x="4943" y="399"/>
                </a:lnTo>
                <a:lnTo>
                  <a:pt x="4938" y="411"/>
                </a:lnTo>
                <a:lnTo>
                  <a:pt x="4932" y="422"/>
                </a:lnTo>
                <a:lnTo>
                  <a:pt x="4925" y="433"/>
                </a:lnTo>
                <a:lnTo>
                  <a:pt x="4921" y="438"/>
                </a:lnTo>
                <a:lnTo>
                  <a:pt x="4916" y="442"/>
                </a:lnTo>
                <a:lnTo>
                  <a:pt x="4907" y="453"/>
                </a:lnTo>
                <a:lnTo>
                  <a:pt x="4897" y="461"/>
                </a:lnTo>
                <a:lnTo>
                  <a:pt x="4892" y="465"/>
                </a:lnTo>
                <a:lnTo>
                  <a:pt x="4885" y="469"/>
                </a:lnTo>
                <a:lnTo>
                  <a:pt x="4874" y="475"/>
                </a:lnTo>
                <a:lnTo>
                  <a:pt x="4863" y="481"/>
                </a:lnTo>
                <a:lnTo>
                  <a:pt x="4850" y="486"/>
                </a:lnTo>
                <a:lnTo>
                  <a:pt x="4844" y="487"/>
                </a:lnTo>
                <a:lnTo>
                  <a:pt x="4838" y="489"/>
                </a:lnTo>
                <a:lnTo>
                  <a:pt x="4832" y="490"/>
                </a:lnTo>
                <a:lnTo>
                  <a:pt x="4825" y="491"/>
                </a:lnTo>
                <a:lnTo>
                  <a:pt x="4812" y="492"/>
                </a:lnTo>
                <a:lnTo>
                  <a:pt x="4807" y="491"/>
                </a:lnTo>
                <a:lnTo>
                  <a:pt x="4802" y="489"/>
                </a:lnTo>
                <a:lnTo>
                  <a:pt x="4797" y="486"/>
                </a:lnTo>
                <a:lnTo>
                  <a:pt x="4795" y="485"/>
                </a:lnTo>
                <a:lnTo>
                  <a:pt x="4793" y="483"/>
                </a:lnTo>
                <a:lnTo>
                  <a:pt x="4790" y="478"/>
                </a:lnTo>
                <a:lnTo>
                  <a:pt x="4788" y="473"/>
                </a:lnTo>
                <a:lnTo>
                  <a:pt x="4787" y="470"/>
                </a:lnTo>
                <a:lnTo>
                  <a:pt x="4786" y="467"/>
                </a:lnTo>
                <a:lnTo>
                  <a:pt x="4786" y="460"/>
                </a:lnTo>
                <a:lnTo>
                  <a:pt x="4786" y="458"/>
                </a:lnTo>
                <a:lnTo>
                  <a:pt x="4786" y="455"/>
                </a:lnTo>
                <a:lnTo>
                  <a:pt x="4787" y="449"/>
                </a:lnTo>
                <a:lnTo>
                  <a:pt x="4788" y="447"/>
                </a:lnTo>
                <a:lnTo>
                  <a:pt x="4790" y="445"/>
                </a:lnTo>
                <a:lnTo>
                  <a:pt x="4791" y="443"/>
                </a:lnTo>
                <a:lnTo>
                  <a:pt x="4793" y="442"/>
                </a:lnTo>
                <a:lnTo>
                  <a:pt x="4804" y="440"/>
                </a:lnTo>
                <a:lnTo>
                  <a:pt x="4814" y="438"/>
                </a:lnTo>
                <a:lnTo>
                  <a:pt x="4824" y="434"/>
                </a:lnTo>
                <a:lnTo>
                  <a:pt x="4835" y="430"/>
                </a:lnTo>
                <a:lnTo>
                  <a:pt x="4844" y="426"/>
                </a:lnTo>
                <a:lnTo>
                  <a:pt x="4852" y="421"/>
                </a:lnTo>
                <a:lnTo>
                  <a:pt x="4860" y="415"/>
                </a:lnTo>
                <a:lnTo>
                  <a:pt x="4864" y="412"/>
                </a:lnTo>
                <a:lnTo>
                  <a:pt x="4868" y="409"/>
                </a:lnTo>
                <a:lnTo>
                  <a:pt x="4874" y="403"/>
                </a:lnTo>
                <a:lnTo>
                  <a:pt x="4880" y="397"/>
                </a:lnTo>
                <a:lnTo>
                  <a:pt x="4885" y="389"/>
                </a:lnTo>
                <a:lnTo>
                  <a:pt x="4889" y="382"/>
                </a:lnTo>
                <a:lnTo>
                  <a:pt x="4893" y="375"/>
                </a:lnTo>
                <a:lnTo>
                  <a:pt x="4896" y="368"/>
                </a:lnTo>
                <a:lnTo>
                  <a:pt x="4897" y="361"/>
                </a:lnTo>
                <a:lnTo>
                  <a:pt x="4898" y="354"/>
                </a:lnTo>
                <a:lnTo>
                  <a:pt x="4897" y="346"/>
                </a:lnTo>
                <a:lnTo>
                  <a:pt x="4895" y="338"/>
                </a:lnTo>
                <a:lnTo>
                  <a:pt x="4893" y="335"/>
                </a:lnTo>
                <a:lnTo>
                  <a:pt x="4891" y="332"/>
                </a:lnTo>
                <a:lnTo>
                  <a:pt x="4888" y="328"/>
                </a:lnTo>
                <a:lnTo>
                  <a:pt x="4886" y="326"/>
                </a:lnTo>
                <a:lnTo>
                  <a:pt x="4880" y="322"/>
                </a:lnTo>
                <a:lnTo>
                  <a:pt x="4877" y="320"/>
                </a:lnTo>
                <a:lnTo>
                  <a:pt x="4873" y="318"/>
                </a:lnTo>
                <a:lnTo>
                  <a:pt x="4865" y="317"/>
                </a:lnTo>
                <a:lnTo>
                  <a:pt x="4861" y="316"/>
                </a:lnTo>
                <a:lnTo>
                  <a:pt x="4856" y="316"/>
                </a:lnTo>
                <a:lnTo>
                  <a:pt x="4848" y="317"/>
                </a:lnTo>
                <a:lnTo>
                  <a:pt x="4843" y="318"/>
                </a:lnTo>
                <a:lnTo>
                  <a:pt x="4839" y="319"/>
                </a:lnTo>
                <a:lnTo>
                  <a:pt x="4834" y="320"/>
                </a:lnTo>
                <a:lnTo>
                  <a:pt x="4829" y="322"/>
                </a:lnTo>
                <a:lnTo>
                  <a:pt x="4825" y="324"/>
                </a:lnTo>
                <a:lnTo>
                  <a:pt x="4820" y="327"/>
                </a:lnTo>
                <a:lnTo>
                  <a:pt x="4816" y="330"/>
                </a:lnTo>
                <a:lnTo>
                  <a:pt x="4812" y="334"/>
                </a:lnTo>
                <a:lnTo>
                  <a:pt x="4803" y="341"/>
                </a:lnTo>
                <a:lnTo>
                  <a:pt x="4796" y="349"/>
                </a:lnTo>
                <a:lnTo>
                  <a:pt x="4788" y="358"/>
                </a:lnTo>
                <a:lnTo>
                  <a:pt x="4785" y="363"/>
                </a:lnTo>
                <a:lnTo>
                  <a:pt x="4781" y="368"/>
                </a:lnTo>
                <a:lnTo>
                  <a:pt x="4775" y="379"/>
                </a:lnTo>
                <a:lnTo>
                  <a:pt x="4768" y="390"/>
                </a:lnTo>
                <a:lnTo>
                  <a:pt x="4764" y="403"/>
                </a:lnTo>
                <a:lnTo>
                  <a:pt x="4760" y="416"/>
                </a:lnTo>
                <a:lnTo>
                  <a:pt x="4757" y="430"/>
                </a:lnTo>
                <a:lnTo>
                  <a:pt x="4755" y="443"/>
                </a:lnTo>
                <a:lnTo>
                  <a:pt x="4755" y="450"/>
                </a:lnTo>
                <a:lnTo>
                  <a:pt x="4755" y="459"/>
                </a:lnTo>
                <a:lnTo>
                  <a:pt x="4755" y="471"/>
                </a:lnTo>
                <a:lnTo>
                  <a:pt x="4756" y="483"/>
                </a:lnTo>
                <a:lnTo>
                  <a:pt x="4759" y="495"/>
                </a:lnTo>
                <a:lnTo>
                  <a:pt x="4760" y="501"/>
                </a:lnTo>
                <a:lnTo>
                  <a:pt x="4762" y="506"/>
                </a:lnTo>
                <a:lnTo>
                  <a:pt x="4765" y="518"/>
                </a:lnTo>
                <a:lnTo>
                  <a:pt x="4767" y="523"/>
                </a:lnTo>
                <a:lnTo>
                  <a:pt x="4771" y="527"/>
                </a:lnTo>
                <a:lnTo>
                  <a:pt x="4773" y="532"/>
                </a:lnTo>
                <a:lnTo>
                  <a:pt x="4776" y="536"/>
                </a:lnTo>
                <a:lnTo>
                  <a:pt x="4779" y="541"/>
                </a:lnTo>
                <a:lnTo>
                  <a:pt x="4782" y="545"/>
                </a:lnTo>
                <a:lnTo>
                  <a:pt x="4785" y="548"/>
                </a:lnTo>
                <a:lnTo>
                  <a:pt x="4788" y="552"/>
                </a:lnTo>
                <a:lnTo>
                  <a:pt x="4796" y="559"/>
                </a:lnTo>
                <a:lnTo>
                  <a:pt x="4804" y="564"/>
                </a:lnTo>
                <a:lnTo>
                  <a:pt x="4812" y="569"/>
                </a:lnTo>
                <a:lnTo>
                  <a:pt x="4821" y="574"/>
                </a:lnTo>
                <a:lnTo>
                  <a:pt x="4832" y="577"/>
                </a:lnTo>
                <a:lnTo>
                  <a:pt x="4842" y="579"/>
                </a:lnTo>
                <a:lnTo>
                  <a:pt x="4847" y="579"/>
                </a:lnTo>
                <a:lnTo>
                  <a:pt x="4853" y="579"/>
                </a:lnTo>
                <a:lnTo>
                  <a:pt x="4863" y="579"/>
                </a:lnTo>
                <a:lnTo>
                  <a:pt x="4873" y="577"/>
                </a:lnTo>
                <a:lnTo>
                  <a:pt x="4883" y="575"/>
                </a:lnTo>
                <a:lnTo>
                  <a:pt x="4894" y="570"/>
                </a:lnTo>
                <a:lnTo>
                  <a:pt x="4903" y="566"/>
                </a:lnTo>
                <a:lnTo>
                  <a:pt x="4912" y="561"/>
                </a:lnTo>
                <a:lnTo>
                  <a:pt x="4921" y="555"/>
                </a:lnTo>
                <a:lnTo>
                  <a:pt x="4929" y="549"/>
                </a:lnTo>
                <a:lnTo>
                  <a:pt x="4937" y="541"/>
                </a:lnTo>
                <a:lnTo>
                  <a:pt x="4944" y="534"/>
                </a:lnTo>
                <a:lnTo>
                  <a:pt x="4953" y="525"/>
                </a:lnTo>
                <a:lnTo>
                  <a:pt x="4960" y="516"/>
                </a:lnTo>
                <a:lnTo>
                  <a:pt x="4973" y="496"/>
                </a:lnTo>
                <a:lnTo>
                  <a:pt x="4979" y="485"/>
                </a:lnTo>
                <a:lnTo>
                  <a:pt x="4984" y="475"/>
                </a:lnTo>
                <a:lnTo>
                  <a:pt x="4989" y="464"/>
                </a:lnTo>
                <a:lnTo>
                  <a:pt x="4994" y="452"/>
                </a:lnTo>
                <a:lnTo>
                  <a:pt x="4999" y="440"/>
                </a:lnTo>
                <a:lnTo>
                  <a:pt x="5003" y="428"/>
                </a:lnTo>
                <a:lnTo>
                  <a:pt x="5007" y="416"/>
                </a:lnTo>
                <a:lnTo>
                  <a:pt x="5011" y="404"/>
                </a:lnTo>
                <a:lnTo>
                  <a:pt x="5014" y="392"/>
                </a:lnTo>
                <a:lnTo>
                  <a:pt x="5017" y="379"/>
                </a:lnTo>
                <a:lnTo>
                  <a:pt x="5019" y="367"/>
                </a:lnTo>
                <a:lnTo>
                  <a:pt x="5021" y="355"/>
                </a:lnTo>
                <a:lnTo>
                  <a:pt x="5022" y="343"/>
                </a:lnTo>
                <a:lnTo>
                  <a:pt x="5023" y="332"/>
                </a:lnTo>
                <a:lnTo>
                  <a:pt x="5024" y="320"/>
                </a:lnTo>
                <a:lnTo>
                  <a:pt x="5024" y="308"/>
                </a:lnTo>
                <a:lnTo>
                  <a:pt x="5024" y="298"/>
                </a:lnTo>
                <a:lnTo>
                  <a:pt x="5024" y="287"/>
                </a:lnTo>
                <a:lnTo>
                  <a:pt x="5025" y="285"/>
                </a:lnTo>
                <a:lnTo>
                  <a:pt x="5026" y="283"/>
                </a:lnTo>
                <a:lnTo>
                  <a:pt x="5028" y="281"/>
                </a:lnTo>
                <a:lnTo>
                  <a:pt x="5031" y="279"/>
                </a:lnTo>
                <a:lnTo>
                  <a:pt x="5038" y="276"/>
                </a:lnTo>
                <a:lnTo>
                  <a:pt x="5042" y="275"/>
                </a:lnTo>
                <a:lnTo>
                  <a:pt x="5046" y="275"/>
                </a:lnTo>
                <a:lnTo>
                  <a:pt x="5053" y="276"/>
                </a:lnTo>
                <a:lnTo>
                  <a:pt x="5056" y="276"/>
                </a:lnTo>
                <a:lnTo>
                  <a:pt x="5060" y="277"/>
                </a:lnTo>
                <a:lnTo>
                  <a:pt x="5065" y="280"/>
                </a:lnTo>
                <a:lnTo>
                  <a:pt x="5068" y="282"/>
                </a:lnTo>
                <a:lnTo>
                  <a:pt x="5071" y="284"/>
                </a:lnTo>
                <a:lnTo>
                  <a:pt x="5075" y="290"/>
                </a:lnTo>
                <a:lnTo>
                  <a:pt x="5077" y="294"/>
                </a:lnTo>
                <a:lnTo>
                  <a:pt x="5078" y="297"/>
                </a:lnTo>
                <a:lnTo>
                  <a:pt x="5079" y="302"/>
                </a:lnTo>
                <a:lnTo>
                  <a:pt x="5080" y="307"/>
                </a:lnTo>
                <a:lnTo>
                  <a:pt x="5081" y="312"/>
                </a:lnTo>
                <a:lnTo>
                  <a:pt x="5081" y="318"/>
                </a:lnTo>
                <a:lnTo>
                  <a:pt x="5080" y="334"/>
                </a:lnTo>
                <a:lnTo>
                  <a:pt x="5079" y="350"/>
                </a:lnTo>
                <a:lnTo>
                  <a:pt x="5078" y="365"/>
                </a:lnTo>
                <a:lnTo>
                  <a:pt x="5076" y="380"/>
                </a:lnTo>
                <a:lnTo>
                  <a:pt x="5073" y="396"/>
                </a:lnTo>
                <a:lnTo>
                  <a:pt x="5069" y="411"/>
                </a:lnTo>
                <a:lnTo>
                  <a:pt x="5066" y="425"/>
                </a:lnTo>
                <a:lnTo>
                  <a:pt x="5062" y="439"/>
                </a:lnTo>
                <a:lnTo>
                  <a:pt x="5057" y="454"/>
                </a:lnTo>
                <a:lnTo>
                  <a:pt x="5053" y="468"/>
                </a:lnTo>
                <a:lnTo>
                  <a:pt x="5047" y="481"/>
                </a:lnTo>
                <a:lnTo>
                  <a:pt x="5042" y="494"/>
                </a:lnTo>
                <a:lnTo>
                  <a:pt x="5036" y="506"/>
                </a:lnTo>
                <a:lnTo>
                  <a:pt x="5029" y="519"/>
                </a:lnTo>
                <a:lnTo>
                  <a:pt x="5022" y="531"/>
                </a:lnTo>
                <a:lnTo>
                  <a:pt x="5015" y="542"/>
                </a:lnTo>
                <a:lnTo>
                  <a:pt x="5006" y="553"/>
                </a:lnTo>
                <a:lnTo>
                  <a:pt x="4998" y="563"/>
                </a:lnTo>
                <a:lnTo>
                  <a:pt x="4990" y="573"/>
                </a:lnTo>
                <a:lnTo>
                  <a:pt x="4981" y="582"/>
                </a:lnTo>
                <a:lnTo>
                  <a:pt x="4972" y="591"/>
                </a:lnTo>
                <a:lnTo>
                  <a:pt x="4963" y="599"/>
                </a:lnTo>
                <a:lnTo>
                  <a:pt x="4953" y="606"/>
                </a:lnTo>
                <a:lnTo>
                  <a:pt x="4942" y="612"/>
                </a:lnTo>
                <a:lnTo>
                  <a:pt x="4932" y="618"/>
                </a:lnTo>
                <a:lnTo>
                  <a:pt x="4921" y="624"/>
                </a:lnTo>
                <a:lnTo>
                  <a:pt x="4910" y="628"/>
                </a:lnTo>
                <a:lnTo>
                  <a:pt x="4899" y="633"/>
                </a:lnTo>
                <a:lnTo>
                  <a:pt x="4886" y="636"/>
                </a:lnTo>
                <a:lnTo>
                  <a:pt x="4875" y="638"/>
                </a:lnTo>
                <a:lnTo>
                  <a:pt x="4863" y="639"/>
                </a:lnTo>
                <a:lnTo>
                  <a:pt x="4851" y="639"/>
                </a:lnTo>
                <a:close/>
                <a:moveTo>
                  <a:pt x="5237" y="634"/>
                </a:moveTo>
                <a:lnTo>
                  <a:pt x="5236" y="633"/>
                </a:lnTo>
                <a:lnTo>
                  <a:pt x="5233" y="633"/>
                </a:lnTo>
                <a:lnTo>
                  <a:pt x="5228" y="629"/>
                </a:lnTo>
                <a:lnTo>
                  <a:pt x="5222" y="625"/>
                </a:lnTo>
                <a:lnTo>
                  <a:pt x="5214" y="619"/>
                </a:lnTo>
                <a:lnTo>
                  <a:pt x="5202" y="608"/>
                </a:lnTo>
                <a:lnTo>
                  <a:pt x="5186" y="595"/>
                </a:lnTo>
                <a:lnTo>
                  <a:pt x="5169" y="579"/>
                </a:lnTo>
                <a:lnTo>
                  <a:pt x="5153" y="561"/>
                </a:lnTo>
                <a:lnTo>
                  <a:pt x="5137" y="544"/>
                </a:lnTo>
                <a:lnTo>
                  <a:pt x="5122" y="527"/>
                </a:lnTo>
                <a:lnTo>
                  <a:pt x="5110" y="513"/>
                </a:lnTo>
                <a:lnTo>
                  <a:pt x="5106" y="506"/>
                </a:lnTo>
                <a:lnTo>
                  <a:pt x="5103" y="501"/>
                </a:lnTo>
                <a:lnTo>
                  <a:pt x="5097" y="490"/>
                </a:lnTo>
                <a:lnTo>
                  <a:pt x="5094" y="481"/>
                </a:lnTo>
                <a:lnTo>
                  <a:pt x="5091" y="471"/>
                </a:lnTo>
                <a:lnTo>
                  <a:pt x="5090" y="461"/>
                </a:lnTo>
                <a:lnTo>
                  <a:pt x="5091" y="456"/>
                </a:lnTo>
                <a:lnTo>
                  <a:pt x="5091" y="449"/>
                </a:lnTo>
                <a:lnTo>
                  <a:pt x="5093" y="443"/>
                </a:lnTo>
                <a:lnTo>
                  <a:pt x="5095" y="437"/>
                </a:lnTo>
                <a:lnTo>
                  <a:pt x="5097" y="431"/>
                </a:lnTo>
                <a:lnTo>
                  <a:pt x="5101" y="424"/>
                </a:lnTo>
                <a:lnTo>
                  <a:pt x="5104" y="418"/>
                </a:lnTo>
                <a:lnTo>
                  <a:pt x="5109" y="411"/>
                </a:lnTo>
                <a:lnTo>
                  <a:pt x="5117" y="400"/>
                </a:lnTo>
                <a:lnTo>
                  <a:pt x="5128" y="385"/>
                </a:lnTo>
                <a:lnTo>
                  <a:pt x="5159" y="352"/>
                </a:lnTo>
                <a:lnTo>
                  <a:pt x="5195" y="312"/>
                </a:lnTo>
                <a:lnTo>
                  <a:pt x="5230" y="270"/>
                </a:lnTo>
                <a:lnTo>
                  <a:pt x="5231" y="270"/>
                </a:lnTo>
                <a:lnTo>
                  <a:pt x="5234" y="270"/>
                </a:lnTo>
                <a:lnTo>
                  <a:pt x="5238" y="270"/>
                </a:lnTo>
                <a:lnTo>
                  <a:pt x="5242" y="272"/>
                </a:lnTo>
                <a:lnTo>
                  <a:pt x="5246" y="274"/>
                </a:lnTo>
                <a:lnTo>
                  <a:pt x="5252" y="276"/>
                </a:lnTo>
                <a:lnTo>
                  <a:pt x="5256" y="280"/>
                </a:lnTo>
                <a:lnTo>
                  <a:pt x="5260" y="283"/>
                </a:lnTo>
                <a:lnTo>
                  <a:pt x="5263" y="288"/>
                </a:lnTo>
                <a:lnTo>
                  <a:pt x="5266" y="292"/>
                </a:lnTo>
                <a:lnTo>
                  <a:pt x="5267" y="297"/>
                </a:lnTo>
                <a:lnTo>
                  <a:pt x="5268" y="302"/>
                </a:lnTo>
                <a:lnTo>
                  <a:pt x="5267" y="307"/>
                </a:lnTo>
                <a:lnTo>
                  <a:pt x="5265" y="313"/>
                </a:lnTo>
                <a:lnTo>
                  <a:pt x="5263" y="318"/>
                </a:lnTo>
                <a:lnTo>
                  <a:pt x="5259" y="324"/>
                </a:lnTo>
                <a:lnTo>
                  <a:pt x="5251" y="336"/>
                </a:lnTo>
                <a:lnTo>
                  <a:pt x="5238" y="349"/>
                </a:lnTo>
                <a:lnTo>
                  <a:pt x="5209" y="382"/>
                </a:lnTo>
                <a:lnTo>
                  <a:pt x="5179" y="416"/>
                </a:lnTo>
                <a:lnTo>
                  <a:pt x="5166" y="431"/>
                </a:lnTo>
                <a:lnTo>
                  <a:pt x="5157" y="442"/>
                </a:lnTo>
                <a:lnTo>
                  <a:pt x="5155" y="446"/>
                </a:lnTo>
                <a:lnTo>
                  <a:pt x="5153" y="450"/>
                </a:lnTo>
                <a:lnTo>
                  <a:pt x="5152" y="454"/>
                </a:lnTo>
                <a:lnTo>
                  <a:pt x="5151" y="458"/>
                </a:lnTo>
                <a:lnTo>
                  <a:pt x="5152" y="462"/>
                </a:lnTo>
                <a:lnTo>
                  <a:pt x="5153" y="467"/>
                </a:lnTo>
                <a:lnTo>
                  <a:pt x="5155" y="471"/>
                </a:lnTo>
                <a:lnTo>
                  <a:pt x="5158" y="476"/>
                </a:lnTo>
                <a:lnTo>
                  <a:pt x="5166" y="485"/>
                </a:lnTo>
                <a:lnTo>
                  <a:pt x="5176" y="497"/>
                </a:lnTo>
                <a:lnTo>
                  <a:pt x="5205" y="527"/>
                </a:lnTo>
                <a:lnTo>
                  <a:pt x="5236" y="559"/>
                </a:lnTo>
                <a:lnTo>
                  <a:pt x="5268" y="590"/>
                </a:lnTo>
                <a:lnTo>
                  <a:pt x="5270" y="592"/>
                </a:lnTo>
                <a:lnTo>
                  <a:pt x="5272" y="594"/>
                </a:lnTo>
                <a:lnTo>
                  <a:pt x="5273" y="596"/>
                </a:lnTo>
                <a:lnTo>
                  <a:pt x="5273" y="599"/>
                </a:lnTo>
                <a:lnTo>
                  <a:pt x="5272" y="604"/>
                </a:lnTo>
                <a:lnTo>
                  <a:pt x="5271" y="607"/>
                </a:lnTo>
                <a:lnTo>
                  <a:pt x="5270" y="610"/>
                </a:lnTo>
                <a:lnTo>
                  <a:pt x="5266" y="616"/>
                </a:lnTo>
                <a:lnTo>
                  <a:pt x="5264" y="618"/>
                </a:lnTo>
                <a:lnTo>
                  <a:pt x="5261" y="621"/>
                </a:lnTo>
                <a:lnTo>
                  <a:pt x="5256" y="626"/>
                </a:lnTo>
                <a:lnTo>
                  <a:pt x="5253" y="628"/>
                </a:lnTo>
                <a:lnTo>
                  <a:pt x="5249" y="629"/>
                </a:lnTo>
                <a:lnTo>
                  <a:pt x="5243" y="633"/>
                </a:lnTo>
                <a:lnTo>
                  <a:pt x="5240" y="633"/>
                </a:lnTo>
                <a:lnTo>
                  <a:pt x="5237" y="634"/>
                </a:lnTo>
                <a:close/>
                <a:moveTo>
                  <a:pt x="4851" y="1633"/>
                </a:moveTo>
                <a:lnTo>
                  <a:pt x="4843" y="1632"/>
                </a:lnTo>
                <a:lnTo>
                  <a:pt x="4835" y="1632"/>
                </a:lnTo>
                <a:lnTo>
                  <a:pt x="4827" y="1631"/>
                </a:lnTo>
                <a:lnTo>
                  <a:pt x="4820" y="1629"/>
                </a:lnTo>
                <a:lnTo>
                  <a:pt x="4812" y="1627"/>
                </a:lnTo>
                <a:lnTo>
                  <a:pt x="4805" y="1625"/>
                </a:lnTo>
                <a:lnTo>
                  <a:pt x="4792" y="1619"/>
                </a:lnTo>
                <a:lnTo>
                  <a:pt x="4778" y="1612"/>
                </a:lnTo>
                <a:lnTo>
                  <a:pt x="4772" y="1608"/>
                </a:lnTo>
                <a:lnTo>
                  <a:pt x="4765" y="1603"/>
                </a:lnTo>
                <a:lnTo>
                  <a:pt x="4759" y="1598"/>
                </a:lnTo>
                <a:lnTo>
                  <a:pt x="4754" y="1593"/>
                </a:lnTo>
                <a:lnTo>
                  <a:pt x="4748" y="1587"/>
                </a:lnTo>
                <a:lnTo>
                  <a:pt x="4743" y="1581"/>
                </a:lnTo>
                <a:lnTo>
                  <a:pt x="4738" y="1575"/>
                </a:lnTo>
                <a:lnTo>
                  <a:pt x="4733" y="1568"/>
                </a:lnTo>
                <a:lnTo>
                  <a:pt x="4729" y="1562"/>
                </a:lnTo>
                <a:lnTo>
                  <a:pt x="4725" y="1555"/>
                </a:lnTo>
                <a:lnTo>
                  <a:pt x="4721" y="1548"/>
                </a:lnTo>
                <a:lnTo>
                  <a:pt x="4717" y="1540"/>
                </a:lnTo>
                <a:lnTo>
                  <a:pt x="4714" y="1533"/>
                </a:lnTo>
                <a:lnTo>
                  <a:pt x="4711" y="1524"/>
                </a:lnTo>
                <a:lnTo>
                  <a:pt x="4707" y="1516"/>
                </a:lnTo>
                <a:lnTo>
                  <a:pt x="4705" y="1508"/>
                </a:lnTo>
                <a:lnTo>
                  <a:pt x="4703" y="1500"/>
                </a:lnTo>
                <a:lnTo>
                  <a:pt x="4701" y="1491"/>
                </a:lnTo>
                <a:lnTo>
                  <a:pt x="4700" y="1482"/>
                </a:lnTo>
                <a:lnTo>
                  <a:pt x="4699" y="1473"/>
                </a:lnTo>
                <a:lnTo>
                  <a:pt x="4698" y="1463"/>
                </a:lnTo>
                <a:lnTo>
                  <a:pt x="4698" y="1454"/>
                </a:lnTo>
                <a:lnTo>
                  <a:pt x="4699" y="1436"/>
                </a:lnTo>
                <a:lnTo>
                  <a:pt x="4700" y="1426"/>
                </a:lnTo>
                <a:lnTo>
                  <a:pt x="4701" y="1417"/>
                </a:lnTo>
                <a:lnTo>
                  <a:pt x="4703" y="1407"/>
                </a:lnTo>
                <a:lnTo>
                  <a:pt x="4705" y="1398"/>
                </a:lnTo>
                <a:lnTo>
                  <a:pt x="4708" y="1390"/>
                </a:lnTo>
                <a:lnTo>
                  <a:pt x="4712" y="1381"/>
                </a:lnTo>
                <a:lnTo>
                  <a:pt x="4715" y="1373"/>
                </a:lnTo>
                <a:lnTo>
                  <a:pt x="4718" y="1364"/>
                </a:lnTo>
                <a:lnTo>
                  <a:pt x="4722" y="1356"/>
                </a:lnTo>
                <a:lnTo>
                  <a:pt x="4726" y="1348"/>
                </a:lnTo>
                <a:lnTo>
                  <a:pt x="4730" y="1340"/>
                </a:lnTo>
                <a:lnTo>
                  <a:pt x="4735" y="1333"/>
                </a:lnTo>
                <a:lnTo>
                  <a:pt x="4745" y="1319"/>
                </a:lnTo>
                <a:lnTo>
                  <a:pt x="4751" y="1312"/>
                </a:lnTo>
                <a:lnTo>
                  <a:pt x="4757" y="1306"/>
                </a:lnTo>
                <a:lnTo>
                  <a:pt x="4769" y="1295"/>
                </a:lnTo>
                <a:lnTo>
                  <a:pt x="4776" y="1289"/>
                </a:lnTo>
                <a:lnTo>
                  <a:pt x="4783" y="1284"/>
                </a:lnTo>
                <a:lnTo>
                  <a:pt x="4790" y="1279"/>
                </a:lnTo>
                <a:lnTo>
                  <a:pt x="4797" y="1275"/>
                </a:lnTo>
                <a:lnTo>
                  <a:pt x="4804" y="1272"/>
                </a:lnTo>
                <a:lnTo>
                  <a:pt x="4812" y="1269"/>
                </a:lnTo>
                <a:lnTo>
                  <a:pt x="4819" y="1266"/>
                </a:lnTo>
                <a:lnTo>
                  <a:pt x="4827" y="1264"/>
                </a:lnTo>
                <a:lnTo>
                  <a:pt x="4836" y="1262"/>
                </a:lnTo>
                <a:lnTo>
                  <a:pt x="4844" y="1260"/>
                </a:lnTo>
                <a:lnTo>
                  <a:pt x="4852" y="1260"/>
                </a:lnTo>
                <a:lnTo>
                  <a:pt x="4860" y="1259"/>
                </a:lnTo>
                <a:lnTo>
                  <a:pt x="4870" y="1260"/>
                </a:lnTo>
                <a:lnTo>
                  <a:pt x="4875" y="1260"/>
                </a:lnTo>
                <a:lnTo>
                  <a:pt x="4880" y="1261"/>
                </a:lnTo>
                <a:lnTo>
                  <a:pt x="4885" y="1262"/>
                </a:lnTo>
                <a:lnTo>
                  <a:pt x="4889" y="1263"/>
                </a:lnTo>
                <a:lnTo>
                  <a:pt x="4899" y="1267"/>
                </a:lnTo>
                <a:lnTo>
                  <a:pt x="4906" y="1270"/>
                </a:lnTo>
                <a:lnTo>
                  <a:pt x="4914" y="1275"/>
                </a:lnTo>
                <a:lnTo>
                  <a:pt x="4920" y="1280"/>
                </a:lnTo>
                <a:lnTo>
                  <a:pt x="4926" y="1286"/>
                </a:lnTo>
                <a:lnTo>
                  <a:pt x="4929" y="1290"/>
                </a:lnTo>
                <a:lnTo>
                  <a:pt x="4932" y="1294"/>
                </a:lnTo>
                <a:lnTo>
                  <a:pt x="4937" y="1301"/>
                </a:lnTo>
                <a:lnTo>
                  <a:pt x="4941" y="1309"/>
                </a:lnTo>
                <a:lnTo>
                  <a:pt x="4944" y="1317"/>
                </a:lnTo>
                <a:lnTo>
                  <a:pt x="4947" y="1326"/>
                </a:lnTo>
                <a:lnTo>
                  <a:pt x="4949" y="1335"/>
                </a:lnTo>
                <a:lnTo>
                  <a:pt x="4951" y="1345"/>
                </a:lnTo>
                <a:lnTo>
                  <a:pt x="4951" y="1356"/>
                </a:lnTo>
                <a:lnTo>
                  <a:pt x="4949" y="1368"/>
                </a:lnTo>
                <a:lnTo>
                  <a:pt x="4948" y="1374"/>
                </a:lnTo>
                <a:lnTo>
                  <a:pt x="4947" y="1380"/>
                </a:lnTo>
                <a:lnTo>
                  <a:pt x="4943" y="1392"/>
                </a:lnTo>
                <a:lnTo>
                  <a:pt x="4938" y="1404"/>
                </a:lnTo>
                <a:lnTo>
                  <a:pt x="4932" y="1416"/>
                </a:lnTo>
                <a:lnTo>
                  <a:pt x="4925" y="1427"/>
                </a:lnTo>
                <a:lnTo>
                  <a:pt x="4921" y="1432"/>
                </a:lnTo>
                <a:lnTo>
                  <a:pt x="4916" y="1437"/>
                </a:lnTo>
                <a:lnTo>
                  <a:pt x="4907" y="1446"/>
                </a:lnTo>
                <a:lnTo>
                  <a:pt x="4897" y="1454"/>
                </a:lnTo>
                <a:lnTo>
                  <a:pt x="4892" y="1458"/>
                </a:lnTo>
                <a:lnTo>
                  <a:pt x="4885" y="1462"/>
                </a:lnTo>
                <a:lnTo>
                  <a:pt x="4874" y="1469"/>
                </a:lnTo>
                <a:lnTo>
                  <a:pt x="4863" y="1475"/>
                </a:lnTo>
                <a:lnTo>
                  <a:pt x="4850" y="1480"/>
                </a:lnTo>
                <a:lnTo>
                  <a:pt x="4844" y="1482"/>
                </a:lnTo>
                <a:lnTo>
                  <a:pt x="4838" y="1483"/>
                </a:lnTo>
                <a:lnTo>
                  <a:pt x="4832" y="1484"/>
                </a:lnTo>
                <a:lnTo>
                  <a:pt x="4825" y="1485"/>
                </a:lnTo>
                <a:lnTo>
                  <a:pt x="4812" y="1486"/>
                </a:lnTo>
                <a:lnTo>
                  <a:pt x="4807" y="1485"/>
                </a:lnTo>
                <a:lnTo>
                  <a:pt x="4802" y="1483"/>
                </a:lnTo>
                <a:lnTo>
                  <a:pt x="4797" y="1481"/>
                </a:lnTo>
                <a:lnTo>
                  <a:pt x="4795" y="1479"/>
                </a:lnTo>
                <a:lnTo>
                  <a:pt x="4793" y="1477"/>
                </a:lnTo>
                <a:lnTo>
                  <a:pt x="4790" y="1472"/>
                </a:lnTo>
                <a:lnTo>
                  <a:pt x="4788" y="1466"/>
                </a:lnTo>
                <a:lnTo>
                  <a:pt x="4787" y="1463"/>
                </a:lnTo>
                <a:lnTo>
                  <a:pt x="4786" y="1460"/>
                </a:lnTo>
                <a:lnTo>
                  <a:pt x="4786" y="1454"/>
                </a:lnTo>
                <a:lnTo>
                  <a:pt x="4786" y="1451"/>
                </a:lnTo>
                <a:lnTo>
                  <a:pt x="4786" y="1448"/>
                </a:lnTo>
                <a:lnTo>
                  <a:pt x="4787" y="1443"/>
                </a:lnTo>
                <a:lnTo>
                  <a:pt x="4788" y="1441"/>
                </a:lnTo>
                <a:lnTo>
                  <a:pt x="4790" y="1439"/>
                </a:lnTo>
                <a:lnTo>
                  <a:pt x="4791" y="1438"/>
                </a:lnTo>
                <a:lnTo>
                  <a:pt x="4793" y="1436"/>
                </a:lnTo>
                <a:lnTo>
                  <a:pt x="4804" y="1434"/>
                </a:lnTo>
                <a:lnTo>
                  <a:pt x="4814" y="1432"/>
                </a:lnTo>
                <a:lnTo>
                  <a:pt x="4824" y="1428"/>
                </a:lnTo>
                <a:lnTo>
                  <a:pt x="4835" y="1424"/>
                </a:lnTo>
                <a:lnTo>
                  <a:pt x="4844" y="1420"/>
                </a:lnTo>
                <a:lnTo>
                  <a:pt x="4852" y="1415"/>
                </a:lnTo>
                <a:lnTo>
                  <a:pt x="4860" y="1408"/>
                </a:lnTo>
                <a:lnTo>
                  <a:pt x="4864" y="1406"/>
                </a:lnTo>
                <a:lnTo>
                  <a:pt x="4868" y="1403"/>
                </a:lnTo>
                <a:lnTo>
                  <a:pt x="4874" y="1396"/>
                </a:lnTo>
                <a:lnTo>
                  <a:pt x="4880" y="1390"/>
                </a:lnTo>
                <a:lnTo>
                  <a:pt x="4885" y="1383"/>
                </a:lnTo>
                <a:lnTo>
                  <a:pt x="4889" y="1376"/>
                </a:lnTo>
                <a:lnTo>
                  <a:pt x="4893" y="1369"/>
                </a:lnTo>
                <a:lnTo>
                  <a:pt x="4896" y="1362"/>
                </a:lnTo>
                <a:lnTo>
                  <a:pt x="4897" y="1355"/>
                </a:lnTo>
                <a:lnTo>
                  <a:pt x="4898" y="1347"/>
                </a:lnTo>
                <a:lnTo>
                  <a:pt x="4897" y="1339"/>
                </a:lnTo>
                <a:lnTo>
                  <a:pt x="4895" y="1332"/>
                </a:lnTo>
                <a:lnTo>
                  <a:pt x="4893" y="1328"/>
                </a:lnTo>
                <a:lnTo>
                  <a:pt x="4891" y="1325"/>
                </a:lnTo>
                <a:lnTo>
                  <a:pt x="4888" y="1323"/>
                </a:lnTo>
                <a:lnTo>
                  <a:pt x="4886" y="1320"/>
                </a:lnTo>
                <a:lnTo>
                  <a:pt x="4880" y="1316"/>
                </a:lnTo>
                <a:lnTo>
                  <a:pt x="4877" y="1314"/>
                </a:lnTo>
                <a:lnTo>
                  <a:pt x="4873" y="1313"/>
                </a:lnTo>
                <a:lnTo>
                  <a:pt x="4865" y="1311"/>
                </a:lnTo>
                <a:lnTo>
                  <a:pt x="4861" y="1310"/>
                </a:lnTo>
                <a:lnTo>
                  <a:pt x="4856" y="1310"/>
                </a:lnTo>
                <a:lnTo>
                  <a:pt x="4848" y="1311"/>
                </a:lnTo>
                <a:lnTo>
                  <a:pt x="4843" y="1312"/>
                </a:lnTo>
                <a:lnTo>
                  <a:pt x="4839" y="1313"/>
                </a:lnTo>
                <a:lnTo>
                  <a:pt x="4834" y="1315"/>
                </a:lnTo>
                <a:lnTo>
                  <a:pt x="4829" y="1316"/>
                </a:lnTo>
                <a:lnTo>
                  <a:pt x="4825" y="1319"/>
                </a:lnTo>
                <a:lnTo>
                  <a:pt x="4820" y="1321"/>
                </a:lnTo>
                <a:lnTo>
                  <a:pt x="4816" y="1324"/>
                </a:lnTo>
                <a:lnTo>
                  <a:pt x="4812" y="1327"/>
                </a:lnTo>
                <a:lnTo>
                  <a:pt x="4803" y="1334"/>
                </a:lnTo>
                <a:lnTo>
                  <a:pt x="4796" y="1342"/>
                </a:lnTo>
                <a:lnTo>
                  <a:pt x="4788" y="1352"/>
                </a:lnTo>
                <a:lnTo>
                  <a:pt x="4785" y="1357"/>
                </a:lnTo>
                <a:lnTo>
                  <a:pt x="4781" y="1362"/>
                </a:lnTo>
                <a:lnTo>
                  <a:pt x="4775" y="1373"/>
                </a:lnTo>
                <a:lnTo>
                  <a:pt x="4768" y="1384"/>
                </a:lnTo>
                <a:lnTo>
                  <a:pt x="4764" y="1397"/>
                </a:lnTo>
                <a:lnTo>
                  <a:pt x="4760" y="1409"/>
                </a:lnTo>
                <a:lnTo>
                  <a:pt x="4757" y="1424"/>
                </a:lnTo>
                <a:lnTo>
                  <a:pt x="4755" y="1438"/>
                </a:lnTo>
                <a:lnTo>
                  <a:pt x="4755" y="1445"/>
                </a:lnTo>
                <a:lnTo>
                  <a:pt x="4755" y="1452"/>
                </a:lnTo>
                <a:lnTo>
                  <a:pt x="4755" y="1464"/>
                </a:lnTo>
                <a:lnTo>
                  <a:pt x="4756" y="1478"/>
                </a:lnTo>
                <a:lnTo>
                  <a:pt x="4759" y="1489"/>
                </a:lnTo>
                <a:lnTo>
                  <a:pt x="4760" y="1495"/>
                </a:lnTo>
                <a:lnTo>
                  <a:pt x="4762" y="1500"/>
                </a:lnTo>
                <a:lnTo>
                  <a:pt x="4765" y="1511"/>
                </a:lnTo>
                <a:lnTo>
                  <a:pt x="4767" y="1516"/>
                </a:lnTo>
                <a:lnTo>
                  <a:pt x="4771" y="1521"/>
                </a:lnTo>
                <a:lnTo>
                  <a:pt x="4773" y="1525"/>
                </a:lnTo>
                <a:lnTo>
                  <a:pt x="4776" y="1530"/>
                </a:lnTo>
                <a:lnTo>
                  <a:pt x="4779" y="1535"/>
                </a:lnTo>
                <a:lnTo>
                  <a:pt x="4782" y="1539"/>
                </a:lnTo>
                <a:lnTo>
                  <a:pt x="4785" y="1543"/>
                </a:lnTo>
                <a:lnTo>
                  <a:pt x="4788" y="1546"/>
                </a:lnTo>
                <a:lnTo>
                  <a:pt x="4796" y="1553"/>
                </a:lnTo>
                <a:lnTo>
                  <a:pt x="4804" y="1559"/>
                </a:lnTo>
                <a:lnTo>
                  <a:pt x="4812" y="1563"/>
                </a:lnTo>
                <a:lnTo>
                  <a:pt x="4821" y="1567"/>
                </a:lnTo>
                <a:lnTo>
                  <a:pt x="4832" y="1570"/>
                </a:lnTo>
                <a:lnTo>
                  <a:pt x="4842" y="1572"/>
                </a:lnTo>
                <a:lnTo>
                  <a:pt x="4847" y="1572"/>
                </a:lnTo>
                <a:lnTo>
                  <a:pt x="4853" y="1572"/>
                </a:lnTo>
                <a:lnTo>
                  <a:pt x="4863" y="1572"/>
                </a:lnTo>
                <a:lnTo>
                  <a:pt x="4873" y="1570"/>
                </a:lnTo>
                <a:lnTo>
                  <a:pt x="4883" y="1568"/>
                </a:lnTo>
                <a:lnTo>
                  <a:pt x="4894" y="1564"/>
                </a:lnTo>
                <a:lnTo>
                  <a:pt x="4903" y="1560"/>
                </a:lnTo>
                <a:lnTo>
                  <a:pt x="4912" y="1555"/>
                </a:lnTo>
                <a:lnTo>
                  <a:pt x="4921" y="1549"/>
                </a:lnTo>
                <a:lnTo>
                  <a:pt x="4929" y="1543"/>
                </a:lnTo>
                <a:lnTo>
                  <a:pt x="4937" y="1536"/>
                </a:lnTo>
                <a:lnTo>
                  <a:pt x="4944" y="1527"/>
                </a:lnTo>
                <a:lnTo>
                  <a:pt x="4953" y="1518"/>
                </a:lnTo>
                <a:lnTo>
                  <a:pt x="4960" y="1509"/>
                </a:lnTo>
                <a:lnTo>
                  <a:pt x="4973" y="1490"/>
                </a:lnTo>
                <a:lnTo>
                  <a:pt x="4979" y="1479"/>
                </a:lnTo>
                <a:lnTo>
                  <a:pt x="4984" y="1468"/>
                </a:lnTo>
                <a:lnTo>
                  <a:pt x="4989" y="1457"/>
                </a:lnTo>
                <a:lnTo>
                  <a:pt x="4994" y="1445"/>
                </a:lnTo>
                <a:lnTo>
                  <a:pt x="4999" y="1434"/>
                </a:lnTo>
                <a:lnTo>
                  <a:pt x="5003" y="1422"/>
                </a:lnTo>
                <a:lnTo>
                  <a:pt x="5007" y="1409"/>
                </a:lnTo>
                <a:lnTo>
                  <a:pt x="5011" y="1397"/>
                </a:lnTo>
                <a:lnTo>
                  <a:pt x="5014" y="1385"/>
                </a:lnTo>
                <a:lnTo>
                  <a:pt x="5017" y="1373"/>
                </a:lnTo>
                <a:lnTo>
                  <a:pt x="5019" y="1361"/>
                </a:lnTo>
                <a:lnTo>
                  <a:pt x="5021" y="1348"/>
                </a:lnTo>
                <a:lnTo>
                  <a:pt x="5022" y="1337"/>
                </a:lnTo>
                <a:lnTo>
                  <a:pt x="5023" y="1325"/>
                </a:lnTo>
                <a:lnTo>
                  <a:pt x="5024" y="1314"/>
                </a:lnTo>
                <a:lnTo>
                  <a:pt x="5024" y="1303"/>
                </a:lnTo>
                <a:lnTo>
                  <a:pt x="5024" y="1292"/>
                </a:lnTo>
                <a:lnTo>
                  <a:pt x="5024" y="1280"/>
                </a:lnTo>
                <a:lnTo>
                  <a:pt x="5025" y="1278"/>
                </a:lnTo>
                <a:lnTo>
                  <a:pt x="5026" y="1276"/>
                </a:lnTo>
                <a:lnTo>
                  <a:pt x="5028" y="1274"/>
                </a:lnTo>
                <a:lnTo>
                  <a:pt x="5031" y="1272"/>
                </a:lnTo>
                <a:lnTo>
                  <a:pt x="5038" y="1269"/>
                </a:lnTo>
                <a:lnTo>
                  <a:pt x="5042" y="1269"/>
                </a:lnTo>
                <a:lnTo>
                  <a:pt x="5046" y="1268"/>
                </a:lnTo>
                <a:lnTo>
                  <a:pt x="5053" y="1269"/>
                </a:lnTo>
                <a:lnTo>
                  <a:pt x="5056" y="1269"/>
                </a:lnTo>
                <a:lnTo>
                  <a:pt x="5060" y="1270"/>
                </a:lnTo>
                <a:lnTo>
                  <a:pt x="5065" y="1273"/>
                </a:lnTo>
                <a:lnTo>
                  <a:pt x="5068" y="1275"/>
                </a:lnTo>
                <a:lnTo>
                  <a:pt x="5071" y="1277"/>
                </a:lnTo>
                <a:lnTo>
                  <a:pt x="5075" y="1283"/>
                </a:lnTo>
                <a:lnTo>
                  <a:pt x="5077" y="1287"/>
                </a:lnTo>
                <a:lnTo>
                  <a:pt x="5078" y="1292"/>
                </a:lnTo>
                <a:lnTo>
                  <a:pt x="5079" y="1296"/>
                </a:lnTo>
                <a:lnTo>
                  <a:pt x="5080" y="1301"/>
                </a:lnTo>
                <a:lnTo>
                  <a:pt x="5081" y="1306"/>
                </a:lnTo>
                <a:lnTo>
                  <a:pt x="5081" y="1312"/>
                </a:lnTo>
                <a:lnTo>
                  <a:pt x="5080" y="1328"/>
                </a:lnTo>
                <a:lnTo>
                  <a:pt x="5079" y="1343"/>
                </a:lnTo>
                <a:lnTo>
                  <a:pt x="5078" y="1359"/>
                </a:lnTo>
                <a:lnTo>
                  <a:pt x="5076" y="1374"/>
                </a:lnTo>
                <a:lnTo>
                  <a:pt x="5073" y="1389"/>
                </a:lnTo>
                <a:lnTo>
                  <a:pt x="5069" y="1404"/>
                </a:lnTo>
                <a:lnTo>
                  <a:pt x="5066" y="1419"/>
                </a:lnTo>
                <a:lnTo>
                  <a:pt x="5062" y="1434"/>
                </a:lnTo>
                <a:lnTo>
                  <a:pt x="5057" y="1447"/>
                </a:lnTo>
                <a:lnTo>
                  <a:pt x="5053" y="1461"/>
                </a:lnTo>
                <a:lnTo>
                  <a:pt x="5047" y="1475"/>
                </a:lnTo>
                <a:lnTo>
                  <a:pt x="5042" y="1488"/>
                </a:lnTo>
                <a:lnTo>
                  <a:pt x="5036" y="1500"/>
                </a:lnTo>
                <a:lnTo>
                  <a:pt x="5029" y="1512"/>
                </a:lnTo>
                <a:lnTo>
                  <a:pt x="5022" y="1524"/>
                </a:lnTo>
                <a:lnTo>
                  <a:pt x="5015" y="1536"/>
                </a:lnTo>
                <a:lnTo>
                  <a:pt x="5006" y="1547"/>
                </a:lnTo>
                <a:lnTo>
                  <a:pt x="4998" y="1557"/>
                </a:lnTo>
                <a:lnTo>
                  <a:pt x="4990" y="1567"/>
                </a:lnTo>
                <a:lnTo>
                  <a:pt x="4981" y="1576"/>
                </a:lnTo>
                <a:lnTo>
                  <a:pt x="4972" y="1584"/>
                </a:lnTo>
                <a:lnTo>
                  <a:pt x="4963" y="1593"/>
                </a:lnTo>
                <a:lnTo>
                  <a:pt x="4953" y="1600"/>
                </a:lnTo>
                <a:lnTo>
                  <a:pt x="4942" y="1607"/>
                </a:lnTo>
                <a:lnTo>
                  <a:pt x="4932" y="1613"/>
                </a:lnTo>
                <a:lnTo>
                  <a:pt x="4921" y="1618"/>
                </a:lnTo>
                <a:lnTo>
                  <a:pt x="4910" y="1622"/>
                </a:lnTo>
                <a:lnTo>
                  <a:pt x="4899" y="1626"/>
                </a:lnTo>
                <a:lnTo>
                  <a:pt x="4886" y="1629"/>
                </a:lnTo>
                <a:lnTo>
                  <a:pt x="4875" y="1631"/>
                </a:lnTo>
                <a:lnTo>
                  <a:pt x="4863" y="1632"/>
                </a:lnTo>
                <a:lnTo>
                  <a:pt x="4851" y="1633"/>
                </a:lnTo>
                <a:close/>
                <a:moveTo>
                  <a:pt x="5237" y="1627"/>
                </a:moveTo>
                <a:lnTo>
                  <a:pt x="5236" y="1627"/>
                </a:lnTo>
                <a:lnTo>
                  <a:pt x="5233" y="1626"/>
                </a:lnTo>
                <a:lnTo>
                  <a:pt x="5228" y="1623"/>
                </a:lnTo>
                <a:lnTo>
                  <a:pt x="5222" y="1619"/>
                </a:lnTo>
                <a:lnTo>
                  <a:pt x="5214" y="1613"/>
                </a:lnTo>
                <a:lnTo>
                  <a:pt x="5202" y="1603"/>
                </a:lnTo>
                <a:lnTo>
                  <a:pt x="5186" y="1588"/>
                </a:lnTo>
                <a:lnTo>
                  <a:pt x="5169" y="1572"/>
                </a:lnTo>
                <a:lnTo>
                  <a:pt x="5153" y="1555"/>
                </a:lnTo>
                <a:lnTo>
                  <a:pt x="5137" y="1538"/>
                </a:lnTo>
                <a:lnTo>
                  <a:pt x="5122" y="1521"/>
                </a:lnTo>
                <a:lnTo>
                  <a:pt x="5110" y="1506"/>
                </a:lnTo>
                <a:lnTo>
                  <a:pt x="5106" y="1500"/>
                </a:lnTo>
                <a:lnTo>
                  <a:pt x="5103" y="1495"/>
                </a:lnTo>
                <a:lnTo>
                  <a:pt x="5097" y="1485"/>
                </a:lnTo>
                <a:lnTo>
                  <a:pt x="5094" y="1475"/>
                </a:lnTo>
                <a:lnTo>
                  <a:pt x="5091" y="1464"/>
                </a:lnTo>
                <a:lnTo>
                  <a:pt x="5090" y="1454"/>
                </a:lnTo>
                <a:lnTo>
                  <a:pt x="5091" y="1449"/>
                </a:lnTo>
                <a:lnTo>
                  <a:pt x="5091" y="1443"/>
                </a:lnTo>
                <a:lnTo>
                  <a:pt x="5093" y="1437"/>
                </a:lnTo>
                <a:lnTo>
                  <a:pt x="5095" y="1431"/>
                </a:lnTo>
                <a:lnTo>
                  <a:pt x="5097" y="1425"/>
                </a:lnTo>
                <a:lnTo>
                  <a:pt x="5101" y="1419"/>
                </a:lnTo>
                <a:lnTo>
                  <a:pt x="5104" y="1412"/>
                </a:lnTo>
                <a:lnTo>
                  <a:pt x="5109" y="1404"/>
                </a:lnTo>
                <a:lnTo>
                  <a:pt x="5117" y="1393"/>
                </a:lnTo>
                <a:lnTo>
                  <a:pt x="5128" y="1380"/>
                </a:lnTo>
                <a:lnTo>
                  <a:pt x="5159" y="1345"/>
                </a:lnTo>
                <a:lnTo>
                  <a:pt x="5195" y="1306"/>
                </a:lnTo>
                <a:lnTo>
                  <a:pt x="5230" y="1264"/>
                </a:lnTo>
                <a:lnTo>
                  <a:pt x="5231" y="1264"/>
                </a:lnTo>
                <a:lnTo>
                  <a:pt x="5234" y="1264"/>
                </a:lnTo>
                <a:lnTo>
                  <a:pt x="5238" y="1264"/>
                </a:lnTo>
                <a:lnTo>
                  <a:pt x="5242" y="1265"/>
                </a:lnTo>
                <a:lnTo>
                  <a:pt x="5246" y="1267"/>
                </a:lnTo>
                <a:lnTo>
                  <a:pt x="5252" y="1270"/>
                </a:lnTo>
                <a:lnTo>
                  <a:pt x="5256" y="1273"/>
                </a:lnTo>
                <a:lnTo>
                  <a:pt x="5260" y="1276"/>
                </a:lnTo>
                <a:lnTo>
                  <a:pt x="5263" y="1281"/>
                </a:lnTo>
                <a:lnTo>
                  <a:pt x="5266" y="1286"/>
                </a:lnTo>
                <a:lnTo>
                  <a:pt x="5267" y="1290"/>
                </a:lnTo>
                <a:lnTo>
                  <a:pt x="5268" y="1296"/>
                </a:lnTo>
                <a:lnTo>
                  <a:pt x="5267" y="1301"/>
                </a:lnTo>
                <a:lnTo>
                  <a:pt x="5265" y="1307"/>
                </a:lnTo>
                <a:lnTo>
                  <a:pt x="5263" y="1312"/>
                </a:lnTo>
                <a:lnTo>
                  <a:pt x="5259" y="1318"/>
                </a:lnTo>
                <a:lnTo>
                  <a:pt x="5251" y="1329"/>
                </a:lnTo>
                <a:lnTo>
                  <a:pt x="5238" y="1342"/>
                </a:lnTo>
                <a:lnTo>
                  <a:pt x="5209" y="1376"/>
                </a:lnTo>
                <a:lnTo>
                  <a:pt x="5179" y="1409"/>
                </a:lnTo>
                <a:lnTo>
                  <a:pt x="5166" y="1425"/>
                </a:lnTo>
                <a:lnTo>
                  <a:pt x="5157" y="1436"/>
                </a:lnTo>
                <a:lnTo>
                  <a:pt x="5155" y="1440"/>
                </a:lnTo>
                <a:lnTo>
                  <a:pt x="5153" y="1444"/>
                </a:lnTo>
                <a:lnTo>
                  <a:pt x="5152" y="1447"/>
                </a:lnTo>
                <a:lnTo>
                  <a:pt x="5151" y="1451"/>
                </a:lnTo>
                <a:lnTo>
                  <a:pt x="5152" y="1455"/>
                </a:lnTo>
                <a:lnTo>
                  <a:pt x="5153" y="1460"/>
                </a:lnTo>
                <a:lnTo>
                  <a:pt x="5155" y="1464"/>
                </a:lnTo>
                <a:lnTo>
                  <a:pt x="5158" y="1469"/>
                </a:lnTo>
                <a:lnTo>
                  <a:pt x="5166" y="1479"/>
                </a:lnTo>
                <a:lnTo>
                  <a:pt x="5176" y="1491"/>
                </a:lnTo>
                <a:lnTo>
                  <a:pt x="5205" y="1520"/>
                </a:lnTo>
                <a:lnTo>
                  <a:pt x="5236" y="1553"/>
                </a:lnTo>
                <a:lnTo>
                  <a:pt x="5268" y="1583"/>
                </a:lnTo>
                <a:lnTo>
                  <a:pt x="5270" y="1585"/>
                </a:lnTo>
                <a:lnTo>
                  <a:pt x="5272" y="1587"/>
                </a:lnTo>
                <a:lnTo>
                  <a:pt x="5273" y="1589"/>
                </a:lnTo>
                <a:lnTo>
                  <a:pt x="5273" y="1593"/>
                </a:lnTo>
                <a:lnTo>
                  <a:pt x="5272" y="1599"/>
                </a:lnTo>
                <a:lnTo>
                  <a:pt x="5271" y="1601"/>
                </a:lnTo>
                <a:lnTo>
                  <a:pt x="5270" y="1604"/>
                </a:lnTo>
                <a:lnTo>
                  <a:pt x="5266" y="1610"/>
                </a:lnTo>
                <a:lnTo>
                  <a:pt x="5264" y="1613"/>
                </a:lnTo>
                <a:lnTo>
                  <a:pt x="5261" y="1615"/>
                </a:lnTo>
                <a:lnTo>
                  <a:pt x="5256" y="1620"/>
                </a:lnTo>
                <a:lnTo>
                  <a:pt x="5253" y="1622"/>
                </a:lnTo>
                <a:lnTo>
                  <a:pt x="5249" y="1624"/>
                </a:lnTo>
                <a:lnTo>
                  <a:pt x="5243" y="1626"/>
                </a:lnTo>
                <a:lnTo>
                  <a:pt x="5240" y="1627"/>
                </a:lnTo>
                <a:lnTo>
                  <a:pt x="5237" y="1627"/>
                </a:lnTo>
                <a:close/>
                <a:moveTo>
                  <a:pt x="4851" y="2627"/>
                </a:moveTo>
                <a:lnTo>
                  <a:pt x="4843" y="2627"/>
                </a:lnTo>
                <a:lnTo>
                  <a:pt x="4835" y="2626"/>
                </a:lnTo>
                <a:lnTo>
                  <a:pt x="4827" y="2625"/>
                </a:lnTo>
                <a:lnTo>
                  <a:pt x="4820" y="2623"/>
                </a:lnTo>
                <a:lnTo>
                  <a:pt x="4812" y="2621"/>
                </a:lnTo>
                <a:lnTo>
                  <a:pt x="4805" y="2619"/>
                </a:lnTo>
                <a:lnTo>
                  <a:pt x="4792" y="2613"/>
                </a:lnTo>
                <a:lnTo>
                  <a:pt x="4778" y="2605"/>
                </a:lnTo>
                <a:lnTo>
                  <a:pt x="4772" y="2601"/>
                </a:lnTo>
                <a:lnTo>
                  <a:pt x="4765" y="2596"/>
                </a:lnTo>
                <a:lnTo>
                  <a:pt x="4759" y="2591"/>
                </a:lnTo>
                <a:lnTo>
                  <a:pt x="4754" y="2586"/>
                </a:lnTo>
                <a:lnTo>
                  <a:pt x="4748" y="2581"/>
                </a:lnTo>
                <a:lnTo>
                  <a:pt x="4743" y="2575"/>
                </a:lnTo>
                <a:lnTo>
                  <a:pt x="4738" y="2569"/>
                </a:lnTo>
                <a:lnTo>
                  <a:pt x="4733" y="2563"/>
                </a:lnTo>
                <a:lnTo>
                  <a:pt x="4729" y="2556"/>
                </a:lnTo>
                <a:lnTo>
                  <a:pt x="4725" y="2548"/>
                </a:lnTo>
                <a:lnTo>
                  <a:pt x="4721" y="2541"/>
                </a:lnTo>
                <a:lnTo>
                  <a:pt x="4717" y="2534"/>
                </a:lnTo>
                <a:lnTo>
                  <a:pt x="4714" y="2526"/>
                </a:lnTo>
                <a:lnTo>
                  <a:pt x="4711" y="2518"/>
                </a:lnTo>
                <a:lnTo>
                  <a:pt x="4707" y="2510"/>
                </a:lnTo>
                <a:lnTo>
                  <a:pt x="4705" y="2502"/>
                </a:lnTo>
                <a:lnTo>
                  <a:pt x="4703" y="2494"/>
                </a:lnTo>
                <a:lnTo>
                  <a:pt x="4701" y="2484"/>
                </a:lnTo>
                <a:lnTo>
                  <a:pt x="4700" y="2475"/>
                </a:lnTo>
                <a:lnTo>
                  <a:pt x="4699" y="2467"/>
                </a:lnTo>
                <a:lnTo>
                  <a:pt x="4698" y="2458"/>
                </a:lnTo>
                <a:lnTo>
                  <a:pt x="4698" y="2448"/>
                </a:lnTo>
                <a:lnTo>
                  <a:pt x="4699" y="2429"/>
                </a:lnTo>
                <a:lnTo>
                  <a:pt x="4700" y="2420"/>
                </a:lnTo>
                <a:lnTo>
                  <a:pt x="4701" y="2410"/>
                </a:lnTo>
                <a:lnTo>
                  <a:pt x="4703" y="2401"/>
                </a:lnTo>
                <a:lnTo>
                  <a:pt x="4705" y="2393"/>
                </a:lnTo>
                <a:lnTo>
                  <a:pt x="4708" y="2384"/>
                </a:lnTo>
                <a:lnTo>
                  <a:pt x="4712" y="2375"/>
                </a:lnTo>
                <a:lnTo>
                  <a:pt x="4715" y="2366"/>
                </a:lnTo>
                <a:lnTo>
                  <a:pt x="4718" y="2358"/>
                </a:lnTo>
                <a:lnTo>
                  <a:pt x="4722" y="2350"/>
                </a:lnTo>
                <a:lnTo>
                  <a:pt x="4726" y="2342"/>
                </a:lnTo>
                <a:lnTo>
                  <a:pt x="4730" y="2334"/>
                </a:lnTo>
                <a:lnTo>
                  <a:pt x="4735" y="2327"/>
                </a:lnTo>
                <a:lnTo>
                  <a:pt x="4745" y="2313"/>
                </a:lnTo>
                <a:lnTo>
                  <a:pt x="4751" y="2305"/>
                </a:lnTo>
                <a:lnTo>
                  <a:pt x="4757" y="2299"/>
                </a:lnTo>
                <a:lnTo>
                  <a:pt x="4769" y="2288"/>
                </a:lnTo>
                <a:lnTo>
                  <a:pt x="4776" y="2283"/>
                </a:lnTo>
                <a:lnTo>
                  <a:pt x="4783" y="2278"/>
                </a:lnTo>
                <a:lnTo>
                  <a:pt x="4790" y="2274"/>
                </a:lnTo>
                <a:lnTo>
                  <a:pt x="4797" y="2269"/>
                </a:lnTo>
                <a:lnTo>
                  <a:pt x="4804" y="2266"/>
                </a:lnTo>
                <a:lnTo>
                  <a:pt x="4812" y="2263"/>
                </a:lnTo>
                <a:lnTo>
                  <a:pt x="4819" y="2260"/>
                </a:lnTo>
                <a:lnTo>
                  <a:pt x="4827" y="2258"/>
                </a:lnTo>
                <a:lnTo>
                  <a:pt x="4836" y="2256"/>
                </a:lnTo>
                <a:lnTo>
                  <a:pt x="4844" y="2255"/>
                </a:lnTo>
                <a:lnTo>
                  <a:pt x="4852" y="2254"/>
                </a:lnTo>
                <a:lnTo>
                  <a:pt x="4860" y="2254"/>
                </a:lnTo>
                <a:lnTo>
                  <a:pt x="4870" y="2254"/>
                </a:lnTo>
                <a:lnTo>
                  <a:pt x="4875" y="2255"/>
                </a:lnTo>
                <a:lnTo>
                  <a:pt x="4880" y="2255"/>
                </a:lnTo>
                <a:lnTo>
                  <a:pt x="4885" y="2256"/>
                </a:lnTo>
                <a:lnTo>
                  <a:pt x="4889" y="2258"/>
                </a:lnTo>
                <a:lnTo>
                  <a:pt x="4899" y="2261"/>
                </a:lnTo>
                <a:lnTo>
                  <a:pt x="4906" y="2265"/>
                </a:lnTo>
                <a:lnTo>
                  <a:pt x="4914" y="2269"/>
                </a:lnTo>
                <a:lnTo>
                  <a:pt x="4920" y="2275"/>
                </a:lnTo>
                <a:lnTo>
                  <a:pt x="4926" y="2281"/>
                </a:lnTo>
                <a:lnTo>
                  <a:pt x="4929" y="2284"/>
                </a:lnTo>
                <a:lnTo>
                  <a:pt x="4932" y="2287"/>
                </a:lnTo>
                <a:lnTo>
                  <a:pt x="4937" y="2295"/>
                </a:lnTo>
                <a:lnTo>
                  <a:pt x="4941" y="2302"/>
                </a:lnTo>
                <a:lnTo>
                  <a:pt x="4944" y="2312"/>
                </a:lnTo>
                <a:lnTo>
                  <a:pt x="4947" y="2320"/>
                </a:lnTo>
                <a:lnTo>
                  <a:pt x="4949" y="2329"/>
                </a:lnTo>
                <a:lnTo>
                  <a:pt x="4951" y="2339"/>
                </a:lnTo>
                <a:lnTo>
                  <a:pt x="4951" y="2349"/>
                </a:lnTo>
                <a:lnTo>
                  <a:pt x="4949" y="2361"/>
                </a:lnTo>
                <a:lnTo>
                  <a:pt x="4948" y="2368"/>
                </a:lnTo>
                <a:lnTo>
                  <a:pt x="4947" y="2375"/>
                </a:lnTo>
                <a:lnTo>
                  <a:pt x="4943" y="2387"/>
                </a:lnTo>
                <a:lnTo>
                  <a:pt x="4938" y="2398"/>
                </a:lnTo>
                <a:lnTo>
                  <a:pt x="4932" y="2409"/>
                </a:lnTo>
                <a:lnTo>
                  <a:pt x="4925" y="2420"/>
                </a:lnTo>
                <a:lnTo>
                  <a:pt x="4921" y="2425"/>
                </a:lnTo>
                <a:lnTo>
                  <a:pt x="4916" y="2430"/>
                </a:lnTo>
                <a:lnTo>
                  <a:pt x="4907" y="2440"/>
                </a:lnTo>
                <a:lnTo>
                  <a:pt x="4897" y="2449"/>
                </a:lnTo>
                <a:lnTo>
                  <a:pt x="4892" y="2452"/>
                </a:lnTo>
                <a:lnTo>
                  <a:pt x="4885" y="2456"/>
                </a:lnTo>
                <a:lnTo>
                  <a:pt x="4874" y="2463"/>
                </a:lnTo>
                <a:lnTo>
                  <a:pt x="4863" y="2468"/>
                </a:lnTo>
                <a:lnTo>
                  <a:pt x="4850" y="2473"/>
                </a:lnTo>
                <a:lnTo>
                  <a:pt x="4844" y="2475"/>
                </a:lnTo>
                <a:lnTo>
                  <a:pt x="4838" y="2476"/>
                </a:lnTo>
                <a:lnTo>
                  <a:pt x="4832" y="2478"/>
                </a:lnTo>
                <a:lnTo>
                  <a:pt x="4825" y="2478"/>
                </a:lnTo>
                <a:lnTo>
                  <a:pt x="4812" y="2479"/>
                </a:lnTo>
                <a:lnTo>
                  <a:pt x="4807" y="2478"/>
                </a:lnTo>
                <a:lnTo>
                  <a:pt x="4802" y="2477"/>
                </a:lnTo>
                <a:lnTo>
                  <a:pt x="4797" y="2474"/>
                </a:lnTo>
                <a:lnTo>
                  <a:pt x="4795" y="2472"/>
                </a:lnTo>
                <a:lnTo>
                  <a:pt x="4793" y="2470"/>
                </a:lnTo>
                <a:lnTo>
                  <a:pt x="4790" y="2465"/>
                </a:lnTo>
                <a:lnTo>
                  <a:pt x="4788" y="2460"/>
                </a:lnTo>
                <a:lnTo>
                  <a:pt x="4787" y="2457"/>
                </a:lnTo>
                <a:lnTo>
                  <a:pt x="4786" y="2454"/>
                </a:lnTo>
                <a:lnTo>
                  <a:pt x="4786" y="2448"/>
                </a:lnTo>
                <a:lnTo>
                  <a:pt x="4786" y="2445"/>
                </a:lnTo>
                <a:lnTo>
                  <a:pt x="4786" y="2442"/>
                </a:lnTo>
                <a:lnTo>
                  <a:pt x="4787" y="2437"/>
                </a:lnTo>
                <a:lnTo>
                  <a:pt x="4788" y="2435"/>
                </a:lnTo>
                <a:lnTo>
                  <a:pt x="4790" y="2433"/>
                </a:lnTo>
                <a:lnTo>
                  <a:pt x="4791" y="2432"/>
                </a:lnTo>
                <a:lnTo>
                  <a:pt x="4793" y="2430"/>
                </a:lnTo>
                <a:lnTo>
                  <a:pt x="4804" y="2428"/>
                </a:lnTo>
                <a:lnTo>
                  <a:pt x="4814" y="2425"/>
                </a:lnTo>
                <a:lnTo>
                  <a:pt x="4824" y="2422"/>
                </a:lnTo>
                <a:lnTo>
                  <a:pt x="4835" y="2418"/>
                </a:lnTo>
                <a:lnTo>
                  <a:pt x="4844" y="2413"/>
                </a:lnTo>
                <a:lnTo>
                  <a:pt x="4852" y="2408"/>
                </a:lnTo>
                <a:lnTo>
                  <a:pt x="4860" y="2403"/>
                </a:lnTo>
                <a:lnTo>
                  <a:pt x="4864" y="2400"/>
                </a:lnTo>
                <a:lnTo>
                  <a:pt x="4868" y="2397"/>
                </a:lnTo>
                <a:lnTo>
                  <a:pt x="4874" y="2390"/>
                </a:lnTo>
                <a:lnTo>
                  <a:pt x="4880" y="2384"/>
                </a:lnTo>
                <a:lnTo>
                  <a:pt x="4885" y="2377"/>
                </a:lnTo>
                <a:lnTo>
                  <a:pt x="4889" y="2369"/>
                </a:lnTo>
                <a:lnTo>
                  <a:pt x="4893" y="2362"/>
                </a:lnTo>
                <a:lnTo>
                  <a:pt x="4896" y="2355"/>
                </a:lnTo>
                <a:lnTo>
                  <a:pt x="4897" y="2348"/>
                </a:lnTo>
                <a:lnTo>
                  <a:pt x="4898" y="2341"/>
                </a:lnTo>
                <a:lnTo>
                  <a:pt x="4897" y="2333"/>
                </a:lnTo>
                <a:lnTo>
                  <a:pt x="4895" y="2326"/>
                </a:lnTo>
                <a:lnTo>
                  <a:pt x="4893" y="2323"/>
                </a:lnTo>
                <a:lnTo>
                  <a:pt x="4891" y="2319"/>
                </a:lnTo>
                <a:lnTo>
                  <a:pt x="4888" y="2317"/>
                </a:lnTo>
                <a:lnTo>
                  <a:pt x="4886" y="2314"/>
                </a:lnTo>
                <a:lnTo>
                  <a:pt x="4880" y="2309"/>
                </a:lnTo>
                <a:lnTo>
                  <a:pt x="4877" y="2307"/>
                </a:lnTo>
                <a:lnTo>
                  <a:pt x="4873" y="2306"/>
                </a:lnTo>
                <a:lnTo>
                  <a:pt x="4865" y="2304"/>
                </a:lnTo>
                <a:lnTo>
                  <a:pt x="4861" y="2303"/>
                </a:lnTo>
                <a:lnTo>
                  <a:pt x="4856" y="2303"/>
                </a:lnTo>
                <a:lnTo>
                  <a:pt x="4848" y="2304"/>
                </a:lnTo>
                <a:lnTo>
                  <a:pt x="4843" y="2305"/>
                </a:lnTo>
                <a:lnTo>
                  <a:pt x="4839" y="2306"/>
                </a:lnTo>
                <a:lnTo>
                  <a:pt x="4834" y="2308"/>
                </a:lnTo>
                <a:lnTo>
                  <a:pt x="4829" y="2310"/>
                </a:lnTo>
                <a:lnTo>
                  <a:pt x="4825" y="2313"/>
                </a:lnTo>
                <a:lnTo>
                  <a:pt x="4820" y="2315"/>
                </a:lnTo>
                <a:lnTo>
                  <a:pt x="4816" y="2318"/>
                </a:lnTo>
                <a:lnTo>
                  <a:pt x="4812" y="2321"/>
                </a:lnTo>
                <a:lnTo>
                  <a:pt x="4803" y="2328"/>
                </a:lnTo>
                <a:lnTo>
                  <a:pt x="4796" y="2336"/>
                </a:lnTo>
                <a:lnTo>
                  <a:pt x="4788" y="2345"/>
                </a:lnTo>
                <a:lnTo>
                  <a:pt x="4785" y="2350"/>
                </a:lnTo>
                <a:lnTo>
                  <a:pt x="4781" y="2355"/>
                </a:lnTo>
                <a:lnTo>
                  <a:pt x="4775" y="2366"/>
                </a:lnTo>
                <a:lnTo>
                  <a:pt x="4768" y="2379"/>
                </a:lnTo>
                <a:lnTo>
                  <a:pt x="4764" y="2391"/>
                </a:lnTo>
                <a:lnTo>
                  <a:pt x="4760" y="2404"/>
                </a:lnTo>
                <a:lnTo>
                  <a:pt x="4757" y="2417"/>
                </a:lnTo>
                <a:lnTo>
                  <a:pt x="4755" y="2432"/>
                </a:lnTo>
                <a:lnTo>
                  <a:pt x="4755" y="2439"/>
                </a:lnTo>
                <a:lnTo>
                  <a:pt x="4755" y="2446"/>
                </a:lnTo>
                <a:lnTo>
                  <a:pt x="4755" y="2459"/>
                </a:lnTo>
                <a:lnTo>
                  <a:pt x="4756" y="2471"/>
                </a:lnTo>
                <a:lnTo>
                  <a:pt x="4759" y="2482"/>
                </a:lnTo>
                <a:lnTo>
                  <a:pt x="4760" y="2488"/>
                </a:lnTo>
                <a:lnTo>
                  <a:pt x="4762" y="2494"/>
                </a:lnTo>
                <a:lnTo>
                  <a:pt x="4765" y="2505"/>
                </a:lnTo>
                <a:lnTo>
                  <a:pt x="4767" y="2510"/>
                </a:lnTo>
                <a:lnTo>
                  <a:pt x="4771" y="2515"/>
                </a:lnTo>
                <a:lnTo>
                  <a:pt x="4773" y="2519"/>
                </a:lnTo>
                <a:lnTo>
                  <a:pt x="4776" y="2524"/>
                </a:lnTo>
                <a:lnTo>
                  <a:pt x="4779" y="2528"/>
                </a:lnTo>
                <a:lnTo>
                  <a:pt x="4782" y="2532"/>
                </a:lnTo>
                <a:lnTo>
                  <a:pt x="4785" y="2536"/>
                </a:lnTo>
                <a:lnTo>
                  <a:pt x="4788" y="2540"/>
                </a:lnTo>
                <a:lnTo>
                  <a:pt x="4796" y="2546"/>
                </a:lnTo>
                <a:lnTo>
                  <a:pt x="4804" y="2553"/>
                </a:lnTo>
                <a:lnTo>
                  <a:pt x="4812" y="2558"/>
                </a:lnTo>
                <a:lnTo>
                  <a:pt x="4821" y="2561"/>
                </a:lnTo>
                <a:lnTo>
                  <a:pt x="4832" y="2564"/>
                </a:lnTo>
                <a:lnTo>
                  <a:pt x="4842" y="2566"/>
                </a:lnTo>
                <a:lnTo>
                  <a:pt x="4847" y="2566"/>
                </a:lnTo>
                <a:lnTo>
                  <a:pt x="4853" y="2567"/>
                </a:lnTo>
                <a:lnTo>
                  <a:pt x="4863" y="2566"/>
                </a:lnTo>
                <a:lnTo>
                  <a:pt x="4873" y="2564"/>
                </a:lnTo>
                <a:lnTo>
                  <a:pt x="4883" y="2562"/>
                </a:lnTo>
                <a:lnTo>
                  <a:pt x="4894" y="2559"/>
                </a:lnTo>
                <a:lnTo>
                  <a:pt x="4903" y="2554"/>
                </a:lnTo>
                <a:lnTo>
                  <a:pt x="4912" y="2548"/>
                </a:lnTo>
                <a:lnTo>
                  <a:pt x="4921" y="2543"/>
                </a:lnTo>
                <a:lnTo>
                  <a:pt x="4929" y="2536"/>
                </a:lnTo>
                <a:lnTo>
                  <a:pt x="4937" y="2529"/>
                </a:lnTo>
                <a:lnTo>
                  <a:pt x="4944" y="2521"/>
                </a:lnTo>
                <a:lnTo>
                  <a:pt x="4953" y="2512"/>
                </a:lnTo>
                <a:lnTo>
                  <a:pt x="4960" y="2503"/>
                </a:lnTo>
                <a:lnTo>
                  <a:pt x="4973" y="2483"/>
                </a:lnTo>
                <a:lnTo>
                  <a:pt x="4979" y="2473"/>
                </a:lnTo>
                <a:lnTo>
                  <a:pt x="4984" y="2462"/>
                </a:lnTo>
                <a:lnTo>
                  <a:pt x="4989" y="2451"/>
                </a:lnTo>
                <a:lnTo>
                  <a:pt x="4994" y="2440"/>
                </a:lnTo>
                <a:lnTo>
                  <a:pt x="4999" y="2427"/>
                </a:lnTo>
                <a:lnTo>
                  <a:pt x="5003" y="2415"/>
                </a:lnTo>
                <a:lnTo>
                  <a:pt x="5007" y="2403"/>
                </a:lnTo>
                <a:lnTo>
                  <a:pt x="5011" y="2391"/>
                </a:lnTo>
                <a:lnTo>
                  <a:pt x="5014" y="2379"/>
                </a:lnTo>
                <a:lnTo>
                  <a:pt x="5017" y="2366"/>
                </a:lnTo>
                <a:lnTo>
                  <a:pt x="5019" y="2354"/>
                </a:lnTo>
                <a:lnTo>
                  <a:pt x="5021" y="2343"/>
                </a:lnTo>
                <a:lnTo>
                  <a:pt x="5022" y="2331"/>
                </a:lnTo>
                <a:lnTo>
                  <a:pt x="5023" y="2319"/>
                </a:lnTo>
                <a:lnTo>
                  <a:pt x="5024" y="2307"/>
                </a:lnTo>
                <a:lnTo>
                  <a:pt x="5024" y="2296"/>
                </a:lnTo>
                <a:lnTo>
                  <a:pt x="5024" y="2285"/>
                </a:lnTo>
                <a:lnTo>
                  <a:pt x="5024" y="2275"/>
                </a:lnTo>
                <a:lnTo>
                  <a:pt x="5025" y="2272"/>
                </a:lnTo>
                <a:lnTo>
                  <a:pt x="5026" y="2270"/>
                </a:lnTo>
                <a:lnTo>
                  <a:pt x="5028" y="2268"/>
                </a:lnTo>
                <a:lnTo>
                  <a:pt x="5031" y="2266"/>
                </a:lnTo>
                <a:lnTo>
                  <a:pt x="5038" y="2263"/>
                </a:lnTo>
                <a:lnTo>
                  <a:pt x="5042" y="2263"/>
                </a:lnTo>
                <a:lnTo>
                  <a:pt x="5046" y="2262"/>
                </a:lnTo>
                <a:lnTo>
                  <a:pt x="5053" y="2263"/>
                </a:lnTo>
                <a:lnTo>
                  <a:pt x="5056" y="2264"/>
                </a:lnTo>
                <a:lnTo>
                  <a:pt x="5060" y="2265"/>
                </a:lnTo>
                <a:lnTo>
                  <a:pt x="5065" y="2267"/>
                </a:lnTo>
                <a:lnTo>
                  <a:pt x="5068" y="2269"/>
                </a:lnTo>
                <a:lnTo>
                  <a:pt x="5071" y="2272"/>
                </a:lnTo>
                <a:lnTo>
                  <a:pt x="5075" y="2277"/>
                </a:lnTo>
                <a:lnTo>
                  <a:pt x="5077" y="2281"/>
                </a:lnTo>
                <a:lnTo>
                  <a:pt x="5078" y="2285"/>
                </a:lnTo>
                <a:lnTo>
                  <a:pt x="5079" y="2289"/>
                </a:lnTo>
                <a:lnTo>
                  <a:pt x="5080" y="2294"/>
                </a:lnTo>
                <a:lnTo>
                  <a:pt x="5081" y="2299"/>
                </a:lnTo>
                <a:lnTo>
                  <a:pt x="5081" y="2305"/>
                </a:lnTo>
                <a:lnTo>
                  <a:pt x="5080" y="2322"/>
                </a:lnTo>
                <a:lnTo>
                  <a:pt x="5079" y="2337"/>
                </a:lnTo>
                <a:lnTo>
                  <a:pt x="5078" y="2352"/>
                </a:lnTo>
                <a:lnTo>
                  <a:pt x="5076" y="2368"/>
                </a:lnTo>
                <a:lnTo>
                  <a:pt x="5073" y="2383"/>
                </a:lnTo>
                <a:lnTo>
                  <a:pt x="5069" y="2398"/>
                </a:lnTo>
                <a:lnTo>
                  <a:pt x="5066" y="2413"/>
                </a:lnTo>
                <a:lnTo>
                  <a:pt x="5062" y="2427"/>
                </a:lnTo>
                <a:lnTo>
                  <a:pt x="5057" y="2442"/>
                </a:lnTo>
                <a:lnTo>
                  <a:pt x="5053" y="2455"/>
                </a:lnTo>
                <a:lnTo>
                  <a:pt x="5047" y="2468"/>
                </a:lnTo>
                <a:lnTo>
                  <a:pt x="5042" y="2481"/>
                </a:lnTo>
                <a:lnTo>
                  <a:pt x="5036" y="2495"/>
                </a:lnTo>
                <a:lnTo>
                  <a:pt x="5029" y="2507"/>
                </a:lnTo>
                <a:lnTo>
                  <a:pt x="5022" y="2518"/>
                </a:lnTo>
                <a:lnTo>
                  <a:pt x="5015" y="2529"/>
                </a:lnTo>
                <a:lnTo>
                  <a:pt x="5006" y="2540"/>
                </a:lnTo>
                <a:lnTo>
                  <a:pt x="4998" y="2550"/>
                </a:lnTo>
                <a:lnTo>
                  <a:pt x="4990" y="2561"/>
                </a:lnTo>
                <a:lnTo>
                  <a:pt x="4981" y="2570"/>
                </a:lnTo>
                <a:lnTo>
                  <a:pt x="4972" y="2578"/>
                </a:lnTo>
                <a:lnTo>
                  <a:pt x="4963" y="2586"/>
                </a:lnTo>
                <a:lnTo>
                  <a:pt x="4953" y="2593"/>
                </a:lnTo>
                <a:lnTo>
                  <a:pt x="4942" y="2600"/>
                </a:lnTo>
                <a:lnTo>
                  <a:pt x="4932" y="2606"/>
                </a:lnTo>
                <a:lnTo>
                  <a:pt x="4921" y="2612"/>
                </a:lnTo>
                <a:lnTo>
                  <a:pt x="4910" y="2616"/>
                </a:lnTo>
                <a:lnTo>
                  <a:pt x="4899" y="2620"/>
                </a:lnTo>
                <a:lnTo>
                  <a:pt x="4886" y="2623"/>
                </a:lnTo>
                <a:lnTo>
                  <a:pt x="4875" y="2625"/>
                </a:lnTo>
                <a:lnTo>
                  <a:pt x="4863" y="2626"/>
                </a:lnTo>
                <a:lnTo>
                  <a:pt x="4851" y="2627"/>
                </a:lnTo>
                <a:close/>
                <a:moveTo>
                  <a:pt x="5237" y="2621"/>
                </a:moveTo>
                <a:lnTo>
                  <a:pt x="5236" y="2621"/>
                </a:lnTo>
                <a:lnTo>
                  <a:pt x="5233" y="2620"/>
                </a:lnTo>
                <a:lnTo>
                  <a:pt x="5228" y="2617"/>
                </a:lnTo>
                <a:lnTo>
                  <a:pt x="5222" y="2613"/>
                </a:lnTo>
                <a:lnTo>
                  <a:pt x="5214" y="2607"/>
                </a:lnTo>
                <a:lnTo>
                  <a:pt x="5202" y="2596"/>
                </a:lnTo>
                <a:lnTo>
                  <a:pt x="5186" y="2582"/>
                </a:lnTo>
                <a:lnTo>
                  <a:pt x="5169" y="2566"/>
                </a:lnTo>
                <a:lnTo>
                  <a:pt x="5153" y="2548"/>
                </a:lnTo>
                <a:lnTo>
                  <a:pt x="5137" y="2531"/>
                </a:lnTo>
                <a:lnTo>
                  <a:pt x="5122" y="2515"/>
                </a:lnTo>
                <a:lnTo>
                  <a:pt x="5110" y="2501"/>
                </a:lnTo>
                <a:lnTo>
                  <a:pt x="5106" y="2494"/>
                </a:lnTo>
                <a:lnTo>
                  <a:pt x="5103" y="2488"/>
                </a:lnTo>
                <a:lnTo>
                  <a:pt x="5097" y="2478"/>
                </a:lnTo>
                <a:lnTo>
                  <a:pt x="5094" y="2468"/>
                </a:lnTo>
                <a:lnTo>
                  <a:pt x="5091" y="2458"/>
                </a:lnTo>
                <a:lnTo>
                  <a:pt x="5090" y="2448"/>
                </a:lnTo>
                <a:lnTo>
                  <a:pt x="5091" y="2443"/>
                </a:lnTo>
                <a:lnTo>
                  <a:pt x="5091" y="2437"/>
                </a:lnTo>
                <a:lnTo>
                  <a:pt x="5093" y="2430"/>
                </a:lnTo>
                <a:lnTo>
                  <a:pt x="5095" y="2424"/>
                </a:lnTo>
                <a:lnTo>
                  <a:pt x="5097" y="2418"/>
                </a:lnTo>
                <a:lnTo>
                  <a:pt x="5101" y="2412"/>
                </a:lnTo>
                <a:lnTo>
                  <a:pt x="5104" y="2405"/>
                </a:lnTo>
                <a:lnTo>
                  <a:pt x="5109" y="2398"/>
                </a:lnTo>
                <a:lnTo>
                  <a:pt x="5117" y="2387"/>
                </a:lnTo>
                <a:lnTo>
                  <a:pt x="5128" y="2374"/>
                </a:lnTo>
                <a:lnTo>
                  <a:pt x="5159" y="2339"/>
                </a:lnTo>
                <a:lnTo>
                  <a:pt x="5195" y="2299"/>
                </a:lnTo>
                <a:lnTo>
                  <a:pt x="5230" y="2259"/>
                </a:lnTo>
                <a:lnTo>
                  <a:pt x="5231" y="2258"/>
                </a:lnTo>
                <a:lnTo>
                  <a:pt x="5234" y="2258"/>
                </a:lnTo>
                <a:lnTo>
                  <a:pt x="5238" y="2258"/>
                </a:lnTo>
                <a:lnTo>
                  <a:pt x="5242" y="2260"/>
                </a:lnTo>
                <a:lnTo>
                  <a:pt x="5246" y="2261"/>
                </a:lnTo>
                <a:lnTo>
                  <a:pt x="5252" y="2264"/>
                </a:lnTo>
                <a:lnTo>
                  <a:pt x="5256" y="2267"/>
                </a:lnTo>
                <a:lnTo>
                  <a:pt x="5260" y="2271"/>
                </a:lnTo>
                <a:lnTo>
                  <a:pt x="5263" y="2275"/>
                </a:lnTo>
                <a:lnTo>
                  <a:pt x="5266" y="2280"/>
                </a:lnTo>
                <a:lnTo>
                  <a:pt x="5267" y="2284"/>
                </a:lnTo>
                <a:lnTo>
                  <a:pt x="5268" y="2289"/>
                </a:lnTo>
                <a:lnTo>
                  <a:pt x="5267" y="2295"/>
                </a:lnTo>
                <a:lnTo>
                  <a:pt x="5265" y="2300"/>
                </a:lnTo>
                <a:lnTo>
                  <a:pt x="5263" y="2306"/>
                </a:lnTo>
                <a:lnTo>
                  <a:pt x="5259" y="2313"/>
                </a:lnTo>
                <a:lnTo>
                  <a:pt x="5251" y="2323"/>
                </a:lnTo>
                <a:lnTo>
                  <a:pt x="5238" y="2336"/>
                </a:lnTo>
                <a:lnTo>
                  <a:pt x="5209" y="2369"/>
                </a:lnTo>
                <a:lnTo>
                  <a:pt x="5179" y="2404"/>
                </a:lnTo>
                <a:lnTo>
                  <a:pt x="5166" y="2418"/>
                </a:lnTo>
                <a:lnTo>
                  <a:pt x="5157" y="2430"/>
                </a:lnTo>
                <a:lnTo>
                  <a:pt x="5155" y="2434"/>
                </a:lnTo>
                <a:lnTo>
                  <a:pt x="5153" y="2438"/>
                </a:lnTo>
                <a:lnTo>
                  <a:pt x="5152" y="2442"/>
                </a:lnTo>
                <a:lnTo>
                  <a:pt x="5151" y="2445"/>
                </a:lnTo>
                <a:lnTo>
                  <a:pt x="5152" y="2450"/>
                </a:lnTo>
                <a:lnTo>
                  <a:pt x="5153" y="2454"/>
                </a:lnTo>
                <a:lnTo>
                  <a:pt x="5155" y="2458"/>
                </a:lnTo>
                <a:lnTo>
                  <a:pt x="5158" y="2463"/>
                </a:lnTo>
                <a:lnTo>
                  <a:pt x="5166" y="2472"/>
                </a:lnTo>
                <a:lnTo>
                  <a:pt x="5176" y="2484"/>
                </a:lnTo>
                <a:lnTo>
                  <a:pt x="5205" y="2514"/>
                </a:lnTo>
                <a:lnTo>
                  <a:pt x="5236" y="2546"/>
                </a:lnTo>
                <a:lnTo>
                  <a:pt x="5268" y="2577"/>
                </a:lnTo>
                <a:lnTo>
                  <a:pt x="5270" y="2579"/>
                </a:lnTo>
                <a:lnTo>
                  <a:pt x="5272" y="2581"/>
                </a:lnTo>
                <a:lnTo>
                  <a:pt x="5273" y="2584"/>
                </a:lnTo>
                <a:lnTo>
                  <a:pt x="5273" y="2586"/>
                </a:lnTo>
                <a:lnTo>
                  <a:pt x="5272" y="2592"/>
                </a:lnTo>
                <a:lnTo>
                  <a:pt x="5271" y="2595"/>
                </a:lnTo>
                <a:lnTo>
                  <a:pt x="5270" y="2597"/>
                </a:lnTo>
                <a:lnTo>
                  <a:pt x="5266" y="2603"/>
                </a:lnTo>
                <a:lnTo>
                  <a:pt x="5264" y="2606"/>
                </a:lnTo>
                <a:lnTo>
                  <a:pt x="5261" y="2608"/>
                </a:lnTo>
                <a:lnTo>
                  <a:pt x="5256" y="2614"/>
                </a:lnTo>
                <a:lnTo>
                  <a:pt x="5253" y="2616"/>
                </a:lnTo>
                <a:lnTo>
                  <a:pt x="5249" y="2618"/>
                </a:lnTo>
                <a:lnTo>
                  <a:pt x="5243" y="2620"/>
                </a:lnTo>
                <a:lnTo>
                  <a:pt x="5240" y="2621"/>
                </a:lnTo>
                <a:lnTo>
                  <a:pt x="5237" y="2621"/>
                </a:lnTo>
                <a:close/>
                <a:moveTo>
                  <a:pt x="1768" y="639"/>
                </a:moveTo>
                <a:lnTo>
                  <a:pt x="1761" y="639"/>
                </a:lnTo>
                <a:lnTo>
                  <a:pt x="1753" y="639"/>
                </a:lnTo>
                <a:lnTo>
                  <a:pt x="1746" y="637"/>
                </a:lnTo>
                <a:lnTo>
                  <a:pt x="1738" y="636"/>
                </a:lnTo>
                <a:lnTo>
                  <a:pt x="1731" y="634"/>
                </a:lnTo>
                <a:lnTo>
                  <a:pt x="1724" y="632"/>
                </a:lnTo>
                <a:lnTo>
                  <a:pt x="1709" y="625"/>
                </a:lnTo>
                <a:lnTo>
                  <a:pt x="1696" y="618"/>
                </a:lnTo>
                <a:lnTo>
                  <a:pt x="1690" y="613"/>
                </a:lnTo>
                <a:lnTo>
                  <a:pt x="1684" y="609"/>
                </a:lnTo>
                <a:lnTo>
                  <a:pt x="1678" y="604"/>
                </a:lnTo>
                <a:lnTo>
                  <a:pt x="1672" y="599"/>
                </a:lnTo>
                <a:lnTo>
                  <a:pt x="1667" y="593"/>
                </a:lnTo>
                <a:lnTo>
                  <a:pt x="1662" y="588"/>
                </a:lnTo>
                <a:lnTo>
                  <a:pt x="1657" y="582"/>
                </a:lnTo>
                <a:lnTo>
                  <a:pt x="1652" y="575"/>
                </a:lnTo>
                <a:lnTo>
                  <a:pt x="1647" y="568"/>
                </a:lnTo>
                <a:lnTo>
                  <a:pt x="1642" y="561"/>
                </a:lnTo>
                <a:lnTo>
                  <a:pt x="1639" y="554"/>
                </a:lnTo>
                <a:lnTo>
                  <a:pt x="1635" y="546"/>
                </a:lnTo>
                <a:lnTo>
                  <a:pt x="1632" y="539"/>
                </a:lnTo>
                <a:lnTo>
                  <a:pt x="1629" y="531"/>
                </a:lnTo>
                <a:lnTo>
                  <a:pt x="1626" y="523"/>
                </a:lnTo>
                <a:lnTo>
                  <a:pt x="1624" y="515"/>
                </a:lnTo>
                <a:lnTo>
                  <a:pt x="1622" y="505"/>
                </a:lnTo>
                <a:lnTo>
                  <a:pt x="1620" y="497"/>
                </a:lnTo>
                <a:lnTo>
                  <a:pt x="1619" y="488"/>
                </a:lnTo>
                <a:lnTo>
                  <a:pt x="1618" y="479"/>
                </a:lnTo>
                <a:lnTo>
                  <a:pt x="1617" y="470"/>
                </a:lnTo>
                <a:lnTo>
                  <a:pt x="1617" y="461"/>
                </a:lnTo>
                <a:lnTo>
                  <a:pt x="1618" y="441"/>
                </a:lnTo>
                <a:lnTo>
                  <a:pt x="1619" y="432"/>
                </a:lnTo>
                <a:lnTo>
                  <a:pt x="1620" y="423"/>
                </a:lnTo>
                <a:lnTo>
                  <a:pt x="1622" y="414"/>
                </a:lnTo>
                <a:lnTo>
                  <a:pt x="1624" y="405"/>
                </a:lnTo>
                <a:lnTo>
                  <a:pt x="1626" y="396"/>
                </a:lnTo>
                <a:lnTo>
                  <a:pt x="1629" y="387"/>
                </a:lnTo>
                <a:lnTo>
                  <a:pt x="1632" y="378"/>
                </a:lnTo>
                <a:lnTo>
                  <a:pt x="1636" y="370"/>
                </a:lnTo>
                <a:lnTo>
                  <a:pt x="1640" y="362"/>
                </a:lnTo>
                <a:lnTo>
                  <a:pt x="1644" y="354"/>
                </a:lnTo>
                <a:lnTo>
                  <a:pt x="1648" y="347"/>
                </a:lnTo>
                <a:lnTo>
                  <a:pt x="1654" y="339"/>
                </a:lnTo>
                <a:lnTo>
                  <a:pt x="1664" y="325"/>
                </a:lnTo>
                <a:lnTo>
                  <a:pt x="1670" y="318"/>
                </a:lnTo>
                <a:lnTo>
                  <a:pt x="1675" y="312"/>
                </a:lnTo>
                <a:lnTo>
                  <a:pt x="1688" y="301"/>
                </a:lnTo>
                <a:lnTo>
                  <a:pt x="1694" y="295"/>
                </a:lnTo>
                <a:lnTo>
                  <a:pt x="1701" y="291"/>
                </a:lnTo>
                <a:lnTo>
                  <a:pt x="1708" y="286"/>
                </a:lnTo>
                <a:lnTo>
                  <a:pt x="1716" y="282"/>
                </a:lnTo>
                <a:lnTo>
                  <a:pt x="1723" y="278"/>
                </a:lnTo>
                <a:lnTo>
                  <a:pt x="1730" y="275"/>
                </a:lnTo>
                <a:lnTo>
                  <a:pt x="1738" y="273"/>
                </a:lnTo>
                <a:lnTo>
                  <a:pt x="1746" y="269"/>
                </a:lnTo>
                <a:lnTo>
                  <a:pt x="1754" y="268"/>
                </a:lnTo>
                <a:lnTo>
                  <a:pt x="1762" y="266"/>
                </a:lnTo>
                <a:lnTo>
                  <a:pt x="1771" y="265"/>
                </a:lnTo>
                <a:lnTo>
                  <a:pt x="1779" y="265"/>
                </a:lnTo>
                <a:lnTo>
                  <a:pt x="1789" y="266"/>
                </a:lnTo>
                <a:lnTo>
                  <a:pt x="1794" y="266"/>
                </a:lnTo>
                <a:lnTo>
                  <a:pt x="1799" y="267"/>
                </a:lnTo>
                <a:lnTo>
                  <a:pt x="1803" y="268"/>
                </a:lnTo>
                <a:lnTo>
                  <a:pt x="1808" y="269"/>
                </a:lnTo>
                <a:lnTo>
                  <a:pt x="1816" y="273"/>
                </a:lnTo>
                <a:lnTo>
                  <a:pt x="1824" y="277"/>
                </a:lnTo>
                <a:lnTo>
                  <a:pt x="1832" y="282"/>
                </a:lnTo>
                <a:lnTo>
                  <a:pt x="1839" y="287"/>
                </a:lnTo>
                <a:lnTo>
                  <a:pt x="1845" y="293"/>
                </a:lnTo>
                <a:lnTo>
                  <a:pt x="1848" y="297"/>
                </a:lnTo>
                <a:lnTo>
                  <a:pt x="1851" y="300"/>
                </a:lnTo>
                <a:lnTo>
                  <a:pt x="1855" y="307"/>
                </a:lnTo>
                <a:lnTo>
                  <a:pt x="1859" y="315"/>
                </a:lnTo>
                <a:lnTo>
                  <a:pt x="1863" y="323"/>
                </a:lnTo>
                <a:lnTo>
                  <a:pt x="1865" y="333"/>
                </a:lnTo>
                <a:lnTo>
                  <a:pt x="1867" y="342"/>
                </a:lnTo>
                <a:lnTo>
                  <a:pt x="1868" y="352"/>
                </a:lnTo>
                <a:lnTo>
                  <a:pt x="1869" y="362"/>
                </a:lnTo>
                <a:lnTo>
                  <a:pt x="1868" y="374"/>
                </a:lnTo>
                <a:lnTo>
                  <a:pt x="1867" y="380"/>
                </a:lnTo>
                <a:lnTo>
                  <a:pt x="1866" y="386"/>
                </a:lnTo>
                <a:lnTo>
                  <a:pt x="1862" y="399"/>
                </a:lnTo>
                <a:lnTo>
                  <a:pt x="1857" y="411"/>
                </a:lnTo>
                <a:lnTo>
                  <a:pt x="1851" y="422"/>
                </a:lnTo>
                <a:lnTo>
                  <a:pt x="1843" y="433"/>
                </a:lnTo>
                <a:lnTo>
                  <a:pt x="1839" y="438"/>
                </a:lnTo>
                <a:lnTo>
                  <a:pt x="1835" y="442"/>
                </a:lnTo>
                <a:lnTo>
                  <a:pt x="1825" y="453"/>
                </a:lnTo>
                <a:lnTo>
                  <a:pt x="1815" y="461"/>
                </a:lnTo>
                <a:lnTo>
                  <a:pt x="1810" y="465"/>
                </a:lnTo>
                <a:lnTo>
                  <a:pt x="1804" y="469"/>
                </a:lnTo>
                <a:lnTo>
                  <a:pt x="1793" y="475"/>
                </a:lnTo>
                <a:lnTo>
                  <a:pt x="1781" y="481"/>
                </a:lnTo>
                <a:lnTo>
                  <a:pt x="1768" y="486"/>
                </a:lnTo>
                <a:lnTo>
                  <a:pt x="1762" y="487"/>
                </a:lnTo>
                <a:lnTo>
                  <a:pt x="1756" y="489"/>
                </a:lnTo>
                <a:lnTo>
                  <a:pt x="1750" y="490"/>
                </a:lnTo>
                <a:lnTo>
                  <a:pt x="1743" y="491"/>
                </a:lnTo>
                <a:lnTo>
                  <a:pt x="1731" y="492"/>
                </a:lnTo>
                <a:lnTo>
                  <a:pt x="1725" y="491"/>
                </a:lnTo>
                <a:lnTo>
                  <a:pt x="1720" y="489"/>
                </a:lnTo>
                <a:lnTo>
                  <a:pt x="1716" y="486"/>
                </a:lnTo>
                <a:lnTo>
                  <a:pt x="1714" y="485"/>
                </a:lnTo>
                <a:lnTo>
                  <a:pt x="1712" y="483"/>
                </a:lnTo>
                <a:lnTo>
                  <a:pt x="1708" y="478"/>
                </a:lnTo>
                <a:lnTo>
                  <a:pt x="1706" y="473"/>
                </a:lnTo>
                <a:lnTo>
                  <a:pt x="1705" y="470"/>
                </a:lnTo>
                <a:lnTo>
                  <a:pt x="1704" y="467"/>
                </a:lnTo>
                <a:lnTo>
                  <a:pt x="1704" y="460"/>
                </a:lnTo>
                <a:lnTo>
                  <a:pt x="1704" y="458"/>
                </a:lnTo>
                <a:lnTo>
                  <a:pt x="1704" y="455"/>
                </a:lnTo>
                <a:lnTo>
                  <a:pt x="1705" y="449"/>
                </a:lnTo>
                <a:lnTo>
                  <a:pt x="1706" y="447"/>
                </a:lnTo>
                <a:lnTo>
                  <a:pt x="1707" y="445"/>
                </a:lnTo>
                <a:lnTo>
                  <a:pt x="1709" y="443"/>
                </a:lnTo>
                <a:lnTo>
                  <a:pt x="1712" y="442"/>
                </a:lnTo>
                <a:lnTo>
                  <a:pt x="1722" y="440"/>
                </a:lnTo>
                <a:lnTo>
                  <a:pt x="1733" y="438"/>
                </a:lnTo>
                <a:lnTo>
                  <a:pt x="1743" y="434"/>
                </a:lnTo>
                <a:lnTo>
                  <a:pt x="1753" y="430"/>
                </a:lnTo>
                <a:lnTo>
                  <a:pt x="1762" y="426"/>
                </a:lnTo>
                <a:lnTo>
                  <a:pt x="1771" y="421"/>
                </a:lnTo>
                <a:lnTo>
                  <a:pt x="1779" y="415"/>
                </a:lnTo>
                <a:lnTo>
                  <a:pt x="1783" y="412"/>
                </a:lnTo>
                <a:lnTo>
                  <a:pt x="1786" y="409"/>
                </a:lnTo>
                <a:lnTo>
                  <a:pt x="1793" y="403"/>
                </a:lnTo>
                <a:lnTo>
                  <a:pt x="1799" y="397"/>
                </a:lnTo>
                <a:lnTo>
                  <a:pt x="1803" y="389"/>
                </a:lnTo>
                <a:lnTo>
                  <a:pt x="1808" y="382"/>
                </a:lnTo>
                <a:lnTo>
                  <a:pt x="1811" y="375"/>
                </a:lnTo>
                <a:lnTo>
                  <a:pt x="1813" y="368"/>
                </a:lnTo>
                <a:lnTo>
                  <a:pt x="1815" y="361"/>
                </a:lnTo>
                <a:lnTo>
                  <a:pt x="1815" y="354"/>
                </a:lnTo>
                <a:lnTo>
                  <a:pt x="1815" y="346"/>
                </a:lnTo>
                <a:lnTo>
                  <a:pt x="1813" y="338"/>
                </a:lnTo>
                <a:lnTo>
                  <a:pt x="1811" y="335"/>
                </a:lnTo>
                <a:lnTo>
                  <a:pt x="1809" y="332"/>
                </a:lnTo>
                <a:lnTo>
                  <a:pt x="1807" y="328"/>
                </a:lnTo>
                <a:lnTo>
                  <a:pt x="1805" y="326"/>
                </a:lnTo>
                <a:lnTo>
                  <a:pt x="1799" y="322"/>
                </a:lnTo>
                <a:lnTo>
                  <a:pt x="1796" y="320"/>
                </a:lnTo>
                <a:lnTo>
                  <a:pt x="1792" y="318"/>
                </a:lnTo>
                <a:lnTo>
                  <a:pt x="1784" y="317"/>
                </a:lnTo>
                <a:lnTo>
                  <a:pt x="1780" y="316"/>
                </a:lnTo>
                <a:lnTo>
                  <a:pt x="1775" y="316"/>
                </a:lnTo>
                <a:lnTo>
                  <a:pt x="1765" y="317"/>
                </a:lnTo>
                <a:lnTo>
                  <a:pt x="1761" y="318"/>
                </a:lnTo>
                <a:lnTo>
                  <a:pt x="1756" y="319"/>
                </a:lnTo>
                <a:lnTo>
                  <a:pt x="1752" y="320"/>
                </a:lnTo>
                <a:lnTo>
                  <a:pt x="1748" y="322"/>
                </a:lnTo>
                <a:lnTo>
                  <a:pt x="1743" y="324"/>
                </a:lnTo>
                <a:lnTo>
                  <a:pt x="1739" y="327"/>
                </a:lnTo>
                <a:lnTo>
                  <a:pt x="1735" y="330"/>
                </a:lnTo>
                <a:lnTo>
                  <a:pt x="1730" y="334"/>
                </a:lnTo>
                <a:lnTo>
                  <a:pt x="1722" y="341"/>
                </a:lnTo>
                <a:lnTo>
                  <a:pt x="1714" y="349"/>
                </a:lnTo>
                <a:lnTo>
                  <a:pt x="1706" y="358"/>
                </a:lnTo>
                <a:lnTo>
                  <a:pt x="1702" y="363"/>
                </a:lnTo>
                <a:lnTo>
                  <a:pt x="1699" y="368"/>
                </a:lnTo>
                <a:lnTo>
                  <a:pt x="1693" y="379"/>
                </a:lnTo>
                <a:lnTo>
                  <a:pt x="1687" y="390"/>
                </a:lnTo>
                <a:lnTo>
                  <a:pt x="1682" y="403"/>
                </a:lnTo>
                <a:lnTo>
                  <a:pt x="1679" y="416"/>
                </a:lnTo>
                <a:lnTo>
                  <a:pt x="1676" y="430"/>
                </a:lnTo>
                <a:lnTo>
                  <a:pt x="1674" y="443"/>
                </a:lnTo>
                <a:lnTo>
                  <a:pt x="1674" y="450"/>
                </a:lnTo>
                <a:lnTo>
                  <a:pt x="1673" y="459"/>
                </a:lnTo>
                <a:lnTo>
                  <a:pt x="1674" y="471"/>
                </a:lnTo>
                <a:lnTo>
                  <a:pt x="1675" y="483"/>
                </a:lnTo>
                <a:lnTo>
                  <a:pt x="1677" y="495"/>
                </a:lnTo>
                <a:lnTo>
                  <a:pt x="1679" y="501"/>
                </a:lnTo>
                <a:lnTo>
                  <a:pt x="1680" y="506"/>
                </a:lnTo>
                <a:lnTo>
                  <a:pt x="1684" y="518"/>
                </a:lnTo>
                <a:lnTo>
                  <a:pt x="1686" y="523"/>
                </a:lnTo>
                <a:lnTo>
                  <a:pt x="1688" y="527"/>
                </a:lnTo>
                <a:lnTo>
                  <a:pt x="1691" y="532"/>
                </a:lnTo>
                <a:lnTo>
                  <a:pt x="1694" y="536"/>
                </a:lnTo>
                <a:lnTo>
                  <a:pt x="1697" y="541"/>
                </a:lnTo>
                <a:lnTo>
                  <a:pt x="1700" y="545"/>
                </a:lnTo>
                <a:lnTo>
                  <a:pt x="1703" y="548"/>
                </a:lnTo>
                <a:lnTo>
                  <a:pt x="1706" y="552"/>
                </a:lnTo>
                <a:lnTo>
                  <a:pt x="1714" y="559"/>
                </a:lnTo>
                <a:lnTo>
                  <a:pt x="1722" y="564"/>
                </a:lnTo>
                <a:lnTo>
                  <a:pt x="1731" y="569"/>
                </a:lnTo>
                <a:lnTo>
                  <a:pt x="1740" y="574"/>
                </a:lnTo>
                <a:lnTo>
                  <a:pt x="1749" y="577"/>
                </a:lnTo>
                <a:lnTo>
                  <a:pt x="1760" y="579"/>
                </a:lnTo>
                <a:lnTo>
                  <a:pt x="1765" y="579"/>
                </a:lnTo>
                <a:lnTo>
                  <a:pt x="1771" y="579"/>
                </a:lnTo>
                <a:lnTo>
                  <a:pt x="1782" y="579"/>
                </a:lnTo>
                <a:lnTo>
                  <a:pt x="1792" y="577"/>
                </a:lnTo>
                <a:lnTo>
                  <a:pt x="1802" y="575"/>
                </a:lnTo>
                <a:lnTo>
                  <a:pt x="1811" y="570"/>
                </a:lnTo>
                <a:lnTo>
                  <a:pt x="1821" y="566"/>
                </a:lnTo>
                <a:lnTo>
                  <a:pt x="1831" y="561"/>
                </a:lnTo>
                <a:lnTo>
                  <a:pt x="1839" y="555"/>
                </a:lnTo>
                <a:lnTo>
                  <a:pt x="1848" y="549"/>
                </a:lnTo>
                <a:lnTo>
                  <a:pt x="1856" y="541"/>
                </a:lnTo>
                <a:lnTo>
                  <a:pt x="1863" y="534"/>
                </a:lnTo>
                <a:lnTo>
                  <a:pt x="1871" y="525"/>
                </a:lnTo>
                <a:lnTo>
                  <a:pt x="1877" y="516"/>
                </a:lnTo>
                <a:lnTo>
                  <a:pt x="1891" y="496"/>
                </a:lnTo>
                <a:lnTo>
                  <a:pt x="1897" y="485"/>
                </a:lnTo>
                <a:lnTo>
                  <a:pt x="1903" y="475"/>
                </a:lnTo>
                <a:lnTo>
                  <a:pt x="1908" y="464"/>
                </a:lnTo>
                <a:lnTo>
                  <a:pt x="1913" y="452"/>
                </a:lnTo>
                <a:lnTo>
                  <a:pt x="1917" y="440"/>
                </a:lnTo>
                <a:lnTo>
                  <a:pt x="1922" y="428"/>
                </a:lnTo>
                <a:lnTo>
                  <a:pt x="1925" y="416"/>
                </a:lnTo>
                <a:lnTo>
                  <a:pt x="1929" y="404"/>
                </a:lnTo>
                <a:lnTo>
                  <a:pt x="1932" y="392"/>
                </a:lnTo>
                <a:lnTo>
                  <a:pt x="1934" y="379"/>
                </a:lnTo>
                <a:lnTo>
                  <a:pt x="1937" y="367"/>
                </a:lnTo>
                <a:lnTo>
                  <a:pt x="1938" y="355"/>
                </a:lnTo>
                <a:lnTo>
                  <a:pt x="1940" y="343"/>
                </a:lnTo>
                <a:lnTo>
                  <a:pt x="1941" y="332"/>
                </a:lnTo>
                <a:lnTo>
                  <a:pt x="1942" y="320"/>
                </a:lnTo>
                <a:lnTo>
                  <a:pt x="1942" y="308"/>
                </a:lnTo>
                <a:lnTo>
                  <a:pt x="1942" y="298"/>
                </a:lnTo>
                <a:lnTo>
                  <a:pt x="1941" y="287"/>
                </a:lnTo>
                <a:lnTo>
                  <a:pt x="1942" y="285"/>
                </a:lnTo>
                <a:lnTo>
                  <a:pt x="1944" y="283"/>
                </a:lnTo>
                <a:lnTo>
                  <a:pt x="1946" y="281"/>
                </a:lnTo>
                <a:lnTo>
                  <a:pt x="1949" y="279"/>
                </a:lnTo>
                <a:lnTo>
                  <a:pt x="1957" y="276"/>
                </a:lnTo>
                <a:lnTo>
                  <a:pt x="1960" y="275"/>
                </a:lnTo>
                <a:lnTo>
                  <a:pt x="1965" y="275"/>
                </a:lnTo>
                <a:lnTo>
                  <a:pt x="1972" y="276"/>
                </a:lnTo>
                <a:lnTo>
                  <a:pt x="1975" y="276"/>
                </a:lnTo>
                <a:lnTo>
                  <a:pt x="1978" y="277"/>
                </a:lnTo>
                <a:lnTo>
                  <a:pt x="1984" y="280"/>
                </a:lnTo>
                <a:lnTo>
                  <a:pt x="1987" y="282"/>
                </a:lnTo>
                <a:lnTo>
                  <a:pt x="1989" y="284"/>
                </a:lnTo>
                <a:lnTo>
                  <a:pt x="1993" y="290"/>
                </a:lnTo>
                <a:lnTo>
                  <a:pt x="1995" y="294"/>
                </a:lnTo>
                <a:lnTo>
                  <a:pt x="1996" y="297"/>
                </a:lnTo>
                <a:lnTo>
                  <a:pt x="1997" y="302"/>
                </a:lnTo>
                <a:lnTo>
                  <a:pt x="1998" y="307"/>
                </a:lnTo>
                <a:lnTo>
                  <a:pt x="1998" y="312"/>
                </a:lnTo>
                <a:lnTo>
                  <a:pt x="1999" y="318"/>
                </a:lnTo>
                <a:lnTo>
                  <a:pt x="1998" y="334"/>
                </a:lnTo>
                <a:lnTo>
                  <a:pt x="1997" y="350"/>
                </a:lnTo>
                <a:lnTo>
                  <a:pt x="1995" y="365"/>
                </a:lnTo>
                <a:lnTo>
                  <a:pt x="1993" y="380"/>
                </a:lnTo>
                <a:lnTo>
                  <a:pt x="1991" y="396"/>
                </a:lnTo>
                <a:lnTo>
                  <a:pt x="1988" y="411"/>
                </a:lnTo>
                <a:lnTo>
                  <a:pt x="1984" y="425"/>
                </a:lnTo>
                <a:lnTo>
                  <a:pt x="1981" y="439"/>
                </a:lnTo>
                <a:lnTo>
                  <a:pt x="1976" y="454"/>
                </a:lnTo>
                <a:lnTo>
                  <a:pt x="1971" y="468"/>
                </a:lnTo>
                <a:lnTo>
                  <a:pt x="1966" y="481"/>
                </a:lnTo>
                <a:lnTo>
                  <a:pt x="1960" y="494"/>
                </a:lnTo>
                <a:lnTo>
                  <a:pt x="1954" y="506"/>
                </a:lnTo>
                <a:lnTo>
                  <a:pt x="1947" y="519"/>
                </a:lnTo>
                <a:lnTo>
                  <a:pt x="1940" y="531"/>
                </a:lnTo>
                <a:lnTo>
                  <a:pt x="1933" y="542"/>
                </a:lnTo>
                <a:lnTo>
                  <a:pt x="1925" y="553"/>
                </a:lnTo>
                <a:lnTo>
                  <a:pt x="1917" y="563"/>
                </a:lnTo>
                <a:lnTo>
                  <a:pt x="1909" y="573"/>
                </a:lnTo>
                <a:lnTo>
                  <a:pt x="1900" y="582"/>
                </a:lnTo>
                <a:lnTo>
                  <a:pt x="1891" y="591"/>
                </a:lnTo>
                <a:lnTo>
                  <a:pt x="1880" y="599"/>
                </a:lnTo>
                <a:lnTo>
                  <a:pt x="1871" y="606"/>
                </a:lnTo>
                <a:lnTo>
                  <a:pt x="1861" y="612"/>
                </a:lnTo>
                <a:lnTo>
                  <a:pt x="1850" y="618"/>
                </a:lnTo>
                <a:lnTo>
                  <a:pt x="1840" y="624"/>
                </a:lnTo>
                <a:lnTo>
                  <a:pt x="1828" y="628"/>
                </a:lnTo>
                <a:lnTo>
                  <a:pt x="1817" y="633"/>
                </a:lnTo>
                <a:lnTo>
                  <a:pt x="1805" y="636"/>
                </a:lnTo>
                <a:lnTo>
                  <a:pt x="1793" y="638"/>
                </a:lnTo>
                <a:lnTo>
                  <a:pt x="1782" y="639"/>
                </a:lnTo>
                <a:lnTo>
                  <a:pt x="1768" y="639"/>
                </a:lnTo>
                <a:close/>
                <a:moveTo>
                  <a:pt x="2156" y="634"/>
                </a:moveTo>
                <a:lnTo>
                  <a:pt x="2154" y="633"/>
                </a:lnTo>
                <a:lnTo>
                  <a:pt x="2152" y="633"/>
                </a:lnTo>
                <a:lnTo>
                  <a:pt x="2147" y="629"/>
                </a:lnTo>
                <a:lnTo>
                  <a:pt x="2140" y="625"/>
                </a:lnTo>
                <a:lnTo>
                  <a:pt x="2133" y="619"/>
                </a:lnTo>
                <a:lnTo>
                  <a:pt x="2119" y="608"/>
                </a:lnTo>
                <a:lnTo>
                  <a:pt x="2104" y="595"/>
                </a:lnTo>
                <a:lnTo>
                  <a:pt x="2088" y="579"/>
                </a:lnTo>
                <a:lnTo>
                  <a:pt x="2071" y="561"/>
                </a:lnTo>
                <a:lnTo>
                  <a:pt x="2055" y="544"/>
                </a:lnTo>
                <a:lnTo>
                  <a:pt x="2040" y="527"/>
                </a:lnTo>
                <a:lnTo>
                  <a:pt x="2029" y="513"/>
                </a:lnTo>
                <a:lnTo>
                  <a:pt x="2025" y="506"/>
                </a:lnTo>
                <a:lnTo>
                  <a:pt x="2021" y="501"/>
                </a:lnTo>
                <a:lnTo>
                  <a:pt x="2016" y="490"/>
                </a:lnTo>
                <a:lnTo>
                  <a:pt x="2012" y="481"/>
                </a:lnTo>
                <a:lnTo>
                  <a:pt x="2009" y="471"/>
                </a:lnTo>
                <a:lnTo>
                  <a:pt x="2008" y="461"/>
                </a:lnTo>
                <a:lnTo>
                  <a:pt x="2008" y="456"/>
                </a:lnTo>
                <a:lnTo>
                  <a:pt x="2009" y="449"/>
                </a:lnTo>
                <a:lnTo>
                  <a:pt x="2012" y="443"/>
                </a:lnTo>
                <a:lnTo>
                  <a:pt x="2014" y="437"/>
                </a:lnTo>
                <a:lnTo>
                  <a:pt x="2016" y="431"/>
                </a:lnTo>
                <a:lnTo>
                  <a:pt x="2019" y="424"/>
                </a:lnTo>
                <a:lnTo>
                  <a:pt x="2023" y="418"/>
                </a:lnTo>
                <a:lnTo>
                  <a:pt x="2028" y="411"/>
                </a:lnTo>
                <a:lnTo>
                  <a:pt x="2036" y="400"/>
                </a:lnTo>
                <a:lnTo>
                  <a:pt x="2047" y="385"/>
                </a:lnTo>
                <a:lnTo>
                  <a:pt x="2078" y="352"/>
                </a:lnTo>
                <a:lnTo>
                  <a:pt x="2112" y="312"/>
                </a:lnTo>
                <a:lnTo>
                  <a:pt x="2148" y="270"/>
                </a:lnTo>
                <a:lnTo>
                  <a:pt x="2150" y="270"/>
                </a:lnTo>
                <a:lnTo>
                  <a:pt x="2153" y="270"/>
                </a:lnTo>
                <a:lnTo>
                  <a:pt x="2157" y="270"/>
                </a:lnTo>
                <a:lnTo>
                  <a:pt x="2161" y="272"/>
                </a:lnTo>
                <a:lnTo>
                  <a:pt x="2165" y="274"/>
                </a:lnTo>
                <a:lnTo>
                  <a:pt x="2169" y="276"/>
                </a:lnTo>
                <a:lnTo>
                  <a:pt x="2173" y="280"/>
                </a:lnTo>
                <a:lnTo>
                  <a:pt x="2177" y="283"/>
                </a:lnTo>
                <a:lnTo>
                  <a:pt x="2181" y="288"/>
                </a:lnTo>
                <a:lnTo>
                  <a:pt x="2184" y="292"/>
                </a:lnTo>
                <a:lnTo>
                  <a:pt x="2185" y="297"/>
                </a:lnTo>
                <a:lnTo>
                  <a:pt x="2186" y="302"/>
                </a:lnTo>
                <a:lnTo>
                  <a:pt x="2185" y="307"/>
                </a:lnTo>
                <a:lnTo>
                  <a:pt x="2183" y="313"/>
                </a:lnTo>
                <a:lnTo>
                  <a:pt x="2180" y="318"/>
                </a:lnTo>
                <a:lnTo>
                  <a:pt x="2177" y="324"/>
                </a:lnTo>
                <a:lnTo>
                  <a:pt x="2168" y="336"/>
                </a:lnTo>
                <a:lnTo>
                  <a:pt x="2157" y="349"/>
                </a:lnTo>
                <a:lnTo>
                  <a:pt x="2127" y="382"/>
                </a:lnTo>
                <a:lnTo>
                  <a:pt x="2097" y="416"/>
                </a:lnTo>
                <a:lnTo>
                  <a:pt x="2085" y="431"/>
                </a:lnTo>
                <a:lnTo>
                  <a:pt x="2076" y="442"/>
                </a:lnTo>
                <a:lnTo>
                  <a:pt x="2073" y="446"/>
                </a:lnTo>
                <a:lnTo>
                  <a:pt x="2072" y="450"/>
                </a:lnTo>
                <a:lnTo>
                  <a:pt x="2071" y="454"/>
                </a:lnTo>
                <a:lnTo>
                  <a:pt x="2069" y="458"/>
                </a:lnTo>
                <a:lnTo>
                  <a:pt x="2071" y="462"/>
                </a:lnTo>
                <a:lnTo>
                  <a:pt x="2072" y="467"/>
                </a:lnTo>
                <a:lnTo>
                  <a:pt x="2074" y="471"/>
                </a:lnTo>
                <a:lnTo>
                  <a:pt x="2077" y="476"/>
                </a:lnTo>
                <a:lnTo>
                  <a:pt x="2084" y="485"/>
                </a:lnTo>
                <a:lnTo>
                  <a:pt x="2095" y="497"/>
                </a:lnTo>
                <a:lnTo>
                  <a:pt x="2122" y="527"/>
                </a:lnTo>
                <a:lnTo>
                  <a:pt x="2155" y="559"/>
                </a:lnTo>
                <a:lnTo>
                  <a:pt x="2186" y="590"/>
                </a:lnTo>
                <a:lnTo>
                  <a:pt x="2188" y="592"/>
                </a:lnTo>
                <a:lnTo>
                  <a:pt x="2189" y="594"/>
                </a:lnTo>
                <a:lnTo>
                  <a:pt x="2191" y="596"/>
                </a:lnTo>
                <a:lnTo>
                  <a:pt x="2192" y="599"/>
                </a:lnTo>
                <a:lnTo>
                  <a:pt x="2191" y="604"/>
                </a:lnTo>
                <a:lnTo>
                  <a:pt x="2189" y="607"/>
                </a:lnTo>
                <a:lnTo>
                  <a:pt x="2187" y="610"/>
                </a:lnTo>
                <a:lnTo>
                  <a:pt x="2184" y="616"/>
                </a:lnTo>
                <a:lnTo>
                  <a:pt x="2182" y="618"/>
                </a:lnTo>
                <a:lnTo>
                  <a:pt x="2179" y="621"/>
                </a:lnTo>
                <a:lnTo>
                  <a:pt x="2174" y="626"/>
                </a:lnTo>
                <a:lnTo>
                  <a:pt x="2171" y="628"/>
                </a:lnTo>
                <a:lnTo>
                  <a:pt x="2168" y="629"/>
                </a:lnTo>
                <a:lnTo>
                  <a:pt x="2162" y="633"/>
                </a:lnTo>
                <a:lnTo>
                  <a:pt x="2159" y="633"/>
                </a:lnTo>
                <a:lnTo>
                  <a:pt x="2156" y="634"/>
                </a:lnTo>
                <a:close/>
                <a:moveTo>
                  <a:pt x="1768" y="1633"/>
                </a:moveTo>
                <a:lnTo>
                  <a:pt x="1761" y="1632"/>
                </a:lnTo>
                <a:lnTo>
                  <a:pt x="1753" y="1632"/>
                </a:lnTo>
                <a:lnTo>
                  <a:pt x="1746" y="1631"/>
                </a:lnTo>
                <a:lnTo>
                  <a:pt x="1738" y="1629"/>
                </a:lnTo>
                <a:lnTo>
                  <a:pt x="1731" y="1627"/>
                </a:lnTo>
                <a:lnTo>
                  <a:pt x="1724" y="1625"/>
                </a:lnTo>
                <a:lnTo>
                  <a:pt x="1709" y="1619"/>
                </a:lnTo>
                <a:lnTo>
                  <a:pt x="1696" y="1612"/>
                </a:lnTo>
                <a:lnTo>
                  <a:pt x="1690" y="1608"/>
                </a:lnTo>
                <a:lnTo>
                  <a:pt x="1684" y="1603"/>
                </a:lnTo>
                <a:lnTo>
                  <a:pt x="1678" y="1598"/>
                </a:lnTo>
                <a:lnTo>
                  <a:pt x="1672" y="1593"/>
                </a:lnTo>
                <a:lnTo>
                  <a:pt x="1667" y="1587"/>
                </a:lnTo>
                <a:lnTo>
                  <a:pt x="1662" y="1581"/>
                </a:lnTo>
                <a:lnTo>
                  <a:pt x="1657" y="1575"/>
                </a:lnTo>
                <a:lnTo>
                  <a:pt x="1652" y="1568"/>
                </a:lnTo>
                <a:lnTo>
                  <a:pt x="1647" y="1562"/>
                </a:lnTo>
                <a:lnTo>
                  <a:pt x="1642" y="1555"/>
                </a:lnTo>
                <a:lnTo>
                  <a:pt x="1639" y="1548"/>
                </a:lnTo>
                <a:lnTo>
                  <a:pt x="1635" y="1540"/>
                </a:lnTo>
                <a:lnTo>
                  <a:pt x="1632" y="1533"/>
                </a:lnTo>
                <a:lnTo>
                  <a:pt x="1629" y="1524"/>
                </a:lnTo>
                <a:lnTo>
                  <a:pt x="1626" y="1516"/>
                </a:lnTo>
                <a:lnTo>
                  <a:pt x="1624" y="1508"/>
                </a:lnTo>
                <a:lnTo>
                  <a:pt x="1622" y="1500"/>
                </a:lnTo>
                <a:lnTo>
                  <a:pt x="1620" y="1491"/>
                </a:lnTo>
                <a:lnTo>
                  <a:pt x="1619" y="1482"/>
                </a:lnTo>
                <a:lnTo>
                  <a:pt x="1618" y="1473"/>
                </a:lnTo>
                <a:lnTo>
                  <a:pt x="1617" y="1463"/>
                </a:lnTo>
                <a:lnTo>
                  <a:pt x="1617" y="1454"/>
                </a:lnTo>
                <a:lnTo>
                  <a:pt x="1618" y="1436"/>
                </a:lnTo>
                <a:lnTo>
                  <a:pt x="1619" y="1426"/>
                </a:lnTo>
                <a:lnTo>
                  <a:pt x="1620" y="1417"/>
                </a:lnTo>
                <a:lnTo>
                  <a:pt x="1622" y="1407"/>
                </a:lnTo>
                <a:lnTo>
                  <a:pt x="1624" y="1398"/>
                </a:lnTo>
                <a:lnTo>
                  <a:pt x="1626" y="1390"/>
                </a:lnTo>
                <a:lnTo>
                  <a:pt x="1629" y="1381"/>
                </a:lnTo>
                <a:lnTo>
                  <a:pt x="1632" y="1373"/>
                </a:lnTo>
                <a:lnTo>
                  <a:pt x="1636" y="1364"/>
                </a:lnTo>
                <a:lnTo>
                  <a:pt x="1640" y="1356"/>
                </a:lnTo>
                <a:lnTo>
                  <a:pt x="1644" y="1348"/>
                </a:lnTo>
                <a:lnTo>
                  <a:pt x="1648" y="1340"/>
                </a:lnTo>
                <a:lnTo>
                  <a:pt x="1654" y="1333"/>
                </a:lnTo>
                <a:lnTo>
                  <a:pt x="1664" y="1319"/>
                </a:lnTo>
                <a:lnTo>
                  <a:pt x="1670" y="1312"/>
                </a:lnTo>
                <a:lnTo>
                  <a:pt x="1675" y="1306"/>
                </a:lnTo>
                <a:lnTo>
                  <a:pt x="1688" y="1295"/>
                </a:lnTo>
                <a:lnTo>
                  <a:pt x="1694" y="1289"/>
                </a:lnTo>
                <a:lnTo>
                  <a:pt x="1701" y="1284"/>
                </a:lnTo>
                <a:lnTo>
                  <a:pt x="1708" y="1279"/>
                </a:lnTo>
                <a:lnTo>
                  <a:pt x="1716" y="1275"/>
                </a:lnTo>
                <a:lnTo>
                  <a:pt x="1723" y="1272"/>
                </a:lnTo>
                <a:lnTo>
                  <a:pt x="1730" y="1269"/>
                </a:lnTo>
                <a:lnTo>
                  <a:pt x="1738" y="1266"/>
                </a:lnTo>
                <a:lnTo>
                  <a:pt x="1746" y="1264"/>
                </a:lnTo>
                <a:lnTo>
                  <a:pt x="1754" y="1262"/>
                </a:lnTo>
                <a:lnTo>
                  <a:pt x="1762" y="1260"/>
                </a:lnTo>
                <a:lnTo>
                  <a:pt x="1771" y="1260"/>
                </a:lnTo>
                <a:lnTo>
                  <a:pt x="1779" y="1259"/>
                </a:lnTo>
                <a:lnTo>
                  <a:pt x="1789" y="1260"/>
                </a:lnTo>
                <a:lnTo>
                  <a:pt x="1794" y="1260"/>
                </a:lnTo>
                <a:lnTo>
                  <a:pt x="1799" y="1261"/>
                </a:lnTo>
                <a:lnTo>
                  <a:pt x="1803" y="1262"/>
                </a:lnTo>
                <a:lnTo>
                  <a:pt x="1808" y="1263"/>
                </a:lnTo>
                <a:lnTo>
                  <a:pt x="1816" y="1267"/>
                </a:lnTo>
                <a:lnTo>
                  <a:pt x="1824" y="1270"/>
                </a:lnTo>
                <a:lnTo>
                  <a:pt x="1832" y="1275"/>
                </a:lnTo>
                <a:lnTo>
                  <a:pt x="1839" y="1280"/>
                </a:lnTo>
                <a:lnTo>
                  <a:pt x="1845" y="1286"/>
                </a:lnTo>
                <a:lnTo>
                  <a:pt x="1848" y="1290"/>
                </a:lnTo>
                <a:lnTo>
                  <a:pt x="1851" y="1294"/>
                </a:lnTo>
                <a:lnTo>
                  <a:pt x="1855" y="1301"/>
                </a:lnTo>
                <a:lnTo>
                  <a:pt x="1859" y="1309"/>
                </a:lnTo>
                <a:lnTo>
                  <a:pt x="1863" y="1317"/>
                </a:lnTo>
                <a:lnTo>
                  <a:pt x="1865" y="1326"/>
                </a:lnTo>
                <a:lnTo>
                  <a:pt x="1867" y="1335"/>
                </a:lnTo>
                <a:lnTo>
                  <a:pt x="1868" y="1345"/>
                </a:lnTo>
                <a:lnTo>
                  <a:pt x="1869" y="1356"/>
                </a:lnTo>
                <a:lnTo>
                  <a:pt x="1868" y="1368"/>
                </a:lnTo>
                <a:lnTo>
                  <a:pt x="1867" y="1374"/>
                </a:lnTo>
                <a:lnTo>
                  <a:pt x="1866" y="1380"/>
                </a:lnTo>
                <a:lnTo>
                  <a:pt x="1862" y="1392"/>
                </a:lnTo>
                <a:lnTo>
                  <a:pt x="1857" y="1404"/>
                </a:lnTo>
                <a:lnTo>
                  <a:pt x="1851" y="1416"/>
                </a:lnTo>
                <a:lnTo>
                  <a:pt x="1843" y="1427"/>
                </a:lnTo>
                <a:lnTo>
                  <a:pt x="1839" y="1432"/>
                </a:lnTo>
                <a:lnTo>
                  <a:pt x="1835" y="1437"/>
                </a:lnTo>
                <a:lnTo>
                  <a:pt x="1825" y="1446"/>
                </a:lnTo>
                <a:lnTo>
                  <a:pt x="1815" y="1454"/>
                </a:lnTo>
                <a:lnTo>
                  <a:pt x="1810" y="1458"/>
                </a:lnTo>
                <a:lnTo>
                  <a:pt x="1804" y="1462"/>
                </a:lnTo>
                <a:lnTo>
                  <a:pt x="1793" y="1469"/>
                </a:lnTo>
                <a:lnTo>
                  <a:pt x="1781" y="1475"/>
                </a:lnTo>
                <a:lnTo>
                  <a:pt x="1768" y="1480"/>
                </a:lnTo>
                <a:lnTo>
                  <a:pt x="1762" y="1482"/>
                </a:lnTo>
                <a:lnTo>
                  <a:pt x="1756" y="1483"/>
                </a:lnTo>
                <a:lnTo>
                  <a:pt x="1750" y="1484"/>
                </a:lnTo>
                <a:lnTo>
                  <a:pt x="1743" y="1485"/>
                </a:lnTo>
                <a:lnTo>
                  <a:pt x="1731" y="1486"/>
                </a:lnTo>
                <a:lnTo>
                  <a:pt x="1725" y="1485"/>
                </a:lnTo>
                <a:lnTo>
                  <a:pt x="1720" y="1483"/>
                </a:lnTo>
                <a:lnTo>
                  <a:pt x="1716" y="1481"/>
                </a:lnTo>
                <a:lnTo>
                  <a:pt x="1714" y="1479"/>
                </a:lnTo>
                <a:lnTo>
                  <a:pt x="1712" y="1477"/>
                </a:lnTo>
                <a:lnTo>
                  <a:pt x="1708" y="1472"/>
                </a:lnTo>
                <a:lnTo>
                  <a:pt x="1706" y="1466"/>
                </a:lnTo>
                <a:lnTo>
                  <a:pt x="1705" y="1463"/>
                </a:lnTo>
                <a:lnTo>
                  <a:pt x="1704" y="1460"/>
                </a:lnTo>
                <a:lnTo>
                  <a:pt x="1704" y="1454"/>
                </a:lnTo>
                <a:lnTo>
                  <a:pt x="1704" y="1451"/>
                </a:lnTo>
                <a:lnTo>
                  <a:pt x="1704" y="1448"/>
                </a:lnTo>
                <a:lnTo>
                  <a:pt x="1705" y="1443"/>
                </a:lnTo>
                <a:lnTo>
                  <a:pt x="1706" y="1441"/>
                </a:lnTo>
                <a:lnTo>
                  <a:pt x="1707" y="1439"/>
                </a:lnTo>
                <a:lnTo>
                  <a:pt x="1709" y="1438"/>
                </a:lnTo>
                <a:lnTo>
                  <a:pt x="1712" y="1436"/>
                </a:lnTo>
                <a:lnTo>
                  <a:pt x="1722" y="1434"/>
                </a:lnTo>
                <a:lnTo>
                  <a:pt x="1733" y="1432"/>
                </a:lnTo>
                <a:lnTo>
                  <a:pt x="1743" y="1428"/>
                </a:lnTo>
                <a:lnTo>
                  <a:pt x="1753" y="1424"/>
                </a:lnTo>
                <a:lnTo>
                  <a:pt x="1762" y="1420"/>
                </a:lnTo>
                <a:lnTo>
                  <a:pt x="1771" y="1415"/>
                </a:lnTo>
                <a:lnTo>
                  <a:pt x="1779" y="1408"/>
                </a:lnTo>
                <a:lnTo>
                  <a:pt x="1783" y="1406"/>
                </a:lnTo>
                <a:lnTo>
                  <a:pt x="1786" y="1403"/>
                </a:lnTo>
                <a:lnTo>
                  <a:pt x="1793" y="1396"/>
                </a:lnTo>
                <a:lnTo>
                  <a:pt x="1799" y="1390"/>
                </a:lnTo>
                <a:lnTo>
                  <a:pt x="1803" y="1383"/>
                </a:lnTo>
                <a:lnTo>
                  <a:pt x="1808" y="1376"/>
                </a:lnTo>
                <a:lnTo>
                  <a:pt x="1811" y="1369"/>
                </a:lnTo>
                <a:lnTo>
                  <a:pt x="1813" y="1362"/>
                </a:lnTo>
                <a:lnTo>
                  <a:pt x="1815" y="1355"/>
                </a:lnTo>
                <a:lnTo>
                  <a:pt x="1815" y="1347"/>
                </a:lnTo>
                <a:lnTo>
                  <a:pt x="1815" y="1339"/>
                </a:lnTo>
                <a:lnTo>
                  <a:pt x="1813" y="1332"/>
                </a:lnTo>
                <a:lnTo>
                  <a:pt x="1811" y="1328"/>
                </a:lnTo>
                <a:lnTo>
                  <a:pt x="1809" y="1325"/>
                </a:lnTo>
                <a:lnTo>
                  <a:pt x="1807" y="1323"/>
                </a:lnTo>
                <a:lnTo>
                  <a:pt x="1805" y="1320"/>
                </a:lnTo>
                <a:lnTo>
                  <a:pt x="1799" y="1316"/>
                </a:lnTo>
                <a:lnTo>
                  <a:pt x="1796" y="1314"/>
                </a:lnTo>
                <a:lnTo>
                  <a:pt x="1792" y="1313"/>
                </a:lnTo>
                <a:lnTo>
                  <a:pt x="1784" y="1311"/>
                </a:lnTo>
                <a:lnTo>
                  <a:pt x="1780" y="1310"/>
                </a:lnTo>
                <a:lnTo>
                  <a:pt x="1775" y="1310"/>
                </a:lnTo>
                <a:lnTo>
                  <a:pt x="1765" y="1311"/>
                </a:lnTo>
                <a:lnTo>
                  <a:pt x="1761" y="1312"/>
                </a:lnTo>
                <a:lnTo>
                  <a:pt x="1756" y="1313"/>
                </a:lnTo>
                <a:lnTo>
                  <a:pt x="1752" y="1315"/>
                </a:lnTo>
                <a:lnTo>
                  <a:pt x="1748" y="1316"/>
                </a:lnTo>
                <a:lnTo>
                  <a:pt x="1743" y="1319"/>
                </a:lnTo>
                <a:lnTo>
                  <a:pt x="1739" y="1321"/>
                </a:lnTo>
                <a:lnTo>
                  <a:pt x="1735" y="1324"/>
                </a:lnTo>
                <a:lnTo>
                  <a:pt x="1730" y="1327"/>
                </a:lnTo>
                <a:lnTo>
                  <a:pt x="1722" y="1334"/>
                </a:lnTo>
                <a:lnTo>
                  <a:pt x="1714" y="1342"/>
                </a:lnTo>
                <a:lnTo>
                  <a:pt x="1706" y="1352"/>
                </a:lnTo>
                <a:lnTo>
                  <a:pt x="1702" y="1357"/>
                </a:lnTo>
                <a:lnTo>
                  <a:pt x="1699" y="1362"/>
                </a:lnTo>
                <a:lnTo>
                  <a:pt x="1693" y="1373"/>
                </a:lnTo>
                <a:lnTo>
                  <a:pt x="1687" y="1384"/>
                </a:lnTo>
                <a:lnTo>
                  <a:pt x="1682" y="1397"/>
                </a:lnTo>
                <a:lnTo>
                  <a:pt x="1679" y="1409"/>
                </a:lnTo>
                <a:lnTo>
                  <a:pt x="1676" y="1424"/>
                </a:lnTo>
                <a:lnTo>
                  <a:pt x="1674" y="1438"/>
                </a:lnTo>
                <a:lnTo>
                  <a:pt x="1674" y="1445"/>
                </a:lnTo>
                <a:lnTo>
                  <a:pt x="1673" y="1452"/>
                </a:lnTo>
                <a:lnTo>
                  <a:pt x="1674" y="1464"/>
                </a:lnTo>
                <a:lnTo>
                  <a:pt x="1675" y="1478"/>
                </a:lnTo>
                <a:lnTo>
                  <a:pt x="1677" y="1489"/>
                </a:lnTo>
                <a:lnTo>
                  <a:pt x="1679" y="1495"/>
                </a:lnTo>
                <a:lnTo>
                  <a:pt x="1680" y="1500"/>
                </a:lnTo>
                <a:lnTo>
                  <a:pt x="1684" y="1511"/>
                </a:lnTo>
                <a:lnTo>
                  <a:pt x="1686" y="1516"/>
                </a:lnTo>
                <a:lnTo>
                  <a:pt x="1688" y="1521"/>
                </a:lnTo>
                <a:lnTo>
                  <a:pt x="1691" y="1525"/>
                </a:lnTo>
                <a:lnTo>
                  <a:pt x="1694" y="1530"/>
                </a:lnTo>
                <a:lnTo>
                  <a:pt x="1697" y="1535"/>
                </a:lnTo>
                <a:lnTo>
                  <a:pt x="1700" y="1539"/>
                </a:lnTo>
                <a:lnTo>
                  <a:pt x="1703" y="1543"/>
                </a:lnTo>
                <a:lnTo>
                  <a:pt x="1706" y="1546"/>
                </a:lnTo>
                <a:lnTo>
                  <a:pt x="1714" y="1553"/>
                </a:lnTo>
                <a:lnTo>
                  <a:pt x="1722" y="1559"/>
                </a:lnTo>
                <a:lnTo>
                  <a:pt x="1731" y="1563"/>
                </a:lnTo>
                <a:lnTo>
                  <a:pt x="1740" y="1567"/>
                </a:lnTo>
                <a:lnTo>
                  <a:pt x="1749" y="1570"/>
                </a:lnTo>
                <a:lnTo>
                  <a:pt x="1760" y="1572"/>
                </a:lnTo>
                <a:lnTo>
                  <a:pt x="1765" y="1572"/>
                </a:lnTo>
                <a:lnTo>
                  <a:pt x="1771" y="1572"/>
                </a:lnTo>
                <a:lnTo>
                  <a:pt x="1782" y="1572"/>
                </a:lnTo>
                <a:lnTo>
                  <a:pt x="1792" y="1570"/>
                </a:lnTo>
                <a:lnTo>
                  <a:pt x="1802" y="1568"/>
                </a:lnTo>
                <a:lnTo>
                  <a:pt x="1811" y="1564"/>
                </a:lnTo>
                <a:lnTo>
                  <a:pt x="1821" y="1560"/>
                </a:lnTo>
                <a:lnTo>
                  <a:pt x="1831" y="1555"/>
                </a:lnTo>
                <a:lnTo>
                  <a:pt x="1839" y="1549"/>
                </a:lnTo>
                <a:lnTo>
                  <a:pt x="1848" y="1543"/>
                </a:lnTo>
                <a:lnTo>
                  <a:pt x="1856" y="1536"/>
                </a:lnTo>
                <a:lnTo>
                  <a:pt x="1863" y="1527"/>
                </a:lnTo>
                <a:lnTo>
                  <a:pt x="1871" y="1518"/>
                </a:lnTo>
                <a:lnTo>
                  <a:pt x="1877" y="1509"/>
                </a:lnTo>
                <a:lnTo>
                  <a:pt x="1891" y="1490"/>
                </a:lnTo>
                <a:lnTo>
                  <a:pt x="1897" y="1479"/>
                </a:lnTo>
                <a:lnTo>
                  <a:pt x="1903" y="1468"/>
                </a:lnTo>
                <a:lnTo>
                  <a:pt x="1908" y="1457"/>
                </a:lnTo>
                <a:lnTo>
                  <a:pt x="1913" y="1445"/>
                </a:lnTo>
                <a:lnTo>
                  <a:pt x="1917" y="1434"/>
                </a:lnTo>
                <a:lnTo>
                  <a:pt x="1922" y="1422"/>
                </a:lnTo>
                <a:lnTo>
                  <a:pt x="1925" y="1409"/>
                </a:lnTo>
                <a:lnTo>
                  <a:pt x="1929" y="1397"/>
                </a:lnTo>
                <a:lnTo>
                  <a:pt x="1932" y="1385"/>
                </a:lnTo>
                <a:lnTo>
                  <a:pt x="1934" y="1373"/>
                </a:lnTo>
                <a:lnTo>
                  <a:pt x="1937" y="1361"/>
                </a:lnTo>
                <a:lnTo>
                  <a:pt x="1938" y="1348"/>
                </a:lnTo>
                <a:lnTo>
                  <a:pt x="1940" y="1337"/>
                </a:lnTo>
                <a:lnTo>
                  <a:pt x="1941" y="1325"/>
                </a:lnTo>
                <a:lnTo>
                  <a:pt x="1942" y="1314"/>
                </a:lnTo>
                <a:lnTo>
                  <a:pt x="1942" y="1303"/>
                </a:lnTo>
                <a:lnTo>
                  <a:pt x="1942" y="1292"/>
                </a:lnTo>
                <a:lnTo>
                  <a:pt x="1941" y="1280"/>
                </a:lnTo>
                <a:lnTo>
                  <a:pt x="1942" y="1278"/>
                </a:lnTo>
                <a:lnTo>
                  <a:pt x="1944" y="1276"/>
                </a:lnTo>
                <a:lnTo>
                  <a:pt x="1946" y="1274"/>
                </a:lnTo>
                <a:lnTo>
                  <a:pt x="1949" y="1272"/>
                </a:lnTo>
                <a:lnTo>
                  <a:pt x="1957" y="1269"/>
                </a:lnTo>
                <a:lnTo>
                  <a:pt x="1960" y="1269"/>
                </a:lnTo>
                <a:lnTo>
                  <a:pt x="1965" y="1268"/>
                </a:lnTo>
                <a:lnTo>
                  <a:pt x="1972" y="1269"/>
                </a:lnTo>
                <a:lnTo>
                  <a:pt x="1975" y="1269"/>
                </a:lnTo>
                <a:lnTo>
                  <a:pt x="1978" y="1270"/>
                </a:lnTo>
                <a:lnTo>
                  <a:pt x="1984" y="1273"/>
                </a:lnTo>
                <a:lnTo>
                  <a:pt x="1987" y="1275"/>
                </a:lnTo>
                <a:lnTo>
                  <a:pt x="1989" y="1277"/>
                </a:lnTo>
                <a:lnTo>
                  <a:pt x="1993" y="1283"/>
                </a:lnTo>
                <a:lnTo>
                  <a:pt x="1995" y="1287"/>
                </a:lnTo>
                <a:lnTo>
                  <a:pt x="1996" y="1292"/>
                </a:lnTo>
                <a:lnTo>
                  <a:pt x="1997" y="1296"/>
                </a:lnTo>
                <a:lnTo>
                  <a:pt x="1998" y="1301"/>
                </a:lnTo>
                <a:lnTo>
                  <a:pt x="1998" y="1306"/>
                </a:lnTo>
                <a:lnTo>
                  <a:pt x="1999" y="1312"/>
                </a:lnTo>
                <a:lnTo>
                  <a:pt x="1998" y="1328"/>
                </a:lnTo>
                <a:lnTo>
                  <a:pt x="1997" y="1343"/>
                </a:lnTo>
                <a:lnTo>
                  <a:pt x="1995" y="1359"/>
                </a:lnTo>
                <a:lnTo>
                  <a:pt x="1993" y="1374"/>
                </a:lnTo>
                <a:lnTo>
                  <a:pt x="1991" y="1389"/>
                </a:lnTo>
                <a:lnTo>
                  <a:pt x="1988" y="1404"/>
                </a:lnTo>
                <a:lnTo>
                  <a:pt x="1984" y="1419"/>
                </a:lnTo>
                <a:lnTo>
                  <a:pt x="1981" y="1434"/>
                </a:lnTo>
                <a:lnTo>
                  <a:pt x="1976" y="1447"/>
                </a:lnTo>
                <a:lnTo>
                  <a:pt x="1971" y="1461"/>
                </a:lnTo>
                <a:lnTo>
                  <a:pt x="1966" y="1475"/>
                </a:lnTo>
                <a:lnTo>
                  <a:pt x="1960" y="1488"/>
                </a:lnTo>
                <a:lnTo>
                  <a:pt x="1954" y="1500"/>
                </a:lnTo>
                <a:lnTo>
                  <a:pt x="1947" y="1512"/>
                </a:lnTo>
                <a:lnTo>
                  <a:pt x="1940" y="1524"/>
                </a:lnTo>
                <a:lnTo>
                  <a:pt x="1933" y="1536"/>
                </a:lnTo>
                <a:lnTo>
                  <a:pt x="1925" y="1547"/>
                </a:lnTo>
                <a:lnTo>
                  <a:pt x="1917" y="1557"/>
                </a:lnTo>
                <a:lnTo>
                  <a:pt x="1909" y="1567"/>
                </a:lnTo>
                <a:lnTo>
                  <a:pt x="1900" y="1576"/>
                </a:lnTo>
                <a:lnTo>
                  <a:pt x="1891" y="1584"/>
                </a:lnTo>
                <a:lnTo>
                  <a:pt x="1880" y="1593"/>
                </a:lnTo>
                <a:lnTo>
                  <a:pt x="1871" y="1600"/>
                </a:lnTo>
                <a:lnTo>
                  <a:pt x="1861" y="1607"/>
                </a:lnTo>
                <a:lnTo>
                  <a:pt x="1850" y="1613"/>
                </a:lnTo>
                <a:lnTo>
                  <a:pt x="1840" y="1618"/>
                </a:lnTo>
                <a:lnTo>
                  <a:pt x="1828" y="1622"/>
                </a:lnTo>
                <a:lnTo>
                  <a:pt x="1817" y="1626"/>
                </a:lnTo>
                <a:lnTo>
                  <a:pt x="1805" y="1629"/>
                </a:lnTo>
                <a:lnTo>
                  <a:pt x="1793" y="1631"/>
                </a:lnTo>
                <a:lnTo>
                  <a:pt x="1782" y="1632"/>
                </a:lnTo>
                <a:lnTo>
                  <a:pt x="1768" y="1633"/>
                </a:lnTo>
                <a:close/>
                <a:moveTo>
                  <a:pt x="2156" y="1627"/>
                </a:moveTo>
                <a:lnTo>
                  <a:pt x="2154" y="1627"/>
                </a:lnTo>
                <a:lnTo>
                  <a:pt x="2152" y="1626"/>
                </a:lnTo>
                <a:lnTo>
                  <a:pt x="2147" y="1623"/>
                </a:lnTo>
                <a:lnTo>
                  <a:pt x="2140" y="1619"/>
                </a:lnTo>
                <a:lnTo>
                  <a:pt x="2133" y="1613"/>
                </a:lnTo>
                <a:lnTo>
                  <a:pt x="2119" y="1603"/>
                </a:lnTo>
                <a:lnTo>
                  <a:pt x="2104" y="1588"/>
                </a:lnTo>
                <a:lnTo>
                  <a:pt x="2088" y="1572"/>
                </a:lnTo>
                <a:lnTo>
                  <a:pt x="2071" y="1555"/>
                </a:lnTo>
                <a:lnTo>
                  <a:pt x="2055" y="1538"/>
                </a:lnTo>
                <a:lnTo>
                  <a:pt x="2040" y="1521"/>
                </a:lnTo>
                <a:lnTo>
                  <a:pt x="2029" y="1506"/>
                </a:lnTo>
                <a:lnTo>
                  <a:pt x="2025" y="1500"/>
                </a:lnTo>
                <a:lnTo>
                  <a:pt x="2021" y="1495"/>
                </a:lnTo>
                <a:lnTo>
                  <a:pt x="2016" y="1485"/>
                </a:lnTo>
                <a:lnTo>
                  <a:pt x="2012" y="1475"/>
                </a:lnTo>
                <a:lnTo>
                  <a:pt x="2009" y="1464"/>
                </a:lnTo>
                <a:lnTo>
                  <a:pt x="2008" y="1454"/>
                </a:lnTo>
                <a:lnTo>
                  <a:pt x="2008" y="1449"/>
                </a:lnTo>
                <a:lnTo>
                  <a:pt x="2009" y="1443"/>
                </a:lnTo>
                <a:lnTo>
                  <a:pt x="2012" y="1437"/>
                </a:lnTo>
                <a:lnTo>
                  <a:pt x="2014" y="1431"/>
                </a:lnTo>
                <a:lnTo>
                  <a:pt x="2016" y="1425"/>
                </a:lnTo>
                <a:lnTo>
                  <a:pt x="2019" y="1419"/>
                </a:lnTo>
                <a:lnTo>
                  <a:pt x="2023" y="1412"/>
                </a:lnTo>
                <a:lnTo>
                  <a:pt x="2028" y="1404"/>
                </a:lnTo>
                <a:lnTo>
                  <a:pt x="2036" y="1393"/>
                </a:lnTo>
                <a:lnTo>
                  <a:pt x="2047" y="1380"/>
                </a:lnTo>
                <a:lnTo>
                  <a:pt x="2078" y="1345"/>
                </a:lnTo>
                <a:lnTo>
                  <a:pt x="2112" y="1306"/>
                </a:lnTo>
                <a:lnTo>
                  <a:pt x="2148" y="1264"/>
                </a:lnTo>
                <a:lnTo>
                  <a:pt x="2150" y="1264"/>
                </a:lnTo>
                <a:lnTo>
                  <a:pt x="2153" y="1264"/>
                </a:lnTo>
                <a:lnTo>
                  <a:pt x="2157" y="1264"/>
                </a:lnTo>
                <a:lnTo>
                  <a:pt x="2161" y="1265"/>
                </a:lnTo>
                <a:lnTo>
                  <a:pt x="2165" y="1267"/>
                </a:lnTo>
                <a:lnTo>
                  <a:pt x="2169" y="1270"/>
                </a:lnTo>
                <a:lnTo>
                  <a:pt x="2173" y="1273"/>
                </a:lnTo>
                <a:lnTo>
                  <a:pt x="2177" y="1276"/>
                </a:lnTo>
                <a:lnTo>
                  <a:pt x="2181" y="1281"/>
                </a:lnTo>
                <a:lnTo>
                  <a:pt x="2184" y="1286"/>
                </a:lnTo>
                <a:lnTo>
                  <a:pt x="2185" y="1290"/>
                </a:lnTo>
                <a:lnTo>
                  <a:pt x="2186" y="1296"/>
                </a:lnTo>
                <a:lnTo>
                  <a:pt x="2185" y="1301"/>
                </a:lnTo>
                <a:lnTo>
                  <a:pt x="2183" y="1307"/>
                </a:lnTo>
                <a:lnTo>
                  <a:pt x="2180" y="1312"/>
                </a:lnTo>
                <a:lnTo>
                  <a:pt x="2177" y="1318"/>
                </a:lnTo>
                <a:lnTo>
                  <a:pt x="2168" y="1329"/>
                </a:lnTo>
                <a:lnTo>
                  <a:pt x="2157" y="1342"/>
                </a:lnTo>
                <a:lnTo>
                  <a:pt x="2127" y="1376"/>
                </a:lnTo>
                <a:lnTo>
                  <a:pt x="2097" y="1409"/>
                </a:lnTo>
                <a:lnTo>
                  <a:pt x="2085" y="1425"/>
                </a:lnTo>
                <a:lnTo>
                  <a:pt x="2076" y="1436"/>
                </a:lnTo>
                <a:lnTo>
                  <a:pt x="2073" y="1440"/>
                </a:lnTo>
                <a:lnTo>
                  <a:pt x="2072" y="1444"/>
                </a:lnTo>
                <a:lnTo>
                  <a:pt x="2071" y="1447"/>
                </a:lnTo>
                <a:lnTo>
                  <a:pt x="2069" y="1451"/>
                </a:lnTo>
                <a:lnTo>
                  <a:pt x="2071" y="1455"/>
                </a:lnTo>
                <a:lnTo>
                  <a:pt x="2072" y="1460"/>
                </a:lnTo>
                <a:lnTo>
                  <a:pt x="2074" y="1464"/>
                </a:lnTo>
                <a:lnTo>
                  <a:pt x="2077" y="1469"/>
                </a:lnTo>
                <a:lnTo>
                  <a:pt x="2084" y="1479"/>
                </a:lnTo>
                <a:lnTo>
                  <a:pt x="2095" y="1491"/>
                </a:lnTo>
                <a:lnTo>
                  <a:pt x="2122" y="1520"/>
                </a:lnTo>
                <a:lnTo>
                  <a:pt x="2155" y="1553"/>
                </a:lnTo>
                <a:lnTo>
                  <a:pt x="2186" y="1583"/>
                </a:lnTo>
                <a:lnTo>
                  <a:pt x="2188" y="1585"/>
                </a:lnTo>
                <a:lnTo>
                  <a:pt x="2189" y="1587"/>
                </a:lnTo>
                <a:lnTo>
                  <a:pt x="2191" y="1589"/>
                </a:lnTo>
                <a:lnTo>
                  <a:pt x="2192" y="1593"/>
                </a:lnTo>
                <a:lnTo>
                  <a:pt x="2191" y="1599"/>
                </a:lnTo>
                <a:lnTo>
                  <a:pt x="2189" y="1601"/>
                </a:lnTo>
                <a:lnTo>
                  <a:pt x="2187" y="1604"/>
                </a:lnTo>
                <a:lnTo>
                  <a:pt x="2184" y="1610"/>
                </a:lnTo>
                <a:lnTo>
                  <a:pt x="2182" y="1613"/>
                </a:lnTo>
                <a:lnTo>
                  <a:pt x="2179" y="1615"/>
                </a:lnTo>
                <a:lnTo>
                  <a:pt x="2174" y="1620"/>
                </a:lnTo>
                <a:lnTo>
                  <a:pt x="2171" y="1622"/>
                </a:lnTo>
                <a:lnTo>
                  <a:pt x="2168" y="1624"/>
                </a:lnTo>
                <a:lnTo>
                  <a:pt x="2162" y="1626"/>
                </a:lnTo>
                <a:lnTo>
                  <a:pt x="2159" y="1627"/>
                </a:lnTo>
                <a:lnTo>
                  <a:pt x="2156" y="1627"/>
                </a:lnTo>
                <a:close/>
                <a:moveTo>
                  <a:pt x="1768" y="2627"/>
                </a:moveTo>
                <a:lnTo>
                  <a:pt x="1761" y="2627"/>
                </a:lnTo>
                <a:lnTo>
                  <a:pt x="1753" y="2626"/>
                </a:lnTo>
                <a:lnTo>
                  <a:pt x="1746" y="2625"/>
                </a:lnTo>
                <a:lnTo>
                  <a:pt x="1738" y="2623"/>
                </a:lnTo>
                <a:lnTo>
                  <a:pt x="1731" y="2621"/>
                </a:lnTo>
                <a:lnTo>
                  <a:pt x="1724" y="2619"/>
                </a:lnTo>
                <a:lnTo>
                  <a:pt x="1709" y="2613"/>
                </a:lnTo>
                <a:lnTo>
                  <a:pt x="1696" y="2605"/>
                </a:lnTo>
                <a:lnTo>
                  <a:pt x="1690" y="2601"/>
                </a:lnTo>
                <a:lnTo>
                  <a:pt x="1684" y="2596"/>
                </a:lnTo>
                <a:lnTo>
                  <a:pt x="1678" y="2591"/>
                </a:lnTo>
                <a:lnTo>
                  <a:pt x="1672" y="2586"/>
                </a:lnTo>
                <a:lnTo>
                  <a:pt x="1667" y="2581"/>
                </a:lnTo>
                <a:lnTo>
                  <a:pt x="1662" y="2575"/>
                </a:lnTo>
                <a:lnTo>
                  <a:pt x="1657" y="2569"/>
                </a:lnTo>
                <a:lnTo>
                  <a:pt x="1652" y="2563"/>
                </a:lnTo>
                <a:lnTo>
                  <a:pt x="1647" y="2556"/>
                </a:lnTo>
                <a:lnTo>
                  <a:pt x="1642" y="2548"/>
                </a:lnTo>
                <a:lnTo>
                  <a:pt x="1639" y="2541"/>
                </a:lnTo>
                <a:lnTo>
                  <a:pt x="1635" y="2534"/>
                </a:lnTo>
                <a:lnTo>
                  <a:pt x="1632" y="2526"/>
                </a:lnTo>
                <a:lnTo>
                  <a:pt x="1629" y="2518"/>
                </a:lnTo>
                <a:lnTo>
                  <a:pt x="1626" y="2510"/>
                </a:lnTo>
                <a:lnTo>
                  <a:pt x="1624" y="2502"/>
                </a:lnTo>
                <a:lnTo>
                  <a:pt x="1622" y="2494"/>
                </a:lnTo>
                <a:lnTo>
                  <a:pt x="1620" y="2484"/>
                </a:lnTo>
                <a:lnTo>
                  <a:pt x="1619" y="2475"/>
                </a:lnTo>
                <a:lnTo>
                  <a:pt x="1618" y="2467"/>
                </a:lnTo>
                <a:lnTo>
                  <a:pt x="1617" y="2458"/>
                </a:lnTo>
                <a:lnTo>
                  <a:pt x="1617" y="2448"/>
                </a:lnTo>
                <a:lnTo>
                  <a:pt x="1618" y="2429"/>
                </a:lnTo>
                <a:lnTo>
                  <a:pt x="1619" y="2420"/>
                </a:lnTo>
                <a:lnTo>
                  <a:pt x="1620" y="2410"/>
                </a:lnTo>
                <a:lnTo>
                  <a:pt x="1622" y="2401"/>
                </a:lnTo>
                <a:lnTo>
                  <a:pt x="1624" y="2393"/>
                </a:lnTo>
                <a:lnTo>
                  <a:pt x="1626" y="2384"/>
                </a:lnTo>
                <a:lnTo>
                  <a:pt x="1629" y="2375"/>
                </a:lnTo>
                <a:lnTo>
                  <a:pt x="1632" y="2366"/>
                </a:lnTo>
                <a:lnTo>
                  <a:pt x="1636" y="2358"/>
                </a:lnTo>
                <a:lnTo>
                  <a:pt x="1640" y="2350"/>
                </a:lnTo>
                <a:lnTo>
                  <a:pt x="1644" y="2342"/>
                </a:lnTo>
                <a:lnTo>
                  <a:pt x="1648" y="2334"/>
                </a:lnTo>
                <a:lnTo>
                  <a:pt x="1654" y="2327"/>
                </a:lnTo>
                <a:lnTo>
                  <a:pt x="1664" y="2313"/>
                </a:lnTo>
                <a:lnTo>
                  <a:pt x="1670" y="2305"/>
                </a:lnTo>
                <a:lnTo>
                  <a:pt x="1675" y="2299"/>
                </a:lnTo>
                <a:lnTo>
                  <a:pt x="1688" y="2288"/>
                </a:lnTo>
                <a:lnTo>
                  <a:pt x="1694" y="2283"/>
                </a:lnTo>
                <a:lnTo>
                  <a:pt x="1701" y="2278"/>
                </a:lnTo>
                <a:lnTo>
                  <a:pt x="1708" y="2274"/>
                </a:lnTo>
                <a:lnTo>
                  <a:pt x="1716" y="2269"/>
                </a:lnTo>
                <a:lnTo>
                  <a:pt x="1723" y="2266"/>
                </a:lnTo>
                <a:lnTo>
                  <a:pt x="1730" y="2263"/>
                </a:lnTo>
                <a:lnTo>
                  <a:pt x="1738" y="2260"/>
                </a:lnTo>
                <a:lnTo>
                  <a:pt x="1746" y="2258"/>
                </a:lnTo>
                <a:lnTo>
                  <a:pt x="1754" y="2256"/>
                </a:lnTo>
                <a:lnTo>
                  <a:pt x="1762" y="2255"/>
                </a:lnTo>
                <a:lnTo>
                  <a:pt x="1771" y="2254"/>
                </a:lnTo>
                <a:lnTo>
                  <a:pt x="1779" y="2254"/>
                </a:lnTo>
                <a:lnTo>
                  <a:pt x="1789" y="2254"/>
                </a:lnTo>
                <a:lnTo>
                  <a:pt x="1794" y="2255"/>
                </a:lnTo>
                <a:lnTo>
                  <a:pt x="1799" y="2255"/>
                </a:lnTo>
                <a:lnTo>
                  <a:pt x="1803" y="2256"/>
                </a:lnTo>
                <a:lnTo>
                  <a:pt x="1808" y="2258"/>
                </a:lnTo>
                <a:lnTo>
                  <a:pt x="1816" y="2261"/>
                </a:lnTo>
                <a:lnTo>
                  <a:pt x="1824" y="2265"/>
                </a:lnTo>
                <a:lnTo>
                  <a:pt x="1832" y="2269"/>
                </a:lnTo>
                <a:lnTo>
                  <a:pt x="1839" y="2275"/>
                </a:lnTo>
                <a:lnTo>
                  <a:pt x="1845" y="2281"/>
                </a:lnTo>
                <a:lnTo>
                  <a:pt x="1848" y="2284"/>
                </a:lnTo>
                <a:lnTo>
                  <a:pt x="1851" y="2287"/>
                </a:lnTo>
                <a:lnTo>
                  <a:pt x="1855" y="2295"/>
                </a:lnTo>
                <a:lnTo>
                  <a:pt x="1859" y="2302"/>
                </a:lnTo>
                <a:lnTo>
                  <a:pt x="1863" y="2312"/>
                </a:lnTo>
                <a:lnTo>
                  <a:pt x="1865" y="2320"/>
                </a:lnTo>
                <a:lnTo>
                  <a:pt x="1867" y="2329"/>
                </a:lnTo>
                <a:lnTo>
                  <a:pt x="1868" y="2339"/>
                </a:lnTo>
                <a:lnTo>
                  <a:pt x="1869" y="2349"/>
                </a:lnTo>
                <a:lnTo>
                  <a:pt x="1868" y="2361"/>
                </a:lnTo>
                <a:lnTo>
                  <a:pt x="1867" y="2368"/>
                </a:lnTo>
                <a:lnTo>
                  <a:pt x="1866" y="2375"/>
                </a:lnTo>
                <a:lnTo>
                  <a:pt x="1862" y="2387"/>
                </a:lnTo>
                <a:lnTo>
                  <a:pt x="1857" y="2398"/>
                </a:lnTo>
                <a:lnTo>
                  <a:pt x="1851" y="2409"/>
                </a:lnTo>
                <a:lnTo>
                  <a:pt x="1843" y="2420"/>
                </a:lnTo>
                <a:lnTo>
                  <a:pt x="1839" y="2425"/>
                </a:lnTo>
                <a:lnTo>
                  <a:pt x="1835" y="2430"/>
                </a:lnTo>
                <a:lnTo>
                  <a:pt x="1825" y="2440"/>
                </a:lnTo>
                <a:lnTo>
                  <a:pt x="1815" y="2449"/>
                </a:lnTo>
                <a:lnTo>
                  <a:pt x="1810" y="2452"/>
                </a:lnTo>
                <a:lnTo>
                  <a:pt x="1804" y="2456"/>
                </a:lnTo>
                <a:lnTo>
                  <a:pt x="1793" y="2463"/>
                </a:lnTo>
                <a:lnTo>
                  <a:pt x="1781" y="2468"/>
                </a:lnTo>
                <a:lnTo>
                  <a:pt x="1768" y="2473"/>
                </a:lnTo>
                <a:lnTo>
                  <a:pt x="1762" y="2475"/>
                </a:lnTo>
                <a:lnTo>
                  <a:pt x="1756" y="2476"/>
                </a:lnTo>
                <a:lnTo>
                  <a:pt x="1750" y="2478"/>
                </a:lnTo>
                <a:lnTo>
                  <a:pt x="1743" y="2478"/>
                </a:lnTo>
                <a:lnTo>
                  <a:pt x="1731" y="2479"/>
                </a:lnTo>
                <a:lnTo>
                  <a:pt x="1725" y="2478"/>
                </a:lnTo>
                <a:lnTo>
                  <a:pt x="1720" y="2477"/>
                </a:lnTo>
                <a:lnTo>
                  <a:pt x="1716" y="2474"/>
                </a:lnTo>
                <a:lnTo>
                  <a:pt x="1714" y="2472"/>
                </a:lnTo>
                <a:lnTo>
                  <a:pt x="1712" y="2470"/>
                </a:lnTo>
                <a:lnTo>
                  <a:pt x="1708" y="2465"/>
                </a:lnTo>
                <a:lnTo>
                  <a:pt x="1706" y="2460"/>
                </a:lnTo>
                <a:lnTo>
                  <a:pt x="1705" y="2457"/>
                </a:lnTo>
                <a:lnTo>
                  <a:pt x="1704" y="2454"/>
                </a:lnTo>
                <a:lnTo>
                  <a:pt x="1704" y="2448"/>
                </a:lnTo>
                <a:lnTo>
                  <a:pt x="1704" y="2445"/>
                </a:lnTo>
                <a:lnTo>
                  <a:pt x="1704" y="2442"/>
                </a:lnTo>
                <a:lnTo>
                  <a:pt x="1705" y="2437"/>
                </a:lnTo>
                <a:lnTo>
                  <a:pt x="1706" y="2435"/>
                </a:lnTo>
                <a:lnTo>
                  <a:pt x="1707" y="2433"/>
                </a:lnTo>
                <a:lnTo>
                  <a:pt x="1709" y="2432"/>
                </a:lnTo>
                <a:lnTo>
                  <a:pt x="1712" y="2430"/>
                </a:lnTo>
                <a:lnTo>
                  <a:pt x="1722" y="2428"/>
                </a:lnTo>
                <a:lnTo>
                  <a:pt x="1733" y="2425"/>
                </a:lnTo>
                <a:lnTo>
                  <a:pt x="1743" y="2422"/>
                </a:lnTo>
                <a:lnTo>
                  <a:pt x="1753" y="2418"/>
                </a:lnTo>
                <a:lnTo>
                  <a:pt x="1762" y="2413"/>
                </a:lnTo>
                <a:lnTo>
                  <a:pt x="1771" y="2408"/>
                </a:lnTo>
                <a:lnTo>
                  <a:pt x="1779" y="2403"/>
                </a:lnTo>
                <a:lnTo>
                  <a:pt x="1783" y="2400"/>
                </a:lnTo>
                <a:lnTo>
                  <a:pt x="1786" y="2397"/>
                </a:lnTo>
                <a:lnTo>
                  <a:pt x="1793" y="2390"/>
                </a:lnTo>
                <a:lnTo>
                  <a:pt x="1799" y="2384"/>
                </a:lnTo>
                <a:lnTo>
                  <a:pt x="1803" y="2377"/>
                </a:lnTo>
                <a:lnTo>
                  <a:pt x="1808" y="2369"/>
                </a:lnTo>
                <a:lnTo>
                  <a:pt x="1811" y="2362"/>
                </a:lnTo>
                <a:lnTo>
                  <a:pt x="1813" y="2355"/>
                </a:lnTo>
                <a:lnTo>
                  <a:pt x="1815" y="2348"/>
                </a:lnTo>
                <a:lnTo>
                  <a:pt x="1815" y="2341"/>
                </a:lnTo>
                <a:lnTo>
                  <a:pt x="1815" y="2333"/>
                </a:lnTo>
                <a:lnTo>
                  <a:pt x="1813" y="2326"/>
                </a:lnTo>
                <a:lnTo>
                  <a:pt x="1811" y="2323"/>
                </a:lnTo>
                <a:lnTo>
                  <a:pt x="1809" y="2319"/>
                </a:lnTo>
                <a:lnTo>
                  <a:pt x="1807" y="2317"/>
                </a:lnTo>
                <a:lnTo>
                  <a:pt x="1805" y="2314"/>
                </a:lnTo>
                <a:lnTo>
                  <a:pt x="1799" y="2309"/>
                </a:lnTo>
                <a:lnTo>
                  <a:pt x="1796" y="2307"/>
                </a:lnTo>
                <a:lnTo>
                  <a:pt x="1792" y="2306"/>
                </a:lnTo>
                <a:lnTo>
                  <a:pt x="1784" y="2304"/>
                </a:lnTo>
                <a:lnTo>
                  <a:pt x="1780" y="2303"/>
                </a:lnTo>
                <a:lnTo>
                  <a:pt x="1775" y="2303"/>
                </a:lnTo>
                <a:lnTo>
                  <a:pt x="1765" y="2304"/>
                </a:lnTo>
                <a:lnTo>
                  <a:pt x="1761" y="2305"/>
                </a:lnTo>
                <a:lnTo>
                  <a:pt x="1756" y="2306"/>
                </a:lnTo>
                <a:lnTo>
                  <a:pt x="1752" y="2308"/>
                </a:lnTo>
                <a:lnTo>
                  <a:pt x="1748" y="2310"/>
                </a:lnTo>
                <a:lnTo>
                  <a:pt x="1743" y="2313"/>
                </a:lnTo>
                <a:lnTo>
                  <a:pt x="1739" y="2315"/>
                </a:lnTo>
                <a:lnTo>
                  <a:pt x="1735" y="2318"/>
                </a:lnTo>
                <a:lnTo>
                  <a:pt x="1730" y="2321"/>
                </a:lnTo>
                <a:lnTo>
                  <a:pt x="1722" y="2328"/>
                </a:lnTo>
                <a:lnTo>
                  <a:pt x="1714" y="2336"/>
                </a:lnTo>
                <a:lnTo>
                  <a:pt x="1706" y="2345"/>
                </a:lnTo>
                <a:lnTo>
                  <a:pt x="1702" y="2350"/>
                </a:lnTo>
                <a:lnTo>
                  <a:pt x="1699" y="2355"/>
                </a:lnTo>
                <a:lnTo>
                  <a:pt x="1693" y="2366"/>
                </a:lnTo>
                <a:lnTo>
                  <a:pt x="1687" y="2379"/>
                </a:lnTo>
                <a:lnTo>
                  <a:pt x="1682" y="2391"/>
                </a:lnTo>
                <a:lnTo>
                  <a:pt x="1679" y="2404"/>
                </a:lnTo>
                <a:lnTo>
                  <a:pt x="1676" y="2417"/>
                </a:lnTo>
                <a:lnTo>
                  <a:pt x="1674" y="2432"/>
                </a:lnTo>
                <a:lnTo>
                  <a:pt x="1674" y="2439"/>
                </a:lnTo>
                <a:lnTo>
                  <a:pt x="1673" y="2446"/>
                </a:lnTo>
                <a:lnTo>
                  <a:pt x="1674" y="2459"/>
                </a:lnTo>
                <a:lnTo>
                  <a:pt x="1675" y="2471"/>
                </a:lnTo>
                <a:lnTo>
                  <a:pt x="1677" y="2482"/>
                </a:lnTo>
                <a:lnTo>
                  <a:pt x="1679" y="2488"/>
                </a:lnTo>
                <a:lnTo>
                  <a:pt x="1680" y="2494"/>
                </a:lnTo>
                <a:lnTo>
                  <a:pt x="1684" y="2505"/>
                </a:lnTo>
                <a:lnTo>
                  <a:pt x="1686" y="2510"/>
                </a:lnTo>
                <a:lnTo>
                  <a:pt x="1688" y="2515"/>
                </a:lnTo>
                <a:lnTo>
                  <a:pt x="1691" y="2519"/>
                </a:lnTo>
                <a:lnTo>
                  <a:pt x="1694" y="2524"/>
                </a:lnTo>
                <a:lnTo>
                  <a:pt x="1697" y="2528"/>
                </a:lnTo>
                <a:lnTo>
                  <a:pt x="1700" y="2532"/>
                </a:lnTo>
                <a:lnTo>
                  <a:pt x="1703" y="2536"/>
                </a:lnTo>
                <a:lnTo>
                  <a:pt x="1706" y="2540"/>
                </a:lnTo>
                <a:lnTo>
                  <a:pt x="1714" y="2546"/>
                </a:lnTo>
                <a:lnTo>
                  <a:pt x="1722" y="2553"/>
                </a:lnTo>
                <a:lnTo>
                  <a:pt x="1731" y="2558"/>
                </a:lnTo>
                <a:lnTo>
                  <a:pt x="1740" y="2561"/>
                </a:lnTo>
                <a:lnTo>
                  <a:pt x="1749" y="2564"/>
                </a:lnTo>
                <a:lnTo>
                  <a:pt x="1760" y="2566"/>
                </a:lnTo>
                <a:lnTo>
                  <a:pt x="1765" y="2566"/>
                </a:lnTo>
                <a:lnTo>
                  <a:pt x="1771" y="2567"/>
                </a:lnTo>
                <a:lnTo>
                  <a:pt x="1782" y="2566"/>
                </a:lnTo>
                <a:lnTo>
                  <a:pt x="1792" y="2564"/>
                </a:lnTo>
                <a:lnTo>
                  <a:pt x="1802" y="2562"/>
                </a:lnTo>
                <a:lnTo>
                  <a:pt x="1811" y="2559"/>
                </a:lnTo>
                <a:lnTo>
                  <a:pt x="1821" y="2554"/>
                </a:lnTo>
                <a:lnTo>
                  <a:pt x="1831" y="2548"/>
                </a:lnTo>
                <a:lnTo>
                  <a:pt x="1839" y="2543"/>
                </a:lnTo>
                <a:lnTo>
                  <a:pt x="1848" y="2536"/>
                </a:lnTo>
                <a:lnTo>
                  <a:pt x="1856" y="2529"/>
                </a:lnTo>
                <a:lnTo>
                  <a:pt x="1863" y="2521"/>
                </a:lnTo>
                <a:lnTo>
                  <a:pt x="1871" y="2512"/>
                </a:lnTo>
                <a:lnTo>
                  <a:pt x="1877" y="2503"/>
                </a:lnTo>
                <a:lnTo>
                  <a:pt x="1891" y="2483"/>
                </a:lnTo>
                <a:lnTo>
                  <a:pt x="1897" y="2473"/>
                </a:lnTo>
                <a:lnTo>
                  <a:pt x="1903" y="2462"/>
                </a:lnTo>
                <a:lnTo>
                  <a:pt x="1908" y="2451"/>
                </a:lnTo>
                <a:lnTo>
                  <a:pt x="1913" y="2440"/>
                </a:lnTo>
                <a:lnTo>
                  <a:pt x="1917" y="2427"/>
                </a:lnTo>
                <a:lnTo>
                  <a:pt x="1922" y="2415"/>
                </a:lnTo>
                <a:lnTo>
                  <a:pt x="1925" y="2403"/>
                </a:lnTo>
                <a:lnTo>
                  <a:pt x="1929" y="2391"/>
                </a:lnTo>
                <a:lnTo>
                  <a:pt x="1932" y="2379"/>
                </a:lnTo>
                <a:lnTo>
                  <a:pt x="1934" y="2366"/>
                </a:lnTo>
                <a:lnTo>
                  <a:pt x="1937" y="2354"/>
                </a:lnTo>
                <a:lnTo>
                  <a:pt x="1938" y="2343"/>
                </a:lnTo>
                <a:lnTo>
                  <a:pt x="1940" y="2331"/>
                </a:lnTo>
                <a:lnTo>
                  <a:pt x="1941" y="2319"/>
                </a:lnTo>
                <a:lnTo>
                  <a:pt x="1942" y="2307"/>
                </a:lnTo>
                <a:lnTo>
                  <a:pt x="1942" y="2296"/>
                </a:lnTo>
                <a:lnTo>
                  <a:pt x="1942" y="2285"/>
                </a:lnTo>
                <a:lnTo>
                  <a:pt x="1941" y="2275"/>
                </a:lnTo>
                <a:lnTo>
                  <a:pt x="1942" y="2272"/>
                </a:lnTo>
                <a:lnTo>
                  <a:pt x="1944" y="2270"/>
                </a:lnTo>
                <a:lnTo>
                  <a:pt x="1946" y="2268"/>
                </a:lnTo>
                <a:lnTo>
                  <a:pt x="1949" y="2266"/>
                </a:lnTo>
                <a:lnTo>
                  <a:pt x="1957" y="2263"/>
                </a:lnTo>
                <a:lnTo>
                  <a:pt x="1960" y="2263"/>
                </a:lnTo>
                <a:lnTo>
                  <a:pt x="1965" y="2262"/>
                </a:lnTo>
                <a:lnTo>
                  <a:pt x="1972" y="2263"/>
                </a:lnTo>
                <a:lnTo>
                  <a:pt x="1975" y="2264"/>
                </a:lnTo>
                <a:lnTo>
                  <a:pt x="1978" y="2265"/>
                </a:lnTo>
                <a:lnTo>
                  <a:pt x="1984" y="2267"/>
                </a:lnTo>
                <a:lnTo>
                  <a:pt x="1987" y="2269"/>
                </a:lnTo>
                <a:lnTo>
                  <a:pt x="1989" y="2272"/>
                </a:lnTo>
                <a:lnTo>
                  <a:pt x="1993" y="2277"/>
                </a:lnTo>
                <a:lnTo>
                  <a:pt x="1995" y="2281"/>
                </a:lnTo>
                <a:lnTo>
                  <a:pt x="1996" y="2285"/>
                </a:lnTo>
                <a:lnTo>
                  <a:pt x="1997" y="2289"/>
                </a:lnTo>
                <a:lnTo>
                  <a:pt x="1998" y="2294"/>
                </a:lnTo>
                <a:lnTo>
                  <a:pt x="1998" y="2299"/>
                </a:lnTo>
                <a:lnTo>
                  <a:pt x="1999" y="2305"/>
                </a:lnTo>
                <a:lnTo>
                  <a:pt x="1998" y="2322"/>
                </a:lnTo>
                <a:lnTo>
                  <a:pt x="1997" y="2337"/>
                </a:lnTo>
                <a:lnTo>
                  <a:pt x="1995" y="2352"/>
                </a:lnTo>
                <a:lnTo>
                  <a:pt x="1993" y="2368"/>
                </a:lnTo>
                <a:lnTo>
                  <a:pt x="1991" y="2383"/>
                </a:lnTo>
                <a:lnTo>
                  <a:pt x="1988" y="2398"/>
                </a:lnTo>
                <a:lnTo>
                  <a:pt x="1984" y="2413"/>
                </a:lnTo>
                <a:lnTo>
                  <a:pt x="1981" y="2427"/>
                </a:lnTo>
                <a:lnTo>
                  <a:pt x="1976" y="2442"/>
                </a:lnTo>
                <a:lnTo>
                  <a:pt x="1971" y="2455"/>
                </a:lnTo>
                <a:lnTo>
                  <a:pt x="1966" y="2468"/>
                </a:lnTo>
                <a:lnTo>
                  <a:pt x="1960" y="2481"/>
                </a:lnTo>
                <a:lnTo>
                  <a:pt x="1954" y="2495"/>
                </a:lnTo>
                <a:lnTo>
                  <a:pt x="1947" y="2507"/>
                </a:lnTo>
                <a:lnTo>
                  <a:pt x="1940" y="2518"/>
                </a:lnTo>
                <a:lnTo>
                  <a:pt x="1933" y="2529"/>
                </a:lnTo>
                <a:lnTo>
                  <a:pt x="1925" y="2540"/>
                </a:lnTo>
                <a:lnTo>
                  <a:pt x="1917" y="2550"/>
                </a:lnTo>
                <a:lnTo>
                  <a:pt x="1909" y="2561"/>
                </a:lnTo>
                <a:lnTo>
                  <a:pt x="1900" y="2570"/>
                </a:lnTo>
                <a:lnTo>
                  <a:pt x="1891" y="2578"/>
                </a:lnTo>
                <a:lnTo>
                  <a:pt x="1880" y="2586"/>
                </a:lnTo>
                <a:lnTo>
                  <a:pt x="1871" y="2593"/>
                </a:lnTo>
                <a:lnTo>
                  <a:pt x="1861" y="2600"/>
                </a:lnTo>
                <a:lnTo>
                  <a:pt x="1850" y="2606"/>
                </a:lnTo>
                <a:lnTo>
                  <a:pt x="1840" y="2612"/>
                </a:lnTo>
                <a:lnTo>
                  <a:pt x="1828" y="2616"/>
                </a:lnTo>
                <a:lnTo>
                  <a:pt x="1817" y="2620"/>
                </a:lnTo>
                <a:lnTo>
                  <a:pt x="1805" y="2623"/>
                </a:lnTo>
                <a:lnTo>
                  <a:pt x="1793" y="2625"/>
                </a:lnTo>
                <a:lnTo>
                  <a:pt x="1782" y="2626"/>
                </a:lnTo>
                <a:lnTo>
                  <a:pt x="1768" y="2627"/>
                </a:lnTo>
                <a:close/>
                <a:moveTo>
                  <a:pt x="2156" y="2621"/>
                </a:moveTo>
                <a:lnTo>
                  <a:pt x="2154" y="2621"/>
                </a:lnTo>
                <a:lnTo>
                  <a:pt x="2152" y="2620"/>
                </a:lnTo>
                <a:lnTo>
                  <a:pt x="2147" y="2617"/>
                </a:lnTo>
                <a:lnTo>
                  <a:pt x="2140" y="2613"/>
                </a:lnTo>
                <a:lnTo>
                  <a:pt x="2133" y="2607"/>
                </a:lnTo>
                <a:lnTo>
                  <a:pt x="2119" y="2596"/>
                </a:lnTo>
                <a:lnTo>
                  <a:pt x="2104" y="2582"/>
                </a:lnTo>
                <a:lnTo>
                  <a:pt x="2088" y="2566"/>
                </a:lnTo>
                <a:lnTo>
                  <a:pt x="2071" y="2548"/>
                </a:lnTo>
                <a:lnTo>
                  <a:pt x="2055" y="2531"/>
                </a:lnTo>
                <a:lnTo>
                  <a:pt x="2040" y="2515"/>
                </a:lnTo>
                <a:lnTo>
                  <a:pt x="2029" y="2501"/>
                </a:lnTo>
                <a:lnTo>
                  <a:pt x="2025" y="2494"/>
                </a:lnTo>
                <a:lnTo>
                  <a:pt x="2021" y="2488"/>
                </a:lnTo>
                <a:lnTo>
                  <a:pt x="2016" y="2478"/>
                </a:lnTo>
                <a:lnTo>
                  <a:pt x="2012" y="2468"/>
                </a:lnTo>
                <a:lnTo>
                  <a:pt x="2009" y="2458"/>
                </a:lnTo>
                <a:lnTo>
                  <a:pt x="2008" y="2448"/>
                </a:lnTo>
                <a:lnTo>
                  <a:pt x="2008" y="2443"/>
                </a:lnTo>
                <a:lnTo>
                  <a:pt x="2009" y="2437"/>
                </a:lnTo>
                <a:lnTo>
                  <a:pt x="2012" y="2430"/>
                </a:lnTo>
                <a:lnTo>
                  <a:pt x="2014" y="2424"/>
                </a:lnTo>
                <a:lnTo>
                  <a:pt x="2016" y="2418"/>
                </a:lnTo>
                <a:lnTo>
                  <a:pt x="2019" y="2412"/>
                </a:lnTo>
                <a:lnTo>
                  <a:pt x="2023" y="2405"/>
                </a:lnTo>
                <a:lnTo>
                  <a:pt x="2028" y="2398"/>
                </a:lnTo>
                <a:lnTo>
                  <a:pt x="2036" y="2387"/>
                </a:lnTo>
                <a:lnTo>
                  <a:pt x="2047" y="2374"/>
                </a:lnTo>
                <a:lnTo>
                  <a:pt x="2078" y="2339"/>
                </a:lnTo>
                <a:lnTo>
                  <a:pt x="2112" y="2299"/>
                </a:lnTo>
                <a:lnTo>
                  <a:pt x="2148" y="2259"/>
                </a:lnTo>
                <a:lnTo>
                  <a:pt x="2150" y="2258"/>
                </a:lnTo>
                <a:lnTo>
                  <a:pt x="2153" y="2258"/>
                </a:lnTo>
                <a:lnTo>
                  <a:pt x="2157" y="2258"/>
                </a:lnTo>
                <a:lnTo>
                  <a:pt x="2161" y="2260"/>
                </a:lnTo>
                <a:lnTo>
                  <a:pt x="2165" y="2261"/>
                </a:lnTo>
                <a:lnTo>
                  <a:pt x="2169" y="2264"/>
                </a:lnTo>
                <a:lnTo>
                  <a:pt x="2173" y="2267"/>
                </a:lnTo>
                <a:lnTo>
                  <a:pt x="2177" y="2271"/>
                </a:lnTo>
                <a:lnTo>
                  <a:pt x="2181" y="2275"/>
                </a:lnTo>
                <a:lnTo>
                  <a:pt x="2184" y="2280"/>
                </a:lnTo>
                <a:lnTo>
                  <a:pt x="2185" y="2284"/>
                </a:lnTo>
                <a:lnTo>
                  <a:pt x="2186" y="2289"/>
                </a:lnTo>
                <a:lnTo>
                  <a:pt x="2185" y="2295"/>
                </a:lnTo>
                <a:lnTo>
                  <a:pt x="2183" y="2300"/>
                </a:lnTo>
                <a:lnTo>
                  <a:pt x="2180" y="2306"/>
                </a:lnTo>
                <a:lnTo>
                  <a:pt x="2177" y="2313"/>
                </a:lnTo>
                <a:lnTo>
                  <a:pt x="2168" y="2323"/>
                </a:lnTo>
                <a:lnTo>
                  <a:pt x="2157" y="2336"/>
                </a:lnTo>
                <a:lnTo>
                  <a:pt x="2127" y="2369"/>
                </a:lnTo>
                <a:lnTo>
                  <a:pt x="2097" y="2404"/>
                </a:lnTo>
                <a:lnTo>
                  <a:pt x="2085" y="2418"/>
                </a:lnTo>
                <a:lnTo>
                  <a:pt x="2076" y="2430"/>
                </a:lnTo>
                <a:lnTo>
                  <a:pt x="2073" y="2434"/>
                </a:lnTo>
                <a:lnTo>
                  <a:pt x="2072" y="2438"/>
                </a:lnTo>
                <a:lnTo>
                  <a:pt x="2071" y="2442"/>
                </a:lnTo>
                <a:lnTo>
                  <a:pt x="2069" y="2445"/>
                </a:lnTo>
                <a:lnTo>
                  <a:pt x="2071" y="2450"/>
                </a:lnTo>
                <a:lnTo>
                  <a:pt x="2072" y="2454"/>
                </a:lnTo>
                <a:lnTo>
                  <a:pt x="2074" y="2458"/>
                </a:lnTo>
                <a:lnTo>
                  <a:pt x="2077" y="2463"/>
                </a:lnTo>
                <a:lnTo>
                  <a:pt x="2084" y="2472"/>
                </a:lnTo>
                <a:lnTo>
                  <a:pt x="2095" y="2484"/>
                </a:lnTo>
                <a:lnTo>
                  <a:pt x="2122" y="2514"/>
                </a:lnTo>
                <a:lnTo>
                  <a:pt x="2155" y="2546"/>
                </a:lnTo>
                <a:lnTo>
                  <a:pt x="2186" y="2577"/>
                </a:lnTo>
                <a:lnTo>
                  <a:pt x="2188" y="2579"/>
                </a:lnTo>
                <a:lnTo>
                  <a:pt x="2189" y="2581"/>
                </a:lnTo>
                <a:lnTo>
                  <a:pt x="2191" y="2584"/>
                </a:lnTo>
                <a:lnTo>
                  <a:pt x="2192" y="2586"/>
                </a:lnTo>
                <a:lnTo>
                  <a:pt x="2191" y="2592"/>
                </a:lnTo>
                <a:lnTo>
                  <a:pt x="2189" y="2595"/>
                </a:lnTo>
                <a:lnTo>
                  <a:pt x="2187" y="2597"/>
                </a:lnTo>
                <a:lnTo>
                  <a:pt x="2184" y="2603"/>
                </a:lnTo>
                <a:lnTo>
                  <a:pt x="2182" y="2606"/>
                </a:lnTo>
                <a:lnTo>
                  <a:pt x="2179" y="2608"/>
                </a:lnTo>
                <a:lnTo>
                  <a:pt x="2174" y="2614"/>
                </a:lnTo>
                <a:lnTo>
                  <a:pt x="2171" y="2616"/>
                </a:lnTo>
                <a:lnTo>
                  <a:pt x="2168" y="2618"/>
                </a:lnTo>
                <a:lnTo>
                  <a:pt x="2162" y="2620"/>
                </a:lnTo>
                <a:lnTo>
                  <a:pt x="2159" y="2621"/>
                </a:lnTo>
                <a:lnTo>
                  <a:pt x="2156" y="2621"/>
                </a:lnTo>
                <a:close/>
                <a:moveTo>
                  <a:pt x="5598" y="639"/>
                </a:moveTo>
                <a:lnTo>
                  <a:pt x="5591" y="639"/>
                </a:lnTo>
                <a:lnTo>
                  <a:pt x="5583" y="639"/>
                </a:lnTo>
                <a:lnTo>
                  <a:pt x="5576" y="637"/>
                </a:lnTo>
                <a:lnTo>
                  <a:pt x="5568" y="636"/>
                </a:lnTo>
                <a:lnTo>
                  <a:pt x="5561" y="634"/>
                </a:lnTo>
                <a:lnTo>
                  <a:pt x="5554" y="632"/>
                </a:lnTo>
                <a:lnTo>
                  <a:pt x="5539" y="625"/>
                </a:lnTo>
                <a:lnTo>
                  <a:pt x="5526" y="618"/>
                </a:lnTo>
                <a:lnTo>
                  <a:pt x="5520" y="613"/>
                </a:lnTo>
                <a:lnTo>
                  <a:pt x="5514" y="609"/>
                </a:lnTo>
                <a:lnTo>
                  <a:pt x="5508" y="604"/>
                </a:lnTo>
                <a:lnTo>
                  <a:pt x="5502" y="599"/>
                </a:lnTo>
                <a:lnTo>
                  <a:pt x="5497" y="593"/>
                </a:lnTo>
                <a:lnTo>
                  <a:pt x="5492" y="588"/>
                </a:lnTo>
                <a:lnTo>
                  <a:pt x="5486" y="582"/>
                </a:lnTo>
                <a:lnTo>
                  <a:pt x="5481" y="575"/>
                </a:lnTo>
                <a:lnTo>
                  <a:pt x="5477" y="568"/>
                </a:lnTo>
                <a:lnTo>
                  <a:pt x="5472" y="561"/>
                </a:lnTo>
                <a:lnTo>
                  <a:pt x="5468" y="554"/>
                </a:lnTo>
                <a:lnTo>
                  <a:pt x="5465" y="546"/>
                </a:lnTo>
                <a:lnTo>
                  <a:pt x="5462" y="539"/>
                </a:lnTo>
                <a:lnTo>
                  <a:pt x="5459" y="531"/>
                </a:lnTo>
                <a:lnTo>
                  <a:pt x="5456" y="523"/>
                </a:lnTo>
                <a:lnTo>
                  <a:pt x="5454" y="515"/>
                </a:lnTo>
                <a:lnTo>
                  <a:pt x="5452" y="505"/>
                </a:lnTo>
                <a:lnTo>
                  <a:pt x="5450" y="497"/>
                </a:lnTo>
                <a:lnTo>
                  <a:pt x="5449" y="488"/>
                </a:lnTo>
                <a:lnTo>
                  <a:pt x="5448" y="479"/>
                </a:lnTo>
                <a:lnTo>
                  <a:pt x="5447" y="470"/>
                </a:lnTo>
                <a:lnTo>
                  <a:pt x="5447" y="461"/>
                </a:lnTo>
                <a:lnTo>
                  <a:pt x="5448" y="441"/>
                </a:lnTo>
                <a:lnTo>
                  <a:pt x="5449" y="432"/>
                </a:lnTo>
                <a:lnTo>
                  <a:pt x="5450" y="423"/>
                </a:lnTo>
                <a:lnTo>
                  <a:pt x="5452" y="414"/>
                </a:lnTo>
                <a:lnTo>
                  <a:pt x="5454" y="405"/>
                </a:lnTo>
                <a:lnTo>
                  <a:pt x="5456" y="396"/>
                </a:lnTo>
                <a:lnTo>
                  <a:pt x="5459" y="387"/>
                </a:lnTo>
                <a:lnTo>
                  <a:pt x="5462" y="378"/>
                </a:lnTo>
                <a:lnTo>
                  <a:pt x="5466" y="370"/>
                </a:lnTo>
                <a:lnTo>
                  <a:pt x="5470" y="362"/>
                </a:lnTo>
                <a:lnTo>
                  <a:pt x="5474" y="354"/>
                </a:lnTo>
                <a:lnTo>
                  <a:pt x="5478" y="347"/>
                </a:lnTo>
                <a:lnTo>
                  <a:pt x="5483" y="339"/>
                </a:lnTo>
                <a:lnTo>
                  <a:pt x="5494" y="325"/>
                </a:lnTo>
                <a:lnTo>
                  <a:pt x="5500" y="318"/>
                </a:lnTo>
                <a:lnTo>
                  <a:pt x="5505" y="312"/>
                </a:lnTo>
                <a:lnTo>
                  <a:pt x="5518" y="301"/>
                </a:lnTo>
                <a:lnTo>
                  <a:pt x="5524" y="295"/>
                </a:lnTo>
                <a:lnTo>
                  <a:pt x="5531" y="291"/>
                </a:lnTo>
                <a:lnTo>
                  <a:pt x="5537" y="286"/>
                </a:lnTo>
                <a:lnTo>
                  <a:pt x="5545" y="282"/>
                </a:lnTo>
                <a:lnTo>
                  <a:pt x="5553" y="278"/>
                </a:lnTo>
                <a:lnTo>
                  <a:pt x="5560" y="275"/>
                </a:lnTo>
                <a:lnTo>
                  <a:pt x="5568" y="273"/>
                </a:lnTo>
                <a:lnTo>
                  <a:pt x="5576" y="269"/>
                </a:lnTo>
                <a:lnTo>
                  <a:pt x="5583" y="268"/>
                </a:lnTo>
                <a:lnTo>
                  <a:pt x="5591" y="266"/>
                </a:lnTo>
                <a:lnTo>
                  <a:pt x="5600" y="265"/>
                </a:lnTo>
                <a:lnTo>
                  <a:pt x="5608" y="265"/>
                </a:lnTo>
                <a:lnTo>
                  <a:pt x="5619" y="266"/>
                </a:lnTo>
                <a:lnTo>
                  <a:pt x="5624" y="266"/>
                </a:lnTo>
                <a:lnTo>
                  <a:pt x="5629" y="267"/>
                </a:lnTo>
                <a:lnTo>
                  <a:pt x="5633" y="268"/>
                </a:lnTo>
                <a:lnTo>
                  <a:pt x="5638" y="269"/>
                </a:lnTo>
                <a:lnTo>
                  <a:pt x="5646" y="273"/>
                </a:lnTo>
                <a:lnTo>
                  <a:pt x="5654" y="277"/>
                </a:lnTo>
                <a:lnTo>
                  <a:pt x="5661" y="282"/>
                </a:lnTo>
                <a:lnTo>
                  <a:pt x="5668" y="287"/>
                </a:lnTo>
                <a:lnTo>
                  <a:pt x="5675" y="293"/>
                </a:lnTo>
                <a:lnTo>
                  <a:pt x="5678" y="297"/>
                </a:lnTo>
                <a:lnTo>
                  <a:pt x="5680" y="300"/>
                </a:lnTo>
                <a:lnTo>
                  <a:pt x="5685" y="307"/>
                </a:lnTo>
                <a:lnTo>
                  <a:pt x="5689" y="315"/>
                </a:lnTo>
                <a:lnTo>
                  <a:pt x="5693" y="323"/>
                </a:lnTo>
                <a:lnTo>
                  <a:pt x="5695" y="333"/>
                </a:lnTo>
                <a:lnTo>
                  <a:pt x="5697" y="342"/>
                </a:lnTo>
                <a:lnTo>
                  <a:pt x="5698" y="352"/>
                </a:lnTo>
                <a:lnTo>
                  <a:pt x="5699" y="362"/>
                </a:lnTo>
                <a:lnTo>
                  <a:pt x="5698" y="374"/>
                </a:lnTo>
                <a:lnTo>
                  <a:pt x="5697" y="380"/>
                </a:lnTo>
                <a:lnTo>
                  <a:pt x="5696" y="386"/>
                </a:lnTo>
                <a:lnTo>
                  <a:pt x="5692" y="399"/>
                </a:lnTo>
                <a:lnTo>
                  <a:pt x="5687" y="411"/>
                </a:lnTo>
                <a:lnTo>
                  <a:pt x="5681" y="422"/>
                </a:lnTo>
                <a:lnTo>
                  <a:pt x="5673" y="433"/>
                </a:lnTo>
                <a:lnTo>
                  <a:pt x="5668" y="438"/>
                </a:lnTo>
                <a:lnTo>
                  <a:pt x="5664" y="442"/>
                </a:lnTo>
                <a:lnTo>
                  <a:pt x="5655" y="453"/>
                </a:lnTo>
                <a:lnTo>
                  <a:pt x="5645" y="461"/>
                </a:lnTo>
                <a:lnTo>
                  <a:pt x="5640" y="465"/>
                </a:lnTo>
                <a:lnTo>
                  <a:pt x="5634" y="469"/>
                </a:lnTo>
                <a:lnTo>
                  <a:pt x="5623" y="475"/>
                </a:lnTo>
                <a:lnTo>
                  <a:pt x="5611" y="481"/>
                </a:lnTo>
                <a:lnTo>
                  <a:pt x="5598" y="486"/>
                </a:lnTo>
                <a:lnTo>
                  <a:pt x="5592" y="487"/>
                </a:lnTo>
                <a:lnTo>
                  <a:pt x="5586" y="489"/>
                </a:lnTo>
                <a:lnTo>
                  <a:pt x="5579" y="490"/>
                </a:lnTo>
                <a:lnTo>
                  <a:pt x="5573" y="491"/>
                </a:lnTo>
                <a:lnTo>
                  <a:pt x="5561" y="492"/>
                </a:lnTo>
                <a:lnTo>
                  <a:pt x="5555" y="491"/>
                </a:lnTo>
                <a:lnTo>
                  <a:pt x="5549" y="489"/>
                </a:lnTo>
                <a:lnTo>
                  <a:pt x="5545" y="486"/>
                </a:lnTo>
                <a:lnTo>
                  <a:pt x="5543" y="485"/>
                </a:lnTo>
                <a:lnTo>
                  <a:pt x="5541" y="483"/>
                </a:lnTo>
                <a:lnTo>
                  <a:pt x="5538" y="478"/>
                </a:lnTo>
                <a:lnTo>
                  <a:pt x="5535" y="473"/>
                </a:lnTo>
                <a:lnTo>
                  <a:pt x="5535" y="470"/>
                </a:lnTo>
                <a:lnTo>
                  <a:pt x="5534" y="467"/>
                </a:lnTo>
                <a:lnTo>
                  <a:pt x="5533" y="460"/>
                </a:lnTo>
                <a:lnTo>
                  <a:pt x="5533" y="458"/>
                </a:lnTo>
                <a:lnTo>
                  <a:pt x="5534" y="455"/>
                </a:lnTo>
                <a:lnTo>
                  <a:pt x="5535" y="449"/>
                </a:lnTo>
                <a:lnTo>
                  <a:pt x="5536" y="447"/>
                </a:lnTo>
                <a:lnTo>
                  <a:pt x="5537" y="445"/>
                </a:lnTo>
                <a:lnTo>
                  <a:pt x="5539" y="443"/>
                </a:lnTo>
                <a:lnTo>
                  <a:pt x="5540" y="442"/>
                </a:lnTo>
                <a:lnTo>
                  <a:pt x="5552" y="440"/>
                </a:lnTo>
                <a:lnTo>
                  <a:pt x="5563" y="438"/>
                </a:lnTo>
                <a:lnTo>
                  <a:pt x="5573" y="434"/>
                </a:lnTo>
                <a:lnTo>
                  <a:pt x="5583" y="430"/>
                </a:lnTo>
                <a:lnTo>
                  <a:pt x="5592" y="426"/>
                </a:lnTo>
                <a:lnTo>
                  <a:pt x="5600" y="421"/>
                </a:lnTo>
                <a:lnTo>
                  <a:pt x="5608" y="415"/>
                </a:lnTo>
                <a:lnTo>
                  <a:pt x="5613" y="412"/>
                </a:lnTo>
                <a:lnTo>
                  <a:pt x="5616" y="409"/>
                </a:lnTo>
                <a:lnTo>
                  <a:pt x="5623" y="403"/>
                </a:lnTo>
                <a:lnTo>
                  <a:pt x="5628" y="397"/>
                </a:lnTo>
                <a:lnTo>
                  <a:pt x="5633" y="389"/>
                </a:lnTo>
                <a:lnTo>
                  <a:pt x="5638" y="382"/>
                </a:lnTo>
                <a:lnTo>
                  <a:pt x="5641" y="375"/>
                </a:lnTo>
                <a:lnTo>
                  <a:pt x="5643" y="368"/>
                </a:lnTo>
                <a:lnTo>
                  <a:pt x="5645" y="361"/>
                </a:lnTo>
                <a:lnTo>
                  <a:pt x="5645" y="354"/>
                </a:lnTo>
                <a:lnTo>
                  <a:pt x="5645" y="346"/>
                </a:lnTo>
                <a:lnTo>
                  <a:pt x="5642" y="338"/>
                </a:lnTo>
                <a:lnTo>
                  <a:pt x="5641" y="335"/>
                </a:lnTo>
                <a:lnTo>
                  <a:pt x="5639" y="332"/>
                </a:lnTo>
                <a:lnTo>
                  <a:pt x="5637" y="328"/>
                </a:lnTo>
                <a:lnTo>
                  <a:pt x="5634" y="326"/>
                </a:lnTo>
                <a:lnTo>
                  <a:pt x="5629" y="322"/>
                </a:lnTo>
                <a:lnTo>
                  <a:pt x="5625" y="320"/>
                </a:lnTo>
                <a:lnTo>
                  <a:pt x="5622" y="318"/>
                </a:lnTo>
                <a:lnTo>
                  <a:pt x="5614" y="317"/>
                </a:lnTo>
                <a:lnTo>
                  <a:pt x="5609" y="316"/>
                </a:lnTo>
                <a:lnTo>
                  <a:pt x="5604" y="316"/>
                </a:lnTo>
                <a:lnTo>
                  <a:pt x="5595" y="317"/>
                </a:lnTo>
                <a:lnTo>
                  <a:pt x="5591" y="318"/>
                </a:lnTo>
                <a:lnTo>
                  <a:pt x="5586" y="319"/>
                </a:lnTo>
                <a:lnTo>
                  <a:pt x="5582" y="320"/>
                </a:lnTo>
                <a:lnTo>
                  <a:pt x="5578" y="322"/>
                </a:lnTo>
                <a:lnTo>
                  <a:pt x="5573" y="324"/>
                </a:lnTo>
                <a:lnTo>
                  <a:pt x="5569" y="327"/>
                </a:lnTo>
                <a:lnTo>
                  <a:pt x="5564" y="330"/>
                </a:lnTo>
                <a:lnTo>
                  <a:pt x="5560" y="334"/>
                </a:lnTo>
                <a:lnTo>
                  <a:pt x="5552" y="341"/>
                </a:lnTo>
                <a:lnTo>
                  <a:pt x="5543" y="349"/>
                </a:lnTo>
                <a:lnTo>
                  <a:pt x="5536" y="358"/>
                </a:lnTo>
                <a:lnTo>
                  <a:pt x="5532" y="363"/>
                </a:lnTo>
                <a:lnTo>
                  <a:pt x="5529" y="368"/>
                </a:lnTo>
                <a:lnTo>
                  <a:pt x="5523" y="379"/>
                </a:lnTo>
                <a:lnTo>
                  <a:pt x="5517" y="390"/>
                </a:lnTo>
                <a:lnTo>
                  <a:pt x="5512" y="403"/>
                </a:lnTo>
                <a:lnTo>
                  <a:pt x="5509" y="416"/>
                </a:lnTo>
                <a:lnTo>
                  <a:pt x="5506" y="430"/>
                </a:lnTo>
                <a:lnTo>
                  <a:pt x="5504" y="443"/>
                </a:lnTo>
                <a:lnTo>
                  <a:pt x="5504" y="450"/>
                </a:lnTo>
                <a:lnTo>
                  <a:pt x="5503" y="459"/>
                </a:lnTo>
                <a:lnTo>
                  <a:pt x="5504" y="471"/>
                </a:lnTo>
                <a:lnTo>
                  <a:pt x="5505" y="483"/>
                </a:lnTo>
                <a:lnTo>
                  <a:pt x="5507" y="495"/>
                </a:lnTo>
                <a:lnTo>
                  <a:pt x="5509" y="501"/>
                </a:lnTo>
                <a:lnTo>
                  <a:pt x="5510" y="506"/>
                </a:lnTo>
                <a:lnTo>
                  <a:pt x="5514" y="518"/>
                </a:lnTo>
                <a:lnTo>
                  <a:pt x="5516" y="523"/>
                </a:lnTo>
                <a:lnTo>
                  <a:pt x="5518" y="527"/>
                </a:lnTo>
                <a:lnTo>
                  <a:pt x="5521" y="532"/>
                </a:lnTo>
                <a:lnTo>
                  <a:pt x="5524" y="536"/>
                </a:lnTo>
                <a:lnTo>
                  <a:pt x="5526" y="541"/>
                </a:lnTo>
                <a:lnTo>
                  <a:pt x="5529" y="545"/>
                </a:lnTo>
                <a:lnTo>
                  <a:pt x="5533" y="548"/>
                </a:lnTo>
                <a:lnTo>
                  <a:pt x="5536" y="552"/>
                </a:lnTo>
                <a:lnTo>
                  <a:pt x="5543" y="559"/>
                </a:lnTo>
                <a:lnTo>
                  <a:pt x="5552" y="564"/>
                </a:lnTo>
                <a:lnTo>
                  <a:pt x="5561" y="569"/>
                </a:lnTo>
                <a:lnTo>
                  <a:pt x="5570" y="574"/>
                </a:lnTo>
                <a:lnTo>
                  <a:pt x="5579" y="577"/>
                </a:lnTo>
                <a:lnTo>
                  <a:pt x="5590" y="579"/>
                </a:lnTo>
                <a:lnTo>
                  <a:pt x="5595" y="579"/>
                </a:lnTo>
                <a:lnTo>
                  <a:pt x="5600" y="579"/>
                </a:lnTo>
                <a:lnTo>
                  <a:pt x="5612" y="579"/>
                </a:lnTo>
                <a:lnTo>
                  <a:pt x="5622" y="577"/>
                </a:lnTo>
                <a:lnTo>
                  <a:pt x="5632" y="575"/>
                </a:lnTo>
                <a:lnTo>
                  <a:pt x="5641" y="570"/>
                </a:lnTo>
                <a:lnTo>
                  <a:pt x="5651" y="566"/>
                </a:lnTo>
                <a:lnTo>
                  <a:pt x="5660" y="561"/>
                </a:lnTo>
                <a:lnTo>
                  <a:pt x="5668" y="555"/>
                </a:lnTo>
                <a:lnTo>
                  <a:pt x="5678" y="549"/>
                </a:lnTo>
                <a:lnTo>
                  <a:pt x="5685" y="541"/>
                </a:lnTo>
                <a:lnTo>
                  <a:pt x="5693" y="534"/>
                </a:lnTo>
                <a:lnTo>
                  <a:pt x="5700" y="525"/>
                </a:lnTo>
                <a:lnTo>
                  <a:pt x="5707" y="516"/>
                </a:lnTo>
                <a:lnTo>
                  <a:pt x="5720" y="496"/>
                </a:lnTo>
                <a:lnTo>
                  <a:pt x="5726" y="485"/>
                </a:lnTo>
                <a:lnTo>
                  <a:pt x="5733" y="475"/>
                </a:lnTo>
                <a:lnTo>
                  <a:pt x="5738" y="464"/>
                </a:lnTo>
                <a:lnTo>
                  <a:pt x="5743" y="452"/>
                </a:lnTo>
                <a:lnTo>
                  <a:pt x="5747" y="440"/>
                </a:lnTo>
                <a:lnTo>
                  <a:pt x="5751" y="428"/>
                </a:lnTo>
                <a:lnTo>
                  <a:pt x="5755" y="416"/>
                </a:lnTo>
                <a:lnTo>
                  <a:pt x="5759" y="404"/>
                </a:lnTo>
                <a:lnTo>
                  <a:pt x="5762" y="392"/>
                </a:lnTo>
                <a:lnTo>
                  <a:pt x="5764" y="379"/>
                </a:lnTo>
                <a:lnTo>
                  <a:pt x="5766" y="367"/>
                </a:lnTo>
                <a:lnTo>
                  <a:pt x="5768" y="355"/>
                </a:lnTo>
                <a:lnTo>
                  <a:pt x="5770" y="343"/>
                </a:lnTo>
                <a:lnTo>
                  <a:pt x="5771" y="332"/>
                </a:lnTo>
                <a:lnTo>
                  <a:pt x="5772" y="320"/>
                </a:lnTo>
                <a:lnTo>
                  <a:pt x="5772" y="308"/>
                </a:lnTo>
                <a:lnTo>
                  <a:pt x="5772" y="298"/>
                </a:lnTo>
                <a:lnTo>
                  <a:pt x="5771" y="287"/>
                </a:lnTo>
                <a:lnTo>
                  <a:pt x="5772" y="285"/>
                </a:lnTo>
                <a:lnTo>
                  <a:pt x="5774" y="283"/>
                </a:lnTo>
                <a:lnTo>
                  <a:pt x="5776" y="281"/>
                </a:lnTo>
                <a:lnTo>
                  <a:pt x="5779" y="279"/>
                </a:lnTo>
                <a:lnTo>
                  <a:pt x="5786" y="276"/>
                </a:lnTo>
                <a:lnTo>
                  <a:pt x="5789" y="275"/>
                </a:lnTo>
                <a:lnTo>
                  <a:pt x="5795" y="275"/>
                </a:lnTo>
                <a:lnTo>
                  <a:pt x="5802" y="276"/>
                </a:lnTo>
                <a:lnTo>
                  <a:pt x="5805" y="276"/>
                </a:lnTo>
                <a:lnTo>
                  <a:pt x="5808" y="277"/>
                </a:lnTo>
                <a:lnTo>
                  <a:pt x="5814" y="280"/>
                </a:lnTo>
                <a:lnTo>
                  <a:pt x="5817" y="282"/>
                </a:lnTo>
                <a:lnTo>
                  <a:pt x="5819" y="284"/>
                </a:lnTo>
                <a:lnTo>
                  <a:pt x="5823" y="290"/>
                </a:lnTo>
                <a:lnTo>
                  <a:pt x="5825" y="294"/>
                </a:lnTo>
                <a:lnTo>
                  <a:pt x="5826" y="297"/>
                </a:lnTo>
                <a:lnTo>
                  <a:pt x="5827" y="302"/>
                </a:lnTo>
                <a:lnTo>
                  <a:pt x="5828" y="307"/>
                </a:lnTo>
                <a:lnTo>
                  <a:pt x="5828" y="312"/>
                </a:lnTo>
                <a:lnTo>
                  <a:pt x="5828" y="318"/>
                </a:lnTo>
                <a:lnTo>
                  <a:pt x="5828" y="334"/>
                </a:lnTo>
                <a:lnTo>
                  <a:pt x="5827" y="350"/>
                </a:lnTo>
                <a:lnTo>
                  <a:pt x="5825" y="365"/>
                </a:lnTo>
                <a:lnTo>
                  <a:pt x="5823" y="380"/>
                </a:lnTo>
                <a:lnTo>
                  <a:pt x="5821" y="396"/>
                </a:lnTo>
                <a:lnTo>
                  <a:pt x="5818" y="411"/>
                </a:lnTo>
                <a:lnTo>
                  <a:pt x="5814" y="425"/>
                </a:lnTo>
                <a:lnTo>
                  <a:pt x="5810" y="439"/>
                </a:lnTo>
                <a:lnTo>
                  <a:pt x="5806" y="454"/>
                </a:lnTo>
                <a:lnTo>
                  <a:pt x="5801" y="468"/>
                </a:lnTo>
                <a:lnTo>
                  <a:pt x="5796" y="481"/>
                </a:lnTo>
                <a:lnTo>
                  <a:pt x="5789" y="494"/>
                </a:lnTo>
                <a:lnTo>
                  <a:pt x="5783" y="506"/>
                </a:lnTo>
                <a:lnTo>
                  <a:pt x="5777" y="519"/>
                </a:lnTo>
                <a:lnTo>
                  <a:pt x="5770" y="531"/>
                </a:lnTo>
                <a:lnTo>
                  <a:pt x="5763" y="542"/>
                </a:lnTo>
                <a:lnTo>
                  <a:pt x="5755" y="553"/>
                </a:lnTo>
                <a:lnTo>
                  <a:pt x="5747" y="563"/>
                </a:lnTo>
                <a:lnTo>
                  <a:pt x="5738" y="573"/>
                </a:lnTo>
                <a:lnTo>
                  <a:pt x="5729" y="582"/>
                </a:lnTo>
                <a:lnTo>
                  <a:pt x="5720" y="591"/>
                </a:lnTo>
                <a:lnTo>
                  <a:pt x="5710" y="599"/>
                </a:lnTo>
                <a:lnTo>
                  <a:pt x="5701" y="606"/>
                </a:lnTo>
                <a:lnTo>
                  <a:pt x="5691" y="612"/>
                </a:lnTo>
                <a:lnTo>
                  <a:pt x="5680" y="618"/>
                </a:lnTo>
                <a:lnTo>
                  <a:pt x="5669" y="624"/>
                </a:lnTo>
                <a:lnTo>
                  <a:pt x="5658" y="628"/>
                </a:lnTo>
                <a:lnTo>
                  <a:pt x="5646" y="633"/>
                </a:lnTo>
                <a:lnTo>
                  <a:pt x="5635" y="636"/>
                </a:lnTo>
                <a:lnTo>
                  <a:pt x="5623" y="638"/>
                </a:lnTo>
                <a:lnTo>
                  <a:pt x="5611" y="639"/>
                </a:lnTo>
                <a:lnTo>
                  <a:pt x="5598" y="639"/>
                </a:lnTo>
                <a:close/>
                <a:moveTo>
                  <a:pt x="5986" y="634"/>
                </a:moveTo>
                <a:lnTo>
                  <a:pt x="5984" y="633"/>
                </a:lnTo>
                <a:lnTo>
                  <a:pt x="5982" y="633"/>
                </a:lnTo>
                <a:lnTo>
                  <a:pt x="5977" y="629"/>
                </a:lnTo>
                <a:lnTo>
                  <a:pt x="5969" y="625"/>
                </a:lnTo>
                <a:lnTo>
                  <a:pt x="5962" y="619"/>
                </a:lnTo>
                <a:lnTo>
                  <a:pt x="5949" y="608"/>
                </a:lnTo>
                <a:lnTo>
                  <a:pt x="5934" y="595"/>
                </a:lnTo>
                <a:lnTo>
                  <a:pt x="5918" y="579"/>
                </a:lnTo>
                <a:lnTo>
                  <a:pt x="5900" y="561"/>
                </a:lnTo>
                <a:lnTo>
                  <a:pt x="5884" y="544"/>
                </a:lnTo>
                <a:lnTo>
                  <a:pt x="5870" y="527"/>
                </a:lnTo>
                <a:lnTo>
                  <a:pt x="5859" y="513"/>
                </a:lnTo>
                <a:lnTo>
                  <a:pt x="5854" y="506"/>
                </a:lnTo>
                <a:lnTo>
                  <a:pt x="5851" y="501"/>
                </a:lnTo>
                <a:lnTo>
                  <a:pt x="5845" y="490"/>
                </a:lnTo>
                <a:lnTo>
                  <a:pt x="5841" y="481"/>
                </a:lnTo>
                <a:lnTo>
                  <a:pt x="5839" y="471"/>
                </a:lnTo>
                <a:lnTo>
                  <a:pt x="5838" y="461"/>
                </a:lnTo>
                <a:lnTo>
                  <a:pt x="5838" y="456"/>
                </a:lnTo>
                <a:lnTo>
                  <a:pt x="5839" y="449"/>
                </a:lnTo>
                <a:lnTo>
                  <a:pt x="5841" y="443"/>
                </a:lnTo>
                <a:lnTo>
                  <a:pt x="5842" y="437"/>
                </a:lnTo>
                <a:lnTo>
                  <a:pt x="5845" y="431"/>
                </a:lnTo>
                <a:lnTo>
                  <a:pt x="5848" y="424"/>
                </a:lnTo>
                <a:lnTo>
                  <a:pt x="5853" y="418"/>
                </a:lnTo>
                <a:lnTo>
                  <a:pt x="5858" y="411"/>
                </a:lnTo>
                <a:lnTo>
                  <a:pt x="5866" y="400"/>
                </a:lnTo>
                <a:lnTo>
                  <a:pt x="5877" y="385"/>
                </a:lnTo>
                <a:lnTo>
                  <a:pt x="5907" y="352"/>
                </a:lnTo>
                <a:lnTo>
                  <a:pt x="5942" y="312"/>
                </a:lnTo>
                <a:lnTo>
                  <a:pt x="5978" y="270"/>
                </a:lnTo>
                <a:lnTo>
                  <a:pt x="5979" y="270"/>
                </a:lnTo>
                <a:lnTo>
                  <a:pt x="5983" y="270"/>
                </a:lnTo>
                <a:lnTo>
                  <a:pt x="5986" y="270"/>
                </a:lnTo>
                <a:lnTo>
                  <a:pt x="5991" y="272"/>
                </a:lnTo>
                <a:lnTo>
                  <a:pt x="5995" y="274"/>
                </a:lnTo>
                <a:lnTo>
                  <a:pt x="5999" y="276"/>
                </a:lnTo>
                <a:lnTo>
                  <a:pt x="6003" y="280"/>
                </a:lnTo>
                <a:lnTo>
                  <a:pt x="6007" y="283"/>
                </a:lnTo>
                <a:lnTo>
                  <a:pt x="6011" y="288"/>
                </a:lnTo>
                <a:lnTo>
                  <a:pt x="6014" y="292"/>
                </a:lnTo>
                <a:lnTo>
                  <a:pt x="6015" y="297"/>
                </a:lnTo>
                <a:lnTo>
                  <a:pt x="6015" y="302"/>
                </a:lnTo>
                <a:lnTo>
                  <a:pt x="6015" y="307"/>
                </a:lnTo>
                <a:lnTo>
                  <a:pt x="6013" y="313"/>
                </a:lnTo>
                <a:lnTo>
                  <a:pt x="6010" y="318"/>
                </a:lnTo>
                <a:lnTo>
                  <a:pt x="6006" y="324"/>
                </a:lnTo>
                <a:lnTo>
                  <a:pt x="5998" y="336"/>
                </a:lnTo>
                <a:lnTo>
                  <a:pt x="5987" y="349"/>
                </a:lnTo>
                <a:lnTo>
                  <a:pt x="5957" y="382"/>
                </a:lnTo>
                <a:lnTo>
                  <a:pt x="5927" y="416"/>
                </a:lnTo>
                <a:lnTo>
                  <a:pt x="5915" y="431"/>
                </a:lnTo>
                <a:lnTo>
                  <a:pt x="5905" y="442"/>
                </a:lnTo>
                <a:lnTo>
                  <a:pt x="5902" y="446"/>
                </a:lnTo>
                <a:lnTo>
                  <a:pt x="5901" y="450"/>
                </a:lnTo>
                <a:lnTo>
                  <a:pt x="5899" y="454"/>
                </a:lnTo>
                <a:lnTo>
                  <a:pt x="5899" y="458"/>
                </a:lnTo>
                <a:lnTo>
                  <a:pt x="5900" y="462"/>
                </a:lnTo>
                <a:lnTo>
                  <a:pt x="5901" y="467"/>
                </a:lnTo>
                <a:lnTo>
                  <a:pt x="5903" y="471"/>
                </a:lnTo>
                <a:lnTo>
                  <a:pt x="5906" y="476"/>
                </a:lnTo>
                <a:lnTo>
                  <a:pt x="5914" y="485"/>
                </a:lnTo>
                <a:lnTo>
                  <a:pt x="5925" y="497"/>
                </a:lnTo>
                <a:lnTo>
                  <a:pt x="5952" y="527"/>
                </a:lnTo>
                <a:lnTo>
                  <a:pt x="5985" y="559"/>
                </a:lnTo>
                <a:lnTo>
                  <a:pt x="6016" y="590"/>
                </a:lnTo>
                <a:lnTo>
                  <a:pt x="6018" y="592"/>
                </a:lnTo>
                <a:lnTo>
                  <a:pt x="6019" y="594"/>
                </a:lnTo>
                <a:lnTo>
                  <a:pt x="6020" y="596"/>
                </a:lnTo>
                <a:lnTo>
                  <a:pt x="6021" y="599"/>
                </a:lnTo>
                <a:lnTo>
                  <a:pt x="6020" y="604"/>
                </a:lnTo>
                <a:lnTo>
                  <a:pt x="6019" y="607"/>
                </a:lnTo>
                <a:lnTo>
                  <a:pt x="6017" y="610"/>
                </a:lnTo>
                <a:lnTo>
                  <a:pt x="6014" y="616"/>
                </a:lnTo>
                <a:lnTo>
                  <a:pt x="6011" y="618"/>
                </a:lnTo>
                <a:lnTo>
                  <a:pt x="6009" y="621"/>
                </a:lnTo>
                <a:lnTo>
                  <a:pt x="6004" y="626"/>
                </a:lnTo>
                <a:lnTo>
                  <a:pt x="6001" y="628"/>
                </a:lnTo>
                <a:lnTo>
                  <a:pt x="5998" y="629"/>
                </a:lnTo>
                <a:lnTo>
                  <a:pt x="5992" y="633"/>
                </a:lnTo>
                <a:lnTo>
                  <a:pt x="5989" y="633"/>
                </a:lnTo>
                <a:lnTo>
                  <a:pt x="5986" y="634"/>
                </a:lnTo>
                <a:close/>
                <a:moveTo>
                  <a:pt x="5598" y="1633"/>
                </a:moveTo>
                <a:lnTo>
                  <a:pt x="5591" y="1632"/>
                </a:lnTo>
                <a:lnTo>
                  <a:pt x="5583" y="1632"/>
                </a:lnTo>
                <a:lnTo>
                  <a:pt x="5576" y="1631"/>
                </a:lnTo>
                <a:lnTo>
                  <a:pt x="5568" y="1629"/>
                </a:lnTo>
                <a:lnTo>
                  <a:pt x="5561" y="1627"/>
                </a:lnTo>
                <a:lnTo>
                  <a:pt x="5554" y="1625"/>
                </a:lnTo>
                <a:lnTo>
                  <a:pt x="5539" y="1619"/>
                </a:lnTo>
                <a:lnTo>
                  <a:pt x="5526" y="1612"/>
                </a:lnTo>
                <a:lnTo>
                  <a:pt x="5520" y="1608"/>
                </a:lnTo>
                <a:lnTo>
                  <a:pt x="5514" y="1603"/>
                </a:lnTo>
                <a:lnTo>
                  <a:pt x="5508" y="1598"/>
                </a:lnTo>
                <a:lnTo>
                  <a:pt x="5502" y="1593"/>
                </a:lnTo>
                <a:lnTo>
                  <a:pt x="5497" y="1587"/>
                </a:lnTo>
                <a:lnTo>
                  <a:pt x="5492" y="1581"/>
                </a:lnTo>
                <a:lnTo>
                  <a:pt x="5486" y="1575"/>
                </a:lnTo>
                <a:lnTo>
                  <a:pt x="5481" y="1568"/>
                </a:lnTo>
                <a:lnTo>
                  <a:pt x="5477" y="1562"/>
                </a:lnTo>
                <a:lnTo>
                  <a:pt x="5472" y="1555"/>
                </a:lnTo>
                <a:lnTo>
                  <a:pt x="5468" y="1548"/>
                </a:lnTo>
                <a:lnTo>
                  <a:pt x="5465" y="1540"/>
                </a:lnTo>
                <a:lnTo>
                  <a:pt x="5462" y="1533"/>
                </a:lnTo>
                <a:lnTo>
                  <a:pt x="5459" y="1524"/>
                </a:lnTo>
                <a:lnTo>
                  <a:pt x="5456" y="1516"/>
                </a:lnTo>
                <a:lnTo>
                  <a:pt x="5454" y="1508"/>
                </a:lnTo>
                <a:lnTo>
                  <a:pt x="5452" y="1500"/>
                </a:lnTo>
                <a:lnTo>
                  <a:pt x="5450" y="1491"/>
                </a:lnTo>
                <a:lnTo>
                  <a:pt x="5449" y="1482"/>
                </a:lnTo>
                <a:lnTo>
                  <a:pt x="5448" y="1473"/>
                </a:lnTo>
                <a:lnTo>
                  <a:pt x="5447" y="1463"/>
                </a:lnTo>
                <a:lnTo>
                  <a:pt x="5447" y="1454"/>
                </a:lnTo>
                <a:lnTo>
                  <a:pt x="5448" y="1436"/>
                </a:lnTo>
                <a:lnTo>
                  <a:pt x="5449" y="1426"/>
                </a:lnTo>
                <a:lnTo>
                  <a:pt x="5450" y="1417"/>
                </a:lnTo>
                <a:lnTo>
                  <a:pt x="5452" y="1407"/>
                </a:lnTo>
                <a:lnTo>
                  <a:pt x="5454" y="1398"/>
                </a:lnTo>
                <a:lnTo>
                  <a:pt x="5456" y="1390"/>
                </a:lnTo>
                <a:lnTo>
                  <a:pt x="5459" y="1381"/>
                </a:lnTo>
                <a:lnTo>
                  <a:pt x="5462" y="1373"/>
                </a:lnTo>
                <a:lnTo>
                  <a:pt x="5466" y="1364"/>
                </a:lnTo>
                <a:lnTo>
                  <a:pt x="5470" y="1356"/>
                </a:lnTo>
                <a:lnTo>
                  <a:pt x="5474" y="1348"/>
                </a:lnTo>
                <a:lnTo>
                  <a:pt x="5478" y="1340"/>
                </a:lnTo>
                <a:lnTo>
                  <a:pt x="5483" y="1333"/>
                </a:lnTo>
                <a:lnTo>
                  <a:pt x="5494" y="1319"/>
                </a:lnTo>
                <a:lnTo>
                  <a:pt x="5500" y="1312"/>
                </a:lnTo>
                <a:lnTo>
                  <a:pt x="5505" y="1306"/>
                </a:lnTo>
                <a:lnTo>
                  <a:pt x="5518" y="1295"/>
                </a:lnTo>
                <a:lnTo>
                  <a:pt x="5524" y="1289"/>
                </a:lnTo>
                <a:lnTo>
                  <a:pt x="5531" y="1284"/>
                </a:lnTo>
                <a:lnTo>
                  <a:pt x="5537" y="1279"/>
                </a:lnTo>
                <a:lnTo>
                  <a:pt x="5545" y="1275"/>
                </a:lnTo>
                <a:lnTo>
                  <a:pt x="5553" y="1272"/>
                </a:lnTo>
                <a:lnTo>
                  <a:pt x="5560" y="1269"/>
                </a:lnTo>
                <a:lnTo>
                  <a:pt x="5568" y="1266"/>
                </a:lnTo>
                <a:lnTo>
                  <a:pt x="5576" y="1264"/>
                </a:lnTo>
                <a:lnTo>
                  <a:pt x="5583" y="1262"/>
                </a:lnTo>
                <a:lnTo>
                  <a:pt x="5591" y="1260"/>
                </a:lnTo>
                <a:lnTo>
                  <a:pt x="5600" y="1260"/>
                </a:lnTo>
                <a:lnTo>
                  <a:pt x="5608" y="1259"/>
                </a:lnTo>
                <a:lnTo>
                  <a:pt x="5619" y="1260"/>
                </a:lnTo>
                <a:lnTo>
                  <a:pt x="5624" y="1260"/>
                </a:lnTo>
                <a:lnTo>
                  <a:pt x="5629" y="1261"/>
                </a:lnTo>
                <a:lnTo>
                  <a:pt x="5633" y="1262"/>
                </a:lnTo>
                <a:lnTo>
                  <a:pt x="5638" y="1263"/>
                </a:lnTo>
                <a:lnTo>
                  <a:pt x="5646" y="1267"/>
                </a:lnTo>
                <a:lnTo>
                  <a:pt x="5654" y="1270"/>
                </a:lnTo>
                <a:lnTo>
                  <a:pt x="5661" y="1275"/>
                </a:lnTo>
                <a:lnTo>
                  <a:pt x="5668" y="1280"/>
                </a:lnTo>
                <a:lnTo>
                  <a:pt x="5675" y="1286"/>
                </a:lnTo>
                <a:lnTo>
                  <a:pt x="5678" y="1290"/>
                </a:lnTo>
                <a:lnTo>
                  <a:pt x="5680" y="1294"/>
                </a:lnTo>
                <a:lnTo>
                  <a:pt x="5685" y="1301"/>
                </a:lnTo>
                <a:lnTo>
                  <a:pt x="5689" y="1309"/>
                </a:lnTo>
                <a:lnTo>
                  <a:pt x="5693" y="1317"/>
                </a:lnTo>
                <a:lnTo>
                  <a:pt x="5695" y="1326"/>
                </a:lnTo>
                <a:lnTo>
                  <a:pt x="5697" y="1335"/>
                </a:lnTo>
                <a:lnTo>
                  <a:pt x="5698" y="1345"/>
                </a:lnTo>
                <a:lnTo>
                  <a:pt x="5699" y="1356"/>
                </a:lnTo>
                <a:lnTo>
                  <a:pt x="5698" y="1368"/>
                </a:lnTo>
                <a:lnTo>
                  <a:pt x="5697" y="1374"/>
                </a:lnTo>
                <a:lnTo>
                  <a:pt x="5696" y="1380"/>
                </a:lnTo>
                <a:lnTo>
                  <a:pt x="5692" y="1392"/>
                </a:lnTo>
                <a:lnTo>
                  <a:pt x="5687" y="1404"/>
                </a:lnTo>
                <a:lnTo>
                  <a:pt x="5681" y="1416"/>
                </a:lnTo>
                <a:lnTo>
                  <a:pt x="5673" y="1427"/>
                </a:lnTo>
                <a:lnTo>
                  <a:pt x="5668" y="1432"/>
                </a:lnTo>
                <a:lnTo>
                  <a:pt x="5664" y="1437"/>
                </a:lnTo>
                <a:lnTo>
                  <a:pt x="5655" y="1446"/>
                </a:lnTo>
                <a:lnTo>
                  <a:pt x="5645" y="1454"/>
                </a:lnTo>
                <a:lnTo>
                  <a:pt x="5640" y="1458"/>
                </a:lnTo>
                <a:lnTo>
                  <a:pt x="5634" y="1462"/>
                </a:lnTo>
                <a:lnTo>
                  <a:pt x="5623" y="1469"/>
                </a:lnTo>
                <a:lnTo>
                  <a:pt x="5611" y="1475"/>
                </a:lnTo>
                <a:lnTo>
                  <a:pt x="5598" y="1480"/>
                </a:lnTo>
                <a:lnTo>
                  <a:pt x="5592" y="1482"/>
                </a:lnTo>
                <a:lnTo>
                  <a:pt x="5586" y="1483"/>
                </a:lnTo>
                <a:lnTo>
                  <a:pt x="5579" y="1484"/>
                </a:lnTo>
                <a:lnTo>
                  <a:pt x="5573" y="1485"/>
                </a:lnTo>
                <a:lnTo>
                  <a:pt x="5561" y="1486"/>
                </a:lnTo>
                <a:lnTo>
                  <a:pt x="5555" y="1485"/>
                </a:lnTo>
                <a:lnTo>
                  <a:pt x="5549" y="1483"/>
                </a:lnTo>
                <a:lnTo>
                  <a:pt x="5545" y="1481"/>
                </a:lnTo>
                <a:lnTo>
                  <a:pt x="5543" y="1479"/>
                </a:lnTo>
                <a:lnTo>
                  <a:pt x="5541" y="1477"/>
                </a:lnTo>
                <a:lnTo>
                  <a:pt x="5538" y="1472"/>
                </a:lnTo>
                <a:lnTo>
                  <a:pt x="5535" y="1466"/>
                </a:lnTo>
                <a:lnTo>
                  <a:pt x="5535" y="1463"/>
                </a:lnTo>
                <a:lnTo>
                  <a:pt x="5534" y="1460"/>
                </a:lnTo>
                <a:lnTo>
                  <a:pt x="5533" y="1454"/>
                </a:lnTo>
                <a:lnTo>
                  <a:pt x="5533" y="1451"/>
                </a:lnTo>
                <a:lnTo>
                  <a:pt x="5534" y="1448"/>
                </a:lnTo>
                <a:lnTo>
                  <a:pt x="5535" y="1443"/>
                </a:lnTo>
                <a:lnTo>
                  <a:pt x="5536" y="1441"/>
                </a:lnTo>
                <a:lnTo>
                  <a:pt x="5537" y="1439"/>
                </a:lnTo>
                <a:lnTo>
                  <a:pt x="5539" y="1438"/>
                </a:lnTo>
                <a:lnTo>
                  <a:pt x="5540" y="1436"/>
                </a:lnTo>
                <a:lnTo>
                  <a:pt x="5552" y="1434"/>
                </a:lnTo>
                <a:lnTo>
                  <a:pt x="5563" y="1432"/>
                </a:lnTo>
                <a:lnTo>
                  <a:pt x="5573" y="1428"/>
                </a:lnTo>
                <a:lnTo>
                  <a:pt x="5583" y="1424"/>
                </a:lnTo>
                <a:lnTo>
                  <a:pt x="5592" y="1420"/>
                </a:lnTo>
                <a:lnTo>
                  <a:pt x="5600" y="1415"/>
                </a:lnTo>
                <a:lnTo>
                  <a:pt x="5608" y="1408"/>
                </a:lnTo>
                <a:lnTo>
                  <a:pt x="5613" y="1406"/>
                </a:lnTo>
                <a:lnTo>
                  <a:pt x="5616" y="1403"/>
                </a:lnTo>
                <a:lnTo>
                  <a:pt x="5623" y="1396"/>
                </a:lnTo>
                <a:lnTo>
                  <a:pt x="5628" y="1390"/>
                </a:lnTo>
                <a:lnTo>
                  <a:pt x="5633" y="1383"/>
                </a:lnTo>
                <a:lnTo>
                  <a:pt x="5638" y="1376"/>
                </a:lnTo>
                <a:lnTo>
                  <a:pt x="5641" y="1369"/>
                </a:lnTo>
                <a:lnTo>
                  <a:pt x="5643" y="1362"/>
                </a:lnTo>
                <a:lnTo>
                  <a:pt x="5645" y="1355"/>
                </a:lnTo>
                <a:lnTo>
                  <a:pt x="5645" y="1347"/>
                </a:lnTo>
                <a:lnTo>
                  <a:pt x="5645" y="1339"/>
                </a:lnTo>
                <a:lnTo>
                  <a:pt x="5642" y="1332"/>
                </a:lnTo>
                <a:lnTo>
                  <a:pt x="5641" y="1328"/>
                </a:lnTo>
                <a:lnTo>
                  <a:pt x="5639" y="1325"/>
                </a:lnTo>
                <a:lnTo>
                  <a:pt x="5637" y="1323"/>
                </a:lnTo>
                <a:lnTo>
                  <a:pt x="5634" y="1320"/>
                </a:lnTo>
                <a:lnTo>
                  <a:pt x="5629" y="1316"/>
                </a:lnTo>
                <a:lnTo>
                  <a:pt x="5625" y="1314"/>
                </a:lnTo>
                <a:lnTo>
                  <a:pt x="5622" y="1313"/>
                </a:lnTo>
                <a:lnTo>
                  <a:pt x="5614" y="1311"/>
                </a:lnTo>
                <a:lnTo>
                  <a:pt x="5609" y="1310"/>
                </a:lnTo>
                <a:lnTo>
                  <a:pt x="5604" y="1310"/>
                </a:lnTo>
                <a:lnTo>
                  <a:pt x="5595" y="1311"/>
                </a:lnTo>
                <a:lnTo>
                  <a:pt x="5591" y="1312"/>
                </a:lnTo>
                <a:lnTo>
                  <a:pt x="5586" y="1313"/>
                </a:lnTo>
                <a:lnTo>
                  <a:pt x="5582" y="1315"/>
                </a:lnTo>
                <a:lnTo>
                  <a:pt x="5578" y="1316"/>
                </a:lnTo>
                <a:lnTo>
                  <a:pt x="5573" y="1319"/>
                </a:lnTo>
                <a:lnTo>
                  <a:pt x="5569" y="1321"/>
                </a:lnTo>
                <a:lnTo>
                  <a:pt x="5564" y="1324"/>
                </a:lnTo>
                <a:lnTo>
                  <a:pt x="5560" y="1327"/>
                </a:lnTo>
                <a:lnTo>
                  <a:pt x="5552" y="1334"/>
                </a:lnTo>
                <a:lnTo>
                  <a:pt x="5543" y="1342"/>
                </a:lnTo>
                <a:lnTo>
                  <a:pt x="5536" y="1352"/>
                </a:lnTo>
                <a:lnTo>
                  <a:pt x="5532" y="1357"/>
                </a:lnTo>
                <a:lnTo>
                  <a:pt x="5529" y="1362"/>
                </a:lnTo>
                <a:lnTo>
                  <a:pt x="5523" y="1373"/>
                </a:lnTo>
                <a:lnTo>
                  <a:pt x="5517" y="1384"/>
                </a:lnTo>
                <a:lnTo>
                  <a:pt x="5512" y="1397"/>
                </a:lnTo>
                <a:lnTo>
                  <a:pt x="5509" y="1409"/>
                </a:lnTo>
                <a:lnTo>
                  <a:pt x="5506" y="1424"/>
                </a:lnTo>
                <a:lnTo>
                  <a:pt x="5504" y="1438"/>
                </a:lnTo>
                <a:lnTo>
                  <a:pt x="5504" y="1445"/>
                </a:lnTo>
                <a:lnTo>
                  <a:pt x="5503" y="1452"/>
                </a:lnTo>
                <a:lnTo>
                  <a:pt x="5504" y="1464"/>
                </a:lnTo>
                <a:lnTo>
                  <a:pt x="5505" y="1478"/>
                </a:lnTo>
                <a:lnTo>
                  <a:pt x="5507" y="1489"/>
                </a:lnTo>
                <a:lnTo>
                  <a:pt x="5509" y="1495"/>
                </a:lnTo>
                <a:lnTo>
                  <a:pt x="5510" y="1500"/>
                </a:lnTo>
                <a:lnTo>
                  <a:pt x="5514" y="1511"/>
                </a:lnTo>
                <a:lnTo>
                  <a:pt x="5516" y="1516"/>
                </a:lnTo>
                <a:lnTo>
                  <a:pt x="5518" y="1521"/>
                </a:lnTo>
                <a:lnTo>
                  <a:pt x="5521" y="1525"/>
                </a:lnTo>
                <a:lnTo>
                  <a:pt x="5524" y="1530"/>
                </a:lnTo>
                <a:lnTo>
                  <a:pt x="5526" y="1535"/>
                </a:lnTo>
                <a:lnTo>
                  <a:pt x="5529" y="1539"/>
                </a:lnTo>
                <a:lnTo>
                  <a:pt x="5533" y="1543"/>
                </a:lnTo>
                <a:lnTo>
                  <a:pt x="5536" y="1546"/>
                </a:lnTo>
                <a:lnTo>
                  <a:pt x="5543" y="1553"/>
                </a:lnTo>
                <a:lnTo>
                  <a:pt x="5552" y="1559"/>
                </a:lnTo>
                <a:lnTo>
                  <a:pt x="5561" y="1563"/>
                </a:lnTo>
                <a:lnTo>
                  <a:pt x="5570" y="1567"/>
                </a:lnTo>
                <a:lnTo>
                  <a:pt x="5579" y="1570"/>
                </a:lnTo>
                <a:lnTo>
                  <a:pt x="5590" y="1572"/>
                </a:lnTo>
                <a:lnTo>
                  <a:pt x="5595" y="1572"/>
                </a:lnTo>
                <a:lnTo>
                  <a:pt x="5600" y="1572"/>
                </a:lnTo>
                <a:lnTo>
                  <a:pt x="5612" y="1572"/>
                </a:lnTo>
                <a:lnTo>
                  <a:pt x="5622" y="1570"/>
                </a:lnTo>
                <a:lnTo>
                  <a:pt x="5632" y="1568"/>
                </a:lnTo>
                <a:lnTo>
                  <a:pt x="5641" y="1564"/>
                </a:lnTo>
                <a:lnTo>
                  <a:pt x="5651" y="1560"/>
                </a:lnTo>
                <a:lnTo>
                  <a:pt x="5660" y="1555"/>
                </a:lnTo>
                <a:lnTo>
                  <a:pt x="5668" y="1549"/>
                </a:lnTo>
                <a:lnTo>
                  <a:pt x="5678" y="1543"/>
                </a:lnTo>
                <a:lnTo>
                  <a:pt x="5685" y="1536"/>
                </a:lnTo>
                <a:lnTo>
                  <a:pt x="5693" y="1527"/>
                </a:lnTo>
                <a:lnTo>
                  <a:pt x="5700" y="1518"/>
                </a:lnTo>
                <a:lnTo>
                  <a:pt x="5707" y="1509"/>
                </a:lnTo>
                <a:lnTo>
                  <a:pt x="5720" y="1490"/>
                </a:lnTo>
                <a:lnTo>
                  <a:pt x="5726" y="1479"/>
                </a:lnTo>
                <a:lnTo>
                  <a:pt x="5733" y="1468"/>
                </a:lnTo>
                <a:lnTo>
                  <a:pt x="5738" y="1457"/>
                </a:lnTo>
                <a:lnTo>
                  <a:pt x="5743" y="1445"/>
                </a:lnTo>
                <a:lnTo>
                  <a:pt x="5747" y="1434"/>
                </a:lnTo>
                <a:lnTo>
                  <a:pt x="5751" y="1422"/>
                </a:lnTo>
                <a:lnTo>
                  <a:pt x="5755" y="1409"/>
                </a:lnTo>
                <a:lnTo>
                  <a:pt x="5759" y="1397"/>
                </a:lnTo>
                <a:lnTo>
                  <a:pt x="5762" y="1385"/>
                </a:lnTo>
                <a:lnTo>
                  <a:pt x="5764" y="1373"/>
                </a:lnTo>
                <a:lnTo>
                  <a:pt x="5766" y="1361"/>
                </a:lnTo>
                <a:lnTo>
                  <a:pt x="5768" y="1348"/>
                </a:lnTo>
                <a:lnTo>
                  <a:pt x="5770" y="1337"/>
                </a:lnTo>
                <a:lnTo>
                  <a:pt x="5771" y="1325"/>
                </a:lnTo>
                <a:lnTo>
                  <a:pt x="5772" y="1314"/>
                </a:lnTo>
                <a:lnTo>
                  <a:pt x="5772" y="1303"/>
                </a:lnTo>
                <a:lnTo>
                  <a:pt x="5772" y="1292"/>
                </a:lnTo>
                <a:lnTo>
                  <a:pt x="5771" y="1280"/>
                </a:lnTo>
                <a:lnTo>
                  <a:pt x="5772" y="1278"/>
                </a:lnTo>
                <a:lnTo>
                  <a:pt x="5774" y="1276"/>
                </a:lnTo>
                <a:lnTo>
                  <a:pt x="5776" y="1274"/>
                </a:lnTo>
                <a:lnTo>
                  <a:pt x="5779" y="1272"/>
                </a:lnTo>
                <a:lnTo>
                  <a:pt x="5786" y="1269"/>
                </a:lnTo>
                <a:lnTo>
                  <a:pt x="5789" y="1269"/>
                </a:lnTo>
                <a:lnTo>
                  <a:pt x="5795" y="1268"/>
                </a:lnTo>
                <a:lnTo>
                  <a:pt x="5802" y="1269"/>
                </a:lnTo>
                <a:lnTo>
                  <a:pt x="5805" y="1269"/>
                </a:lnTo>
                <a:lnTo>
                  <a:pt x="5808" y="1270"/>
                </a:lnTo>
                <a:lnTo>
                  <a:pt x="5814" y="1273"/>
                </a:lnTo>
                <a:lnTo>
                  <a:pt x="5817" y="1275"/>
                </a:lnTo>
                <a:lnTo>
                  <a:pt x="5819" y="1277"/>
                </a:lnTo>
                <a:lnTo>
                  <a:pt x="5823" y="1283"/>
                </a:lnTo>
                <a:lnTo>
                  <a:pt x="5825" y="1287"/>
                </a:lnTo>
                <a:lnTo>
                  <a:pt x="5826" y="1292"/>
                </a:lnTo>
                <a:lnTo>
                  <a:pt x="5827" y="1296"/>
                </a:lnTo>
                <a:lnTo>
                  <a:pt x="5828" y="1301"/>
                </a:lnTo>
                <a:lnTo>
                  <a:pt x="5828" y="1306"/>
                </a:lnTo>
                <a:lnTo>
                  <a:pt x="5828" y="1312"/>
                </a:lnTo>
                <a:lnTo>
                  <a:pt x="5828" y="1328"/>
                </a:lnTo>
                <a:lnTo>
                  <a:pt x="5827" y="1343"/>
                </a:lnTo>
                <a:lnTo>
                  <a:pt x="5825" y="1359"/>
                </a:lnTo>
                <a:lnTo>
                  <a:pt x="5823" y="1374"/>
                </a:lnTo>
                <a:lnTo>
                  <a:pt x="5821" y="1389"/>
                </a:lnTo>
                <a:lnTo>
                  <a:pt x="5818" y="1404"/>
                </a:lnTo>
                <a:lnTo>
                  <a:pt x="5814" y="1419"/>
                </a:lnTo>
                <a:lnTo>
                  <a:pt x="5810" y="1434"/>
                </a:lnTo>
                <a:lnTo>
                  <a:pt x="5806" y="1447"/>
                </a:lnTo>
                <a:lnTo>
                  <a:pt x="5801" y="1461"/>
                </a:lnTo>
                <a:lnTo>
                  <a:pt x="5796" y="1475"/>
                </a:lnTo>
                <a:lnTo>
                  <a:pt x="5789" y="1488"/>
                </a:lnTo>
                <a:lnTo>
                  <a:pt x="5783" y="1500"/>
                </a:lnTo>
                <a:lnTo>
                  <a:pt x="5777" y="1512"/>
                </a:lnTo>
                <a:lnTo>
                  <a:pt x="5770" y="1524"/>
                </a:lnTo>
                <a:lnTo>
                  <a:pt x="5763" y="1536"/>
                </a:lnTo>
                <a:lnTo>
                  <a:pt x="5755" y="1547"/>
                </a:lnTo>
                <a:lnTo>
                  <a:pt x="5747" y="1557"/>
                </a:lnTo>
                <a:lnTo>
                  <a:pt x="5738" y="1567"/>
                </a:lnTo>
                <a:lnTo>
                  <a:pt x="5729" y="1576"/>
                </a:lnTo>
                <a:lnTo>
                  <a:pt x="5720" y="1584"/>
                </a:lnTo>
                <a:lnTo>
                  <a:pt x="5710" y="1593"/>
                </a:lnTo>
                <a:lnTo>
                  <a:pt x="5701" y="1600"/>
                </a:lnTo>
                <a:lnTo>
                  <a:pt x="5691" y="1607"/>
                </a:lnTo>
                <a:lnTo>
                  <a:pt x="5680" y="1613"/>
                </a:lnTo>
                <a:lnTo>
                  <a:pt x="5669" y="1618"/>
                </a:lnTo>
                <a:lnTo>
                  <a:pt x="5658" y="1622"/>
                </a:lnTo>
                <a:lnTo>
                  <a:pt x="5646" y="1626"/>
                </a:lnTo>
                <a:lnTo>
                  <a:pt x="5635" y="1629"/>
                </a:lnTo>
                <a:lnTo>
                  <a:pt x="5623" y="1631"/>
                </a:lnTo>
                <a:lnTo>
                  <a:pt x="5611" y="1632"/>
                </a:lnTo>
                <a:lnTo>
                  <a:pt x="5598" y="1633"/>
                </a:lnTo>
                <a:close/>
                <a:moveTo>
                  <a:pt x="5986" y="1627"/>
                </a:moveTo>
                <a:lnTo>
                  <a:pt x="5984" y="1627"/>
                </a:lnTo>
                <a:lnTo>
                  <a:pt x="5982" y="1626"/>
                </a:lnTo>
                <a:lnTo>
                  <a:pt x="5977" y="1623"/>
                </a:lnTo>
                <a:lnTo>
                  <a:pt x="5969" y="1619"/>
                </a:lnTo>
                <a:lnTo>
                  <a:pt x="5962" y="1613"/>
                </a:lnTo>
                <a:lnTo>
                  <a:pt x="5949" y="1603"/>
                </a:lnTo>
                <a:lnTo>
                  <a:pt x="5934" y="1588"/>
                </a:lnTo>
                <a:lnTo>
                  <a:pt x="5918" y="1572"/>
                </a:lnTo>
                <a:lnTo>
                  <a:pt x="5900" y="1555"/>
                </a:lnTo>
                <a:lnTo>
                  <a:pt x="5884" y="1538"/>
                </a:lnTo>
                <a:lnTo>
                  <a:pt x="5870" y="1521"/>
                </a:lnTo>
                <a:lnTo>
                  <a:pt x="5859" y="1506"/>
                </a:lnTo>
                <a:lnTo>
                  <a:pt x="5854" y="1500"/>
                </a:lnTo>
                <a:lnTo>
                  <a:pt x="5851" y="1495"/>
                </a:lnTo>
                <a:lnTo>
                  <a:pt x="5845" y="1485"/>
                </a:lnTo>
                <a:lnTo>
                  <a:pt x="5841" y="1475"/>
                </a:lnTo>
                <a:lnTo>
                  <a:pt x="5839" y="1464"/>
                </a:lnTo>
                <a:lnTo>
                  <a:pt x="5838" y="1454"/>
                </a:lnTo>
                <a:lnTo>
                  <a:pt x="5838" y="1449"/>
                </a:lnTo>
                <a:lnTo>
                  <a:pt x="5839" y="1443"/>
                </a:lnTo>
                <a:lnTo>
                  <a:pt x="5841" y="1437"/>
                </a:lnTo>
                <a:lnTo>
                  <a:pt x="5842" y="1431"/>
                </a:lnTo>
                <a:lnTo>
                  <a:pt x="5845" y="1425"/>
                </a:lnTo>
                <a:lnTo>
                  <a:pt x="5848" y="1419"/>
                </a:lnTo>
                <a:lnTo>
                  <a:pt x="5853" y="1412"/>
                </a:lnTo>
                <a:lnTo>
                  <a:pt x="5858" y="1404"/>
                </a:lnTo>
                <a:lnTo>
                  <a:pt x="5866" y="1393"/>
                </a:lnTo>
                <a:lnTo>
                  <a:pt x="5877" y="1380"/>
                </a:lnTo>
                <a:lnTo>
                  <a:pt x="5907" y="1345"/>
                </a:lnTo>
                <a:lnTo>
                  <a:pt x="5942" y="1306"/>
                </a:lnTo>
                <a:lnTo>
                  <a:pt x="5978" y="1264"/>
                </a:lnTo>
                <a:lnTo>
                  <a:pt x="5979" y="1264"/>
                </a:lnTo>
                <a:lnTo>
                  <a:pt x="5983" y="1264"/>
                </a:lnTo>
                <a:lnTo>
                  <a:pt x="5986" y="1264"/>
                </a:lnTo>
                <a:lnTo>
                  <a:pt x="5991" y="1265"/>
                </a:lnTo>
                <a:lnTo>
                  <a:pt x="5995" y="1267"/>
                </a:lnTo>
                <a:lnTo>
                  <a:pt x="5999" y="1270"/>
                </a:lnTo>
                <a:lnTo>
                  <a:pt x="6003" y="1273"/>
                </a:lnTo>
                <a:lnTo>
                  <a:pt x="6007" y="1276"/>
                </a:lnTo>
                <a:lnTo>
                  <a:pt x="6011" y="1281"/>
                </a:lnTo>
                <a:lnTo>
                  <a:pt x="6014" y="1286"/>
                </a:lnTo>
                <a:lnTo>
                  <a:pt x="6015" y="1290"/>
                </a:lnTo>
                <a:lnTo>
                  <a:pt x="6015" y="1296"/>
                </a:lnTo>
                <a:lnTo>
                  <a:pt x="6015" y="1301"/>
                </a:lnTo>
                <a:lnTo>
                  <a:pt x="6013" y="1307"/>
                </a:lnTo>
                <a:lnTo>
                  <a:pt x="6010" y="1312"/>
                </a:lnTo>
                <a:lnTo>
                  <a:pt x="6006" y="1318"/>
                </a:lnTo>
                <a:lnTo>
                  <a:pt x="5998" y="1329"/>
                </a:lnTo>
                <a:lnTo>
                  <a:pt x="5987" y="1342"/>
                </a:lnTo>
                <a:lnTo>
                  <a:pt x="5957" y="1376"/>
                </a:lnTo>
                <a:lnTo>
                  <a:pt x="5927" y="1409"/>
                </a:lnTo>
                <a:lnTo>
                  <a:pt x="5915" y="1425"/>
                </a:lnTo>
                <a:lnTo>
                  <a:pt x="5905" y="1436"/>
                </a:lnTo>
                <a:lnTo>
                  <a:pt x="5902" y="1440"/>
                </a:lnTo>
                <a:lnTo>
                  <a:pt x="5901" y="1444"/>
                </a:lnTo>
                <a:lnTo>
                  <a:pt x="5899" y="1447"/>
                </a:lnTo>
                <a:lnTo>
                  <a:pt x="5899" y="1451"/>
                </a:lnTo>
                <a:lnTo>
                  <a:pt x="5900" y="1455"/>
                </a:lnTo>
                <a:lnTo>
                  <a:pt x="5901" y="1460"/>
                </a:lnTo>
                <a:lnTo>
                  <a:pt x="5903" y="1464"/>
                </a:lnTo>
                <a:lnTo>
                  <a:pt x="5906" y="1469"/>
                </a:lnTo>
                <a:lnTo>
                  <a:pt x="5914" y="1479"/>
                </a:lnTo>
                <a:lnTo>
                  <a:pt x="5925" y="1491"/>
                </a:lnTo>
                <a:lnTo>
                  <a:pt x="5952" y="1520"/>
                </a:lnTo>
                <a:lnTo>
                  <a:pt x="5985" y="1553"/>
                </a:lnTo>
                <a:lnTo>
                  <a:pt x="6016" y="1583"/>
                </a:lnTo>
                <a:lnTo>
                  <a:pt x="6018" y="1585"/>
                </a:lnTo>
                <a:lnTo>
                  <a:pt x="6019" y="1587"/>
                </a:lnTo>
                <a:lnTo>
                  <a:pt x="6020" y="1589"/>
                </a:lnTo>
                <a:lnTo>
                  <a:pt x="6021" y="1593"/>
                </a:lnTo>
                <a:lnTo>
                  <a:pt x="6020" y="1599"/>
                </a:lnTo>
                <a:lnTo>
                  <a:pt x="6019" y="1601"/>
                </a:lnTo>
                <a:lnTo>
                  <a:pt x="6017" y="1604"/>
                </a:lnTo>
                <a:lnTo>
                  <a:pt x="6014" y="1610"/>
                </a:lnTo>
                <a:lnTo>
                  <a:pt x="6011" y="1613"/>
                </a:lnTo>
                <a:lnTo>
                  <a:pt x="6009" y="1615"/>
                </a:lnTo>
                <a:lnTo>
                  <a:pt x="6004" y="1620"/>
                </a:lnTo>
                <a:lnTo>
                  <a:pt x="6001" y="1622"/>
                </a:lnTo>
                <a:lnTo>
                  <a:pt x="5998" y="1624"/>
                </a:lnTo>
                <a:lnTo>
                  <a:pt x="5992" y="1626"/>
                </a:lnTo>
                <a:lnTo>
                  <a:pt x="5989" y="1627"/>
                </a:lnTo>
                <a:lnTo>
                  <a:pt x="5986" y="1627"/>
                </a:lnTo>
                <a:close/>
                <a:moveTo>
                  <a:pt x="5598" y="2627"/>
                </a:moveTo>
                <a:lnTo>
                  <a:pt x="5591" y="2627"/>
                </a:lnTo>
                <a:lnTo>
                  <a:pt x="5583" y="2626"/>
                </a:lnTo>
                <a:lnTo>
                  <a:pt x="5576" y="2625"/>
                </a:lnTo>
                <a:lnTo>
                  <a:pt x="5568" y="2623"/>
                </a:lnTo>
                <a:lnTo>
                  <a:pt x="5561" y="2621"/>
                </a:lnTo>
                <a:lnTo>
                  <a:pt x="5554" y="2619"/>
                </a:lnTo>
                <a:lnTo>
                  <a:pt x="5539" y="2613"/>
                </a:lnTo>
                <a:lnTo>
                  <a:pt x="5526" y="2605"/>
                </a:lnTo>
                <a:lnTo>
                  <a:pt x="5520" y="2601"/>
                </a:lnTo>
                <a:lnTo>
                  <a:pt x="5514" y="2596"/>
                </a:lnTo>
                <a:lnTo>
                  <a:pt x="5508" y="2591"/>
                </a:lnTo>
                <a:lnTo>
                  <a:pt x="5502" y="2586"/>
                </a:lnTo>
                <a:lnTo>
                  <a:pt x="5497" y="2581"/>
                </a:lnTo>
                <a:lnTo>
                  <a:pt x="5492" y="2575"/>
                </a:lnTo>
                <a:lnTo>
                  <a:pt x="5486" y="2569"/>
                </a:lnTo>
                <a:lnTo>
                  <a:pt x="5481" y="2563"/>
                </a:lnTo>
                <a:lnTo>
                  <a:pt x="5477" y="2556"/>
                </a:lnTo>
                <a:lnTo>
                  <a:pt x="5472" y="2548"/>
                </a:lnTo>
                <a:lnTo>
                  <a:pt x="5468" y="2541"/>
                </a:lnTo>
                <a:lnTo>
                  <a:pt x="5465" y="2534"/>
                </a:lnTo>
                <a:lnTo>
                  <a:pt x="5462" y="2526"/>
                </a:lnTo>
                <a:lnTo>
                  <a:pt x="5459" y="2518"/>
                </a:lnTo>
                <a:lnTo>
                  <a:pt x="5456" y="2510"/>
                </a:lnTo>
                <a:lnTo>
                  <a:pt x="5454" y="2502"/>
                </a:lnTo>
                <a:lnTo>
                  <a:pt x="5452" y="2494"/>
                </a:lnTo>
                <a:lnTo>
                  <a:pt x="5450" y="2484"/>
                </a:lnTo>
                <a:lnTo>
                  <a:pt x="5449" y="2475"/>
                </a:lnTo>
                <a:lnTo>
                  <a:pt x="5448" y="2467"/>
                </a:lnTo>
                <a:lnTo>
                  <a:pt x="5447" y="2458"/>
                </a:lnTo>
                <a:lnTo>
                  <a:pt x="5447" y="2448"/>
                </a:lnTo>
                <a:lnTo>
                  <a:pt x="5448" y="2429"/>
                </a:lnTo>
                <a:lnTo>
                  <a:pt x="5449" y="2420"/>
                </a:lnTo>
                <a:lnTo>
                  <a:pt x="5450" y="2410"/>
                </a:lnTo>
                <a:lnTo>
                  <a:pt x="5452" y="2401"/>
                </a:lnTo>
                <a:lnTo>
                  <a:pt x="5454" y="2393"/>
                </a:lnTo>
                <a:lnTo>
                  <a:pt x="5456" y="2384"/>
                </a:lnTo>
                <a:lnTo>
                  <a:pt x="5459" y="2375"/>
                </a:lnTo>
                <a:lnTo>
                  <a:pt x="5462" y="2366"/>
                </a:lnTo>
                <a:lnTo>
                  <a:pt x="5466" y="2358"/>
                </a:lnTo>
                <a:lnTo>
                  <a:pt x="5470" y="2350"/>
                </a:lnTo>
                <a:lnTo>
                  <a:pt x="5474" y="2342"/>
                </a:lnTo>
                <a:lnTo>
                  <a:pt x="5478" y="2334"/>
                </a:lnTo>
                <a:lnTo>
                  <a:pt x="5483" y="2327"/>
                </a:lnTo>
                <a:lnTo>
                  <a:pt x="5494" y="2313"/>
                </a:lnTo>
                <a:lnTo>
                  <a:pt x="5500" y="2305"/>
                </a:lnTo>
                <a:lnTo>
                  <a:pt x="5505" y="2299"/>
                </a:lnTo>
                <a:lnTo>
                  <a:pt x="5518" y="2288"/>
                </a:lnTo>
                <a:lnTo>
                  <a:pt x="5524" y="2283"/>
                </a:lnTo>
                <a:lnTo>
                  <a:pt x="5531" y="2278"/>
                </a:lnTo>
                <a:lnTo>
                  <a:pt x="5537" y="2274"/>
                </a:lnTo>
                <a:lnTo>
                  <a:pt x="5545" y="2269"/>
                </a:lnTo>
                <a:lnTo>
                  <a:pt x="5553" y="2266"/>
                </a:lnTo>
                <a:lnTo>
                  <a:pt x="5560" y="2263"/>
                </a:lnTo>
                <a:lnTo>
                  <a:pt x="5568" y="2260"/>
                </a:lnTo>
                <a:lnTo>
                  <a:pt x="5576" y="2258"/>
                </a:lnTo>
                <a:lnTo>
                  <a:pt x="5583" y="2256"/>
                </a:lnTo>
                <a:lnTo>
                  <a:pt x="5591" y="2255"/>
                </a:lnTo>
                <a:lnTo>
                  <a:pt x="5600" y="2254"/>
                </a:lnTo>
                <a:lnTo>
                  <a:pt x="5608" y="2254"/>
                </a:lnTo>
                <a:lnTo>
                  <a:pt x="5619" y="2254"/>
                </a:lnTo>
                <a:lnTo>
                  <a:pt x="5624" y="2255"/>
                </a:lnTo>
                <a:lnTo>
                  <a:pt x="5629" y="2255"/>
                </a:lnTo>
                <a:lnTo>
                  <a:pt x="5633" y="2256"/>
                </a:lnTo>
                <a:lnTo>
                  <a:pt x="5638" y="2258"/>
                </a:lnTo>
                <a:lnTo>
                  <a:pt x="5646" y="2261"/>
                </a:lnTo>
                <a:lnTo>
                  <a:pt x="5654" y="2265"/>
                </a:lnTo>
                <a:lnTo>
                  <a:pt x="5661" y="2269"/>
                </a:lnTo>
                <a:lnTo>
                  <a:pt x="5668" y="2275"/>
                </a:lnTo>
                <a:lnTo>
                  <a:pt x="5675" y="2281"/>
                </a:lnTo>
                <a:lnTo>
                  <a:pt x="5678" y="2284"/>
                </a:lnTo>
                <a:lnTo>
                  <a:pt x="5680" y="2287"/>
                </a:lnTo>
                <a:lnTo>
                  <a:pt x="5685" y="2295"/>
                </a:lnTo>
                <a:lnTo>
                  <a:pt x="5689" y="2302"/>
                </a:lnTo>
                <a:lnTo>
                  <a:pt x="5693" y="2312"/>
                </a:lnTo>
                <a:lnTo>
                  <a:pt x="5695" y="2320"/>
                </a:lnTo>
                <a:lnTo>
                  <a:pt x="5697" y="2329"/>
                </a:lnTo>
                <a:lnTo>
                  <a:pt x="5698" y="2339"/>
                </a:lnTo>
                <a:lnTo>
                  <a:pt x="5699" y="2349"/>
                </a:lnTo>
                <a:lnTo>
                  <a:pt x="5698" y="2361"/>
                </a:lnTo>
                <a:lnTo>
                  <a:pt x="5697" y="2368"/>
                </a:lnTo>
                <a:lnTo>
                  <a:pt x="5696" y="2375"/>
                </a:lnTo>
                <a:lnTo>
                  <a:pt x="5692" y="2387"/>
                </a:lnTo>
                <a:lnTo>
                  <a:pt x="5687" y="2398"/>
                </a:lnTo>
                <a:lnTo>
                  <a:pt x="5681" y="2409"/>
                </a:lnTo>
                <a:lnTo>
                  <a:pt x="5673" y="2420"/>
                </a:lnTo>
                <a:lnTo>
                  <a:pt x="5668" y="2425"/>
                </a:lnTo>
                <a:lnTo>
                  <a:pt x="5664" y="2430"/>
                </a:lnTo>
                <a:lnTo>
                  <a:pt x="5655" y="2440"/>
                </a:lnTo>
                <a:lnTo>
                  <a:pt x="5645" y="2449"/>
                </a:lnTo>
                <a:lnTo>
                  <a:pt x="5640" y="2452"/>
                </a:lnTo>
                <a:lnTo>
                  <a:pt x="5634" y="2456"/>
                </a:lnTo>
                <a:lnTo>
                  <a:pt x="5623" y="2463"/>
                </a:lnTo>
                <a:lnTo>
                  <a:pt x="5611" y="2468"/>
                </a:lnTo>
                <a:lnTo>
                  <a:pt x="5598" y="2473"/>
                </a:lnTo>
                <a:lnTo>
                  <a:pt x="5592" y="2475"/>
                </a:lnTo>
                <a:lnTo>
                  <a:pt x="5586" y="2476"/>
                </a:lnTo>
                <a:lnTo>
                  <a:pt x="5579" y="2478"/>
                </a:lnTo>
                <a:lnTo>
                  <a:pt x="5573" y="2478"/>
                </a:lnTo>
                <a:lnTo>
                  <a:pt x="5561" y="2479"/>
                </a:lnTo>
                <a:lnTo>
                  <a:pt x="5555" y="2478"/>
                </a:lnTo>
                <a:lnTo>
                  <a:pt x="5549" y="2477"/>
                </a:lnTo>
                <a:lnTo>
                  <a:pt x="5545" y="2474"/>
                </a:lnTo>
                <a:lnTo>
                  <a:pt x="5543" y="2472"/>
                </a:lnTo>
                <a:lnTo>
                  <a:pt x="5541" y="2470"/>
                </a:lnTo>
                <a:lnTo>
                  <a:pt x="5538" y="2465"/>
                </a:lnTo>
                <a:lnTo>
                  <a:pt x="5535" y="2460"/>
                </a:lnTo>
                <a:lnTo>
                  <a:pt x="5535" y="2457"/>
                </a:lnTo>
                <a:lnTo>
                  <a:pt x="5534" y="2454"/>
                </a:lnTo>
                <a:lnTo>
                  <a:pt x="5533" y="2448"/>
                </a:lnTo>
                <a:lnTo>
                  <a:pt x="5533" y="2445"/>
                </a:lnTo>
                <a:lnTo>
                  <a:pt x="5534" y="2442"/>
                </a:lnTo>
                <a:lnTo>
                  <a:pt x="5535" y="2437"/>
                </a:lnTo>
                <a:lnTo>
                  <a:pt x="5536" y="2435"/>
                </a:lnTo>
                <a:lnTo>
                  <a:pt x="5537" y="2433"/>
                </a:lnTo>
                <a:lnTo>
                  <a:pt x="5539" y="2432"/>
                </a:lnTo>
                <a:lnTo>
                  <a:pt x="5540" y="2430"/>
                </a:lnTo>
                <a:lnTo>
                  <a:pt x="5552" y="2428"/>
                </a:lnTo>
                <a:lnTo>
                  <a:pt x="5563" y="2425"/>
                </a:lnTo>
                <a:lnTo>
                  <a:pt x="5573" y="2422"/>
                </a:lnTo>
                <a:lnTo>
                  <a:pt x="5583" y="2418"/>
                </a:lnTo>
                <a:lnTo>
                  <a:pt x="5592" y="2413"/>
                </a:lnTo>
                <a:lnTo>
                  <a:pt x="5600" y="2408"/>
                </a:lnTo>
                <a:lnTo>
                  <a:pt x="5608" y="2403"/>
                </a:lnTo>
                <a:lnTo>
                  <a:pt x="5613" y="2400"/>
                </a:lnTo>
                <a:lnTo>
                  <a:pt x="5616" y="2397"/>
                </a:lnTo>
                <a:lnTo>
                  <a:pt x="5623" y="2390"/>
                </a:lnTo>
                <a:lnTo>
                  <a:pt x="5628" y="2384"/>
                </a:lnTo>
                <a:lnTo>
                  <a:pt x="5633" y="2377"/>
                </a:lnTo>
                <a:lnTo>
                  <a:pt x="5638" y="2369"/>
                </a:lnTo>
                <a:lnTo>
                  <a:pt x="5641" y="2362"/>
                </a:lnTo>
                <a:lnTo>
                  <a:pt x="5643" y="2355"/>
                </a:lnTo>
                <a:lnTo>
                  <a:pt x="5645" y="2348"/>
                </a:lnTo>
                <a:lnTo>
                  <a:pt x="5645" y="2341"/>
                </a:lnTo>
                <a:lnTo>
                  <a:pt x="5645" y="2333"/>
                </a:lnTo>
                <a:lnTo>
                  <a:pt x="5642" y="2326"/>
                </a:lnTo>
                <a:lnTo>
                  <a:pt x="5641" y="2323"/>
                </a:lnTo>
                <a:lnTo>
                  <a:pt x="5639" y="2319"/>
                </a:lnTo>
                <a:lnTo>
                  <a:pt x="5637" y="2317"/>
                </a:lnTo>
                <a:lnTo>
                  <a:pt x="5634" y="2314"/>
                </a:lnTo>
                <a:lnTo>
                  <a:pt x="5629" y="2309"/>
                </a:lnTo>
                <a:lnTo>
                  <a:pt x="5625" y="2307"/>
                </a:lnTo>
                <a:lnTo>
                  <a:pt x="5622" y="2306"/>
                </a:lnTo>
                <a:lnTo>
                  <a:pt x="5614" y="2304"/>
                </a:lnTo>
                <a:lnTo>
                  <a:pt x="5609" y="2303"/>
                </a:lnTo>
                <a:lnTo>
                  <a:pt x="5604" y="2303"/>
                </a:lnTo>
                <a:lnTo>
                  <a:pt x="5595" y="2304"/>
                </a:lnTo>
                <a:lnTo>
                  <a:pt x="5591" y="2305"/>
                </a:lnTo>
                <a:lnTo>
                  <a:pt x="5586" y="2306"/>
                </a:lnTo>
                <a:lnTo>
                  <a:pt x="5582" y="2308"/>
                </a:lnTo>
                <a:lnTo>
                  <a:pt x="5578" y="2310"/>
                </a:lnTo>
                <a:lnTo>
                  <a:pt x="5573" y="2313"/>
                </a:lnTo>
                <a:lnTo>
                  <a:pt x="5569" y="2315"/>
                </a:lnTo>
                <a:lnTo>
                  <a:pt x="5564" y="2318"/>
                </a:lnTo>
                <a:lnTo>
                  <a:pt x="5560" y="2321"/>
                </a:lnTo>
                <a:lnTo>
                  <a:pt x="5552" y="2328"/>
                </a:lnTo>
                <a:lnTo>
                  <a:pt x="5543" y="2336"/>
                </a:lnTo>
                <a:lnTo>
                  <a:pt x="5536" y="2345"/>
                </a:lnTo>
                <a:lnTo>
                  <a:pt x="5532" y="2350"/>
                </a:lnTo>
                <a:lnTo>
                  <a:pt x="5529" y="2355"/>
                </a:lnTo>
                <a:lnTo>
                  <a:pt x="5523" y="2366"/>
                </a:lnTo>
                <a:lnTo>
                  <a:pt x="5517" y="2379"/>
                </a:lnTo>
                <a:lnTo>
                  <a:pt x="5512" y="2391"/>
                </a:lnTo>
                <a:lnTo>
                  <a:pt x="5509" y="2404"/>
                </a:lnTo>
                <a:lnTo>
                  <a:pt x="5506" y="2417"/>
                </a:lnTo>
                <a:lnTo>
                  <a:pt x="5504" y="2432"/>
                </a:lnTo>
                <a:lnTo>
                  <a:pt x="5504" y="2439"/>
                </a:lnTo>
                <a:lnTo>
                  <a:pt x="5503" y="2446"/>
                </a:lnTo>
                <a:lnTo>
                  <a:pt x="5504" y="2459"/>
                </a:lnTo>
                <a:lnTo>
                  <a:pt x="5505" y="2471"/>
                </a:lnTo>
                <a:lnTo>
                  <a:pt x="5507" y="2482"/>
                </a:lnTo>
                <a:lnTo>
                  <a:pt x="5509" y="2488"/>
                </a:lnTo>
                <a:lnTo>
                  <a:pt x="5510" y="2494"/>
                </a:lnTo>
                <a:lnTo>
                  <a:pt x="5514" y="2505"/>
                </a:lnTo>
                <a:lnTo>
                  <a:pt x="5516" y="2510"/>
                </a:lnTo>
                <a:lnTo>
                  <a:pt x="5518" y="2515"/>
                </a:lnTo>
                <a:lnTo>
                  <a:pt x="5521" y="2519"/>
                </a:lnTo>
                <a:lnTo>
                  <a:pt x="5524" y="2524"/>
                </a:lnTo>
                <a:lnTo>
                  <a:pt x="5526" y="2528"/>
                </a:lnTo>
                <a:lnTo>
                  <a:pt x="5529" y="2532"/>
                </a:lnTo>
                <a:lnTo>
                  <a:pt x="5533" y="2536"/>
                </a:lnTo>
                <a:lnTo>
                  <a:pt x="5536" y="2540"/>
                </a:lnTo>
                <a:lnTo>
                  <a:pt x="5543" y="2546"/>
                </a:lnTo>
                <a:lnTo>
                  <a:pt x="5552" y="2553"/>
                </a:lnTo>
                <a:lnTo>
                  <a:pt x="5561" y="2558"/>
                </a:lnTo>
                <a:lnTo>
                  <a:pt x="5570" y="2561"/>
                </a:lnTo>
                <a:lnTo>
                  <a:pt x="5579" y="2564"/>
                </a:lnTo>
                <a:lnTo>
                  <a:pt x="5590" y="2566"/>
                </a:lnTo>
                <a:lnTo>
                  <a:pt x="5595" y="2566"/>
                </a:lnTo>
                <a:lnTo>
                  <a:pt x="5600" y="2567"/>
                </a:lnTo>
                <a:lnTo>
                  <a:pt x="5612" y="2566"/>
                </a:lnTo>
                <a:lnTo>
                  <a:pt x="5622" y="2564"/>
                </a:lnTo>
                <a:lnTo>
                  <a:pt x="5632" y="2562"/>
                </a:lnTo>
                <a:lnTo>
                  <a:pt x="5641" y="2559"/>
                </a:lnTo>
                <a:lnTo>
                  <a:pt x="5651" y="2554"/>
                </a:lnTo>
                <a:lnTo>
                  <a:pt x="5660" y="2548"/>
                </a:lnTo>
                <a:lnTo>
                  <a:pt x="5668" y="2543"/>
                </a:lnTo>
                <a:lnTo>
                  <a:pt x="5678" y="2536"/>
                </a:lnTo>
                <a:lnTo>
                  <a:pt x="5685" y="2529"/>
                </a:lnTo>
                <a:lnTo>
                  <a:pt x="5693" y="2521"/>
                </a:lnTo>
                <a:lnTo>
                  <a:pt x="5700" y="2512"/>
                </a:lnTo>
                <a:lnTo>
                  <a:pt x="5707" y="2503"/>
                </a:lnTo>
                <a:lnTo>
                  <a:pt x="5720" y="2483"/>
                </a:lnTo>
                <a:lnTo>
                  <a:pt x="5726" y="2473"/>
                </a:lnTo>
                <a:lnTo>
                  <a:pt x="5733" y="2462"/>
                </a:lnTo>
                <a:lnTo>
                  <a:pt x="5738" y="2451"/>
                </a:lnTo>
                <a:lnTo>
                  <a:pt x="5743" y="2440"/>
                </a:lnTo>
                <a:lnTo>
                  <a:pt x="5747" y="2427"/>
                </a:lnTo>
                <a:lnTo>
                  <a:pt x="5751" y="2415"/>
                </a:lnTo>
                <a:lnTo>
                  <a:pt x="5755" y="2403"/>
                </a:lnTo>
                <a:lnTo>
                  <a:pt x="5759" y="2391"/>
                </a:lnTo>
                <a:lnTo>
                  <a:pt x="5762" y="2379"/>
                </a:lnTo>
                <a:lnTo>
                  <a:pt x="5764" y="2366"/>
                </a:lnTo>
                <a:lnTo>
                  <a:pt x="5766" y="2354"/>
                </a:lnTo>
                <a:lnTo>
                  <a:pt x="5768" y="2343"/>
                </a:lnTo>
                <a:lnTo>
                  <a:pt x="5770" y="2331"/>
                </a:lnTo>
                <a:lnTo>
                  <a:pt x="5771" y="2319"/>
                </a:lnTo>
                <a:lnTo>
                  <a:pt x="5772" y="2307"/>
                </a:lnTo>
                <a:lnTo>
                  <a:pt x="5772" y="2296"/>
                </a:lnTo>
                <a:lnTo>
                  <a:pt x="5772" y="2285"/>
                </a:lnTo>
                <a:lnTo>
                  <a:pt x="5771" y="2275"/>
                </a:lnTo>
                <a:lnTo>
                  <a:pt x="5772" y="2272"/>
                </a:lnTo>
                <a:lnTo>
                  <a:pt x="5774" y="2270"/>
                </a:lnTo>
                <a:lnTo>
                  <a:pt x="5776" y="2268"/>
                </a:lnTo>
                <a:lnTo>
                  <a:pt x="5779" y="2266"/>
                </a:lnTo>
                <a:lnTo>
                  <a:pt x="5786" y="2263"/>
                </a:lnTo>
                <a:lnTo>
                  <a:pt x="5789" y="2263"/>
                </a:lnTo>
                <a:lnTo>
                  <a:pt x="5795" y="2262"/>
                </a:lnTo>
                <a:lnTo>
                  <a:pt x="5802" y="2263"/>
                </a:lnTo>
                <a:lnTo>
                  <a:pt x="5805" y="2264"/>
                </a:lnTo>
                <a:lnTo>
                  <a:pt x="5808" y="2265"/>
                </a:lnTo>
                <a:lnTo>
                  <a:pt x="5814" y="2267"/>
                </a:lnTo>
                <a:lnTo>
                  <a:pt x="5817" y="2269"/>
                </a:lnTo>
                <a:lnTo>
                  <a:pt x="5819" y="2272"/>
                </a:lnTo>
                <a:lnTo>
                  <a:pt x="5823" y="2277"/>
                </a:lnTo>
                <a:lnTo>
                  <a:pt x="5825" y="2281"/>
                </a:lnTo>
                <a:lnTo>
                  <a:pt x="5826" y="2285"/>
                </a:lnTo>
                <a:lnTo>
                  <a:pt x="5827" y="2289"/>
                </a:lnTo>
                <a:lnTo>
                  <a:pt x="5828" y="2294"/>
                </a:lnTo>
                <a:lnTo>
                  <a:pt x="5828" y="2299"/>
                </a:lnTo>
                <a:lnTo>
                  <a:pt x="5828" y="2305"/>
                </a:lnTo>
                <a:lnTo>
                  <a:pt x="5828" y="2322"/>
                </a:lnTo>
                <a:lnTo>
                  <a:pt x="5827" y="2337"/>
                </a:lnTo>
                <a:lnTo>
                  <a:pt x="5825" y="2352"/>
                </a:lnTo>
                <a:lnTo>
                  <a:pt x="5823" y="2368"/>
                </a:lnTo>
                <a:lnTo>
                  <a:pt x="5821" y="2383"/>
                </a:lnTo>
                <a:lnTo>
                  <a:pt x="5818" y="2398"/>
                </a:lnTo>
                <a:lnTo>
                  <a:pt x="5814" y="2413"/>
                </a:lnTo>
                <a:lnTo>
                  <a:pt x="5810" y="2427"/>
                </a:lnTo>
                <a:lnTo>
                  <a:pt x="5806" y="2442"/>
                </a:lnTo>
                <a:lnTo>
                  <a:pt x="5801" y="2455"/>
                </a:lnTo>
                <a:lnTo>
                  <a:pt x="5796" y="2468"/>
                </a:lnTo>
                <a:lnTo>
                  <a:pt x="5789" y="2481"/>
                </a:lnTo>
                <a:lnTo>
                  <a:pt x="5783" y="2495"/>
                </a:lnTo>
                <a:lnTo>
                  <a:pt x="5777" y="2507"/>
                </a:lnTo>
                <a:lnTo>
                  <a:pt x="5770" y="2518"/>
                </a:lnTo>
                <a:lnTo>
                  <a:pt x="5763" y="2529"/>
                </a:lnTo>
                <a:lnTo>
                  <a:pt x="5755" y="2540"/>
                </a:lnTo>
                <a:lnTo>
                  <a:pt x="5747" y="2550"/>
                </a:lnTo>
                <a:lnTo>
                  <a:pt x="5738" y="2561"/>
                </a:lnTo>
                <a:lnTo>
                  <a:pt x="5729" y="2570"/>
                </a:lnTo>
                <a:lnTo>
                  <a:pt x="5720" y="2578"/>
                </a:lnTo>
                <a:lnTo>
                  <a:pt x="5710" y="2586"/>
                </a:lnTo>
                <a:lnTo>
                  <a:pt x="5701" y="2593"/>
                </a:lnTo>
                <a:lnTo>
                  <a:pt x="5691" y="2600"/>
                </a:lnTo>
                <a:lnTo>
                  <a:pt x="5680" y="2606"/>
                </a:lnTo>
                <a:lnTo>
                  <a:pt x="5669" y="2612"/>
                </a:lnTo>
                <a:lnTo>
                  <a:pt x="5658" y="2616"/>
                </a:lnTo>
                <a:lnTo>
                  <a:pt x="5646" y="2620"/>
                </a:lnTo>
                <a:lnTo>
                  <a:pt x="5635" y="2623"/>
                </a:lnTo>
                <a:lnTo>
                  <a:pt x="5623" y="2625"/>
                </a:lnTo>
                <a:lnTo>
                  <a:pt x="5611" y="2626"/>
                </a:lnTo>
                <a:lnTo>
                  <a:pt x="5598" y="2627"/>
                </a:lnTo>
                <a:close/>
                <a:moveTo>
                  <a:pt x="5986" y="2621"/>
                </a:moveTo>
                <a:lnTo>
                  <a:pt x="5984" y="2621"/>
                </a:lnTo>
                <a:lnTo>
                  <a:pt x="5982" y="2620"/>
                </a:lnTo>
                <a:lnTo>
                  <a:pt x="5977" y="2617"/>
                </a:lnTo>
                <a:lnTo>
                  <a:pt x="5969" y="2613"/>
                </a:lnTo>
                <a:lnTo>
                  <a:pt x="5962" y="2607"/>
                </a:lnTo>
                <a:lnTo>
                  <a:pt x="5949" y="2596"/>
                </a:lnTo>
                <a:lnTo>
                  <a:pt x="5934" y="2582"/>
                </a:lnTo>
                <a:lnTo>
                  <a:pt x="5918" y="2566"/>
                </a:lnTo>
                <a:lnTo>
                  <a:pt x="5900" y="2548"/>
                </a:lnTo>
                <a:lnTo>
                  <a:pt x="5884" y="2531"/>
                </a:lnTo>
                <a:lnTo>
                  <a:pt x="5870" y="2515"/>
                </a:lnTo>
                <a:lnTo>
                  <a:pt x="5859" y="2501"/>
                </a:lnTo>
                <a:lnTo>
                  <a:pt x="5854" y="2494"/>
                </a:lnTo>
                <a:lnTo>
                  <a:pt x="5851" y="2488"/>
                </a:lnTo>
                <a:lnTo>
                  <a:pt x="5845" y="2478"/>
                </a:lnTo>
                <a:lnTo>
                  <a:pt x="5841" y="2468"/>
                </a:lnTo>
                <a:lnTo>
                  <a:pt x="5839" y="2458"/>
                </a:lnTo>
                <a:lnTo>
                  <a:pt x="5838" y="2448"/>
                </a:lnTo>
                <a:lnTo>
                  <a:pt x="5838" y="2443"/>
                </a:lnTo>
                <a:lnTo>
                  <a:pt x="5839" y="2437"/>
                </a:lnTo>
                <a:lnTo>
                  <a:pt x="5841" y="2430"/>
                </a:lnTo>
                <a:lnTo>
                  <a:pt x="5842" y="2424"/>
                </a:lnTo>
                <a:lnTo>
                  <a:pt x="5845" y="2418"/>
                </a:lnTo>
                <a:lnTo>
                  <a:pt x="5848" y="2412"/>
                </a:lnTo>
                <a:lnTo>
                  <a:pt x="5853" y="2405"/>
                </a:lnTo>
                <a:lnTo>
                  <a:pt x="5858" y="2398"/>
                </a:lnTo>
                <a:lnTo>
                  <a:pt x="5866" y="2387"/>
                </a:lnTo>
                <a:lnTo>
                  <a:pt x="5877" y="2374"/>
                </a:lnTo>
                <a:lnTo>
                  <a:pt x="5907" y="2339"/>
                </a:lnTo>
                <a:lnTo>
                  <a:pt x="5942" y="2299"/>
                </a:lnTo>
                <a:lnTo>
                  <a:pt x="5978" y="2259"/>
                </a:lnTo>
                <a:lnTo>
                  <a:pt x="5979" y="2258"/>
                </a:lnTo>
                <a:lnTo>
                  <a:pt x="5983" y="2258"/>
                </a:lnTo>
                <a:lnTo>
                  <a:pt x="5986" y="2258"/>
                </a:lnTo>
                <a:lnTo>
                  <a:pt x="5991" y="2260"/>
                </a:lnTo>
                <a:lnTo>
                  <a:pt x="5995" y="2261"/>
                </a:lnTo>
                <a:lnTo>
                  <a:pt x="5999" y="2264"/>
                </a:lnTo>
                <a:lnTo>
                  <a:pt x="6003" y="2267"/>
                </a:lnTo>
                <a:lnTo>
                  <a:pt x="6007" y="2271"/>
                </a:lnTo>
                <a:lnTo>
                  <a:pt x="6011" y="2275"/>
                </a:lnTo>
                <a:lnTo>
                  <a:pt x="6014" y="2280"/>
                </a:lnTo>
                <a:lnTo>
                  <a:pt x="6015" y="2284"/>
                </a:lnTo>
                <a:lnTo>
                  <a:pt x="6015" y="2289"/>
                </a:lnTo>
                <a:lnTo>
                  <a:pt x="6015" y="2295"/>
                </a:lnTo>
                <a:lnTo>
                  <a:pt x="6013" y="2300"/>
                </a:lnTo>
                <a:lnTo>
                  <a:pt x="6010" y="2306"/>
                </a:lnTo>
                <a:lnTo>
                  <a:pt x="6006" y="2313"/>
                </a:lnTo>
                <a:lnTo>
                  <a:pt x="5998" y="2323"/>
                </a:lnTo>
                <a:lnTo>
                  <a:pt x="5987" y="2336"/>
                </a:lnTo>
                <a:lnTo>
                  <a:pt x="5957" y="2369"/>
                </a:lnTo>
                <a:lnTo>
                  <a:pt x="5927" y="2404"/>
                </a:lnTo>
                <a:lnTo>
                  <a:pt x="5915" y="2418"/>
                </a:lnTo>
                <a:lnTo>
                  <a:pt x="5905" y="2430"/>
                </a:lnTo>
                <a:lnTo>
                  <a:pt x="5902" y="2434"/>
                </a:lnTo>
                <a:lnTo>
                  <a:pt x="5901" y="2438"/>
                </a:lnTo>
                <a:lnTo>
                  <a:pt x="5899" y="2442"/>
                </a:lnTo>
                <a:lnTo>
                  <a:pt x="5899" y="2445"/>
                </a:lnTo>
                <a:lnTo>
                  <a:pt x="5900" y="2450"/>
                </a:lnTo>
                <a:lnTo>
                  <a:pt x="5901" y="2454"/>
                </a:lnTo>
                <a:lnTo>
                  <a:pt x="5903" y="2458"/>
                </a:lnTo>
                <a:lnTo>
                  <a:pt x="5906" y="2463"/>
                </a:lnTo>
                <a:lnTo>
                  <a:pt x="5914" y="2472"/>
                </a:lnTo>
                <a:lnTo>
                  <a:pt x="5925" y="2484"/>
                </a:lnTo>
                <a:lnTo>
                  <a:pt x="5952" y="2514"/>
                </a:lnTo>
                <a:lnTo>
                  <a:pt x="5985" y="2546"/>
                </a:lnTo>
                <a:lnTo>
                  <a:pt x="6016" y="2577"/>
                </a:lnTo>
                <a:lnTo>
                  <a:pt x="6018" y="2579"/>
                </a:lnTo>
                <a:lnTo>
                  <a:pt x="6019" y="2581"/>
                </a:lnTo>
                <a:lnTo>
                  <a:pt x="6020" y="2584"/>
                </a:lnTo>
                <a:lnTo>
                  <a:pt x="6021" y="2586"/>
                </a:lnTo>
                <a:lnTo>
                  <a:pt x="6020" y="2592"/>
                </a:lnTo>
                <a:lnTo>
                  <a:pt x="6019" y="2595"/>
                </a:lnTo>
                <a:lnTo>
                  <a:pt x="6017" y="2597"/>
                </a:lnTo>
                <a:lnTo>
                  <a:pt x="6014" y="2603"/>
                </a:lnTo>
                <a:lnTo>
                  <a:pt x="6011" y="2606"/>
                </a:lnTo>
                <a:lnTo>
                  <a:pt x="6009" y="2608"/>
                </a:lnTo>
                <a:lnTo>
                  <a:pt x="6004" y="2614"/>
                </a:lnTo>
                <a:lnTo>
                  <a:pt x="6001" y="2616"/>
                </a:lnTo>
                <a:lnTo>
                  <a:pt x="5998" y="2618"/>
                </a:lnTo>
                <a:lnTo>
                  <a:pt x="5992" y="2620"/>
                </a:lnTo>
                <a:lnTo>
                  <a:pt x="5989" y="2621"/>
                </a:lnTo>
                <a:lnTo>
                  <a:pt x="5986" y="2621"/>
                </a:lnTo>
                <a:close/>
                <a:moveTo>
                  <a:pt x="2229" y="4087"/>
                </a:moveTo>
                <a:lnTo>
                  <a:pt x="2222" y="4087"/>
                </a:lnTo>
                <a:lnTo>
                  <a:pt x="2214" y="4086"/>
                </a:lnTo>
                <a:lnTo>
                  <a:pt x="2207" y="4085"/>
                </a:lnTo>
                <a:lnTo>
                  <a:pt x="2199" y="4084"/>
                </a:lnTo>
                <a:lnTo>
                  <a:pt x="2192" y="4082"/>
                </a:lnTo>
                <a:lnTo>
                  <a:pt x="2184" y="4080"/>
                </a:lnTo>
                <a:lnTo>
                  <a:pt x="2170" y="4074"/>
                </a:lnTo>
                <a:lnTo>
                  <a:pt x="2157" y="4066"/>
                </a:lnTo>
                <a:lnTo>
                  <a:pt x="2151" y="4062"/>
                </a:lnTo>
                <a:lnTo>
                  <a:pt x="2145" y="4058"/>
                </a:lnTo>
                <a:lnTo>
                  <a:pt x="2139" y="4053"/>
                </a:lnTo>
                <a:lnTo>
                  <a:pt x="2133" y="4047"/>
                </a:lnTo>
                <a:lnTo>
                  <a:pt x="2127" y="4041"/>
                </a:lnTo>
                <a:lnTo>
                  <a:pt x="2122" y="4035"/>
                </a:lnTo>
                <a:lnTo>
                  <a:pt x="2117" y="4029"/>
                </a:lnTo>
                <a:lnTo>
                  <a:pt x="2112" y="4023"/>
                </a:lnTo>
                <a:lnTo>
                  <a:pt x="2108" y="4016"/>
                </a:lnTo>
                <a:lnTo>
                  <a:pt x="2104" y="4010"/>
                </a:lnTo>
                <a:lnTo>
                  <a:pt x="2100" y="4003"/>
                </a:lnTo>
                <a:lnTo>
                  <a:pt x="2096" y="3995"/>
                </a:lnTo>
                <a:lnTo>
                  <a:pt x="2093" y="3987"/>
                </a:lnTo>
                <a:lnTo>
                  <a:pt x="2090" y="3979"/>
                </a:lnTo>
                <a:lnTo>
                  <a:pt x="2087" y="3971"/>
                </a:lnTo>
                <a:lnTo>
                  <a:pt x="2085" y="3963"/>
                </a:lnTo>
                <a:lnTo>
                  <a:pt x="2083" y="3954"/>
                </a:lnTo>
                <a:lnTo>
                  <a:pt x="2081" y="3946"/>
                </a:lnTo>
                <a:lnTo>
                  <a:pt x="2080" y="3937"/>
                </a:lnTo>
                <a:lnTo>
                  <a:pt x="2079" y="3927"/>
                </a:lnTo>
                <a:lnTo>
                  <a:pt x="2078" y="3918"/>
                </a:lnTo>
                <a:lnTo>
                  <a:pt x="2078" y="3909"/>
                </a:lnTo>
                <a:lnTo>
                  <a:pt x="2079" y="3890"/>
                </a:lnTo>
                <a:lnTo>
                  <a:pt x="2080" y="3881"/>
                </a:lnTo>
                <a:lnTo>
                  <a:pt x="2081" y="3872"/>
                </a:lnTo>
                <a:lnTo>
                  <a:pt x="2083" y="3862"/>
                </a:lnTo>
                <a:lnTo>
                  <a:pt x="2085" y="3853"/>
                </a:lnTo>
                <a:lnTo>
                  <a:pt x="2088" y="3844"/>
                </a:lnTo>
                <a:lnTo>
                  <a:pt x="2090" y="3836"/>
                </a:lnTo>
                <a:lnTo>
                  <a:pt x="2093" y="3827"/>
                </a:lnTo>
                <a:lnTo>
                  <a:pt x="2097" y="3819"/>
                </a:lnTo>
                <a:lnTo>
                  <a:pt x="2101" y="3810"/>
                </a:lnTo>
                <a:lnTo>
                  <a:pt x="2105" y="3802"/>
                </a:lnTo>
                <a:lnTo>
                  <a:pt x="2109" y="3795"/>
                </a:lnTo>
                <a:lnTo>
                  <a:pt x="2114" y="3787"/>
                </a:lnTo>
                <a:lnTo>
                  <a:pt x="2124" y="3774"/>
                </a:lnTo>
                <a:lnTo>
                  <a:pt x="2131" y="3767"/>
                </a:lnTo>
                <a:lnTo>
                  <a:pt x="2136" y="3761"/>
                </a:lnTo>
                <a:lnTo>
                  <a:pt x="2149" y="3748"/>
                </a:lnTo>
                <a:lnTo>
                  <a:pt x="2155" y="3743"/>
                </a:lnTo>
                <a:lnTo>
                  <a:pt x="2162" y="3738"/>
                </a:lnTo>
                <a:lnTo>
                  <a:pt x="2169" y="3734"/>
                </a:lnTo>
                <a:lnTo>
                  <a:pt x="2176" y="3730"/>
                </a:lnTo>
                <a:lnTo>
                  <a:pt x="2183" y="3726"/>
                </a:lnTo>
                <a:lnTo>
                  <a:pt x="2191" y="3723"/>
                </a:lnTo>
                <a:lnTo>
                  <a:pt x="2199" y="3721"/>
                </a:lnTo>
                <a:lnTo>
                  <a:pt x="2207" y="3718"/>
                </a:lnTo>
                <a:lnTo>
                  <a:pt x="2215" y="3716"/>
                </a:lnTo>
                <a:lnTo>
                  <a:pt x="2223" y="3715"/>
                </a:lnTo>
                <a:lnTo>
                  <a:pt x="2231" y="3714"/>
                </a:lnTo>
                <a:lnTo>
                  <a:pt x="2239" y="3714"/>
                </a:lnTo>
                <a:lnTo>
                  <a:pt x="2249" y="3715"/>
                </a:lnTo>
                <a:lnTo>
                  <a:pt x="2255" y="3715"/>
                </a:lnTo>
                <a:lnTo>
                  <a:pt x="2260" y="3716"/>
                </a:lnTo>
                <a:lnTo>
                  <a:pt x="2264" y="3717"/>
                </a:lnTo>
                <a:lnTo>
                  <a:pt x="2269" y="3718"/>
                </a:lnTo>
                <a:lnTo>
                  <a:pt x="2277" y="3721"/>
                </a:lnTo>
                <a:lnTo>
                  <a:pt x="2285" y="3725"/>
                </a:lnTo>
                <a:lnTo>
                  <a:pt x="2293" y="3730"/>
                </a:lnTo>
                <a:lnTo>
                  <a:pt x="2299" y="3735"/>
                </a:lnTo>
                <a:lnTo>
                  <a:pt x="2305" y="3741"/>
                </a:lnTo>
                <a:lnTo>
                  <a:pt x="2308" y="3744"/>
                </a:lnTo>
                <a:lnTo>
                  <a:pt x="2312" y="3748"/>
                </a:lnTo>
                <a:lnTo>
                  <a:pt x="2316" y="3756"/>
                </a:lnTo>
                <a:lnTo>
                  <a:pt x="2320" y="3764"/>
                </a:lnTo>
                <a:lnTo>
                  <a:pt x="2324" y="3772"/>
                </a:lnTo>
                <a:lnTo>
                  <a:pt x="2326" y="3781"/>
                </a:lnTo>
                <a:lnTo>
                  <a:pt x="2328" y="3790"/>
                </a:lnTo>
                <a:lnTo>
                  <a:pt x="2329" y="3800"/>
                </a:lnTo>
                <a:lnTo>
                  <a:pt x="2330" y="3809"/>
                </a:lnTo>
                <a:lnTo>
                  <a:pt x="2329" y="3823"/>
                </a:lnTo>
                <a:lnTo>
                  <a:pt x="2328" y="3829"/>
                </a:lnTo>
                <a:lnTo>
                  <a:pt x="2327" y="3835"/>
                </a:lnTo>
                <a:lnTo>
                  <a:pt x="2323" y="3847"/>
                </a:lnTo>
                <a:lnTo>
                  <a:pt x="2318" y="3859"/>
                </a:lnTo>
                <a:lnTo>
                  <a:pt x="2312" y="3870"/>
                </a:lnTo>
                <a:lnTo>
                  <a:pt x="2303" y="3881"/>
                </a:lnTo>
                <a:lnTo>
                  <a:pt x="2299" y="3887"/>
                </a:lnTo>
                <a:lnTo>
                  <a:pt x="2295" y="3891"/>
                </a:lnTo>
                <a:lnTo>
                  <a:pt x="2286" y="3901"/>
                </a:lnTo>
                <a:lnTo>
                  <a:pt x="2276" y="3909"/>
                </a:lnTo>
                <a:lnTo>
                  <a:pt x="2271" y="3913"/>
                </a:lnTo>
                <a:lnTo>
                  <a:pt x="2265" y="3917"/>
                </a:lnTo>
                <a:lnTo>
                  <a:pt x="2254" y="3923"/>
                </a:lnTo>
                <a:lnTo>
                  <a:pt x="2241" y="3929"/>
                </a:lnTo>
                <a:lnTo>
                  <a:pt x="2229" y="3935"/>
                </a:lnTo>
                <a:lnTo>
                  <a:pt x="2223" y="3936"/>
                </a:lnTo>
                <a:lnTo>
                  <a:pt x="2217" y="3938"/>
                </a:lnTo>
                <a:lnTo>
                  <a:pt x="2211" y="3939"/>
                </a:lnTo>
                <a:lnTo>
                  <a:pt x="2204" y="3940"/>
                </a:lnTo>
                <a:lnTo>
                  <a:pt x="2192" y="3941"/>
                </a:lnTo>
                <a:lnTo>
                  <a:pt x="2185" y="3940"/>
                </a:lnTo>
                <a:lnTo>
                  <a:pt x="2180" y="3938"/>
                </a:lnTo>
                <a:lnTo>
                  <a:pt x="2176" y="3935"/>
                </a:lnTo>
                <a:lnTo>
                  <a:pt x="2174" y="3933"/>
                </a:lnTo>
                <a:lnTo>
                  <a:pt x="2172" y="3930"/>
                </a:lnTo>
                <a:lnTo>
                  <a:pt x="2169" y="3926"/>
                </a:lnTo>
                <a:lnTo>
                  <a:pt x="2167" y="3921"/>
                </a:lnTo>
                <a:lnTo>
                  <a:pt x="2166" y="3918"/>
                </a:lnTo>
                <a:lnTo>
                  <a:pt x="2165" y="3915"/>
                </a:lnTo>
                <a:lnTo>
                  <a:pt x="2165" y="3908"/>
                </a:lnTo>
                <a:lnTo>
                  <a:pt x="2165" y="3906"/>
                </a:lnTo>
                <a:lnTo>
                  <a:pt x="2165" y="3903"/>
                </a:lnTo>
                <a:lnTo>
                  <a:pt x="2166" y="3898"/>
                </a:lnTo>
                <a:lnTo>
                  <a:pt x="2167" y="3896"/>
                </a:lnTo>
                <a:lnTo>
                  <a:pt x="2168" y="3894"/>
                </a:lnTo>
                <a:lnTo>
                  <a:pt x="2170" y="3892"/>
                </a:lnTo>
                <a:lnTo>
                  <a:pt x="2172" y="3891"/>
                </a:lnTo>
                <a:lnTo>
                  <a:pt x="2183" y="3889"/>
                </a:lnTo>
                <a:lnTo>
                  <a:pt x="2194" y="3887"/>
                </a:lnTo>
                <a:lnTo>
                  <a:pt x="2204" y="3883"/>
                </a:lnTo>
                <a:lnTo>
                  <a:pt x="2214" y="3879"/>
                </a:lnTo>
                <a:lnTo>
                  <a:pt x="2223" y="3875"/>
                </a:lnTo>
                <a:lnTo>
                  <a:pt x="2231" y="3869"/>
                </a:lnTo>
                <a:lnTo>
                  <a:pt x="2239" y="3863"/>
                </a:lnTo>
                <a:lnTo>
                  <a:pt x="2243" y="3860"/>
                </a:lnTo>
                <a:lnTo>
                  <a:pt x="2246" y="3857"/>
                </a:lnTo>
                <a:lnTo>
                  <a:pt x="2254" y="3851"/>
                </a:lnTo>
                <a:lnTo>
                  <a:pt x="2260" y="3845"/>
                </a:lnTo>
                <a:lnTo>
                  <a:pt x="2265" y="3838"/>
                </a:lnTo>
                <a:lnTo>
                  <a:pt x="2269" y="3831"/>
                </a:lnTo>
                <a:lnTo>
                  <a:pt x="2272" y="3824"/>
                </a:lnTo>
                <a:lnTo>
                  <a:pt x="2274" y="3817"/>
                </a:lnTo>
                <a:lnTo>
                  <a:pt x="2276" y="3809"/>
                </a:lnTo>
                <a:lnTo>
                  <a:pt x="2276" y="3802"/>
                </a:lnTo>
                <a:lnTo>
                  <a:pt x="2276" y="3794"/>
                </a:lnTo>
                <a:lnTo>
                  <a:pt x="2274" y="3786"/>
                </a:lnTo>
                <a:lnTo>
                  <a:pt x="2272" y="3783"/>
                </a:lnTo>
                <a:lnTo>
                  <a:pt x="2270" y="3780"/>
                </a:lnTo>
                <a:lnTo>
                  <a:pt x="2268" y="3777"/>
                </a:lnTo>
                <a:lnTo>
                  <a:pt x="2266" y="3775"/>
                </a:lnTo>
                <a:lnTo>
                  <a:pt x="2260" y="3771"/>
                </a:lnTo>
                <a:lnTo>
                  <a:pt x="2257" y="3769"/>
                </a:lnTo>
                <a:lnTo>
                  <a:pt x="2253" y="3767"/>
                </a:lnTo>
                <a:lnTo>
                  <a:pt x="2244" y="3766"/>
                </a:lnTo>
                <a:lnTo>
                  <a:pt x="2240" y="3765"/>
                </a:lnTo>
                <a:lnTo>
                  <a:pt x="2235" y="3765"/>
                </a:lnTo>
                <a:lnTo>
                  <a:pt x="2226" y="3766"/>
                </a:lnTo>
                <a:lnTo>
                  <a:pt x="2222" y="3766"/>
                </a:lnTo>
                <a:lnTo>
                  <a:pt x="2218" y="3768"/>
                </a:lnTo>
                <a:lnTo>
                  <a:pt x="2213" y="3769"/>
                </a:lnTo>
                <a:lnTo>
                  <a:pt x="2209" y="3771"/>
                </a:lnTo>
                <a:lnTo>
                  <a:pt x="2204" y="3773"/>
                </a:lnTo>
                <a:lnTo>
                  <a:pt x="2200" y="3776"/>
                </a:lnTo>
                <a:lnTo>
                  <a:pt x="2196" y="3779"/>
                </a:lnTo>
                <a:lnTo>
                  <a:pt x="2191" y="3782"/>
                </a:lnTo>
                <a:lnTo>
                  <a:pt x="2182" y="3789"/>
                </a:lnTo>
                <a:lnTo>
                  <a:pt x="2174" y="3797"/>
                </a:lnTo>
                <a:lnTo>
                  <a:pt x="2167" y="3806"/>
                </a:lnTo>
                <a:lnTo>
                  <a:pt x="2163" y="3812"/>
                </a:lnTo>
                <a:lnTo>
                  <a:pt x="2160" y="3817"/>
                </a:lnTo>
                <a:lnTo>
                  <a:pt x="2154" y="3828"/>
                </a:lnTo>
                <a:lnTo>
                  <a:pt x="2148" y="3839"/>
                </a:lnTo>
                <a:lnTo>
                  <a:pt x="2144" y="3851"/>
                </a:lnTo>
                <a:lnTo>
                  <a:pt x="2140" y="3864"/>
                </a:lnTo>
                <a:lnTo>
                  <a:pt x="2137" y="3879"/>
                </a:lnTo>
                <a:lnTo>
                  <a:pt x="2135" y="3892"/>
                </a:lnTo>
                <a:lnTo>
                  <a:pt x="2135" y="3899"/>
                </a:lnTo>
                <a:lnTo>
                  <a:pt x="2135" y="3906"/>
                </a:lnTo>
                <a:lnTo>
                  <a:pt x="2135" y="3919"/>
                </a:lnTo>
                <a:lnTo>
                  <a:pt x="2136" y="3932"/>
                </a:lnTo>
                <a:lnTo>
                  <a:pt x="2138" y="3944"/>
                </a:lnTo>
                <a:lnTo>
                  <a:pt x="2140" y="3950"/>
                </a:lnTo>
                <a:lnTo>
                  <a:pt x="2141" y="3955"/>
                </a:lnTo>
                <a:lnTo>
                  <a:pt x="2145" y="3965"/>
                </a:lnTo>
                <a:lnTo>
                  <a:pt x="2147" y="3970"/>
                </a:lnTo>
                <a:lnTo>
                  <a:pt x="2150" y="3975"/>
                </a:lnTo>
                <a:lnTo>
                  <a:pt x="2152" y="3980"/>
                </a:lnTo>
                <a:lnTo>
                  <a:pt x="2155" y="3984"/>
                </a:lnTo>
                <a:lnTo>
                  <a:pt x="2158" y="3989"/>
                </a:lnTo>
                <a:lnTo>
                  <a:pt x="2161" y="3994"/>
                </a:lnTo>
                <a:lnTo>
                  <a:pt x="2164" y="3997"/>
                </a:lnTo>
                <a:lnTo>
                  <a:pt x="2167" y="4001"/>
                </a:lnTo>
                <a:lnTo>
                  <a:pt x="2175" y="4008"/>
                </a:lnTo>
                <a:lnTo>
                  <a:pt x="2182" y="4013"/>
                </a:lnTo>
                <a:lnTo>
                  <a:pt x="2192" y="4018"/>
                </a:lnTo>
                <a:lnTo>
                  <a:pt x="2201" y="4022"/>
                </a:lnTo>
                <a:lnTo>
                  <a:pt x="2211" y="4025"/>
                </a:lnTo>
                <a:lnTo>
                  <a:pt x="2221" y="4026"/>
                </a:lnTo>
                <a:lnTo>
                  <a:pt x="2226" y="4027"/>
                </a:lnTo>
                <a:lnTo>
                  <a:pt x="2231" y="4027"/>
                </a:lnTo>
                <a:lnTo>
                  <a:pt x="2242" y="4027"/>
                </a:lnTo>
                <a:lnTo>
                  <a:pt x="2253" y="4025"/>
                </a:lnTo>
                <a:lnTo>
                  <a:pt x="2263" y="4023"/>
                </a:lnTo>
                <a:lnTo>
                  <a:pt x="2273" y="4019"/>
                </a:lnTo>
                <a:lnTo>
                  <a:pt x="2282" y="4015"/>
                </a:lnTo>
                <a:lnTo>
                  <a:pt x="2291" y="4010"/>
                </a:lnTo>
                <a:lnTo>
                  <a:pt x="2299" y="4004"/>
                </a:lnTo>
                <a:lnTo>
                  <a:pt x="2308" y="3998"/>
                </a:lnTo>
                <a:lnTo>
                  <a:pt x="2317" y="3989"/>
                </a:lnTo>
                <a:lnTo>
                  <a:pt x="2324" y="3981"/>
                </a:lnTo>
                <a:lnTo>
                  <a:pt x="2332" y="3973"/>
                </a:lnTo>
                <a:lnTo>
                  <a:pt x="2339" y="3964"/>
                </a:lnTo>
                <a:lnTo>
                  <a:pt x="2351" y="3945"/>
                </a:lnTo>
                <a:lnTo>
                  <a:pt x="2357" y="3934"/>
                </a:lnTo>
                <a:lnTo>
                  <a:pt x="2363" y="3922"/>
                </a:lnTo>
                <a:lnTo>
                  <a:pt x="2368" y="3911"/>
                </a:lnTo>
                <a:lnTo>
                  <a:pt x="2374" y="3900"/>
                </a:lnTo>
                <a:lnTo>
                  <a:pt x="2378" y="3889"/>
                </a:lnTo>
                <a:lnTo>
                  <a:pt x="2383" y="3877"/>
                </a:lnTo>
                <a:lnTo>
                  <a:pt x="2386" y="3864"/>
                </a:lnTo>
                <a:lnTo>
                  <a:pt x="2390" y="3852"/>
                </a:lnTo>
                <a:lnTo>
                  <a:pt x="2393" y="3840"/>
                </a:lnTo>
                <a:lnTo>
                  <a:pt x="2395" y="3828"/>
                </a:lnTo>
                <a:lnTo>
                  <a:pt x="2398" y="3816"/>
                </a:lnTo>
                <a:lnTo>
                  <a:pt x="2399" y="3803"/>
                </a:lnTo>
                <a:lnTo>
                  <a:pt x="2401" y="3791"/>
                </a:lnTo>
                <a:lnTo>
                  <a:pt x="2402" y="3780"/>
                </a:lnTo>
                <a:lnTo>
                  <a:pt x="2403" y="3768"/>
                </a:lnTo>
                <a:lnTo>
                  <a:pt x="2403" y="3757"/>
                </a:lnTo>
                <a:lnTo>
                  <a:pt x="2403" y="3746"/>
                </a:lnTo>
                <a:lnTo>
                  <a:pt x="2402" y="3735"/>
                </a:lnTo>
                <a:lnTo>
                  <a:pt x="2403" y="3733"/>
                </a:lnTo>
                <a:lnTo>
                  <a:pt x="2405" y="3731"/>
                </a:lnTo>
                <a:lnTo>
                  <a:pt x="2407" y="3729"/>
                </a:lnTo>
                <a:lnTo>
                  <a:pt x="2410" y="3727"/>
                </a:lnTo>
                <a:lnTo>
                  <a:pt x="2417" y="3724"/>
                </a:lnTo>
                <a:lnTo>
                  <a:pt x="2421" y="3723"/>
                </a:lnTo>
                <a:lnTo>
                  <a:pt x="2425" y="3723"/>
                </a:lnTo>
                <a:lnTo>
                  <a:pt x="2433" y="3724"/>
                </a:lnTo>
                <a:lnTo>
                  <a:pt x="2436" y="3724"/>
                </a:lnTo>
                <a:lnTo>
                  <a:pt x="2439" y="3725"/>
                </a:lnTo>
                <a:lnTo>
                  <a:pt x="2445" y="3728"/>
                </a:lnTo>
                <a:lnTo>
                  <a:pt x="2448" y="3730"/>
                </a:lnTo>
                <a:lnTo>
                  <a:pt x="2450" y="3732"/>
                </a:lnTo>
                <a:lnTo>
                  <a:pt x="2454" y="3738"/>
                </a:lnTo>
                <a:lnTo>
                  <a:pt x="2456" y="3741"/>
                </a:lnTo>
                <a:lnTo>
                  <a:pt x="2457" y="3745"/>
                </a:lnTo>
                <a:lnTo>
                  <a:pt x="2458" y="3750"/>
                </a:lnTo>
                <a:lnTo>
                  <a:pt x="2459" y="3756"/>
                </a:lnTo>
                <a:lnTo>
                  <a:pt x="2459" y="3761"/>
                </a:lnTo>
                <a:lnTo>
                  <a:pt x="2460" y="3767"/>
                </a:lnTo>
                <a:lnTo>
                  <a:pt x="2459" y="3782"/>
                </a:lnTo>
                <a:lnTo>
                  <a:pt x="2458" y="3798"/>
                </a:lnTo>
                <a:lnTo>
                  <a:pt x="2457" y="3814"/>
                </a:lnTo>
                <a:lnTo>
                  <a:pt x="2455" y="3829"/>
                </a:lnTo>
                <a:lnTo>
                  <a:pt x="2452" y="3844"/>
                </a:lnTo>
                <a:lnTo>
                  <a:pt x="2449" y="3859"/>
                </a:lnTo>
                <a:lnTo>
                  <a:pt x="2446" y="3874"/>
                </a:lnTo>
                <a:lnTo>
                  <a:pt x="2442" y="3888"/>
                </a:lnTo>
                <a:lnTo>
                  <a:pt x="2437" y="3902"/>
                </a:lnTo>
                <a:lnTo>
                  <a:pt x="2432" y="3916"/>
                </a:lnTo>
                <a:lnTo>
                  <a:pt x="2426" y="3929"/>
                </a:lnTo>
                <a:lnTo>
                  <a:pt x="2420" y="3943"/>
                </a:lnTo>
                <a:lnTo>
                  <a:pt x="2414" y="3955"/>
                </a:lnTo>
                <a:lnTo>
                  <a:pt x="2408" y="3967"/>
                </a:lnTo>
                <a:lnTo>
                  <a:pt x="2401" y="3979"/>
                </a:lnTo>
                <a:lnTo>
                  <a:pt x="2394" y="3990"/>
                </a:lnTo>
                <a:lnTo>
                  <a:pt x="2386" y="4002"/>
                </a:lnTo>
                <a:lnTo>
                  <a:pt x="2378" y="4012"/>
                </a:lnTo>
                <a:lnTo>
                  <a:pt x="2369" y="4021"/>
                </a:lnTo>
                <a:lnTo>
                  <a:pt x="2360" y="4030"/>
                </a:lnTo>
                <a:lnTo>
                  <a:pt x="2351" y="4039"/>
                </a:lnTo>
                <a:lnTo>
                  <a:pt x="2341" y="4047"/>
                </a:lnTo>
                <a:lnTo>
                  <a:pt x="2332" y="4055"/>
                </a:lnTo>
                <a:lnTo>
                  <a:pt x="2322" y="4061"/>
                </a:lnTo>
                <a:lnTo>
                  <a:pt x="2311" y="4067"/>
                </a:lnTo>
                <a:lnTo>
                  <a:pt x="2300" y="4072"/>
                </a:lnTo>
                <a:lnTo>
                  <a:pt x="2289" y="4077"/>
                </a:lnTo>
                <a:lnTo>
                  <a:pt x="2278" y="4081"/>
                </a:lnTo>
                <a:lnTo>
                  <a:pt x="2266" y="4084"/>
                </a:lnTo>
                <a:lnTo>
                  <a:pt x="2255" y="4086"/>
                </a:lnTo>
                <a:lnTo>
                  <a:pt x="2242" y="4087"/>
                </a:lnTo>
                <a:lnTo>
                  <a:pt x="2229" y="4087"/>
                </a:lnTo>
                <a:close/>
                <a:moveTo>
                  <a:pt x="2617" y="4082"/>
                </a:moveTo>
                <a:lnTo>
                  <a:pt x="2615" y="4081"/>
                </a:lnTo>
                <a:lnTo>
                  <a:pt x="2613" y="4081"/>
                </a:lnTo>
                <a:lnTo>
                  <a:pt x="2607" y="4078"/>
                </a:lnTo>
                <a:lnTo>
                  <a:pt x="2600" y="4074"/>
                </a:lnTo>
                <a:lnTo>
                  <a:pt x="2593" y="4068"/>
                </a:lnTo>
                <a:lnTo>
                  <a:pt x="2580" y="4057"/>
                </a:lnTo>
                <a:lnTo>
                  <a:pt x="2565" y="4042"/>
                </a:lnTo>
                <a:lnTo>
                  <a:pt x="2548" y="4027"/>
                </a:lnTo>
                <a:lnTo>
                  <a:pt x="2532" y="4010"/>
                </a:lnTo>
                <a:lnTo>
                  <a:pt x="2516" y="3993"/>
                </a:lnTo>
                <a:lnTo>
                  <a:pt x="2501" y="3975"/>
                </a:lnTo>
                <a:lnTo>
                  <a:pt x="2489" y="3961"/>
                </a:lnTo>
                <a:lnTo>
                  <a:pt x="2485" y="3955"/>
                </a:lnTo>
                <a:lnTo>
                  <a:pt x="2481" y="3950"/>
                </a:lnTo>
                <a:lnTo>
                  <a:pt x="2476" y="3939"/>
                </a:lnTo>
                <a:lnTo>
                  <a:pt x="2472" y="3929"/>
                </a:lnTo>
                <a:lnTo>
                  <a:pt x="2470" y="3919"/>
                </a:lnTo>
                <a:lnTo>
                  <a:pt x="2469" y="3909"/>
                </a:lnTo>
                <a:lnTo>
                  <a:pt x="2469" y="3903"/>
                </a:lnTo>
                <a:lnTo>
                  <a:pt x="2470" y="3898"/>
                </a:lnTo>
                <a:lnTo>
                  <a:pt x="2472" y="3892"/>
                </a:lnTo>
                <a:lnTo>
                  <a:pt x="2474" y="3886"/>
                </a:lnTo>
                <a:lnTo>
                  <a:pt x="2476" y="3880"/>
                </a:lnTo>
                <a:lnTo>
                  <a:pt x="2479" y="3873"/>
                </a:lnTo>
                <a:lnTo>
                  <a:pt x="2483" y="3866"/>
                </a:lnTo>
                <a:lnTo>
                  <a:pt x="2488" y="3859"/>
                </a:lnTo>
                <a:lnTo>
                  <a:pt x="2497" y="3848"/>
                </a:lnTo>
                <a:lnTo>
                  <a:pt x="2508" y="3834"/>
                </a:lnTo>
                <a:lnTo>
                  <a:pt x="2538" y="3800"/>
                </a:lnTo>
                <a:lnTo>
                  <a:pt x="2574" y="3761"/>
                </a:lnTo>
                <a:lnTo>
                  <a:pt x="2609" y="3719"/>
                </a:lnTo>
                <a:lnTo>
                  <a:pt x="2611" y="3719"/>
                </a:lnTo>
                <a:lnTo>
                  <a:pt x="2614" y="3719"/>
                </a:lnTo>
                <a:lnTo>
                  <a:pt x="2618" y="3719"/>
                </a:lnTo>
                <a:lnTo>
                  <a:pt x="2622" y="3720"/>
                </a:lnTo>
                <a:lnTo>
                  <a:pt x="2626" y="3722"/>
                </a:lnTo>
                <a:lnTo>
                  <a:pt x="2630" y="3724"/>
                </a:lnTo>
                <a:lnTo>
                  <a:pt x="2635" y="3728"/>
                </a:lnTo>
                <a:lnTo>
                  <a:pt x="2638" y="3731"/>
                </a:lnTo>
                <a:lnTo>
                  <a:pt x="2642" y="3735"/>
                </a:lnTo>
                <a:lnTo>
                  <a:pt x="2645" y="3740"/>
                </a:lnTo>
                <a:lnTo>
                  <a:pt x="2646" y="3745"/>
                </a:lnTo>
                <a:lnTo>
                  <a:pt x="2647" y="3750"/>
                </a:lnTo>
                <a:lnTo>
                  <a:pt x="2646" y="3756"/>
                </a:lnTo>
                <a:lnTo>
                  <a:pt x="2644" y="3762"/>
                </a:lnTo>
                <a:lnTo>
                  <a:pt x="2641" y="3767"/>
                </a:lnTo>
                <a:lnTo>
                  <a:pt x="2638" y="3773"/>
                </a:lnTo>
                <a:lnTo>
                  <a:pt x="2629" y="3783"/>
                </a:lnTo>
                <a:lnTo>
                  <a:pt x="2618" y="3797"/>
                </a:lnTo>
                <a:lnTo>
                  <a:pt x="2588" y="3831"/>
                </a:lnTo>
                <a:lnTo>
                  <a:pt x="2558" y="3864"/>
                </a:lnTo>
                <a:lnTo>
                  <a:pt x="2545" y="3880"/>
                </a:lnTo>
                <a:lnTo>
                  <a:pt x="2536" y="3891"/>
                </a:lnTo>
                <a:lnTo>
                  <a:pt x="2533" y="3895"/>
                </a:lnTo>
                <a:lnTo>
                  <a:pt x="2532" y="3899"/>
                </a:lnTo>
                <a:lnTo>
                  <a:pt x="2531" y="3902"/>
                </a:lnTo>
                <a:lnTo>
                  <a:pt x="2530" y="3906"/>
                </a:lnTo>
                <a:lnTo>
                  <a:pt x="2531" y="3910"/>
                </a:lnTo>
                <a:lnTo>
                  <a:pt x="2532" y="3915"/>
                </a:lnTo>
                <a:lnTo>
                  <a:pt x="2534" y="3919"/>
                </a:lnTo>
                <a:lnTo>
                  <a:pt x="2537" y="3924"/>
                </a:lnTo>
                <a:lnTo>
                  <a:pt x="2545" y="3934"/>
                </a:lnTo>
                <a:lnTo>
                  <a:pt x="2556" y="3945"/>
                </a:lnTo>
                <a:lnTo>
                  <a:pt x="2583" y="3975"/>
                </a:lnTo>
                <a:lnTo>
                  <a:pt x="2616" y="4008"/>
                </a:lnTo>
                <a:lnTo>
                  <a:pt x="2647" y="4038"/>
                </a:lnTo>
                <a:lnTo>
                  <a:pt x="2649" y="4040"/>
                </a:lnTo>
                <a:lnTo>
                  <a:pt x="2650" y="4042"/>
                </a:lnTo>
                <a:lnTo>
                  <a:pt x="2651" y="4044"/>
                </a:lnTo>
                <a:lnTo>
                  <a:pt x="2652" y="4047"/>
                </a:lnTo>
                <a:lnTo>
                  <a:pt x="2651" y="4053"/>
                </a:lnTo>
                <a:lnTo>
                  <a:pt x="2650" y="4056"/>
                </a:lnTo>
                <a:lnTo>
                  <a:pt x="2648" y="4059"/>
                </a:lnTo>
                <a:lnTo>
                  <a:pt x="2645" y="4065"/>
                </a:lnTo>
                <a:lnTo>
                  <a:pt x="2643" y="4067"/>
                </a:lnTo>
                <a:lnTo>
                  <a:pt x="2640" y="4070"/>
                </a:lnTo>
                <a:lnTo>
                  <a:pt x="2635" y="4075"/>
                </a:lnTo>
                <a:lnTo>
                  <a:pt x="2632" y="4077"/>
                </a:lnTo>
                <a:lnTo>
                  <a:pt x="2629" y="4078"/>
                </a:lnTo>
                <a:lnTo>
                  <a:pt x="2623" y="4081"/>
                </a:lnTo>
                <a:lnTo>
                  <a:pt x="2620" y="4081"/>
                </a:lnTo>
                <a:lnTo>
                  <a:pt x="2617" y="4082"/>
                </a:lnTo>
                <a:close/>
                <a:moveTo>
                  <a:pt x="0" y="3020"/>
                </a:moveTo>
                <a:lnTo>
                  <a:pt x="7" y="3016"/>
                </a:lnTo>
                <a:lnTo>
                  <a:pt x="14" y="3012"/>
                </a:lnTo>
                <a:lnTo>
                  <a:pt x="21" y="3007"/>
                </a:lnTo>
                <a:lnTo>
                  <a:pt x="27" y="3002"/>
                </a:lnTo>
                <a:lnTo>
                  <a:pt x="40" y="2990"/>
                </a:lnTo>
                <a:lnTo>
                  <a:pt x="52" y="2977"/>
                </a:lnTo>
                <a:lnTo>
                  <a:pt x="57" y="2968"/>
                </a:lnTo>
                <a:lnTo>
                  <a:pt x="62" y="2961"/>
                </a:lnTo>
                <a:lnTo>
                  <a:pt x="67" y="2953"/>
                </a:lnTo>
                <a:lnTo>
                  <a:pt x="72" y="2945"/>
                </a:lnTo>
                <a:lnTo>
                  <a:pt x="81" y="2928"/>
                </a:lnTo>
                <a:lnTo>
                  <a:pt x="89" y="2910"/>
                </a:lnTo>
                <a:lnTo>
                  <a:pt x="93" y="2901"/>
                </a:lnTo>
                <a:lnTo>
                  <a:pt x="97" y="2892"/>
                </a:lnTo>
                <a:lnTo>
                  <a:pt x="103" y="2873"/>
                </a:lnTo>
                <a:lnTo>
                  <a:pt x="108" y="2855"/>
                </a:lnTo>
                <a:lnTo>
                  <a:pt x="113" y="2835"/>
                </a:lnTo>
                <a:lnTo>
                  <a:pt x="116" y="2816"/>
                </a:lnTo>
                <a:lnTo>
                  <a:pt x="119" y="2797"/>
                </a:lnTo>
                <a:lnTo>
                  <a:pt x="120" y="2778"/>
                </a:lnTo>
                <a:lnTo>
                  <a:pt x="121" y="2761"/>
                </a:lnTo>
                <a:lnTo>
                  <a:pt x="120" y="2752"/>
                </a:lnTo>
                <a:lnTo>
                  <a:pt x="120" y="2742"/>
                </a:lnTo>
                <a:lnTo>
                  <a:pt x="121" y="2740"/>
                </a:lnTo>
                <a:lnTo>
                  <a:pt x="123" y="2738"/>
                </a:lnTo>
                <a:lnTo>
                  <a:pt x="125" y="2735"/>
                </a:lnTo>
                <a:lnTo>
                  <a:pt x="128" y="2734"/>
                </a:lnTo>
                <a:lnTo>
                  <a:pt x="131" y="2732"/>
                </a:lnTo>
                <a:lnTo>
                  <a:pt x="134" y="2730"/>
                </a:lnTo>
                <a:lnTo>
                  <a:pt x="138" y="2729"/>
                </a:lnTo>
                <a:lnTo>
                  <a:pt x="142" y="2729"/>
                </a:lnTo>
                <a:lnTo>
                  <a:pt x="149" y="2729"/>
                </a:lnTo>
                <a:lnTo>
                  <a:pt x="154" y="2730"/>
                </a:lnTo>
                <a:lnTo>
                  <a:pt x="157" y="2732"/>
                </a:lnTo>
                <a:lnTo>
                  <a:pt x="163" y="2735"/>
                </a:lnTo>
                <a:lnTo>
                  <a:pt x="165" y="2737"/>
                </a:lnTo>
                <a:lnTo>
                  <a:pt x="168" y="2739"/>
                </a:lnTo>
                <a:lnTo>
                  <a:pt x="172" y="2745"/>
                </a:lnTo>
                <a:lnTo>
                  <a:pt x="173" y="2748"/>
                </a:lnTo>
                <a:lnTo>
                  <a:pt x="175" y="2752"/>
                </a:lnTo>
                <a:lnTo>
                  <a:pt x="176" y="2757"/>
                </a:lnTo>
                <a:lnTo>
                  <a:pt x="177" y="2761"/>
                </a:lnTo>
                <a:lnTo>
                  <a:pt x="177" y="2767"/>
                </a:lnTo>
                <a:lnTo>
                  <a:pt x="177" y="2773"/>
                </a:lnTo>
                <a:lnTo>
                  <a:pt x="177" y="2786"/>
                </a:lnTo>
                <a:lnTo>
                  <a:pt x="176" y="2800"/>
                </a:lnTo>
                <a:lnTo>
                  <a:pt x="175" y="2814"/>
                </a:lnTo>
                <a:lnTo>
                  <a:pt x="173" y="2827"/>
                </a:lnTo>
                <a:lnTo>
                  <a:pt x="171" y="2840"/>
                </a:lnTo>
                <a:lnTo>
                  <a:pt x="169" y="2853"/>
                </a:lnTo>
                <a:lnTo>
                  <a:pt x="163" y="2879"/>
                </a:lnTo>
                <a:lnTo>
                  <a:pt x="160" y="2891"/>
                </a:lnTo>
                <a:lnTo>
                  <a:pt x="157" y="2903"/>
                </a:lnTo>
                <a:lnTo>
                  <a:pt x="153" y="2916"/>
                </a:lnTo>
                <a:lnTo>
                  <a:pt x="147" y="2927"/>
                </a:lnTo>
                <a:lnTo>
                  <a:pt x="143" y="2939"/>
                </a:lnTo>
                <a:lnTo>
                  <a:pt x="138" y="2950"/>
                </a:lnTo>
                <a:lnTo>
                  <a:pt x="127" y="2972"/>
                </a:lnTo>
                <a:lnTo>
                  <a:pt x="121" y="2982"/>
                </a:lnTo>
                <a:lnTo>
                  <a:pt x="115" y="2992"/>
                </a:lnTo>
                <a:lnTo>
                  <a:pt x="102" y="3010"/>
                </a:lnTo>
                <a:lnTo>
                  <a:pt x="95" y="3019"/>
                </a:lnTo>
                <a:lnTo>
                  <a:pt x="87" y="3027"/>
                </a:lnTo>
                <a:lnTo>
                  <a:pt x="79" y="3036"/>
                </a:lnTo>
                <a:lnTo>
                  <a:pt x="71" y="3043"/>
                </a:lnTo>
                <a:lnTo>
                  <a:pt x="63" y="3050"/>
                </a:lnTo>
                <a:lnTo>
                  <a:pt x="55" y="3057"/>
                </a:lnTo>
                <a:lnTo>
                  <a:pt x="47" y="3063"/>
                </a:lnTo>
                <a:lnTo>
                  <a:pt x="38" y="3068"/>
                </a:lnTo>
                <a:lnTo>
                  <a:pt x="28" y="3073"/>
                </a:lnTo>
                <a:lnTo>
                  <a:pt x="19" y="3078"/>
                </a:lnTo>
                <a:lnTo>
                  <a:pt x="0" y="3085"/>
                </a:lnTo>
                <a:lnTo>
                  <a:pt x="0" y="3020"/>
                </a:lnTo>
                <a:close/>
                <a:moveTo>
                  <a:pt x="0" y="2730"/>
                </a:moveTo>
                <a:lnTo>
                  <a:pt x="6" y="2734"/>
                </a:lnTo>
                <a:lnTo>
                  <a:pt x="11" y="2737"/>
                </a:lnTo>
                <a:lnTo>
                  <a:pt x="20" y="2745"/>
                </a:lnTo>
                <a:lnTo>
                  <a:pt x="24" y="2749"/>
                </a:lnTo>
                <a:lnTo>
                  <a:pt x="28" y="2754"/>
                </a:lnTo>
                <a:lnTo>
                  <a:pt x="32" y="2759"/>
                </a:lnTo>
                <a:lnTo>
                  <a:pt x="35" y="2764"/>
                </a:lnTo>
                <a:lnTo>
                  <a:pt x="38" y="2770"/>
                </a:lnTo>
                <a:lnTo>
                  <a:pt x="41" y="2776"/>
                </a:lnTo>
                <a:lnTo>
                  <a:pt x="43" y="2782"/>
                </a:lnTo>
                <a:lnTo>
                  <a:pt x="44" y="2788"/>
                </a:lnTo>
                <a:lnTo>
                  <a:pt x="46" y="2796"/>
                </a:lnTo>
                <a:lnTo>
                  <a:pt x="47" y="2802"/>
                </a:lnTo>
                <a:lnTo>
                  <a:pt x="47" y="2809"/>
                </a:lnTo>
                <a:lnTo>
                  <a:pt x="47" y="2816"/>
                </a:lnTo>
                <a:lnTo>
                  <a:pt x="47" y="2823"/>
                </a:lnTo>
                <a:lnTo>
                  <a:pt x="47" y="2829"/>
                </a:lnTo>
                <a:lnTo>
                  <a:pt x="45" y="2836"/>
                </a:lnTo>
                <a:lnTo>
                  <a:pt x="44" y="2842"/>
                </a:lnTo>
                <a:lnTo>
                  <a:pt x="42" y="2849"/>
                </a:lnTo>
                <a:lnTo>
                  <a:pt x="40" y="2856"/>
                </a:lnTo>
                <a:lnTo>
                  <a:pt x="37" y="2862"/>
                </a:lnTo>
                <a:lnTo>
                  <a:pt x="35" y="2868"/>
                </a:lnTo>
                <a:lnTo>
                  <a:pt x="31" y="2874"/>
                </a:lnTo>
                <a:lnTo>
                  <a:pt x="27" y="2879"/>
                </a:lnTo>
                <a:lnTo>
                  <a:pt x="23" y="2885"/>
                </a:lnTo>
                <a:lnTo>
                  <a:pt x="19" y="2890"/>
                </a:lnTo>
                <a:lnTo>
                  <a:pt x="15" y="2895"/>
                </a:lnTo>
                <a:lnTo>
                  <a:pt x="10" y="2901"/>
                </a:lnTo>
                <a:lnTo>
                  <a:pt x="0" y="2910"/>
                </a:lnTo>
                <a:lnTo>
                  <a:pt x="0" y="2730"/>
                </a:lnTo>
                <a:close/>
                <a:moveTo>
                  <a:pt x="187" y="2916"/>
                </a:moveTo>
                <a:lnTo>
                  <a:pt x="187" y="2910"/>
                </a:lnTo>
                <a:lnTo>
                  <a:pt x="188" y="2904"/>
                </a:lnTo>
                <a:lnTo>
                  <a:pt x="189" y="2898"/>
                </a:lnTo>
                <a:lnTo>
                  <a:pt x="191" y="2892"/>
                </a:lnTo>
                <a:lnTo>
                  <a:pt x="197" y="2879"/>
                </a:lnTo>
                <a:lnTo>
                  <a:pt x="201" y="2873"/>
                </a:lnTo>
                <a:lnTo>
                  <a:pt x="205" y="2866"/>
                </a:lnTo>
                <a:lnTo>
                  <a:pt x="214" y="2855"/>
                </a:lnTo>
                <a:lnTo>
                  <a:pt x="226" y="2840"/>
                </a:lnTo>
                <a:lnTo>
                  <a:pt x="255" y="2806"/>
                </a:lnTo>
                <a:lnTo>
                  <a:pt x="291" y="2766"/>
                </a:lnTo>
                <a:lnTo>
                  <a:pt x="326" y="2725"/>
                </a:lnTo>
                <a:lnTo>
                  <a:pt x="327" y="2725"/>
                </a:lnTo>
                <a:lnTo>
                  <a:pt x="332" y="2724"/>
                </a:lnTo>
                <a:lnTo>
                  <a:pt x="335" y="2725"/>
                </a:lnTo>
                <a:lnTo>
                  <a:pt x="339" y="2726"/>
                </a:lnTo>
                <a:lnTo>
                  <a:pt x="344" y="2728"/>
                </a:lnTo>
                <a:lnTo>
                  <a:pt x="348" y="2730"/>
                </a:lnTo>
                <a:lnTo>
                  <a:pt x="352" y="2734"/>
                </a:lnTo>
                <a:lnTo>
                  <a:pt x="356" y="2738"/>
                </a:lnTo>
                <a:lnTo>
                  <a:pt x="359" y="2742"/>
                </a:lnTo>
                <a:lnTo>
                  <a:pt x="362" y="2747"/>
                </a:lnTo>
                <a:lnTo>
                  <a:pt x="364" y="2752"/>
                </a:lnTo>
                <a:lnTo>
                  <a:pt x="364" y="2757"/>
                </a:lnTo>
                <a:lnTo>
                  <a:pt x="364" y="2762"/>
                </a:lnTo>
                <a:lnTo>
                  <a:pt x="362" y="2768"/>
                </a:lnTo>
                <a:lnTo>
                  <a:pt x="359" y="2773"/>
                </a:lnTo>
                <a:lnTo>
                  <a:pt x="355" y="2779"/>
                </a:lnTo>
                <a:lnTo>
                  <a:pt x="347" y="2790"/>
                </a:lnTo>
                <a:lnTo>
                  <a:pt x="335" y="2804"/>
                </a:lnTo>
                <a:lnTo>
                  <a:pt x="305" y="2837"/>
                </a:lnTo>
                <a:lnTo>
                  <a:pt x="276" y="2871"/>
                </a:lnTo>
                <a:lnTo>
                  <a:pt x="263" y="2886"/>
                </a:lnTo>
                <a:lnTo>
                  <a:pt x="254" y="2897"/>
                </a:lnTo>
                <a:lnTo>
                  <a:pt x="251" y="2901"/>
                </a:lnTo>
                <a:lnTo>
                  <a:pt x="249" y="2905"/>
                </a:lnTo>
                <a:lnTo>
                  <a:pt x="248" y="2908"/>
                </a:lnTo>
                <a:lnTo>
                  <a:pt x="248" y="2913"/>
                </a:lnTo>
                <a:lnTo>
                  <a:pt x="248" y="2917"/>
                </a:lnTo>
                <a:lnTo>
                  <a:pt x="250" y="2922"/>
                </a:lnTo>
                <a:lnTo>
                  <a:pt x="252" y="2926"/>
                </a:lnTo>
                <a:lnTo>
                  <a:pt x="255" y="2930"/>
                </a:lnTo>
                <a:lnTo>
                  <a:pt x="262" y="2939"/>
                </a:lnTo>
                <a:lnTo>
                  <a:pt x="273" y="2951"/>
                </a:lnTo>
                <a:lnTo>
                  <a:pt x="301" y="2981"/>
                </a:lnTo>
                <a:lnTo>
                  <a:pt x="334" y="3014"/>
                </a:lnTo>
                <a:lnTo>
                  <a:pt x="365" y="3045"/>
                </a:lnTo>
                <a:lnTo>
                  <a:pt x="367" y="3047"/>
                </a:lnTo>
                <a:lnTo>
                  <a:pt x="368" y="3049"/>
                </a:lnTo>
                <a:lnTo>
                  <a:pt x="369" y="3051"/>
                </a:lnTo>
                <a:lnTo>
                  <a:pt x="369" y="3054"/>
                </a:lnTo>
                <a:lnTo>
                  <a:pt x="368" y="3059"/>
                </a:lnTo>
                <a:lnTo>
                  <a:pt x="367" y="3062"/>
                </a:lnTo>
                <a:lnTo>
                  <a:pt x="366" y="3065"/>
                </a:lnTo>
                <a:lnTo>
                  <a:pt x="364" y="3068"/>
                </a:lnTo>
                <a:lnTo>
                  <a:pt x="362" y="3071"/>
                </a:lnTo>
                <a:lnTo>
                  <a:pt x="360" y="3074"/>
                </a:lnTo>
                <a:lnTo>
                  <a:pt x="358" y="3076"/>
                </a:lnTo>
                <a:lnTo>
                  <a:pt x="352" y="3081"/>
                </a:lnTo>
                <a:lnTo>
                  <a:pt x="350" y="3083"/>
                </a:lnTo>
                <a:lnTo>
                  <a:pt x="347" y="3085"/>
                </a:lnTo>
                <a:lnTo>
                  <a:pt x="341" y="3087"/>
                </a:lnTo>
                <a:lnTo>
                  <a:pt x="338" y="3088"/>
                </a:lnTo>
                <a:lnTo>
                  <a:pt x="335" y="3088"/>
                </a:lnTo>
                <a:lnTo>
                  <a:pt x="333" y="3088"/>
                </a:lnTo>
                <a:lnTo>
                  <a:pt x="331" y="3087"/>
                </a:lnTo>
                <a:lnTo>
                  <a:pt x="324" y="3084"/>
                </a:lnTo>
                <a:lnTo>
                  <a:pt x="318" y="3080"/>
                </a:lnTo>
                <a:lnTo>
                  <a:pt x="311" y="3075"/>
                </a:lnTo>
                <a:lnTo>
                  <a:pt x="298" y="3064"/>
                </a:lnTo>
                <a:lnTo>
                  <a:pt x="283" y="3050"/>
                </a:lnTo>
                <a:lnTo>
                  <a:pt x="266" y="3034"/>
                </a:lnTo>
                <a:lnTo>
                  <a:pt x="249" y="3016"/>
                </a:lnTo>
                <a:lnTo>
                  <a:pt x="233" y="2999"/>
                </a:lnTo>
                <a:lnTo>
                  <a:pt x="219" y="2983"/>
                </a:lnTo>
                <a:lnTo>
                  <a:pt x="207" y="2967"/>
                </a:lnTo>
                <a:lnTo>
                  <a:pt x="202" y="2961"/>
                </a:lnTo>
                <a:lnTo>
                  <a:pt x="199" y="2956"/>
                </a:lnTo>
                <a:lnTo>
                  <a:pt x="194" y="2946"/>
                </a:lnTo>
                <a:lnTo>
                  <a:pt x="190" y="2936"/>
                </a:lnTo>
                <a:lnTo>
                  <a:pt x="188" y="2926"/>
                </a:lnTo>
                <a:lnTo>
                  <a:pt x="187" y="2916"/>
                </a:lnTo>
                <a:close/>
                <a:moveTo>
                  <a:pt x="0" y="4015"/>
                </a:moveTo>
                <a:lnTo>
                  <a:pt x="8" y="4010"/>
                </a:lnTo>
                <a:lnTo>
                  <a:pt x="15" y="4006"/>
                </a:lnTo>
                <a:lnTo>
                  <a:pt x="22" y="4000"/>
                </a:lnTo>
                <a:lnTo>
                  <a:pt x="29" y="3994"/>
                </a:lnTo>
                <a:lnTo>
                  <a:pt x="36" y="3987"/>
                </a:lnTo>
                <a:lnTo>
                  <a:pt x="43" y="3980"/>
                </a:lnTo>
                <a:lnTo>
                  <a:pt x="49" y="3973"/>
                </a:lnTo>
                <a:lnTo>
                  <a:pt x="55" y="3966"/>
                </a:lnTo>
                <a:lnTo>
                  <a:pt x="66" y="3950"/>
                </a:lnTo>
                <a:lnTo>
                  <a:pt x="76" y="3932"/>
                </a:lnTo>
                <a:lnTo>
                  <a:pt x="81" y="3922"/>
                </a:lnTo>
                <a:lnTo>
                  <a:pt x="85" y="3913"/>
                </a:lnTo>
                <a:lnTo>
                  <a:pt x="94" y="3894"/>
                </a:lnTo>
                <a:lnTo>
                  <a:pt x="101" y="3874"/>
                </a:lnTo>
                <a:lnTo>
                  <a:pt x="107" y="3853"/>
                </a:lnTo>
                <a:lnTo>
                  <a:pt x="112" y="3833"/>
                </a:lnTo>
                <a:lnTo>
                  <a:pt x="116" y="3813"/>
                </a:lnTo>
                <a:lnTo>
                  <a:pt x="118" y="3792"/>
                </a:lnTo>
                <a:lnTo>
                  <a:pt x="120" y="3773"/>
                </a:lnTo>
                <a:lnTo>
                  <a:pt x="121" y="3754"/>
                </a:lnTo>
                <a:lnTo>
                  <a:pt x="120" y="3744"/>
                </a:lnTo>
                <a:lnTo>
                  <a:pt x="120" y="3735"/>
                </a:lnTo>
                <a:lnTo>
                  <a:pt x="121" y="3733"/>
                </a:lnTo>
                <a:lnTo>
                  <a:pt x="123" y="3731"/>
                </a:lnTo>
                <a:lnTo>
                  <a:pt x="125" y="3729"/>
                </a:lnTo>
                <a:lnTo>
                  <a:pt x="128" y="3727"/>
                </a:lnTo>
                <a:lnTo>
                  <a:pt x="134" y="3724"/>
                </a:lnTo>
                <a:lnTo>
                  <a:pt x="138" y="3723"/>
                </a:lnTo>
                <a:lnTo>
                  <a:pt x="142" y="3723"/>
                </a:lnTo>
                <a:lnTo>
                  <a:pt x="149" y="3724"/>
                </a:lnTo>
                <a:lnTo>
                  <a:pt x="154" y="3724"/>
                </a:lnTo>
                <a:lnTo>
                  <a:pt x="157" y="3725"/>
                </a:lnTo>
                <a:lnTo>
                  <a:pt x="163" y="3728"/>
                </a:lnTo>
                <a:lnTo>
                  <a:pt x="165" y="3730"/>
                </a:lnTo>
                <a:lnTo>
                  <a:pt x="168" y="3732"/>
                </a:lnTo>
                <a:lnTo>
                  <a:pt x="172" y="3738"/>
                </a:lnTo>
                <a:lnTo>
                  <a:pt x="173" y="3741"/>
                </a:lnTo>
                <a:lnTo>
                  <a:pt x="175" y="3745"/>
                </a:lnTo>
                <a:lnTo>
                  <a:pt x="176" y="3750"/>
                </a:lnTo>
                <a:lnTo>
                  <a:pt x="177" y="3756"/>
                </a:lnTo>
                <a:lnTo>
                  <a:pt x="177" y="3761"/>
                </a:lnTo>
                <a:lnTo>
                  <a:pt x="177" y="3767"/>
                </a:lnTo>
                <a:lnTo>
                  <a:pt x="177" y="3780"/>
                </a:lnTo>
                <a:lnTo>
                  <a:pt x="176" y="3793"/>
                </a:lnTo>
                <a:lnTo>
                  <a:pt x="175" y="3807"/>
                </a:lnTo>
                <a:lnTo>
                  <a:pt x="173" y="3821"/>
                </a:lnTo>
                <a:lnTo>
                  <a:pt x="171" y="3834"/>
                </a:lnTo>
                <a:lnTo>
                  <a:pt x="169" y="3846"/>
                </a:lnTo>
                <a:lnTo>
                  <a:pt x="163" y="3873"/>
                </a:lnTo>
                <a:lnTo>
                  <a:pt x="160" y="3885"/>
                </a:lnTo>
                <a:lnTo>
                  <a:pt x="157" y="3897"/>
                </a:lnTo>
                <a:lnTo>
                  <a:pt x="153" y="3909"/>
                </a:lnTo>
                <a:lnTo>
                  <a:pt x="147" y="3920"/>
                </a:lnTo>
                <a:lnTo>
                  <a:pt x="138" y="3943"/>
                </a:lnTo>
                <a:lnTo>
                  <a:pt x="127" y="3965"/>
                </a:lnTo>
                <a:lnTo>
                  <a:pt x="121" y="3975"/>
                </a:lnTo>
                <a:lnTo>
                  <a:pt x="115" y="3984"/>
                </a:lnTo>
                <a:lnTo>
                  <a:pt x="102" y="4004"/>
                </a:lnTo>
                <a:lnTo>
                  <a:pt x="95" y="4013"/>
                </a:lnTo>
                <a:lnTo>
                  <a:pt x="87" y="4021"/>
                </a:lnTo>
                <a:lnTo>
                  <a:pt x="79" y="4029"/>
                </a:lnTo>
                <a:lnTo>
                  <a:pt x="71" y="4036"/>
                </a:lnTo>
                <a:lnTo>
                  <a:pt x="63" y="4043"/>
                </a:lnTo>
                <a:lnTo>
                  <a:pt x="55" y="4050"/>
                </a:lnTo>
                <a:lnTo>
                  <a:pt x="47" y="4057"/>
                </a:lnTo>
                <a:lnTo>
                  <a:pt x="38" y="4062"/>
                </a:lnTo>
                <a:lnTo>
                  <a:pt x="28" y="4067"/>
                </a:lnTo>
                <a:lnTo>
                  <a:pt x="19" y="4072"/>
                </a:lnTo>
                <a:lnTo>
                  <a:pt x="0" y="4079"/>
                </a:lnTo>
                <a:lnTo>
                  <a:pt x="0" y="4015"/>
                </a:lnTo>
                <a:close/>
                <a:moveTo>
                  <a:pt x="0" y="3724"/>
                </a:moveTo>
                <a:lnTo>
                  <a:pt x="6" y="3727"/>
                </a:lnTo>
                <a:lnTo>
                  <a:pt x="11" y="3730"/>
                </a:lnTo>
                <a:lnTo>
                  <a:pt x="20" y="3738"/>
                </a:lnTo>
                <a:lnTo>
                  <a:pt x="24" y="3742"/>
                </a:lnTo>
                <a:lnTo>
                  <a:pt x="28" y="3747"/>
                </a:lnTo>
                <a:lnTo>
                  <a:pt x="32" y="3753"/>
                </a:lnTo>
                <a:lnTo>
                  <a:pt x="35" y="3759"/>
                </a:lnTo>
                <a:lnTo>
                  <a:pt x="38" y="3764"/>
                </a:lnTo>
                <a:lnTo>
                  <a:pt x="41" y="3770"/>
                </a:lnTo>
                <a:lnTo>
                  <a:pt x="43" y="3776"/>
                </a:lnTo>
                <a:lnTo>
                  <a:pt x="44" y="3782"/>
                </a:lnTo>
                <a:lnTo>
                  <a:pt x="46" y="3789"/>
                </a:lnTo>
                <a:lnTo>
                  <a:pt x="47" y="3796"/>
                </a:lnTo>
                <a:lnTo>
                  <a:pt x="47" y="3802"/>
                </a:lnTo>
                <a:lnTo>
                  <a:pt x="47" y="3809"/>
                </a:lnTo>
                <a:lnTo>
                  <a:pt x="47" y="3823"/>
                </a:lnTo>
                <a:lnTo>
                  <a:pt x="45" y="3830"/>
                </a:lnTo>
                <a:lnTo>
                  <a:pt x="44" y="3836"/>
                </a:lnTo>
                <a:lnTo>
                  <a:pt x="42" y="3843"/>
                </a:lnTo>
                <a:lnTo>
                  <a:pt x="40" y="3849"/>
                </a:lnTo>
                <a:lnTo>
                  <a:pt x="37" y="3855"/>
                </a:lnTo>
                <a:lnTo>
                  <a:pt x="35" y="3861"/>
                </a:lnTo>
                <a:lnTo>
                  <a:pt x="31" y="3867"/>
                </a:lnTo>
                <a:lnTo>
                  <a:pt x="27" y="3873"/>
                </a:lnTo>
                <a:lnTo>
                  <a:pt x="19" y="3884"/>
                </a:lnTo>
                <a:lnTo>
                  <a:pt x="15" y="3889"/>
                </a:lnTo>
                <a:lnTo>
                  <a:pt x="10" y="3894"/>
                </a:lnTo>
                <a:lnTo>
                  <a:pt x="0" y="3904"/>
                </a:lnTo>
                <a:lnTo>
                  <a:pt x="0" y="3724"/>
                </a:lnTo>
                <a:close/>
                <a:moveTo>
                  <a:pt x="335" y="4082"/>
                </a:moveTo>
                <a:lnTo>
                  <a:pt x="333" y="4081"/>
                </a:lnTo>
                <a:lnTo>
                  <a:pt x="331" y="4081"/>
                </a:lnTo>
                <a:lnTo>
                  <a:pt x="324" y="4078"/>
                </a:lnTo>
                <a:lnTo>
                  <a:pt x="318" y="4074"/>
                </a:lnTo>
                <a:lnTo>
                  <a:pt x="311" y="4068"/>
                </a:lnTo>
                <a:lnTo>
                  <a:pt x="298" y="4057"/>
                </a:lnTo>
                <a:lnTo>
                  <a:pt x="283" y="4042"/>
                </a:lnTo>
                <a:lnTo>
                  <a:pt x="266" y="4027"/>
                </a:lnTo>
                <a:lnTo>
                  <a:pt x="249" y="4010"/>
                </a:lnTo>
                <a:lnTo>
                  <a:pt x="233" y="3993"/>
                </a:lnTo>
                <a:lnTo>
                  <a:pt x="219" y="3975"/>
                </a:lnTo>
                <a:lnTo>
                  <a:pt x="207" y="3961"/>
                </a:lnTo>
                <a:lnTo>
                  <a:pt x="202" y="3955"/>
                </a:lnTo>
                <a:lnTo>
                  <a:pt x="199" y="3950"/>
                </a:lnTo>
                <a:lnTo>
                  <a:pt x="194" y="3939"/>
                </a:lnTo>
                <a:lnTo>
                  <a:pt x="190" y="3929"/>
                </a:lnTo>
                <a:lnTo>
                  <a:pt x="188" y="3919"/>
                </a:lnTo>
                <a:lnTo>
                  <a:pt x="187" y="3909"/>
                </a:lnTo>
                <a:lnTo>
                  <a:pt x="187" y="3903"/>
                </a:lnTo>
                <a:lnTo>
                  <a:pt x="188" y="3898"/>
                </a:lnTo>
                <a:lnTo>
                  <a:pt x="189" y="3892"/>
                </a:lnTo>
                <a:lnTo>
                  <a:pt x="191" y="3886"/>
                </a:lnTo>
                <a:lnTo>
                  <a:pt x="194" y="3880"/>
                </a:lnTo>
                <a:lnTo>
                  <a:pt x="197" y="3873"/>
                </a:lnTo>
                <a:lnTo>
                  <a:pt x="201" y="3866"/>
                </a:lnTo>
                <a:lnTo>
                  <a:pt x="205" y="3859"/>
                </a:lnTo>
                <a:lnTo>
                  <a:pt x="214" y="3848"/>
                </a:lnTo>
                <a:lnTo>
                  <a:pt x="226" y="3834"/>
                </a:lnTo>
                <a:lnTo>
                  <a:pt x="255" y="3800"/>
                </a:lnTo>
                <a:lnTo>
                  <a:pt x="291" y="3761"/>
                </a:lnTo>
                <a:lnTo>
                  <a:pt x="326" y="3719"/>
                </a:lnTo>
                <a:lnTo>
                  <a:pt x="327" y="3719"/>
                </a:lnTo>
                <a:lnTo>
                  <a:pt x="332" y="3719"/>
                </a:lnTo>
                <a:lnTo>
                  <a:pt x="335" y="3719"/>
                </a:lnTo>
                <a:lnTo>
                  <a:pt x="339" y="3720"/>
                </a:lnTo>
                <a:lnTo>
                  <a:pt x="344" y="3722"/>
                </a:lnTo>
                <a:lnTo>
                  <a:pt x="348" y="3724"/>
                </a:lnTo>
                <a:lnTo>
                  <a:pt x="352" y="3728"/>
                </a:lnTo>
                <a:lnTo>
                  <a:pt x="356" y="3731"/>
                </a:lnTo>
                <a:lnTo>
                  <a:pt x="359" y="3735"/>
                </a:lnTo>
                <a:lnTo>
                  <a:pt x="362" y="3740"/>
                </a:lnTo>
                <a:lnTo>
                  <a:pt x="364" y="3745"/>
                </a:lnTo>
                <a:lnTo>
                  <a:pt x="364" y="3750"/>
                </a:lnTo>
                <a:lnTo>
                  <a:pt x="364" y="3756"/>
                </a:lnTo>
                <a:lnTo>
                  <a:pt x="362" y="3762"/>
                </a:lnTo>
                <a:lnTo>
                  <a:pt x="359" y="3767"/>
                </a:lnTo>
                <a:lnTo>
                  <a:pt x="355" y="3773"/>
                </a:lnTo>
                <a:lnTo>
                  <a:pt x="347" y="3783"/>
                </a:lnTo>
                <a:lnTo>
                  <a:pt x="335" y="3797"/>
                </a:lnTo>
                <a:lnTo>
                  <a:pt x="305" y="3831"/>
                </a:lnTo>
                <a:lnTo>
                  <a:pt x="276" y="3864"/>
                </a:lnTo>
                <a:lnTo>
                  <a:pt x="263" y="3880"/>
                </a:lnTo>
                <a:lnTo>
                  <a:pt x="254" y="3891"/>
                </a:lnTo>
                <a:lnTo>
                  <a:pt x="251" y="3895"/>
                </a:lnTo>
                <a:lnTo>
                  <a:pt x="249" y="3899"/>
                </a:lnTo>
                <a:lnTo>
                  <a:pt x="248" y="3902"/>
                </a:lnTo>
                <a:lnTo>
                  <a:pt x="248" y="3906"/>
                </a:lnTo>
                <a:lnTo>
                  <a:pt x="248" y="3910"/>
                </a:lnTo>
                <a:lnTo>
                  <a:pt x="250" y="3915"/>
                </a:lnTo>
                <a:lnTo>
                  <a:pt x="252" y="3919"/>
                </a:lnTo>
                <a:lnTo>
                  <a:pt x="255" y="3924"/>
                </a:lnTo>
                <a:lnTo>
                  <a:pt x="262" y="3934"/>
                </a:lnTo>
                <a:lnTo>
                  <a:pt x="273" y="3945"/>
                </a:lnTo>
                <a:lnTo>
                  <a:pt x="301" y="3975"/>
                </a:lnTo>
                <a:lnTo>
                  <a:pt x="334" y="4008"/>
                </a:lnTo>
                <a:lnTo>
                  <a:pt x="365" y="4038"/>
                </a:lnTo>
                <a:lnTo>
                  <a:pt x="367" y="4040"/>
                </a:lnTo>
                <a:lnTo>
                  <a:pt x="368" y="4042"/>
                </a:lnTo>
                <a:lnTo>
                  <a:pt x="369" y="4044"/>
                </a:lnTo>
                <a:lnTo>
                  <a:pt x="369" y="4047"/>
                </a:lnTo>
                <a:lnTo>
                  <a:pt x="368" y="4053"/>
                </a:lnTo>
                <a:lnTo>
                  <a:pt x="367" y="4056"/>
                </a:lnTo>
                <a:lnTo>
                  <a:pt x="366" y="4059"/>
                </a:lnTo>
                <a:lnTo>
                  <a:pt x="362" y="4065"/>
                </a:lnTo>
                <a:lnTo>
                  <a:pt x="360" y="4067"/>
                </a:lnTo>
                <a:lnTo>
                  <a:pt x="358" y="4070"/>
                </a:lnTo>
                <a:lnTo>
                  <a:pt x="352" y="4075"/>
                </a:lnTo>
                <a:lnTo>
                  <a:pt x="350" y="4077"/>
                </a:lnTo>
                <a:lnTo>
                  <a:pt x="347" y="4078"/>
                </a:lnTo>
                <a:lnTo>
                  <a:pt x="341" y="4081"/>
                </a:lnTo>
                <a:lnTo>
                  <a:pt x="338" y="4081"/>
                </a:lnTo>
                <a:lnTo>
                  <a:pt x="335" y="4082"/>
                </a:lnTo>
                <a:close/>
                <a:moveTo>
                  <a:pt x="3777" y="4087"/>
                </a:moveTo>
                <a:lnTo>
                  <a:pt x="3769" y="4087"/>
                </a:lnTo>
                <a:lnTo>
                  <a:pt x="3762" y="4086"/>
                </a:lnTo>
                <a:lnTo>
                  <a:pt x="3754" y="4085"/>
                </a:lnTo>
                <a:lnTo>
                  <a:pt x="3746" y="4084"/>
                </a:lnTo>
                <a:lnTo>
                  <a:pt x="3739" y="4082"/>
                </a:lnTo>
                <a:lnTo>
                  <a:pt x="3731" y="4080"/>
                </a:lnTo>
                <a:lnTo>
                  <a:pt x="3718" y="4074"/>
                </a:lnTo>
                <a:lnTo>
                  <a:pt x="3705" y="4066"/>
                </a:lnTo>
                <a:lnTo>
                  <a:pt x="3698" y="4062"/>
                </a:lnTo>
                <a:lnTo>
                  <a:pt x="3692" y="4058"/>
                </a:lnTo>
                <a:lnTo>
                  <a:pt x="3686" y="4053"/>
                </a:lnTo>
                <a:lnTo>
                  <a:pt x="3680" y="4047"/>
                </a:lnTo>
                <a:lnTo>
                  <a:pt x="3674" y="4041"/>
                </a:lnTo>
                <a:lnTo>
                  <a:pt x="3669" y="4035"/>
                </a:lnTo>
                <a:lnTo>
                  <a:pt x="3664" y="4029"/>
                </a:lnTo>
                <a:lnTo>
                  <a:pt x="3660" y="4023"/>
                </a:lnTo>
                <a:lnTo>
                  <a:pt x="3655" y="4016"/>
                </a:lnTo>
                <a:lnTo>
                  <a:pt x="3651" y="4010"/>
                </a:lnTo>
                <a:lnTo>
                  <a:pt x="3647" y="4003"/>
                </a:lnTo>
                <a:lnTo>
                  <a:pt x="3643" y="3995"/>
                </a:lnTo>
                <a:lnTo>
                  <a:pt x="3640" y="3987"/>
                </a:lnTo>
                <a:lnTo>
                  <a:pt x="3637" y="3979"/>
                </a:lnTo>
                <a:lnTo>
                  <a:pt x="3634" y="3971"/>
                </a:lnTo>
                <a:lnTo>
                  <a:pt x="3632" y="3963"/>
                </a:lnTo>
                <a:lnTo>
                  <a:pt x="3629" y="3954"/>
                </a:lnTo>
                <a:lnTo>
                  <a:pt x="3627" y="3946"/>
                </a:lnTo>
                <a:lnTo>
                  <a:pt x="3626" y="3937"/>
                </a:lnTo>
                <a:lnTo>
                  <a:pt x="3625" y="3927"/>
                </a:lnTo>
                <a:lnTo>
                  <a:pt x="3625" y="3918"/>
                </a:lnTo>
                <a:lnTo>
                  <a:pt x="3624" y="3909"/>
                </a:lnTo>
                <a:lnTo>
                  <a:pt x="3625" y="3890"/>
                </a:lnTo>
                <a:lnTo>
                  <a:pt x="3626" y="3881"/>
                </a:lnTo>
                <a:lnTo>
                  <a:pt x="3628" y="3872"/>
                </a:lnTo>
                <a:lnTo>
                  <a:pt x="3629" y="3862"/>
                </a:lnTo>
                <a:lnTo>
                  <a:pt x="3632" y="3853"/>
                </a:lnTo>
                <a:lnTo>
                  <a:pt x="3635" y="3844"/>
                </a:lnTo>
                <a:lnTo>
                  <a:pt x="3638" y="3836"/>
                </a:lnTo>
                <a:lnTo>
                  <a:pt x="3641" y="3827"/>
                </a:lnTo>
                <a:lnTo>
                  <a:pt x="3644" y="3819"/>
                </a:lnTo>
                <a:lnTo>
                  <a:pt x="3648" y="3810"/>
                </a:lnTo>
                <a:lnTo>
                  <a:pt x="3652" y="3802"/>
                </a:lnTo>
                <a:lnTo>
                  <a:pt x="3657" y="3795"/>
                </a:lnTo>
                <a:lnTo>
                  <a:pt x="3661" y="3787"/>
                </a:lnTo>
                <a:lnTo>
                  <a:pt x="3672" y="3774"/>
                </a:lnTo>
                <a:lnTo>
                  <a:pt x="3677" y="3767"/>
                </a:lnTo>
                <a:lnTo>
                  <a:pt x="3683" y="3761"/>
                </a:lnTo>
                <a:lnTo>
                  <a:pt x="3696" y="3748"/>
                </a:lnTo>
                <a:lnTo>
                  <a:pt x="3703" y="3743"/>
                </a:lnTo>
                <a:lnTo>
                  <a:pt x="3709" y="3738"/>
                </a:lnTo>
                <a:lnTo>
                  <a:pt x="3716" y="3734"/>
                </a:lnTo>
                <a:lnTo>
                  <a:pt x="3723" y="3730"/>
                </a:lnTo>
                <a:lnTo>
                  <a:pt x="3730" y="3726"/>
                </a:lnTo>
                <a:lnTo>
                  <a:pt x="3738" y="3723"/>
                </a:lnTo>
                <a:lnTo>
                  <a:pt x="3745" y="3721"/>
                </a:lnTo>
                <a:lnTo>
                  <a:pt x="3754" y="3718"/>
                </a:lnTo>
                <a:lnTo>
                  <a:pt x="3762" y="3716"/>
                </a:lnTo>
                <a:lnTo>
                  <a:pt x="3770" y="3715"/>
                </a:lnTo>
                <a:lnTo>
                  <a:pt x="3778" y="3714"/>
                </a:lnTo>
                <a:lnTo>
                  <a:pt x="3786" y="3714"/>
                </a:lnTo>
                <a:lnTo>
                  <a:pt x="3797" y="3715"/>
                </a:lnTo>
                <a:lnTo>
                  <a:pt x="3802" y="3715"/>
                </a:lnTo>
                <a:lnTo>
                  <a:pt x="3806" y="3716"/>
                </a:lnTo>
                <a:lnTo>
                  <a:pt x="3812" y="3717"/>
                </a:lnTo>
                <a:lnTo>
                  <a:pt x="3816" y="3718"/>
                </a:lnTo>
                <a:lnTo>
                  <a:pt x="3825" y="3721"/>
                </a:lnTo>
                <a:lnTo>
                  <a:pt x="3833" y="3725"/>
                </a:lnTo>
                <a:lnTo>
                  <a:pt x="3840" y="3730"/>
                </a:lnTo>
                <a:lnTo>
                  <a:pt x="3847" y="3735"/>
                </a:lnTo>
                <a:lnTo>
                  <a:pt x="3853" y="3741"/>
                </a:lnTo>
                <a:lnTo>
                  <a:pt x="3855" y="3744"/>
                </a:lnTo>
                <a:lnTo>
                  <a:pt x="3858" y="3748"/>
                </a:lnTo>
                <a:lnTo>
                  <a:pt x="3863" y="3756"/>
                </a:lnTo>
                <a:lnTo>
                  <a:pt x="3867" y="3764"/>
                </a:lnTo>
                <a:lnTo>
                  <a:pt x="3871" y="3772"/>
                </a:lnTo>
                <a:lnTo>
                  <a:pt x="3874" y="3781"/>
                </a:lnTo>
                <a:lnTo>
                  <a:pt x="3876" y="3790"/>
                </a:lnTo>
                <a:lnTo>
                  <a:pt x="3877" y="3800"/>
                </a:lnTo>
                <a:lnTo>
                  <a:pt x="3877" y="3809"/>
                </a:lnTo>
                <a:lnTo>
                  <a:pt x="3876" y="3823"/>
                </a:lnTo>
                <a:lnTo>
                  <a:pt x="3876" y="3829"/>
                </a:lnTo>
                <a:lnTo>
                  <a:pt x="3874" y="3835"/>
                </a:lnTo>
                <a:lnTo>
                  <a:pt x="3869" y="3847"/>
                </a:lnTo>
                <a:lnTo>
                  <a:pt x="3864" y="3859"/>
                </a:lnTo>
                <a:lnTo>
                  <a:pt x="3858" y="3870"/>
                </a:lnTo>
                <a:lnTo>
                  <a:pt x="3851" y="3881"/>
                </a:lnTo>
                <a:lnTo>
                  <a:pt x="3847" y="3887"/>
                </a:lnTo>
                <a:lnTo>
                  <a:pt x="3843" y="3891"/>
                </a:lnTo>
                <a:lnTo>
                  <a:pt x="3833" y="3901"/>
                </a:lnTo>
                <a:lnTo>
                  <a:pt x="3823" y="3909"/>
                </a:lnTo>
                <a:lnTo>
                  <a:pt x="3818" y="3913"/>
                </a:lnTo>
                <a:lnTo>
                  <a:pt x="3813" y="3917"/>
                </a:lnTo>
                <a:lnTo>
                  <a:pt x="3800" y="3923"/>
                </a:lnTo>
                <a:lnTo>
                  <a:pt x="3789" y="3929"/>
                </a:lnTo>
                <a:lnTo>
                  <a:pt x="3777" y="3935"/>
                </a:lnTo>
                <a:lnTo>
                  <a:pt x="3771" y="3936"/>
                </a:lnTo>
                <a:lnTo>
                  <a:pt x="3764" y="3938"/>
                </a:lnTo>
                <a:lnTo>
                  <a:pt x="3758" y="3939"/>
                </a:lnTo>
                <a:lnTo>
                  <a:pt x="3752" y="3940"/>
                </a:lnTo>
                <a:lnTo>
                  <a:pt x="3738" y="3941"/>
                </a:lnTo>
                <a:lnTo>
                  <a:pt x="3733" y="3940"/>
                </a:lnTo>
                <a:lnTo>
                  <a:pt x="3728" y="3938"/>
                </a:lnTo>
                <a:lnTo>
                  <a:pt x="3723" y="3935"/>
                </a:lnTo>
                <a:lnTo>
                  <a:pt x="3721" y="3933"/>
                </a:lnTo>
                <a:lnTo>
                  <a:pt x="3720" y="3930"/>
                </a:lnTo>
                <a:lnTo>
                  <a:pt x="3716" y="3926"/>
                </a:lnTo>
                <a:lnTo>
                  <a:pt x="3714" y="3921"/>
                </a:lnTo>
                <a:lnTo>
                  <a:pt x="3713" y="3918"/>
                </a:lnTo>
                <a:lnTo>
                  <a:pt x="3713" y="3915"/>
                </a:lnTo>
                <a:lnTo>
                  <a:pt x="3712" y="3908"/>
                </a:lnTo>
                <a:lnTo>
                  <a:pt x="3712" y="3906"/>
                </a:lnTo>
                <a:lnTo>
                  <a:pt x="3712" y="3903"/>
                </a:lnTo>
                <a:lnTo>
                  <a:pt x="3714" y="3898"/>
                </a:lnTo>
                <a:lnTo>
                  <a:pt x="3715" y="3896"/>
                </a:lnTo>
                <a:lnTo>
                  <a:pt x="3716" y="3894"/>
                </a:lnTo>
                <a:lnTo>
                  <a:pt x="3717" y="3892"/>
                </a:lnTo>
                <a:lnTo>
                  <a:pt x="3719" y="3891"/>
                </a:lnTo>
                <a:lnTo>
                  <a:pt x="3730" y="3889"/>
                </a:lnTo>
                <a:lnTo>
                  <a:pt x="3741" y="3887"/>
                </a:lnTo>
                <a:lnTo>
                  <a:pt x="3752" y="3883"/>
                </a:lnTo>
                <a:lnTo>
                  <a:pt x="3761" y="3879"/>
                </a:lnTo>
                <a:lnTo>
                  <a:pt x="3770" y="3875"/>
                </a:lnTo>
                <a:lnTo>
                  <a:pt x="3779" y="3869"/>
                </a:lnTo>
                <a:lnTo>
                  <a:pt x="3787" y="3863"/>
                </a:lnTo>
                <a:lnTo>
                  <a:pt x="3790" y="3860"/>
                </a:lnTo>
                <a:lnTo>
                  <a:pt x="3794" y="3857"/>
                </a:lnTo>
                <a:lnTo>
                  <a:pt x="3800" y="3851"/>
                </a:lnTo>
                <a:lnTo>
                  <a:pt x="3806" y="3845"/>
                </a:lnTo>
                <a:lnTo>
                  <a:pt x="3812" y="3838"/>
                </a:lnTo>
                <a:lnTo>
                  <a:pt x="3816" y="3831"/>
                </a:lnTo>
                <a:lnTo>
                  <a:pt x="3819" y="3824"/>
                </a:lnTo>
                <a:lnTo>
                  <a:pt x="3822" y="3817"/>
                </a:lnTo>
                <a:lnTo>
                  <a:pt x="3823" y="3809"/>
                </a:lnTo>
                <a:lnTo>
                  <a:pt x="3824" y="3802"/>
                </a:lnTo>
                <a:lnTo>
                  <a:pt x="3823" y="3794"/>
                </a:lnTo>
                <a:lnTo>
                  <a:pt x="3821" y="3786"/>
                </a:lnTo>
                <a:lnTo>
                  <a:pt x="3820" y="3783"/>
                </a:lnTo>
                <a:lnTo>
                  <a:pt x="3818" y="3780"/>
                </a:lnTo>
                <a:lnTo>
                  <a:pt x="3816" y="3777"/>
                </a:lnTo>
                <a:lnTo>
                  <a:pt x="3813" y="3775"/>
                </a:lnTo>
                <a:lnTo>
                  <a:pt x="3806" y="3771"/>
                </a:lnTo>
                <a:lnTo>
                  <a:pt x="3803" y="3769"/>
                </a:lnTo>
                <a:lnTo>
                  <a:pt x="3799" y="3767"/>
                </a:lnTo>
                <a:lnTo>
                  <a:pt x="3792" y="3766"/>
                </a:lnTo>
                <a:lnTo>
                  <a:pt x="3787" y="3765"/>
                </a:lnTo>
                <a:lnTo>
                  <a:pt x="3783" y="3765"/>
                </a:lnTo>
                <a:lnTo>
                  <a:pt x="3774" y="3766"/>
                </a:lnTo>
                <a:lnTo>
                  <a:pt x="3769" y="3766"/>
                </a:lnTo>
                <a:lnTo>
                  <a:pt x="3765" y="3768"/>
                </a:lnTo>
                <a:lnTo>
                  <a:pt x="3761" y="3769"/>
                </a:lnTo>
                <a:lnTo>
                  <a:pt x="3756" y="3771"/>
                </a:lnTo>
                <a:lnTo>
                  <a:pt x="3752" y="3773"/>
                </a:lnTo>
                <a:lnTo>
                  <a:pt x="3746" y="3776"/>
                </a:lnTo>
                <a:lnTo>
                  <a:pt x="3742" y="3779"/>
                </a:lnTo>
                <a:lnTo>
                  <a:pt x="3738" y="3782"/>
                </a:lnTo>
                <a:lnTo>
                  <a:pt x="3730" y="3789"/>
                </a:lnTo>
                <a:lnTo>
                  <a:pt x="3722" y="3797"/>
                </a:lnTo>
                <a:lnTo>
                  <a:pt x="3714" y="3806"/>
                </a:lnTo>
                <a:lnTo>
                  <a:pt x="3711" y="3812"/>
                </a:lnTo>
                <a:lnTo>
                  <a:pt x="3707" y="3817"/>
                </a:lnTo>
                <a:lnTo>
                  <a:pt x="3701" y="3828"/>
                </a:lnTo>
                <a:lnTo>
                  <a:pt x="3696" y="3839"/>
                </a:lnTo>
                <a:lnTo>
                  <a:pt x="3691" y="3851"/>
                </a:lnTo>
                <a:lnTo>
                  <a:pt x="3686" y="3864"/>
                </a:lnTo>
                <a:lnTo>
                  <a:pt x="3683" y="3879"/>
                </a:lnTo>
                <a:lnTo>
                  <a:pt x="3682" y="3892"/>
                </a:lnTo>
                <a:lnTo>
                  <a:pt x="3681" y="3899"/>
                </a:lnTo>
                <a:lnTo>
                  <a:pt x="3681" y="3906"/>
                </a:lnTo>
                <a:lnTo>
                  <a:pt x="3681" y="3919"/>
                </a:lnTo>
                <a:lnTo>
                  <a:pt x="3683" y="3932"/>
                </a:lnTo>
                <a:lnTo>
                  <a:pt x="3685" y="3944"/>
                </a:lnTo>
                <a:lnTo>
                  <a:pt x="3686" y="3950"/>
                </a:lnTo>
                <a:lnTo>
                  <a:pt x="3688" y="3955"/>
                </a:lnTo>
                <a:lnTo>
                  <a:pt x="3693" y="3965"/>
                </a:lnTo>
                <a:lnTo>
                  <a:pt x="3695" y="3970"/>
                </a:lnTo>
                <a:lnTo>
                  <a:pt x="3697" y="3975"/>
                </a:lnTo>
                <a:lnTo>
                  <a:pt x="3699" y="3980"/>
                </a:lnTo>
                <a:lnTo>
                  <a:pt x="3702" y="3984"/>
                </a:lnTo>
                <a:lnTo>
                  <a:pt x="3705" y="3989"/>
                </a:lnTo>
                <a:lnTo>
                  <a:pt x="3708" y="3994"/>
                </a:lnTo>
                <a:lnTo>
                  <a:pt x="3711" y="3997"/>
                </a:lnTo>
                <a:lnTo>
                  <a:pt x="3715" y="4001"/>
                </a:lnTo>
                <a:lnTo>
                  <a:pt x="3722" y="4008"/>
                </a:lnTo>
                <a:lnTo>
                  <a:pt x="3730" y="4013"/>
                </a:lnTo>
                <a:lnTo>
                  <a:pt x="3738" y="4018"/>
                </a:lnTo>
                <a:lnTo>
                  <a:pt x="3747" y="4022"/>
                </a:lnTo>
                <a:lnTo>
                  <a:pt x="3758" y="4025"/>
                </a:lnTo>
                <a:lnTo>
                  <a:pt x="3768" y="4026"/>
                </a:lnTo>
                <a:lnTo>
                  <a:pt x="3773" y="4027"/>
                </a:lnTo>
                <a:lnTo>
                  <a:pt x="3779" y="4027"/>
                </a:lnTo>
                <a:lnTo>
                  <a:pt x="3789" y="4027"/>
                </a:lnTo>
                <a:lnTo>
                  <a:pt x="3800" y="4025"/>
                </a:lnTo>
                <a:lnTo>
                  <a:pt x="3809" y="4023"/>
                </a:lnTo>
                <a:lnTo>
                  <a:pt x="3820" y="4019"/>
                </a:lnTo>
                <a:lnTo>
                  <a:pt x="3829" y="4015"/>
                </a:lnTo>
                <a:lnTo>
                  <a:pt x="3838" y="4010"/>
                </a:lnTo>
                <a:lnTo>
                  <a:pt x="3847" y="4004"/>
                </a:lnTo>
                <a:lnTo>
                  <a:pt x="3855" y="3998"/>
                </a:lnTo>
                <a:lnTo>
                  <a:pt x="3863" y="3989"/>
                </a:lnTo>
                <a:lnTo>
                  <a:pt x="3872" y="3981"/>
                </a:lnTo>
                <a:lnTo>
                  <a:pt x="3879" y="3973"/>
                </a:lnTo>
                <a:lnTo>
                  <a:pt x="3886" y="3964"/>
                </a:lnTo>
                <a:lnTo>
                  <a:pt x="3899" y="3945"/>
                </a:lnTo>
                <a:lnTo>
                  <a:pt x="3905" y="3934"/>
                </a:lnTo>
                <a:lnTo>
                  <a:pt x="3910" y="3922"/>
                </a:lnTo>
                <a:lnTo>
                  <a:pt x="3916" y="3911"/>
                </a:lnTo>
                <a:lnTo>
                  <a:pt x="3920" y="3900"/>
                </a:lnTo>
                <a:lnTo>
                  <a:pt x="3925" y="3889"/>
                </a:lnTo>
                <a:lnTo>
                  <a:pt x="3929" y="3877"/>
                </a:lnTo>
                <a:lnTo>
                  <a:pt x="3934" y="3864"/>
                </a:lnTo>
                <a:lnTo>
                  <a:pt x="3937" y="3852"/>
                </a:lnTo>
                <a:lnTo>
                  <a:pt x="3940" y="3840"/>
                </a:lnTo>
                <a:lnTo>
                  <a:pt x="3943" y="3828"/>
                </a:lnTo>
                <a:lnTo>
                  <a:pt x="3945" y="3816"/>
                </a:lnTo>
                <a:lnTo>
                  <a:pt x="3947" y="3803"/>
                </a:lnTo>
                <a:lnTo>
                  <a:pt x="3948" y="3791"/>
                </a:lnTo>
                <a:lnTo>
                  <a:pt x="3949" y="3780"/>
                </a:lnTo>
                <a:lnTo>
                  <a:pt x="3950" y="3768"/>
                </a:lnTo>
                <a:lnTo>
                  <a:pt x="3950" y="3757"/>
                </a:lnTo>
                <a:lnTo>
                  <a:pt x="3950" y="3746"/>
                </a:lnTo>
                <a:lnTo>
                  <a:pt x="3950" y="3735"/>
                </a:lnTo>
                <a:lnTo>
                  <a:pt x="3951" y="3733"/>
                </a:lnTo>
                <a:lnTo>
                  <a:pt x="3953" y="3731"/>
                </a:lnTo>
                <a:lnTo>
                  <a:pt x="3955" y="3729"/>
                </a:lnTo>
                <a:lnTo>
                  <a:pt x="3957" y="3727"/>
                </a:lnTo>
                <a:lnTo>
                  <a:pt x="3964" y="3724"/>
                </a:lnTo>
                <a:lnTo>
                  <a:pt x="3968" y="3723"/>
                </a:lnTo>
                <a:lnTo>
                  <a:pt x="3972" y="3723"/>
                </a:lnTo>
                <a:lnTo>
                  <a:pt x="3979" y="3724"/>
                </a:lnTo>
                <a:lnTo>
                  <a:pt x="3983" y="3724"/>
                </a:lnTo>
                <a:lnTo>
                  <a:pt x="3986" y="3725"/>
                </a:lnTo>
                <a:lnTo>
                  <a:pt x="3993" y="3728"/>
                </a:lnTo>
                <a:lnTo>
                  <a:pt x="3995" y="3730"/>
                </a:lnTo>
                <a:lnTo>
                  <a:pt x="3998" y="3732"/>
                </a:lnTo>
                <a:lnTo>
                  <a:pt x="4002" y="3738"/>
                </a:lnTo>
                <a:lnTo>
                  <a:pt x="4003" y="3741"/>
                </a:lnTo>
                <a:lnTo>
                  <a:pt x="4005" y="3745"/>
                </a:lnTo>
                <a:lnTo>
                  <a:pt x="4006" y="3750"/>
                </a:lnTo>
                <a:lnTo>
                  <a:pt x="4006" y="3756"/>
                </a:lnTo>
                <a:lnTo>
                  <a:pt x="4007" y="3761"/>
                </a:lnTo>
                <a:lnTo>
                  <a:pt x="4007" y="3767"/>
                </a:lnTo>
                <a:lnTo>
                  <a:pt x="4007" y="3782"/>
                </a:lnTo>
                <a:lnTo>
                  <a:pt x="4006" y="3798"/>
                </a:lnTo>
                <a:lnTo>
                  <a:pt x="4004" y="3814"/>
                </a:lnTo>
                <a:lnTo>
                  <a:pt x="4002" y="3829"/>
                </a:lnTo>
                <a:lnTo>
                  <a:pt x="3999" y="3844"/>
                </a:lnTo>
                <a:lnTo>
                  <a:pt x="3996" y="3859"/>
                </a:lnTo>
                <a:lnTo>
                  <a:pt x="3993" y="3874"/>
                </a:lnTo>
                <a:lnTo>
                  <a:pt x="3988" y="3888"/>
                </a:lnTo>
                <a:lnTo>
                  <a:pt x="3984" y="3902"/>
                </a:lnTo>
                <a:lnTo>
                  <a:pt x="3979" y="3916"/>
                </a:lnTo>
                <a:lnTo>
                  <a:pt x="3974" y="3929"/>
                </a:lnTo>
                <a:lnTo>
                  <a:pt x="3968" y="3943"/>
                </a:lnTo>
                <a:lnTo>
                  <a:pt x="3962" y="3955"/>
                </a:lnTo>
                <a:lnTo>
                  <a:pt x="3955" y="3967"/>
                </a:lnTo>
                <a:lnTo>
                  <a:pt x="3948" y="3979"/>
                </a:lnTo>
                <a:lnTo>
                  <a:pt x="3941" y="3990"/>
                </a:lnTo>
                <a:lnTo>
                  <a:pt x="3933" y="4002"/>
                </a:lnTo>
                <a:lnTo>
                  <a:pt x="3924" y="4012"/>
                </a:lnTo>
                <a:lnTo>
                  <a:pt x="3916" y="4021"/>
                </a:lnTo>
                <a:lnTo>
                  <a:pt x="3907" y="4030"/>
                </a:lnTo>
                <a:lnTo>
                  <a:pt x="3898" y="4039"/>
                </a:lnTo>
                <a:lnTo>
                  <a:pt x="3889" y="4047"/>
                </a:lnTo>
                <a:lnTo>
                  <a:pt x="3879" y="4055"/>
                </a:lnTo>
                <a:lnTo>
                  <a:pt x="3868" y="4061"/>
                </a:lnTo>
                <a:lnTo>
                  <a:pt x="3858" y="4067"/>
                </a:lnTo>
                <a:lnTo>
                  <a:pt x="3847" y="4072"/>
                </a:lnTo>
                <a:lnTo>
                  <a:pt x="3836" y="4077"/>
                </a:lnTo>
                <a:lnTo>
                  <a:pt x="3825" y="4081"/>
                </a:lnTo>
                <a:lnTo>
                  <a:pt x="3814" y="4084"/>
                </a:lnTo>
                <a:lnTo>
                  <a:pt x="3801" y="4086"/>
                </a:lnTo>
                <a:lnTo>
                  <a:pt x="3789" y="4087"/>
                </a:lnTo>
                <a:lnTo>
                  <a:pt x="3777" y="4087"/>
                </a:lnTo>
                <a:close/>
                <a:moveTo>
                  <a:pt x="4164" y="4082"/>
                </a:moveTo>
                <a:lnTo>
                  <a:pt x="4162" y="4081"/>
                </a:lnTo>
                <a:lnTo>
                  <a:pt x="4160" y="4081"/>
                </a:lnTo>
                <a:lnTo>
                  <a:pt x="4154" y="4078"/>
                </a:lnTo>
                <a:lnTo>
                  <a:pt x="4148" y="4074"/>
                </a:lnTo>
                <a:lnTo>
                  <a:pt x="4141" y="4068"/>
                </a:lnTo>
                <a:lnTo>
                  <a:pt x="4128" y="4057"/>
                </a:lnTo>
                <a:lnTo>
                  <a:pt x="4113" y="4042"/>
                </a:lnTo>
                <a:lnTo>
                  <a:pt x="4096" y="4027"/>
                </a:lnTo>
                <a:lnTo>
                  <a:pt x="4079" y="4010"/>
                </a:lnTo>
                <a:lnTo>
                  <a:pt x="4063" y="3993"/>
                </a:lnTo>
                <a:lnTo>
                  <a:pt x="4048" y="3975"/>
                </a:lnTo>
                <a:lnTo>
                  <a:pt x="4036" y="3961"/>
                </a:lnTo>
                <a:lnTo>
                  <a:pt x="4032" y="3955"/>
                </a:lnTo>
                <a:lnTo>
                  <a:pt x="4029" y="3950"/>
                </a:lnTo>
                <a:lnTo>
                  <a:pt x="4024" y="3939"/>
                </a:lnTo>
                <a:lnTo>
                  <a:pt x="4020" y="3929"/>
                </a:lnTo>
                <a:lnTo>
                  <a:pt x="4017" y="3919"/>
                </a:lnTo>
                <a:lnTo>
                  <a:pt x="4017" y="3909"/>
                </a:lnTo>
                <a:lnTo>
                  <a:pt x="4017" y="3903"/>
                </a:lnTo>
                <a:lnTo>
                  <a:pt x="4018" y="3898"/>
                </a:lnTo>
                <a:lnTo>
                  <a:pt x="4019" y="3892"/>
                </a:lnTo>
                <a:lnTo>
                  <a:pt x="4021" y="3886"/>
                </a:lnTo>
                <a:lnTo>
                  <a:pt x="4024" y="3880"/>
                </a:lnTo>
                <a:lnTo>
                  <a:pt x="4027" y="3873"/>
                </a:lnTo>
                <a:lnTo>
                  <a:pt x="4031" y="3866"/>
                </a:lnTo>
                <a:lnTo>
                  <a:pt x="4035" y="3859"/>
                </a:lnTo>
                <a:lnTo>
                  <a:pt x="4043" y="3848"/>
                </a:lnTo>
                <a:lnTo>
                  <a:pt x="4056" y="3834"/>
                </a:lnTo>
                <a:lnTo>
                  <a:pt x="4085" y="3800"/>
                </a:lnTo>
                <a:lnTo>
                  <a:pt x="4121" y="3761"/>
                </a:lnTo>
                <a:lnTo>
                  <a:pt x="4156" y="3719"/>
                </a:lnTo>
                <a:lnTo>
                  <a:pt x="4157" y="3719"/>
                </a:lnTo>
                <a:lnTo>
                  <a:pt x="4160" y="3719"/>
                </a:lnTo>
                <a:lnTo>
                  <a:pt x="4164" y="3719"/>
                </a:lnTo>
                <a:lnTo>
                  <a:pt x="4168" y="3720"/>
                </a:lnTo>
                <a:lnTo>
                  <a:pt x="4173" y="3722"/>
                </a:lnTo>
                <a:lnTo>
                  <a:pt x="4178" y="3724"/>
                </a:lnTo>
                <a:lnTo>
                  <a:pt x="4182" y="3728"/>
                </a:lnTo>
                <a:lnTo>
                  <a:pt x="4186" y="3731"/>
                </a:lnTo>
                <a:lnTo>
                  <a:pt x="4189" y="3735"/>
                </a:lnTo>
                <a:lnTo>
                  <a:pt x="4192" y="3740"/>
                </a:lnTo>
                <a:lnTo>
                  <a:pt x="4194" y="3745"/>
                </a:lnTo>
                <a:lnTo>
                  <a:pt x="4194" y="3750"/>
                </a:lnTo>
                <a:lnTo>
                  <a:pt x="4193" y="3756"/>
                </a:lnTo>
                <a:lnTo>
                  <a:pt x="4192" y="3762"/>
                </a:lnTo>
                <a:lnTo>
                  <a:pt x="4189" y="3767"/>
                </a:lnTo>
                <a:lnTo>
                  <a:pt x="4185" y="3773"/>
                </a:lnTo>
                <a:lnTo>
                  <a:pt x="4177" y="3783"/>
                </a:lnTo>
                <a:lnTo>
                  <a:pt x="4164" y="3797"/>
                </a:lnTo>
                <a:lnTo>
                  <a:pt x="4135" y="3831"/>
                </a:lnTo>
                <a:lnTo>
                  <a:pt x="4105" y="3864"/>
                </a:lnTo>
                <a:lnTo>
                  <a:pt x="4093" y="3880"/>
                </a:lnTo>
                <a:lnTo>
                  <a:pt x="4083" y="3891"/>
                </a:lnTo>
                <a:lnTo>
                  <a:pt x="4081" y="3895"/>
                </a:lnTo>
                <a:lnTo>
                  <a:pt x="4079" y="3899"/>
                </a:lnTo>
                <a:lnTo>
                  <a:pt x="4078" y="3902"/>
                </a:lnTo>
                <a:lnTo>
                  <a:pt x="4078" y="3906"/>
                </a:lnTo>
                <a:lnTo>
                  <a:pt x="4078" y="3910"/>
                </a:lnTo>
                <a:lnTo>
                  <a:pt x="4080" y="3915"/>
                </a:lnTo>
                <a:lnTo>
                  <a:pt x="4082" y="3919"/>
                </a:lnTo>
                <a:lnTo>
                  <a:pt x="4085" y="3924"/>
                </a:lnTo>
                <a:lnTo>
                  <a:pt x="4092" y="3934"/>
                </a:lnTo>
                <a:lnTo>
                  <a:pt x="4102" y="3945"/>
                </a:lnTo>
                <a:lnTo>
                  <a:pt x="4131" y="3975"/>
                </a:lnTo>
                <a:lnTo>
                  <a:pt x="4163" y="4008"/>
                </a:lnTo>
                <a:lnTo>
                  <a:pt x="4195" y="4038"/>
                </a:lnTo>
                <a:lnTo>
                  <a:pt x="4196" y="4040"/>
                </a:lnTo>
                <a:lnTo>
                  <a:pt x="4198" y="4042"/>
                </a:lnTo>
                <a:lnTo>
                  <a:pt x="4199" y="4044"/>
                </a:lnTo>
                <a:lnTo>
                  <a:pt x="4199" y="4047"/>
                </a:lnTo>
                <a:lnTo>
                  <a:pt x="4198" y="4053"/>
                </a:lnTo>
                <a:lnTo>
                  <a:pt x="4197" y="4056"/>
                </a:lnTo>
                <a:lnTo>
                  <a:pt x="4196" y="4059"/>
                </a:lnTo>
                <a:lnTo>
                  <a:pt x="4192" y="4065"/>
                </a:lnTo>
                <a:lnTo>
                  <a:pt x="4190" y="4067"/>
                </a:lnTo>
                <a:lnTo>
                  <a:pt x="4188" y="4070"/>
                </a:lnTo>
                <a:lnTo>
                  <a:pt x="4182" y="4075"/>
                </a:lnTo>
                <a:lnTo>
                  <a:pt x="4179" y="4077"/>
                </a:lnTo>
                <a:lnTo>
                  <a:pt x="4177" y="4078"/>
                </a:lnTo>
                <a:lnTo>
                  <a:pt x="4171" y="4081"/>
                </a:lnTo>
                <a:lnTo>
                  <a:pt x="4167" y="4081"/>
                </a:lnTo>
                <a:lnTo>
                  <a:pt x="4164" y="4082"/>
                </a:lnTo>
                <a:close/>
                <a:moveTo>
                  <a:pt x="3000" y="4087"/>
                </a:moveTo>
                <a:lnTo>
                  <a:pt x="2992" y="4087"/>
                </a:lnTo>
                <a:lnTo>
                  <a:pt x="2984" y="4086"/>
                </a:lnTo>
                <a:lnTo>
                  <a:pt x="2977" y="4085"/>
                </a:lnTo>
                <a:lnTo>
                  <a:pt x="2969" y="4084"/>
                </a:lnTo>
                <a:lnTo>
                  <a:pt x="2961" y="4082"/>
                </a:lnTo>
                <a:lnTo>
                  <a:pt x="2954" y="4080"/>
                </a:lnTo>
                <a:lnTo>
                  <a:pt x="2941" y="4074"/>
                </a:lnTo>
                <a:lnTo>
                  <a:pt x="2927" y="4066"/>
                </a:lnTo>
                <a:lnTo>
                  <a:pt x="2921" y="4062"/>
                </a:lnTo>
                <a:lnTo>
                  <a:pt x="2915" y="4058"/>
                </a:lnTo>
                <a:lnTo>
                  <a:pt x="2908" y="4053"/>
                </a:lnTo>
                <a:lnTo>
                  <a:pt x="2903" y="4047"/>
                </a:lnTo>
                <a:lnTo>
                  <a:pt x="2897" y="4041"/>
                </a:lnTo>
                <a:lnTo>
                  <a:pt x="2892" y="4035"/>
                </a:lnTo>
                <a:lnTo>
                  <a:pt x="2887" y="4029"/>
                </a:lnTo>
                <a:lnTo>
                  <a:pt x="2882" y="4023"/>
                </a:lnTo>
                <a:lnTo>
                  <a:pt x="2878" y="4016"/>
                </a:lnTo>
                <a:lnTo>
                  <a:pt x="2874" y="4010"/>
                </a:lnTo>
                <a:lnTo>
                  <a:pt x="2870" y="4003"/>
                </a:lnTo>
                <a:lnTo>
                  <a:pt x="2866" y="3995"/>
                </a:lnTo>
                <a:lnTo>
                  <a:pt x="2863" y="3987"/>
                </a:lnTo>
                <a:lnTo>
                  <a:pt x="2860" y="3979"/>
                </a:lnTo>
                <a:lnTo>
                  <a:pt x="2857" y="3971"/>
                </a:lnTo>
                <a:lnTo>
                  <a:pt x="2855" y="3963"/>
                </a:lnTo>
                <a:lnTo>
                  <a:pt x="2853" y="3954"/>
                </a:lnTo>
                <a:lnTo>
                  <a:pt x="2851" y="3946"/>
                </a:lnTo>
                <a:lnTo>
                  <a:pt x="2849" y="3937"/>
                </a:lnTo>
                <a:lnTo>
                  <a:pt x="2848" y="3927"/>
                </a:lnTo>
                <a:lnTo>
                  <a:pt x="2847" y="3918"/>
                </a:lnTo>
                <a:lnTo>
                  <a:pt x="2847" y="3909"/>
                </a:lnTo>
                <a:lnTo>
                  <a:pt x="2848" y="3890"/>
                </a:lnTo>
                <a:lnTo>
                  <a:pt x="2849" y="3881"/>
                </a:lnTo>
                <a:lnTo>
                  <a:pt x="2851" y="3872"/>
                </a:lnTo>
                <a:lnTo>
                  <a:pt x="2853" y="3862"/>
                </a:lnTo>
                <a:lnTo>
                  <a:pt x="2855" y="3853"/>
                </a:lnTo>
                <a:lnTo>
                  <a:pt x="2858" y="3844"/>
                </a:lnTo>
                <a:lnTo>
                  <a:pt x="2861" y="3836"/>
                </a:lnTo>
                <a:lnTo>
                  <a:pt x="2864" y="3827"/>
                </a:lnTo>
                <a:lnTo>
                  <a:pt x="2867" y="3819"/>
                </a:lnTo>
                <a:lnTo>
                  <a:pt x="2871" y="3810"/>
                </a:lnTo>
                <a:lnTo>
                  <a:pt x="2875" y="3802"/>
                </a:lnTo>
                <a:lnTo>
                  <a:pt x="2879" y="3795"/>
                </a:lnTo>
                <a:lnTo>
                  <a:pt x="2884" y="3787"/>
                </a:lnTo>
                <a:lnTo>
                  <a:pt x="2894" y="3774"/>
                </a:lnTo>
                <a:lnTo>
                  <a:pt x="2900" y="3767"/>
                </a:lnTo>
                <a:lnTo>
                  <a:pt x="2906" y="3761"/>
                </a:lnTo>
                <a:lnTo>
                  <a:pt x="2919" y="3748"/>
                </a:lnTo>
                <a:lnTo>
                  <a:pt x="2925" y="3743"/>
                </a:lnTo>
                <a:lnTo>
                  <a:pt x="2932" y="3738"/>
                </a:lnTo>
                <a:lnTo>
                  <a:pt x="2939" y="3734"/>
                </a:lnTo>
                <a:lnTo>
                  <a:pt x="2946" y="3730"/>
                </a:lnTo>
                <a:lnTo>
                  <a:pt x="2953" y="3726"/>
                </a:lnTo>
                <a:lnTo>
                  <a:pt x="2961" y="3723"/>
                </a:lnTo>
                <a:lnTo>
                  <a:pt x="2968" y="3721"/>
                </a:lnTo>
                <a:lnTo>
                  <a:pt x="2977" y="3718"/>
                </a:lnTo>
                <a:lnTo>
                  <a:pt x="2985" y="3716"/>
                </a:lnTo>
                <a:lnTo>
                  <a:pt x="2993" y="3715"/>
                </a:lnTo>
                <a:lnTo>
                  <a:pt x="3001" y="3714"/>
                </a:lnTo>
                <a:lnTo>
                  <a:pt x="3009" y="3714"/>
                </a:lnTo>
                <a:lnTo>
                  <a:pt x="3019" y="3715"/>
                </a:lnTo>
                <a:lnTo>
                  <a:pt x="3024" y="3715"/>
                </a:lnTo>
                <a:lnTo>
                  <a:pt x="3029" y="3716"/>
                </a:lnTo>
                <a:lnTo>
                  <a:pt x="3035" y="3717"/>
                </a:lnTo>
                <a:lnTo>
                  <a:pt x="3039" y="3718"/>
                </a:lnTo>
                <a:lnTo>
                  <a:pt x="3048" y="3721"/>
                </a:lnTo>
                <a:lnTo>
                  <a:pt x="3055" y="3725"/>
                </a:lnTo>
                <a:lnTo>
                  <a:pt x="3063" y="3730"/>
                </a:lnTo>
                <a:lnTo>
                  <a:pt x="3069" y="3735"/>
                </a:lnTo>
                <a:lnTo>
                  <a:pt x="3075" y="3741"/>
                </a:lnTo>
                <a:lnTo>
                  <a:pt x="3078" y="3744"/>
                </a:lnTo>
                <a:lnTo>
                  <a:pt x="3081" y="3748"/>
                </a:lnTo>
                <a:lnTo>
                  <a:pt x="3086" y="3756"/>
                </a:lnTo>
                <a:lnTo>
                  <a:pt x="3091" y="3764"/>
                </a:lnTo>
                <a:lnTo>
                  <a:pt x="3094" y="3772"/>
                </a:lnTo>
                <a:lnTo>
                  <a:pt x="3097" y="3781"/>
                </a:lnTo>
                <a:lnTo>
                  <a:pt x="3099" y="3790"/>
                </a:lnTo>
                <a:lnTo>
                  <a:pt x="3100" y="3800"/>
                </a:lnTo>
                <a:lnTo>
                  <a:pt x="3100" y="3809"/>
                </a:lnTo>
                <a:lnTo>
                  <a:pt x="3099" y="3823"/>
                </a:lnTo>
                <a:lnTo>
                  <a:pt x="3098" y="3829"/>
                </a:lnTo>
                <a:lnTo>
                  <a:pt x="3097" y="3835"/>
                </a:lnTo>
                <a:lnTo>
                  <a:pt x="3093" y="3847"/>
                </a:lnTo>
                <a:lnTo>
                  <a:pt x="3087" y="3859"/>
                </a:lnTo>
                <a:lnTo>
                  <a:pt x="3081" y="3870"/>
                </a:lnTo>
                <a:lnTo>
                  <a:pt x="3074" y="3881"/>
                </a:lnTo>
                <a:lnTo>
                  <a:pt x="3070" y="3887"/>
                </a:lnTo>
                <a:lnTo>
                  <a:pt x="3065" y="3891"/>
                </a:lnTo>
                <a:lnTo>
                  <a:pt x="3056" y="3901"/>
                </a:lnTo>
                <a:lnTo>
                  <a:pt x="3046" y="3909"/>
                </a:lnTo>
                <a:lnTo>
                  <a:pt x="3041" y="3913"/>
                </a:lnTo>
                <a:lnTo>
                  <a:pt x="3036" y="3917"/>
                </a:lnTo>
                <a:lnTo>
                  <a:pt x="3023" y="3923"/>
                </a:lnTo>
                <a:lnTo>
                  <a:pt x="3012" y="3929"/>
                </a:lnTo>
                <a:lnTo>
                  <a:pt x="2999" y="3935"/>
                </a:lnTo>
                <a:lnTo>
                  <a:pt x="2993" y="3936"/>
                </a:lnTo>
                <a:lnTo>
                  <a:pt x="2987" y="3938"/>
                </a:lnTo>
                <a:lnTo>
                  <a:pt x="2981" y="3939"/>
                </a:lnTo>
                <a:lnTo>
                  <a:pt x="2975" y="3940"/>
                </a:lnTo>
                <a:lnTo>
                  <a:pt x="2961" y="3941"/>
                </a:lnTo>
                <a:lnTo>
                  <a:pt x="2956" y="3940"/>
                </a:lnTo>
                <a:lnTo>
                  <a:pt x="2951" y="3938"/>
                </a:lnTo>
                <a:lnTo>
                  <a:pt x="2946" y="3935"/>
                </a:lnTo>
                <a:lnTo>
                  <a:pt x="2944" y="3933"/>
                </a:lnTo>
                <a:lnTo>
                  <a:pt x="2942" y="3930"/>
                </a:lnTo>
                <a:lnTo>
                  <a:pt x="2939" y="3926"/>
                </a:lnTo>
                <a:lnTo>
                  <a:pt x="2937" y="3921"/>
                </a:lnTo>
                <a:lnTo>
                  <a:pt x="2936" y="3918"/>
                </a:lnTo>
                <a:lnTo>
                  <a:pt x="2935" y="3915"/>
                </a:lnTo>
                <a:lnTo>
                  <a:pt x="2935" y="3908"/>
                </a:lnTo>
                <a:lnTo>
                  <a:pt x="2935" y="3906"/>
                </a:lnTo>
                <a:lnTo>
                  <a:pt x="2935" y="3903"/>
                </a:lnTo>
                <a:lnTo>
                  <a:pt x="2936" y="3898"/>
                </a:lnTo>
                <a:lnTo>
                  <a:pt x="2937" y="3896"/>
                </a:lnTo>
                <a:lnTo>
                  <a:pt x="2939" y="3894"/>
                </a:lnTo>
                <a:lnTo>
                  <a:pt x="2940" y="3892"/>
                </a:lnTo>
                <a:lnTo>
                  <a:pt x="2942" y="3891"/>
                </a:lnTo>
                <a:lnTo>
                  <a:pt x="2953" y="3889"/>
                </a:lnTo>
                <a:lnTo>
                  <a:pt x="2963" y="3887"/>
                </a:lnTo>
                <a:lnTo>
                  <a:pt x="2974" y="3883"/>
                </a:lnTo>
                <a:lnTo>
                  <a:pt x="2984" y="3879"/>
                </a:lnTo>
                <a:lnTo>
                  <a:pt x="2993" y="3875"/>
                </a:lnTo>
                <a:lnTo>
                  <a:pt x="3001" y="3869"/>
                </a:lnTo>
                <a:lnTo>
                  <a:pt x="3009" y="3863"/>
                </a:lnTo>
                <a:lnTo>
                  <a:pt x="3013" y="3860"/>
                </a:lnTo>
                <a:lnTo>
                  <a:pt x="3017" y="3857"/>
                </a:lnTo>
                <a:lnTo>
                  <a:pt x="3023" y="3851"/>
                </a:lnTo>
                <a:lnTo>
                  <a:pt x="3029" y="3845"/>
                </a:lnTo>
                <a:lnTo>
                  <a:pt x="3035" y="3838"/>
                </a:lnTo>
                <a:lnTo>
                  <a:pt x="3039" y="3831"/>
                </a:lnTo>
                <a:lnTo>
                  <a:pt x="3042" y="3824"/>
                </a:lnTo>
                <a:lnTo>
                  <a:pt x="3045" y="3817"/>
                </a:lnTo>
                <a:lnTo>
                  <a:pt x="3046" y="3809"/>
                </a:lnTo>
                <a:lnTo>
                  <a:pt x="3047" y="3802"/>
                </a:lnTo>
                <a:lnTo>
                  <a:pt x="3046" y="3794"/>
                </a:lnTo>
                <a:lnTo>
                  <a:pt x="3044" y="3786"/>
                </a:lnTo>
                <a:lnTo>
                  <a:pt x="3042" y="3783"/>
                </a:lnTo>
                <a:lnTo>
                  <a:pt x="3040" y="3780"/>
                </a:lnTo>
                <a:lnTo>
                  <a:pt x="3038" y="3777"/>
                </a:lnTo>
                <a:lnTo>
                  <a:pt x="3036" y="3775"/>
                </a:lnTo>
                <a:lnTo>
                  <a:pt x="3029" y="3771"/>
                </a:lnTo>
                <a:lnTo>
                  <a:pt x="3026" y="3769"/>
                </a:lnTo>
                <a:lnTo>
                  <a:pt x="3022" y="3767"/>
                </a:lnTo>
                <a:lnTo>
                  <a:pt x="3014" y="3766"/>
                </a:lnTo>
                <a:lnTo>
                  <a:pt x="3010" y="3765"/>
                </a:lnTo>
                <a:lnTo>
                  <a:pt x="3005" y="3765"/>
                </a:lnTo>
                <a:lnTo>
                  <a:pt x="2997" y="3766"/>
                </a:lnTo>
                <a:lnTo>
                  <a:pt x="2992" y="3766"/>
                </a:lnTo>
                <a:lnTo>
                  <a:pt x="2988" y="3768"/>
                </a:lnTo>
                <a:lnTo>
                  <a:pt x="2983" y="3769"/>
                </a:lnTo>
                <a:lnTo>
                  <a:pt x="2979" y="3771"/>
                </a:lnTo>
                <a:lnTo>
                  <a:pt x="2975" y="3773"/>
                </a:lnTo>
                <a:lnTo>
                  <a:pt x="2969" y="3776"/>
                </a:lnTo>
                <a:lnTo>
                  <a:pt x="2965" y="3779"/>
                </a:lnTo>
                <a:lnTo>
                  <a:pt x="2961" y="3782"/>
                </a:lnTo>
                <a:lnTo>
                  <a:pt x="2952" y="3789"/>
                </a:lnTo>
                <a:lnTo>
                  <a:pt x="2945" y="3797"/>
                </a:lnTo>
                <a:lnTo>
                  <a:pt x="2937" y="3806"/>
                </a:lnTo>
                <a:lnTo>
                  <a:pt x="2934" y="3812"/>
                </a:lnTo>
                <a:lnTo>
                  <a:pt x="2930" y="3817"/>
                </a:lnTo>
                <a:lnTo>
                  <a:pt x="2924" y="3828"/>
                </a:lnTo>
                <a:lnTo>
                  <a:pt x="2918" y="3839"/>
                </a:lnTo>
                <a:lnTo>
                  <a:pt x="2914" y="3851"/>
                </a:lnTo>
                <a:lnTo>
                  <a:pt x="2909" y="3864"/>
                </a:lnTo>
                <a:lnTo>
                  <a:pt x="2906" y="3879"/>
                </a:lnTo>
                <a:lnTo>
                  <a:pt x="2904" y="3892"/>
                </a:lnTo>
                <a:lnTo>
                  <a:pt x="2904" y="3899"/>
                </a:lnTo>
                <a:lnTo>
                  <a:pt x="2904" y="3906"/>
                </a:lnTo>
                <a:lnTo>
                  <a:pt x="2904" y="3919"/>
                </a:lnTo>
                <a:lnTo>
                  <a:pt x="2905" y="3932"/>
                </a:lnTo>
                <a:lnTo>
                  <a:pt x="2908" y="3944"/>
                </a:lnTo>
                <a:lnTo>
                  <a:pt x="2909" y="3950"/>
                </a:lnTo>
                <a:lnTo>
                  <a:pt x="2912" y="3955"/>
                </a:lnTo>
                <a:lnTo>
                  <a:pt x="2915" y="3965"/>
                </a:lnTo>
                <a:lnTo>
                  <a:pt x="2917" y="3970"/>
                </a:lnTo>
                <a:lnTo>
                  <a:pt x="2920" y="3975"/>
                </a:lnTo>
                <a:lnTo>
                  <a:pt x="2922" y="3980"/>
                </a:lnTo>
                <a:lnTo>
                  <a:pt x="2925" y="3984"/>
                </a:lnTo>
                <a:lnTo>
                  <a:pt x="2928" y="3989"/>
                </a:lnTo>
                <a:lnTo>
                  <a:pt x="2931" y="3994"/>
                </a:lnTo>
                <a:lnTo>
                  <a:pt x="2934" y="3997"/>
                </a:lnTo>
                <a:lnTo>
                  <a:pt x="2937" y="4001"/>
                </a:lnTo>
                <a:lnTo>
                  <a:pt x="2945" y="4008"/>
                </a:lnTo>
                <a:lnTo>
                  <a:pt x="2953" y="4013"/>
                </a:lnTo>
                <a:lnTo>
                  <a:pt x="2961" y="4018"/>
                </a:lnTo>
                <a:lnTo>
                  <a:pt x="2971" y="4022"/>
                </a:lnTo>
                <a:lnTo>
                  <a:pt x="2981" y="4025"/>
                </a:lnTo>
                <a:lnTo>
                  <a:pt x="2991" y="4026"/>
                </a:lnTo>
                <a:lnTo>
                  <a:pt x="2996" y="4027"/>
                </a:lnTo>
                <a:lnTo>
                  <a:pt x="3002" y="4027"/>
                </a:lnTo>
                <a:lnTo>
                  <a:pt x="3012" y="4027"/>
                </a:lnTo>
                <a:lnTo>
                  <a:pt x="3022" y="4025"/>
                </a:lnTo>
                <a:lnTo>
                  <a:pt x="3033" y="4023"/>
                </a:lnTo>
                <a:lnTo>
                  <a:pt x="3043" y="4019"/>
                </a:lnTo>
                <a:lnTo>
                  <a:pt x="3052" y="4015"/>
                </a:lnTo>
                <a:lnTo>
                  <a:pt x="3061" y="4010"/>
                </a:lnTo>
                <a:lnTo>
                  <a:pt x="3070" y="4004"/>
                </a:lnTo>
                <a:lnTo>
                  <a:pt x="3078" y="3998"/>
                </a:lnTo>
                <a:lnTo>
                  <a:pt x="3086" y="3989"/>
                </a:lnTo>
                <a:lnTo>
                  <a:pt x="3094" y="3981"/>
                </a:lnTo>
                <a:lnTo>
                  <a:pt x="3102" y="3973"/>
                </a:lnTo>
                <a:lnTo>
                  <a:pt x="3109" y="3964"/>
                </a:lnTo>
                <a:lnTo>
                  <a:pt x="3122" y="3945"/>
                </a:lnTo>
                <a:lnTo>
                  <a:pt x="3128" y="3934"/>
                </a:lnTo>
                <a:lnTo>
                  <a:pt x="3133" y="3922"/>
                </a:lnTo>
                <a:lnTo>
                  <a:pt x="3138" y="3911"/>
                </a:lnTo>
                <a:lnTo>
                  <a:pt x="3143" y="3900"/>
                </a:lnTo>
                <a:lnTo>
                  <a:pt x="3148" y="3889"/>
                </a:lnTo>
                <a:lnTo>
                  <a:pt x="3153" y="3877"/>
                </a:lnTo>
                <a:lnTo>
                  <a:pt x="3157" y="3864"/>
                </a:lnTo>
                <a:lnTo>
                  <a:pt x="3160" y="3852"/>
                </a:lnTo>
                <a:lnTo>
                  <a:pt x="3163" y="3840"/>
                </a:lnTo>
                <a:lnTo>
                  <a:pt x="3166" y="3828"/>
                </a:lnTo>
                <a:lnTo>
                  <a:pt x="3168" y="3816"/>
                </a:lnTo>
                <a:lnTo>
                  <a:pt x="3170" y="3803"/>
                </a:lnTo>
                <a:lnTo>
                  <a:pt x="3171" y="3791"/>
                </a:lnTo>
                <a:lnTo>
                  <a:pt x="3172" y="3780"/>
                </a:lnTo>
                <a:lnTo>
                  <a:pt x="3173" y="3768"/>
                </a:lnTo>
                <a:lnTo>
                  <a:pt x="3173" y="3757"/>
                </a:lnTo>
                <a:lnTo>
                  <a:pt x="3173" y="3746"/>
                </a:lnTo>
                <a:lnTo>
                  <a:pt x="3173" y="3735"/>
                </a:lnTo>
                <a:lnTo>
                  <a:pt x="3174" y="3733"/>
                </a:lnTo>
                <a:lnTo>
                  <a:pt x="3175" y="3731"/>
                </a:lnTo>
                <a:lnTo>
                  <a:pt x="3177" y="3729"/>
                </a:lnTo>
                <a:lnTo>
                  <a:pt x="3180" y="3727"/>
                </a:lnTo>
                <a:lnTo>
                  <a:pt x="3187" y="3724"/>
                </a:lnTo>
                <a:lnTo>
                  <a:pt x="3191" y="3723"/>
                </a:lnTo>
                <a:lnTo>
                  <a:pt x="3195" y="3723"/>
                </a:lnTo>
                <a:lnTo>
                  <a:pt x="3202" y="3724"/>
                </a:lnTo>
                <a:lnTo>
                  <a:pt x="3205" y="3724"/>
                </a:lnTo>
                <a:lnTo>
                  <a:pt x="3209" y="3725"/>
                </a:lnTo>
                <a:lnTo>
                  <a:pt x="3215" y="3728"/>
                </a:lnTo>
                <a:lnTo>
                  <a:pt x="3218" y="3730"/>
                </a:lnTo>
                <a:lnTo>
                  <a:pt x="3220" y="3732"/>
                </a:lnTo>
                <a:lnTo>
                  <a:pt x="3224" y="3738"/>
                </a:lnTo>
                <a:lnTo>
                  <a:pt x="3226" y="3741"/>
                </a:lnTo>
                <a:lnTo>
                  <a:pt x="3227" y="3745"/>
                </a:lnTo>
                <a:lnTo>
                  <a:pt x="3228" y="3750"/>
                </a:lnTo>
                <a:lnTo>
                  <a:pt x="3229" y="3756"/>
                </a:lnTo>
                <a:lnTo>
                  <a:pt x="3230" y="3761"/>
                </a:lnTo>
                <a:lnTo>
                  <a:pt x="3230" y="3767"/>
                </a:lnTo>
                <a:lnTo>
                  <a:pt x="3229" y="3782"/>
                </a:lnTo>
                <a:lnTo>
                  <a:pt x="3228" y="3798"/>
                </a:lnTo>
                <a:lnTo>
                  <a:pt x="3227" y="3814"/>
                </a:lnTo>
                <a:lnTo>
                  <a:pt x="3225" y="3829"/>
                </a:lnTo>
                <a:lnTo>
                  <a:pt x="3222" y="3844"/>
                </a:lnTo>
                <a:lnTo>
                  <a:pt x="3219" y="3859"/>
                </a:lnTo>
                <a:lnTo>
                  <a:pt x="3216" y="3874"/>
                </a:lnTo>
                <a:lnTo>
                  <a:pt x="3212" y="3888"/>
                </a:lnTo>
                <a:lnTo>
                  <a:pt x="3206" y="3902"/>
                </a:lnTo>
                <a:lnTo>
                  <a:pt x="3202" y="3916"/>
                </a:lnTo>
                <a:lnTo>
                  <a:pt x="3196" y="3929"/>
                </a:lnTo>
                <a:lnTo>
                  <a:pt x="3191" y="3943"/>
                </a:lnTo>
                <a:lnTo>
                  <a:pt x="3185" y="3955"/>
                </a:lnTo>
                <a:lnTo>
                  <a:pt x="3178" y="3967"/>
                </a:lnTo>
                <a:lnTo>
                  <a:pt x="3171" y="3979"/>
                </a:lnTo>
                <a:lnTo>
                  <a:pt x="3164" y="3990"/>
                </a:lnTo>
                <a:lnTo>
                  <a:pt x="3156" y="4002"/>
                </a:lnTo>
                <a:lnTo>
                  <a:pt x="3147" y="4012"/>
                </a:lnTo>
                <a:lnTo>
                  <a:pt x="3139" y="4021"/>
                </a:lnTo>
                <a:lnTo>
                  <a:pt x="3130" y="4030"/>
                </a:lnTo>
                <a:lnTo>
                  <a:pt x="3121" y="4039"/>
                </a:lnTo>
                <a:lnTo>
                  <a:pt x="3112" y="4047"/>
                </a:lnTo>
                <a:lnTo>
                  <a:pt x="3102" y="4055"/>
                </a:lnTo>
                <a:lnTo>
                  <a:pt x="3092" y="4061"/>
                </a:lnTo>
                <a:lnTo>
                  <a:pt x="3081" y="4067"/>
                </a:lnTo>
                <a:lnTo>
                  <a:pt x="3070" y="4072"/>
                </a:lnTo>
                <a:lnTo>
                  <a:pt x="3059" y="4077"/>
                </a:lnTo>
                <a:lnTo>
                  <a:pt x="3048" y="4081"/>
                </a:lnTo>
                <a:lnTo>
                  <a:pt x="3036" y="4084"/>
                </a:lnTo>
                <a:lnTo>
                  <a:pt x="3024" y="4086"/>
                </a:lnTo>
                <a:lnTo>
                  <a:pt x="3012" y="4087"/>
                </a:lnTo>
                <a:lnTo>
                  <a:pt x="3000" y="4087"/>
                </a:lnTo>
                <a:close/>
                <a:moveTo>
                  <a:pt x="3386" y="4082"/>
                </a:moveTo>
                <a:lnTo>
                  <a:pt x="3385" y="4081"/>
                </a:lnTo>
                <a:lnTo>
                  <a:pt x="3382" y="4081"/>
                </a:lnTo>
                <a:lnTo>
                  <a:pt x="3377" y="4078"/>
                </a:lnTo>
                <a:lnTo>
                  <a:pt x="3371" y="4074"/>
                </a:lnTo>
                <a:lnTo>
                  <a:pt x="3363" y="4068"/>
                </a:lnTo>
                <a:lnTo>
                  <a:pt x="3351" y="4057"/>
                </a:lnTo>
                <a:lnTo>
                  <a:pt x="3336" y="4042"/>
                </a:lnTo>
                <a:lnTo>
                  <a:pt x="3318" y="4027"/>
                </a:lnTo>
                <a:lnTo>
                  <a:pt x="3302" y="4010"/>
                </a:lnTo>
                <a:lnTo>
                  <a:pt x="3286" y="3993"/>
                </a:lnTo>
                <a:lnTo>
                  <a:pt x="3272" y="3975"/>
                </a:lnTo>
                <a:lnTo>
                  <a:pt x="3259" y="3961"/>
                </a:lnTo>
                <a:lnTo>
                  <a:pt x="3255" y="3955"/>
                </a:lnTo>
                <a:lnTo>
                  <a:pt x="3252" y="3950"/>
                </a:lnTo>
                <a:lnTo>
                  <a:pt x="3246" y="3939"/>
                </a:lnTo>
                <a:lnTo>
                  <a:pt x="3243" y="3929"/>
                </a:lnTo>
                <a:lnTo>
                  <a:pt x="3240" y="3919"/>
                </a:lnTo>
                <a:lnTo>
                  <a:pt x="3239" y="3909"/>
                </a:lnTo>
                <a:lnTo>
                  <a:pt x="3240" y="3903"/>
                </a:lnTo>
                <a:lnTo>
                  <a:pt x="3240" y="3898"/>
                </a:lnTo>
                <a:lnTo>
                  <a:pt x="3242" y="3892"/>
                </a:lnTo>
                <a:lnTo>
                  <a:pt x="3244" y="3886"/>
                </a:lnTo>
                <a:lnTo>
                  <a:pt x="3246" y="3880"/>
                </a:lnTo>
                <a:lnTo>
                  <a:pt x="3250" y="3873"/>
                </a:lnTo>
                <a:lnTo>
                  <a:pt x="3253" y="3866"/>
                </a:lnTo>
                <a:lnTo>
                  <a:pt x="3258" y="3859"/>
                </a:lnTo>
                <a:lnTo>
                  <a:pt x="3266" y="3848"/>
                </a:lnTo>
                <a:lnTo>
                  <a:pt x="3278" y="3834"/>
                </a:lnTo>
                <a:lnTo>
                  <a:pt x="3308" y="3800"/>
                </a:lnTo>
                <a:lnTo>
                  <a:pt x="3344" y="3761"/>
                </a:lnTo>
                <a:lnTo>
                  <a:pt x="3379" y="3719"/>
                </a:lnTo>
                <a:lnTo>
                  <a:pt x="3380" y="3719"/>
                </a:lnTo>
                <a:lnTo>
                  <a:pt x="3383" y="3719"/>
                </a:lnTo>
                <a:lnTo>
                  <a:pt x="3387" y="3719"/>
                </a:lnTo>
                <a:lnTo>
                  <a:pt x="3392" y="3720"/>
                </a:lnTo>
                <a:lnTo>
                  <a:pt x="3396" y="3722"/>
                </a:lnTo>
                <a:lnTo>
                  <a:pt x="3401" y="3724"/>
                </a:lnTo>
                <a:lnTo>
                  <a:pt x="3405" y="3728"/>
                </a:lnTo>
                <a:lnTo>
                  <a:pt x="3409" y="3731"/>
                </a:lnTo>
                <a:lnTo>
                  <a:pt x="3412" y="3735"/>
                </a:lnTo>
                <a:lnTo>
                  <a:pt x="3415" y="3740"/>
                </a:lnTo>
                <a:lnTo>
                  <a:pt x="3416" y="3745"/>
                </a:lnTo>
                <a:lnTo>
                  <a:pt x="3417" y="3750"/>
                </a:lnTo>
                <a:lnTo>
                  <a:pt x="3416" y="3756"/>
                </a:lnTo>
                <a:lnTo>
                  <a:pt x="3414" y="3762"/>
                </a:lnTo>
                <a:lnTo>
                  <a:pt x="3412" y="3767"/>
                </a:lnTo>
                <a:lnTo>
                  <a:pt x="3408" y="3773"/>
                </a:lnTo>
                <a:lnTo>
                  <a:pt x="3400" y="3783"/>
                </a:lnTo>
                <a:lnTo>
                  <a:pt x="3387" y="3797"/>
                </a:lnTo>
                <a:lnTo>
                  <a:pt x="3358" y="3831"/>
                </a:lnTo>
                <a:lnTo>
                  <a:pt x="3328" y="3864"/>
                </a:lnTo>
                <a:lnTo>
                  <a:pt x="3315" y="3880"/>
                </a:lnTo>
                <a:lnTo>
                  <a:pt x="3306" y="3891"/>
                </a:lnTo>
                <a:lnTo>
                  <a:pt x="3304" y="3895"/>
                </a:lnTo>
                <a:lnTo>
                  <a:pt x="3302" y="3899"/>
                </a:lnTo>
                <a:lnTo>
                  <a:pt x="3301" y="3902"/>
                </a:lnTo>
                <a:lnTo>
                  <a:pt x="3300" y="3906"/>
                </a:lnTo>
                <a:lnTo>
                  <a:pt x="3301" y="3910"/>
                </a:lnTo>
                <a:lnTo>
                  <a:pt x="3302" y="3915"/>
                </a:lnTo>
                <a:lnTo>
                  <a:pt x="3304" y="3919"/>
                </a:lnTo>
                <a:lnTo>
                  <a:pt x="3307" y="3924"/>
                </a:lnTo>
                <a:lnTo>
                  <a:pt x="3315" y="3934"/>
                </a:lnTo>
                <a:lnTo>
                  <a:pt x="3325" y="3945"/>
                </a:lnTo>
                <a:lnTo>
                  <a:pt x="3354" y="3975"/>
                </a:lnTo>
                <a:lnTo>
                  <a:pt x="3385" y="4008"/>
                </a:lnTo>
                <a:lnTo>
                  <a:pt x="3417" y="4038"/>
                </a:lnTo>
                <a:lnTo>
                  <a:pt x="3419" y="4040"/>
                </a:lnTo>
                <a:lnTo>
                  <a:pt x="3421" y="4042"/>
                </a:lnTo>
                <a:lnTo>
                  <a:pt x="3422" y="4044"/>
                </a:lnTo>
                <a:lnTo>
                  <a:pt x="3422" y="4047"/>
                </a:lnTo>
                <a:lnTo>
                  <a:pt x="3421" y="4053"/>
                </a:lnTo>
                <a:lnTo>
                  <a:pt x="3420" y="4056"/>
                </a:lnTo>
                <a:lnTo>
                  <a:pt x="3419" y="4059"/>
                </a:lnTo>
                <a:lnTo>
                  <a:pt x="3415" y="4065"/>
                </a:lnTo>
                <a:lnTo>
                  <a:pt x="3413" y="4067"/>
                </a:lnTo>
                <a:lnTo>
                  <a:pt x="3410" y="4070"/>
                </a:lnTo>
                <a:lnTo>
                  <a:pt x="3405" y="4075"/>
                </a:lnTo>
                <a:lnTo>
                  <a:pt x="3402" y="4077"/>
                </a:lnTo>
                <a:lnTo>
                  <a:pt x="3399" y="4078"/>
                </a:lnTo>
                <a:lnTo>
                  <a:pt x="3393" y="4081"/>
                </a:lnTo>
                <a:lnTo>
                  <a:pt x="3389" y="4081"/>
                </a:lnTo>
                <a:lnTo>
                  <a:pt x="3386" y="4082"/>
                </a:lnTo>
                <a:close/>
                <a:moveTo>
                  <a:pt x="717" y="4087"/>
                </a:moveTo>
                <a:lnTo>
                  <a:pt x="710" y="4087"/>
                </a:lnTo>
                <a:lnTo>
                  <a:pt x="702" y="4086"/>
                </a:lnTo>
                <a:lnTo>
                  <a:pt x="694" y="4085"/>
                </a:lnTo>
                <a:lnTo>
                  <a:pt x="686" y="4084"/>
                </a:lnTo>
                <a:lnTo>
                  <a:pt x="679" y="4082"/>
                </a:lnTo>
                <a:lnTo>
                  <a:pt x="672" y="4080"/>
                </a:lnTo>
                <a:lnTo>
                  <a:pt x="658" y="4074"/>
                </a:lnTo>
                <a:lnTo>
                  <a:pt x="645" y="4066"/>
                </a:lnTo>
                <a:lnTo>
                  <a:pt x="639" y="4062"/>
                </a:lnTo>
                <a:lnTo>
                  <a:pt x="633" y="4058"/>
                </a:lnTo>
                <a:lnTo>
                  <a:pt x="626" y="4053"/>
                </a:lnTo>
                <a:lnTo>
                  <a:pt x="620" y="4047"/>
                </a:lnTo>
                <a:lnTo>
                  <a:pt x="615" y="4041"/>
                </a:lnTo>
                <a:lnTo>
                  <a:pt x="610" y="4035"/>
                </a:lnTo>
                <a:lnTo>
                  <a:pt x="605" y="4029"/>
                </a:lnTo>
                <a:lnTo>
                  <a:pt x="600" y="4023"/>
                </a:lnTo>
                <a:lnTo>
                  <a:pt x="595" y="4016"/>
                </a:lnTo>
                <a:lnTo>
                  <a:pt x="591" y="4010"/>
                </a:lnTo>
                <a:lnTo>
                  <a:pt x="587" y="4003"/>
                </a:lnTo>
                <a:lnTo>
                  <a:pt x="584" y="3995"/>
                </a:lnTo>
                <a:lnTo>
                  <a:pt x="580" y="3987"/>
                </a:lnTo>
                <a:lnTo>
                  <a:pt x="577" y="3979"/>
                </a:lnTo>
                <a:lnTo>
                  <a:pt x="575" y="3971"/>
                </a:lnTo>
                <a:lnTo>
                  <a:pt x="572" y="3963"/>
                </a:lnTo>
                <a:lnTo>
                  <a:pt x="569" y="3954"/>
                </a:lnTo>
                <a:lnTo>
                  <a:pt x="568" y="3946"/>
                </a:lnTo>
                <a:lnTo>
                  <a:pt x="566" y="3937"/>
                </a:lnTo>
                <a:lnTo>
                  <a:pt x="565" y="3927"/>
                </a:lnTo>
                <a:lnTo>
                  <a:pt x="565" y="3918"/>
                </a:lnTo>
                <a:lnTo>
                  <a:pt x="565" y="3909"/>
                </a:lnTo>
                <a:lnTo>
                  <a:pt x="566" y="3890"/>
                </a:lnTo>
                <a:lnTo>
                  <a:pt x="567" y="3881"/>
                </a:lnTo>
                <a:lnTo>
                  <a:pt x="568" y="3872"/>
                </a:lnTo>
                <a:lnTo>
                  <a:pt x="571" y="3862"/>
                </a:lnTo>
                <a:lnTo>
                  <a:pt x="573" y="3853"/>
                </a:lnTo>
                <a:lnTo>
                  <a:pt x="575" y="3844"/>
                </a:lnTo>
                <a:lnTo>
                  <a:pt x="578" y="3836"/>
                </a:lnTo>
                <a:lnTo>
                  <a:pt x="581" y="3827"/>
                </a:lnTo>
                <a:lnTo>
                  <a:pt x="585" y="3819"/>
                </a:lnTo>
                <a:lnTo>
                  <a:pt x="589" y="3810"/>
                </a:lnTo>
                <a:lnTo>
                  <a:pt x="593" y="3802"/>
                </a:lnTo>
                <a:lnTo>
                  <a:pt x="597" y="3795"/>
                </a:lnTo>
                <a:lnTo>
                  <a:pt x="602" y="3787"/>
                </a:lnTo>
                <a:lnTo>
                  <a:pt x="612" y="3774"/>
                </a:lnTo>
                <a:lnTo>
                  <a:pt x="617" y="3767"/>
                </a:lnTo>
                <a:lnTo>
                  <a:pt x="623" y="3761"/>
                </a:lnTo>
                <a:lnTo>
                  <a:pt x="636" y="3748"/>
                </a:lnTo>
                <a:lnTo>
                  <a:pt x="643" y="3743"/>
                </a:lnTo>
                <a:lnTo>
                  <a:pt x="650" y="3738"/>
                </a:lnTo>
                <a:lnTo>
                  <a:pt x="656" y="3734"/>
                </a:lnTo>
                <a:lnTo>
                  <a:pt x="663" y="3730"/>
                </a:lnTo>
                <a:lnTo>
                  <a:pt x="671" y="3726"/>
                </a:lnTo>
                <a:lnTo>
                  <a:pt x="678" y="3723"/>
                </a:lnTo>
                <a:lnTo>
                  <a:pt x="686" y="3721"/>
                </a:lnTo>
                <a:lnTo>
                  <a:pt x="694" y="3718"/>
                </a:lnTo>
                <a:lnTo>
                  <a:pt x="702" y="3716"/>
                </a:lnTo>
                <a:lnTo>
                  <a:pt x="710" y="3715"/>
                </a:lnTo>
                <a:lnTo>
                  <a:pt x="719" y="3714"/>
                </a:lnTo>
                <a:lnTo>
                  <a:pt x="727" y="3714"/>
                </a:lnTo>
                <a:lnTo>
                  <a:pt x="737" y="3715"/>
                </a:lnTo>
                <a:lnTo>
                  <a:pt x="742" y="3715"/>
                </a:lnTo>
                <a:lnTo>
                  <a:pt x="747" y="3716"/>
                </a:lnTo>
                <a:lnTo>
                  <a:pt x="752" y="3717"/>
                </a:lnTo>
                <a:lnTo>
                  <a:pt x="757" y="3718"/>
                </a:lnTo>
                <a:lnTo>
                  <a:pt x="765" y="3721"/>
                </a:lnTo>
                <a:lnTo>
                  <a:pt x="773" y="3725"/>
                </a:lnTo>
                <a:lnTo>
                  <a:pt x="780" y="3730"/>
                </a:lnTo>
                <a:lnTo>
                  <a:pt x="787" y="3735"/>
                </a:lnTo>
                <a:lnTo>
                  <a:pt x="793" y="3741"/>
                </a:lnTo>
                <a:lnTo>
                  <a:pt x="796" y="3744"/>
                </a:lnTo>
                <a:lnTo>
                  <a:pt x="798" y="3748"/>
                </a:lnTo>
                <a:lnTo>
                  <a:pt x="803" y="3756"/>
                </a:lnTo>
                <a:lnTo>
                  <a:pt x="807" y="3764"/>
                </a:lnTo>
                <a:lnTo>
                  <a:pt x="812" y="3772"/>
                </a:lnTo>
                <a:lnTo>
                  <a:pt x="814" y="3781"/>
                </a:lnTo>
                <a:lnTo>
                  <a:pt x="816" y="3790"/>
                </a:lnTo>
                <a:lnTo>
                  <a:pt x="817" y="3800"/>
                </a:lnTo>
                <a:lnTo>
                  <a:pt x="818" y="3809"/>
                </a:lnTo>
                <a:lnTo>
                  <a:pt x="817" y="3823"/>
                </a:lnTo>
                <a:lnTo>
                  <a:pt x="816" y="3829"/>
                </a:lnTo>
                <a:lnTo>
                  <a:pt x="814" y="3835"/>
                </a:lnTo>
                <a:lnTo>
                  <a:pt x="811" y="3847"/>
                </a:lnTo>
                <a:lnTo>
                  <a:pt x="805" y="3859"/>
                </a:lnTo>
                <a:lnTo>
                  <a:pt x="799" y="3870"/>
                </a:lnTo>
                <a:lnTo>
                  <a:pt x="791" y="3881"/>
                </a:lnTo>
                <a:lnTo>
                  <a:pt x="787" y="3887"/>
                </a:lnTo>
                <a:lnTo>
                  <a:pt x="783" y="3891"/>
                </a:lnTo>
                <a:lnTo>
                  <a:pt x="774" y="3901"/>
                </a:lnTo>
                <a:lnTo>
                  <a:pt x="764" y="3909"/>
                </a:lnTo>
                <a:lnTo>
                  <a:pt x="758" y="3913"/>
                </a:lnTo>
                <a:lnTo>
                  <a:pt x="753" y="3917"/>
                </a:lnTo>
                <a:lnTo>
                  <a:pt x="741" y="3923"/>
                </a:lnTo>
                <a:lnTo>
                  <a:pt x="729" y="3929"/>
                </a:lnTo>
                <a:lnTo>
                  <a:pt x="717" y="3935"/>
                </a:lnTo>
                <a:lnTo>
                  <a:pt x="711" y="3936"/>
                </a:lnTo>
                <a:lnTo>
                  <a:pt x="705" y="3938"/>
                </a:lnTo>
                <a:lnTo>
                  <a:pt x="698" y="3939"/>
                </a:lnTo>
                <a:lnTo>
                  <a:pt x="692" y="3940"/>
                </a:lnTo>
                <a:lnTo>
                  <a:pt x="679" y="3941"/>
                </a:lnTo>
                <a:lnTo>
                  <a:pt x="673" y="3940"/>
                </a:lnTo>
                <a:lnTo>
                  <a:pt x="668" y="3938"/>
                </a:lnTo>
                <a:lnTo>
                  <a:pt x="664" y="3935"/>
                </a:lnTo>
                <a:lnTo>
                  <a:pt x="662" y="3933"/>
                </a:lnTo>
                <a:lnTo>
                  <a:pt x="660" y="3930"/>
                </a:lnTo>
                <a:lnTo>
                  <a:pt x="657" y="3926"/>
                </a:lnTo>
                <a:lnTo>
                  <a:pt x="654" y="3921"/>
                </a:lnTo>
                <a:lnTo>
                  <a:pt x="653" y="3918"/>
                </a:lnTo>
                <a:lnTo>
                  <a:pt x="653" y="3915"/>
                </a:lnTo>
                <a:lnTo>
                  <a:pt x="652" y="3908"/>
                </a:lnTo>
                <a:lnTo>
                  <a:pt x="652" y="3906"/>
                </a:lnTo>
                <a:lnTo>
                  <a:pt x="653" y="3903"/>
                </a:lnTo>
                <a:lnTo>
                  <a:pt x="654" y="3898"/>
                </a:lnTo>
                <a:lnTo>
                  <a:pt x="655" y="3896"/>
                </a:lnTo>
                <a:lnTo>
                  <a:pt x="656" y="3894"/>
                </a:lnTo>
                <a:lnTo>
                  <a:pt x="658" y="3892"/>
                </a:lnTo>
                <a:lnTo>
                  <a:pt x="659" y="3891"/>
                </a:lnTo>
                <a:lnTo>
                  <a:pt x="670" y="3889"/>
                </a:lnTo>
                <a:lnTo>
                  <a:pt x="681" y="3887"/>
                </a:lnTo>
                <a:lnTo>
                  <a:pt x="692" y="3883"/>
                </a:lnTo>
                <a:lnTo>
                  <a:pt x="701" y="3879"/>
                </a:lnTo>
                <a:lnTo>
                  <a:pt x="711" y="3875"/>
                </a:lnTo>
                <a:lnTo>
                  <a:pt x="719" y="3869"/>
                </a:lnTo>
                <a:lnTo>
                  <a:pt x="727" y="3863"/>
                </a:lnTo>
                <a:lnTo>
                  <a:pt x="731" y="3860"/>
                </a:lnTo>
                <a:lnTo>
                  <a:pt x="734" y="3857"/>
                </a:lnTo>
                <a:lnTo>
                  <a:pt x="741" y="3851"/>
                </a:lnTo>
                <a:lnTo>
                  <a:pt x="746" y="3845"/>
                </a:lnTo>
                <a:lnTo>
                  <a:pt x="752" y="3838"/>
                </a:lnTo>
                <a:lnTo>
                  <a:pt x="756" y="3831"/>
                </a:lnTo>
                <a:lnTo>
                  <a:pt x="760" y="3824"/>
                </a:lnTo>
                <a:lnTo>
                  <a:pt x="762" y="3817"/>
                </a:lnTo>
                <a:lnTo>
                  <a:pt x="764" y="3809"/>
                </a:lnTo>
                <a:lnTo>
                  <a:pt x="764" y="3802"/>
                </a:lnTo>
                <a:lnTo>
                  <a:pt x="763" y="3794"/>
                </a:lnTo>
                <a:lnTo>
                  <a:pt x="761" y="3786"/>
                </a:lnTo>
                <a:lnTo>
                  <a:pt x="760" y="3783"/>
                </a:lnTo>
                <a:lnTo>
                  <a:pt x="758" y="3780"/>
                </a:lnTo>
                <a:lnTo>
                  <a:pt x="756" y="3777"/>
                </a:lnTo>
                <a:lnTo>
                  <a:pt x="753" y="3775"/>
                </a:lnTo>
                <a:lnTo>
                  <a:pt x="747" y="3771"/>
                </a:lnTo>
                <a:lnTo>
                  <a:pt x="743" y="3769"/>
                </a:lnTo>
                <a:lnTo>
                  <a:pt x="740" y="3767"/>
                </a:lnTo>
                <a:lnTo>
                  <a:pt x="732" y="3766"/>
                </a:lnTo>
                <a:lnTo>
                  <a:pt x="728" y="3765"/>
                </a:lnTo>
                <a:lnTo>
                  <a:pt x="723" y="3765"/>
                </a:lnTo>
                <a:lnTo>
                  <a:pt x="714" y="3766"/>
                </a:lnTo>
                <a:lnTo>
                  <a:pt x="710" y="3766"/>
                </a:lnTo>
                <a:lnTo>
                  <a:pt x="705" y="3768"/>
                </a:lnTo>
                <a:lnTo>
                  <a:pt x="701" y="3769"/>
                </a:lnTo>
                <a:lnTo>
                  <a:pt x="696" y="3771"/>
                </a:lnTo>
                <a:lnTo>
                  <a:pt x="692" y="3773"/>
                </a:lnTo>
                <a:lnTo>
                  <a:pt x="687" y="3776"/>
                </a:lnTo>
                <a:lnTo>
                  <a:pt x="682" y="3779"/>
                </a:lnTo>
                <a:lnTo>
                  <a:pt x="678" y="3782"/>
                </a:lnTo>
                <a:lnTo>
                  <a:pt x="670" y="3789"/>
                </a:lnTo>
                <a:lnTo>
                  <a:pt x="662" y="3797"/>
                </a:lnTo>
                <a:lnTo>
                  <a:pt x="655" y="3806"/>
                </a:lnTo>
                <a:lnTo>
                  <a:pt x="651" y="3812"/>
                </a:lnTo>
                <a:lnTo>
                  <a:pt x="648" y="3817"/>
                </a:lnTo>
                <a:lnTo>
                  <a:pt x="642" y="3828"/>
                </a:lnTo>
                <a:lnTo>
                  <a:pt x="636" y="3839"/>
                </a:lnTo>
                <a:lnTo>
                  <a:pt x="631" y="3851"/>
                </a:lnTo>
                <a:lnTo>
                  <a:pt x="626" y="3864"/>
                </a:lnTo>
                <a:lnTo>
                  <a:pt x="624" y="3879"/>
                </a:lnTo>
                <a:lnTo>
                  <a:pt x="622" y="3892"/>
                </a:lnTo>
                <a:lnTo>
                  <a:pt x="621" y="3899"/>
                </a:lnTo>
                <a:lnTo>
                  <a:pt x="621" y="3906"/>
                </a:lnTo>
                <a:lnTo>
                  <a:pt x="622" y="3919"/>
                </a:lnTo>
                <a:lnTo>
                  <a:pt x="623" y="3932"/>
                </a:lnTo>
                <a:lnTo>
                  <a:pt x="625" y="3944"/>
                </a:lnTo>
                <a:lnTo>
                  <a:pt x="627" y="3950"/>
                </a:lnTo>
                <a:lnTo>
                  <a:pt x="628" y="3955"/>
                </a:lnTo>
                <a:lnTo>
                  <a:pt x="633" y="3965"/>
                </a:lnTo>
                <a:lnTo>
                  <a:pt x="635" y="3970"/>
                </a:lnTo>
                <a:lnTo>
                  <a:pt x="637" y="3975"/>
                </a:lnTo>
                <a:lnTo>
                  <a:pt x="640" y="3980"/>
                </a:lnTo>
                <a:lnTo>
                  <a:pt x="642" y="3984"/>
                </a:lnTo>
                <a:lnTo>
                  <a:pt x="645" y="3989"/>
                </a:lnTo>
                <a:lnTo>
                  <a:pt x="648" y="3994"/>
                </a:lnTo>
                <a:lnTo>
                  <a:pt x="652" y="3997"/>
                </a:lnTo>
                <a:lnTo>
                  <a:pt x="655" y="4001"/>
                </a:lnTo>
                <a:lnTo>
                  <a:pt x="662" y="4008"/>
                </a:lnTo>
                <a:lnTo>
                  <a:pt x="670" y="4013"/>
                </a:lnTo>
                <a:lnTo>
                  <a:pt x="679" y="4018"/>
                </a:lnTo>
                <a:lnTo>
                  <a:pt x="688" y="4022"/>
                </a:lnTo>
                <a:lnTo>
                  <a:pt x="698" y="4025"/>
                </a:lnTo>
                <a:lnTo>
                  <a:pt x="708" y="4026"/>
                </a:lnTo>
                <a:lnTo>
                  <a:pt x="714" y="4027"/>
                </a:lnTo>
                <a:lnTo>
                  <a:pt x="719" y="4027"/>
                </a:lnTo>
                <a:lnTo>
                  <a:pt x="730" y="4027"/>
                </a:lnTo>
                <a:lnTo>
                  <a:pt x="740" y="4025"/>
                </a:lnTo>
                <a:lnTo>
                  <a:pt x="751" y="4023"/>
                </a:lnTo>
                <a:lnTo>
                  <a:pt x="760" y="4019"/>
                </a:lnTo>
                <a:lnTo>
                  <a:pt x="770" y="4015"/>
                </a:lnTo>
                <a:lnTo>
                  <a:pt x="779" y="4010"/>
                </a:lnTo>
                <a:lnTo>
                  <a:pt x="787" y="4004"/>
                </a:lnTo>
                <a:lnTo>
                  <a:pt x="795" y="3998"/>
                </a:lnTo>
                <a:lnTo>
                  <a:pt x="803" y="3989"/>
                </a:lnTo>
                <a:lnTo>
                  <a:pt x="812" y="3981"/>
                </a:lnTo>
                <a:lnTo>
                  <a:pt x="819" y="3973"/>
                </a:lnTo>
                <a:lnTo>
                  <a:pt x="826" y="3964"/>
                </a:lnTo>
                <a:lnTo>
                  <a:pt x="839" y="3945"/>
                </a:lnTo>
                <a:lnTo>
                  <a:pt x="845" y="3934"/>
                </a:lnTo>
                <a:lnTo>
                  <a:pt x="851" y="3922"/>
                </a:lnTo>
                <a:lnTo>
                  <a:pt x="856" y="3911"/>
                </a:lnTo>
                <a:lnTo>
                  <a:pt x="861" y="3900"/>
                </a:lnTo>
                <a:lnTo>
                  <a:pt x="865" y="3889"/>
                </a:lnTo>
                <a:lnTo>
                  <a:pt x="869" y="3877"/>
                </a:lnTo>
                <a:lnTo>
                  <a:pt x="874" y="3864"/>
                </a:lnTo>
                <a:lnTo>
                  <a:pt x="877" y="3852"/>
                </a:lnTo>
                <a:lnTo>
                  <a:pt x="880" y="3840"/>
                </a:lnTo>
                <a:lnTo>
                  <a:pt x="883" y="3828"/>
                </a:lnTo>
                <a:lnTo>
                  <a:pt x="885" y="3816"/>
                </a:lnTo>
                <a:lnTo>
                  <a:pt x="887" y="3803"/>
                </a:lnTo>
                <a:lnTo>
                  <a:pt x="889" y="3791"/>
                </a:lnTo>
                <a:lnTo>
                  <a:pt x="890" y="3780"/>
                </a:lnTo>
                <a:lnTo>
                  <a:pt x="890" y="3768"/>
                </a:lnTo>
                <a:lnTo>
                  <a:pt x="891" y="3757"/>
                </a:lnTo>
                <a:lnTo>
                  <a:pt x="891" y="3746"/>
                </a:lnTo>
                <a:lnTo>
                  <a:pt x="890" y="3735"/>
                </a:lnTo>
                <a:lnTo>
                  <a:pt x="891" y="3733"/>
                </a:lnTo>
                <a:lnTo>
                  <a:pt x="893" y="3731"/>
                </a:lnTo>
                <a:lnTo>
                  <a:pt x="895" y="3729"/>
                </a:lnTo>
                <a:lnTo>
                  <a:pt x="898" y="3727"/>
                </a:lnTo>
                <a:lnTo>
                  <a:pt x="904" y="3724"/>
                </a:lnTo>
                <a:lnTo>
                  <a:pt x="908" y="3723"/>
                </a:lnTo>
                <a:lnTo>
                  <a:pt x="912" y="3723"/>
                </a:lnTo>
                <a:lnTo>
                  <a:pt x="920" y="3724"/>
                </a:lnTo>
                <a:lnTo>
                  <a:pt x="923" y="3724"/>
                </a:lnTo>
                <a:lnTo>
                  <a:pt x="926" y="3725"/>
                </a:lnTo>
                <a:lnTo>
                  <a:pt x="933" y="3728"/>
                </a:lnTo>
                <a:lnTo>
                  <a:pt x="935" y="3730"/>
                </a:lnTo>
                <a:lnTo>
                  <a:pt x="938" y="3732"/>
                </a:lnTo>
                <a:lnTo>
                  <a:pt x="942" y="3738"/>
                </a:lnTo>
                <a:lnTo>
                  <a:pt x="943" y="3741"/>
                </a:lnTo>
                <a:lnTo>
                  <a:pt x="945" y="3745"/>
                </a:lnTo>
                <a:lnTo>
                  <a:pt x="946" y="3750"/>
                </a:lnTo>
                <a:lnTo>
                  <a:pt x="947" y="3756"/>
                </a:lnTo>
                <a:lnTo>
                  <a:pt x="947" y="3761"/>
                </a:lnTo>
                <a:lnTo>
                  <a:pt x="947" y="3767"/>
                </a:lnTo>
                <a:lnTo>
                  <a:pt x="947" y="3782"/>
                </a:lnTo>
                <a:lnTo>
                  <a:pt x="946" y="3798"/>
                </a:lnTo>
                <a:lnTo>
                  <a:pt x="944" y="3814"/>
                </a:lnTo>
                <a:lnTo>
                  <a:pt x="942" y="3829"/>
                </a:lnTo>
                <a:lnTo>
                  <a:pt x="940" y="3844"/>
                </a:lnTo>
                <a:lnTo>
                  <a:pt x="937" y="3859"/>
                </a:lnTo>
                <a:lnTo>
                  <a:pt x="933" y="3874"/>
                </a:lnTo>
                <a:lnTo>
                  <a:pt x="928" y="3888"/>
                </a:lnTo>
                <a:lnTo>
                  <a:pt x="924" y="3902"/>
                </a:lnTo>
                <a:lnTo>
                  <a:pt x="919" y="3916"/>
                </a:lnTo>
                <a:lnTo>
                  <a:pt x="914" y="3929"/>
                </a:lnTo>
                <a:lnTo>
                  <a:pt x="908" y="3943"/>
                </a:lnTo>
                <a:lnTo>
                  <a:pt x="902" y="3955"/>
                </a:lnTo>
                <a:lnTo>
                  <a:pt x="896" y="3967"/>
                </a:lnTo>
                <a:lnTo>
                  <a:pt x="889" y="3979"/>
                </a:lnTo>
                <a:lnTo>
                  <a:pt x="881" y="3990"/>
                </a:lnTo>
                <a:lnTo>
                  <a:pt x="874" y="4002"/>
                </a:lnTo>
                <a:lnTo>
                  <a:pt x="865" y="4012"/>
                </a:lnTo>
                <a:lnTo>
                  <a:pt x="856" y="4021"/>
                </a:lnTo>
                <a:lnTo>
                  <a:pt x="848" y="4030"/>
                </a:lnTo>
                <a:lnTo>
                  <a:pt x="839" y="4039"/>
                </a:lnTo>
                <a:lnTo>
                  <a:pt x="829" y="4047"/>
                </a:lnTo>
                <a:lnTo>
                  <a:pt x="819" y="4055"/>
                </a:lnTo>
                <a:lnTo>
                  <a:pt x="808" y="4061"/>
                </a:lnTo>
                <a:lnTo>
                  <a:pt x="798" y="4067"/>
                </a:lnTo>
                <a:lnTo>
                  <a:pt x="787" y="4072"/>
                </a:lnTo>
                <a:lnTo>
                  <a:pt x="777" y="4077"/>
                </a:lnTo>
                <a:lnTo>
                  <a:pt x="765" y="4081"/>
                </a:lnTo>
                <a:lnTo>
                  <a:pt x="754" y="4084"/>
                </a:lnTo>
                <a:lnTo>
                  <a:pt x="741" y="4086"/>
                </a:lnTo>
                <a:lnTo>
                  <a:pt x="729" y="4087"/>
                </a:lnTo>
                <a:lnTo>
                  <a:pt x="717" y="4087"/>
                </a:lnTo>
                <a:close/>
                <a:moveTo>
                  <a:pt x="1104" y="4082"/>
                </a:moveTo>
                <a:lnTo>
                  <a:pt x="1102" y="4081"/>
                </a:lnTo>
                <a:lnTo>
                  <a:pt x="1100" y="4081"/>
                </a:lnTo>
                <a:lnTo>
                  <a:pt x="1095" y="4078"/>
                </a:lnTo>
                <a:lnTo>
                  <a:pt x="1088" y="4074"/>
                </a:lnTo>
                <a:lnTo>
                  <a:pt x="1081" y="4068"/>
                </a:lnTo>
                <a:lnTo>
                  <a:pt x="1068" y="4057"/>
                </a:lnTo>
                <a:lnTo>
                  <a:pt x="1053" y="4042"/>
                </a:lnTo>
                <a:lnTo>
                  <a:pt x="1036" y="4027"/>
                </a:lnTo>
                <a:lnTo>
                  <a:pt x="1019" y="4010"/>
                </a:lnTo>
                <a:lnTo>
                  <a:pt x="1003" y="3993"/>
                </a:lnTo>
                <a:lnTo>
                  <a:pt x="988" y="3975"/>
                </a:lnTo>
                <a:lnTo>
                  <a:pt x="977" y="3961"/>
                </a:lnTo>
                <a:lnTo>
                  <a:pt x="972" y="3955"/>
                </a:lnTo>
                <a:lnTo>
                  <a:pt x="969" y="3950"/>
                </a:lnTo>
                <a:lnTo>
                  <a:pt x="964" y="3939"/>
                </a:lnTo>
                <a:lnTo>
                  <a:pt x="960" y="3929"/>
                </a:lnTo>
                <a:lnTo>
                  <a:pt x="958" y="3919"/>
                </a:lnTo>
                <a:lnTo>
                  <a:pt x="957" y="3909"/>
                </a:lnTo>
                <a:lnTo>
                  <a:pt x="957" y="3903"/>
                </a:lnTo>
                <a:lnTo>
                  <a:pt x="958" y="3898"/>
                </a:lnTo>
                <a:lnTo>
                  <a:pt x="959" y="3892"/>
                </a:lnTo>
                <a:lnTo>
                  <a:pt x="961" y="3886"/>
                </a:lnTo>
                <a:lnTo>
                  <a:pt x="964" y="3880"/>
                </a:lnTo>
                <a:lnTo>
                  <a:pt x="967" y="3873"/>
                </a:lnTo>
                <a:lnTo>
                  <a:pt x="971" y="3866"/>
                </a:lnTo>
                <a:lnTo>
                  <a:pt x="975" y="3859"/>
                </a:lnTo>
                <a:lnTo>
                  <a:pt x="984" y="3848"/>
                </a:lnTo>
                <a:lnTo>
                  <a:pt x="996" y="3834"/>
                </a:lnTo>
                <a:lnTo>
                  <a:pt x="1026" y="3800"/>
                </a:lnTo>
                <a:lnTo>
                  <a:pt x="1061" y="3761"/>
                </a:lnTo>
                <a:lnTo>
                  <a:pt x="1096" y="3719"/>
                </a:lnTo>
                <a:lnTo>
                  <a:pt x="1097" y="3719"/>
                </a:lnTo>
                <a:lnTo>
                  <a:pt x="1101" y="3719"/>
                </a:lnTo>
                <a:lnTo>
                  <a:pt x="1104" y="3719"/>
                </a:lnTo>
                <a:lnTo>
                  <a:pt x="1108" y="3720"/>
                </a:lnTo>
                <a:lnTo>
                  <a:pt x="1114" y="3722"/>
                </a:lnTo>
                <a:lnTo>
                  <a:pt x="1118" y="3724"/>
                </a:lnTo>
                <a:lnTo>
                  <a:pt x="1122" y="3728"/>
                </a:lnTo>
                <a:lnTo>
                  <a:pt x="1126" y="3731"/>
                </a:lnTo>
                <a:lnTo>
                  <a:pt x="1130" y="3735"/>
                </a:lnTo>
                <a:lnTo>
                  <a:pt x="1132" y="3740"/>
                </a:lnTo>
                <a:lnTo>
                  <a:pt x="1134" y="3745"/>
                </a:lnTo>
                <a:lnTo>
                  <a:pt x="1134" y="3750"/>
                </a:lnTo>
                <a:lnTo>
                  <a:pt x="1134" y="3756"/>
                </a:lnTo>
                <a:lnTo>
                  <a:pt x="1132" y="3762"/>
                </a:lnTo>
                <a:lnTo>
                  <a:pt x="1129" y="3767"/>
                </a:lnTo>
                <a:lnTo>
                  <a:pt x="1125" y="3773"/>
                </a:lnTo>
                <a:lnTo>
                  <a:pt x="1117" y="3783"/>
                </a:lnTo>
                <a:lnTo>
                  <a:pt x="1105" y="3797"/>
                </a:lnTo>
                <a:lnTo>
                  <a:pt x="1076" y="3831"/>
                </a:lnTo>
                <a:lnTo>
                  <a:pt x="1045" y="3864"/>
                </a:lnTo>
                <a:lnTo>
                  <a:pt x="1033" y="3880"/>
                </a:lnTo>
                <a:lnTo>
                  <a:pt x="1024" y="3891"/>
                </a:lnTo>
                <a:lnTo>
                  <a:pt x="1021" y="3895"/>
                </a:lnTo>
                <a:lnTo>
                  <a:pt x="1019" y="3899"/>
                </a:lnTo>
                <a:lnTo>
                  <a:pt x="1018" y="3902"/>
                </a:lnTo>
                <a:lnTo>
                  <a:pt x="1018" y="3906"/>
                </a:lnTo>
                <a:lnTo>
                  <a:pt x="1018" y="3910"/>
                </a:lnTo>
                <a:lnTo>
                  <a:pt x="1020" y="3915"/>
                </a:lnTo>
                <a:lnTo>
                  <a:pt x="1022" y="3919"/>
                </a:lnTo>
                <a:lnTo>
                  <a:pt x="1025" y="3924"/>
                </a:lnTo>
                <a:lnTo>
                  <a:pt x="1032" y="3934"/>
                </a:lnTo>
                <a:lnTo>
                  <a:pt x="1043" y="3945"/>
                </a:lnTo>
                <a:lnTo>
                  <a:pt x="1071" y="3975"/>
                </a:lnTo>
                <a:lnTo>
                  <a:pt x="1103" y="4008"/>
                </a:lnTo>
                <a:lnTo>
                  <a:pt x="1135" y="4038"/>
                </a:lnTo>
                <a:lnTo>
                  <a:pt x="1137" y="4040"/>
                </a:lnTo>
                <a:lnTo>
                  <a:pt x="1138" y="4042"/>
                </a:lnTo>
                <a:lnTo>
                  <a:pt x="1139" y="4044"/>
                </a:lnTo>
                <a:lnTo>
                  <a:pt x="1139" y="4047"/>
                </a:lnTo>
                <a:lnTo>
                  <a:pt x="1139" y="4053"/>
                </a:lnTo>
                <a:lnTo>
                  <a:pt x="1138" y="4056"/>
                </a:lnTo>
                <a:lnTo>
                  <a:pt x="1136" y="4059"/>
                </a:lnTo>
                <a:lnTo>
                  <a:pt x="1133" y="4065"/>
                </a:lnTo>
                <a:lnTo>
                  <a:pt x="1130" y="4067"/>
                </a:lnTo>
                <a:lnTo>
                  <a:pt x="1128" y="4070"/>
                </a:lnTo>
                <a:lnTo>
                  <a:pt x="1123" y="4075"/>
                </a:lnTo>
                <a:lnTo>
                  <a:pt x="1120" y="4077"/>
                </a:lnTo>
                <a:lnTo>
                  <a:pt x="1117" y="4078"/>
                </a:lnTo>
                <a:lnTo>
                  <a:pt x="1111" y="4081"/>
                </a:lnTo>
                <a:lnTo>
                  <a:pt x="1107" y="4081"/>
                </a:lnTo>
                <a:lnTo>
                  <a:pt x="1104" y="4082"/>
                </a:lnTo>
                <a:close/>
                <a:moveTo>
                  <a:pt x="4547" y="4087"/>
                </a:moveTo>
                <a:lnTo>
                  <a:pt x="4539" y="4087"/>
                </a:lnTo>
                <a:lnTo>
                  <a:pt x="4532" y="4086"/>
                </a:lnTo>
                <a:lnTo>
                  <a:pt x="4523" y="4085"/>
                </a:lnTo>
                <a:lnTo>
                  <a:pt x="4516" y="4084"/>
                </a:lnTo>
                <a:lnTo>
                  <a:pt x="4509" y="4082"/>
                </a:lnTo>
                <a:lnTo>
                  <a:pt x="4502" y="4080"/>
                </a:lnTo>
                <a:lnTo>
                  <a:pt x="4488" y="4074"/>
                </a:lnTo>
                <a:lnTo>
                  <a:pt x="4475" y="4066"/>
                </a:lnTo>
                <a:lnTo>
                  <a:pt x="4468" y="4062"/>
                </a:lnTo>
                <a:lnTo>
                  <a:pt x="4462" y="4058"/>
                </a:lnTo>
                <a:lnTo>
                  <a:pt x="4456" y="4053"/>
                </a:lnTo>
                <a:lnTo>
                  <a:pt x="4450" y="4047"/>
                </a:lnTo>
                <a:lnTo>
                  <a:pt x="4445" y="4041"/>
                </a:lnTo>
                <a:lnTo>
                  <a:pt x="4439" y="4035"/>
                </a:lnTo>
                <a:lnTo>
                  <a:pt x="4434" y="4029"/>
                </a:lnTo>
                <a:lnTo>
                  <a:pt x="4430" y="4023"/>
                </a:lnTo>
                <a:lnTo>
                  <a:pt x="4425" y="4016"/>
                </a:lnTo>
                <a:lnTo>
                  <a:pt x="4421" y="4010"/>
                </a:lnTo>
                <a:lnTo>
                  <a:pt x="4417" y="4003"/>
                </a:lnTo>
                <a:lnTo>
                  <a:pt x="4414" y="3995"/>
                </a:lnTo>
                <a:lnTo>
                  <a:pt x="4409" y="3987"/>
                </a:lnTo>
                <a:lnTo>
                  <a:pt x="4406" y="3979"/>
                </a:lnTo>
                <a:lnTo>
                  <a:pt x="4404" y="3971"/>
                </a:lnTo>
                <a:lnTo>
                  <a:pt x="4401" y="3963"/>
                </a:lnTo>
                <a:lnTo>
                  <a:pt x="4399" y="3954"/>
                </a:lnTo>
                <a:lnTo>
                  <a:pt x="4398" y="3946"/>
                </a:lnTo>
                <a:lnTo>
                  <a:pt x="4396" y="3937"/>
                </a:lnTo>
                <a:lnTo>
                  <a:pt x="4395" y="3927"/>
                </a:lnTo>
                <a:lnTo>
                  <a:pt x="4395" y="3918"/>
                </a:lnTo>
                <a:lnTo>
                  <a:pt x="4395" y="3909"/>
                </a:lnTo>
                <a:lnTo>
                  <a:pt x="4395" y="3890"/>
                </a:lnTo>
                <a:lnTo>
                  <a:pt x="4396" y="3881"/>
                </a:lnTo>
                <a:lnTo>
                  <a:pt x="4398" y="3872"/>
                </a:lnTo>
                <a:lnTo>
                  <a:pt x="4400" y="3862"/>
                </a:lnTo>
                <a:lnTo>
                  <a:pt x="4402" y="3853"/>
                </a:lnTo>
                <a:lnTo>
                  <a:pt x="4404" y="3844"/>
                </a:lnTo>
                <a:lnTo>
                  <a:pt x="4407" y="3836"/>
                </a:lnTo>
                <a:lnTo>
                  <a:pt x="4411" y="3827"/>
                </a:lnTo>
                <a:lnTo>
                  <a:pt x="4415" y="3819"/>
                </a:lnTo>
                <a:lnTo>
                  <a:pt x="4418" y="3810"/>
                </a:lnTo>
                <a:lnTo>
                  <a:pt x="4423" y="3802"/>
                </a:lnTo>
                <a:lnTo>
                  <a:pt x="4427" y="3795"/>
                </a:lnTo>
                <a:lnTo>
                  <a:pt x="4432" y="3787"/>
                </a:lnTo>
                <a:lnTo>
                  <a:pt x="4442" y="3774"/>
                </a:lnTo>
                <a:lnTo>
                  <a:pt x="4447" y="3767"/>
                </a:lnTo>
                <a:lnTo>
                  <a:pt x="4453" y="3761"/>
                </a:lnTo>
                <a:lnTo>
                  <a:pt x="4465" y="3748"/>
                </a:lnTo>
                <a:lnTo>
                  <a:pt x="4473" y="3743"/>
                </a:lnTo>
                <a:lnTo>
                  <a:pt x="4479" y="3738"/>
                </a:lnTo>
                <a:lnTo>
                  <a:pt x="4486" y="3734"/>
                </a:lnTo>
                <a:lnTo>
                  <a:pt x="4493" y="3730"/>
                </a:lnTo>
                <a:lnTo>
                  <a:pt x="4501" y="3726"/>
                </a:lnTo>
                <a:lnTo>
                  <a:pt x="4508" y="3723"/>
                </a:lnTo>
                <a:lnTo>
                  <a:pt x="4516" y="3721"/>
                </a:lnTo>
                <a:lnTo>
                  <a:pt x="4523" y="3718"/>
                </a:lnTo>
                <a:lnTo>
                  <a:pt x="4532" y="3716"/>
                </a:lnTo>
                <a:lnTo>
                  <a:pt x="4540" y="3715"/>
                </a:lnTo>
                <a:lnTo>
                  <a:pt x="4548" y="3714"/>
                </a:lnTo>
                <a:lnTo>
                  <a:pt x="4557" y="3714"/>
                </a:lnTo>
                <a:lnTo>
                  <a:pt x="4567" y="3715"/>
                </a:lnTo>
                <a:lnTo>
                  <a:pt x="4572" y="3715"/>
                </a:lnTo>
                <a:lnTo>
                  <a:pt x="4576" y="3716"/>
                </a:lnTo>
                <a:lnTo>
                  <a:pt x="4581" y="3717"/>
                </a:lnTo>
                <a:lnTo>
                  <a:pt x="4586" y="3718"/>
                </a:lnTo>
                <a:lnTo>
                  <a:pt x="4595" y="3721"/>
                </a:lnTo>
                <a:lnTo>
                  <a:pt x="4603" y="3725"/>
                </a:lnTo>
                <a:lnTo>
                  <a:pt x="4610" y="3730"/>
                </a:lnTo>
                <a:lnTo>
                  <a:pt x="4617" y="3735"/>
                </a:lnTo>
                <a:lnTo>
                  <a:pt x="4623" y="3741"/>
                </a:lnTo>
                <a:lnTo>
                  <a:pt x="4626" y="3744"/>
                </a:lnTo>
                <a:lnTo>
                  <a:pt x="4628" y="3748"/>
                </a:lnTo>
                <a:lnTo>
                  <a:pt x="4633" y="3756"/>
                </a:lnTo>
                <a:lnTo>
                  <a:pt x="4637" y="3764"/>
                </a:lnTo>
                <a:lnTo>
                  <a:pt x="4640" y="3772"/>
                </a:lnTo>
                <a:lnTo>
                  <a:pt x="4643" y="3781"/>
                </a:lnTo>
                <a:lnTo>
                  <a:pt x="4645" y="3790"/>
                </a:lnTo>
                <a:lnTo>
                  <a:pt x="4646" y="3800"/>
                </a:lnTo>
                <a:lnTo>
                  <a:pt x="4646" y="3809"/>
                </a:lnTo>
                <a:lnTo>
                  <a:pt x="4646" y="3823"/>
                </a:lnTo>
                <a:lnTo>
                  <a:pt x="4645" y="3829"/>
                </a:lnTo>
                <a:lnTo>
                  <a:pt x="4643" y="3835"/>
                </a:lnTo>
                <a:lnTo>
                  <a:pt x="4640" y="3847"/>
                </a:lnTo>
                <a:lnTo>
                  <a:pt x="4635" y="3859"/>
                </a:lnTo>
                <a:lnTo>
                  <a:pt x="4628" y="3870"/>
                </a:lnTo>
                <a:lnTo>
                  <a:pt x="4621" y="3881"/>
                </a:lnTo>
                <a:lnTo>
                  <a:pt x="4617" y="3887"/>
                </a:lnTo>
                <a:lnTo>
                  <a:pt x="4613" y="3891"/>
                </a:lnTo>
                <a:lnTo>
                  <a:pt x="4604" y="3901"/>
                </a:lnTo>
                <a:lnTo>
                  <a:pt x="4594" y="3909"/>
                </a:lnTo>
                <a:lnTo>
                  <a:pt x="4587" y="3913"/>
                </a:lnTo>
                <a:lnTo>
                  <a:pt x="4582" y="3917"/>
                </a:lnTo>
                <a:lnTo>
                  <a:pt x="4571" y="3923"/>
                </a:lnTo>
                <a:lnTo>
                  <a:pt x="4559" y="3929"/>
                </a:lnTo>
                <a:lnTo>
                  <a:pt x="4547" y="3935"/>
                </a:lnTo>
                <a:lnTo>
                  <a:pt x="4541" y="3936"/>
                </a:lnTo>
                <a:lnTo>
                  <a:pt x="4535" y="3938"/>
                </a:lnTo>
                <a:lnTo>
                  <a:pt x="4527" y="3939"/>
                </a:lnTo>
                <a:lnTo>
                  <a:pt x="4521" y="3940"/>
                </a:lnTo>
                <a:lnTo>
                  <a:pt x="4508" y="3941"/>
                </a:lnTo>
                <a:lnTo>
                  <a:pt x="4503" y="3940"/>
                </a:lnTo>
                <a:lnTo>
                  <a:pt x="4498" y="3938"/>
                </a:lnTo>
                <a:lnTo>
                  <a:pt x="4494" y="3935"/>
                </a:lnTo>
                <a:lnTo>
                  <a:pt x="4492" y="3933"/>
                </a:lnTo>
                <a:lnTo>
                  <a:pt x="4490" y="3930"/>
                </a:lnTo>
                <a:lnTo>
                  <a:pt x="4487" y="3926"/>
                </a:lnTo>
                <a:lnTo>
                  <a:pt x="4484" y="3921"/>
                </a:lnTo>
                <a:lnTo>
                  <a:pt x="4483" y="3918"/>
                </a:lnTo>
                <a:lnTo>
                  <a:pt x="4483" y="3915"/>
                </a:lnTo>
                <a:lnTo>
                  <a:pt x="4482" y="3908"/>
                </a:lnTo>
                <a:lnTo>
                  <a:pt x="4482" y="3906"/>
                </a:lnTo>
                <a:lnTo>
                  <a:pt x="4483" y="3903"/>
                </a:lnTo>
                <a:lnTo>
                  <a:pt x="4484" y="3898"/>
                </a:lnTo>
                <a:lnTo>
                  <a:pt x="4485" y="3896"/>
                </a:lnTo>
                <a:lnTo>
                  <a:pt x="4486" y="3894"/>
                </a:lnTo>
                <a:lnTo>
                  <a:pt x="4487" y="3892"/>
                </a:lnTo>
                <a:lnTo>
                  <a:pt x="4489" y="3891"/>
                </a:lnTo>
                <a:lnTo>
                  <a:pt x="4500" y="3889"/>
                </a:lnTo>
                <a:lnTo>
                  <a:pt x="4511" y="3887"/>
                </a:lnTo>
                <a:lnTo>
                  <a:pt x="4521" y="3883"/>
                </a:lnTo>
                <a:lnTo>
                  <a:pt x="4531" y="3879"/>
                </a:lnTo>
                <a:lnTo>
                  <a:pt x="4540" y="3875"/>
                </a:lnTo>
                <a:lnTo>
                  <a:pt x="4549" y="3869"/>
                </a:lnTo>
                <a:lnTo>
                  <a:pt x="4557" y="3863"/>
                </a:lnTo>
                <a:lnTo>
                  <a:pt x="4560" y="3860"/>
                </a:lnTo>
                <a:lnTo>
                  <a:pt x="4564" y="3857"/>
                </a:lnTo>
                <a:lnTo>
                  <a:pt x="4570" y="3851"/>
                </a:lnTo>
                <a:lnTo>
                  <a:pt x="4576" y="3845"/>
                </a:lnTo>
                <a:lnTo>
                  <a:pt x="4581" y="3838"/>
                </a:lnTo>
                <a:lnTo>
                  <a:pt x="4585" y="3831"/>
                </a:lnTo>
                <a:lnTo>
                  <a:pt x="4589" y="3824"/>
                </a:lnTo>
                <a:lnTo>
                  <a:pt x="4592" y="3817"/>
                </a:lnTo>
                <a:lnTo>
                  <a:pt x="4594" y="3809"/>
                </a:lnTo>
                <a:lnTo>
                  <a:pt x="4594" y="3802"/>
                </a:lnTo>
                <a:lnTo>
                  <a:pt x="4593" y="3794"/>
                </a:lnTo>
                <a:lnTo>
                  <a:pt x="4591" y="3786"/>
                </a:lnTo>
                <a:lnTo>
                  <a:pt x="4589" y="3783"/>
                </a:lnTo>
                <a:lnTo>
                  <a:pt x="4587" y="3780"/>
                </a:lnTo>
                <a:lnTo>
                  <a:pt x="4585" y="3777"/>
                </a:lnTo>
                <a:lnTo>
                  <a:pt x="4582" y="3775"/>
                </a:lnTo>
                <a:lnTo>
                  <a:pt x="4577" y="3771"/>
                </a:lnTo>
                <a:lnTo>
                  <a:pt x="4573" y="3769"/>
                </a:lnTo>
                <a:lnTo>
                  <a:pt x="4570" y="3767"/>
                </a:lnTo>
                <a:lnTo>
                  <a:pt x="4562" y="3766"/>
                </a:lnTo>
                <a:lnTo>
                  <a:pt x="4557" y="3765"/>
                </a:lnTo>
                <a:lnTo>
                  <a:pt x="4553" y="3765"/>
                </a:lnTo>
                <a:lnTo>
                  <a:pt x="4544" y="3766"/>
                </a:lnTo>
                <a:lnTo>
                  <a:pt x="4540" y="3766"/>
                </a:lnTo>
                <a:lnTo>
                  <a:pt x="4535" y="3768"/>
                </a:lnTo>
                <a:lnTo>
                  <a:pt x="4531" y="3769"/>
                </a:lnTo>
                <a:lnTo>
                  <a:pt x="4525" y="3771"/>
                </a:lnTo>
                <a:lnTo>
                  <a:pt x="4521" y="3773"/>
                </a:lnTo>
                <a:lnTo>
                  <a:pt x="4517" y="3776"/>
                </a:lnTo>
                <a:lnTo>
                  <a:pt x="4512" y="3779"/>
                </a:lnTo>
                <a:lnTo>
                  <a:pt x="4508" y="3782"/>
                </a:lnTo>
                <a:lnTo>
                  <a:pt x="4500" y="3789"/>
                </a:lnTo>
                <a:lnTo>
                  <a:pt x="4492" y="3797"/>
                </a:lnTo>
                <a:lnTo>
                  <a:pt x="4485" y="3806"/>
                </a:lnTo>
                <a:lnTo>
                  <a:pt x="4481" y="3812"/>
                </a:lnTo>
                <a:lnTo>
                  <a:pt x="4478" y="3817"/>
                </a:lnTo>
                <a:lnTo>
                  <a:pt x="4471" y="3828"/>
                </a:lnTo>
                <a:lnTo>
                  <a:pt x="4465" y="3839"/>
                </a:lnTo>
                <a:lnTo>
                  <a:pt x="4460" y="3851"/>
                </a:lnTo>
                <a:lnTo>
                  <a:pt x="4456" y="3864"/>
                </a:lnTo>
                <a:lnTo>
                  <a:pt x="4454" y="3879"/>
                </a:lnTo>
                <a:lnTo>
                  <a:pt x="4452" y="3892"/>
                </a:lnTo>
                <a:lnTo>
                  <a:pt x="4451" y="3899"/>
                </a:lnTo>
                <a:lnTo>
                  <a:pt x="4451" y="3906"/>
                </a:lnTo>
                <a:lnTo>
                  <a:pt x="4452" y="3919"/>
                </a:lnTo>
                <a:lnTo>
                  <a:pt x="4453" y="3932"/>
                </a:lnTo>
                <a:lnTo>
                  <a:pt x="4455" y="3944"/>
                </a:lnTo>
                <a:lnTo>
                  <a:pt x="4456" y="3950"/>
                </a:lnTo>
                <a:lnTo>
                  <a:pt x="4458" y="3955"/>
                </a:lnTo>
                <a:lnTo>
                  <a:pt x="4462" y="3965"/>
                </a:lnTo>
                <a:lnTo>
                  <a:pt x="4464" y="3970"/>
                </a:lnTo>
                <a:lnTo>
                  <a:pt x="4466" y="3975"/>
                </a:lnTo>
                <a:lnTo>
                  <a:pt x="4469" y="3980"/>
                </a:lnTo>
                <a:lnTo>
                  <a:pt x="4472" y="3984"/>
                </a:lnTo>
                <a:lnTo>
                  <a:pt x="4475" y="3989"/>
                </a:lnTo>
                <a:lnTo>
                  <a:pt x="4478" y="3994"/>
                </a:lnTo>
                <a:lnTo>
                  <a:pt x="4482" y="3997"/>
                </a:lnTo>
                <a:lnTo>
                  <a:pt x="4485" y="4001"/>
                </a:lnTo>
                <a:lnTo>
                  <a:pt x="4492" y="4008"/>
                </a:lnTo>
                <a:lnTo>
                  <a:pt x="4500" y="4013"/>
                </a:lnTo>
                <a:lnTo>
                  <a:pt x="4509" y="4018"/>
                </a:lnTo>
                <a:lnTo>
                  <a:pt x="4518" y="4022"/>
                </a:lnTo>
                <a:lnTo>
                  <a:pt x="4527" y="4025"/>
                </a:lnTo>
                <a:lnTo>
                  <a:pt x="4538" y="4026"/>
                </a:lnTo>
                <a:lnTo>
                  <a:pt x="4544" y="4027"/>
                </a:lnTo>
                <a:lnTo>
                  <a:pt x="4549" y="4027"/>
                </a:lnTo>
                <a:lnTo>
                  <a:pt x="4560" y="4027"/>
                </a:lnTo>
                <a:lnTo>
                  <a:pt x="4570" y="4025"/>
                </a:lnTo>
                <a:lnTo>
                  <a:pt x="4580" y="4023"/>
                </a:lnTo>
                <a:lnTo>
                  <a:pt x="4589" y="4019"/>
                </a:lnTo>
                <a:lnTo>
                  <a:pt x="4599" y="4015"/>
                </a:lnTo>
                <a:lnTo>
                  <a:pt x="4608" y="4010"/>
                </a:lnTo>
                <a:lnTo>
                  <a:pt x="4617" y="4004"/>
                </a:lnTo>
                <a:lnTo>
                  <a:pt x="4625" y="3998"/>
                </a:lnTo>
                <a:lnTo>
                  <a:pt x="4633" y="3989"/>
                </a:lnTo>
                <a:lnTo>
                  <a:pt x="4641" y="3981"/>
                </a:lnTo>
                <a:lnTo>
                  <a:pt x="4648" y="3973"/>
                </a:lnTo>
                <a:lnTo>
                  <a:pt x="4656" y="3964"/>
                </a:lnTo>
                <a:lnTo>
                  <a:pt x="4669" y="3945"/>
                </a:lnTo>
                <a:lnTo>
                  <a:pt x="4675" y="3934"/>
                </a:lnTo>
                <a:lnTo>
                  <a:pt x="4681" y="3922"/>
                </a:lnTo>
                <a:lnTo>
                  <a:pt x="4686" y="3911"/>
                </a:lnTo>
                <a:lnTo>
                  <a:pt x="4691" y="3900"/>
                </a:lnTo>
                <a:lnTo>
                  <a:pt x="4695" y="3889"/>
                </a:lnTo>
                <a:lnTo>
                  <a:pt x="4699" y="3877"/>
                </a:lnTo>
                <a:lnTo>
                  <a:pt x="4703" y="3864"/>
                </a:lnTo>
                <a:lnTo>
                  <a:pt x="4706" y="3852"/>
                </a:lnTo>
                <a:lnTo>
                  <a:pt x="4709" y="3840"/>
                </a:lnTo>
                <a:lnTo>
                  <a:pt x="4713" y="3828"/>
                </a:lnTo>
                <a:lnTo>
                  <a:pt x="4715" y="3816"/>
                </a:lnTo>
                <a:lnTo>
                  <a:pt x="4717" y="3803"/>
                </a:lnTo>
                <a:lnTo>
                  <a:pt x="4719" y="3791"/>
                </a:lnTo>
                <a:lnTo>
                  <a:pt x="4720" y="3780"/>
                </a:lnTo>
                <a:lnTo>
                  <a:pt x="4720" y="3768"/>
                </a:lnTo>
                <a:lnTo>
                  <a:pt x="4721" y="3757"/>
                </a:lnTo>
                <a:lnTo>
                  <a:pt x="4721" y="3746"/>
                </a:lnTo>
                <a:lnTo>
                  <a:pt x="4720" y="3735"/>
                </a:lnTo>
                <a:lnTo>
                  <a:pt x="4721" y="3733"/>
                </a:lnTo>
                <a:lnTo>
                  <a:pt x="4723" y="3731"/>
                </a:lnTo>
                <a:lnTo>
                  <a:pt x="4725" y="3729"/>
                </a:lnTo>
                <a:lnTo>
                  <a:pt x="4728" y="3727"/>
                </a:lnTo>
                <a:lnTo>
                  <a:pt x="4734" y="3724"/>
                </a:lnTo>
                <a:lnTo>
                  <a:pt x="4738" y="3723"/>
                </a:lnTo>
                <a:lnTo>
                  <a:pt x="4742" y="3723"/>
                </a:lnTo>
                <a:lnTo>
                  <a:pt x="4750" y="3724"/>
                </a:lnTo>
                <a:lnTo>
                  <a:pt x="4753" y="3724"/>
                </a:lnTo>
                <a:lnTo>
                  <a:pt x="4756" y="3725"/>
                </a:lnTo>
                <a:lnTo>
                  <a:pt x="4762" y="3728"/>
                </a:lnTo>
                <a:lnTo>
                  <a:pt x="4764" y="3730"/>
                </a:lnTo>
                <a:lnTo>
                  <a:pt x="4767" y="3732"/>
                </a:lnTo>
                <a:lnTo>
                  <a:pt x="4772" y="3738"/>
                </a:lnTo>
                <a:lnTo>
                  <a:pt x="4773" y="3741"/>
                </a:lnTo>
                <a:lnTo>
                  <a:pt x="4775" y="3745"/>
                </a:lnTo>
                <a:lnTo>
                  <a:pt x="4776" y="3750"/>
                </a:lnTo>
                <a:lnTo>
                  <a:pt x="4777" y="3756"/>
                </a:lnTo>
                <a:lnTo>
                  <a:pt x="4777" y="3761"/>
                </a:lnTo>
                <a:lnTo>
                  <a:pt x="4777" y="3767"/>
                </a:lnTo>
                <a:lnTo>
                  <a:pt x="4777" y="3782"/>
                </a:lnTo>
                <a:lnTo>
                  <a:pt x="4776" y="3798"/>
                </a:lnTo>
                <a:lnTo>
                  <a:pt x="4774" y="3814"/>
                </a:lnTo>
                <a:lnTo>
                  <a:pt x="4772" y="3829"/>
                </a:lnTo>
                <a:lnTo>
                  <a:pt x="4769" y="3844"/>
                </a:lnTo>
                <a:lnTo>
                  <a:pt x="4766" y="3859"/>
                </a:lnTo>
                <a:lnTo>
                  <a:pt x="4762" y="3874"/>
                </a:lnTo>
                <a:lnTo>
                  <a:pt x="4758" y="3888"/>
                </a:lnTo>
                <a:lnTo>
                  <a:pt x="4754" y="3902"/>
                </a:lnTo>
                <a:lnTo>
                  <a:pt x="4749" y="3916"/>
                </a:lnTo>
                <a:lnTo>
                  <a:pt x="4744" y="3929"/>
                </a:lnTo>
                <a:lnTo>
                  <a:pt x="4738" y="3943"/>
                </a:lnTo>
                <a:lnTo>
                  <a:pt x="4732" y="3955"/>
                </a:lnTo>
                <a:lnTo>
                  <a:pt x="4726" y="3967"/>
                </a:lnTo>
                <a:lnTo>
                  <a:pt x="4719" y="3979"/>
                </a:lnTo>
                <a:lnTo>
                  <a:pt x="4711" y="3990"/>
                </a:lnTo>
                <a:lnTo>
                  <a:pt x="4703" y="4002"/>
                </a:lnTo>
                <a:lnTo>
                  <a:pt x="4695" y="4012"/>
                </a:lnTo>
                <a:lnTo>
                  <a:pt x="4686" y="4021"/>
                </a:lnTo>
                <a:lnTo>
                  <a:pt x="4678" y="4030"/>
                </a:lnTo>
                <a:lnTo>
                  <a:pt x="4668" y="4039"/>
                </a:lnTo>
                <a:lnTo>
                  <a:pt x="4659" y="4047"/>
                </a:lnTo>
                <a:lnTo>
                  <a:pt x="4648" y="4055"/>
                </a:lnTo>
                <a:lnTo>
                  <a:pt x="4638" y="4061"/>
                </a:lnTo>
                <a:lnTo>
                  <a:pt x="4628" y="4067"/>
                </a:lnTo>
                <a:lnTo>
                  <a:pt x="4617" y="4072"/>
                </a:lnTo>
                <a:lnTo>
                  <a:pt x="4606" y="4077"/>
                </a:lnTo>
                <a:lnTo>
                  <a:pt x="4595" y="4081"/>
                </a:lnTo>
                <a:lnTo>
                  <a:pt x="4583" y="4084"/>
                </a:lnTo>
                <a:lnTo>
                  <a:pt x="4571" y="4086"/>
                </a:lnTo>
                <a:lnTo>
                  <a:pt x="4559" y="4087"/>
                </a:lnTo>
                <a:lnTo>
                  <a:pt x="4547" y="4087"/>
                </a:lnTo>
                <a:close/>
                <a:moveTo>
                  <a:pt x="4934" y="4082"/>
                </a:moveTo>
                <a:lnTo>
                  <a:pt x="4932" y="4081"/>
                </a:lnTo>
                <a:lnTo>
                  <a:pt x="4930" y="4081"/>
                </a:lnTo>
                <a:lnTo>
                  <a:pt x="4925" y="4078"/>
                </a:lnTo>
                <a:lnTo>
                  <a:pt x="4918" y="4074"/>
                </a:lnTo>
                <a:lnTo>
                  <a:pt x="4911" y="4068"/>
                </a:lnTo>
                <a:lnTo>
                  <a:pt x="4898" y="4057"/>
                </a:lnTo>
                <a:lnTo>
                  <a:pt x="4882" y="4042"/>
                </a:lnTo>
                <a:lnTo>
                  <a:pt x="4866" y="4027"/>
                </a:lnTo>
                <a:lnTo>
                  <a:pt x="4849" y="4010"/>
                </a:lnTo>
                <a:lnTo>
                  <a:pt x="4833" y="3993"/>
                </a:lnTo>
                <a:lnTo>
                  <a:pt x="4818" y="3975"/>
                </a:lnTo>
                <a:lnTo>
                  <a:pt x="4807" y="3961"/>
                </a:lnTo>
                <a:lnTo>
                  <a:pt x="4802" y="3955"/>
                </a:lnTo>
                <a:lnTo>
                  <a:pt x="4799" y="3950"/>
                </a:lnTo>
                <a:lnTo>
                  <a:pt x="4794" y="3939"/>
                </a:lnTo>
                <a:lnTo>
                  <a:pt x="4790" y="3929"/>
                </a:lnTo>
                <a:lnTo>
                  <a:pt x="4788" y="3919"/>
                </a:lnTo>
                <a:lnTo>
                  <a:pt x="4787" y="3909"/>
                </a:lnTo>
                <a:lnTo>
                  <a:pt x="4787" y="3903"/>
                </a:lnTo>
                <a:lnTo>
                  <a:pt x="4788" y="3898"/>
                </a:lnTo>
                <a:lnTo>
                  <a:pt x="4789" y="3892"/>
                </a:lnTo>
                <a:lnTo>
                  <a:pt x="4791" y="3886"/>
                </a:lnTo>
                <a:lnTo>
                  <a:pt x="4794" y="3880"/>
                </a:lnTo>
                <a:lnTo>
                  <a:pt x="4797" y="3873"/>
                </a:lnTo>
                <a:lnTo>
                  <a:pt x="4801" y="3866"/>
                </a:lnTo>
                <a:lnTo>
                  <a:pt x="4805" y="3859"/>
                </a:lnTo>
                <a:lnTo>
                  <a:pt x="4814" y="3848"/>
                </a:lnTo>
                <a:lnTo>
                  <a:pt x="4825" y="3834"/>
                </a:lnTo>
                <a:lnTo>
                  <a:pt x="4855" y="3800"/>
                </a:lnTo>
                <a:lnTo>
                  <a:pt x="4891" y="3761"/>
                </a:lnTo>
                <a:lnTo>
                  <a:pt x="4926" y="3719"/>
                </a:lnTo>
                <a:lnTo>
                  <a:pt x="4927" y="3719"/>
                </a:lnTo>
                <a:lnTo>
                  <a:pt x="4931" y="3719"/>
                </a:lnTo>
                <a:lnTo>
                  <a:pt x="4934" y="3719"/>
                </a:lnTo>
                <a:lnTo>
                  <a:pt x="4938" y="3720"/>
                </a:lnTo>
                <a:lnTo>
                  <a:pt x="4943" y="3722"/>
                </a:lnTo>
                <a:lnTo>
                  <a:pt x="4947" y="3724"/>
                </a:lnTo>
                <a:lnTo>
                  <a:pt x="4952" y="3728"/>
                </a:lnTo>
                <a:lnTo>
                  <a:pt x="4956" y="3731"/>
                </a:lnTo>
                <a:lnTo>
                  <a:pt x="4960" y="3735"/>
                </a:lnTo>
                <a:lnTo>
                  <a:pt x="4962" y="3740"/>
                </a:lnTo>
                <a:lnTo>
                  <a:pt x="4964" y="3745"/>
                </a:lnTo>
                <a:lnTo>
                  <a:pt x="4964" y="3750"/>
                </a:lnTo>
                <a:lnTo>
                  <a:pt x="4964" y="3756"/>
                </a:lnTo>
                <a:lnTo>
                  <a:pt x="4962" y="3762"/>
                </a:lnTo>
                <a:lnTo>
                  <a:pt x="4959" y="3767"/>
                </a:lnTo>
                <a:lnTo>
                  <a:pt x="4955" y="3773"/>
                </a:lnTo>
                <a:lnTo>
                  <a:pt x="4946" y="3783"/>
                </a:lnTo>
                <a:lnTo>
                  <a:pt x="4934" y="3797"/>
                </a:lnTo>
                <a:lnTo>
                  <a:pt x="4905" y="3831"/>
                </a:lnTo>
                <a:lnTo>
                  <a:pt x="4875" y="3864"/>
                </a:lnTo>
                <a:lnTo>
                  <a:pt x="4863" y="3880"/>
                </a:lnTo>
                <a:lnTo>
                  <a:pt x="4854" y="3891"/>
                </a:lnTo>
                <a:lnTo>
                  <a:pt x="4851" y="3895"/>
                </a:lnTo>
                <a:lnTo>
                  <a:pt x="4849" y="3899"/>
                </a:lnTo>
                <a:lnTo>
                  <a:pt x="4848" y="3902"/>
                </a:lnTo>
                <a:lnTo>
                  <a:pt x="4848" y="3906"/>
                </a:lnTo>
                <a:lnTo>
                  <a:pt x="4848" y="3910"/>
                </a:lnTo>
                <a:lnTo>
                  <a:pt x="4850" y="3915"/>
                </a:lnTo>
                <a:lnTo>
                  <a:pt x="4852" y="3919"/>
                </a:lnTo>
                <a:lnTo>
                  <a:pt x="4855" y="3924"/>
                </a:lnTo>
                <a:lnTo>
                  <a:pt x="4862" y="3934"/>
                </a:lnTo>
                <a:lnTo>
                  <a:pt x="4873" y="3945"/>
                </a:lnTo>
                <a:lnTo>
                  <a:pt x="4901" y="3975"/>
                </a:lnTo>
                <a:lnTo>
                  <a:pt x="4933" y="4008"/>
                </a:lnTo>
                <a:lnTo>
                  <a:pt x="4965" y="4038"/>
                </a:lnTo>
                <a:lnTo>
                  <a:pt x="4967" y="4040"/>
                </a:lnTo>
                <a:lnTo>
                  <a:pt x="4968" y="4042"/>
                </a:lnTo>
                <a:lnTo>
                  <a:pt x="4969" y="4044"/>
                </a:lnTo>
                <a:lnTo>
                  <a:pt x="4969" y="4047"/>
                </a:lnTo>
                <a:lnTo>
                  <a:pt x="4968" y="4053"/>
                </a:lnTo>
                <a:lnTo>
                  <a:pt x="4967" y="4056"/>
                </a:lnTo>
                <a:lnTo>
                  <a:pt x="4966" y="4059"/>
                </a:lnTo>
                <a:lnTo>
                  <a:pt x="4962" y="4065"/>
                </a:lnTo>
                <a:lnTo>
                  <a:pt x="4960" y="4067"/>
                </a:lnTo>
                <a:lnTo>
                  <a:pt x="4958" y="4070"/>
                </a:lnTo>
                <a:lnTo>
                  <a:pt x="4953" y="4075"/>
                </a:lnTo>
                <a:lnTo>
                  <a:pt x="4949" y="4077"/>
                </a:lnTo>
                <a:lnTo>
                  <a:pt x="4946" y="4078"/>
                </a:lnTo>
                <a:lnTo>
                  <a:pt x="4940" y="4081"/>
                </a:lnTo>
                <a:lnTo>
                  <a:pt x="4937" y="4081"/>
                </a:lnTo>
                <a:lnTo>
                  <a:pt x="4934" y="4082"/>
                </a:lnTo>
                <a:close/>
                <a:moveTo>
                  <a:pt x="1465" y="4087"/>
                </a:moveTo>
                <a:lnTo>
                  <a:pt x="1457" y="4087"/>
                </a:lnTo>
                <a:lnTo>
                  <a:pt x="1450" y="4086"/>
                </a:lnTo>
                <a:lnTo>
                  <a:pt x="1442" y="4085"/>
                </a:lnTo>
                <a:lnTo>
                  <a:pt x="1435" y="4084"/>
                </a:lnTo>
                <a:lnTo>
                  <a:pt x="1428" y="4082"/>
                </a:lnTo>
                <a:lnTo>
                  <a:pt x="1420" y="4080"/>
                </a:lnTo>
                <a:lnTo>
                  <a:pt x="1406" y="4074"/>
                </a:lnTo>
                <a:lnTo>
                  <a:pt x="1393" y="4066"/>
                </a:lnTo>
                <a:lnTo>
                  <a:pt x="1386" y="4062"/>
                </a:lnTo>
                <a:lnTo>
                  <a:pt x="1380" y="4058"/>
                </a:lnTo>
                <a:lnTo>
                  <a:pt x="1374" y="4053"/>
                </a:lnTo>
                <a:lnTo>
                  <a:pt x="1369" y="4047"/>
                </a:lnTo>
                <a:lnTo>
                  <a:pt x="1363" y="4041"/>
                </a:lnTo>
                <a:lnTo>
                  <a:pt x="1358" y="4035"/>
                </a:lnTo>
                <a:lnTo>
                  <a:pt x="1353" y="4029"/>
                </a:lnTo>
                <a:lnTo>
                  <a:pt x="1348" y="4023"/>
                </a:lnTo>
                <a:lnTo>
                  <a:pt x="1343" y="4016"/>
                </a:lnTo>
                <a:lnTo>
                  <a:pt x="1339" y="4010"/>
                </a:lnTo>
                <a:lnTo>
                  <a:pt x="1335" y="4003"/>
                </a:lnTo>
                <a:lnTo>
                  <a:pt x="1331" y="3995"/>
                </a:lnTo>
                <a:lnTo>
                  <a:pt x="1328" y="3987"/>
                </a:lnTo>
                <a:lnTo>
                  <a:pt x="1325" y="3979"/>
                </a:lnTo>
                <a:lnTo>
                  <a:pt x="1322" y="3971"/>
                </a:lnTo>
                <a:lnTo>
                  <a:pt x="1320" y="3963"/>
                </a:lnTo>
                <a:lnTo>
                  <a:pt x="1318" y="3954"/>
                </a:lnTo>
                <a:lnTo>
                  <a:pt x="1316" y="3946"/>
                </a:lnTo>
                <a:lnTo>
                  <a:pt x="1315" y="3937"/>
                </a:lnTo>
                <a:lnTo>
                  <a:pt x="1314" y="3927"/>
                </a:lnTo>
                <a:lnTo>
                  <a:pt x="1314" y="3918"/>
                </a:lnTo>
                <a:lnTo>
                  <a:pt x="1313" y="3909"/>
                </a:lnTo>
                <a:lnTo>
                  <a:pt x="1314" y="3890"/>
                </a:lnTo>
                <a:lnTo>
                  <a:pt x="1315" y="3881"/>
                </a:lnTo>
                <a:lnTo>
                  <a:pt x="1317" y="3872"/>
                </a:lnTo>
                <a:lnTo>
                  <a:pt x="1318" y="3862"/>
                </a:lnTo>
                <a:lnTo>
                  <a:pt x="1320" y="3853"/>
                </a:lnTo>
                <a:lnTo>
                  <a:pt x="1323" y="3844"/>
                </a:lnTo>
                <a:lnTo>
                  <a:pt x="1326" y="3836"/>
                </a:lnTo>
                <a:lnTo>
                  <a:pt x="1329" y="3827"/>
                </a:lnTo>
                <a:lnTo>
                  <a:pt x="1332" y="3819"/>
                </a:lnTo>
                <a:lnTo>
                  <a:pt x="1336" y="3810"/>
                </a:lnTo>
                <a:lnTo>
                  <a:pt x="1340" y="3802"/>
                </a:lnTo>
                <a:lnTo>
                  <a:pt x="1345" y="3795"/>
                </a:lnTo>
                <a:lnTo>
                  <a:pt x="1349" y="3787"/>
                </a:lnTo>
                <a:lnTo>
                  <a:pt x="1361" y="3774"/>
                </a:lnTo>
                <a:lnTo>
                  <a:pt x="1366" y="3767"/>
                </a:lnTo>
                <a:lnTo>
                  <a:pt x="1372" y="3761"/>
                </a:lnTo>
                <a:lnTo>
                  <a:pt x="1384" y="3748"/>
                </a:lnTo>
                <a:lnTo>
                  <a:pt x="1391" y="3743"/>
                </a:lnTo>
                <a:lnTo>
                  <a:pt x="1397" y="3738"/>
                </a:lnTo>
                <a:lnTo>
                  <a:pt x="1404" y="3734"/>
                </a:lnTo>
                <a:lnTo>
                  <a:pt x="1412" y="3730"/>
                </a:lnTo>
                <a:lnTo>
                  <a:pt x="1419" y="3726"/>
                </a:lnTo>
                <a:lnTo>
                  <a:pt x="1427" y="3723"/>
                </a:lnTo>
                <a:lnTo>
                  <a:pt x="1434" y="3721"/>
                </a:lnTo>
                <a:lnTo>
                  <a:pt x="1442" y="3718"/>
                </a:lnTo>
                <a:lnTo>
                  <a:pt x="1450" y="3716"/>
                </a:lnTo>
                <a:lnTo>
                  <a:pt x="1458" y="3715"/>
                </a:lnTo>
                <a:lnTo>
                  <a:pt x="1466" y="3714"/>
                </a:lnTo>
                <a:lnTo>
                  <a:pt x="1475" y="3714"/>
                </a:lnTo>
                <a:lnTo>
                  <a:pt x="1486" y="3715"/>
                </a:lnTo>
                <a:lnTo>
                  <a:pt x="1490" y="3715"/>
                </a:lnTo>
                <a:lnTo>
                  <a:pt x="1495" y="3716"/>
                </a:lnTo>
                <a:lnTo>
                  <a:pt x="1500" y="3717"/>
                </a:lnTo>
                <a:lnTo>
                  <a:pt x="1504" y="3718"/>
                </a:lnTo>
                <a:lnTo>
                  <a:pt x="1513" y="3721"/>
                </a:lnTo>
                <a:lnTo>
                  <a:pt x="1521" y="3725"/>
                </a:lnTo>
                <a:lnTo>
                  <a:pt x="1528" y="3730"/>
                </a:lnTo>
                <a:lnTo>
                  <a:pt x="1536" y="3735"/>
                </a:lnTo>
                <a:lnTo>
                  <a:pt x="1542" y="3741"/>
                </a:lnTo>
                <a:lnTo>
                  <a:pt x="1544" y="3744"/>
                </a:lnTo>
                <a:lnTo>
                  <a:pt x="1547" y="3748"/>
                </a:lnTo>
                <a:lnTo>
                  <a:pt x="1552" y="3756"/>
                </a:lnTo>
                <a:lnTo>
                  <a:pt x="1556" y="3764"/>
                </a:lnTo>
                <a:lnTo>
                  <a:pt x="1559" y="3772"/>
                </a:lnTo>
                <a:lnTo>
                  <a:pt x="1562" y="3781"/>
                </a:lnTo>
                <a:lnTo>
                  <a:pt x="1564" y="3790"/>
                </a:lnTo>
                <a:lnTo>
                  <a:pt x="1565" y="3800"/>
                </a:lnTo>
                <a:lnTo>
                  <a:pt x="1565" y="3809"/>
                </a:lnTo>
                <a:lnTo>
                  <a:pt x="1564" y="3823"/>
                </a:lnTo>
                <a:lnTo>
                  <a:pt x="1563" y="3829"/>
                </a:lnTo>
                <a:lnTo>
                  <a:pt x="1562" y="3835"/>
                </a:lnTo>
                <a:lnTo>
                  <a:pt x="1558" y="3847"/>
                </a:lnTo>
                <a:lnTo>
                  <a:pt x="1553" y="3859"/>
                </a:lnTo>
                <a:lnTo>
                  <a:pt x="1547" y="3870"/>
                </a:lnTo>
                <a:lnTo>
                  <a:pt x="1540" y="3881"/>
                </a:lnTo>
                <a:lnTo>
                  <a:pt x="1536" y="3887"/>
                </a:lnTo>
                <a:lnTo>
                  <a:pt x="1532" y="3891"/>
                </a:lnTo>
                <a:lnTo>
                  <a:pt x="1521" y="3901"/>
                </a:lnTo>
                <a:lnTo>
                  <a:pt x="1511" y="3909"/>
                </a:lnTo>
                <a:lnTo>
                  <a:pt x="1506" y="3913"/>
                </a:lnTo>
                <a:lnTo>
                  <a:pt x="1501" y="3917"/>
                </a:lnTo>
                <a:lnTo>
                  <a:pt x="1489" y="3923"/>
                </a:lnTo>
                <a:lnTo>
                  <a:pt x="1478" y="3929"/>
                </a:lnTo>
                <a:lnTo>
                  <a:pt x="1465" y="3935"/>
                </a:lnTo>
                <a:lnTo>
                  <a:pt x="1458" y="3936"/>
                </a:lnTo>
                <a:lnTo>
                  <a:pt x="1452" y="3938"/>
                </a:lnTo>
                <a:lnTo>
                  <a:pt x="1446" y="3939"/>
                </a:lnTo>
                <a:lnTo>
                  <a:pt x="1440" y="3940"/>
                </a:lnTo>
                <a:lnTo>
                  <a:pt x="1427" y="3941"/>
                </a:lnTo>
                <a:lnTo>
                  <a:pt x="1422" y="3940"/>
                </a:lnTo>
                <a:lnTo>
                  <a:pt x="1417" y="3938"/>
                </a:lnTo>
                <a:lnTo>
                  <a:pt x="1412" y="3935"/>
                </a:lnTo>
                <a:lnTo>
                  <a:pt x="1409" y="3933"/>
                </a:lnTo>
                <a:lnTo>
                  <a:pt x="1408" y="3930"/>
                </a:lnTo>
                <a:lnTo>
                  <a:pt x="1404" y="3926"/>
                </a:lnTo>
                <a:lnTo>
                  <a:pt x="1402" y="3921"/>
                </a:lnTo>
                <a:lnTo>
                  <a:pt x="1401" y="3918"/>
                </a:lnTo>
                <a:lnTo>
                  <a:pt x="1400" y="3915"/>
                </a:lnTo>
                <a:lnTo>
                  <a:pt x="1400" y="3908"/>
                </a:lnTo>
                <a:lnTo>
                  <a:pt x="1400" y="3906"/>
                </a:lnTo>
                <a:lnTo>
                  <a:pt x="1400" y="3903"/>
                </a:lnTo>
                <a:lnTo>
                  <a:pt x="1402" y="3898"/>
                </a:lnTo>
                <a:lnTo>
                  <a:pt x="1403" y="3896"/>
                </a:lnTo>
                <a:lnTo>
                  <a:pt x="1404" y="3894"/>
                </a:lnTo>
                <a:lnTo>
                  <a:pt x="1405" y="3892"/>
                </a:lnTo>
                <a:lnTo>
                  <a:pt x="1407" y="3891"/>
                </a:lnTo>
                <a:lnTo>
                  <a:pt x="1419" y="3889"/>
                </a:lnTo>
                <a:lnTo>
                  <a:pt x="1429" y="3887"/>
                </a:lnTo>
                <a:lnTo>
                  <a:pt x="1440" y="3883"/>
                </a:lnTo>
                <a:lnTo>
                  <a:pt x="1449" y="3879"/>
                </a:lnTo>
                <a:lnTo>
                  <a:pt x="1458" y="3875"/>
                </a:lnTo>
                <a:lnTo>
                  <a:pt x="1467" y="3869"/>
                </a:lnTo>
                <a:lnTo>
                  <a:pt x="1475" y="3863"/>
                </a:lnTo>
                <a:lnTo>
                  <a:pt x="1479" y="3860"/>
                </a:lnTo>
                <a:lnTo>
                  <a:pt x="1483" y="3857"/>
                </a:lnTo>
                <a:lnTo>
                  <a:pt x="1489" y="3851"/>
                </a:lnTo>
                <a:lnTo>
                  <a:pt x="1495" y="3845"/>
                </a:lnTo>
                <a:lnTo>
                  <a:pt x="1500" y="3838"/>
                </a:lnTo>
                <a:lnTo>
                  <a:pt x="1504" y="3831"/>
                </a:lnTo>
                <a:lnTo>
                  <a:pt x="1507" y="3824"/>
                </a:lnTo>
                <a:lnTo>
                  <a:pt x="1510" y="3817"/>
                </a:lnTo>
                <a:lnTo>
                  <a:pt x="1511" y="3809"/>
                </a:lnTo>
                <a:lnTo>
                  <a:pt x="1512" y="3802"/>
                </a:lnTo>
                <a:lnTo>
                  <a:pt x="1511" y="3794"/>
                </a:lnTo>
                <a:lnTo>
                  <a:pt x="1509" y="3786"/>
                </a:lnTo>
                <a:lnTo>
                  <a:pt x="1508" y="3783"/>
                </a:lnTo>
                <a:lnTo>
                  <a:pt x="1506" y="3780"/>
                </a:lnTo>
                <a:lnTo>
                  <a:pt x="1504" y="3777"/>
                </a:lnTo>
                <a:lnTo>
                  <a:pt x="1501" y="3775"/>
                </a:lnTo>
                <a:lnTo>
                  <a:pt x="1495" y="3771"/>
                </a:lnTo>
                <a:lnTo>
                  <a:pt x="1492" y="3769"/>
                </a:lnTo>
                <a:lnTo>
                  <a:pt x="1488" y="3767"/>
                </a:lnTo>
                <a:lnTo>
                  <a:pt x="1480" y="3766"/>
                </a:lnTo>
                <a:lnTo>
                  <a:pt x="1476" y="3765"/>
                </a:lnTo>
                <a:lnTo>
                  <a:pt x="1472" y="3765"/>
                </a:lnTo>
                <a:lnTo>
                  <a:pt x="1462" y="3766"/>
                </a:lnTo>
                <a:lnTo>
                  <a:pt x="1457" y="3766"/>
                </a:lnTo>
                <a:lnTo>
                  <a:pt x="1453" y="3768"/>
                </a:lnTo>
                <a:lnTo>
                  <a:pt x="1448" y="3769"/>
                </a:lnTo>
                <a:lnTo>
                  <a:pt x="1444" y="3771"/>
                </a:lnTo>
                <a:lnTo>
                  <a:pt x="1440" y="3773"/>
                </a:lnTo>
                <a:lnTo>
                  <a:pt x="1435" y="3776"/>
                </a:lnTo>
                <a:lnTo>
                  <a:pt x="1431" y="3779"/>
                </a:lnTo>
                <a:lnTo>
                  <a:pt x="1427" y="3782"/>
                </a:lnTo>
                <a:lnTo>
                  <a:pt x="1419" y="3789"/>
                </a:lnTo>
                <a:lnTo>
                  <a:pt x="1411" y="3797"/>
                </a:lnTo>
                <a:lnTo>
                  <a:pt x="1402" y="3806"/>
                </a:lnTo>
                <a:lnTo>
                  <a:pt x="1399" y="3812"/>
                </a:lnTo>
                <a:lnTo>
                  <a:pt x="1395" y="3817"/>
                </a:lnTo>
                <a:lnTo>
                  <a:pt x="1389" y="3828"/>
                </a:lnTo>
                <a:lnTo>
                  <a:pt x="1384" y="3839"/>
                </a:lnTo>
                <a:lnTo>
                  <a:pt x="1379" y="3851"/>
                </a:lnTo>
                <a:lnTo>
                  <a:pt x="1375" y="3864"/>
                </a:lnTo>
                <a:lnTo>
                  <a:pt x="1372" y="3879"/>
                </a:lnTo>
                <a:lnTo>
                  <a:pt x="1371" y="3892"/>
                </a:lnTo>
                <a:lnTo>
                  <a:pt x="1370" y="3899"/>
                </a:lnTo>
                <a:lnTo>
                  <a:pt x="1370" y="3906"/>
                </a:lnTo>
                <a:lnTo>
                  <a:pt x="1370" y="3919"/>
                </a:lnTo>
                <a:lnTo>
                  <a:pt x="1372" y="3932"/>
                </a:lnTo>
                <a:lnTo>
                  <a:pt x="1374" y="3944"/>
                </a:lnTo>
                <a:lnTo>
                  <a:pt x="1375" y="3950"/>
                </a:lnTo>
                <a:lnTo>
                  <a:pt x="1377" y="3955"/>
                </a:lnTo>
                <a:lnTo>
                  <a:pt x="1380" y="3965"/>
                </a:lnTo>
                <a:lnTo>
                  <a:pt x="1383" y="3970"/>
                </a:lnTo>
                <a:lnTo>
                  <a:pt x="1385" y="3975"/>
                </a:lnTo>
                <a:lnTo>
                  <a:pt x="1387" y="3980"/>
                </a:lnTo>
                <a:lnTo>
                  <a:pt x="1390" y="3984"/>
                </a:lnTo>
                <a:lnTo>
                  <a:pt x="1393" y="3989"/>
                </a:lnTo>
                <a:lnTo>
                  <a:pt x="1396" y="3994"/>
                </a:lnTo>
                <a:lnTo>
                  <a:pt x="1399" y="3997"/>
                </a:lnTo>
                <a:lnTo>
                  <a:pt x="1403" y="4001"/>
                </a:lnTo>
                <a:lnTo>
                  <a:pt x="1411" y="4008"/>
                </a:lnTo>
                <a:lnTo>
                  <a:pt x="1419" y="4013"/>
                </a:lnTo>
                <a:lnTo>
                  <a:pt x="1427" y="4018"/>
                </a:lnTo>
                <a:lnTo>
                  <a:pt x="1436" y="4022"/>
                </a:lnTo>
                <a:lnTo>
                  <a:pt x="1446" y="4025"/>
                </a:lnTo>
                <a:lnTo>
                  <a:pt x="1456" y="4026"/>
                </a:lnTo>
                <a:lnTo>
                  <a:pt x="1461" y="4027"/>
                </a:lnTo>
                <a:lnTo>
                  <a:pt x="1467" y="4027"/>
                </a:lnTo>
                <a:lnTo>
                  <a:pt x="1478" y="4027"/>
                </a:lnTo>
                <a:lnTo>
                  <a:pt x="1488" y="4025"/>
                </a:lnTo>
                <a:lnTo>
                  <a:pt x="1498" y="4023"/>
                </a:lnTo>
                <a:lnTo>
                  <a:pt x="1508" y="4019"/>
                </a:lnTo>
                <a:lnTo>
                  <a:pt x="1517" y="4015"/>
                </a:lnTo>
                <a:lnTo>
                  <a:pt x="1526" y="4010"/>
                </a:lnTo>
                <a:lnTo>
                  <a:pt x="1536" y="4004"/>
                </a:lnTo>
                <a:lnTo>
                  <a:pt x="1544" y="3998"/>
                </a:lnTo>
                <a:lnTo>
                  <a:pt x="1552" y="3989"/>
                </a:lnTo>
                <a:lnTo>
                  <a:pt x="1560" y="3981"/>
                </a:lnTo>
                <a:lnTo>
                  <a:pt x="1567" y="3973"/>
                </a:lnTo>
                <a:lnTo>
                  <a:pt x="1574" y="3964"/>
                </a:lnTo>
                <a:lnTo>
                  <a:pt x="1587" y="3945"/>
                </a:lnTo>
                <a:lnTo>
                  <a:pt x="1594" y="3934"/>
                </a:lnTo>
                <a:lnTo>
                  <a:pt x="1599" y="3922"/>
                </a:lnTo>
                <a:lnTo>
                  <a:pt x="1604" y="3911"/>
                </a:lnTo>
                <a:lnTo>
                  <a:pt x="1609" y="3900"/>
                </a:lnTo>
                <a:lnTo>
                  <a:pt x="1614" y="3889"/>
                </a:lnTo>
                <a:lnTo>
                  <a:pt x="1618" y="3877"/>
                </a:lnTo>
                <a:lnTo>
                  <a:pt x="1622" y="3864"/>
                </a:lnTo>
                <a:lnTo>
                  <a:pt x="1625" y="3852"/>
                </a:lnTo>
                <a:lnTo>
                  <a:pt x="1628" y="3840"/>
                </a:lnTo>
                <a:lnTo>
                  <a:pt x="1631" y="3828"/>
                </a:lnTo>
                <a:lnTo>
                  <a:pt x="1633" y="3816"/>
                </a:lnTo>
                <a:lnTo>
                  <a:pt x="1635" y="3803"/>
                </a:lnTo>
                <a:lnTo>
                  <a:pt x="1636" y="3791"/>
                </a:lnTo>
                <a:lnTo>
                  <a:pt x="1637" y="3780"/>
                </a:lnTo>
                <a:lnTo>
                  <a:pt x="1638" y="3768"/>
                </a:lnTo>
                <a:lnTo>
                  <a:pt x="1638" y="3757"/>
                </a:lnTo>
                <a:lnTo>
                  <a:pt x="1638" y="3746"/>
                </a:lnTo>
                <a:lnTo>
                  <a:pt x="1638" y="3735"/>
                </a:lnTo>
                <a:lnTo>
                  <a:pt x="1639" y="3733"/>
                </a:lnTo>
                <a:lnTo>
                  <a:pt x="1640" y="3731"/>
                </a:lnTo>
                <a:lnTo>
                  <a:pt x="1643" y="3729"/>
                </a:lnTo>
                <a:lnTo>
                  <a:pt x="1645" y="3727"/>
                </a:lnTo>
                <a:lnTo>
                  <a:pt x="1653" y="3724"/>
                </a:lnTo>
                <a:lnTo>
                  <a:pt x="1657" y="3723"/>
                </a:lnTo>
                <a:lnTo>
                  <a:pt x="1661" y="3723"/>
                </a:lnTo>
                <a:lnTo>
                  <a:pt x="1668" y="3724"/>
                </a:lnTo>
                <a:lnTo>
                  <a:pt x="1672" y="3724"/>
                </a:lnTo>
                <a:lnTo>
                  <a:pt x="1675" y="3725"/>
                </a:lnTo>
                <a:lnTo>
                  <a:pt x="1681" y="3728"/>
                </a:lnTo>
                <a:lnTo>
                  <a:pt x="1683" y="3730"/>
                </a:lnTo>
                <a:lnTo>
                  <a:pt x="1685" y="3732"/>
                </a:lnTo>
                <a:lnTo>
                  <a:pt x="1689" y="3738"/>
                </a:lnTo>
                <a:lnTo>
                  <a:pt x="1691" y="3741"/>
                </a:lnTo>
                <a:lnTo>
                  <a:pt x="1692" y="3745"/>
                </a:lnTo>
                <a:lnTo>
                  <a:pt x="1694" y="3750"/>
                </a:lnTo>
                <a:lnTo>
                  <a:pt x="1694" y="3756"/>
                </a:lnTo>
                <a:lnTo>
                  <a:pt x="1695" y="3761"/>
                </a:lnTo>
                <a:lnTo>
                  <a:pt x="1695" y="3767"/>
                </a:lnTo>
                <a:lnTo>
                  <a:pt x="1694" y="3782"/>
                </a:lnTo>
                <a:lnTo>
                  <a:pt x="1693" y="3798"/>
                </a:lnTo>
                <a:lnTo>
                  <a:pt x="1692" y="3814"/>
                </a:lnTo>
                <a:lnTo>
                  <a:pt x="1690" y="3829"/>
                </a:lnTo>
                <a:lnTo>
                  <a:pt x="1687" y="3844"/>
                </a:lnTo>
                <a:lnTo>
                  <a:pt x="1684" y="3859"/>
                </a:lnTo>
                <a:lnTo>
                  <a:pt x="1681" y="3874"/>
                </a:lnTo>
                <a:lnTo>
                  <a:pt x="1677" y="3888"/>
                </a:lnTo>
                <a:lnTo>
                  <a:pt x="1673" y="3902"/>
                </a:lnTo>
                <a:lnTo>
                  <a:pt x="1668" y="3916"/>
                </a:lnTo>
                <a:lnTo>
                  <a:pt x="1663" y="3929"/>
                </a:lnTo>
                <a:lnTo>
                  <a:pt x="1657" y="3943"/>
                </a:lnTo>
                <a:lnTo>
                  <a:pt x="1651" y="3955"/>
                </a:lnTo>
                <a:lnTo>
                  <a:pt x="1643" y="3967"/>
                </a:lnTo>
                <a:lnTo>
                  <a:pt x="1636" y="3979"/>
                </a:lnTo>
                <a:lnTo>
                  <a:pt x="1629" y="3990"/>
                </a:lnTo>
                <a:lnTo>
                  <a:pt x="1621" y="4002"/>
                </a:lnTo>
                <a:lnTo>
                  <a:pt x="1613" y="4012"/>
                </a:lnTo>
                <a:lnTo>
                  <a:pt x="1605" y="4021"/>
                </a:lnTo>
                <a:lnTo>
                  <a:pt x="1596" y="4030"/>
                </a:lnTo>
                <a:lnTo>
                  <a:pt x="1586" y="4039"/>
                </a:lnTo>
                <a:lnTo>
                  <a:pt x="1577" y="4047"/>
                </a:lnTo>
                <a:lnTo>
                  <a:pt x="1567" y="4055"/>
                </a:lnTo>
                <a:lnTo>
                  <a:pt x="1557" y="4061"/>
                </a:lnTo>
                <a:lnTo>
                  <a:pt x="1547" y="4067"/>
                </a:lnTo>
                <a:lnTo>
                  <a:pt x="1536" y="4072"/>
                </a:lnTo>
                <a:lnTo>
                  <a:pt x="1524" y="4077"/>
                </a:lnTo>
                <a:lnTo>
                  <a:pt x="1513" y="4081"/>
                </a:lnTo>
                <a:lnTo>
                  <a:pt x="1502" y="4084"/>
                </a:lnTo>
                <a:lnTo>
                  <a:pt x="1490" y="4086"/>
                </a:lnTo>
                <a:lnTo>
                  <a:pt x="1478" y="4087"/>
                </a:lnTo>
                <a:lnTo>
                  <a:pt x="1465" y="4087"/>
                </a:lnTo>
                <a:close/>
                <a:moveTo>
                  <a:pt x="1853" y="4082"/>
                </a:moveTo>
                <a:lnTo>
                  <a:pt x="1851" y="4081"/>
                </a:lnTo>
                <a:lnTo>
                  <a:pt x="1849" y="4081"/>
                </a:lnTo>
                <a:lnTo>
                  <a:pt x="1843" y="4078"/>
                </a:lnTo>
                <a:lnTo>
                  <a:pt x="1837" y="4074"/>
                </a:lnTo>
                <a:lnTo>
                  <a:pt x="1829" y="4068"/>
                </a:lnTo>
                <a:lnTo>
                  <a:pt x="1816" y="4057"/>
                </a:lnTo>
                <a:lnTo>
                  <a:pt x="1801" y="4042"/>
                </a:lnTo>
                <a:lnTo>
                  <a:pt x="1784" y="4027"/>
                </a:lnTo>
                <a:lnTo>
                  <a:pt x="1767" y="4010"/>
                </a:lnTo>
                <a:lnTo>
                  <a:pt x="1751" y="3993"/>
                </a:lnTo>
                <a:lnTo>
                  <a:pt x="1737" y="3975"/>
                </a:lnTo>
                <a:lnTo>
                  <a:pt x="1725" y="3961"/>
                </a:lnTo>
                <a:lnTo>
                  <a:pt x="1721" y="3955"/>
                </a:lnTo>
                <a:lnTo>
                  <a:pt x="1718" y="3950"/>
                </a:lnTo>
                <a:lnTo>
                  <a:pt x="1713" y="3939"/>
                </a:lnTo>
                <a:lnTo>
                  <a:pt x="1708" y="3929"/>
                </a:lnTo>
                <a:lnTo>
                  <a:pt x="1705" y="3919"/>
                </a:lnTo>
                <a:lnTo>
                  <a:pt x="1705" y="3909"/>
                </a:lnTo>
                <a:lnTo>
                  <a:pt x="1705" y="3903"/>
                </a:lnTo>
                <a:lnTo>
                  <a:pt x="1706" y="3898"/>
                </a:lnTo>
                <a:lnTo>
                  <a:pt x="1707" y="3892"/>
                </a:lnTo>
                <a:lnTo>
                  <a:pt x="1709" y="3886"/>
                </a:lnTo>
                <a:lnTo>
                  <a:pt x="1713" y="3880"/>
                </a:lnTo>
                <a:lnTo>
                  <a:pt x="1716" y="3873"/>
                </a:lnTo>
                <a:lnTo>
                  <a:pt x="1720" y="3866"/>
                </a:lnTo>
                <a:lnTo>
                  <a:pt x="1724" y="3859"/>
                </a:lnTo>
                <a:lnTo>
                  <a:pt x="1732" y="3848"/>
                </a:lnTo>
                <a:lnTo>
                  <a:pt x="1744" y="3834"/>
                </a:lnTo>
                <a:lnTo>
                  <a:pt x="1774" y="3800"/>
                </a:lnTo>
                <a:lnTo>
                  <a:pt x="1809" y="3761"/>
                </a:lnTo>
                <a:lnTo>
                  <a:pt x="1845" y="3719"/>
                </a:lnTo>
                <a:lnTo>
                  <a:pt x="1846" y="3719"/>
                </a:lnTo>
                <a:lnTo>
                  <a:pt x="1849" y="3719"/>
                </a:lnTo>
                <a:lnTo>
                  <a:pt x="1853" y="3719"/>
                </a:lnTo>
                <a:lnTo>
                  <a:pt x="1857" y="3720"/>
                </a:lnTo>
                <a:lnTo>
                  <a:pt x="1861" y="3722"/>
                </a:lnTo>
                <a:lnTo>
                  <a:pt x="1866" y="3724"/>
                </a:lnTo>
                <a:lnTo>
                  <a:pt x="1870" y="3728"/>
                </a:lnTo>
                <a:lnTo>
                  <a:pt x="1874" y="3731"/>
                </a:lnTo>
                <a:lnTo>
                  <a:pt x="1877" y="3735"/>
                </a:lnTo>
                <a:lnTo>
                  <a:pt x="1880" y="3740"/>
                </a:lnTo>
                <a:lnTo>
                  <a:pt x="1881" y="3745"/>
                </a:lnTo>
                <a:lnTo>
                  <a:pt x="1882" y="3750"/>
                </a:lnTo>
                <a:lnTo>
                  <a:pt x="1881" y="3756"/>
                </a:lnTo>
                <a:lnTo>
                  <a:pt x="1880" y="3762"/>
                </a:lnTo>
                <a:lnTo>
                  <a:pt x="1877" y="3767"/>
                </a:lnTo>
                <a:lnTo>
                  <a:pt x="1873" y="3773"/>
                </a:lnTo>
                <a:lnTo>
                  <a:pt x="1865" y="3783"/>
                </a:lnTo>
                <a:lnTo>
                  <a:pt x="1853" y="3797"/>
                </a:lnTo>
                <a:lnTo>
                  <a:pt x="1823" y="3831"/>
                </a:lnTo>
                <a:lnTo>
                  <a:pt x="1794" y="3864"/>
                </a:lnTo>
                <a:lnTo>
                  <a:pt x="1781" y="3880"/>
                </a:lnTo>
                <a:lnTo>
                  <a:pt x="1772" y="3891"/>
                </a:lnTo>
                <a:lnTo>
                  <a:pt x="1769" y="3895"/>
                </a:lnTo>
                <a:lnTo>
                  <a:pt x="1767" y="3899"/>
                </a:lnTo>
                <a:lnTo>
                  <a:pt x="1766" y="3902"/>
                </a:lnTo>
                <a:lnTo>
                  <a:pt x="1766" y="3906"/>
                </a:lnTo>
                <a:lnTo>
                  <a:pt x="1766" y="3910"/>
                </a:lnTo>
                <a:lnTo>
                  <a:pt x="1767" y="3915"/>
                </a:lnTo>
                <a:lnTo>
                  <a:pt x="1771" y="3919"/>
                </a:lnTo>
                <a:lnTo>
                  <a:pt x="1774" y="3924"/>
                </a:lnTo>
                <a:lnTo>
                  <a:pt x="1781" y="3934"/>
                </a:lnTo>
                <a:lnTo>
                  <a:pt x="1791" y="3945"/>
                </a:lnTo>
                <a:lnTo>
                  <a:pt x="1819" y="3975"/>
                </a:lnTo>
                <a:lnTo>
                  <a:pt x="1852" y="4008"/>
                </a:lnTo>
                <a:lnTo>
                  <a:pt x="1883" y="4038"/>
                </a:lnTo>
                <a:lnTo>
                  <a:pt x="1884" y="4040"/>
                </a:lnTo>
                <a:lnTo>
                  <a:pt x="1886" y="4042"/>
                </a:lnTo>
                <a:lnTo>
                  <a:pt x="1887" y="4044"/>
                </a:lnTo>
                <a:lnTo>
                  <a:pt x="1887" y="4047"/>
                </a:lnTo>
                <a:lnTo>
                  <a:pt x="1886" y="4053"/>
                </a:lnTo>
                <a:lnTo>
                  <a:pt x="1885" y="4056"/>
                </a:lnTo>
                <a:lnTo>
                  <a:pt x="1884" y="4059"/>
                </a:lnTo>
                <a:lnTo>
                  <a:pt x="1880" y="4065"/>
                </a:lnTo>
                <a:lnTo>
                  <a:pt x="1878" y="4067"/>
                </a:lnTo>
                <a:lnTo>
                  <a:pt x="1876" y="4070"/>
                </a:lnTo>
                <a:lnTo>
                  <a:pt x="1870" y="4075"/>
                </a:lnTo>
                <a:lnTo>
                  <a:pt x="1867" y="4077"/>
                </a:lnTo>
                <a:lnTo>
                  <a:pt x="1864" y="4078"/>
                </a:lnTo>
                <a:lnTo>
                  <a:pt x="1858" y="4081"/>
                </a:lnTo>
                <a:lnTo>
                  <a:pt x="1856" y="4081"/>
                </a:lnTo>
                <a:lnTo>
                  <a:pt x="1853" y="4082"/>
                </a:lnTo>
                <a:close/>
                <a:moveTo>
                  <a:pt x="5295" y="4087"/>
                </a:moveTo>
                <a:lnTo>
                  <a:pt x="5287" y="4087"/>
                </a:lnTo>
                <a:lnTo>
                  <a:pt x="5279" y="4086"/>
                </a:lnTo>
                <a:lnTo>
                  <a:pt x="5272" y="4085"/>
                </a:lnTo>
                <a:lnTo>
                  <a:pt x="5265" y="4084"/>
                </a:lnTo>
                <a:lnTo>
                  <a:pt x="5257" y="4082"/>
                </a:lnTo>
                <a:lnTo>
                  <a:pt x="5249" y="4080"/>
                </a:lnTo>
                <a:lnTo>
                  <a:pt x="5236" y="4074"/>
                </a:lnTo>
                <a:lnTo>
                  <a:pt x="5223" y="4066"/>
                </a:lnTo>
                <a:lnTo>
                  <a:pt x="5216" y="4062"/>
                </a:lnTo>
                <a:lnTo>
                  <a:pt x="5210" y="4058"/>
                </a:lnTo>
                <a:lnTo>
                  <a:pt x="5204" y="4053"/>
                </a:lnTo>
                <a:lnTo>
                  <a:pt x="5199" y="4047"/>
                </a:lnTo>
                <a:lnTo>
                  <a:pt x="5193" y="4041"/>
                </a:lnTo>
                <a:lnTo>
                  <a:pt x="5187" y="4035"/>
                </a:lnTo>
                <a:lnTo>
                  <a:pt x="5182" y="4029"/>
                </a:lnTo>
                <a:lnTo>
                  <a:pt x="5177" y="4023"/>
                </a:lnTo>
                <a:lnTo>
                  <a:pt x="5173" y="4016"/>
                </a:lnTo>
                <a:lnTo>
                  <a:pt x="5169" y="4010"/>
                </a:lnTo>
                <a:lnTo>
                  <a:pt x="5165" y="4003"/>
                </a:lnTo>
                <a:lnTo>
                  <a:pt x="5161" y="3995"/>
                </a:lnTo>
                <a:lnTo>
                  <a:pt x="5158" y="3987"/>
                </a:lnTo>
                <a:lnTo>
                  <a:pt x="5155" y="3979"/>
                </a:lnTo>
                <a:lnTo>
                  <a:pt x="5152" y="3971"/>
                </a:lnTo>
                <a:lnTo>
                  <a:pt x="5150" y="3963"/>
                </a:lnTo>
                <a:lnTo>
                  <a:pt x="5148" y="3954"/>
                </a:lnTo>
                <a:lnTo>
                  <a:pt x="5146" y="3946"/>
                </a:lnTo>
                <a:lnTo>
                  <a:pt x="5145" y="3937"/>
                </a:lnTo>
                <a:lnTo>
                  <a:pt x="5144" y="3927"/>
                </a:lnTo>
                <a:lnTo>
                  <a:pt x="5143" y="3918"/>
                </a:lnTo>
                <a:lnTo>
                  <a:pt x="5143" y="3909"/>
                </a:lnTo>
                <a:lnTo>
                  <a:pt x="5144" y="3890"/>
                </a:lnTo>
                <a:lnTo>
                  <a:pt x="5145" y="3881"/>
                </a:lnTo>
                <a:lnTo>
                  <a:pt x="5146" y="3872"/>
                </a:lnTo>
                <a:lnTo>
                  <a:pt x="5148" y="3862"/>
                </a:lnTo>
                <a:lnTo>
                  <a:pt x="5150" y="3853"/>
                </a:lnTo>
                <a:lnTo>
                  <a:pt x="5153" y="3844"/>
                </a:lnTo>
                <a:lnTo>
                  <a:pt x="5156" y="3836"/>
                </a:lnTo>
                <a:lnTo>
                  <a:pt x="5159" y="3827"/>
                </a:lnTo>
                <a:lnTo>
                  <a:pt x="5162" y="3819"/>
                </a:lnTo>
                <a:lnTo>
                  <a:pt x="5166" y="3810"/>
                </a:lnTo>
                <a:lnTo>
                  <a:pt x="5170" y="3802"/>
                </a:lnTo>
                <a:lnTo>
                  <a:pt x="5175" y="3795"/>
                </a:lnTo>
                <a:lnTo>
                  <a:pt x="5179" y="3787"/>
                </a:lnTo>
                <a:lnTo>
                  <a:pt x="5189" y="3774"/>
                </a:lnTo>
                <a:lnTo>
                  <a:pt x="5196" y="3767"/>
                </a:lnTo>
                <a:lnTo>
                  <a:pt x="5202" y="3761"/>
                </a:lnTo>
                <a:lnTo>
                  <a:pt x="5214" y="3748"/>
                </a:lnTo>
                <a:lnTo>
                  <a:pt x="5220" y="3743"/>
                </a:lnTo>
                <a:lnTo>
                  <a:pt x="5227" y="3738"/>
                </a:lnTo>
                <a:lnTo>
                  <a:pt x="5234" y="3734"/>
                </a:lnTo>
                <a:lnTo>
                  <a:pt x="5241" y="3730"/>
                </a:lnTo>
                <a:lnTo>
                  <a:pt x="5248" y="3726"/>
                </a:lnTo>
                <a:lnTo>
                  <a:pt x="5257" y="3723"/>
                </a:lnTo>
                <a:lnTo>
                  <a:pt x="5264" y="3721"/>
                </a:lnTo>
                <a:lnTo>
                  <a:pt x="5272" y="3718"/>
                </a:lnTo>
                <a:lnTo>
                  <a:pt x="5280" y="3716"/>
                </a:lnTo>
                <a:lnTo>
                  <a:pt x="5288" y="3715"/>
                </a:lnTo>
                <a:lnTo>
                  <a:pt x="5296" y="3714"/>
                </a:lnTo>
                <a:lnTo>
                  <a:pt x="5304" y="3714"/>
                </a:lnTo>
                <a:lnTo>
                  <a:pt x="5315" y="3715"/>
                </a:lnTo>
                <a:lnTo>
                  <a:pt x="5320" y="3715"/>
                </a:lnTo>
                <a:lnTo>
                  <a:pt x="5325" y="3716"/>
                </a:lnTo>
                <a:lnTo>
                  <a:pt x="5330" y="3717"/>
                </a:lnTo>
                <a:lnTo>
                  <a:pt x="5334" y="3718"/>
                </a:lnTo>
                <a:lnTo>
                  <a:pt x="5343" y="3721"/>
                </a:lnTo>
                <a:lnTo>
                  <a:pt x="5351" y="3725"/>
                </a:lnTo>
                <a:lnTo>
                  <a:pt x="5358" y="3730"/>
                </a:lnTo>
                <a:lnTo>
                  <a:pt x="5365" y="3735"/>
                </a:lnTo>
                <a:lnTo>
                  <a:pt x="5372" y="3741"/>
                </a:lnTo>
                <a:lnTo>
                  <a:pt x="5374" y="3744"/>
                </a:lnTo>
                <a:lnTo>
                  <a:pt x="5377" y="3748"/>
                </a:lnTo>
                <a:lnTo>
                  <a:pt x="5382" y="3756"/>
                </a:lnTo>
                <a:lnTo>
                  <a:pt x="5386" y="3764"/>
                </a:lnTo>
                <a:lnTo>
                  <a:pt x="5389" y="3772"/>
                </a:lnTo>
                <a:lnTo>
                  <a:pt x="5392" y="3781"/>
                </a:lnTo>
                <a:lnTo>
                  <a:pt x="5394" y="3790"/>
                </a:lnTo>
                <a:lnTo>
                  <a:pt x="5395" y="3800"/>
                </a:lnTo>
                <a:lnTo>
                  <a:pt x="5395" y="3809"/>
                </a:lnTo>
                <a:lnTo>
                  <a:pt x="5394" y="3823"/>
                </a:lnTo>
                <a:lnTo>
                  <a:pt x="5393" y="3829"/>
                </a:lnTo>
                <a:lnTo>
                  <a:pt x="5392" y="3835"/>
                </a:lnTo>
                <a:lnTo>
                  <a:pt x="5388" y="3847"/>
                </a:lnTo>
                <a:lnTo>
                  <a:pt x="5383" y="3859"/>
                </a:lnTo>
                <a:lnTo>
                  <a:pt x="5377" y="3870"/>
                </a:lnTo>
                <a:lnTo>
                  <a:pt x="5369" y="3881"/>
                </a:lnTo>
                <a:lnTo>
                  <a:pt x="5365" y="3887"/>
                </a:lnTo>
                <a:lnTo>
                  <a:pt x="5360" y="3891"/>
                </a:lnTo>
                <a:lnTo>
                  <a:pt x="5351" y="3901"/>
                </a:lnTo>
                <a:lnTo>
                  <a:pt x="5341" y="3909"/>
                </a:lnTo>
                <a:lnTo>
                  <a:pt x="5336" y="3913"/>
                </a:lnTo>
                <a:lnTo>
                  <a:pt x="5331" y="3917"/>
                </a:lnTo>
                <a:lnTo>
                  <a:pt x="5319" y="3923"/>
                </a:lnTo>
                <a:lnTo>
                  <a:pt x="5307" y="3929"/>
                </a:lnTo>
                <a:lnTo>
                  <a:pt x="5294" y="3935"/>
                </a:lnTo>
                <a:lnTo>
                  <a:pt x="5288" y="3936"/>
                </a:lnTo>
                <a:lnTo>
                  <a:pt x="5282" y="3938"/>
                </a:lnTo>
                <a:lnTo>
                  <a:pt x="5276" y="3939"/>
                </a:lnTo>
                <a:lnTo>
                  <a:pt x="5270" y="3940"/>
                </a:lnTo>
                <a:lnTo>
                  <a:pt x="5257" y="3941"/>
                </a:lnTo>
                <a:lnTo>
                  <a:pt x="5252" y="3940"/>
                </a:lnTo>
                <a:lnTo>
                  <a:pt x="5246" y="3938"/>
                </a:lnTo>
                <a:lnTo>
                  <a:pt x="5241" y="3935"/>
                </a:lnTo>
                <a:lnTo>
                  <a:pt x="5239" y="3933"/>
                </a:lnTo>
                <a:lnTo>
                  <a:pt x="5237" y="3930"/>
                </a:lnTo>
                <a:lnTo>
                  <a:pt x="5234" y="3926"/>
                </a:lnTo>
                <a:lnTo>
                  <a:pt x="5232" y="3921"/>
                </a:lnTo>
                <a:lnTo>
                  <a:pt x="5231" y="3918"/>
                </a:lnTo>
                <a:lnTo>
                  <a:pt x="5230" y="3915"/>
                </a:lnTo>
                <a:lnTo>
                  <a:pt x="5230" y="3908"/>
                </a:lnTo>
                <a:lnTo>
                  <a:pt x="5230" y="3906"/>
                </a:lnTo>
                <a:lnTo>
                  <a:pt x="5230" y="3903"/>
                </a:lnTo>
                <a:lnTo>
                  <a:pt x="5231" y="3898"/>
                </a:lnTo>
                <a:lnTo>
                  <a:pt x="5232" y="3896"/>
                </a:lnTo>
                <a:lnTo>
                  <a:pt x="5234" y="3894"/>
                </a:lnTo>
                <a:lnTo>
                  <a:pt x="5235" y="3892"/>
                </a:lnTo>
                <a:lnTo>
                  <a:pt x="5237" y="3891"/>
                </a:lnTo>
                <a:lnTo>
                  <a:pt x="5248" y="3889"/>
                </a:lnTo>
                <a:lnTo>
                  <a:pt x="5259" y="3887"/>
                </a:lnTo>
                <a:lnTo>
                  <a:pt x="5269" y="3883"/>
                </a:lnTo>
                <a:lnTo>
                  <a:pt x="5279" y="3879"/>
                </a:lnTo>
                <a:lnTo>
                  <a:pt x="5288" y="3875"/>
                </a:lnTo>
                <a:lnTo>
                  <a:pt x="5297" y="3869"/>
                </a:lnTo>
                <a:lnTo>
                  <a:pt x="5304" y="3863"/>
                </a:lnTo>
                <a:lnTo>
                  <a:pt x="5308" y="3860"/>
                </a:lnTo>
                <a:lnTo>
                  <a:pt x="5313" y="3857"/>
                </a:lnTo>
                <a:lnTo>
                  <a:pt x="5319" y="3851"/>
                </a:lnTo>
                <a:lnTo>
                  <a:pt x="5325" y="3845"/>
                </a:lnTo>
                <a:lnTo>
                  <a:pt x="5330" y="3838"/>
                </a:lnTo>
                <a:lnTo>
                  <a:pt x="5334" y="3831"/>
                </a:lnTo>
                <a:lnTo>
                  <a:pt x="5337" y="3824"/>
                </a:lnTo>
                <a:lnTo>
                  <a:pt x="5340" y="3817"/>
                </a:lnTo>
                <a:lnTo>
                  <a:pt x="5341" y="3809"/>
                </a:lnTo>
                <a:lnTo>
                  <a:pt x="5342" y="3802"/>
                </a:lnTo>
                <a:lnTo>
                  <a:pt x="5341" y="3794"/>
                </a:lnTo>
                <a:lnTo>
                  <a:pt x="5339" y="3786"/>
                </a:lnTo>
                <a:lnTo>
                  <a:pt x="5337" y="3783"/>
                </a:lnTo>
                <a:lnTo>
                  <a:pt x="5336" y="3780"/>
                </a:lnTo>
                <a:lnTo>
                  <a:pt x="5333" y="3777"/>
                </a:lnTo>
                <a:lnTo>
                  <a:pt x="5331" y="3775"/>
                </a:lnTo>
                <a:lnTo>
                  <a:pt x="5325" y="3771"/>
                </a:lnTo>
                <a:lnTo>
                  <a:pt x="5322" y="3769"/>
                </a:lnTo>
                <a:lnTo>
                  <a:pt x="5318" y="3767"/>
                </a:lnTo>
                <a:lnTo>
                  <a:pt x="5309" y="3766"/>
                </a:lnTo>
                <a:lnTo>
                  <a:pt x="5305" y="3765"/>
                </a:lnTo>
                <a:lnTo>
                  <a:pt x="5300" y="3765"/>
                </a:lnTo>
                <a:lnTo>
                  <a:pt x="5292" y="3766"/>
                </a:lnTo>
                <a:lnTo>
                  <a:pt x="5287" y="3766"/>
                </a:lnTo>
                <a:lnTo>
                  <a:pt x="5283" y="3768"/>
                </a:lnTo>
                <a:lnTo>
                  <a:pt x="5278" y="3769"/>
                </a:lnTo>
                <a:lnTo>
                  <a:pt x="5274" y="3771"/>
                </a:lnTo>
                <a:lnTo>
                  <a:pt x="5270" y="3773"/>
                </a:lnTo>
                <a:lnTo>
                  <a:pt x="5265" y="3776"/>
                </a:lnTo>
                <a:lnTo>
                  <a:pt x="5261" y="3779"/>
                </a:lnTo>
                <a:lnTo>
                  <a:pt x="5257" y="3782"/>
                </a:lnTo>
                <a:lnTo>
                  <a:pt x="5247" y="3789"/>
                </a:lnTo>
                <a:lnTo>
                  <a:pt x="5240" y="3797"/>
                </a:lnTo>
                <a:lnTo>
                  <a:pt x="5232" y="3806"/>
                </a:lnTo>
                <a:lnTo>
                  <a:pt x="5229" y="3812"/>
                </a:lnTo>
                <a:lnTo>
                  <a:pt x="5225" y="3817"/>
                </a:lnTo>
                <a:lnTo>
                  <a:pt x="5219" y="3828"/>
                </a:lnTo>
                <a:lnTo>
                  <a:pt x="5214" y="3839"/>
                </a:lnTo>
                <a:lnTo>
                  <a:pt x="5209" y="3851"/>
                </a:lnTo>
                <a:lnTo>
                  <a:pt x="5205" y="3864"/>
                </a:lnTo>
                <a:lnTo>
                  <a:pt x="5202" y="3879"/>
                </a:lnTo>
                <a:lnTo>
                  <a:pt x="5200" y="3892"/>
                </a:lnTo>
                <a:lnTo>
                  <a:pt x="5200" y="3899"/>
                </a:lnTo>
                <a:lnTo>
                  <a:pt x="5200" y="3906"/>
                </a:lnTo>
                <a:lnTo>
                  <a:pt x="5200" y="3919"/>
                </a:lnTo>
                <a:lnTo>
                  <a:pt x="5202" y="3932"/>
                </a:lnTo>
                <a:lnTo>
                  <a:pt x="5204" y="3944"/>
                </a:lnTo>
                <a:lnTo>
                  <a:pt x="5205" y="3950"/>
                </a:lnTo>
                <a:lnTo>
                  <a:pt x="5207" y="3955"/>
                </a:lnTo>
                <a:lnTo>
                  <a:pt x="5210" y="3965"/>
                </a:lnTo>
                <a:lnTo>
                  <a:pt x="5212" y="3970"/>
                </a:lnTo>
                <a:lnTo>
                  <a:pt x="5215" y="3975"/>
                </a:lnTo>
                <a:lnTo>
                  <a:pt x="5217" y="3980"/>
                </a:lnTo>
                <a:lnTo>
                  <a:pt x="5220" y="3984"/>
                </a:lnTo>
                <a:lnTo>
                  <a:pt x="5223" y="3989"/>
                </a:lnTo>
                <a:lnTo>
                  <a:pt x="5226" y="3994"/>
                </a:lnTo>
                <a:lnTo>
                  <a:pt x="5229" y="3997"/>
                </a:lnTo>
                <a:lnTo>
                  <a:pt x="5233" y="4001"/>
                </a:lnTo>
                <a:lnTo>
                  <a:pt x="5240" y="4008"/>
                </a:lnTo>
                <a:lnTo>
                  <a:pt x="5248" y="4013"/>
                </a:lnTo>
                <a:lnTo>
                  <a:pt x="5257" y="4018"/>
                </a:lnTo>
                <a:lnTo>
                  <a:pt x="5266" y="4022"/>
                </a:lnTo>
                <a:lnTo>
                  <a:pt x="5276" y="4025"/>
                </a:lnTo>
                <a:lnTo>
                  <a:pt x="5286" y="4026"/>
                </a:lnTo>
                <a:lnTo>
                  <a:pt x="5291" y="4027"/>
                </a:lnTo>
                <a:lnTo>
                  <a:pt x="5297" y="4027"/>
                </a:lnTo>
                <a:lnTo>
                  <a:pt x="5307" y="4027"/>
                </a:lnTo>
                <a:lnTo>
                  <a:pt x="5318" y="4025"/>
                </a:lnTo>
                <a:lnTo>
                  <a:pt x="5328" y="4023"/>
                </a:lnTo>
                <a:lnTo>
                  <a:pt x="5338" y="4019"/>
                </a:lnTo>
                <a:lnTo>
                  <a:pt x="5347" y="4015"/>
                </a:lnTo>
                <a:lnTo>
                  <a:pt x="5356" y="4010"/>
                </a:lnTo>
                <a:lnTo>
                  <a:pt x="5365" y="4004"/>
                </a:lnTo>
                <a:lnTo>
                  <a:pt x="5374" y="3998"/>
                </a:lnTo>
                <a:lnTo>
                  <a:pt x="5382" y="3989"/>
                </a:lnTo>
                <a:lnTo>
                  <a:pt x="5390" y="3981"/>
                </a:lnTo>
                <a:lnTo>
                  <a:pt x="5397" y="3973"/>
                </a:lnTo>
                <a:lnTo>
                  <a:pt x="5404" y="3964"/>
                </a:lnTo>
                <a:lnTo>
                  <a:pt x="5417" y="3945"/>
                </a:lnTo>
                <a:lnTo>
                  <a:pt x="5423" y="3934"/>
                </a:lnTo>
                <a:lnTo>
                  <a:pt x="5428" y="3922"/>
                </a:lnTo>
                <a:lnTo>
                  <a:pt x="5434" y="3911"/>
                </a:lnTo>
                <a:lnTo>
                  <a:pt x="5439" y="3900"/>
                </a:lnTo>
                <a:lnTo>
                  <a:pt x="5444" y="3889"/>
                </a:lnTo>
                <a:lnTo>
                  <a:pt x="5448" y="3877"/>
                </a:lnTo>
                <a:lnTo>
                  <a:pt x="5452" y="3864"/>
                </a:lnTo>
                <a:lnTo>
                  <a:pt x="5455" y="3852"/>
                </a:lnTo>
                <a:lnTo>
                  <a:pt x="5458" y="3840"/>
                </a:lnTo>
                <a:lnTo>
                  <a:pt x="5461" y="3828"/>
                </a:lnTo>
                <a:lnTo>
                  <a:pt x="5463" y="3816"/>
                </a:lnTo>
                <a:lnTo>
                  <a:pt x="5465" y="3803"/>
                </a:lnTo>
                <a:lnTo>
                  <a:pt x="5466" y="3791"/>
                </a:lnTo>
                <a:lnTo>
                  <a:pt x="5467" y="3780"/>
                </a:lnTo>
                <a:lnTo>
                  <a:pt x="5468" y="3768"/>
                </a:lnTo>
                <a:lnTo>
                  <a:pt x="5468" y="3757"/>
                </a:lnTo>
                <a:lnTo>
                  <a:pt x="5468" y="3746"/>
                </a:lnTo>
                <a:lnTo>
                  <a:pt x="5468" y="3735"/>
                </a:lnTo>
                <a:lnTo>
                  <a:pt x="5469" y="3733"/>
                </a:lnTo>
                <a:lnTo>
                  <a:pt x="5470" y="3731"/>
                </a:lnTo>
                <a:lnTo>
                  <a:pt x="5473" y="3729"/>
                </a:lnTo>
                <a:lnTo>
                  <a:pt x="5475" y="3727"/>
                </a:lnTo>
                <a:lnTo>
                  <a:pt x="5482" y="3724"/>
                </a:lnTo>
                <a:lnTo>
                  <a:pt x="5486" y="3723"/>
                </a:lnTo>
                <a:lnTo>
                  <a:pt x="5491" y="3723"/>
                </a:lnTo>
                <a:lnTo>
                  <a:pt x="5498" y="3724"/>
                </a:lnTo>
                <a:lnTo>
                  <a:pt x="5501" y="3724"/>
                </a:lnTo>
                <a:lnTo>
                  <a:pt x="5505" y="3725"/>
                </a:lnTo>
                <a:lnTo>
                  <a:pt x="5510" y="3728"/>
                </a:lnTo>
                <a:lnTo>
                  <a:pt x="5513" y="3730"/>
                </a:lnTo>
                <a:lnTo>
                  <a:pt x="5515" y="3732"/>
                </a:lnTo>
                <a:lnTo>
                  <a:pt x="5519" y="3738"/>
                </a:lnTo>
                <a:lnTo>
                  <a:pt x="5521" y="3741"/>
                </a:lnTo>
                <a:lnTo>
                  <a:pt x="5522" y="3745"/>
                </a:lnTo>
                <a:lnTo>
                  <a:pt x="5523" y="3750"/>
                </a:lnTo>
                <a:lnTo>
                  <a:pt x="5524" y="3756"/>
                </a:lnTo>
                <a:lnTo>
                  <a:pt x="5525" y="3761"/>
                </a:lnTo>
                <a:lnTo>
                  <a:pt x="5525" y="3767"/>
                </a:lnTo>
                <a:lnTo>
                  <a:pt x="5524" y="3782"/>
                </a:lnTo>
                <a:lnTo>
                  <a:pt x="5523" y="3798"/>
                </a:lnTo>
                <a:lnTo>
                  <a:pt x="5522" y="3814"/>
                </a:lnTo>
                <a:lnTo>
                  <a:pt x="5520" y="3829"/>
                </a:lnTo>
                <a:lnTo>
                  <a:pt x="5517" y="3844"/>
                </a:lnTo>
                <a:lnTo>
                  <a:pt x="5514" y="3859"/>
                </a:lnTo>
                <a:lnTo>
                  <a:pt x="5511" y="3874"/>
                </a:lnTo>
                <a:lnTo>
                  <a:pt x="5507" y="3888"/>
                </a:lnTo>
                <a:lnTo>
                  <a:pt x="5502" y="3902"/>
                </a:lnTo>
                <a:lnTo>
                  <a:pt x="5498" y="3916"/>
                </a:lnTo>
                <a:lnTo>
                  <a:pt x="5492" y="3929"/>
                </a:lnTo>
                <a:lnTo>
                  <a:pt x="5486" y="3943"/>
                </a:lnTo>
                <a:lnTo>
                  <a:pt x="5480" y="3955"/>
                </a:lnTo>
                <a:lnTo>
                  <a:pt x="5473" y="3967"/>
                </a:lnTo>
                <a:lnTo>
                  <a:pt x="5466" y="3979"/>
                </a:lnTo>
                <a:lnTo>
                  <a:pt x="5459" y="3990"/>
                </a:lnTo>
                <a:lnTo>
                  <a:pt x="5451" y="4002"/>
                </a:lnTo>
                <a:lnTo>
                  <a:pt x="5443" y="4012"/>
                </a:lnTo>
                <a:lnTo>
                  <a:pt x="5435" y="4021"/>
                </a:lnTo>
                <a:lnTo>
                  <a:pt x="5425" y="4030"/>
                </a:lnTo>
                <a:lnTo>
                  <a:pt x="5416" y="4039"/>
                </a:lnTo>
                <a:lnTo>
                  <a:pt x="5407" y="4047"/>
                </a:lnTo>
                <a:lnTo>
                  <a:pt x="5397" y="4055"/>
                </a:lnTo>
                <a:lnTo>
                  <a:pt x="5387" y="4061"/>
                </a:lnTo>
                <a:lnTo>
                  <a:pt x="5377" y="4067"/>
                </a:lnTo>
                <a:lnTo>
                  <a:pt x="5365" y="4072"/>
                </a:lnTo>
                <a:lnTo>
                  <a:pt x="5354" y="4077"/>
                </a:lnTo>
                <a:lnTo>
                  <a:pt x="5343" y="4081"/>
                </a:lnTo>
                <a:lnTo>
                  <a:pt x="5332" y="4084"/>
                </a:lnTo>
                <a:lnTo>
                  <a:pt x="5320" y="4086"/>
                </a:lnTo>
                <a:lnTo>
                  <a:pt x="5307" y="4087"/>
                </a:lnTo>
                <a:lnTo>
                  <a:pt x="5295" y="4087"/>
                </a:lnTo>
                <a:close/>
                <a:moveTo>
                  <a:pt x="5682" y="4082"/>
                </a:moveTo>
                <a:lnTo>
                  <a:pt x="5681" y="4081"/>
                </a:lnTo>
                <a:lnTo>
                  <a:pt x="5678" y="4081"/>
                </a:lnTo>
                <a:lnTo>
                  <a:pt x="5673" y="4078"/>
                </a:lnTo>
                <a:lnTo>
                  <a:pt x="5666" y="4074"/>
                </a:lnTo>
                <a:lnTo>
                  <a:pt x="5658" y="4068"/>
                </a:lnTo>
                <a:lnTo>
                  <a:pt x="5646" y="4057"/>
                </a:lnTo>
                <a:lnTo>
                  <a:pt x="5631" y="4042"/>
                </a:lnTo>
                <a:lnTo>
                  <a:pt x="5614" y="4027"/>
                </a:lnTo>
                <a:lnTo>
                  <a:pt x="5597" y="4010"/>
                </a:lnTo>
                <a:lnTo>
                  <a:pt x="5581" y="3993"/>
                </a:lnTo>
                <a:lnTo>
                  <a:pt x="5567" y="3975"/>
                </a:lnTo>
                <a:lnTo>
                  <a:pt x="5555" y="3961"/>
                </a:lnTo>
                <a:lnTo>
                  <a:pt x="5551" y="3955"/>
                </a:lnTo>
                <a:lnTo>
                  <a:pt x="5547" y="3950"/>
                </a:lnTo>
                <a:lnTo>
                  <a:pt x="5541" y="3939"/>
                </a:lnTo>
                <a:lnTo>
                  <a:pt x="5538" y="3929"/>
                </a:lnTo>
                <a:lnTo>
                  <a:pt x="5535" y="3919"/>
                </a:lnTo>
                <a:lnTo>
                  <a:pt x="5534" y="3909"/>
                </a:lnTo>
                <a:lnTo>
                  <a:pt x="5535" y="3903"/>
                </a:lnTo>
                <a:lnTo>
                  <a:pt x="5536" y="3898"/>
                </a:lnTo>
                <a:lnTo>
                  <a:pt x="5537" y="3892"/>
                </a:lnTo>
                <a:lnTo>
                  <a:pt x="5539" y="3886"/>
                </a:lnTo>
                <a:lnTo>
                  <a:pt x="5542" y="3880"/>
                </a:lnTo>
                <a:lnTo>
                  <a:pt x="5545" y="3873"/>
                </a:lnTo>
                <a:lnTo>
                  <a:pt x="5549" y="3866"/>
                </a:lnTo>
                <a:lnTo>
                  <a:pt x="5554" y="3859"/>
                </a:lnTo>
                <a:lnTo>
                  <a:pt x="5562" y="3848"/>
                </a:lnTo>
                <a:lnTo>
                  <a:pt x="5574" y="3834"/>
                </a:lnTo>
                <a:lnTo>
                  <a:pt x="5603" y="3800"/>
                </a:lnTo>
                <a:lnTo>
                  <a:pt x="5639" y="3761"/>
                </a:lnTo>
                <a:lnTo>
                  <a:pt x="5675" y="3719"/>
                </a:lnTo>
                <a:lnTo>
                  <a:pt x="5676" y="3719"/>
                </a:lnTo>
                <a:lnTo>
                  <a:pt x="5679" y="3719"/>
                </a:lnTo>
                <a:lnTo>
                  <a:pt x="5683" y="3719"/>
                </a:lnTo>
                <a:lnTo>
                  <a:pt x="5687" y="3720"/>
                </a:lnTo>
                <a:lnTo>
                  <a:pt x="5691" y="3722"/>
                </a:lnTo>
                <a:lnTo>
                  <a:pt x="5696" y="3724"/>
                </a:lnTo>
                <a:lnTo>
                  <a:pt x="5700" y="3728"/>
                </a:lnTo>
                <a:lnTo>
                  <a:pt x="5704" y="3731"/>
                </a:lnTo>
                <a:lnTo>
                  <a:pt x="5707" y="3735"/>
                </a:lnTo>
                <a:lnTo>
                  <a:pt x="5710" y="3740"/>
                </a:lnTo>
                <a:lnTo>
                  <a:pt x="5711" y="3745"/>
                </a:lnTo>
                <a:lnTo>
                  <a:pt x="5712" y="3750"/>
                </a:lnTo>
                <a:lnTo>
                  <a:pt x="5711" y="3756"/>
                </a:lnTo>
                <a:lnTo>
                  <a:pt x="5710" y="3762"/>
                </a:lnTo>
                <a:lnTo>
                  <a:pt x="5707" y="3767"/>
                </a:lnTo>
                <a:lnTo>
                  <a:pt x="5703" y="3773"/>
                </a:lnTo>
                <a:lnTo>
                  <a:pt x="5695" y="3783"/>
                </a:lnTo>
                <a:lnTo>
                  <a:pt x="5683" y="3797"/>
                </a:lnTo>
                <a:lnTo>
                  <a:pt x="5653" y="3831"/>
                </a:lnTo>
                <a:lnTo>
                  <a:pt x="5624" y="3864"/>
                </a:lnTo>
                <a:lnTo>
                  <a:pt x="5611" y="3880"/>
                </a:lnTo>
                <a:lnTo>
                  <a:pt x="5601" y="3891"/>
                </a:lnTo>
                <a:lnTo>
                  <a:pt x="5599" y="3895"/>
                </a:lnTo>
                <a:lnTo>
                  <a:pt x="5597" y="3899"/>
                </a:lnTo>
                <a:lnTo>
                  <a:pt x="5596" y="3902"/>
                </a:lnTo>
                <a:lnTo>
                  <a:pt x="5596" y="3906"/>
                </a:lnTo>
                <a:lnTo>
                  <a:pt x="5596" y="3910"/>
                </a:lnTo>
                <a:lnTo>
                  <a:pt x="5597" y="3915"/>
                </a:lnTo>
                <a:lnTo>
                  <a:pt x="5600" y="3919"/>
                </a:lnTo>
                <a:lnTo>
                  <a:pt x="5603" y="3924"/>
                </a:lnTo>
                <a:lnTo>
                  <a:pt x="5611" y="3934"/>
                </a:lnTo>
                <a:lnTo>
                  <a:pt x="5621" y="3945"/>
                </a:lnTo>
                <a:lnTo>
                  <a:pt x="5649" y="3975"/>
                </a:lnTo>
                <a:lnTo>
                  <a:pt x="5682" y="4008"/>
                </a:lnTo>
                <a:lnTo>
                  <a:pt x="5713" y="4038"/>
                </a:lnTo>
                <a:lnTo>
                  <a:pt x="5714" y="4040"/>
                </a:lnTo>
                <a:lnTo>
                  <a:pt x="5716" y="4042"/>
                </a:lnTo>
                <a:lnTo>
                  <a:pt x="5717" y="4044"/>
                </a:lnTo>
                <a:lnTo>
                  <a:pt x="5717" y="4047"/>
                </a:lnTo>
                <a:lnTo>
                  <a:pt x="5716" y="4053"/>
                </a:lnTo>
                <a:lnTo>
                  <a:pt x="5715" y="4056"/>
                </a:lnTo>
                <a:lnTo>
                  <a:pt x="5714" y="4059"/>
                </a:lnTo>
                <a:lnTo>
                  <a:pt x="5710" y="4065"/>
                </a:lnTo>
                <a:lnTo>
                  <a:pt x="5708" y="4067"/>
                </a:lnTo>
                <a:lnTo>
                  <a:pt x="5705" y="4070"/>
                </a:lnTo>
                <a:lnTo>
                  <a:pt x="5700" y="4075"/>
                </a:lnTo>
                <a:lnTo>
                  <a:pt x="5697" y="4077"/>
                </a:lnTo>
                <a:lnTo>
                  <a:pt x="5694" y="4078"/>
                </a:lnTo>
                <a:lnTo>
                  <a:pt x="5688" y="4081"/>
                </a:lnTo>
                <a:lnTo>
                  <a:pt x="5685" y="4081"/>
                </a:lnTo>
                <a:lnTo>
                  <a:pt x="5682" y="4082"/>
                </a:lnTo>
                <a:close/>
                <a:moveTo>
                  <a:pt x="2533" y="3591"/>
                </a:moveTo>
                <a:lnTo>
                  <a:pt x="2525" y="3591"/>
                </a:lnTo>
                <a:lnTo>
                  <a:pt x="2518" y="3590"/>
                </a:lnTo>
                <a:lnTo>
                  <a:pt x="2510" y="3589"/>
                </a:lnTo>
                <a:lnTo>
                  <a:pt x="2503" y="3587"/>
                </a:lnTo>
                <a:lnTo>
                  <a:pt x="2496" y="3585"/>
                </a:lnTo>
                <a:lnTo>
                  <a:pt x="2488" y="3583"/>
                </a:lnTo>
                <a:lnTo>
                  <a:pt x="2474" y="3577"/>
                </a:lnTo>
                <a:lnTo>
                  <a:pt x="2461" y="3569"/>
                </a:lnTo>
                <a:lnTo>
                  <a:pt x="2455" y="3565"/>
                </a:lnTo>
                <a:lnTo>
                  <a:pt x="2449" y="3560"/>
                </a:lnTo>
                <a:lnTo>
                  <a:pt x="2443" y="3555"/>
                </a:lnTo>
                <a:lnTo>
                  <a:pt x="2437" y="3550"/>
                </a:lnTo>
                <a:lnTo>
                  <a:pt x="2432" y="3545"/>
                </a:lnTo>
                <a:lnTo>
                  <a:pt x="2425" y="3539"/>
                </a:lnTo>
                <a:lnTo>
                  <a:pt x="2420" y="3533"/>
                </a:lnTo>
                <a:lnTo>
                  <a:pt x="2416" y="3527"/>
                </a:lnTo>
                <a:lnTo>
                  <a:pt x="2411" y="3520"/>
                </a:lnTo>
                <a:lnTo>
                  <a:pt x="2407" y="3513"/>
                </a:lnTo>
                <a:lnTo>
                  <a:pt x="2403" y="3505"/>
                </a:lnTo>
                <a:lnTo>
                  <a:pt x="2400" y="3498"/>
                </a:lnTo>
                <a:lnTo>
                  <a:pt x="2396" y="3490"/>
                </a:lnTo>
                <a:lnTo>
                  <a:pt x="2393" y="3482"/>
                </a:lnTo>
                <a:lnTo>
                  <a:pt x="2391" y="3474"/>
                </a:lnTo>
                <a:lnTo>
                  <a:pt x="2388" y="3466"/>
                </a:lnTo>
                <a:lnTo>
                  <a:pt x="2386" y="3458"/>
                </a:lnTo>
                <a:lnTo>
                  <a:pt x="2385" y="3448"/>
                </a:lnTo>
                <a:lnTo>
                  <a:pt x="2383" y="3439"/>
                </a:lnTo>
                <a:lnTo>
                  <a:pt x="2382" y="3431"/>
                </a:lnTo>
                <a:lnTo>
                  <a:pt x="2382" y="3422"/>
                </a:lnTo>
                <a:lnTo>
                  <a:pt x="2382" y="3412"/>
                </a:lnTo>
                <a:lnTo>
                  <a:pt x="2382" y="3394"/>
                </a:lnTo>
                <a:lnTo>
                  <a:pt x="2383" y="3384"/>
                </a:lnTo>
                <a:lnTo>
                  <a:pt x="2385" y="3374"/>
                </a:lnTo>
                <a:lnTo>
                  <a:pt x="2386" y="3365"/>
                </a:lnTo>
                <a:lnTo>
                  <a:pt x="2389" y="3357"/>
                </a:lnTo>
                <a:lnTo>
                  <a:pt x="2391" y="3348"/>
                </a:lnTo>
                <a:lnTo>
                  <a:pt x="2394" y="3339"/>
                </a:lnTo>
                <a:lnTo>
                  <a:pt x="2397" y="3330"/>
                </a:lnTo>
                <a:lnTo>
                  <a:pt x="2401" y="3322"/>
                </a:lnTo>
                <a:lnTo>
                  <a:pt x="2404" y="3314"/>
                </a:lnTo>
                <a:lnTo>
                  <a:pt x="2408" y="3306"/>
                </a:lnTo>
                <a:lnTo>
                  <a:pt x="2413" y="3298"/>
                </a:lnTo>
                <a:lnTo>
                  <a:pt x="2418" y="3291"/>
                </a:lnTo>
                <a:lnTo>
                  <a:pt x="2428" y="3277"/>
                </a:lnTo>
                <a:lnTo>
                  <a:pt x="2434" y="3269"/>
                </a:lnTo>
                <a:lnTo>
                  <a:pt x="2440" y="3263"/>
                </a:lnTo>
                <a:lnTo>
                  <a:pt x="2452" y="3252"/>
                </a:lnTo>
                <a:lnTo>
                  <a:pt x="2459" y="3247"/>
                </a:lnTo>
                <a:lnTo>
                  <a:pt x="2465" y="3242"/>
                </a:lnTo>
                <a:lnTo>
                  <a:pt x="2472" y="3237"/>
                </a:lnTo>
                <a:lnTo>
                  <a:pt x="2479" y="3233"/>
                </a:lnTo>
                <a:lnTo>
                  <a:pt x="2487" y="3230"/>
                </a:lnTo>
                <a:lnTo>
                  <a:pt x="2495" y="3227"/>
                </a:lnTo>
                <a:lnTo>
                  <a:pt x="2503" y="3224"/>
                </a:lnTo>
                <a:lnTo>
                  <a:pt x="2510" y="3222"/>
                </a:lnTo>
                <a:lnTo>
                  <a:pt x="2518" y="3220"/>
                </a:lnTo>
                <a:lnTo>
                  <a:pt x="2526" y="3219"/>
                </a:lnTo>
                <a:lnTo>
                  <a:pt x="2534" y="3218"/>
                </a:lnTo>
                <a:lnTo>
                  <a:pt x="2543" y="3218"/>
                </a:lnTo>
                <a:lnTo>
                  <a:pt x="2554" y="3218"/>
                </a:lnTo>
                <a:lnTo>
                  <a:pt x="2559" y="3219"/>
                </a:lnTo>
                <a:lnTo>
                  <a:pt x="2563" y="3219"/>
                </a:lnTo>
                <a:lnTo>
                  <a:pt x="2568" y="3220"/>
                </a:lnTo>
                <a:lnTo>
                  <a:pt x="2572" y="3222"/>
                </a:lnTo>
                <a:lnTo>
                  <a:pt x="2581" y="3225"/>
                </a:lnTo>
                <a:lnTo>
                  <a:pt x="2589" y="3229"/>
                </a:lnTo>
                <a:lnTo>
                  <a:pt x="2596" y="3233"/>
                </a:lnTo>
                <a:lnTo>
                  <a:pt x="2603" y="3239"/>
                </a:lnTo>
                <a:lnTo>
                  <a:pt x="2609" y="3245"/>
                </a:lnTo>
                <a:lnTo>
                  <a:pt x="2613" y="3248"/>
                </a:lnTo>
                <a:lnTo>
                  <a:pt x="2615" y="3251"/>
                </a:lnTo>
                <a:lnTo>
                  <a:pt x="2620" y="3258"/>
                </a:lnTo>
                <a:lnTo>
                  <a:pt x="2624" y="3266"/>
                </a:lnTo>
                <a:lnTo>
                  <a:pt x="2627" y="3276"/>
                </a:lnTo>
                <a:lnTo>
                  <a:pt x="2630" y="3284"/>
                </a:lnTo>
                <a:lnTo>
                  <a:pt x="2632" y="3293"/>
                </a:lnTo>
                <a:lnTo>
                  <a:pt x="2633" y="3303"/>
                </a:lnTo>
                <a:lnTo>
                  <a:pt x="2633" y="3313"/>
                </a:lnTo>
                <a:lnTo>
                  <a:pt x="2633" y="3325"/>
                </a:lnTo>
                <a:lnTo>
                  <a:pt x="2632" y="3333"/>
                </a:lnTo>
                <a:lnTo>
                  <a:pt x="2630" y="3339"/>
                </a:lnTo>
                <a:lnTo>
                  <a:pt x="2627" y="3351"/>
                </a:lnTo>
                <a:lnTo>
                  <a:pt x="2622" y="3362"/>
                </a:lnTo>
                <a:lnTo>
                  <a:pt x="2615" y="3373"/>
                </a:lnTo>
                <a:lnTo>
                  <a:pt x="2607" y="3384"/>
                </a:lnTo>
                <a:lnTo>
                  <a:pt x="2603" y="3389"/>
                </a:lnTo>
                <a:lnTo>
                  <a:pt x="2599" y="3395"/>
                </a:lnTo>
                <a:lnTo>
                  <a:pt x="2590" y="3404"/>
                </a:lnTo>
                <a:lnTo>
                  <a:pt x="2580" y="3413"/>
                </a:lnTo>
                <a:lnTo>
                  <a:pt x="2574" y="3416"/>
                </a:lnTo>
                <a:lnTo>
                  <a:pt x="2569" y="3420"/>
                </a:lnTo>
                <a:lnTo>
                  <a:pt x="2558" y="3427"/>
                </a:lnTo>
                <a:lnTo>
                  <a:pt x="2545" y="3432"/>
                </a:lnTo>
                <a:lnTo>
                  <a:pt x="2533" y="3437"/>
                </a:lnTo>
                <a:lnTo>
                  <a:pt x="2527" y="3439"/>
                </a:lnTo>
                <a:lnTo>
                  <a:pt x="2520" y="3440"/>
                </a:lnTo>
                <a:lnTo>
                  <a:pt x="2514" y="3441"/>
                </a:lnTo>
                <a:lnTo>
                  <a:pt x="2508" y="3442"/>
                </a:lnTo>
                <a:lnTo>
                  <a:pt x="2495" y="3443"/>
                </a:lnTo>
                <a:lnTo>
                  <a:pt x="2489" y="3442"/>
                </a:lnTo>
                <a:lnTo>
                  <a:pt x="2484" y="3441"/>
                </a:lnTo>
                <a:lnTo>
                  <a:pt x="2480" y="3438"/>
                </a:lnTo>
                <a:lnTo>
                  <a:pt x="2478" y="3436"/>
                </a:lnTo>
                <a:lnTo>
                  <a:pt x="2476" y="3434"/>
                </a:lnTo>
                <a:lnTo>
                  <a:pt x="2473" y="3429"/>
                </a:lnTo>
                <a:lnTo>
                  <a:pt x="2470" y="3424"/>
                </a:lnTo>
                <a:lnTo>
                  <a:pt x="2469" y="3421"/>
                </a:lnTo>
                <a:lnTo>
                  <a:pt x="2469" y="3418"/>
                </a:lnTo>
                <a:lnTo>
                  <a:pt x="2468" y="3412"/>
                </a:lnTo>
                <a:lnTo>
                  <a:pt x="2468" y="3409"/>
                </a:lnTo>
                <a:lnTo>
                  <a:pt x="2469" y="3406"/>
                </a:lnTo>
                <a:lnTo>
                  <a:pt x="2470" y="3401"/>
                </a:lnTo>
                <a:lnTo>
                  <a:pt x="2471" y="3399"/>
                </a:lnTo>
                <a:lnTo>
                  <a:pt x="2472" y="3397"/>
                </a:lnTo>
                <a:lnTo>
                  <a:pt x="2473" y="3396"/>
                </a:lnTo>
                <a:lnTo>
                  <a:pt x="2475" y="3395"/>
                </a:lnTo>
                <a:lnTo>
                  <a:pt x="2486" y="3393"/>
                </a:lnTo>
                <a:lnTo>
                  <a:pt x="2498" y="3389"/>
                </a:lnTo>
                <a:lnTo>
                  <a:pt x="2508" y="3386"/>
                </a:lnTo>
                <a:lnTo>
                  <a:pt x="2517" y="3382"/>
                </a:lnTo>
                <a:lnTo>
                  <a:pt x="2526" y="3377"/>
                </a:lnTo>
                <a:lnTo>
                  <a:pt x="2535" y="3372"/>
                </a:lnTo>
                <a:lnTo>
                  <a:pt x="2543" y="3367"/>
                </a:lnTo>
                <a:lnTo>
                  <a:pt x="2546" y="3364"/>
                </a:lnTo>
                <a:lnTo>
                  <a:pt x="2551" y="3361"/>
                </a:lnTo>
                <a:lnTo>
                  <a:pt x="2557" y="3354"/>
                </a:lnTo>
                <a:lnTo>
                  <a:pt x="2563" y="3348"/>
                </a:lnTo>
                <a:lnTo>
                  <a:pt x="2568" y="3341"/>
                </a:lnTo>
                <a:lnTo>
                  <a:pt x="2572" y="3334"/>
                </a:lnTo>
                <a:lnTo>
                  <a:pt x="2576" y="3326"/>
                </a:lnTo>
                <a:lnTo>
                  <a:pt x="2578" y="3319"/>
                </a:lnTo>
                <a:lnTo>
                  <a:pt x="2580" y="3312"/>
                </a:lnTo>
                <a:lnTo>
                  <a:pt x="2580" y="3305"/>
                </a:lnTo>
                <a:lnTo>
                  <a:pt x="2579" y="3297"/>
                </a:lnTo>
                <a:lnTo>
                  <a:pt x="2577" y="3290"/>
                </a:lnTo>
                <a:lnTo>
                  <a:pt x="2576" y="3286"/>
                </a:lnTo>
                <a:lnTo>
                  <a:pt x="2574" y="3283"/>
                </a:lnTo>
                <a:lnTo>
                  <a:pt x="2572" y="3281"/>
                </a:lnTo>
                <a:lnTo>
                  <a:pt x="2569" y="3278"/>
                </a:lnTo>
                <a:lnTo>
                  <a:pt x="2563" y="3274"/>
                </a:lnTo>
                <a:lnTo>
                  <a:pt x="2560" y="3272"/>
                </a:lnTo>
                <a:lnTo>
                  <a:pt x="2557" y="3270"/>
                </a:lnTo>
                <a:lnTo>
                  <a:pt x="2548" y="3268"/>
                </a:lnTo>
                <a:lnTo>
                  <a:pt x="2543" y="3267"/>
                </a:lnTo>
                <a:lnTo>
                  <a:pt x="2539" y="3267"/>
                </a:lnTo>
                <a:lnTo>
                  <a:pt x="2530" y="3268"/>
                </a:lnTo>
                <a:lnTo>
                  <a:pt x="2526" y="3269"/>
                </a:lnTo>
                <a:lnTo>
                  <a:pt x="2521" y="3270"/>
                </a:lnTo>
                <a:lnTo>
                  <a:pt x="2517" y="3273"/>
                </a:lnTo>
                <a:lnTo>
                  <a:pt x="2512" y="3275"/>
                </a:lnTo>
                <a:lnTo>
                  <a:pt x="2508" y="3277"/>
                </a:lnTo>
                <a:lnTo>
                  <a:pt x="2504" y="3279"/>
                </a:lnTo>
                <a:lnTo>
                  <a:pt x="2499" y="3282"/>
                </a:lnTo>
                <a:lnTo>
                  <a:pt x="2495" y="3285"/>
                </a:lnTo>
                <a:lnTo>
                  <a:pt x="2486" y="3292"/>
                </a:lnTo>
                <a:lnTo>
                  <a:pt x="2478" y="3300"/>
                </a:lnTo>
                <a:lnTo>
                  <a:pt x="2470" y="3309"/>
                </a:lnTo>
                <a:lnTo>
                  <a:pt x="2467" y="3314"/>
                </a:lnTo>
                <a:lnTo>
                  <a:pt x="2464" y="3319"/>
                </a:lnTo>
                <a:lnTo>
                  <a:pt x="2457" y="3330"/>
                </a:lnTo>
                <a:lnTo>
                  <a:pt x="2452" y="3343"/>
                </a:lnTo>
                <a:lnTo>
                  <a:pt x="2447" y="3355"/>
                </a:lnTo>
                <a:lnTo>
                  <a:pt x="2443" y="3368"/>
                </a:lnTo>
                <a:lnTo>
                  <a:pt x="2440" y="3381"/>
                </a:lnTo>
                <a:lnTo>
                  <a:pt x="2439" y="3396"/>
                </a:lnTo>
                <a:lnTo>
                  <a:pt x="2438" y="3403"/>
                </a:lnTo>
                <a:lnTo>
                  <a:pt x="2438" y="3410"/>
                </a:lnTo>
                <a:lnTo>
                  <a:pt x="2439" y="3423"/>
                </a:lnTo>
                <a:lnTo>
                  <a:pt x="2440" y="3435"/>
                </a:lnTo>
                <a:lnTo>
                  <a:pt x="2442" y="3446"/>
                </a:lnTo>
                <a:lnTo>
                  <a:pt x="2443" y="3453"/>
                </a:lnTo>
                <a:lnTo>
                  <a:pt x="2445" y="3458"/>
                </a:lnTo>
                <a:lnTo>
                  <a:pt x="2449" y="3469"/>
                </a:lnTo>
                <a:lnTo>
                  <a:pt x="2451" y="3474"/>
                </a:lnTo>
                <a:lnTo>
                  <a:pt x="2453" y="3479"/>
                </a:lnTo>
                <a:lnTo>
                  <a:pt x="2456" y="3483"/>
                </a:lnTo>
                <a:lnTo>
                  <a:pt x="2458" y="3488"/>
                </a:lnTo>
                <a:lnTo>
                  <a:pt x="2461" y="3492"/>
                </a:lnTo>
                <a:lnTo>
                  <a:pt x="2464" y="3496"/>
                </a:lnTo>
                <a:lnTo>
                  <a:pt x="2467" y="3500"/>
                </a:lnTo>
                <a:lnTo>
                  <a:pt x="2471" y="3503"/>
                </a:lnTo>
                <a:lnTo>
                  <a:pt x="2478" y="3510"/>
                </a:lnTo>
                <a:lnTo>
                  <a:pt x="2486" y="3517"/>
                </a:lnTo>
                <a:lnTo>
                  <a:pt x="2495" y="3522"/>
                </a:lnTo>
                <a:lnTo>
                  <a:pt x="2505" y="3525"/>
                </a:lnTo>
                <a:lnTo>
                  <a:pt x="2514" y="3528"/>
                </a:lnTo>
                <a:lnTo>
                  <a:pt x="2524" y="3530"/>
                </a:lnTo>
                <a:lnTo>
                  <a:pt x="2530" y="3530"/>
                </a:lnTo>
                <a:lnTo>
                  <a:pt x="2535" y="3530"/>
                </a:lnTo>
                <a:lnTo>
                  <a:pt x="2545" y="3530"/>
                </a:lnTo>
                <a:lnTo>
                  <a:pt x="2557" y="3528"/>
                </a:lnTo>
                <a:lnTo>
                  <a:pt x="2567" y="3526"/>
                </a:lnTo>
                <a:lnTo>
                  <a:pt x="2576" y="3523"/>
                </a:lnTo>
                <a:lnTo>
                  <a:pt x="2585" y="3518"/>
                </a:lnTo>
                <a:lnTo>
                  <a:pt x="2594" y="3513"/>
                </a:lnTo>
                <a:lnTo>
                  <a:pt x="2603" y="3507"/>
                </a:lnTo>
                <a:lnTo>
                  <a:pt x="2612" y="3500"/>
                </a:lnTo>
                <a:lnTo>
                  <a:pt x="2620" y="3493"/>
                </a:lnTo>
                <a:lnTo>
                  <a:pt x="2628" y="3485"/>
                </a:lnTo>
                <a:lnTo>
                  <a:pt x="2635" y="3476"/>
                </a:lnTo>
                <a:lnTo>
                  <a:pt x="2642" y="3467"/>
                </a:lnTo>
                <a:lnTo>
                  <a:pt x="2655" y="3447"/>
                </a:lnTo>
                <a:lnTo>
                  <a:pt x="2661" y="3437"/>
                </a:lnTo>
                <a:lnTo>
                  <a:pt x="2666" y="3426"/>
                </a:lnTo>
                <a:lnTo>
                  <a:pt x="2673" y="3415"/>
                </a:lnTo>
                <a:lnTo>
                  <a:pt x="2678" y="3404"/>
                </a:lnTo>
                <a:lnTo>
                  <a:pt x="2682" y="3392"/>
                </a:lnTo>
                <a:lnTo>
                  <a:pt x="2686" y="3379"/>
                </a:lnTo>
                <a:lnTo>
                  <a:pt x="2690" y="3367"/>
                </a:lnTo>
                <a:lnTo>
                  <a:pt x="2693" y="3355"/>
                </a:lnTo>
                <a:lnTo>
                  <a:pt x="2696" y="3343"/>
                </a:lnTo>
                <a:lnTo>
                  <a:pt x="2699" y="3330"/>
                </a:lnTo>
                <a:lnTo>
                  <a:pt x="2701" y="3318"/>
                </a:lnTo>
                <a:lnTo>
                  <a:pt x="2703" y="3307"/>
                </a:lnTo>
                <a:lnTo>
                  <a:pt x="2705" y="3295"/>
                </a:lnTo>
                <a:lnTo>
                  <a:pt x="2706" y="3283"/>
                </a:lnTo>
                <a:lnTo>
                  <a:pt x="2706" y="3272"/>
                </a:lnTo>
                <a:lnTo>
                  <a:pt x="2707" y="3260"/>
                </a:lnTo>
                <a:lnTo>
                  <a:pt x="2706" y="3249"/>
                </a:lnTo>
                <a:lnTo>
                  <a:pt x="2706" y="3239"/>
                </a:lnTo>
                <a:lnTo>
                  <a:pt x="2707" y="3236"/>
                </a:lnTo>
                <a:lnTo>
                  <a:pt x="2709" y="3234"/>
                </a:lnTo>
                <a:lnTo>
                  <a:pt x="2711" y="3232"/>
                </a:lnTo>
                <a:lnTo>
                  <a:pt x="2714" y="3230"/>
                </a:lnTo>
                <a:lnTo>
                  <a:pt x="2720" y="3227"/>
                </a:lnTo>
                <a:lnTo>
                  <a:pt x="2724" y="3227"/>
                </a:lnTo>
                <a:lnTo>
                  <a:pt x="2728" y="3226"/>
                </a:lnTo>
                <a:lnTo>
                  <a:pt x="2736" y="3227"/>
                </a:lnTo>
                <a:lnTo>
                  <a:pt x="2740" y="3228"/>
                </a:lnTo>
                <a:lnTo>
                  <a:pt x="2743" y="3229"/>
                </a:lnTo>
                <a:lnTo>
                  <a:pt x="2749" y="3231"/>
                </a:lnTo>
                <a:lnTo>
                  <a:pt x="2751" y="3233"/>
                </a:lnTo>
                <a:lnTo>
                  <a:pt x="2754" y="3236"/>
                </a:lnTo>
                <a:lnTo>
                  <a:pt x="2758" y="3241"/>
                </a:lnTo>
                <a:lnTo>
                  <a:pt x="2759" y="3245"/>
                </a:lnTo>
                <a:lnTo>
                  <a:pt x="2761" y="3249"/>
                </a:lnTo>
                <a:lnTo>
                  <a:pt x="2762" y="3253"/>
                </a:lnTo>
                <a:lnTo>
                  <a:pt x="2763" y="3258"/>
                </a:lnTo>
                <a:lnTo>
                  <a:pt x="2763" y="3263"/>
                </a:lnTo>
                <a:lnTo>
                  <a:pt x="2763" y="3269"/>
                </a:lnTo>
                <a:lnTo>
                  <a:pt x="2763" y="3286"/>
                </a:lnTo>
                <a:lnTo>
                  <a:pt x="2762" y="3301"/>
                </a:lnTo>
                <a:lnTo>
                  <a:pt x="2760" y="3316"/>
                </a:lnTo>
                <a:lnTo>
                  <a:pt x="2758" y="3333"/>
                </a:lnTo>
                <a:lnTo>
                  <a:pt x="2756" y="3347"/>
                </a:lnTo>
                <a:lnTo>
                  <a:pt x="2753" y="3362"/>
                </a:lnTo>
                <a:lnTo>
                  <a:pt x="2749" y="3377"/>
                </a:lnTo>
                <a:lnTo>
                  <a:pt x="2745" y="3392"/>
                </a:lnTo>
                <a:lnTo>
                  <a:pt x="2741" y="3406"/>
                </a:lnTo>
                <a:lnTo>
                  <a:pt x="2736" y="3419"/>
                </a:lnTo>
                <a:lnTo>
                  <a:pt x="2731" y="3432"/>
                </a:lnTo>
                <a:lnTo>
                  <a:pt x="2724" y="3445"/>
                </a:lnTo>
                <a:lnTo>
                  <a:pt x="2718" y="3459"/>
                </a:lnTo>
                <a:lnTo>
                  <a:pt x="2711" y="3471"/>
                </a:lnTo>
                <a:lnTo>
                  <a:pt x="2705" y="3482"/>
                </a:lnTo>
                <a:lnTo>
                  <a:pt x="2697" y="3493"/>
                </a:lnTo>
                <a:lnTo>
                  <a:pt x="2690" y="3504"/>
                </a:lnTo>
                <a:lnTo>
                  <a:pt x="2682" y="3515"/>
                </a:lnTo>
                <a:lnTo>
                  <a:pt x="2673" y="3525"/>
                </a:lnTo>
                <a:lnTo>
                  <a:pt x="2663" y="3534"/>
                </a:lnTo>
                <a:lnTo>
                  <a:pt x="2654" y="3542"/>
                </a:lnTo>
                <a:lnTo>
                  <a:pt x="2645" y="3550"/>
                </a:lnTo>
                <a:lnTo>
                  <a:pt x="2635" y="3557"/>
                </a:lnTo>
                <a:lnTo>
                  <a:pt x="2625" y="3564"/>
                </a:lnTo>
                <a:lnTo>
                  <a:pt x="2615" y="3570"/>
                </a:lnTo>
                <a:lnTo>
                  <a:pt x="2603" y="3576"/>
                </a:lnTo>
                <a:lnTo>
                  <a:pt x="2592" y="3580"/>
                </a:lnTo>
                <a:lnTo>
                  <a:pt x="2581" y="3584"/>
                </a:lnTo>
                <a:lnTo>
                  <a:pt x="2570" y="3587"/>
                </a:lnTo>
                <a:lnTo>
                  <a:pt x="2558" y="3589"/>
                </a:lnTo>
                <a:lnTo>
                  <a:pt x="2545" y="3590"/>
                </a:lnTo>
                <a:lnTo>
                  <a:pt x="2533" y="3591"/>
                </a:lnTo>
                <a:close/>
                <a:moveTo>
                  <a:pt x="2921" y="3585"/>
                </a:moveTo>
                <a:lnTo>
                  <a:pt x="2919" y="3585"/>
                </a:lnTo>
                <a:lnTo>
                  <a:pt x="2917" y="3584"/>
                </a:lnTo>
                <a:lnTo>
                  <a:pt x="2911" y="3581"/>
                </a:lnTo>
                <a:lnTo>
                  <a:pt x="2904" y="3577"/>
                </a:lnTo>
                <a:lnTo>
                  <a:pt x="2897" y="3572"/>
                </a:lnTo>
                <a:lnTo>
                  <a:pt x="2884" y="3560"/>
                </a:lnTo>
                <a:lnTo>
                  <a:pt x="2869" y="3546"/>
                </a:lnTo>
                <a:lnTo>
                  <a:pt x="2853" y="3530"/>
                </a:lnTo>
                <a:lnTo>
                  <a:pt x="2835" y="3513"/>
                </a:lnTo>
                <a:lnTo>
                  <a:pt x="2819" y="3495"/>
                </a:lnTo>
                <a:lnTo>
                  <a:pt x="2805" y="3479"/>
                </a:lnTo>
                <a:lnTo>
                  <a:pt x="2794" y="3464"/>
                </a:lnTo>
                <a:lnTo>
                  <a:pt x="2788" y="3458"/>
                </a:lnTo>
                <a:lnTo>
                  <a:pt x="2785" y="3453"/>
                </a:lnTo>
                <a:lnTo>
                  <a:pt x="2780" y="3442"/>
                </a:lnTo>
                <a:lnTo>
                  <a:pt x="2776" y="3432"/>
                </a:lnTo>
                <a:lnTo>
                  <a:pt x="2774" y="3422"/>
                </a:lnTo>
                <a:lnTo>
                  <a:pt x="2773" y="3412"/>
                </a:lnTo>
                <a:lnTo>
                  <a:pt x="2773" y="3407"/>
                </a:lnTo>
                <a:lnTo>
                  <a:pt x="2774" y="3401"/>
                </a:lnTo>
                <a:lnTo>
                  <a:pt x="2775" y="3395"/>
                </a:lnTo>
                <a:lnTo>
                  <a:pt x="2777" y="3388"/>
                </a:lnTo>
                <a:lnTo>
                  <a:pt x="2780" y="3382"/>
                </a:lnTo>
                <a:lnTo>
                  <a:pt x="2783" y="3376"/>
                </a:lnTo>
                <a:lnTo>
                  <a:pt x="2787" y="3369"/>
                </a:lnTo>
                <a:lnTo>
                  <a:pt x="2792" y="3362"/>
                </a:lnTo>
                <a:lnTo>
                  <a:pt x="2801" y="3351"/>
                </a:lnTo>
                <a:lnTo>
                  <a:pt x="2812" y="3338"/>
                </a:lnTo>
                <a:lnTo>
                  <a:pt x="2841" y="3303"/>
                </a:lnTo>
                <a:lnTo>
                  <a:pt x="2877" y="3263"/>
                </a:lnTo>
                <a:lnTo>
                  <a:pt x="2913" y="3223"/>
                </a:lnTo>
                <a:lnTo>
                  <a:pt x="2914" y="3222"/>
                </a:lnTo>
                <a:lnTo>
                  <a:pt x="2918" y="3222"/>
                </a:lnTo>
                <a:lnTo>
                  <a:pt x="2921" y="3222"/>
                </a:lnTo>
                <a:lnTo>
                  <a:pt x="2925" y="3223"/>
                </a:lnTo>
                <a:lnTo>
                  <a:pt x="2930" y="3225"/>
                </a:lnTo>
                <a:lnTo>
                  <a:pt x="2934" y="3228"/>
                </a:lnTo>
                <a:lnTo>
                  <a:pt x="2938" y="3231"/>
                </a:lnTo>
                <a:lnTo>
                  <a:pt x="2942" y="3235"/>
                </a:lnTo>
                <a:lnTo>
                  <a:pt x="2945" y="3239"/>
                </a:lnTo>
                <a:lnTo>
                  <a:pt x="2948" y="3244"/>
                </a:lnTo>
                <a:lnTo>
                  <a:pt x="2950" y="3248"/>
                </a:lnTo>
                <a:lnTo>
                  <a:pt x="2950" y="3253"/>
                </a:lnTo>
                <a:lnTo>
                  <a:pt x="2950" y="3259"/>
                </a:lnTo>
                <a:lnTo>
                  <a:pt x="2948" y="3264"/>
                </a:lnTo>
                <a:lnTo>
                  <a:pt x="2945" y="3270"/>
                </a:lnTo>
                <a:lnTo>
                  <a:pt x="2941" y="3277"/>
                </a:lnTo>
                <a:lnTo>
                  <a:pt x="2933" y="3287"/>
                </a:lnTo>
                <a:lnTo>
                  <a:pt x="2921" y="3300"/>
                </a:lnTo>
                <a:lnTo>
                  <a:pt x="2891" y="3334"/>
                </a:lnTo>
                <a:lnTo>
                  <a:pt x="2862" y="3368"/>
                </a:lnTo>
                <a:lnTo>
                  <a:pt x="2849" y="3382"/>
                </a:lnTo>
                <a:lnTo>
                  <a:pt x="2840" y="3395"/>
                </a:lnTo>
                <a:lnTo>
                  <a:pt x="2837" y="3398"/>
                </a:lnTo>
                <a:lnTo>
                  <a:pt x="2835" y="3402"/>
                </a:lnTo>
                <a:lnTo>
                  <a:pt x="2834" y="3406"/>
                </a:lnTo>
                <a:lnTo>
                  <a:pt x="2834" y="3409"/>
                </a:lnTo>
                <a:lnTo>
                  <a:pt x="2834" y="3414"/>
                </a:lnTo>
                <a:lnTo>
                  <a:pt x="2836" y="3418"/>
                </a:lnTo>
                <a:lnTo>
                  <a:pt x="2838" y="3422"/>
                </a:lnTo>
                <a:lnTo>
                  <a:pt x="2841" y="3427"/>
                </a:lnTo>
                <a:lnTo>
                  <a:pt x="2848" y="3436"/>
                </a:lnTo>
                <a:lnTo>
                  <a:pt x="2860" y="3448"/>
                </a:lnTo>
                <a:lnTo>
                  <a:pt x="2887" y="3478"/>
                </a:lnTo>
                <a:lnTo>
                  <a:pt x="2920" y="3510"/>
                </a:lnTo>
                <a:lnTo>
                  <a:pt x="2951" y="3541"/>
                </a:lnTo>
                <a:lnTo>
                  <a:pt x="2953" y="3543"/>
                </a:lnTo>
                <a:lnTo>
                  <a:pt x="2954" y="3545"/>
                </a:lnTo>
                <a:lnTo>
                  <a:pt x="2955" y="3548"/>
                </a:lnTo>
                <a:lnTo>
                  <a:pt x="2955" y="3550"/>
                </a:lnTo>
                <a:lnTo>
                  <a:pt x="2954" y="3556"/>
                </a:lnTo>
                <a:lnTo>
                  <a:pt x="2953" y="3559"/>
                </a:lnTo>
                <a:lnTo>
                  <a:pt x="2952" y="3561"/>
                </a:lnTo>
                <a:lnTo>
                  <a:pt x="2948" y="3567"/>
                </a:lnTo>
                <a:lnTo>
                  <a:pt x="2946" y="3570"/>
                </a:lnTo>
                <a:lnTo>
                  <a:pt x="2944" y="3573"/>
                </a:lnTo>
                <a:lnTo>
                  <a:pt x="2938" y="3578"/>
                </a:lnTo>
                <a:lnTo>
                  <a:pt x="2936" y="3580"/>
                </a:lnTo>
                <a:lnTo>
                  <a:pt x="2933" y="3582"/>
                </a:lnTo>
                <a:lnTo>
                  <a:pt x="2927" y="3584"/>
                </a:lnTo>
                <a:lnTo>
                  <a:pt x="2924" y="3585"/>
                </a:lnTo>
                <a:lnTo>
                  <a:pt x="2921" y="3585"/>
                </a:lnTo>
                <a:close/>
                <a:moveTo>
                  <a:pt x="2700" y="4321"/>
                </a:moveTo>
                <a:lnTo>
                  <a:pt x="2703" y="4298"/>
                </a:lnTo>
                <a:lnTo>
                  <a:pt x="2706" y="4275"/>
                </a:lnTo>
                <a:lnTo>
                  <a:pt x="2707" y="4253"/>
                </a:lnTo>
                <a:lnTo>
                  <a:pt x="2706" y="4243"/>
                </a:lnTo>
                <a:lnTo>
                  <a:pt x="2706" y="4233"/>
                </a:lnTo>
                <a:lnTo>
                  <a:pt x="2707" y="4229"/>
                </a:lnTo>
                <a:lnTo>
                  <a:pt x="2709" y="4227"/>
                </a:lnTo>
                <a:lnTo>
                  <a:pt x="2711" y="4225"/>
                </a:lnTo>
                <a:lnTo>
                  <a:pt x="2714" y="4223"/>
                </a:lnTo>
                <a:lnTo>
                  <a:pt x="2720" y="4221"/>
                </a:lnTo>
                <a:lnTo>
                  <a:pt x="2724" y="4220"/>
                </a:lnTo>
                <a:lnTo>
                  <a:pt x="2728" y="4220"/>
                </a:lnTo>
                <a:lnTo>
                  <a:pt x="2736" y="4220"/>
                </a:lnTo>
                <a:lnTo>
                  <a:pt x="2740" y="4221"/>
                </a:lnTo>
                <a:lnTo>
                  <a:pt x="2743" y="4222"/>
                </a:lnTo>
                <a:lnTo>
                  <a:pt x="2749" y="4225"/>
                </a:lnTo>
                <a:lnTo>
                  <a:pt x="2751" y="4227"/>
                </a:lnTo>
                <a:lnTo>
                  <a:pt x="2754" y="4229"/>
                </a:lnTo>
                <a:lnTo>
                  <a:pt x="2758" y="4236"/>
                </a:lnTo>
                <a:lnTo>
                  <a:pt x="2759" y="4239"/>
                </a:lnTo>
                <a:lnTo>
                  <a:pt x="2761" y="4243"/>
                </a:lnTo>
                <a:lnTo>
                  <a:pt x="2762" y="4247"/>
                </a:lnTo>
                <a:lnTo>
                  <a:pt x="2763" y="4252"/>
                </a:lnTo>
                <a:lnTo>
                  <a:pt x="2763" y="4258"/>
                </a:lnTo>
                <a:lnTo>
                  <a:pt x="2763" y="4263"/>
                </a:lnTo>
                <a:lnTo>
                  <a:pt x="2763" y="4278"/>
                </a:lnTo>
                <a:lnTo>
                  <a:pt x="2762" y="4293"/>
                </a:lnTo>
                <a:lnTo>
                  <a:pt x="2759" y="4321"/>
                </a:lnTo>
                <a:lnTo>
                  <a:pt x="2700" y="4321"/>
                </a:lnTo>
                <a:close/>
                <a:moveTo>
                  <a:pt x="2398" y="4321"/>
                </a:moveTo>
                <a:lnTo>
                  <a:pt x="2401" y="4315"/>
                </a:lnTo>
                <a:lnTo>
                  <a:pt x="2403" y="4310"/>
                </a:lnTo>
                <a:lnTo>
                  <a:pt x="2409" y="4299"/>
                </a:lnTo>
                <a:lnTo>
                  <a:pt x="2416" y="4287"/>
                </a:lnTo>
                <a:lnTo>
                  <a:pt x="2423" y="4277"/>
                </a:lnTo>
                <a:lnTo>
                  <a:pt x="2431" y="4267"/>
                </a:lnTo>
                <a:lnTo>
                  <a:pt x="2439" y="4258"/>
                </a:lnTo>
                <a:lnTo>
                  <a:pt x="2443" y="4254"/>
                </a:lnTo>
                <a:lnTo>
                  <a:pt x="2448" y="4250"/>
                </a:lnTo>
                <a:lnTo>
                  <a:pt x="2457" y="4243"/>
                </a:lnTo>
                <a:lnTo>
                  <a:pt x="2461" y="4239"/>
                </a:lnTo>
                <a:lnTo>
                  <a:pt x="2466" y="4236"/>
                </a:lnTo>
                <a:lnTo>
                  <a:pt x="2476" y="4229"/>
                </a:lnTo>
                <a:lnTo>
                  <a:pt x="2481" y="4226"/>
                </a:lnTo>
                <a:lnTo>
                  <a:pt x="2486" y="4223"/>
                </a:lnTo>
                <a:lnTo>
                  <a:pt x="2497" y="4219"/>
                </a:lnTo>
                <a:lnTo>
                  <a:pt x="2508" y="4215"/>
                </a:lnTo>
                <a:lnTo>
                  <a:pt x="2520" y="4213"/>
                </a:lnTo>
                <a:lnTo>
                  <a:pt x="2525" y="4212"/>
                </a:lnTo>
                <a:lnTo>
                  <a:pt x="2531" y="4211"/>
                </a:lnTo>
                <a:lnTo>
                  <a:pt x="2543" y="4211"/>
                </a:lnTo>
                <a:lnTo>
                  <a:pt x="2554" y="4211"/>
                </a:lnTo>
                <a:lnTo>
                  <a:pt x="2559" y="4212"/>
                </a:lnTo>
                <a:lnTo>
                  <a:pt x="2563" y="4213"/>
                </a:lnTo>
                <a:lnTo>
                  <a:pt x="2568" y="4214"/>
                </a:lnTo>
                <a:lnTo>
                  <a:pt x="2572" y="4215"/>
                </a:lnTo>
                <a:lnTo>
                  <a:pt x="2581" y="4218"/>
                </a:lnTo>
                <a:lnTo>
                  <a:pt x="2589" y="4222"/>
                </a:lnTo>
                <a:lnTo>
                  <a:pt x="2596" y="4226"/>
                </a:lnTo>
                <a:lnTo>
                  <a:pt x="2603" y="4233"/>
                </a:lnTo>
                <a:lnTo>
                  <a:pt x="2609" y="4239"/>
                </a:lnTo>
                <a:lnTo>
                  <a:pt x="2613" y="4242"/>
                </a:lnTo>
                <a:lnTo>
                  <a:pt x="2615" y="4245"/>
                </a:lnTo>
                <a:lnTo>
                  <a:pt x="2620" y="4253"/>
                </a:lnTo>
                <a:lnTo>
                  <a:pt x="2624" y="4260"/>
                </a:lnTo>
                <a:lnTo>
                  <a:pt x="2627" y="4269"/>
                </a:lnTo>
                <a:lnTo>
                  <a:pt x="2630" y="4277"/>
                </a:lnTo>
                <a:lnTo>
                  <a:pt x="2632" y="4287"/>
                </a:lnTo>
                <a:lnTo>
                  <a:pt x="2633" y="4297"/>
                </a:lnTo>
                <a:lnTo>
                  <a:pt x="2633" y="4307"/>
                </a:lnTo>
                <a:lnTo>
                  <a:pt x="2633" y="4314"/>
                </a:lnTo>
                <a:lnTo>
                  <a:pt x="2632" y="4321"/>
                </a:lnTo>
                <a:lnTo>
                  <a:pt x="2575" y="4321"/>
                </a:lnTo>
                <a:lnTo>
                  <a:pt x="2577" y="4316"/>
                </a:lnTo>
                <a:lnTo>
                  <a:pt x="2579" y="4310"/>
                </a:lnTo>
                <a:lnTo>
                  <a:pt x="2580" y="4305"/>
                </a:lnTo>
                <a:lnTo>
                  <a:pt x="2580" y="4299"/>
                </a:lnTo>
                <a:lnTo>
                  <a:pt x="2579" y="4290"/>
                </a:lnTo>
                <a:lnTo>
                  <a:pt x="2577" y="4283"/>
                </a:lnTo>
                <a:lnTo>
                  <a:pt x="2576" y="4280"/>
                </a:lnTo>
                <a:lnTo>
                  <a:pt x="2574" y="4277"/>
                </a:lnTo>
                <a:lnTo>
                  <a:pt x="2572" y="4274"/>
                </a:lnTo>
                <a:lnTo>
                  <a:pt x="2569" y="4271"/>
                </a:lnTo>
                <a:lnTo>
                  <a:pt x="2563" y="4267"/>
                </a:lnTo>
                <a:lnTo>
                  <a:pt x="2560" y="4265"/>
                </a:lnTo>
                <a:lnTo>
                  <a:pt x="2557" y="4264"/>
                </a:lnTo>
                <a:lnTo>
                  <a:pt x="2548" y="4262"/>
                </a:lnTo>
                <a:lnTo>
                  <a:pt x="2543" y="4262"/>
                </a:lnTo>
                <a:lnTo>
                  <a:pt x="2539" y="4261"/>
                </a:lnTo>
                <a:lnTo>
                  <a:pt x="2533" y="4262"/>
                </a:lnTo>
                <a:lnTo>
                  <a:pt x="2528" y="4263"/>
                </a:lnTo>
                <a:lnTo>
                  <a:pt x="2517" y="4266"/>
                </a:lnTo>
                <a:lnTo>
                  <a:pt x="2512" y="4268"/>
                </a:lnTo>
                <a:lnTo>
                  <a:pt x="2507" y="4271"/>
                </a:lnTo>
                <a:lnTo>
                  <a:pt x="2496" y="4278"/>
                </a:lnTo>
                <a:lnTo>
                  <a:pt x="2491" y="4282"/>
                </a:lnTo>
                <a:lnTo>
                  <a:pt x="2485" y="4286"/>
                </a:lnTo>
                <a:lnTo>
                  <a:pt x="2480" y="4292"/>
                </a:lnTo>
                <a:lnTo>
                  <a:pt x="2476" y="4297"/>
                </a:lnTo>
                <a:lnTo>
                  <a:pt x="2467" y="4308"/>
                </a:lnTo>
                <a:lnTo>
                  <a:pt x="2459" y="4321"/>
                </a:lnTo>
                <a:lnTo>
                  <a:pt x="2398" y="4321"/>
                </a:lnTo>
                <a:close/>
                <a:moveTo>
                  <a:pt x="2820" y="4321"/>
                </a:moveTo>
                <a:lnTo>
                  <a:pt x="2865" y="4271"/>
                </a:lnTo>
                <a:lnTo>
                  <a:pt x="2889" y="4244"/>
                </a:lnTo>
                <a:lnTo>
                  <a:pt x="2913" y="4216"/>
                </a:lnTo>
                <a:lnTo>
                  <a:pt x="2914" y="4216"/>
                </a:lnTo>
                <a:lnTo>
                  <a:pt x="2918" y="4215"/>
                </a:lnTo>
                <a:lnTo>
                  <a:pt x="2921" y="4216"/>
                </a:lnTo>
                <a:lnTo>
                  <a:pt x="2925" y="4217"/>
                </a:lnTo>
                <a:lnTo>
                  <a:pt x="2930" y="4219"/>
                </a:lnTo>
                <a:lnTo>
                  <a:pt x="2934" y="4221"/>
                </a:lnTo>
                <a:lnTo>
                  <a:pt x="2938" y="4224"/>
                </a:lnTo>
                <a:lnTo>
                  <a:pt x="2942" y="4228"/>
                </a:lnTo>
                <a:lnTo>
                  <a:pt x="2945" y="4233"/>
                </a:lnTo>
                <a:lnTo>
                  <a:pt x="2948" y="4238"/>
                </a:lnTo>
                <a:lnTo>
                  <a:pt x="2950" y="4243"/>
                </a:lnTo>
                <a:lnTo>
                  <a:pt x="2950" y="4247"/>
                </a:lnTo>
                <a:lnTo>
                  <a:pt x="2950" y="4253"/>
                </a:lnTo>
                <a:lnTo>
                  <a:pt x="2948" y="4258"/>
                </a:lnTo>
                <a:lnTo>
                  <a:pt x="2945" y="4264"/>
                </a:lnTo>
                <a:lnTo>
                  <a:pt x="2941" y="4270"/>
                </a:lnTo>
                <a:lnTo>
                  <a:pt x="2934" y="4279"/>
                </a:lnTo>
                <a:lnTo>
                  <a:pt x="2924" y="4292"/>
                </a:lnTo>
                <a:lnTo>
                  <a:pt x="2897" y="4321"/>
                </a:lnTo>
                <a:lnTo>
                  <a:pt x="2820" y="4321"/>
                </a:lnTo>
                <a:close/>
                <a:moveTo>
                  <a:pt x="251" y="3591"/>
                </a:moveTo>
                <a:lnTo>
                  <a:pt x="243" y="3591"/>
                </a:lnTo>
                <a:lnTo>
                  <a:pt x="235" y="3590"/>
                </a:lnTo>
                <a:lnTo>
                  <a:pt x="228" y="3589"/>
                </a:lnTo>
                <a:lnTo>
                  <a:pt x="220" y="3587"/>
                </a:lnTo>
                <a:lnTo>
                  <a:pt x="213" y="3585"/>
                </a:lnTo>
                <a:lnTo>
                  <a:pt x="205" y="3583"/>
                </a:lnTo>
                <a:lnTo>
                  <a:pt x="191" y="3577"/>
                </a:lnTo>
                <a:lnTo>
                  <a:pt x="178" y="3569"/>
                </a:lnTo>
                <a:lnTo>
                  <a:pt x="172" y="3565"/>
                </a:lnTo>
                <a:lnTo>
                  <a:pt x="166" y="3560"/>
                </a:lnTo>
                <a:lnTo>
                  <a:pt x="160" y="3555"/>
                </a:lnTo>
                <a:lnTo>
                  <a:pt x="155" y="3550"/>
                </a:lnTo>
                <a:lnTo>
                  <a:pt x="148" y="3545"/>
                </a:lnTo>
                <a:lnTo>
                  <a:pt x="143" y="3539"/>
                </a:lnTo>
                <a:lnTo>
                  <a:pt x="138" y="3533"/>
                </a:lnTo>
                <a:lnTo>
                  <a:pt x="133" y="3527"/>
                </a:lnTo>
                <a:lnTo>
                  <a:pt x="129" y="3520"/>
                </a:lnTo>
                <a:lnTo>
                  <a:pt x="125" y="3513"/>
                </a:lnTo>
                <a:lnTo>
                  <a:pt x="121" y="3505"/>
                </a:lnTo>
                <a:lnTo>
                  <a:pt x="117" y="3498"/>
                </a:lnTo>
                <a:lnTo>
                  <a:pt x="114" y="3490"/>
                </a:lnTo>
                <a:lnTo>
                  <a:pt x="111" y="3482"/>
                </a:lnTo>
                <a:lnTo>
                  <a:pt x="108" y="3474"/>
                </a:lnTo>
                <a:lnTo>
                  <a:pt x="106" y="3466"/>
                </a:lnTo>
                <a:lnTo>
                  <a:pt x="104" y="3458"/>
                </a:lnTo>
                <a:lnTo>
                  <a:pt x="102" y="3448"/>
                </a:lnTo>
                <a:lnTo>
                  <a:pt x="101" y="3439"/>
                </a:lnTo>
                <a:lnTo>
                  <a:pt x="100" y="3431"/>
                </a:lnTo>
                <a:lnTo>
                  <a:pt x="99" y="3422"/>
                </a:lnTo>
                <a:lnTo>
                  <a:pt x="99" y="3412"/>
                </a:lnTo>
                <a:lnTo>
                  <a:pt x="100" y="3394"/>
                </a:lnTo>
                <a:lnTo>
                  <a:pt x="101" y="3384"/>
                </a:lnTo>
                <a:lnTo>
                  <a:pt x="102" y="3374"/>
                </a:lnTo>
                <a:lnTo>
                  <a:pt x="104" y="3365"/>
                </a:lnTo>
                <a:lnTo>
                  <a:pt x="106" y="3357"/>
                </a:lnTo>
                <a:lnTo>
                  <a:pt x="109" y="3348"/>
                </a:lnTo>
                <a:lnTo>
                  <a:pt x="111" y="3339"/>
                </a:lnTo>
                <a:lnTo>
                  <a:pt x="115" y="3330"/>
                </a:lnTo>
                <a:lnTo>
                  <a:pt x="118" y="3322"/>
                </a:lnTo>
                <a:lnTo>
                  <a:pt x="122" y="3314"/>
                </a:lnTo>
                <a:lnTo>
                  <a:pt x="126" y="3306"/>
                </a:lnTo>
                <a:lnTo>
                  <a:pt x="130" y="3298"/>
                </a:lnTo>
                <a:lnTo>
                  <a:pt x="135" y="3291"/>
                </a:lnTo>
                <a:lnTo>
                  <a:pt x="145" y="3277"/>
                </a:lnTo>
                <a:lnTo>
                  <a:pt x="152" y="3269"/>
                </a:lnTo>
                <a:lnTo>
                  <a:pt x="158" y="3263"/>
                </a:lnTo>
                <a:lnTo>
                  <a:pt x="170" y="3252"/>
                </a:lnTo>
                <a:lnTo>
                  <a:pt x="176" y="3247"/>
                </a:lnTo>
                <a:lnTo>
                  <a:pt x="183" y="3242"/>
                </a:lnTo>
                <a:lnTo>
                  <a:pt x="190" y="3237"/>
                </a:lnTo>
                <a:lnTo>
                  <a:pt x="197" y="3233"/>
                </a:lnTo>
                <a:lnTo>
                  <a:pt x="204" y="3230"/>
                </a:lnTo>
                <a:lnTo>
                  <a:pt x="212" y="3227"/>
                </a:lnTo>
                <a:lnTo>
                  <a:pt x="220" y="3224"/>
                </a:lnTo>
                <a:lnTo>
                  <a:pt x="228" y="3222"/>
                </a:lnTo>
                <a:lnTo>
                  <a:pt x="236" y="3220"/>
                </a:lnTo>
                <a:lnTo>
                  <a:pt x="244" y="3219"/>
                </a:lnTo>
                <a:lnTo>
                  <a:pt x="252" y="3218"/>
                </a:lnTo>
                <a:lnTo>
                  <a:pt x="260" y="3218"/>
                </a:lnTo>
                <a:lnTo>
                  <a:pt x="271" y="3218"/>
                </a:lnTo>
                <a:lnTo>
                  <a:pt x="276" y="3219"/>
                </a:lnTo>
                <a:lnTo>
                  <a:pt x="281" y="3219"/>
                </a:lnTo>
                <a:lnTo>
                  <a:pt x="286" y="3220"/>
                </a:lnTo>
                <a:lnTo>
                  <a:pt x="290" y="3222"/>
                </a:lnTo>
                <a:lnTo>
                  <a:pt x="298" y="3225"/>
                </a:lnTo>
                <a:lnTo>
                  <a:pt x="306" y="3229"/>
                </a:lnTo>
                <a:lnTo>
                  <a:pt x="314" y="3233"/>
                </a:lnTo>
                <a:lnTo>
                  <a:pt x="320" y="3239"/>
                </a:lnTo>
                <a:lnTo>
                  <a:pt x="326" y="3245"/>
                </a:lnTo>
                <a:lnTo>
                  <a:pt x="329" y="3248"/>
                </a:lnTo>
                <a:lnTo>
                  <a:pt x="333" y="3251"/>
                </a:lnTo>
                <a:lnTo>
                  <a:pt x="338" y="3258"/>
                </a:lnTo>
                <a:lnTo>
                  <a:pt x="342" y="3266"/>
                </a:lnTo>
                <a:lnTo>
                  <a:pt x="345" y="3276"/>
                </a:lnTo>
                <a:lnTo>
                  <a:pt x="348" y="3284"/>
                </a:lnTo>
                <a:lnTo>
                  <a:pt x="349" y="3293"/>
                </a:lnTo>
                <a:lnTo>
                  <a:pt x="351" y="3303"/>
                </a:lnTo>
                <a:lnTo>
                  <a:pt x="351" y="3313"/>
                </a:lnTo>
                <a:lnTo>
                  <a:pt x="350" y="3325"/>
                </a:lnTo>
                <a:lnTo>
                  <a:pt x="349" y="3333"/>
                </a:lnTo>
                <a:lnTo>
                  <a:pt x="348" y="3339"/>
                </a:lnTo>
                <a:lnTo>
                  <a:pt x="344" y="3351"/>
                </a:lnTo>
                <a:lnTo>
                  <a:pt x="339" y="3362"/>
                </a:lnTo>
                <a:lnTo>
                  <a:pt x="333" y="3373"/>
                </a:lnTo>
                <a:lnTo>
                  <a:pt x="325" y="3384"/>
                </a:lnTo>
                <a:lnTo>
                  <a:pt x="321" y="3389"/>
                </a:lnTo>
                <a:lnTo>
                  <a:pt x="316" y="3395"/>
                </a:lnTo>
                <a:lnTo>
                  <a:pt x="307" y="3404"/>
                </a:lnTo>
                <a:lnTo>
                  <a:pt x="297" y="3413"/>
                </a:lnTo>
                <a:lnTo>
                  <a:pt x="292" y="3416"/>
                </a:lnTo>
                <a:lnTo>
                  <a:pt x="286" y="3420"/>
                </a:lnTo>
                <a:lnTo>
                  <a:pt x="275" y="3427"/>
                </a:lnTo>
                <a:lnTo>
                  <a:pt x="262" y="3432"/>
                </a:lnTo>
                <a:lnTo>
                  <a:pt x="250" y="3437"/>
                </a:lnTo>
                <a:lnTo>
                  <a:pt x="244" y="3439"/>
                </a:lnTo>
                <a:lnTo>
                  <a:pt x="238" y="3440"/>
                </a:lnTo>
                <a:lnTo>
                  <a:pt x="232" y="3441"/>
                </a:lnTo>
                <a:lnTo>
                  <a:pt x="225" y="3442"/>
                </a:lnTo>
                <a:lnTo>
                  <a:pt x="213" y="3443"/>
                </a:lnTo>
                <a:lnTo>
                  <a:pt x="207" y="3442"/>
                </a:lnTo>
                <a:lnTo>
                  <a:pt x="202" y="3441"/>
                </a:lnTo>
                <a:lnTo>
                  <a:pt x="197" y="3438"/>
                </a:lnTo>
                <a:lnTo>
                  <a:pt x="195" y="3436"/>
                </a:lnTo>
                <a:lnTo>
                  <a:pt x="193" y="3434"/>
                </a:lnTo>
                <a:lnTo>
                  <a:pt x="190" y="3429"/>
                </a:lnTo>
                <a:lnTo>
                  <a:pt x="188" y="3424"/>
                </a:lnTo>
                <a:lnTo>
                  <a:pt x="187" y="3421"/>
                </a:lnTo>
                <a:lnTo>
                  <a:pt x="186" y="3418"/>
                </a:lnTo>
                <a:lnTo>
                  <a:pt x="186" y="3412"/>
                </a:lnTo>
                <a:lnTo>
                  <a:pt x="186" y="3409"/>
                </a:lnTo>
                <a:lnTo>
                  <a:pt x="186" y="3406"/>
                </a:lnTo>
                <a:lnTo>
                  <a:pt x="187" y="3401"/>
                </a:lnTo>
                <a:lnTo>
                  <a:pt x="188" y="3399"/>
                </a:lnTo>
                <a:lnTo>
                  <a:pt x="189" y="3397"/>
                </a:lnTo>
                <a:lnTo>
                  <a:pt x="191" y="3396"/>
                </a:lnTo>
                <a:lnTo>
                  <a:pt x="193" y="3395"/>
                </a:lnTo>
                <a:lnTo>
                  <a:pt x="204" y="3393"/>
                </a:lnTo>
                <a:lnTo>
                  <a:pt x="215" y="3389"/>
                </a:lnTo>
                <a:lnTo>
                  <a:pt x="225" y="3386"/>
                </a:lnTo>
                <a:lnTo>
                  <a:pt x="235" y="3382"/>
                </a:lnTo>
                <a:lnTo>
                  <a:pt x="244" y="3377"/>
                </a:lnTo>
                <a:lnTo>
                  <a:pt x="252" y="3372"/>
                </a:lnTo>
                <a:lnTo>
                  <a:pt x="260" y="3367"/>
                </a:lnTo>
                <a:lnTo>
                  <a:pt x="264" y="3364"/>
                </a:lnTo>
                <a:lnTo>
                  <a:pt x="267" y="3361"/>
                </a:lnTo>
                <a:lnTo>
                  <a:pt x="275" y="3354"/>
                </a:lnTo>
                <a:lnTo>
                  <a:pt x="281" y="3348"/>
                </a:lnTo>
                <a:lnTo>
                  <a:pt x="286" y="3341"/>
                </a:lnTo>
                <a:lnTo>
                  <a:pt x="290" y="3334"/>
                </a:lnTo>
                <a:lnTo>
                  <a:pt x="293" y="3326"/>
                </a:lnTo>
                <a:lnTo>
                  <a:pt x="296" y="3319"/>
                </a:lnTo>
                <a:lnTo>
                  <a:pt x="297" y="3312"/>
                </a:lnTo>
                <a:lnTo>
                  <a:pt x="298" y="3305"/>
                </a:lnTo>
                <a:lnTo>
                  <a:pt x="297" y="3297"/>
                </a:lnTo>
                <a:lnTo>
                  <a:pt x="295" y="3290"/>
                </a:lnTo>
                <a:lnTo>
                  <a:pt x="293" y="3286"/>
                </a:lnTo>
                <a:lnTo>
                  <a:pt x="291" y="3283"/>
                </a:lnTo>
                <a:lnTo>
                  <a:pt x="289" y="3281"/>
                </a:lnTo>
                <a:lnTo>
                  <a:pt x="287" y="3278"/>
                </a:lnTo>
                <a:lnTo>
                  <a:pt x="281" y="3274"/>
                </a:lnTo>
                <a:lnTo>
                  <a:pt x="278" y="3272"/>
                </a:lnTo>
                <a:lnTo>
                  <a:pt x="274" y="3270"/>
                </a:lnTo>
                <a:lnTo>
                  <a:pt x="265" y="3268"/>
                </a:lnTo>
                <a:lnTo>
                  <a:pt x="261" y="3267"/>
                </a:lnTo>
                <a:lnTo>
                  <a:pt x="256" y="3267"/>
                </a:lnTo>
                <a:lnTo>
                  <a:pt x="248" y="3268"/>
                </a:lnTo>
                <a:lnTo>
                  <a:pt x="243" y="3269"/>
                </a:lnTo>
                <a:lnTo>
                  <a:pt x="239" y="3270"/>
                </a:lnTo>
                <a:lnTo>
                  <a:pt x="234" y="3273"/>
                </a:lnTo>
                <a:lnTo>
                  <a:pt x="230" y="3275"/>
                </a:lnTo>
                <a:lnTo>
                  <a:pt x="225" y="3277"/>
                </a:lnTo>
                <a:lnTo>
                  <a:pt x="221" y="3279"/>
                </a:lnTo>
                <a:lnTo>
                  <a:pt x="217" y="3282"/>
                </a:lnTo>
                <a:lnTo>
                  <a:pt x="213" y="3285"/>
                </a:lnTo>
                <a:lnTo>
                  <a:pt x="203" y="3292"/>
                </a:lnTo>
                <a:lnTo>
                  <a:pt x="195" y="3300"/>
                </a:lnTo>
                <a:lnTo>
                  <a:pt x="188" y="3309"/>
                </a:lnTo>
                <a:lnTo>
                  <a:pt x="184" y="3314"/>
                </a:lnTo>
                <a:lnTo>
                  <a:pt x="181" y="3319"/>
                </a:lnTo>
                <a:lnTo>
                  <a:pt x="175" y="3330"/>
                </a:lnTo>
                <a:lnTo>
                  <a:pt x="169" y="3343"/>
                </a:lnTo>
                <a:lnTo>
                  <a:pt x="165" y="3355"/>
                </a:lnTo>
                <a:lnTo>
                  <a:pt x="161" y="3368"/>
                </a:lnTo>
                <a:lnTo>
                  <a:pt x="158" y="3381"/>
                </a:lnTo>
                <a:lnTo>
                  <a:pt x="156" y="3396"/>
                </a:lnTo>
                <a:lnTo>
                  <a:pt x="156" y="3403"/>
                </a:lnTo>
                <a:lnTo>
                  <a:pt x="156" y="3410"/>
                </a:lnTo>
                <a:lnTo>
                  <a:pt x="156" y="3423"/>
                </a:lnTo>
                <a:lnTo>
                  <a:pt x="157" y="3435"/>
                </a:lnTo>
                <a:lnTo>
                  <a:pt x="160" y="3446"/>
                </a:lnTo>
                <a:lnTo>
                  <a:pt x="161" y="3453"/>
                </a:lnTo>
                <a:lnTo>
                  <a:pt x="162" y="3458"/>
                </a:lnTo>
                <a:lnTo>
                  <a:pt x="166" y="3469"/>
                </a:lnTo>
                <a:lnTo>
                  <a:pt x="168" y="3474"/>
                </a:lnTo>
                <a:lnTo>
                  <a:pt x="171" y="3479"/>
                </a:lnTo>
                <a:lnTo>
                  <a:pt x="173" y="3483"/>
                </a:lnTo>
                <a:lnTo>
                  <a:pt x="176" y="3488"/>
                </a:lnTo>
                <a:lnTo>
                  <a:pt x="179" y="3492"/>
                </a:lnTo>
                <a:lnTo>
                  <a:pt x="182" y="3496"/>
                </a:lnTo>
                <a:lnTo>
                  <a:pt x="185" y="3500"/>
                </a:lnTo>
                <a:lnTo>
                  <a:pt x="188" y="3503"/>
                </a:lnTo>
                <a:lnTo>
                  <a:pt x="196" y="3510"/>
                </a:lnTo>
                <a:lnTo>
                  <a:pt x="203" y="3517"/>
                </a:lnTo>
                <a:lnTo>
                  <a:pt x="213" y="3522"/>
                </a:lnTo>
                <a:lnTo>
                  <a:pt x="222" y="3525"/>
                </a:lnTo>
                <a:lnTo>
                  <a:pt x="232" y="3528"/>
                </a:lnTo>
                <a:lnTo>
                  <a:pt x="242" y="3530"/>
                </a:lnTo>
                <a:lnTo>
                  <a:pt x="247" y="3530"/>
                </a:lnTo>
                <a:lnTo>
                  <a:pt x="252" y="3530"/>
                </a:lnTo>
                <a:lnTo>
                  <a:pt x="263" y="3530"/>
                </a:lnTo>
                <a:lnTo>
                  <a:pt x="274" y="3528"/>
                </a:lnTo>
                <a:lnTo>
                  <a:pt x="284" y="3526"/>
                </a:lnTo>
                <a:lnTo>
                  <a:pt x="294" y="3523"/>
                </a:lnTo>
                <a:lnTo>
                  <a:pt x="303" y="3518"/>
                </a:lnTo>
                <a:lnTo>
                  <a:pt x="312" y="3513"/>
                </a:lnTo>
                <a:lnTo>
                  <a:pt x="320" y="3507"/>
                </a:lnTo>
                <a:lnTo>
                  <a:pt x="329" y="3500"/>
                </a:lnTo>
                <a:lnTo>
                  <a:pt x="338" y="3493"/>
                </a:lnTo>
                <a:lnTo>
                  <a:pt x="345" y="3485"/>
                </a:lnTo>
                <a:lnTo>
                  <a:pt x="353" y="3476"/>
                </a:lnTo>
                <a:lnTo>
                  <a:pt x="360" y="3467"/>
                </a:lnTo>
                <a:lnTo>
                  <a:pt x="373" y="3447"/>
                </a:lnTo>
                <a:lnTo>
                  <a:pt x="378" y="3437"/>
                </a:lnTo>
                <a:lnTo>
                  <a:pt x="384" y="3426"/>
                </a:lnTo>
                <a:lnTo>
                  <a:pt x="389" y="3415"/>
                </a:lnTo>
                <a:lnTo>
                  <a:pt x="395" y="3404"/>
                </a:lnTo>
                <a:lnTo>
                  <a:pt x="400" y="3392"/>
                </a:lnTo>
                <a:lnTo>
                  <a:pt x="404" y="3379"/>
                </a:lnTo>
                <a:lnTo>
                  <a:pt x="407" y="3367"/>
                </a:lnTo>
                <a:lnTo>
                  <a:pt x="411" y="3355"/>
                </a:lnTo>
                <a:lnTo>
                  <a:pt x="414" y="3343"/>
                </a:lnTo>
                <a:lnTo>
                  <a:pt x="416" y="3330"/>
                </a:lnTo>
                <a:lnTo>
                  <a:pt x="419" y="3318"/>
                </a:lnTo>
                <a:lnTo>
                  <a:pt x="421" y="3307"/>
                </a:lnTo>
                <a:lnTo>
                  <a:pt x="422" y="3295"/>
                </a:lnTo>
                <a:lnTo>
                  <a:pt x="423" y="3283"/>
                </a:lnTo>
                <a:lnTo>
                  <a:pt x="424" y="3272"/>
                </a:lnTo>
                <a:lnTo>
                  <a:pt x="424" y="3260"/>
                </a:lnTo>
                <a:lnTo>
                  <a:pt x="424" y="3249"/>
                </a:lnTo>
                <a:lnTo>
                  <a:pt x="423" y="3239"/>
                </a:lnTo>
                <a:lnTo>
                  <a:pt x="425" y="3236"/>
                </a:lnTo>
                <a:lnTo>
                  <a:pt x="426" y="3234"/>
                </a:lnTo>
                <a:lnTo>
                  <a:pt x="428" y="3232"/>
                </a:lnTo>
                <a:lnTo>
                  <a:pt x="431" y="3230"/>
                </a:lnTo>
                <a:lnTo>
                  <a:pt x="438" y="3227"/>
                </a:lnTo>
                <a:lnTo>
                  <a:pt x="442" y="3227"/>
                </a:lnTo>
                <a:lnTo>
                  <a:pt x="446" y="3226"/>
                </a:lnTo>
                <a:lnTo>
                  <a:pt x="454" y="3227"/>
                </a:lnTo>
                <a:lnTo>
                  <a:pt x="457" y="3228"/>
                </a:lnTo>
                <a:lnTo>
                  <a:pt x="461" y="3229"/>
                </a:lnTo>
                <a:lnTo>
                  <a:pt x="466" y="3231"/>
                </a:lnTo>
                <a:lnTo>
                  <a:pt x="469" y="3233"/>
                </a:lnTo>
                <a:lnTo>
                  <a:pt x="471" y="3236"/>
                </a:lnTo>
                <a:lnTo>
                  <a:pt x="475" y="3241"/>
                </a:lnTo>
                <a:lnTo>
                  <a:pt x="477" y="3245"/>
                </a:lnTo>
                <a:lnTo>
                  <a:pt x="478" y="3249"/>
                </a:lnTo>
                <a:lnTo>
                  <a:pt x="479" y="3253"/>
                </a:lnTo>
                <a:lnTo>
                  <a:pt x="480" y="3258"/>
                </a:lnTo>
                <a:lnTo>
                  <a:pt x="481" y="3263"/>
                </a:lnTo>
                <a:lnTo>
                  <a:pt x="481" y="3269"/>
                </a:lnTo>
                <a:lnTo>
                  <a:pt x="480" y="3286"/>
                </a:lnTo>
                <a:lnTo>
                  <a:pt x="479" y="3301"/>
                </a:lnTo>
                <a:lnTo>
                  <a:pt x="478" y="3316"/>
                </a:lnTo>
                <a:lnTo>
                  <a:pt x="476" y="3333"/>
                </a:lnTo>
                <a:lnTo>
                  <a:pt x="473" y="3347"/>
                </a:lnTo>
                <a:lnTo>
                  <a:pt x="470" y="3362"/>
                </a:lnTo>
                <a:lnTo>
                  <a:pt x="467" y="3377"/>
                </a:lnTo>
                <a:lnTo>
                  <a:pt x="463" y="3392"/>
                </a:lnTo>
                <a:lnTo>
                  <a:pt x="458" y="3406"/>
                </a:lnTo>
                <a:lnTo>
                  <a:pt x="454" y="3419"/>
                </a:lnTo>
                <a:lnTo>
                  <a:pt x="447" y="3432"/>
                </a:lnTo>
                <a:lnTo>
                  <a:pt x="442" y="3445"/>
                </a:lnTo>
                <a:lnTo>
                  <a:pt x="435" y="3459"/>
                </a:lnTo>
                <a:lnTo>
                  <a:pt x="429" y="3471"/>
                </a:lnTo>
                <a:lnTo>
                  <a:pt x="422" y="3482"/>
                </a:lnTo>
                <a:lnTo>
                  <a:pt x="415" y="3493"/>
                </a:lnTo>
                <a:lnTo>
                  <a:pt x="407" y="3504"/>
                </a:lnTo>
                <a:lnTo>
                  <a:pt x="399" y="3515"/>
                </a:lnTo>
                <a:lnTo>
                  <a:pt x="391" y="3525"/>
                </a:lnTo>
                <a:lnTo>
                  <a:pt x="381" y="3534"/>
                </a:lnTo>
                <a:lnTo>
                  <a:pt x="372" y="3542"/>
                </a:lnTo>
                <a:lnTo>
                  <a:pt x="363" y="3550"/>
                </a:lnTo>
                <a:lnTo>
                  <a:pt x="353" y="3557"/>
                </a:lnTo>
                <a:lnTo>
                  <a:pt x="343" y="3564"/>
                </a:lnTo>
                <a:lnTo>
                  <a:pt x="332" y="3570"/>
                </a:lnTo>
                <a:lnTo>
                  <a:pt x="321" y="3576"/>
                </a:lnTo>
                <a:lnTo>
                  <a:pt x="310" y="3580"/>
                </a:lnTo>
                <a:lnTo>
                  <a:pt x="299" y="3584"/>
                </a:lnTo>
                <a:lnTo>
                  <a:pt x="287" y="3587"/>
                </a:lnTo>
                <a:lnTo>
                  <a:pt x="276" y="3589"/>
                </a:lnTo>
                <a:lnTo>
                  <a:pt x="263" y="3590"/>
                </a:lnTo>
                <a:lnTo>
                  <a:pt x="251" y="3591"/>
                </a:lnTo>
                <a:close/>
                <a:moveTo>
                  <a:pt x="638" y="3585"/>
                </a:moveTo>
                <a:lnTo>
                  <a:pt x="636" y="3585"/>
                </a:lnTo>
                <a:lnTo>
                  <a:pt x="634" y="3584"/>
                </a:lnTo>
                <a:lnTo>
                  <a:pt x="628" y="3581"/>
                </a:lnTo>
                <a:lnTo>
                  <a:pt x="622" y="3577"/>
                </a:lnTo>
                <a:lnTo>
                  <a:pt x="614" y="3572"/>
                </a:lnTo>
                <a:lnTo>
                  <a:pt x="602" y="3560"/>
                </a:lnTo>
                <a:lnTo>
                  <a:pt x="587" y="3546"/>
                </a:lnTo>
                <a:lnTo>
                  <a:pt x="569" y="3530"/>
                </a:lnTo>
                <a:lnTo>
                  <a:pt x="553" y="3513"/>
                </a:lnTo>
                <a:lnTo>
                  <a:pt x="537" y="3495"/>
                </a:lnTo>
                <a:lnTo>
                  <a:pt x="523" y="3479"/>
                </a:lnTo>
                <a:lnTo>
                  <a:pt x="511" y="3464"/>
                </a:lnTo>
                <a:lnTo>
                  <a:pt x="506" y="3458"/>
                </a:lnTo>
                <a:lnTo>
                  <a:pt x="502" y="3453"/>
                </a:lnTo>
                <a:lnTo>
                  <a:pt x="497" y="3442"/>
                </a:lnTo>
                <a:lnTo>
                  <a:pt x="493" y="3432"/>
                </a:lnTo>
                <a:lnTo>
                  <a:pt x="491" y="3422"/>
                </a:lnTo>
                <a:lnTo>
                  <a:pt x="490" y="3412"/>
                </a:lnTo>
                <a:lnTo>
                  <a:pt x="491" y="3407"/>
                </a:lnTo>
                <a:lnTo>
                  <a:pt x="491" y="3401"/>
                </a:lnTo>
                <a:lnTo>
                  <a:pt x="493" y="3395"/>
                </a:lnTo>
                <a:lnTo>
                  <a:pt x="495" y="3388"/>
                </a:lnTo>
                <a:lnTo>
                  <a:pt x="497" y="3382"/>
                </a:lnTo>
                <a:lnTo>
                  <a:pt x="501" y="3376"/>
                </a:lnTo>
                <a:lnTo>
                  <a:pt x="504" y="3369"/>
                </a:lnTo>
                <a:lnTo>
                  <a:pt x="509" y="3362"/>
                </a:lnTo>
                <a:lnTo>
                  <a:pt x="518" y="3351"/>
                </a:lnTo>
                <a:lnTo>
                  <a:pt x="529" y="3338"/>
                </a:lnTo>
                <a:lnTo>
                  <a:pt x="559" y="3303"/>
                </a:lnTo>
                <a:lnTo>
                  <a:pt x="595" y="3263"/>
                </a:lnTo>
                <a:lnTo>
                  <a:pt x="631" y="3223"/>
                </a:lnTo>
                <a:lnTo>
                  <a:pt x="632" y="3222"/>
                </a:lnTo>
                <a:lnTo>
                  <a:pt x="635" y="3222"/>
                </a:lnTo>
                <a:lnTo>
                  <a:pt x="639" y="3222"/>
                </a:lnTo>
                <a:lnTo>
                  <a:pt x="643" y="3223"/>
                </a:lnTo>
                <a:lnTo>
                  <a:pt x="647" y="3225"/>
                </a:lnTo>
                <a:lnTo>
                  <a:pt x="651" y="3228"/>
                </a:lnTo>
                <a:lnTo>
                  <a:pt x="656" y="3231"/>
                </a:lnTo>
                <a:lnTo>
                  <a:pt x="660" y="3235"/>
                </a:lnTo>
                <a:lnTo>
                  <a:pt x="663" y="3239"/>
                </a:lnTo>
                <a:lnTo>
                  <a:pt x="666" y="3244"/>
                </a:lnTo>
                <a:lnTo>
                  <a:pt x="667" y="3248"/>
                </a:lnTo>
                <a:lnTo>
                  <a:pt x="668" y="3253"/>
                </a:lnTo>
                <a:lnTo>
                  <a:pt x="667" y="3259"/>
                </a:lnTo>
                <a:lnTo>
                  <a:pt x="665" y="3264"/>
                </a:lnTo>
                <a:lnTo>
                  <a:pt x="663" y="3270"/>
                </a:lnTo>
                <a:lnTo>
                  <a:pt x="659" y="3277"/>
                </a:lnTo>
                <a:lnTo>
                  <a:pt x="650" y="3287"/>
                </a:lnTo>
                <a:lnTo>
                  <a:pt x="639" y="3300"/>
                </a:lnTo>
                <a:lnTo>
                  <a:pt x="609" y="3334"/>
                </a:lnTo>
                <a:lnTo>
                  <a:pt x="579" y="3368"/>
                </a:lnTo>
                <a:lnTo>
                  <a:pt x="566" y="3382"/>
                </a:lnTo>
                <a:lnTo>
                  <a:pt x="557" y="3395"/>
                </a:lnTo>
                <a:lnTo>
                  <a:pt x="555" y="3398"/>
                </a:lnTo>
                <a:lnTo>
                  <a:pt x="553" y="3402"/>
                </a:lnTo>
                <a:lnTo>
                  <a:pt x="552" y="3406"/>
                </a:lnTo>
                <a:lnTo>
                  <a:pt x="551" y="3409"/>
                </a:lnTo>
                <a:lnTo>
                  <a:pt x="552" y="3414"/>
                </a:lnTo>
                <a:lnTo>
                  <a:pt x="553" y="3418"/>
                </a:lnTo>
                <a:lnTo>
                  <a:pt x="555" y="3422"/>
                </a:lnTo>
                <a:lnTo>
                  <a:pt x="558" y="3427"/>
                </a:lnTo>
                <a:lnTo>
                  <a:pt x="566" y="3436"/>
                </a:lnTo>
                <a:lnTo>
                  <a:pt x="577" y="3448"/>
                </a:lnTo>
                <a:lnTo>
                  <a:pt x="604" y="3478"/>
                </a:lnTo>
                <a:lnTo>
                  <a:pt x="637" y="3510"/>
                </a:lnTo>
                <a:lnTo>
                  <a:pt x="668" y="3541"/>
                </a:lnTo>
                <a:lnTo>
                  <a:pt x="670" y="3543"/>
                </a:lnTo>
                <a:lnTo>
                  <a:pt x="672" y="3545"/>
                </a:lnTo>
                <a:lnTo>
                  <a:pt x="672" y="3548"/>
                </a:lnTo>
                <a:lnTo>
                  <a:pt x="673" y="3550"/>
                </a:lnTo>
                <a:lnTo>
                  <a:pt x="672" y="3556"/>
                </a:lnTo>
                <a:lnTo>
                  <a:pt x="671" y="3559"/>
                </a:lnTo>
                <a:lnTo>
                  <a:pt x="670" y="3561"/>
                </a:lnTo>
                <a:lnTo>
                  <a:pt x="666" y="3567"/>
                </a:lnTo>
                <a:lnTo>
                  <a:pt x="664" y="3570"/>
                </a:lnTo>
                <a:lnTo>
                  <a:pt x="661" y="3573"/>
                </a:lnTo>
                <a:lnTo>
                  <a:pt x="656" y="3578"/>
                </a:lnTo>
                <a:lnTo>
                  <a:pt x="653" y="3580"/>
                </a:lnTo>
                <a:lnTo>
                  <a:pt x="650" y="3582"/>
                </a:lnTo>
                <a:lnTo>
                  <a:pt x="644" y="3584"/>
                </a:lnTo>
                <a:lnTo>
                  <a:pt x="641" y="3585"/>
                </a:lnTo>
                <a:lnTo>
                  <a:pt x="638" y="3585"/>
                </a:lnTo>
                <a:close/>
                <a:moveTo>
                  <a:pt x="417" y="4321"/>
                </a:moveTo>
                <a:lnTo>
                  <a:pt x="421" y="4298"/>
                </a:lnTo>
                <a:lnTo>
                  <a:pt x="423" y="4275"/>
                </a:lnTo>
                <a:lnTo>
                  <a:pt x="424" y="4253"/>
                </a:lnTo>
                <a:lnTo>
                  <a:pt x="424" y="4243"/>
                </a:lnTo>
                <a:lnTo>
                  <a:pt x="423" y="4233"/>
                </a:lnTo>
                <a:lnTo>
                  <a:pt x="425" y="4229"/>
                </a:lnTo>
                <a:lnTo>
                  <a:pt x="426" y="4227"/>
                </a:lnTo>
                <a:lnTo>
                  <a:pt x="428" y="4225"/>
                </a:lnTo>
                <a:lnTo>
                  <a:pt x="431" y="4223"/>
                </a:lnTo>
                <a:lnTo>
                  <a:pt x="438" y="4221"/>
                </a:lnTo>
                <a:lnTo>
                  <a:pt x="442" y="4220"/>
                </a:lnTo>
                <a:lnTo>
                  <a:pt x="446" y="4220"/>
                </a:lnTo>
                <a:lnTo>
                  <a:pt x="454" y="4220"/>
                </a:lnTo>
                <a:lnTo>
                  <a:pt x="457" y="4221"/>
                </a:lnTo>
                <a:lnTo>
                  <a:pt x="461" y="4222"/>
                </a:lnTo>
                <a:lnTo>
                  <a:pt x="466" y="4225"/>
                </a:lnTo>
                <a:lnTo>
                  <a:pt x="469" y="4227"/>
                </a:lnTo>
                <a:lnTo>
                  <a:pt x="471" y="4229"/>
                </a:lnTo>
                <a:lnTo>
                  <a:pt x="475" y="4236"/>
                </a:lnTo>
                <a:lnTo>
                  <a:pt x="477" y="4239"/>
                </a:lnTo>
                <a:lnTo>
                  <a:pt x="478" y="4243"/>
                </a:lnTo>
                <a:lnTo>
                  <a:pt x="479" y="4247"/>
                </a:lnTo>
                <a:lnTo>
                  <a:pt x="480" y="4252"/>
                </a:lnTo>
                <a:lnTo>
                  <a:pt x="481" y="4258"/>
                </a:lnTo>
                <a:lnTo>
                  <a:pt x="481" y="4263"/>
                </a:lnTo>
                <a:lnTo>
                  <a:pt x="480" y="4278"/>
                </a:lnTo>
                <a:lnTo>
                  <a:pt x="479" y="4293"/>
                </a:lnTo>
                <a:lnTo>
                  <a:pt x="476" y="4321"/>
                </a:lnTo>
                <a:lnTo>
                  <a:pt x="417" y="4321"/>
                </a:lnTo>
                <a:close/>
                <a:moveTo>
                  <a:pt x="116" y="4321"/>
                </a:moveTo>
                <a:lnTo>
                  <a:pt x="118" y="4315"/>
                </a:lnTo>
                <a:lnTo>
                  <a:pt x="121" y="4310"/>
                </a:lnTo>
                <a:lnTo>
                  <a:pt x="127" y="4299"/>
                </a:lnTo>
                <a:lnTo>
                  <a:pt x="133" y="4287"/>
                </a:lnTo>
                <a:lnTo>
                  <a:pt x="140" y="4277"/>
                </a:lnTo>
                <a:lnTo>
                  <a:pt x="148" y="4267"/>
                </a:lnTo>
                <a:lnTo>
                  <a:pt x="157" y="4258"/>
                </a:lnTo>
                <a:lnTo>
                  <a:pt x="161" y="4254"/>
                </a:lnTo>
                <a:lnTo>
                  <a:pt x="165" y="4250"/>
                </a:lnTo>
                <a:lnTo>
                  <a:pt x="174" y="4243"/>
                </a:lnTo>
                <a:lnTo>
                  <a:pt x="179" y="4239"/>
                </a:lnTo>
                <a:lnTo>
                  <a:pt x="184" y="4236"/>
                </a:lnTo>
                <a:lnTo>
                  <a:pt x="193" y="4229"/>
                </a:lnTo>
                <a:lnTo>
                  <a:pt x="198" y="4226"/>
                </a:lnTo>
                <a:lnTo>
                  <a:pt x="203" y="4223"/>
                </a:lnTo>
                <a:lnTo>
                  <a:pt x="215" y="4219"/>
                </a:lnTo>
                <a:lnTo>
                  <a:pt x="226" y="4215"/>
                </a:lnTo>
                <a:lnTo>
                  <a:pt x="237" y="4213"/>
                </a:lnTo>
                <a:lnTo>
                  <a:pt x="243" y="4212"/>
                </a:lnTo>
                <a:lnTo>
                  <a:pt x="248" y="4211"/>
                </a:lnTo>
                <a:lnTo>
                  <a:pt x="260" y="4211"/>
                </a:lnTo>
                <a:lnTo>
                  <a:pt x="271" y="4211"/>
                </a:lnTo>
                <a:lnTo>
                  <a:pt x="276" y="4212"/>
                </a:lnTo>
                <a:lnTo>
                  <a:pt x="281" y="4213"/>
                </a:lnTo>
                <a:lnTo>
                  <a:pt x="286" y="4214"/>
                </a:lnTo>
                <a:lnTo>
                  <a:pt x="290" y="4215"/>
                </a:lnTo>
                <a:lnTo>
                  <a:pt x="298" y="4218"/>
                </a:lnTo>
                <a:lnTo>
                  <a:pt x="306" y="4222"/>
                </a:lnTo>
                <a:lnTo>
                  <a:pt x="314" y="4226"/>
                </a:lnTo>
                <a:lnTo>
                  <a:pt x="320" y="4233"/>
                </a:lnTo>
                <a:lnTo>
                  <a:pt x="326" y="4239"/>
                </a:lnTo>
                <a:lnTo>
                  <a:pt x="329" y="4242"/>
                </a:lnTo>
                <a:lnTo>
                  <a:pt x="333" y="4245"/>
                </a:lnTo>
                <a:lnTo>
                  <a:pt x="338" y="4253"/>
                </a:lnTo>
                <a:lnTo>
                  <a:pt x="342" y="4260"/>
                </a:lnTo>
                <a:lnTo>
                  <a:pt x="345" y="4269"/>
                </a:lnTo>
                <a:lnTo>
                  <a:pt x="348" y="4277"/>
                </a:lnTo>
                <a:lnTo>
                  <a:pt x="349" y="4287"/>
                </a:lnTo>
                <a:lnTo>
                  <a:pt x="351" y="4297"/>
                </a:lnTo>
                <a:lnTo>
                  <a:pt x="351" y="4307"/>
                </a:lnTo>
                <a:lnTo>
                  <a:pt x="351" y="4314"/>
                </a:lnTo>
                <a:lnTo>
                  <a:pt x="350" y="4321"/>
                </a:lnTo>
                <a:lnTo>
                  <a:pt x="293" y="4321"/>
                </a:lnTo>
                <a:lnTo>
                  <a:pt x="295" y="4316"/>
                </a:lnTo>
                <a:lnTo>
                  <a:pt x="296" y="4310"/>
                </a:lnTo>
                <a:lnTo>
                  <a:pt x="297" y="4305"/>
                </a:lnTo>
                <a:lnTo>
                  <a:pt x="298" y="4299"/>
                </a:lnTo>
                <a:lnTo>
                  <a:pt x="297" y="4290"/>
                </a:lnTo>
                <a:lnTo>
                  <a:pt x="295" y="4283"/>
                </a:lnTo>
                <a:lnTo>
                  <a:pt x="293" y="4280"/>
                </a:lnTo>
                <a:lnTo>
                  <a:pt x="291" y="4277"/>
                </a:lnTo>
                <a:lnTo>
                  <a:pt x="289" y="4274"/>
                </a:lnTo>
                <a:lnTo>
                  <a:pt x="287" y="4271"/>
                </a:lnTo>
                <a:lnTo>
                  <a:pt x="281" y="4267"/>
                </a:lnTo>
                <a:lnTo>
                  <a:pt x="278" y="4265"/>
                </a:lnTo>
                <a:lnTo>
                  <a:pt x="274" y="4264"/>
                </a:lnTo>
                <a:lnTo>
                  <a:pt x="265" y="4262"/>
                </a:lnTo>
                <a:lnTo>
                  <a:pt x="261" y="4262"/>
                </a:lnTo>
                <a:lnTo>
                  <a:pt x="256" y="4261"/>
                </a:lnTo>
                <a:lnTo>
                  <a:pt x="251" y="4262"/>
                </a:lnTo>
                <a:lnTo>
                  <a:pt x="246" y="4263"/>
                </a:lnTo>
                <a:lnTo>
                  <a:pt x="235" y="4266"/>
                </a:lnTo>
                <a:lnTo>
                  <a:pt x="229" y="4268"/>
                </a:lnTo>
                <a:lnTo>
                  <a:pt x="224" y="4271"/>
                </a:lnTo>
                <a:lnTo>
                  <a:pt x="214" y="4278"/>
                </a:lnTo>
                <a:lnTo>
                  <a:pt x="208" y="4282"/>
                </a:lnTo>
                <a:lnTo>
                  <a:pt x="203" y="4286"/>
                </a:lnTo>
                <a:lnTo>
                  <a:pt x="198" y="4292"/>
                </a:lnTo>
                <a:lnTo>
                  <a:pt x="193" y="4297"/>
                </a:lnTo>
                <a:lnTo>
                  <a:pt x="184" y="4308"/>
                </a:lnTo>
                <a:lnTo>
                  <a:pt x="177" y="4321"/>
                </a:lnTo>
                <a:lnTo>
                  <a:pt x="116" y="4321"/>
                </a:lnTo>
                <a:close/>
                <a:moveTo>
                  <a:pt x="538" y="4321"/>
                </a:moveTo>
                <a:lnTo>
                  <a:pt x="582" y="4271"/>
                </a:lnTo>
                <a:lnTo>
                  <a:pt x="606" y="4244"/>
                </a:lnTo>
                <a:lnTo>
                  <a:pt x="631" y="4216"/>
                </a:lnTo>
                <a:lnTo>
                  <a:pt x="632" y="4216"/>
                </a:lnTo>
                <a:lnTo>
                  <a:pt x="635" y="4215"/>
                </a:lnTo>
                <a:lnTo>
                  <a:pt x="639" y="4216"/>
                </a:lnTo>
                <a:lnTo>
                  <a:pt x="643" y="4217"/>
                </a:lnTo>
                <a:lnTo>
                  <a:pt x="647" y="4219"/>
                </a:lnTo>
                <a:lnTo>
                  <a:pt x="651" y="4221"/>
                </a:lnTo>
                <a:lnTo>
                  <a:pt x="656" y="4224"/>
                </a:lnTo>
                <a:lnTo>
                  <a:pt x="660" y="4228"/>
                </a:lnTo>
                <a:lnTo>
                  <a:pt x="663" y="4233"/>
                </a:lnTo>
                <a:lnTo>
                  <a:pt x="666" y="4238"/>
                </a:lnTo>
                <a:lnTo>
                  <a:pt x="667" y="4243"/>
                </a:lnTo>
                <a:lnTo>
                  <a:pt x="668" y="4247"/>
                </a:lnTo>
                <a:lnTo>
                  <a:pt x="667" y="4253"/>
                </a:lnTo>
                <a:lnTo>
                  <a:pt x="665" y="4258"/>
                </a:lnTo>
                <a:lnTo>
                  <a:pt x="663" y="4264"/>
                </a:lnTo>
                <a:lnTo>
                  <a:pt x="659" y="4270"/>
                </a:lnTo>
                <a:lnTo>
                  <a:pt x="651" y="4279"/>
                </a:lnTo>
                <a:lnTo>
                  <a:pt x="641" y="4292"/>
                </a:lnTo>
                <a:lnTo>
                  <a:pt x="614" y="4321"/>
                </a:lnTo>
                <a:lnTo>
                  <a:pt x="538" y="4321"/>
                </a:lnTo>
                <a:close/>
                <a:moveTo>
                  <a:pt x="4080" y="3591"/>
                </a:moveTo>
                <a:lnTo>
                  <a:pt x="4073" y="3591"/>
                </a:lnTo>
                <a:lnTo>
                  <a:pt x="4065" y="3590"/>
                </a:lnTo>
                <a:lnTo>
                  <a:pt x="4058" y="3589"/>
                </a:lnTo>
                <a:lnTo>
                  <a:pt x="4049" y="3587"/>
                </a:lnTo>
                <a:lnTo>
                  <a:pt x="4042" y="3585"/>
                </a:lnTo>
                <a:lnTo>
                  <a:pt x="4035" y="3583"/>
                </a:lnTo>
                <a:lnTo>
                  <a:pt x="4021" y="3577"/>
                </a:lnTo>
                <a:lnTo>
                  <a:pt x="4008" y="3569"/>
                </a:lnTo>
                <a:lnTo>
                  <a:pt x="4002" y="3565"/>
                </a:lnTo>
                <a:lnTo>
                  <a:pt x="3996" y="3560"/>
                </a:lnTo>
                <a:lnTo>
                  <a:pt x="3989" y="3555"/>
                </a:lnTo>
                <a:lnTo>
                  <a:pt x="3983" y="3550"/>
                </a:lnTo>
                <a:lnTo>
                  <a:pt x="3978" y="3545"/>
                </a:lnTo>
                <a:lnTo>
                  <a:pt x="3973" y="3539"/>
                </a:lnTo>
                <a:lnTo>
                  <a:pt x="3968" y="3533"/>
                </a:lnTo>
                <a:lnTo>
                  <a:pt x="3963" y="3527"/>
                </a:lnTo>
                <a:lnTo>
                  <a:pt x="3959" y="3520"/>
                </a:lnTo>
                <a:lnTo>
                  <a:pt x="3955" y="3513"/>
                </a:lnTo>
                <a:lnTo>
                  <a:pt x="3951" y="3505"/>
                </a:lnTo>
                <a:lnTo>
                  <a:pt x="3947" y="3498"/>
                </a:lnTo>
                <a:lnTo>
                  <a:pt x="3944" y="3490"/>
                </a:lnTo>
                <a:lnTo>
                  <a:pt x="3941" y="3482"/>
                </a:lnTo>
                <a:lnTo>
                  <a:pt x="3938" y="3474"/>
                </a:lnTo>
                <a:lnTo>
                  <a:pt x="3936" y="3466"/>
                </a:lnTo>
                <a:lnTo>
                  <a:pt x="3934" y="3458"/>
                </a:lnTo>
                <a:lnTo>
                  <a:pt x="3932" y="3448"/>
                </a:lnTo>
                <a:lnTo>
                  <a:pt x="3931" y="3439"/>
                </a:lnTo>
                <a:lnTo>
                  <a:pt x="3929" y="3431"/>
                </a:lnTo>
                <a:lnTo>
                  <a:pt x="3928" y="3422"/>
                </a:lnTo>
                <a:lnTo>
                  <a:pt x="3928" y="3412"/>
                </a:lnTo>
                <a:lnTo>
                  <a:pt x="3929" y="3394"/>
                </a:lnTo>
                <a:lnTo>
                  <a:pt x="3931" y="3384"/>
                </a:lnTo>
                <a:lnTo>
                  <a:pt x="3932" y="3374"/>
                </a:lnTo>
                <a:lnTo>
                  <a:pt x="3934" y="3365"/>
                </a:lnTo>
                <a:lnTo>
                  <a:pt x="3936" y="3357"/>
                </a:lnTo>
                <a:lnTo>
                  <a:pt x="3939" y="3348"/>
                </a:lnTo>
                <a:lnTo>
                  <a:pt x="3941" y="3339"/>
                </a:lnTo>
                <a:lnTo>
                  <a:pt x="3944" y="3330"/>
                </a:lnTo>
                <a:lnTo>
                  <a:pt x="3948" y="3322"/>
                </a:lnTo>
                <a:lnTo>
                  <a:pt x="3952" y="3314"/>
                </a:lnTo>
                <a:lnTo>
                  <a:pt x="3956" y="3306"/>
                </a:lnTo>
                <a:lnTo>
                  <a:pt x="3960" y="3298"/>
                </a:lnTo>
                <a:lnTo>
                  <a:pt x="3965" y="3291"/>
                </a:lnTo>
                <a:lnTo>
                  <a:pt x="3975" y="3277"/>
                </a:lnTo>
                <a:lnTo>
                  <a:pt x="3981" y="3269"/>
                </a:lnTo>
                <a:lnTo>
                  <a:pt x="3986" y="3263"/>
                </a:lnTo>
                <a:lnTo>
                  <a:pt x="4000" y="3252"/>
                </a:lnTo>
                <a:lnTo>
                  <a:pt x="4006" y="3247"/>
                </a:lnTo>
                <a:lnTo>
                  <a:pt x="4013" y="3242"/>
                </a:lnTo>
                <a:lnTo>
                  <a:pt x="4020" y="3237"/>
                </a:lnTo>
                <a:lnTo>
                  <a:pt x="4027" y="3233"/>
                </a:lnTo>
                <a:lnTo>
                  <a:pt x="4034" y="3230"/>
                </a:lnTo>
                <a:lnTo>
                  <a:pt x="4041" y="3227"/>
                </a:lnTo>
                <a:lnTo>
                  <a:pt x="4049" y="3224"/>
                </a:lnTo>
                <a:lnTo>
                  <a:pt x="4058" y="3222"/>
                </a:lnTo>
                <a:lnTo>
                  <a:pt x="4066" y="3220"/>
                </a:lnTo>
                <a:lnTo>
                  <a:pt x="4074" y="3219"/>
                </a:lnTo>
                <a:lnTo>
                  <a:pt x="4082" y="3218"/>
                </a:lnTo>
                <a:lnTo>
                  <a:pt x="4090" y="3218"/>
                </a:lnTo>
                <a:lnTo>
                  <a:pt x="4100" y="3218"/>
                </a:lnTo>
                <a:lnTo>
                  <a:pt x="4105" y="3219"/>
                </a:lnTo>
                <a:lnTo>
                  <a:pt x="4111" y="3219"/>
                </a:lnTo>
                <a:lnTo>
                  <a:pt x="4115" y="3220"/>
                </a:lnTo>
                <a:lnTo>
                  <a:pt x="4120" y="3222"/>
                </a:lnTo>
                <a:lnTo>
                  <a:pt x="4128" y="3225"/>
                </a:lnTo>
                <a:lnTo>
                  <a:pt x="4136" y="3229"/>
                </a:lnTo>
                <a:lnTo>
                  <a:pt x="4144" y="3233"/>
                </a:lnTo>
                <a:lnTo>
                  <a:pt x="4150" y="3239"/>
                </a:lnTo>
                <a:lnTo>
                  <a:pt x="4156" y="3245"/>
                </a:lnTo>
                <a:lnTo>
                  <a:pt x="4159" y="3248"/>
                </a:lnTo>
                <a:lnTo>
                  <a:pt x="4162" y="3251"/>
                </a:lnTo>
                <a:lnTo>
                  <a:pt x="4166" y="3258"/>
                </a:lnTo>
                <a:lnTo>
                  <a:pt x="4171" y="3266"/>
                </a:lnTo>
                <a:lnTo>
                  <a:pt x="4175" y="3276"/>
                </a:lnTo>
                <a:lnTo>
                  <a:pt x="4177" y="3284"/>
                </a:lnTo>
                <a:lnTo>
                  <a:pt x="4179" y="3293"/>
                </a:lnTo>
                <a:lnTo>
                  <a:pt x="4180" y="3303"/>
                </a:lnTo>
                <a:lnTo>
                  <a:pt x="4181" y="3313"/>
                </a:lnTo>
                <a:lnTo>
                  <a:pt x="4180" y="3325"/>
                </a:lnTo>
                <a:lnTo>
                  <a:pt x="4179" y="3333"/>
                </a:lnTo>
                <a:lnTo>
                  <a:pt x="4178" y="3339"/>
                </a:lnTo>
                <a:lnTo>
                  <a:pt x="4174" y="3351"/>
                </a:lnTo>
                <a:lnTo>
                  <a:pt x="4168" y="3362"/>
                </a:lnTo>
                <a:lnTo>
                  <a:pt x="4162" y="3373"/>
                </a:lnTo>
                <a:lnTo>
                  <a:pt x="4154" y="3384"/>
                </a:lnTo>
                <a:lnTo>
                  <a:pt x="4150" y="3389"/>
                </a:lnTo>
                <a:lnTo>
                  <a:pt x="4146" y="3395"/>
                </a:lnTo>
                <a:lnTo>
                  <a:pt x="4137" y="3404"/>
                </a:lnTo>
                <a:lnTo>
                  <a:pt x="4127" y="3413"/>
                </a:lnTo>
                <a:lnTo>
                  <a:pt x="4122" y="3416"/>
                </a:lnTo>
                <a:lnTo>
                  <a:pt x="4116" y="3420"/>
                </a:lnTo>
                <a:lnTo>
                  <a:pt x="4104" y="3427"/>
                </a:lnTo>
                <a:lnTo>
                  <a:pt x="4092" y="3432"/>
                </a:lnTo>
                <a:lnTo>
                  <a:pt x="4080" y="3437"/>
                </a:lnTo>
                <a:lnTo>
                  <a:pt x="4074" y="3439"/>
                </a:lnTo>
                <a:lnTo>
                  <a:pt x="4068" y="3440"/>
                </a:lnTo>
                <a:lnTo>
                  <a:pt x="4062" y="3441"/>
                </a:lnTo>
                <a:lnTo>
                  <a:pt x="4055" y="3442"/>
                </a:lnTo>
                <a:lnTo>
                  <a:pt x="4042" y="3443"/>
                </a:lnTo>
                <a:lnTo>
                  <a:pt x="4036" y="3442"/>
                </a:lnTo>
                <a:lnTo>
                  <a:pt x="4031" y="3441"/>
                </a:lnTo>
                <a:lnTo>
                  <a:pt x="4027" y="3438"/>
                </a:lnTo>
                <a:lnTo>
                  <a:pt x="4025" y="3436"/>
                </a:lnTo>
                <a:lnTo>
                  <a:pt x="4023" y="3434"/>
                </a:lnTo>
                <a:lnTo>
                  <a:pt x="4020" y="3429"/>
                </a:lnTo>
                <a:lnTo>
                  <a:pt x="4018" y="3424"/>
                </a:lnTo>
                <a:lnTo>
                  <a:pt x="4017" y="3421"/>
                </a:lnTo>
                <a:lnTo>
                  <a:pt x="4016" y="3418"/>
                </a:lnTo>
                <a:lnTo>
                  <a:pt x="4016" y="3412"/>
                </a:lnTo>
                <a:lnTo>
                  <a:pt x="4016" y="3409"/>
                </a:lnTo>
                <a:lnTo>
                  <a:pt x="4016" y="3406"/>
                </a:lnTo>
                <a:lnTo>
                  <a:pt x="4017" y="3401"/>
                </a:lnTo>
                <a:lnTo>
                  <a:pt x="4018" y="3399"/>
                </a:lnTo>
                <a:lnTo>
                  <a:pt x="4019" y="3397"/>
                </a:lnTo>
                <a:lnTo>
                  <a:pt x="4021" y="3396"/>
                </a:lnTo>
                <a:lnTo>
                  <a:pt x="4023" y="3395"/>
                </a:lnTo>
                <a:lnTo>
                  <a:pt x="4034" y="3393"/>
                </a:lnTo>
                <a:lnTo>
                  <a:pt x="4044" y="3389"/>
                </a:lnTo>
                <a:lnTo>
                  <a:pt x="4055" y="3386"/>
                </a:lnTo>
                <a:lnTo>
                  <a:pt x="4065" y="3382"/>
                </a:lnTo>
                <a:lnTo>
                  <a:pt x="4074" y="3377"/>
                </a:lnTo>
                <a:lnTo>
                  <a:pt x="4082" y="3372"/>
                </a:lnTo>
                <a:lnTo>
                  <a:pt x="4090" y="3367"/>
                </a:lnTo>
                <a:lnTo>
                  <a:pt x="4094" y="3364"/>
                </a:lnTo>
                <a:lnTo>
                  <a:pt x="4097" y="3361"/>
                </a:lnTo>
                <a:lnTo>
                  <a:pt x="4104" y="3354"/>
                </a:lnTo>
                <a:lnTo>
                  <a:pt x="4111" y="3348"/>
                </a:lnTo>
                <a:lnTo>
                  <a:pt x="4116" y="3341"/>
                </a:lnTo>
                <a:lnTo>
                  <a:pt x="4120" y="3334"/>
                </a:lnTo>
                <a:lnTo>
                  <a:pt x="4123" y="3326"/>
                </a:lnTo>
                <a:lnTo>
                  <a:pt x="4125" y="3319"/>
                </a:lnTo>
                <a:lnTo>
                  <a:pt x="4127" y="3312"/>
                </a:lnTo>
                <a:lnTo>
                  <a:pt x="4127" y="3305"/>
                </a:lnTo>
                <a:lnTo>
                  <a:pt x="4127" y="3297"/>
                </a:lnTo>
                <a:lnTo>
                  <a:pt x="4125" y="3290"/>
                </a:lnTo>
                <a:lnTo>
                  <a:pt x="4123" y="3286"/>
                </a:lnTo>
                <a:lnTo>
                  <a:pt x="4121" y="3283"/>
                </a:lnTo>
                <a:lnTo>
                  <a:pt x="4119" y="3281"/>
                </a:lnTo>
                <a:lnTo>
                  <a:pt x="4117" y="3278"/>
                </a:lnTo>
                <a:lnTo>
                  <a:pt x="4111" y="3274"/>
                </a:lnTo>
                <a:lnTo>
                  <a:pt x="4107" y="3272"/>
                </a:lnTo>
                <a:lnTo>
                  <a:pt x="4103" y="3270"/>
                </a:lnTo>
                <a:lnTo>
                  <a:pt x="4095" y="3268"/>
                </a:lnTo>
                <a:lnTo>
                  <a:pt x="4091" y="3267"/>
                </a:lnTo>
                <a:lnTo>
                  <a:pt x="4086" y="3267"/>
                </a:lnTo>
                <a:lnTo>
                  <a:pt x="4077" y="3268"/>
                </a:lnTo>
                <a:lnTo>
                  <a:pt x="4073" y="3269"/>
                </a:lnTo>
                <a:lnTo>
                  <a:pt x="4069" y="3270"/>
                </a:lnTo>
                <a:lnTo>
                  <a:pt x="4064" y="3273"/>
                </a:lnTo>
                <a:lnTo>
                  <a:pt x="4060" y="3275"/>
                </a:lnTo>
                <a:lnTo>
                  <a:pt x="4055" y="3277"/>
                </a:lnTo>
                <a:lnTo>
                  <a:pt x="4051" y="3279"/>
                </a:lnTo>
                <a:lnTo>
                  <a:pt x="4046" y="3282"/>
                </a:lnTo>
                <a:lnTo>
                  <a:pt x="4041" y="3285"/>
                </a:lnTo>
                <a:lnTo>
                  <a:pt x="4033" y="3292"/>
                </a:lnTo>
                <a:lnTo>
                  <a:pt x="4025" y="3300"/>
                </a:lnTo>
                <a:lnTo>
                  <a:pt x="4018" y="3309"/>
                </a:lnTo>
                <a:lnTo>
                  <a:pt x="4014" y="3314"/>
                </a:lnTo>
                <a:lnTo>
                  <a:pt x="4011" y="3319"/>
                </a:lnTo>
                <a:lnTo>
                  <a:pt x="4005" y="3330"/>
                </a:lnTo>
                <a:lnTo>
                  <a:pt x="3999" y="3343"/>
                </a:lnTo>
                <a:lnTo>
                  <a:pt x="3995" y="3355"/>
                </a:lnTo>
                <a:lnTo>
                  <a:pt x="3991" y="3368"/>
                </a:lnTo>
                <a:lnTo>
                  <a:pt x="3987" y="3381"/>
                </a:lnTo>
                <a:lnTo>
                  <a:pt x="3985" y="3396"/>
                </a:lnTo>
                <a:lnTo>
                  <a:pt x="3985" y="3403"/>
                </a:lnTo>
                <a:lnTo>
                  <a:pt x="3985" y="3410"/>
                </a:lnTo>
                <a:lnTo>
                  <a:pt x="3985" y="3423"/>
                </a:lnTo>
                <a:lnTo>
                  <a:pt x="3986" y="3435"/>
                </a:lnTo>
                <a:lnTo>
                  <a:pt x="3988" y="3446"/>
                </a:lnTo>
                <a:lnTo>
                  <a:pt x="3991" y="3453"/>
                </a:lnTo>
                <a:lnTo>
                  <a:pt x="3992" y="3458"/>
                </a:lnTo>
                <a:lnTo>
                  <a:pt x="3996" y="3469"/>
                </a:lnTo>
                <a:lnTo>
                  <a:pt x="3998" y="3474"/>
                </a:lnTo>
                <a:lnTo>
                  <a:pt x="4001" y="3479"/>
                </a:lnTo>
                <a:lnTo>
                  <a:pt x="4003" y="3483"/>
                </a:lnTo>
                <a:lnTo>
                  <a:pt x="4006" y="3488"/>
                </a:lnTo>
                <a:lnTo>
                  <a:pt x="4009" y="3492"/>
                </a:lnTo>
                <a:lnTo>
                  <a:pt x="4012" y="3496"/>
                </a:lnTo>
                <a:lnTo>
                  <a:pt x="4015" y="3500"/>
                </a:lnTo>
                <a:lnTo>
                  <a:pt x="4018" y="3503"/>
                </a:lnTo>
                <a:lnTo>
                  <a:pt x="4026" y="3510"/>
                </a:lnTo>
                <a:lnTo>
                  <a:pt x="4033" y="3517"/>
                </a:lnTo>
                <a:lnTo>
                  <a:pt x="4042" y="3522"/>
                </a:lnTo>
                <a:lnTo>
                  <a:pt x="4052" y="3525"/>
                </a:lnTo>
                <a:lnTo>
                  <a:pt x="4062" y="3528"/>
                </a:lnTo>
                <a:lnTo>
                  <a:pt x="4072" y="3530"/>
                </a:lnTo>
                <a:lnTo>
                  <a:pt x="4077" y="3530"/>
                </a:lnTo>
                <a:lnTo>
                  <a:pt x="4082" y="3530"/>
                </a:lnTo>
                <a:lnTo>
                  <a:pt x="4093" y="3530"/>
                </a:lnTo>
                <a:lnTo>
                  <a:pt x="4103" y="3528"/>
                </a:lnTo>
                <a:lnTo>
                  <a:pt x="4114" y="3526"/>
                </a:lnTo>
                <a:lnTo>
                  <a:pt x="4124" y="3523"/>
                </a:lnTo>
                <a:lnTo>
                  <a:pt x="4133" y="3518"/>
                </a:lnTo>
                <a:lnTo>
                  <a:pt x="4142" y="3513"/>
                </a:lnTo>
                <a:lnTo>
                  <a:pt x="4150" y="3507"/>
                </a:lnTo>
                <a:lnTo>
                  <a:pt x="4159" y="3500"/>
                </a:lnTo>
                <a:lnTo>
                  <a:pt x="4167" y="3493"/>
                </a:lnTo>
                <a:lnTo>
                  <a:pt x="4175" y="3485"/>
                </a:lnTo>
                <a:lnTo>
                  <a:pt x="4183" y="3476"/>
                </a:lnTo>
                <a:lnTo>
                  <a:pt x="4190" y="3467"/>
                </a:lnTo>
                <a:lnTo>
                  <a:pt x="4202" y="3447"/>
                </a:lnTo>
                <a:lnTo>
                  <a:pt x="4208" y="3437"/>
                </a:lnTo>
                <a:lnTo>
                  <a:pt x="4214" y="3426"/>
                </a:lnTo>
                <a:lnTo>
                  <a:pt x="4219" y="3415"/>
                </a:lnTo>
                <a:lnTo>
                  <a:pt x="4224" y="3404"/>
                </a:lnTo>
                <a:lnTo>
                  <a:pt x="4228" y="3392"/>
                </a:lnTo>
                <a:lnTo>
                  <a:pt x="4234" y="3379"/>
                </a:lnTo>
                <a:lnTo>
                  <a:pt x="4237" y="3367"/>
                </a:lnTo>
                <a:lnTo>
                  <a:pt x="4241" y="3355"/>
                </a:lnTo>
                <a:lnTo>
                  <a:pt x="4244" y="3343"/>
                </a:lnTo>
                <a:lnTo>
                  <a:pt x="4246" y="3330"/>
                </a:lnTo>
                <a:lnTo>
                  <a:pt x="4249" y="3318"/>
                </a:lnTo>
                <a:lnTo>
                  <a:pt x="4250" y="3307"/>
                </a:lnTo>
                <a:lnTo>
                  <a:pt x="4252" y="3295"/>
                </a:lnTo>
                <a:lnTo>
                  <a:pt x="4253" y="3283"/>
                </a:lnTo>
                <a:lnTo>
                  <a:pt x="4254" y="3272"/>
                </a:lnTo>
                <a:lnTo>
                  <a:pt x="4254" y="3260"/>
                </a:lnTo>
                <a:lnTo>
                  <a:pt x="4254" y="3249"/>
                </a:lnTo>
                <a:lnTo>
                  <a:pt x="4253" y="3239"/>
                </a:lnTo>
                <a:lnTo>
                  <a:pt x="4254" y="3236"/>
                </a:lnTo>
                <a:lnTo>
                  <a:pt x="4256" y="3234"/>
                </a:lnTo>
                <a:lnTo>
                  <a:pt x="4258" y="3232"/>
                </a:lnTo>
                <a:lnTo>
                  <a:pt x="4261" y="3230"/>
                </a:lnTo>
                <a:lnTo>
                  <a:pt x="4268" y="3227"/>
                </a:lnTo>
                <a:lnTo>
                  <a:pt x="4272" y="3227"/>
                </a:lnTo>
                <a:lnTo>
                  <a:pt x="4276" y="3226"/>
                </a:lnTo>
                <a:lnTo>
                  <a:pt x="4283" y="3227"/>
                </a:lnTo>
                <a:lnTo>
                  <a:pt x="4286" y="3228"/>
                </a:lnTo>
                <a:lnTo>
                  <a:pt x="4289" y="3229"/>
                </a:lnTo>
                <a:lnTo>
                  <a:pt x="4296" y="3231"/>
                </a:lnTo>
                <a:lnTo>
                  <a:pt x="4299" y="3233"/>
                </a:lnTo>
                <a:lnTo>
                  <a:pt x="4301" y="3236"/>
                </a:lnTo>
                <a:lnTo>
                  <a:pt x="4305" y="3241"/>
                </a:lnTo>
                <a:lnTo>
                  <a:pt x="4307" y="3245"/>
                </a:lnTo>
                <a:lnTo>
                  <a:pt x="4308" y="3249"/>
                </a:lnTo>
                <a:lnTo>
                  <a:pt x="4309" y="3253"/>
                </a:lnTo>
                <a:lnTo>
                  <a:pt x="4310" y="3258"/>
                </a:lnTo>
                <a:lnTo>
                  <a:pt x="4310" y="3263"/>
                </a:lnTo>
                <a:lnTo>
                  <a:pt x="4311" y="3269"/>
                </a:lnTo>
                <a:lnTo>
                  <a:pt x="4310" y="3286"/>
                </a:lnTo>
                <a:lnTo>
                  <a:pt x="4309" y="3301"/>
                </a:lnTo>
                <a:lnTo>
                  <a:pt x="4308" y="3316"/>
                </a:lnTo>
                <a:lnTo>
                  <a:pt x="4306" y="3333"/>
                </a:lnTo>
                <a:lnTo>
                  <a:pt x="4303" y="3347"/>
                </a:lnTo>
                <a:lnTo>
                  <a:pt x="4300" y="3362"/>
                </a:lnTo>
                <a:lnTo>
                  <a:pt x="4297" y="3377"/>
                </a:lnTo>
                <a:lnTo>
                  <a:pt x="4293" y="3392"/>
                </a:lnTo>
                <a:lnTo>
                  <a:pt x="4287" y="3406"/>
                </a:lnTo>
                <a:lnTo>
                  <a:pt x="4282" y="3419"/>
                </a:lnTo>
                <a:lnTo>
                  <a:pt x="4277" y="3432"/>
                </a:lnTo>
                <a:lnTo>
                  <a:pt x="4271" y="3445"/>
                </a:lnTo>
                <a:lnTo>
                  <a:pt x="4265" y="3459"/>
                </a:lnTo>
                <a:lnTo>
                  <a:pt x="4259" y="3471"/>
                </a:lnTo>
                <a:lnTo>
                  <a:pt x="4252" y="3482"/>
                </a:lnTo>
                <a:lnTo>
                  <a:pt x="4245" y="3493"/>
                </a:lnTo>
                <a:lnTo>
                  <a:pt x="4237" y="3504"/>
                </a:lnTo>
                <a:lnTo>
                  <a:pt x="4228" y="3515"/>
                </a:lnTo>
                <a:lnTo>
                  <a:pt x="4220" y="3525"/>
                </a:lnTo>
                <a:lnTo>
                  <a:pt x="4211" y="3534"/>
                </a:lnTo>
                <a:lnTo>
                  <a:pt x="4202" y="3542"/>
                </a:lnTo>
                <a:lnTo>
                  <a:pt x="4192" y="3550"/>
                </a:lnTo>
                <a:lnTo>
                  <a:pt x="4183" y="3557"/>
                </a:lnTo>
                <a:lnTo>
                  <a:pt x="4173" y="3564"/>
                </a:lnTo>
                <a:lnTo>
                  <a:pt x="4161" y="3570"/>
                </a:lnTo>
                <a:lnTo>
                  <a:pt x="4151" y="3576"/>
                </a:lnTo>
                <a:lnTo>
                  <a:pt x="4140" y="3580"/>
                </a:lnTo>
                <a:lnTo>
                  <a:pt x="4129" y="3584"/>
                </a:lnTo>
                <a:lnTo>
                  <a:pt x="4117" y="3587"/>
                </a:lnTo>
                <a:lnTo>
                  <a:pt x="4105" y="3589"/>
                </a:lnTo>
                <a:lnTo>
                  <a:pt x="4093" y="3590"/>
                </a:lnTo>
                <a:lnTo>
                  <a:pt x="4080" y="3591"/>
                </a:lnTo>
                <a:close/>
                <a:moveTo>
                  <a:pt x="4467" y="3585"/>
                </a:moveTo>
                <a:lnTo>
                  <a:pt x="4465" y="3585"/>
                </a:lnTo>
                <a:lnTo>
                  <a:pt x="4463" y="3584"/>
                </a:lnTo>
                <a:lnTo>
                  <a:pt x="4458" y="3581"/>
                </a:lnTo>
                <a:lnTo>
                  <a:pt x="4451" y="3577"/>
                </a:lnTo>
                <a:lnTo>
                  <a:pt x="4444" y="3572"/>
                </a:lnTo>
                <a:lnTo>
                  <a:pt x="4431" y="3560"/>
                </a:lnTo>
                <a:lnTo>
                  <a:pt x="4416" y="3546"/>
                </a:lnTo>
                <a:lnTo>
                  <a:pt x="4399" y="3530"/>
                </a:lnTo>
                <a:lnTo>
                  <a:pt x="4383" y="3513"/>
                </a:lnTo>
                <a:lnTo>
                  <a:pt x="4367" y="3495"/>
                </a:lnTo>
                <a:lnTo>
                  <a:pt x="4352" y="3479"/>
                </a:lnTo>
                <a:lnTo>
                  <a:pt x="4340" y="3464"/>
                </a:lnTo>
                <a:lnTo>
                  <a:pt x="4336" y="3458"/>
                </a:lnTo>
                <a:lnTo>
                  <a:pt x="4332" y="3453"/>
                </a:lnTo>
                <a:lnTo>
                  <a:pt x="4327" y="3442"/>
                </a:lnTo>
                <a:lnTo>
                  <a:pt x="4323" y="3432"/>
                </a:lnTo>
                <a:lnTo>
                  <a:pt x="4321" y="3422"/>
                </a:lnTo>
                <a:lnTo>
                  <a:pt x="4320" y="3412"/>
                </a:lnTo>
                <a:lnTo>
                  <a:pt x="4320" y="3407"/>
                </a:lnTo>
                <a:lnTo>
                  <a:pt x="4321" y="3401"/>
                </a:lnTo>
                <a:lnTo>
                  <a:pt x="4323" y="3395"/>
                </a:lnTo>
                <a:lnTo>
                  <a:pt x="4325" y="3388"/>
                </a:lnTo>
                <a:lnTo>
                  <a:pt x="4327" y="3382"/>
                </a:lnTo>
                <a:lnTo>
                  <a:pt x="4330" y="3376"/>
                </a:lnTo>
                <a:lnTo>
                  <a:pt x="4334" y="3369"/>
                </a:lnTo>
                <a:lnTo>
                  <a:pt x="4339" y="3362"/>
                </a:lnTo>
                <a:lnTo>
                  <a:pt x="4347" y="3351"/>
                </a:lnTo>
                <a:lnTo>
                  <a:pt x="4359" y="3338"/>
                </a:lnTo>
                <a:lnTo>
                  <a:pt x="4389" y="3303"/>
                </a:lnTo>
                <a:lnTo>
                  <a:pt x="4425" y="3263"/>
                </a:lnTo>
                <a:lnTo>
                  <a:pt x="4460" y="3223"/>
                </a:lnTo>
                <a:lnTo>
                  <a:pt x="4461" y="3222"/>
                </a:lnTo>
                <a:lnTo>
                  <a:pt x="4464" y="3222"/>
                </a:lnTo>
                <a:lnTo>
                  <a:pt x="4468" y="3222"/>
                </a:lnTo>
                <a:lnTo>
                  <a:pt x="4473" y="3223"/>
                </a:lnTo>
                <a:lnTo>
                  <a:pt x="4477" y="3225"/>
                </a:lnTo>
                <a:lnTo>
                  <a:pt x="4481" y="3228"/>
                </a:lnTo>
                <a:lnTo>
                  <a:pt x="4486" y="3231"/>
                </a:lnTo>
                <a:lnTo>
                  <a:pt x="4489" y="3235"/>
                </a:lnTo>
                <a:lnTo>
                  <a:pt x="4493" y="3239"/>
                </a:lnTo>
                <a:lnTo>
                  <a:pt x="4496" y="3244"/>
                </a:lnTo>
                <a:lnTo>
                  <a:pt x="4497" y="3248"/>
                </a:lnTo>
                <a:lnTo>
                  <a:pt x="4498" y="3253"/>
                </a:lnTo>
                <a:lnTo>
                  <a:pt x="4497" y="3259"/>
                </a:lnTo>
                <a:lnTo>
                  <a:pt x="4495" y="3264"/>
                </a:lnTo>
                <a:lnTo>
                  <a:pt x="4492" y="3270"/>
                </a:lnTo>
                <a:lnTo>
                  <a:pt x="4489" y="3277"/>
                </a:lnTo>
                <a:lnTo>
                  <a:pt x="4480" y="3287"/>
                </a:lnTo>
                <a:lnTo>
                  <a:pt x="4468" y="3300"/>
                </a:lnTo>
                <a:lnTo>
                  <a:pt x="4439" y="3334"/>
                </a:lnTo>
                <a:lnTo>
                  <a:pt x="4408" y="3368"/>
                </a:lnTo>
                <a:lnTo>
                  <a:pt x="4396" y="3382"/>
                </a:lnTo>
                <a:lnTo>
                  <a:pt x="4387" y="3395"/>
                </a:lnTo>
                <a:lnTo>
                  <a:pt x="4384" y="3398"/>
                </a:lnTo>
                <a:lnTo>
                  <a:pt x="4383" y="3402"/>
                </a:lnTo>
                <a:lnTo>
                  <a:pt x="4382" y="3406"/>
                </a:lnTo>
                <a:lnTo>
                  <a:pt x="4381" y="3409"/>
                </a:lnTo>
                <a:lnTo>
                  <a:pt x="4382" y="3414"/>
                </a:lnTo>
                <a:lnTo>
                  <a:pt x="4383" y="3418"/>
                </a:lnTo>
                <a:lnTo>
                  <a:pt x="4385" y="3422"/>
                </a:lnTo>
                <a:lnTo>
                  <a:pt x="4388" y="3427"/>
                </a:lnTo>
                <a:lnTo>
                  <a:pt x="4396" y="3436"/>
                </a:lnTo>
                <a:lnTo>
                  <a:pt x="4406" y="3448"/>
                </a:lnTo>
                <a:lnTo>
                  <a:pt x="4434" y="3478"/>
                </a:lnTo>
                <a:lnTo>
                  <a:pt x="4466" y="3510"/>
                </a:lnTo>
                <a:lnTo>
                  <a:pt x="4498" y="3541"/>
                </a:lnTo>
                <a:lnTo>
                  <a:pt x="4500" y="3543"/>
                </a:lnTo>
                <a:lnTo>
                  <a:pt x="4501" y="3545"/>
                </a:lnTo>
                <a:lnTo>
                  <a:pt x="4502" y="3548"/>
                </a:lnTo>
                <a:lnTo>
                  <a:pt x="4503" y="3550"/>
                </a:lnTo>
                <a:lnTo>
                  <a:pt x="4502" y="3556"/>
                </a:lnTo>
                <a:lnTo>
                  <a:pt x="4501" y="3559"/>
                </a:lnTo>
                <a:lnTo>
                  <a:pt x="4499" y="3561"/>
                </a:lnTo>
                <a:lnTo>
                  <a:pt x="4496" y="3567"/>
                </a:lnTo>
                <a:lnTo>
                  <a:pt x="4494" y="3570"/>
                </a:lnTo>
                <a:lnTo>
                  <a:pt x="4491" y="3573"/>
                </a:lnTo>
                <a:lnTo>
                  <a:pt x="4486" y="3578"/>
                </a:lnTo>
                <a:lnTo>
                  <a:pt x="4483" y="3580"/>
                </a:lnTo>
                <a:lnTo>
                  <a:pt x="4480" y="3582"/>
                </a:lnTo>
                <a:lnTo>
                  <a:pt x="4474" y="3584"/>
                </a:lnTo>
                <a:lnTo>
                  <a:pt x="4471" y="3585"/>
                </a:lnTo>
                <a:lnTo>
                  <a:pt x="4467" y="3585"/>
                </a:lnTo>
                <a:close/>
                <a:moveTo>
                  <a:pt x="4247" y="4321"/>
                </a:moveTo>
                <a:lnTo>
                  <a:pt x="4251" y="4298"/>
                </a:lnTo>
                <a:lnTo>
                  <a:pt x="4253" y="4275"/>
                </a:lnTo>
                <a:lnTo>
                  <a:pt x="4254" y="4253"/>
                </a:lnTo>
                <a:lnTo>
                  <a:pt x="4254" y="4243"/>
                </a:lnTo>
                <a:lnTo>
                  <a:pt x="4253" y="4233"/>
                </a:lnTo>
                <a:lnTo>
                  <a:pt x="4254" y="4229"/>
                </a:lnTo>
                <a:lnTo>
                  <a:pt x="4256" y="4227"/>
                </a:lnTo>
                <a:lnTo>
                  <a:pt x="4258" y="4225"/>
                </a:lnTo>
                <a:lnTo>
                  <a:pt x="4261" y="4223"/>
                </a:lnTo>
                <a:lnTo>
                  <a:pt x="4268" y="4221"/>
                </a:lnTo>
                <a:lnTo>
                  <a:pt x="4272" y="4220"/>
                </a:lnTo>
                <a:lnTo>
                  <a:pt x="4276" y="4220"/>
                </a:lnTo>
                <a:lnTo>
                  <a:pt x="4283" y="4220"/>
                </a:lnTo>
                <a:lnTo>
                  <a:pt x="4286" y="4221"/>
                </a:lnTo>
                <a:lnTo>
                  <a:pt x="4289" y="4222"/>
                </a:lnTo>
                <a:lnTo>
                  <a:pt x="4296" y="4225"/>
                </a:lnTo>
                <a:lnTo>
                  <a:pt x="4299" y="4227"/>
                </a:lnTo>
                <a:lnTo>
                  <a:pt x="4301" y="4229"/>
                </a:lnTo>
                <a:lnTo>
                  <a:pt x="4305" y="4236"/>
                </a:lnTo>
                <a:lnTo>
                  <a:pt x="4307" y="4239"/>
                </a:lnTo>
                <a:lnTo>
                  <a:pt x="4308" y="4243"/>
                </a:lnTo>
                <a:lnTo>
                  <a:pt x="4309" y="4247"/>
                </a:lnTo>
                <a:lnTo>
                  <a:pt x="4310" y="4252"/>
                </a:lnTo>
                <a:lnTo>
                  <a:pt x="4310" y="4258"/>
                </a:lnTo>
                <a:lnTo>
                  <a:pt x="4311" y="4263"/>
                </a:lnTo>
                <a:lnTo>
                  <a:pt x="4310" y="4278"/>
                </a:lnTo>
                <a:lnTo>
                  <a:pt x="4309" y="4293"/>
                </a:lnTo>
                <a:lnTo>
                  <a:pt x="4306" y="4321"/>
                </a:lnTo>
                <a:lnTo>
                  <a:pt x="4247" y="4321"/>
                </a:lnTo>
                <a:close/>
                <a:moveTo>
                  <a:pt x="3946" y="4321"/>
                </a:moveTo>
                <a:lnTo>
                  <a:pt x="3948" y="4315"/>
                </a:lnTo>
                <a:lnTo>
                  <a:pt x="3951" y="4310"/>
                </a:lnTo>
                <a:lnTo>
                  <a:pt x="3957" y="4299"/>
                </a:lnTo>
                <a:lnTo>
                  <a:pt x="3963" y="4287"/>
                </a:lnTo>
                <a:lnTo>
                  <a:pt x="3970" y="4277"/>
                </a:lnTo>
                <a:lnTo>
                  <a:pt x="3978" y="4267"/>
                </a:lnTo>
                <a:lnTo>
                  <a:pt x="3986" y="4258"/>
                </a:lnTo>
                <a:lnTo>
                  <a:pt x="3991" y="4254"/>
                </a:lnTo>
                <a:lnTo>
                  <a:pt x="3995" y="4250"/>
                </a:lnTo>
                <a:lnTo>
                  <a:pt x="4004" y="4243"/>
                </a:lnTo>
                <a:lnTo>
                  <a:pt x="4009" y="4239"/>
                </a:lnTo>
                <a:lnTo>
                  <a:pt x="4013" y="4236"/>
                </a:lnTo>
                <a:lnTo>
                  <a:pt x="4023" y="4229"/>
                </a:lnTo>
                <a:lnTo>
                  <a:pt x="4028" y="4226"/>
                </a:lnTo>
                <a:lnTo>
                  <a:pt x="4033" y="4223"/>
                </a:lnTo>
                <a:lnTo>
                  <a:pt x="4044" y="4219"/>
                </a:lnTo>
                <a:lnTo>
                  <a:pt x="4056" y="4215"/>
                </a:lnTo>
                <a:lnTo>
                  <a:pt x="4067" y="4213"/>
                </a:lnTo>
                <a:lnTo>
                  <a:pt x="4073" y="4212"/>
                </a:lnTo>
                <a:lnTo>
                  <a:pt x="4078" y="4211"/>
                </a:lnTo>
                <a:lnTo>
                  <a:pt x="4090" y="4211"/>
                </a:lnTo>
                <a:lnTo>
                  <a:pt x="4100" y="4211"/>
                </a:lnTo>
                <a:lnTo>
                  <a:pt x="4105" y="4212"/>
                </a:lnTo>
                <a:lnTo>
                  <a:pt x="4111" y="4213"/>
                </a:lnTo>
                <a:lnTo>
                  <a:pt x="4115" y="4214"/>
                </a:lnTo>
                <a:lnTo>
                  <a:pt x="4120" y="4215"/>
                </a:lnTo>
                <a:lnTo>
                  <a:pt x="4128" y="4218"/>
                </a:lnTo>
                <a:lnTo>
                  <a:pt x="4136" y="4222"/>
                </a:lnTo>
                <a:lnTo>
                  <a:pt x="4144" y="4226"/>
                </a:lnTo>
                <a:lnTo>
                  <a:pt x="4150" y="4233"/>
                </a:lnTo>
                <a:lnTo>
                  <a:pt x="4156" y="4239"/>
                </a:lnTo>
                <a:lnTo>
                  <a:pt x="4159" y="4242"/>
                </a:lnTo>
                <a:lnTo>
                  <a:pt x="4162" y="4245"/>
                </a:lnTo>
                <a:lnTo>
                  <a:pt x="4166" y="4253"/>
                </a:lnTo>
                <a:lnTo>
                  <a:pt x="4171" y="4260"/>
                </a:lnTo>
                <a:lnTo>
                  <a:pt x="4175" y="4269"/>
                </a:lnTo>
                <a:lnTo>
                  <a:pt x="4177" y="4277"/>
                </a:lnTo>
                <a:lnTo>
                  <a:pt x="4179" y="4287"/>
                </a:lnTo>
                <a:lnTo>
                  <a:pt x="4180" y="4297"/>
                </a:lnTo>
                <a:lnTo>
                  <a:pt x="4181" y="4307"/>
                </a:lnTo>
                <a:lnTo>
                  <a:pt x="4181" y="4314"/>
                </a:lnTo>
                <a:lnTo>
                  <a:pt x="4180" y="4321"/>
                </a:lnTo>
                <a:lnTo>
                  <a:pt x="4123" y="4321"/>
                </a:lnTo>
                <a:lnTo>
                  <a:pt x="4125" y="4316"/>
                </a:lnTo>
                <a:lnTo>
                  <a:pt x="4126" y="4310"/>
                </a:lnTo>
                <a:lnTo>
                  <a:pt x="4127" y="4305"/>
                </a:lnTo>
                <a:lnTo>
                  <a:pt x="4127" y="4299"/>
                </a:lnTo>
                <a:lnTo>
                  <a:pt x="4127" y="4290"/>
                </a:lnTo>
                <a:lnTo>
                  <a:pt x="4125" y="4283"/>
                </a:lnTo>
                <a:lnTo>
                  <a:pt x="4123" y="4280"/>
                </a:lnTo>
                <a:lnTo>
                  <a:pt x="4121" y="4277"/>
                </a:lnTo>
                <a:lnTo>
                  <a:pt x="4119" y="4274"/>
                </a:lnTo>
                <a:lnTo>
                  <a:pt x="4117" y="4271"/>
                </a:lnTo>
                <a:lnTo>
                  <a:pt x="4111" y="4267"/>
                </a:lnTo>
                <a:lnTo>
                  <a:pt x="4107" y="4265"/>
                </a:lnTo>
                <a:lnTo>
                  <a:pt x="4103" y="4264"/>
                </a:lnTo>
                <a:lnTo>
                  <a:pt x="4095" y="4262"/>
                </a:lnTo>
                <a:lnTo>
                  <a:pt x="4091" y="4262"/>
                </a:lnTo>
                <a:lnTo>
                  <a:pt x="4086" y="4261"/>
                </a:lnTo>
                <a:lnTo>
                  <a:pt x="4081" y="4262"/>
                </a:lnTo>
                <a:lnTo>
                  <a:pt x="4076" y="4263"/>
                </a:lnTo>
                <a:lnTo>
                  <a:pt x="4065" y="4266"/>
                </a:lnTo>
                <a:lnTo>
                  <a:pt x="4059" y="4268"/>
                </a:lnTo>
                <a:lnTo>
                  <a:pt x="4054" y="4271"/>
                </a:lnTo>
                <a:lnTo>
                  <a:pt x="4043" y="4278"/>
                </a:lnTo>
                <a:lnTo>
                  <a:pt x="4038" y="4282"/>
                </a:lnTo>
                <a:lnTo>
                  <a:pt x="4033" y="4286"/>
                </a:lnTo>
                <a:lnTo>
                  <a:pt x="4028" y="4292"/>
                </a:lnTo>
                <a:lnTo>
                  <a:pt x="4023" y="4297"/>
                </a:lnTo>
                <a:lnTo>
                  <a:pt x="4014" y="4308"/>
                </a:lnTo>
                <a:lnTo>
                  <a:pt x="4006" y="4321"/>
                </a:lnTo>
                <a:lnTo>
                  <a:pt x="3946" y="4321"/>
                </a:lnTo>
                <a:close/>
                <a:moveTo>
                  <a:pt x="4368" y="4321"/>
                </a:moveTo>
                <a:lnTo>
                  <a:pt x="4412" y="4271"/>
                </a:lnTo>
                <a:lnTo>
                  <a:pt x="4436" y="4244"/>
                </a:lnTo>
                <a:lnTo>
                  <a:pt x="4460" y="4216"/>
                </a:lnTo>
                <a:lnTo>
                  <a:pt x="4461" y="4216"/>
                </a:lnTo>
                <a:lnTo>
                  <a:pt x="4464" y="4215"/>
                </a:lnTo>
                <a:lnTo>
                  <a:pt x="4468" y="4216"/>
                </a:lnTo>
                <a:lnTo>
                  <a:pt x="4473" y="4217"/>
                </a:lnTo>
                <a:lnTo>
                  <a:pt x="4477" y="4219"/>
                </a:lnTo>
                <a:lnTo>
                  <a:pt x="4481" y="4221"/>
                </a:lnTo>
                <a:lnTo>
                  <a:pt x="4486" y="4224"/>
                </a:lnTo>
                <a:lnTo>
                  <a:pt x="4489" y="4228"/>
                </a:lnTo>
                <a:lnTo>
                  <a:pt x="4493" y="4233"/>
                </a:lnTo>
                <a:lnTo>
                  <a:pt x="4496" y="4238"/>
                </a:lnTo>
                <a:lnTo>
                  <a:pt x="4497" y="4243"/>
                </a:lnTo>
                <a:lnTo>
                  <a:pt x="4498" y="4247"/>
                </a:lnTo>
                <a:lnTo>
                  <a:pt x="4497" y="4253"/>
                </a:lnTo>
                <a:lnTo>
                  <a:pt x="4495" y="4258"/>
                </a:lnTo>
                <a:lnTo>
                  <a:pt x="4492" y="4264"/>
                </a:lnTo>
                <a:lnTo>
                  <a:pt x="4489" y="4270"/>
                </a:lnTo>
                <a:lnTo>
                  <a:pt x="4481" y="4279"/>
                </a:lnTo>
                <a:lnTo>
                  <a:pt x="4471" y="4292"/>
                </a:lnTo>
                <a:lnTo>
                  <a:pt x="4444" y="4321"/>
                </a:lnTo>
                <a:lnTo>
                  <a:pt x="4368" y="4321"/>
                </a:lnTo>
                <a:close/>
                <a:moveTo>
                  <a:pt x="3303" y="3591"/>
                </a:moveTo>
                <a:lnTo>
                  <a:pt x="3296" y="3591"/>
                </a:lnTo>
                <a:lnTo>
                  <a:pt x="3288" y="3590"/>
                </a:lnTo>
                <a:lnTo>
                  <a:pt x="3280" y="3589"/>
                </a:lnTo>
                <a:lnTo>
                  <a:pt x="3273" y="3587"/>
                </a:lnTo>
                <a:lnTo>
                  <a:pt x="3265" y="3585"/>
                </a:lnTo>
                <a:lnTo>
                  <a:pt x="3258" y="3583"/>
                </a:lnTo>
                <a:lnTo>
                  <a:pt x="3244" y="3577"/>
                </a:lnTo>
                <a:lnTo>
                  <a:pt x="3231" y="3569"/>
                </a:lnTo>
                <a:lnTo>
                  <a:pt x="3225" y="3565"/>
                </a:lnTo>
                <a:lnTo>
                  <a:pt x="3219" y="3560"/>
                </a:lnTo>
                <a:lnTo>
                  <a:pt x="3213" y="3555"/>
                </a:lnTo>
                <a:lnTo>
                  <a:pt x="3206" y="3550"/>
                </a:lnTo>
                <a:lnTo>
                  <a:pt x="3201" y="3545"/>
                </a:lnTo>
                <a:lnTo>
                  <a:pt x="3196" y="3539"/>
                </a:lnTo>
                <a:lnTo>
                  <a:pt x="3191" y="3533"/>
                </a:lnTo>
                <a:lnTo>
                  <a:pt x="3186" y="3527"/>
                </a:lnTo>
                <a:lnTo>
                  <a:pt x="3181" y="3520"/>
                </a:lnTo>
                <a:lnTo>
                  <a:pt x="3177" y="3513"/>
                </a:lnTo>
                <a:lnTo>
                  <a:pt x="3173" y="3505"/>
                </a:lnTo>
                <a:lnTo>
                  <a:pt x="3170" y="3498"/>
                </a:lnTo>
                <a:lnTo>
                  <a:pt x="3166" y="3490"/>
                </a:lnTo>
                <a:lnTo>
                  <a:pt x="3163" y="3482"/>
                </a:lnTo>
                <a:lnTo>
                  <a:pt x="3161" y="3474"/>
                </a:lnTo>
                <a:lnTo>
                  <a:pt x="3158" y="3466"/>
                </a:lnTo>
                <a:lnTo>
                  <a:pt x="3156" y="3458"/>
                </a:lnTo>
                <a:lnTo>
                  <a:pt x="3155" y="3448"/>
                </a:lnTo>
                <a:lnTo>
                  <a:pt x="3153" y="3439"/>
                </a:lnTo>
                <a:lnTo>
                  <a:pt x="3153" y="3431"/>
                </a:lnTo>
                <a:lnTo>
                  <a:pt x="3152" y="3422"/>
                </a:lnTo>
                <a:lnTo>
                  <a:pt x="3152" y="3412"/>
                </a:lnTo>
                <a:lnTo>
                  <a:pt x="3153" y="3394"/>
                </a:lnTo>
                <a:lnTo>
                  <a:pt x="3154" y="3384"/>
                </a:lnTo>
                <a:lnTo>
                  <a:pt x="3155" y="3374"/>
                </a:lnTo>
                <a:lnTo>
                  <a:pt x="3157" y="3365"/>
                </a:lnTo>
                <a:lnTo>
                  <a:pt x="3159" y="3357"/>
                </a:lnTo>
                <a:lnTo>
                  <a:pt x="3161" y="3348"/>
                </a:lnTo>
                <a:lnTo>
                  <a:pt x="3164" y="3339"/>
                </a:lnTo>
                <a:lnTo>
                  <a:pt x="3167" y="3330"/>
                </a:lnTo>
                <a:lnTo>
                  <a:pt x="3171" y="3322"/>
                </a:lnTo>
                <a:lnTo>
                  <a:pt x="3175" y="3314"/>
                </a:lnTo>
                <a:lnTo>
                  <a:pt x="3179" y="3306"/>
                </a:lnTo>
                <a:lnTo>
                  <a:pt x="3183" y="3298"/>
                </a:lnTo>
                <a:lnTo>
                  <a:pt x="3188" y="3291"/>
                </a:lnTo>
                <a:lnTo>
                  <a:pt x="3198" y="3277"/>
                </a:lnTo>
                <a:lnTo>
                  <a:pt x="3203" y="3269"/>
                </a:lnTo>
                <a:lnTo>
                  <a:pt x="3209" y="3263"/>
                </a:lnTo>
                <a:lnTo>
                  <a:pt x="3222" y="3252"/>
                </a:lnTo>
                <a:lnTo>
                  <a:pt x="3229" y="3247"/>
                </a:lnTo>
                <a:lnTo>
                  <a:pt x="3236" y="3242"/>
                </a:lnTo>
                <a:lnTo>
                  <a:pt x="3242" y="3237"/>
                </a:lnTo>
                <a:lnTo>
                  <a:pt x="3249" y="3233"/>
                </a:lnTo>
                <a:lnTo>
                  <a:pt x="3257" y="3230"/>
                </a:lnTo>
                <a:lnTo>
                  <a:pt x="3264" y="3227"/>
                </a:lnTo>
                <a:lnTo>
                  <a:pt x="3273" y="3224"/>
                </a:lnTo>
                <a:lnTo>
                  <a:pt x="3280" y="3222"/>
                </a:lnTo>
                <a:lnTo>
                  <a:pt x="3288" y="3220"/>
                </a:lnTo>
                <a:lnTo>
                  <a:pt x="3296" y="3219"/>
                </a:lnTo>
                <a:lnTo>
                  <a:pt x="3305" y="3218"/>
                </a:lnTo>
                <a:lnTo>
                  <a:pt x="3313" y="3218"/>
                </a:lnTo>
                <a:lnTo>
                  <a:pt x="3323" y="3218"/>
                </a:lnTo>
                <a:lnTo>
                  <a:pt x="3328" y="3219"/>
                </a:lnTo>
                <a:lnTo>
                  <a:pt x="3334" y="3219"/>
                </a:lnTo>
                <a:lnTo>
                  <a:pt x="3338" y="3220"/>
                </a:lnTo>
                <a:lnTo>
                  <a:pt x="3343" y="3222"/>
                </a:lnTo>
                <a:lnTo>
                  <a:pt x="3351" y="3225"/>
                </a:lnTo>
                <a:lnTo>
                  <a:pt x="3359" y="3229"/>
                </a:lnTo>
                <a:lnTo>
                  <a:pt x="3366" y="3233"/>
                </a:lnTo>
                <a:lnTo>
                  <a:pt x="3373" y="3239"/>
                </a:lnTo>
                <a:lnTo>
                  <a:pt x="3379" y="3245"/>
                </a:lnTo>
                <a:lnTo>
                  <a:pt x="3382" y="3248"/>
                </a:lnTo>
                <a:lnTo>
                  <a:pt x="3384" y="3251"/>
                </a:lnTo>
                <a:lnTo>
                  <a:pt x="3389" y="3258"/>
                </a:lnTo>
                <a:lnTo>
                  <a:pt x="3394" y="3266"/>
                </a:lnTo>
                <a:lnTo>
                  <a:pt x="3398" y="3276"/>
                </a:lnTo>
                <a:lnTo>
                  <a:pt x="3400" y="3284"/>
                </a:lnTo>
                <a:lnTo>
                  <a:pt x="3402" y="3293"/>
                </a:lnTo>
                <a:lnTo>
                  <a:pt x="3403" y="3303"/>
                </a:lnTo>
                <a:lnTo>
                  <a:pt x="3404" y="3313"/>
                </a:lnTo>
                <a:lnTo>
                  <a:pt x="3403" y="3325"/>
                </a:lnTo>
                <a:lnTo>
                  <a:pt x="3402" y="3333"/>
                </a:lnTo>
                <a:lnTo>
                  <a:pt x="3401" y="3339"/>
                </a:lnTo>
                <a:lnTo>
                  <a:pt x="3397" y="3351"/>
                </a:lnTo>
                <a:lnTo>
                  <a:pt x="3392" y="3362"/>
                </a:lnTo>
                <a:lnTo>
                  <a:pt x="3385" y="3373"/>
                </a:lnTo>
                <a:lnTo>
                  <a:pt x="3377" y="3384"/>
                </a:lnTo>
                <a:lnTo>
                  <a:pt x="3373" y="3389"/>
                </a:lnTo>
                <a:lnTo>
                  <a:pt x="3369" y="3395"/>
                </a:lnTo>
                <a:lnTo>
                  <a:pt x="3360" y="3404"/>
                </a:lnTo>
                <a:lnTo>
                  <a:pt x="3350" y="3413"/>
                </a:lnTo>
                <a:lnTo>
                  <a:pt x="3344" y="3416"/>
                </a:lnTo>
                <a:lnTo>
                  <a:pt x="3339" y="3420"/>
                </a:lnTo>
                <a:lnTo>
                  <a:pt x="3327" y="3427"/>
                </a:lnTo>
                <a:lnTo>
                  <a:pt x="3315" y="3432"/>
                </a:lnTo>
                <a:lnTo>
                  <a:pt x="3303" y="3437"/>
                </a:lnTo>
                <a:lnTo>
                  <a:pt x="3297" y="3439"/>
                </a:lnTo>
                <a:lnTo>
                  <a:pt x="3291" y="3440"/>
                </a:lnTo>
                <a:lnTo>
                  <a:pt x="3284" y="3441"/>
                </a:lnTo>
                <a:lnTo>
                  <a:pt x="3278" y="3442"/>
                </a:lnTo>
                <a:lnTo>
                  <a:pt x="3265" y="3443"/>
                </a:lnTo>
                <a:lnTo>
                  <a:pt x="3259" y="3442"/>
                </a:lnTo>
                <a:lnTo>
                  <a:pt x="3254" y="3441"/>
                </a:lnTo>
                <a:lnTo>
                  <a:pt x="3250" y="3438"/>
                </a:lnTo>
                <a:lnTo>
                  <a:pt x="3248" y="3436"/>
                </a:lnTo>
                <a:lnTo>
                  <a:pt x="3246" y="3434"/>
                </a:lnTo>
                <a:lnTo>
                  <a:pt x="3243" y="3429"/>
                </a:lnTo>
                <a:lnTo>
                  <a:pt x="3240" y="3424"/>
                </a:lnTo>
                <a:lnTo>
                  <a:pt x="3239" y="3421"/>
                </a:lnTo>
                <a:lnTo>
                  <a:pt x="3239" y="3418"/>
                </a:lnTo>
                <a:lnTo>
                  <a:pt x="3238" y="3412"/>
                </a:lnTo>
                <a:lnTo>
                  <a:pt x="3238" y="3409"/>
                </a:lnTo>
                <a:lnTo>
                  <a:pt x="3239" y="3406"/>
                </a:lnTo>
                <a:lnTo>
                  <a:pt x="3240" y="3401"/>
                </a:lnTo>
                <a:lnTo>
                  <a:pt x="3241" y="3399"/>
                </a:lnTo>
                <a:lnTo>
                  <a:pt x="3242" y="3397"/>
                </a:lnTo>
                <a:lnTo>
                  <a:pt x="3244" y="3396"/>
                </a:lnTo>
                <a:lnTo>
                  <a:pt x="3245" y="3395"/>
                </a:lnTo>
                <a:lnTo>
                  <a:pt x="3256" y="3393"/>
                </a:lnTo>
                <a:lnTo>
                  <a:pt x="3267" y="3389"/>
                </a:lnTo>
                <a:lnTo>
                  <a:pt x="3278" y="3386"/>
                </a:lnTo>
                <a:lnTo>
                  <a:pt x="3288" y="3382"/>
                </a:lnTo>
                <a:lnTo>
                  <a:pt x="3297" y="3377"/>
                </a:lnTo>
                <a:lnTo>
                  <a:pt x="3305" y="3372"/>
                </a:lnTo>
                <a:lnTo>
                  <a:pt x="3313" y="3367"/>
                </a:lnTo>
                <a:lnTo>
                  <a:pt x="3317" y="3364"/>
                </a:lnTo>
                <a:lnTo>
                  <a:pt x="3320" y="3361"/>
                </a:lnTo>
                <a:lnTo>
                  <a:pt x="3327" y="3354"/>
                </a:lnTo>
                <a:lnTo>
                  <a:pt x="3333" y="3348"/>
                </a:lnTo>
                <a:lnTo>
                  <a:pt x="3338" y="3341"/>
                </a:lnTo>
                <a:lnTo>
                  <a:pt x="3343" y="3334"/>
                </a:lnTo>
                <a:lnTo>
                  <a:pt x="3346" y="3326"/>
                </a:lnTo>
                <a:lnTo>
                  <a:pt x="3348" y="3319"/>
                </a:lnTo>
                <a:lnTo>
                  <a:pt x="3350" y="3312"/>
                </a:lnTo>
                <a:lnTo>
                  <a:pt x="3350" y="3305"/>
                </a:lnTo>
                <a:lnTo>
                  <a:pt x="3350" y="3297"/>
                </a:lnTo>
                <a:lnTo>
                  <a:pt x="3347" y="3290"/>
                </a:lnTo>
                <a:lnTo>
                  <a:pt x="3346" y="3286"/>
                </a:lnTo>
                <a:lnTo>
                  <a:pt x="3344" y="3283"/>
                </a:lnTo>
                <a:lnTo>
                  <a:pt x="3342" y="3281"/>
                </a:lnTo>
                <a:lnTo>
                  <a:pt x="3339" y="3278"/>
                </a:lnTo>
                <a:lnTo>
                  <a:pt x="3334" y="3274"/>
                </a:lnTo>
                <a:lnTo>
                  <a:pt x="3329" y="3272"/>
                </a:lnTo>
                <a:lnTo>
                  <a:pt x="3326" y="3270"/>
                </a:lnTo>
                <a:lnTo>
                  <a:pt x="3318" y="3268"/>
                </a:lnTo>
                <a:lnTo>
                  <a:pt x="3314" y="3267"/>
                </a:lnTo>
                <a:lnTo>
                  <a:pt x="3309" y="3267"/>
                </a:lnTo>
                <a:lnTo>
                  <a:pt x="3300" y="3268"/>
                </a:lnTo>
                <a:lnTo>
                  <a:pt x="3296" y="3269"/>
                </a:lnTo>
                <a:lnTo>
                  <a:pt x="3291" y="3270"/>
                </a:lnTo>
                <a:lnTo>
                  <a:pt x="3287" y="3273"/>
                </a:lnTo>
                <a:lnTo>
                  <a:pt x="3282" y="3275"/>
                </a:lnTo>
                <a:lnTo>
                  <a:pt x="3278" y="3277"/>
                </a:lnTo>
                <a:lnTo>
                  <a:pt x="3274" y="3279"/>
                </a:lnTo>
                <a:lnTo>
                  <a:pt x="3268" y="3282"/>
                </a:lnTo>
                <a:lnTo>
                  <a:pt x="3264" y="3285"/>
                </a:lnTo>
                <a:lnTo>
                  <a:pt x="3256" y="3292"/>
                </a:lnTo>
                <a:lnTo>
                  <a:pt x="3248" y="3300"/>
                </a:lnTo>
                <a:lnTo>
                  <a:pt x="3241" y="3309"/>
                </a:lnTo>
                <a:lnTo>
                  <a:pt x="3237" y="3314"/>
                </a:lnTo>
                <a:lnTo>
                  <a:pt x="3234" y="3319"/>
                </a:lnTo>
                <a:lnTo>
                  <a:pt x="3228" y="3330"/>
                </a:lnTo>
                <a:lnTo>
                  <a:pt x="3222" y="3343"/>
                </a:lnTo>
                <a:lnTo>
                  <a:pt x="3217" y="3355"/>
                </a:lnTo>
                <a:lnTo>
                  <a:pt x="3214" y="3368"/>
                </a:lnTo>
                <a:lnTo>
                  <a:pt x="3211" y="3381"/>
                </a:lnTo>
                <a:lnTo>
                  <a:pt x="3208" y="3396"/>
                </a:lnTo>
                <a:lnTo>
                  <a:pt x="3207" y="3403"/>
                </a:lnTo>
                <a:lnTo>
                  <a:pt x="3207" y="3410"/>
                </a:lnTo>
                <a:lnTo>
                  <a:pt x="3208" y="3423"/>
                </a:lnTo>
                <a:lnTo>
                  <a:pt x="3209" y="3435"/>
                </a:lnTo>
                <a:lnTo>
                  <a:pt x="3212" y="3446"/>
                </a:lnTo>
                <a:lnTo>
                  <a:pt x="3214" y="3453"/>
                </a:lnTo>
                <a:lnTo>
                  <a:pt x="3215" y="3458"/>
                </a:lnTo>
                <a:lnTo>
                  <a:pt x="3219" y="3469"/>
                </a:lnTo>
                <a:lnTo>
                  <a:pt x="3221" y="3474"/>
                </a:lnTo>
                <a:lnTo>
                  <a:pt x="3223" y="3479"/>
                </a:lnTo>
                <a:lnTo>
                  <a:pt x="3226" y="3483"/>
                </a:lnTo>
                <a:lnTo>
                  <a:pt x="3229" y="3488"/>
                </a:lnTo>
                <a:lnTo>
                  <a:pt x="3231" y="3492"/>
                </a:lnTo>
                <a:lnTo>
                  <a:pt x="3234" y="3496"/>
                </a:lnTo>
                <a:lnTo>
                  <a:pt x="3238" y="3500"/>
                </a:lnTo>
                <a:lnTo>
                  <a:pt x="3241" y="3503"/>
                </a:lnTo>
                <a:lnTo>
                  <a:pt x="3248" y="3510"/>
                </a:lnTo>
                <a:lnTo>
                  <a:pt x="3256" y="3517"/>
                </a:lnTo>
                <a:lnTo>
                  <a:pt x="3265" y="3522"/>
                </a:lnTo>
                <a:lnTo>
                  <a:pt x="3275" y="3525"/>
                </a:lnTo>
                <a:lnTo>
                  <a:pt x="3284" y="3528"/>
                </a:lnTo>
                <a:lnTo>
                  <a:pt x="3294" y="3530"/>
                </a:lnTo>
                <a:lnTo>
                  <a:pt x="3300" y="3530"/>
                </a:lnTo>
                <a:lnTo>
                  <a:pt x="3305" y="3530"/>
                </a:lnTo>
                <a:lnTo>
                  <a:pt x="3316" y="3530"/>
                </a:lnTo>
                <a:lnTo>
                  <a:pt x="3326" y="3528"/>
                </a:lnTo>
                <a:lnTo>
                  <a:pt x="3337" y="3526"/>
                </a:lnTo>
                <a:lnTo>
                  <a:pt x="3346" y="3523"/>
                </a:lnTo>
                <a:lnTo>
                  <a:pt x="3356" y="3518"/>
                </a:lnTo>
                <a:lnTo>
                  <a:pt x="3365" y="3513"/>
                </a:lnTo>
                <a:lnTo>
                  <a:pt x="3373" y="3507"/>
                </a:lnTo>
                <a:lnTo>
                  <a:pt x="3381" y="3500"/>
                </a:lnTo>
                <a:lnTo>
                  <a:pt x="3389" y="3493"/>
                </a:lnTo>
                <a:lnTo>
                  <a:pt x="3398" y="3485"/>
                </a:lnTo>
                <a:lnTo>
                  <a:pt x="3405" y="3476"/>
                </a:lnTo>
                <a:lnTo>
                  <a:pt x="3412" y="3467"/>
                </a:lnTo>
                <a:lnTo>
                  <a:pt x="3425" y="3447"/>
                </a:lnTo>
                <a:lnTo>
                  <a:pt x="3431" y="3437"/>
                </a:lnTo>
                <a:lnTo>
                  <a:pt x="3437" y="3426"/>
                </a:lnTo>
                <a:lnTo>
                  <a:pt x="3442" y="3415"/>
                </a:lnTo>
                <a:lnTo>
                  <a:pt x="3447" y="3404"/>
                </a:lnTo>
                <a:lnTo>
                  <a:pt x="3452" y="3392"/>
                </a:lnTo>
                <a:lnTo>
                  <a:pt x="3456" y="3379"/>
                </a:lnTo>
                <a:lnTo>
                  <a:pt x="3460" y="3367"/>
                </a:lnTo>
                <a:lnTo>
                  <a:pt x="3463" y="3355"/>
                </a:lnTo>
                <a:lnTo>
                  <a:pt x="3466" y="3343"/>
                </a:lnTo>
                <a:lnTo>
                  <a:pt x="3469" y="3330"/>
                </a:lnTo>
                <a:lnTo>
                  <a:pt x="3471" y="3318"/>
                </a:lnTo>
                <a:lnTo>
                  <a:pt x="3473" y="3307"/>
                </a:lnTo>
                <a:lnTo>
                  <a:pt x="3475" y="3295"/>
                </a:lnTo>
                <a:lnTo>
                  <a:pt x="3476" y="3283"/>
                </a:lnTo>
                <a:lnTo>
                  <a:pt x="3476" y="3272"/>
                </a:lnTo>
                <a:lnTo>
                  <a:pt x="3477" y="3260"/>
                </a:lnTo>
                <a:lnTo>
                  <a:pt x="3477" y="3249"/>
                </a:lnTo>
                <a:lnTo>
                  <a:pt x="3476" y="3239"/>
                </a:lnTo>
                <a:lnTo>
                  <a:pt x="3477" y="3236"/>
                </a:lnTo>
                <a:lnTo>
                  <a:pt x="3479" y="3234"/>
                </a:lnTo>
                <a:lnTo>
                  <a:pt x="3481" y="3232"/>
                </a:lnTo>
                <a:lnTo>
                  <a:pt x="3484" y="3230"/>
                </a:lnTo>
                <a:lnTo>
                  <a:pt x="3490" y="3227"/>
                </a:lnTo>
                <a:lnTo>
                  <a:pt x="3494" y="3227"/>
                </a:lnTo>
                <a:lnTo>
                  <a:pt x="3499" y="3226"/>
                </a:lnTo>
                <a:lnTo>
                  <a:pt x="3506" y="3227"/>
                </a:lnTo>
                <a:lnTo>
                  <a:pt x="3509" y="3228"/>
                </a:lnTo>
                <a:lnTo>
                  <a:pt x="3513" y="3229"/>
                </a:lnTo>
                <a:lnTo>
                  <a:pt x="3519" y="3231"/>
                </a:lnTo>
                <a:lnTo>
                  <a:pt x="3522" y="3233"/>
                </a:lnTo>
                <a:lnTo>
                  <a:pt x="3524" y="3236"/>
                </a:lnTo>
                <a:lnTo>
                  <a:pt x="3528" y="3241"/>
                </a:lnTo>
                <a:lnTo>
                  <a:pt x="3530" y="3245"/>
                </a:lnTo>
                <a:lnTo>
                  <a:pt x="3531" y="3249"/>
                </a:lnTo>
                <a:lnTo>
                  <a:pt x="3532" y="3253"/>
                </a:lnTo>
                <a:lnTo>
                  <a:pt x="3533" y="3258"/>
                </a:lnTo>
                <a:lnTo>
                  <a:pt x="3533" y="3263"/>
                </a:lnTo>
                <a:lnTo>
                  <a:pt x="3533" y="3269"/>
                </a:lnTo>
                <a:lnTo>
                  <a:pt x="3533" y="3286"/>
                </a:lnTo>
                <a:lnTo>
                  <a:pt x="3532" y="3301"/>
                </a:lnTo>
                <a:lnTo>
                  <a:pt x="3530" y="3316"/>
                </a:lnTo>
                <a:lnTo>
                  <a:pt x="3528" y="3333"/>
                </a:lnTo>
                <a:lnTo>
                  <a:pt x="3526" y="3347"/>
                </a:lnTo>
                <a:lnTo>
                  <a:pt x="3523" y="3362"/>
                </a:lnTo>
                <a:lnTo>
                  <a:pt x="3519" y="3377"/>
                </a:lnTo>
                <a:lnTo>
                  <a:pt x="3515" y="3392"/>
                </a:lnTo>
                <a:lnTo>
                  <a:pt x="3511" y="3406"/>
                </a:lnTo>
                <a:lnTo>
                  <a:pt x="3505" y="3419"/>
                </a:lnTo>
                <a:lnTo>
                  <a:pt x="3500" y="3432"/>
                </a:lnTo>
                <a:lnTo>
                  <a:pt x="3494" y="3445"/>
                </a:lnTo>
                <a:lnTo>
                  <a:pt x="3488" y="3459"/>
                </a:lnTo>
                <a:lnTo>
                  <a:pt x="3482" y="3471"/>
                </a:lnTo>
                <a:lnTo>
                  <a:pt x="3475" y="3482"/>
                </a:lnTo>
                <a:lnTo>
                  <a:pt x="3467" y="3493"/>
                </a:lnTo>
                <a:lnTo>
                  <a:pt x="3460" y="3504"/>
                </a:lnTo>
                <a:lnTo>
                  <a:pt x="3452" y="3515"/>
                </a:lnTo>
                <a:lnTo>
                  <a:pt x="3442" y="3525"/>
                </a:lnTo>
                <a:lnTo>
                  <a:pt x="3434" y="3534"/>
                </a:lnTo>
                <a:lnTo>
                  <a:pt x="3425" y="3542"/>
                </a:lnTo>
                <a:lnTo>
                  <a:pt x="3415" y="3550"/>
                </a:lnTo>
                <a:lnTo>
                  <a:pt x="3405" y="3557"/>
                </a:lnTo>
                <a:lnTo>
                  <a:pt x="3395" y="3564"/>
                </a:lnTo>
                <a:lnTo>
                  <a:pt x="3384" y="3570"/>
                </a:lnTo>
                <a:lnTo>
                  <a:pt x="3374" y="3576"/>
                </a:lnTo>
                <a:lnTo>
                  <a:pt x="3363" y="3580"/>
                </a:lnTo>
                <a:lnTo>
                  <a:pt x="3351" y="3584"/>
                </a:lnTo>
                <a:lnTo>
                  <a:pt x="3340" y="3587"/>
                </a:lnTo>
                <a:lnTo>
                  <a:pt x="3327" y="3589"/>
                </a:lnTo>
                <a:lnTo>
                  <a:pt x="3315" y="3590"/>
                </a:lnTo>
                <a:lnTo>
                  <a:pt x="3303" y="3591"/>
                </a:lnTo>
                <a:close/>
                <a:moveTo>
                  <a:pt x="3691" y="3585"/>
                </a:moveTo>
                <a:lnTo>
                  <a:pt x="3688" y="3585"/>
                </a:lnTo>
                <a:lnTo>
                  <a:pt x="3686" y="3584"/>
                </a:lnTo>
                <a:lnTo>
                  <a:pt x="3681" y="3581"/>
                </a:lnTo>
                <a:lnTo>
                  <a:pt x="3674" y="3577"/>
                </a:lnTo>
                <a:lnTo>
                  <a:pt x="3667" y="3572"/>
                </a:lnTo>
                <a:lnTo>
                  <a:pt x="3654" y="3560"/>
                </a:lnTo>
                <a:lnTo>
                  <a:pt x="3639" y="3546"/>
                </a:lnTo>
                <a:lnTo>
                  <a:pt x="3622" y="3530"/>
                </a:lnTo>
                <a:lnTo>
                  <a:pt x="3605" y="3513"/>
                </a:lnTo>
                <a:lnTo>
                  <a:pt x="3589" y="3495"/>
                </a:lnTo>
                <a:lnTo>
                  <a:pt x="3575" y="3479"/>
                </a:lnTo>
                <a:lnTo>
                  <a:pt x="3563" y="3464"/>
                </a:lnTo>
                <a:lnTo>
                  <a:pt x="3558" y="3458"/>
                </a:lnTo>
                <a:lnTo>
                  <a:pt x="3555" y="3453"/>
                </a:lnTo>
                <a:lnTo>
                  <a:pt x="3550" y="3442"/>
                </a:lnTo>
                <a:lnTo>
                  <a:pt x="3546" y="3432"/>
                </a:lnTo>
                <a:lnTo>
                  <a:pt x="3544" y="3422"/>
                </a:lnTo>
                <a:lnTo>
                  <a:pt x="3543" y="3412"/>
                </a:lnTo>
                <a:lnTo>
                  <a:pt x="3543" y="3407"/>
                </a:lnTo>
                <a:lnTo>
                  <a:pt x="3544" y="3401"/>
                </a:lnTo>
                <a:lnTo>
                  <a:pt x="3545" y="3395"/>
                </a:lnTo>
                <a:lnTo>
                  <a:pt x="3547" y="3388"/>
                </a:lnTo>
                <a:lnTo>
                  <a:pt x="3550" y="3382"/>
                </a:lnTo>
                <a:lnTo>
                  <a:pt x="3553" y="3376"/>
                </a:lnTo>
                <a:lnTo>
                  <a:pt x="3557" y="3369"/>
                </a:lnTo>
                <a:lnTo>
                  <a:pt x="3561" y="3362"/>
                </a:lnTo>
                <a:lnTo>
                  <a:pt x="3571" y="3351"/>
                </a:lnTo>
                <a:lnTo>
                  <a:pt x="3582" y="3338"/>
                </a:lnTo>
                <a:lnTo>
                  <a:pt x="3612" y="3303"/>
                </a:lnTo>
                <a:lnTo>
                  <a:pt x="3647" y="3263"/>
                </a:lnTo>
                <a:lnTo>
                  <a:pt x="3682" y="3223"/>
                </a:lnTo>
                <a:lnTo>
                  <a:pt x="3683" y="3222"/>
                </a:lnTo>
                <a:lnTo>
                  <a:pt x="3687" y="3222"/>
                </a:lnTo>
                <a:lnTo>
                  <a:pt x="3691" y="3222"/>
                </a:lnTo>
                <a:lnTo>
                  <a:pt x="3695" y="3223"/>
                </a:lnTo>
                <a:lnTo>
                  <a:pt x="3700" y="3225"/>
                </a:lnTo>
                <a:lnTo>
                  <a:pt x="3704" y="3228"/>
                </a:lnTo>
                <a:lnTo>
                  <a:pt x="3708" y="3231"/>
                </a:lnTo>
                <a:lnTo>
                  <a:pt x="3712" y="3235"/>
                </a:lnTo>
                <a:lnTo>
                  <a:pt x="3716" y="3239"/>
                </a:lnTo>
                <a:lnTo>
                  <a:pt x="3718" y="3244"/>
                </a:lnTo>
                <a:lnTo>
                  <a:pt x="3720" y="3248"/>
                </a:lnTo>
                <a:lnTo>
                  <a:pt x="3720" y="3253"/>
                </a:lnTo>
                <a:lnTo>
                  <a:pt x="3720" y="3259"/>
                </a:lnTo>
                <a:lnTo>
                  <a:pt x="3718" y="3264"/>
                </a:lnTo>
                <a:lnTo>
                  <a:pt x="3715" y="3270"/>
                </a:lnTo>
                <a:lnTo>
                  <a:pt x="3711" y="3277"/>
                </a:lnTo>
                <a:lnTo>
                  <a:pt x="3703" y="3287"/>
                </a:lnTo>
                <a:lnTo>
                  <a:pt x="3692" y="3300"/>
                </a:lnTo>
                <a:lnTo>
                  <a:pt x="3662" y="3334"/>
                </a:lnTo>
                <a:lnTo>
                  <a:pt x="3632" y="3368"/>
                </a:lnTo>
                <a:lnTo>
                  <a:pt x="3619" y="3382"/>
                </a:lnTo>
                <a:lnTo>
                  <a:pt x="3610" y="3395"/>
                </a:lnTo>
                <a:lnTo>
                  <a:pt x="3607" y="3398"/>
                </a:lnTo>
                <a:lnTo>
                  <a:pt x="3605" y="3402"/>
                </a:lnTo>
                <a:lnTo>
                  <a:pt x="3604" y="3406"/>
                </a:lnTo>
                <a:lnTo>
                  <a:pt x="3604" y="3409"/>
                </a:lnTo>
                <a:lnTo>
                  <a:pt x="3604" y="3414"/>
                </a:lnTo>
                <a:lnTo>
                  <a:pt x="3606" y="3418"/>
                </a:lnTo>
                <a:lnTo>
                  <a:pt x="3608" y="3422"/>
                </a:lnTo>
                <a:lnTo>
                  <a:pt x="3611" y="3427"/>
                </a:lnTo>
                <a:lnTo>
                  <a:pt x="3618" y="3436"/>
                </a:lnTo>
                <a:lnTo>
                  <a:pt x="3629" y="3448"/>
                </a:lnTo>
                <a:lnTo>
                  <a:pt x="3657" y="3478"/>
                </a:lnTo>
                <a:lnTo>
                  <a:pt x="3689" y="3510"/>
                </a:lnTo>
                <a:lnTo>
                  <a:pt x="3721" y="3541"/>
                </a:lnTo>
                <a:lnTo>
                  <a:pt x="3723" y="3543"/>
                </a:lnTo>
                <a:lnTo>
                  <a:pt x="3724" y="3545"/>
                </a:lnTo>
                <a:lnTo>
                  <a:pt x="3725" y="3548"/>
                </a:lnTo>
                <a:lnTo>
                  <a:pt x="3725" y="3550"/>
                </a:lnTo>
                <a:lnTo>
                  <a:pt x="3725" y="3556"/>
                </a:lnTo>
                <a:lnTo>
                  <a:pt x="3724" y="3559"/>
                </a:lnTo>
                <a:lnTo>
                  <a:pt x="3722" y="3561"/>
                </a:lnTo>
                <a:lnTo>
                  <a:pt x="3719" y="3567"/>
                </a:lnTo>
                <a:lnTo>
                  <a:pt x="3716" y="3570"/>
                </a:lnTo>
                <a:lnTo>
                  <a:pt x="3714" y="3573"/>
                </a:lnTo>
                <a:lnTo>
                  <a:pt x="3709" y="3578"/>
                </a:lnTo>
                <a:lnTo>
                  <a:pt x="3706" y="3580"/>
                </a:lnTo>
                <a:lnTo>
                  <a:pt x="3703" y="3582"/>
                </a:lnTo>
                <a:lnTo>
                  <a:pt x="3697" y="3584"/>
                </a:lnTo>
                <a:lnTo>
                  <a:pt x="3694" y="3585"/>
                </a:lnTo>
                <a:lnTo>
                  <a:pt x="3691" y="3585"/>
                </a:lnTo>
                <a:close/>
                <a:moveTo>
                  <a:pt x="3470" y="4321"/>
                </a:moveTo>
                <a:lnTo>
                  <a:pt x="3474" y="4298"/>
                </a:lnTo>
                <a:lnTo>
                  <a:pt x="3476" y="4275"/>
                </a:lnTo>
                <a:lnTo>
                  <a:pt x="3477" y="4253"/>
                </a:lnTo>
                <a:lnTo>
                  <a:pt x="3477" y="4243"/>
                </a:lnTo>
                <a:lnTo>
                  <a:pt x="3476" y="4233"/>
                </a:lnTo>
                <a:lnTo>
                  <a:pt x="3477" y="4229"/>
                </a:lnTo>
                <a:lnTo>
                  <a:pt x="3479" y="4227"/>
                </a:lnTo>
                <a:lnTo>
                  <a:pt x="3481" y="4225"/>
                </a:lnTo>
                <a:lnTo>
                  <a:pt x="3484" y="4223"/>
                </a:lnTo>
                <a:lnTo>
                  <a:pt x="3490" y="4221"/>
                </a:lnTo>
                <a:lnTo>
                  <a:pt x="3494" y="4220"/>
                </a:lnTo>
                <a:lnTo>
                  <a:pt x="3499" y="4220"/>
                </a:lnTo>
                <a:lnTo>
                  <a:pt x="3506" y="4220"/>
                </a:lnTo>
                <a:lnTo>
                  <a:pt x="3509" y="4221"/>
                </a:lnTo>
                <a:lnTo>
                  <a:pt x="3513" y="4222"/>
                </a:lnTo>
                <a:lnTo>
                  <a:pt x="3519" y="4225"/>
                </a:lnTo>
                <a:lnTo>
                  <a:pt x="3522" y="4227"/>
                </a:lnTo>
                <a:lnTo>
                  <a:pt x="3524" y="4229"/>
                </a:lnTo>
                <a:lnTo>
                  <a:pt x="3528" y="4236"/>
                </a:lnTo>
                <a:lnTo>
                  <a:pt x="3530" y="4239"/>
                </a:lnTo>
                <a:lnTo>
                  <a:pt x="3531" y="4243"/>
                </a:lnTo>
                <a:lnTo>
                  <a:pt x="3532" y="4247"/>
                </a:lnTo>
                <a:lnTo>
                  <a:pt x="3533" y="4252"/>
                </a:lnTo>
                <a:lnTo>
                  <a:pt x="3533" y="4258"/>
                </a:lnTo>
                <a:lnTo>
                  <a:pt x="3533" y="4263"/>
                </a:lnTo>
                <a:lnTo>
                  <a:pt x="3533" y="4278"/>
                </a:lnTo>
                <a:lnTo>
                  <a:pt x="3532" y="4293"/>
                </a:lnTo>
                <a:lnTo>
                  <a:pt x="3529" y="4321"/>
                </a:lnTo>
                <a:lnTo>
                  <a:pt x="3470" y="4321"/>
                </a:lnTo>
                <a:close/>
                <a:moveTo>
                  <a:pt x="3168" y="4321"/>
                </a:moveTo>
                <a:lnTo>
                  <a:pt x="3171" y="4315"/>
                </a:lnTo>
                <a:lnTo>
                  <a:pt x="3174" y="4310"/>
                </a:lnTo>
                <a:lnTo>
                  <a:pt x="3179" y="4299"/>
                </a:lnTo>
                <a:lnTo>
                  <a:pt x="3186" y="4287"/>
                </a:lnTo>
                <a:lnTo>
                  <a:pt x="3193" y="4277"/>
                </a:lnTo>
                <a:lnTo>
                  <a:pt x="3200" y="4267"/>
                </a:lnTo>
                <a:lnTo>
                  <a:pt x="3208" y="4258"/>
                </a:lnTo>
                <a:lnTo>
                  <a:pt x="3213" y="4254"/>
                </a:lnTo>
                <a:lnTo>
                  <a:pt x="3218" y="4250"/>
                </a:lnTo>
                <a:lnTo>
                  <a:pt x="3227" y="4243"/>
                </a:lnTo>
                <a:lnTo>
                  <a:pt x="3231" y="4239"/>
                </a:lnTo>
                <a:lnTo>
                  <a:pt x="3236" y="4236"/>
                </a:lnTo>
                <a:lnTo>
                  <a:pt x="3246" y="4229"/>
                </a:lnTo>
                <a:lnTo>
                  <a:pt x="3251" y="4226"/>
                </a:lnTo>
                <a:lnTo>
                  <a:pt x="3256" y="4223"/>
                </a:lnTo>
                <a:lnTo>
                  <a:pt x="3267" y="4219"/>
                </a:lnTo>
                <a:lnTo>
                  <a:pt x="3279" y="4215"/>
                </a:lnTo>
                <a:lnTo>
                  <a:pt x="3290" y="4213"/>
                </a:lnTo>
                <a:lnTo>
                  <a:pt x="3295" y="4212"/>
                </a:lnTo>
                <a:lnTo>
                  <a:pt x="3301" y="4211"/>
                </a:lnTo>
                <a:lnTo>
                  <a:pt x="3313" y="4211"/>
                </a:lnTo>
                <a:lnTo>
                  <a:pt x="3323" y="4211"/>
                </a:lnTo>
                <a:lnTo>
                  <a:pt x="3328" y="4212"/>
                </a:lnTo>
                <a:lnTo>
                  <a:pt x="3334" y="4213"/>
                </a:lnTo>
                <a:lnTo>
                  <a:pt x="3338" y="4214"/>
                </a:lnTo>
                <a:lnTo>
                  <a:pt x="3343" y="4215"/>
                </a:lnTo>
                <a:lnTo>
                  <a:pt x="3351" y="4218"/>
                </a:lnTo>
                <a:lnTo>
                  <a:pt x="3359" y="4222"/>
                </a:lnTo>
                <a:lnTo>
                  <a:pt x="3366" y="4226"/>
                </a:lnTo>
                <a:lnTo>
                  <a:pt x="3373" y="4233"/>
                </a:lnTo>
                <a:lnTo>
                  <a:pt x="3379" y="4239"/>
                </a:lnTo>
                <a:lnTo>
                  <a:pt x="3382" y="4242"/>
                </a:lnTo>
                <a:lnTo>
                  <a:pt x="3384" y="4245"/>
                </a:lnTo>
                <a:lnTo>
                  <a:pt x="3389" y="4253"/>
                </a:lnTo>
                <a:lnTo>
                  <a:pt x="3394" y="4260"/>
                </a:lnTo>
                <a:lnTo>
                  <a:pt x="3398" y="4269"/>
                </a:lnTo>
                <a:lnTo>
                  <a:pt x="3400" y="4277"/>
                </a:lnTo>
                <a:lnTo>
                  <a:pt x="3402" y="4287"/>
                </a:lnTo>
                <a:lnTo>
                  <a:pt x="3403" y="4297"/>
                </a:lnTo>
                <a:lnTo>
                  <a:pt x="3404" y="4307"/>
                </a:lnTo>
                <a:lnTo>
                  <a:pt x="3403" y="4314"/>
                </a:lnTo>
                <a:lnTo>
                  <a:pt x="3403" y="4321"/>
                </a:lnTo>
                <a:lnTo>
                  <a:pt x="3346" y="4321"/>
                </a:lnTo>
                <a:lnTo>
                  <a:pt x="3348" y="4316"/>
                </a:lnTo>
                <a:lnTo>
                  <a:pt x="3349" y="4310"/>
                </a:lnTo>
                <a:lnTo>
                  <a:pt x="3350" y="4305"/>
                </a:lnTo>
                <a:lnTo>
                  <a:pt x="3350" y="4299"/>
                </a:lnTo>
                <a:lnTo>
                  <a:pt x="3350" y="4290"/>
                </a:lnTo>
                <a:lnTo>
                  <a:pt x="3347" y="4283"/>
                </a:lnTo>
                <a:lnTo>
                  <a:pt x="3346" y="4280"/>
                </a:lnTo>
                <a:lnTo>
                  <a:pt x="3344" y="4277"/>
                </a:lnTo>
                <a:lnTo>
                  <a:pt x="3342" y="4274"/>
                </a:lnTo>
                <a:lnTo>
                  <a:pt x="3339" y="4271"/>
                </a:lnTo>
                <a:lnTo>
                  <a:pt x="3334" y="4267"/>
                </a:lnTo>
                <a:lnTo>
                  <a:pt x="3329" y="4265"/>
                </a:lnTo>
                <a:lnTo>
                  <a:pt x="3326" y="4264"/>
                </a:lnTo>
                <a:lnTo>
                  <a:pt x="3318" y="4262"/>
                </a:lnTo>
                <a:lnTo>
                  <a:pt x="3314" y="4262"/>
                </a:lnTo>
                <a:lnTo>
                  <a:pt x="3309" y="4261"/>
                </a:lnTo>
                <a:lnTo>
                  <a:pt x="3304" y="4262"/>
                </a:lnTo>
                <a:lnTo>
                  <a:pt x="3298" y="4263"/>
                </a:lnTo>
                <a:lnTo>
                  <a:pt x="3288" y="4266"/>
                </a:lnTo>
                <a:lnTo>
                  <a:pt x="3282" y="4268"/>
                </a:lnTo>
                <a:lnTo>
                  <a:pt x="3277" y="4271"/>
                </a:lnTo>
                <a:lnTo>
                  <a:pt x="3265" y="4278"/>
                </a:lnTo>
                <a:lnTo>
                  <a:pt x="3260" y="4282"/>
                </a:lnTo>
                <a:lnTo>
                  <a:pt x="3255" y="4286"/>
                </a:lnTo>
                <a:lnTo>
                  <a:pt x="3251" y="4292"/>
                </a:lnTo>
                <a:lnTo>
                  <a:pt x="3246" y="4297"/>
                </a:lnTo>
                <a:lnTo>
                  <a:pt x="3237" y="4308"/>
                </a:lnTo>
                <a:lnTo>
                  <a:pt x="3229" y="4321"/>
                </a:lnTo>
                <a:lnTo>
                  <a:pt x="3168" y="4321"/>
                </a:lnTo>
                <a:close/>
                <a:moveTo>
                  <a:pt x="3591" y="4321"/>
                </a:moveTo>
                <a:lnTo>
                  <a:pt x="3635" y="4271"/>
                </a:lnTo>
                <a:lnTo>
                  <a:pt x="3659" y="4244"/>
                </a:lnTo>
                <a:lnTo>
                  <a:pt x="3682" y="4216"/>
                </a:lnTo>
                <a:lnTo>
                  <a:pt x="3683" y="4216"/>
                </a:lnTo>
                <a:lnTo>
                  <a:pt x="3687" y="4215"/>
                </a:lnTo>
                <a:lnTo>
                  <a:pt x="3691" y="4216"/>
                </a:lnTo>
                <a:lnTo>
                  <a:pt x="3695" y="4217"/>
                </a:lnTo>
                <a:lnTo>
                  <a:pt x="3700" y="4219"/>
                </a:lnTo>
                <a:lnTo>
                  <a:pt x="3704" y="4221"/>
                </a:lnTo>
                <a:lnTo>
                  <a:pt x="3708" y="4224"/>
                </a:lnTo>
                <a:lnTo>
                  <a:pt x="3712" y="4228"/>
                </a:lnTo>
                <a:lnTo>
                  <a:pt x="3716" y="4233"/>
                </a:lnTo>
                <a:lnTo>
                  <a:pt x="3718" y="4238"/>
                </a:lnTo>
                <a:lnTo>
                  <a:pt x="3720" y="4243"/>
                </a:lnTo>
                <a:lnTo>
                  <a:pt x="3720" y="4247"/>
                </a:lnTo>
                <a:lnTo>
                  <a:pt x="3720" y="4253"/>
                </a:lnTo>
                <a:lnTo>
                  <a:pt x="3718" y="4258"/>
                </a:lnTo>
                <a:lnTo>
                  <a:pt x="3715" y="4264"/>
                </a:lnTo>
                <a:lnTo>
                  <a:pt x="3711" y="4270"/>
                </a:lnTo>
                <a:lnTo>
                  <a:pt x="3704" y="4279"/>
                </a:lnTo>
                <a:lnTo>
                  <a:pt x="3694" y="4292"/>
                </a:lnTo>
                <a:lnTo>
                  <a:pt x="3667" y="4321"/>
                </a:lnTo>
                <a:lnTo>
                  <a:pt x="3591" y="4321"/>
                </a:lnTo>
                <a:close/>
                <a:moveTo>
                  <a:pt x="1021" y="3591"/>
                </a:moveTo>
                <a:lnTo>
                  <a:pt x="1013" y="3591"/>
                </a:lnTo>
                <a:lnTo>
                  <a:pt x="1006" y="3590"/>
                </a:lnTo>
                <a:lnTo>
                  <a:pt x="998" y="3589"/>
                </a:lnTo>
                <a:lnTo>
                  <a:pt x="991" y="3587"/>
                </a:lnTo>
                <a:lnTo>
                  <a:pt x="982" y="3585"/>
                </a:lnTo>
                <a:lnTo>
                  <a:pt x="975" y="3583"/>
                </a:lnTo>
                <a:lnTo>
                  <a:pt x="962" y="3577"/>
                </a:lnTo>
                <a:lnTo>
                  <a:pt x="949" y="3569"/>
                </a:lnTo>
                <a:lnTo>
                  <a:pt x="942" y="3565"/>
                </a:lnTo>
                <a:lnTo>
                  <a:pt x="936" y="3560"/>
                </a:lnTo>
                <a:lnTo>
                  <a:pt x="929" y="3555"/>
                </a:lnTo>
                <a:lnTo>
                  <a:pt x="924" y="3550"/>
                </a:lnTo>
                <a:lnTo>
                  <a:pt x="918" y="3545"/>
                </a:lnTo>
                <a:lnTo>
                  <a:pt x="913" y="3539"/>
                </a:lnTo>
                <a:lnTo>
                  <a:pt x="908" y="3533"/>
                </a:lnTo>
                <a:lnTo>
                  <a:pt x="903" y="3527"/>
                </a:lnTo>
                <a:lnTo>
                  <a:pt x="899" y="3520"/>
                </a:lnTo>
                <a:lnTo>
                  <a:pt x="895" y="3513"/>
                </a:lnTo>
                <a:lnTo>
                  <a:pt x="891" y="3505"/>
                </a:lnTo>
                <a:lnTo>
                  <a:pt x="887" y="3498"/>
                </a:lnTo>
                <a:lnTo>
                  <a:pt x="884" y="3490"/>
                </a:lnTo>
                <a:lnTo>
                  <a:pt x="881" y="3482"/>
                </a:lnTo>
                <a:lnTo>
                  <a:pt x="878" y="3474"/>
                </a:lnTo>
                <a:lnTo>
                  <a:pt x="876" y="3466"/>
                </a:lnTo>
                <a:lnTo>
                  <a:pt x="874" y="3458"/>
                </a:lnTo>
                <a:lnTo>
                  <a:pt x="872" y="3448"/>
                </a:lnTo>
                <a:lnTo>
                  <a:pt x="871" y="3439"/>
                </a:lnTo>
                <a:lnTo>
                  <a:pt x="869" y="3431"/>
                </a:lnTo>
                <a:lnTo>
                  <a:pt x="868" y="3422"/>
                </a:lnTo>
                <a:lnTo>
                  <a:pt x="868" y="3412"/>
                </a:lnTo>
                <a:lnTo>
                  <a:pt x="869" y="3394"/>
                </a:lnTo>
                <a:lnTo>
                  <a:pt x="871" y="3384"/>
                </a:lnTo>
                <a:lnTo>
                  <a:pt x="872" y="3374"/>
                </a:lnTo>
                <a:lnTo>
                  <a:pt x="874" y="3365"/>
                </a:lnTo>
                <a:lnTo>
                  <a:pt x="876" y="3357"/>
                </a:lnTo>
                <a:lnTo>
                  <a:pt x="879" y="3348"/>
                </a:lnTo>
                <a:lnTo>
                  <a:pt x="882" y="3339"/>
                </a:lnTo>
                <a:lnTo>
                  <a:pt x="885" y="3330"/>
                </a:lnTo>
                <a:lnTo>
                  <a:pt x="888" y="3322"/>
                </a:lnTo>
                <a:lnTo>
                  <a:pt x="892" y="3314"/>
                </a:lnTo>
                <a:lnTo>
                  <a:pt x="896" y="3306"/>
                </a:lnTo>
                <a:lnTo>
                  <a:pt x="901" y="3298"/>
                </a:lnTo>
                <a:lnTo>
                  <a:pt x="905" y="3291"/>
                </a:lnTo>
                <a:lnTo>
                  <a:pt x="916" y="3277"/>
                </a:lnTo>
                <a:lnTo>
                  <a:pt x="921" y="3269"/>
                </a:lnTo>
                <a:lnTo>
                  <a:pt x="927" y="3263"/>
                </a:lnTo>
                <a:lnTo>
                  <a:pt x="940" y="3252"/>
                </a:lnTo>
                <a:lnTo>
                  <a:pt x="946" y="3247"/>
                </a:lnTo>
                <a:lnTo>
                  <a:pt x="953" y="3242"/>
                </a:lnTo>
                <a:lnTo>
                  <a:pt x="960" y="3237"/>
                </a:lnTo>
                <a:lnTo>
                  <a:pt x="967" y="3233"/>
                </a:lnTo>
                <a:lnTo>
                  <a:pt x="974" y="3230"/>
                </a:lnTo>
                <a:lnTo>
                  <a:pt x="982" y="3227"/>
                </a:lnTo>
                <a:lnTo>
                  <a:pt x="989" y="3224"/>
                </a:lnTo>
                <a:lnTo>
                  <a:pt x="998" y="3222"/>
                </a:lnTo>
                <a:lnTo>
                  <a:pt x="1006" y="3220"/>
                </a:lnTo>
                <a:lnTo>
                  <a:pt x="1014" y="3219"/>
                </a:lnTo>
                <a:lnTo>
                  <a:pt x="1022" y="3218"/>
                </a:lnTo>
                <a:lnTo>
                  <a:pt x="1030" y="3218"/>
                </a:lnTo>
                <a:lnTo>
                  <a:pt x="1041" y="3218"/>
                </a:lnTo>
                <a:lnTo>
                  <a:pt x="1045" y="3219"/>
                </a:lnTo>
                <a:lnTo>
                  <a:pt x="1051" y="3219"/>
                </a:lnTo>
                <a:lnTo>
                  <a:pt x="1056" y="3220"/>
                </a:lnTo>
                <a:lnTo>
                  <a:pt x="1060" y="3222"/>
                </a:lnTo>
                <a:lnTo>
                  <a:pt x="1069" y="3225"/>
                </a:lnTo>
                <a:lnTo>
                  <a:pt x="1077" y="3229"/>
                </a:lnTo>
                <a:lnTo>
                  <a:pt x="1084" y="3233"/>
                </a:lnTo>
                <a:lnTo>
                  <a:pt x="1091" y="3239"/>
                </a:lnTo>
                <a:lnTo>
                  <a:pt x="1097" y="3245"/>
                </a:lnTo>
                <a:lnTo>
                  <a:pt x="1099" y="3248"/>
                </a:lnTo>
                <a:lnTo>
                  <a:pt x="1102" y="3251"/>
                </a:lnTo>
                <a:lnTo>
                  <a:pt x="1107" y="3258"/>
                </a:lnTo>
                <a:lnTo>
                  <a:pt x="1112" y="3266"/>
                </a:lnTo>
                <a:lnTo>
                  <a:pt x="1115" y="3276"/>
                </a:lnTo>
                <a:lnTo>
                  <a:pt x="1118" y="3284"/>
                </a:lnTo>
                <a:lnTo>
                  <a:pt x="1120" y="3293"/>
                </a:lnTo>
                <a:lnTo>
                  <a:pt x="1121" y="3303"/>
                </a:lnTo>
                <a:lnTo>
                  <a:pt x="1121" y="3313"/>
                </a:lnTo>
                <a:lnTo>
                  <a:pt x="1120" y="3325"/>
                </a:lnTo>
                <a:lnTo>
                  <a:pt x="1119" y="3333"/>
                </a:lnTo>
                <a:lnTo>
                  <a:pt x="1118" y="3339"/>
                </a:lnTo>
                <a:lnTo>
                  <a:pt x="1114" y="3351"/>
                </a:lnTo>
                <a:lnTo>
                  <a:pt x="1108" y="3362"/>
                </a:lnTo>
                <a:lnTo>
                  <a:pt x="1102" y="3373"/>
                </a:lnTo>
                <a:lnTo>
                  <a:pt x="1095" y="3384"/>
                </a:lnTo>
                <a:lnTo>
                  <a:pt x="1091" y="3389"/>
                </a:lnTo>
                <a:lnTo>
                  <a:pt x="1086" y="3395"/>
                </a:lnTo>
                <a:lnTo>
                  <a:pt x="1077" y="3404"/>
                </a:lnTo>
                <a:lnTo>
                  <a:pt x="1067" y="3413"/>
                </a:lnTo>
                <a:lnTo>
                  <a:pt x="1062" y="3416"/>
                </a:lnTo>
                <a:lnTo>
                  <a:pt x="1057" y="3420"/>
                </a:lnTo>
                <a:lnTo>
                  <a:pt x="1044" y="3427"/>
                </a:lnTo>
                <a:lnTo>
                  <a:pt x="1033" y="3432"/>
                </a:lnTo>
                <a:lnTo>
                  <a:pt x="1021" y="3437"/>
                </a:lnTo>
                <a:lnTo>
                  <a:pt x="1014" y="3439"/>
                </a:lnTo>
                <a:lnTo>
                  <a:pt x="1008" y="3440"/>
                </a:lnTo>
                <a:lnTo>
                  <a:pt x="1002" y="3441"/>
                </a:lnTo>
                <a:lnTo>
                  <a:pt x="996" y="3442"/>
                </a:lnTo>
                <a:lnTo>
                  <a:pt x="982" y="3443"/>
                </a:lnTo>
                <a:lnTo>
                  <a:pt x="977" y="3442"/>
                </a:lnTo>
                <a:lnTo>
                  <a:pt x="972" y="3441"/>
                </a:lnTo>
                <a:lnTo>
                  <a:pt x="967" y="3438"/>
                </a:lnTo>
                <a:lnTo>
                  <a:pt x="965" y="3436"/>
                </a:lnTo>
                <a:lnTo>
                  <a:pt x="963" y="3434"/>
                </a:lnTo>
                <a:lnTo>
                  <a:pt x="960" y="3429"/>
                </a:lnTo>
                <a:lnTo>
                  <a:pt x="958" y="3424"/>
                </a:lnTo>
                <a:lnTo>
                  <a:pt x="957" y="3421"/>
                </a:lnTo>
                <a:lnTo>
                  <a:pt x="956" y="3418"/>
                </a:lnTo>
                <a:lnTo>
                  <a:pt x="956" y="3412"/>
                </a:lnTo>
                <a:lnTo>
                  <a:pt x="956" y="3409"/>
                </a:lnTo>
                <a:lnTo>
                  <a:pt x="956" y="3406"/>
                </a:lnTo>
                <a:lnTo>
                  <a:pt x="957" y="3401"/>
                </a:lnTo>
                <a:lnTo>
                  <a:pt x="958" y="3399"/>
                </a:lnTo>
                <a:lnTo>
                  <a:pt x="960" y="3397"/>
                </a:lnTo>
                <a:lnTo>
                  <a:pt x="961" y="3396"/>
                </a:lnTo>
                <a:lnTo>
                  <a:pt x="963" y="3395"/>
                </a:lnTo>
                <a:lnTo>
                  <a:pt x="974" y="3393"/>
                </a:lnTo>
                <a:lnTo>
                  <a:pt x="984" y="3389"/>
                </a:lnTo>
                <a:lnTo>
                  <a:pt x="995" y="3386"/>
                </a:lnTo>
                <a:lnTo>
                  <a:pt x="1005" y="3382"/>
                </a:lnTo>
                <a:lnTo>
                  <a:pt x="1014" y="3377"/>
                </a:lnTo>
                <a:lnTo>
                  <a:pt x="1023" y="3372"/>
                </a:lnTo>
                <a:lnTo>
                  <a:pt x="1030" y="3367"/>
                </a:lnTo>
                <a:lnTo>
                  <a:pt x="1034" y="3364"/>
                </a:lnTo>
                <a:lnTo>
                  <a:pt x="1038" y="3361"/>
                </a:lnTo>
                <a:lnTo>
                  <a:pt x="1044" y="3354"/>
                </a:lnTo>
                <a:lnTo>
                  <a:pt x="1051" y="3348"/>
                </a:lnTo>
                <a:lnTo>
                  <a:pt x="1056" y="3341"/>
                </a:lnTo>
                <a:lnTo>
                  <a:pt x="1060" y="3334"/>
                </a:lnTo>
                <a:lnTo>
                  <a:pt x="1063" y="3326"/>
                </a:lnTo>
                <a:lnTo>
                  <a:pt x="1066" y="3319"/>
                </a:lnTo>
                <a:lnTo>
                  <a:pt x="1067" y="3312"/>
                </a:lnTo>
                <a:lnTo>
                  <a:pt x="1068" y="3305"/>
                </a:lnTo>
                <a:lnTo>
                  <a:pt x="1067" y="3297"/>
                </a:lnTo>
                <a:lnTo>
                  <a:pt x="1065" y="3290"/>
                </a:lnTo>
                <a:lnTo>
                  <a:pt x="1063" y="3286"/>
                </a:lnTo>
                <a:lnTo>
                  <a:pt x="1062" y="3283"/>
                </a:lnTo>
                <a:lnTo>
                  <a:pt x="1059" y="3281"/>
                </a:lnTo>
                <a:lnTo>
                  <a:pt x="1057" y="3278"/>
                </a:lnTo>
                <a:lnTo>
                  <a:pt x="1051" y="3274"/>
                </a:lnTo>
                <a:lnTo>
                  <a:pt x="1047" y="3272"/>
                </a:lnTo>
                <a:lnTo>
                  <a:pt x="1043" y="3270"/>
                </a:lnTo>
                <a:lnTo>
                  <a:pt x="1035" y="3268"/>
                </a:lnTo>
                <a:lnTo>
                  <a:pt x="1031" y="3267"/>
                </a:lnTo>
                <a:lnTo>
                  <a:pt x="1027" y="3267"/>
                </a:lnTo>
                <a:lnTo>
                  <a:pt x="1018" y="3268"/>
                </a:lnTo>
                <a:lnTo>
                  <a:pt x="1013" y="3269"/>
                </a:lnTo>
                <a:lnTo>
                  <a:pt x="1009" y="3270"/>
                </a:lnTo>
                <a:lnTo>
                  <a:pt x="1004" y="3273"/>
                </a:lnTo>
                <a:lnTo>
                  <a:pt x="1000" y="3275"/>
                </a:lnTo>
                <a:lnTo>
                  <a:pt x="996" y="3277"/>
                </a:lnTo>
                <a:lnTo>
                  <a:pt x="991" y="3279"/>
                </a:lnTo>
                <a:lnTo>
                  <a:pt x="986" y="3282"/>
                </a:lnTo>
                <a:lnTo>
                  <a:pt x="982" y="3285"/>
                </a:lnTo>
                <a:lnTo>
                  <a:pt x="973" y="3292"/>
                </a:lnTo>
                <a:lnTo>
                  <a:pt x="966" y="3300"/>
                </a:lnTo>
                <a:lnTo>
                  <a:pt x="958" y="3309"/>
                </a:lnTo>
                <a:lnTo>
                  <a:pt x="955" y="3314"/>
                </a:lnTo>
                <a:lnTo>
                  <a:pt x="951" y="3319"/>
                </a:lnTo>
                <a:lnTo>
                  <a:pt x="945" y="3330"/>
                </a:lnTo>
                <a:lnTo>
                  <a:pt x="940" y="3343"/>
                </a:lnTo>
                <a:lnTo>
                  <a:pt x="935" y="3355"/>
                </a:lnTo>
                <a:lnTo>
                  <a:pt x="931" y="3368"/>
                </a:lnTo>
                <a:lnTo>
                  <a:pt x="927" y="3381"/>
                </a:lnTo>
                <a:lnTo>
                  <a:pt x="925" y="3396"/>
                </a:lnTo>
                <a:lnTo>
                  <a:pt x="925" y="3403"/>
                </a:lnTo>
                <a:lnTo>
                  <a:pt x="925" y="3410"/>
                </a:lnTo>
                <a:lnTo>
                  <a:pt x="925" y="3423"/>
                </a:lnTo>
                <a:lnTo>
                  <a:pt x="927" y="3435"/>
                </a:lnTo>
                <a:lnTo>
                  <a:pt x="929" y="3446"/>
                </a:lnTo>
                <a:lnTo>
                  <a:pt x="931" y="3453"/>
                </a:lnTo>
                <a:lnTo>
                  <a:pt x="933" y="3458"/>
                </a:lnTo>
                <a:lnTo>
                  <a:pt x="936" y="3469"/>
                </a:lnTo>
                <a:lnTo>
                  <a:pt x="939" y="3474"/>
                </a:lnTo>
                <a:lnTo>
                  <a:pt x="941" y="3479"/>
                </a:lnTo>
                <a:lnTo>
                  <a:pt x="943" y="3483"/>
                </a:lnTo>
                <a:lnTo>
                  <a:pt x="946" y="3488"/>
                </a:lnTo>
                <a:lnTo>
                  <a:pt x="949" y="3492"/>
                </a:lnTo>
                <a:lnTo>
                  <a:pt x="952" y="3496"/>
                </a:lnTo>
                <a:lnTo>
                  <a:pt x="955" y="3500"/>
                </a:lnTo>
                <a:lnTo>
                  <a:pt x="959" y="3503"/>
                </a:lnTo>
                <a:lnTo>
                  <a:pt x="966" y="3510"/>
                </a:lnTo>
                <a:lnTo>
                  <a:pt x="974" y="3517"/>
                </a:lnTo>
                <a:lnTo>
                  <a:pt x="982" y="3522"/>
                </a:lnTo>
                <a:lnTo>
                  <a:pt x="992" y="3525"/>
                </a:lnTo>
                <a:lnTo>
                  <a:pt x="1002" y="3528"/>
                </a:lnTo>
                <a:lnTo>
                  <a:pt x="1012" y="3530"/>
                </a:lnTo>
                <a:lnTo>
                  <a:pt x="1017" y="3530"/>
                </a:lnTo>
                <a:lnTo>
                  <a:pt x="1023" y="3530"/>
                </a:lnTo>
                <a:lnTo>
                  <a:pt x="1033" y="3530"/>
                </a:lnTo>
                <a:lnTo>
                  <a:pt x="1043" y="3528"/>
                </a:lnTo>
                <a:lnTo>
                  <a:pt x="1054" y="3526"/>
                </a:lnTo>
                <a:lnTo>
                  <a:pt x="1064" y="3523"/>
                </a:lnTo>
                <a:lnTo>
                  <a:pt x="1073" y="3518"/>
                </a:lnTo>
                <a:lnTo>
                  <a:pt x="1082" y="3513"/>
                </a:lnTo>
                <a:lnTo>
                  <a:pt x="1091" y="3507"/>
                </a:lnTo>
                <a:lnTo>
                  <a:pt x="1099" y="3500"/>
                </a:lnTo>
                <a:lnTo>
                  <a:pt x="1107" y="3493"/>
                </a:lnTo>
                <a:lnTo>
                  <a:pt x="1116" y="3485"/>
                </a:lnTo>
                <a:lnTo>
                  <a:pt x="1123" y="3476"/>
                </a:lnTo>
                <a:lnTo>
                  <a:pt x="1130" y="3467"/>
                </a:lnTo>
                <a:lnTo>
                  <a:pt x="1143" y="3447"/>
                </a:lnTo>
                <a:lnTo>
                  <a:pt x="1149" y="3437"/>
                </a:lnTo>
                <a:lnTo>
                  <a:pt x="1154" y="3426"/>
                </a:lnTo>
                <a:lnTo>
                  <a:pt x="1159" y="3415"/>
                </a:lnTo>
                <a:lnTo>
                  <a:pt x="1164" y="3404"/>
                </a:lnTo>
                <a:lnTo>
                  <a:pt x="1169" y="3392"/>
                </a:lnTo>
                <a:lnTo>
                  <a:pt x="1174" y="3379"/>
                </a:lnTo>
                <a:lnTo>
                  <a:pt x="1178" y="3367"/>
                </a:lnTo>
                <a:lnTo>
                  <a:pt x="1181" y="3355"/>
                </a:lnTo>
                <a:lnTo>
                  <a:pt x="1184" y="3343"/>
                </a:lnTo>
                <a:lnTo>
                  <a:pt x="1187" y="3330"/>
                </a:lnTo>
                <a:lnTo>
                  <a:pt x="1189" y="3318"/>
                </a:lnTo>
                <a:lnTo>
                  <a:pt x="1191" y="3307"/>
                </a:lnTo>
                <a:lnTo>
                  <a:pt x="1192" y="3295"/>
                </a:lnTo>
                <a:lnTo>
                  <a:pt x="1193" y="3283"/>
                </a:lnTo>
                <a:lnTo>
                  <a:pt x="1194" y="3272"/>
                </a:lnTo>
                <a:lnTo>
                  <a:pt x="1194" y="3260"/>
                </a:lnTo>
                <a:lnTo>
                  <a:pt x="1194" y="3249"/>
                </a:lnTo>
                <a:lnTo>
                  <a:pt x="1194" y="3239"/>
                </a:lnTo>
                <a:lnTo>
                  <a:pt x="1195" y="3236"/>
                </a:lnTo>
                <a:lnTo>
                  <a:pt x="1196" y="3234"/>
                </a:lnTo>
                <a:lnTo>
                  <a:pt x="1199" y="3232"/>
                </a:lnTo>
                <a:lnTo>
                  <a:pt x="1201" y="3230"/>
                </a:lnTo>
                <a:lnTo>
                  <a:pt x="1208" y="3227"/>
                </a:lnTo>
                <a:lnTo>
                  <a:pt x="1212" y="3227"/>
                </a:lnTo>
                <a:lnTo>
                  <a:pt x="1216" y="3226"/>
                </a:lnTo>
                <a:lnTo>
                  <a:pt x="1223" y="3227"/>
                </a:lnTo>
                <a:lnTo>
                  <a:pt x="1227" y="3228"/>
                </a:lnTo>
                <a:lnTo>
                  <a:pt x="1231" y="3229"/>
                </a:lnTo>
                <a:lnTo>
                  <a:pt x="1236" y="3231"/>
                </a:lnTo>
                <a:lnTo>
                  <a:pt x="1239" y="3233"/>
                </a:lnTo>
                <a:lnTo>
                  <a:pt x="1241" y="3236"/>
                </a:lnTo>
                <a:lnTo>
                  <a:pt x="1245" y="3241"/>
                </a:lnTo>
                <a:lnTo>
                  <a:pt x="1247" y="3245"/>
                </a:lnTo>
                <a:lnTo>
                  <a:pt x="1248" y="3249"/>
                </a:lnTo>
                <a:lnTo>
                  <a:pt x="1249" y="3253"/>
                </a:lnTo>
                <a:lnTo>
                  <a:pt x="1250" y="3258"/>
                </a:lnTo>
                <a:lnTo>
                  <a:pt x="1251" y="3263"/>
                </a:lnTo>
                <a:lnTo>
                  <a:pt x="1251" y="3269"/>
                </a:lnTo>
                <a:lnTo>
                  <a:pt x="1250" y="3286"/>
                </a:lnTo>
                <a:lnTo>
                  <a:pt x="1249" y="3301"/>
                </a:lnTo>
                <a:lnTo>
                  <a:pt x="1248" y="3316"/>
                </a:lnTo>
                <a:lnTo>
                  <a:pt x="1246" y="3333"/>
                </a:lnTo>
                <a:lnTo>
                  <a:pt x="1243" y="3347"/>
                </a:lnTo>
                <a:lnTo>
                  <a:pt x="1240" y="3362"/>
                </a:lnTo>
                <a:lnTo>
                  <a:pt x="1237" y="3377"/>
                </a:lnTo>
                <a:lnTo>
                  <a:pt x="1233" y="3392"/>
                </a:lnTo>
                <a:lnTo>
                  <a:pt x="1228" y="3406"/>
                </a:lnTo>
                <a:lnTo>
                  <a:pt x="1223" y="3419"/>
                </a:lnTo>
                <a:lnTo>
                  <a:pt x="1217" y="3432"/>
                </a:lnTo>
                <a:lnTo>
                  <a:pt x="1212" y="3445"/>
                </a:lnTo>
                <a:lnTo>
                  <a:pt x="1206" y="3459"/>
                </a:lnTo>
                <a:lnTo>
                  <a:pt x="1199" y="3471"/>
                </a:lnTo>
                <a:lnTo>
                  <a:pt x="1192" y="3482"/>
                </a:lnTo>
                <a:lnTo>
                  <a:pt x="1185" y="3493"/>
                </a:lnTo>
                <a:lnTo>
                  <a:pt x="1177" y="3504"/>
                </a:lnTo>
                <a:lnTo>
                  <a:pt x="1168" y="3515"/>
                </a:lnTo>
                <a:lnTo>
                  <a:pt x="1160" y="3525"/>
                </a:lnTo>
                <a:lnTo>
                  <a:pt x="1151" y="3534"/>
                </a:lnTo>
                <a:lnTo>
                  <a:pt x="1142" y="3542"/>
                </a:lnTo>
                <a:lnTo>
                  <a:pt x="1133" y="3550"/>
                </a:lnTo>
                <a:lnTo>
                  <a:pt x="1123" y="3557"/>
                </a:lnTo>
                <a:lnTo>
                  <a:pt x="1113" y="3564"/>
                </a:lnTo>
                <a:lnTo>
                  <a:pt x="1102" y="3570"/>
                </a:lnTo>
                <a:lnTo>
                  <a:pt x="1091" y="3576"/>
                </a:lnTo>
                <a:lnTo>
                  <a:pt x="1080" y="3580"/>
                </a:lnTo>
                <a:lnTo>
                  <a:pt x="1069" y="3584"/>
                </a:lnTo>
                <a:lnTo>
                  <a:pt x="1058" y="3587"/>
                </a:lnTo>
                <a:lnTo>
                  <a:pt x="1045" y="3589"/>
                </a:lnTo>
                <a:lnTo>
                  <a:pt x="1033" y="3590"/>
                </a:lnTo>
                <a:lnTo>
                  <a:pt x="1021" y="3591"/>
                </a:lnTo>
                <a:close/>
                <a:moveTo>
                  <a:pt x="1408" y="3585"/>
                </a:moveTo>
                <a:lnTo>
                  <a:pt x="1406" y="3585"/>
                </a:lnTo>
                <a:lnTo>
                  <a:pt x="1403" y="3584"/>
                </a:lnTo>
                <a:lnTo>
                  <a:pt x="1398" y="3581"/>
                </a:lnTo>
                <a:lnTo>
                  <a:pt x="1392" y="3577"/>
                </a:lnTo>
                <a:lnTo>
                  <a:pt x="1385" y="3572"/>
                </a:lnTo>
                <a:lnTo>
                  <a:pt x="1372" y="3560"/>
                </a:lnTo>
                <a:lnTo>
                  <a:pt x="1357" y="3546"/>
                </a:lnTo>
                <a:lnTo>
                  <a:pt x="1339" y="3530"/>
                </a:lnTo>
                <a:lnTo>
                  <a:pt x="1323" y="3513"/>
                </a:lnTo>
                <a:lnTo>
                  <a:pt x="1307" y="3495"/>
                </a:lnTo>
                <a:lnTo>
                  <a:pt x="1293" y="3479"/>
                </a:lnTo>
                <a:lnTo>
                  <a:pt x="1280" y="3464"/>
                </a:lnTo>
                <a:lnTo>
                  <a:pt x="1276" y="3458"/>
                </a:lnTo>
                <a:lnTo>
                  <a:pt x="1273" y="3453"/>
                </a:lnTo>
                <a:lnTo>
                  <a:pt x="1268" y="3442"/>
                </a:lnTo>
                <a:lnTo>
                  <a:pt x="1264" y="3432"/>
                </a:lnTo>
                <a:lnTo>
                  <a:pt x="1261" y="3422"/>
                </a:lnTo>
                <a:lnTo>
                  <a:pt x="1260" y="3412"/>
                </a:lnTo>
                <a:lnTo>
                  <a:pt x="1261" y="3407"/>
                </a:lnTo>
                <a:lnTo>
                  <a:pt x="1262" y="3401"/>
                </a:lnTo>
                <a:lnTo>
                  <a:pt x="1263" y="3395"/>
                </a:lnTo>
                <a:lnTo>
                  <a:pt x="1265" y="3388"/>
                </a:lnTo>
                <a:lnTo>
                  <a:pt x="1268" y="3382"/>
                </a:lnTo>
                <a:lnTo>
                  <a:pt x="1271" y="3376"/>
                </a:lnTo>
                <a:lnTo>
                  <a:pt x="1275" y="3369"/>
                </a:lnTo>
                <a:lnTo>
                  <a:pt x="1279" y="3362"/>
                </a:lnTo>
                <a:lnTo>
                  <a:pt x="1287" y="3351"/>
                </a:lnTo>
                <a:lnTo>
                  <a:pt x="1300" y="3338"/>
                </a:lnTo>
                <a:lnTo>
                  <a:pt x="1329" y="3303"/>
                </a:lnTo>
                <a:lnTo>
                  <a:pt x="1365" y="3263"/>
                </a:lnTo>
                <a:lnTo>
                  <a:pt x="1400" y="3223"/>
                </a:lnTo>
                <a:lnTo>
                  <a:pt x="1401" y="3222"/>
                </a:lnTo>
                <a:lnTo>
                  <a:pt x="1404" y="3222"/>
                </a:lnTo>
                <a:lnTo>
                  <a:pt x="1408" y="3222"/>
                </a:lnTo>
                <a:lnTo>
                  <a:pt x="1413" y="3223"/>
                </a:lnTo>
                <a:lnTo>
                  <a:pt x="1417" y="3225"/>
                </a:lnTo>
                <a:lnTo>
                  <a:pt x="1422" y="3228"/>
                </a:lnTo>
                <a:lnTo>
                  <a:pt x="1426" y="3231"/>
                </a:lnTo>
                <a:lnTo>
                  <a:pt x="1430" y="3235"/>
                </a:lnTo>
                <a:lnTo>
                  <a:pt x="1433" y="3239"/>
                </a:lnTo>
                <a:lnTo>
                  <a:pt x="1436" y="3244"/>
                </a:lnTo>
                <a:lnTo>
                  <a:pt x="1437" y="3248"/>
                </a:lnTo>
                <a:lnTo>
                  <a:pt x="1438" y="3253"/>
                </a:lnTo>
                <a:lnTo>
                  <a:pt x="1437" y="3259"/>
                </a:lnTo>
                <a:lnTo>
                  <a:pt x="1436" y="3264"/>
                </a:lnTo>
                <a:lnTo>
                  <a:pt x="1433" y="3270"/>
                </a:lnTo>
                <a:lnTo>
                  <a:pt x="1429" y="3277"/>
                </a:lnTo>
                <a:lnTo>
                  <a:pt x="1421" y="3287"/>
                </a:lnTo>
                <a:lnTo>
                  <a:pt x="1408" y="3300"/>
                </a:lnTo>
                <a:lnTo>
                  <a:pt x="1379" y="3334"/>
                </a:lnTo>
                <a:lnTo>
                  <a:pt x="1349" y="3368"/>
                </a:lnTo>
                <a:lnTo>
                  <a:pt x="1336" y="3382"/>
                </a:lnTo>
                <a:lnTo>
                  <a:pt x="1327" y="3395"/>
                </a:lnTo>
                <a:lnTo>
                  <a:pt x="1325" y="3398"/>
                </a:lnTo>
                <a:lnTo>
                  <a:pt x="1323" y="3402"/>
                </a:lnTo>
                <a:lnTo>
                  <a:pt x="1322" y="3406"/>
                </a:lnTo>
                <a:lnTo>
                  <a:pt x="1322" y="3409"/>
                </a:lnTo>
                <a:lnTo>
                  <a:pt x="1322" y="3414"/>
                </a:lnTo>
                <a:lnTo>
                  <a:pt x="1323" y="3418"/>
                </a:lnTo>
                <a:lnTo>
                  <a:pt x="1326" y="3422"/>
                </a:lnTo>
                <a:lnTo>
                  <a:pt x="1329" y="3427"/>
                </a:lnTo>
                <a:lnTo>
                  <a:pt x="1336" y="3436"/>
                </a:lnTo>
                <a:lnTo>
                  <a:pt x="1346" y="3448"/>
                </a:lnTo>
                <a:lnTo>
                  <a:pt x="1375" y="3478"/>
                </a:lnTo>
                <a:lnTo>
                  <a:pt x="1407" y="3510"/>
                </a:lnTo>
                <a:lnTo>
                  <a:pt x="1439" y="3541"/>
                </a:lnTo>
                <a:lnTo>
                  <a:pt x="1440" y="3543"/>
                </a:lnTo>
                <a:lnTo>
                  <a:pt x="1442" y="3545"/>
                </a:lnTo>
                <a:lnTo>
                  <a:pt x="1443" y="3548"/>
                </a:lnTo>
                <a:lnTo>
                  <a:pt x="1443" y="3550"/>
                </a:lnTo>
                <a:lnTo>
                  <a:pt x="1442" y="3556"/>
                </a:lnTo>
                <a:lnTo>
                  <a:pt x="1441" y="3559"/>
                </a:lnTo>
                <a:lnTo>
                  <a:pt x="1440" y="3561"/>
                </a:lnTo>
                <a:lnTo>
                  <a:pt x="1436" y="3567"/>
                </a:lnTo>
                <a:lnTo>
                  <a:pt x="1434" y="3570"/>
                </a:lnTo>
                <a:lnTo>
                  <a:pt x="1432" y="3573"/>
                </a:lnTo>
                <a:lnTo>
                  <a:pt x="1426" y="3578"/>
                </a:lnTo>
                <a:lnTo>
                  <a:pt x="1423" y="3580"/>
                </a:lnTo>
                <a:lnTo>
                  <a:pt x="1420" y="3582"/>
                </a:lnTo>
                <a:lnTo>
                  <a:pt x="1414" y="3584"/>
                </a:lnTo>
                <a:lnTo>
                  <a:pt x="1411" y="3585"/>
                </a:lnTo>
                <a:lnTo>
                  <a:pt x="1408" y="3585"/>
                </a:lnTo>
                <a:close/>
                <a:moveTo>
                  <a:pt x="1187" y="4321"/>
                </a:moveTo>
                <a:lnTo>
                  <a:pt x="1191" y="4298"/>
                </a:lnTo>
                <a:lnTo>
                  <a:pt x="1193" y="4275"/>
                </a:lnTo>
                <a:lnTo>
                  <a:pt x="1194" y="4253"/>
                </a:lnTo>
                <a:lnTo>
                  <a:pt x="1194" y="4243"/>
                </a:lnTo>
                <a:lnTo>
                  <a:pt x="1194" y="4233"/>
                </a:lnTo>
                <a:lnTo>
                  <a:pt x="1195" y="4229"/>
                </a:lnTo>
                <a:lnTo>
                  <a:pt x="1196" y="4227"/>
                </a:lnTo>
                <a:lnTo>
                  <a:pt x="1199" y="4225"/>
                </a:lnTo>
                <a:lnTo>
                  <a:pt x="1201" y="4223"/>
                </a:lnTo>
                <a:lnTo>
                  <a:pt x="1208" y="4221"/>
                </a:lnTo>
                <a:lnTo>
                  <a:pt x="1212" y="4220"/>
                </a:lnTo>
                <a:lnTo>
                  <a:pt x="1216" y="4220"/>
                </a:lnTo>
                <a:lnTo>
                  <a:pt x="1223" y="4220"/>
                </a:lnTo>
                <a:lnTo>
                  <a:pt x="1227" y="4221"/>
                </a:lnTo>
                <a:lnTo>
                  <a:pt x="1231" y="4222"/>
                </a:lnTo>
                <a:lnTo>
                  <a:pt x="1236" y="4225"/>
                </a:lnTo>
                <a:lnTo>
                  <a:pt x="1239" y="4227"/>
                </a:lnTo>
                <a:lnTo>
                  <a:pt x="1241" y="4229"/>
                </a:lnTo>
                <a:lnTo>
                  <a:pt x="1245" y="4236"/>
                </a:lnTo>
                <a:lnTo>
                  <a:pt x="1247" y="4239"/>
                </a:lnTo>
                <a:lnTo>
                  <a:pt x="1248" y="4243"/>
                </a:lnTo>
                <a:lnTo>
                  <a:pt x="1249" y="4247"/>
                </a:lnTo>
                <a:lnTo>
                  <a:pt x="1250" y="4252"/>
                </a:lnTo>
                <a:lnTo>
                  <a:pt x="1251" y="4258"/>
                </a:lnTo>
                <a:lnTo>
                  <a:pt x="1251" y="4263"/>
                </a:lnTo>
                <a:lnTo>
                  <a:pt x="1250" y="4278"/>
                </a:lnTo>
                <a:lnTo>
                  <a:pt x="1250" y="4293"/>
                </a:lnTo>
                <a:lnTo>
                  <a:pt x="1247" y="4321"/>
                </a:lnTo>
                <a:lnTo>
                  <a:pt x="1187" y="4321"/>
                </a:lnTo>
                <a:close/>
                <a:moveTo>
                  <a:pt x="886" y="4321"/>
                </a:moveTo>
                <a:lnTo>
                  <a:pt x="888" y="4315"/>
                </a:lnTo>
                <a:lnTo>
                  <a:pt x="891" y="4310"/>
                </a:lnTo>
                <a:lnTo>
                  <a:pt x="897" y="4299"/>
                </a:lnTo>
                <a:lnTo>
                  <a:pt x="903" y="4287"/>
                </a:lnTo>
                <a:lnTo>
                  <a:pt x="910" y="4277"/>
                </a:lnTo>
                <a:lnTo>
                  <a:pt x="918" y="4267"/>
                </a:lnTo>
                <a:lnTo>
                  <a:pt x="926" y="4258"/>
                </a:lnTo>
                <a:lnTo>
                  <a:pt x="931" y="4254"/>
                </a:lnTo>
                <a:lnTo>
                  <a:pt x="935" y="4250"/>
                </a:lnTo>
                <a:lnTo>
                  <a:pt x="944" y="4243"/>
                </a:lnTo>
                <a:lnTo>
                  <a:pt x="949" y="4239"/>
                </a:lnTo>
                <a:lnTo>
                  <a:pt x="954" y="4236"/>
                </a:lnTo>
                <a:lnTo>
                  <a:pt x="964" y="4229"/>
                </a:lnTo>
                <a:lnTo>
                  <a:pt x="969" y="4226"/>
                </a:lnTo>
                <a:lnTo>
                  <a:pt x="974" y="4223"/>
                </a:lnTo>
                <a:lnTo>
                  <a:pt x="984" y="4219"/>
                </a:lnTo>
                <a:lnTo>
                  <a:pt x="996" y="4215"/>
                </a:lnTo>
                <a:lnTo>
                  <a:pt x="1007" y="4213"/>
                </a:lnTo>
                <a:lnTo>
                  <a:pt x="1013" y="4212"/>
                </a:lnTo>
                <a:lnTo>
                  <a:pt x="1019" y="4211"/>
                </a:lnTo>
                <a:lnTo>
                  <a:pt x="1030" y="4211"/>
                </a:lnTo>
                <a:lnTo>
                  <a:pt x="1041" y="4211"/>
                </a:lnTo>
                <a:lnTo>
                  <a:pt x="1045" y="4212"/>
                </a:lnTo>
                <a:lnTo>
                  <a:pt x="1051" y="4213"/>
                </a:lnTo>
                <a:lnTo>
                  <a:pt x="1056" y="4214"/>
                </a:lnTo>
                <a:lnTo>
                  <a:pt x="1060" y="4215"/>
                </a:lnTo>
                <a:lnTo>
                  <a:pt x="1069" y="4218"/>
                </a:lnTo>
                <a:lnTo>
                  <a:pt x="1077" y="4222"/>
                </a:lnTo>
                <a:lnTo>
                  <a:pt x="1084" y="4226"/>
                </a:lnTo>
                <a:lnTo>
                  <a:pt x="1091" y="4233"/>
                </a:lnTo>
                <a:lnTo>
                  <a:pt x="1097" y="4239"/>
                </a:lnTo>
                <a:lnTo>
                  <a:pt x="1099" y="4242"/>
                </a:lnTo>
                <a:lnTo>
                  <a:pt x="1102" y="4245"/>
                </a:lnTo>
                <a:lnTo>
                  <a:pt x="1107" y="4253"/>
                </a:lnTo>
                <a:lnTo>
                  <a:pt x="1112" y="4260"/>
                </a:lnTo>
                <a:lnTo>
                  <a:pt x="1115" y="4269"/>
                </a:lnTo>
                <a:lnTo>
                  <a:pt x="1118" y="4277"/>
                </a:lnTo>
                <a:lnTo>
                  <a:pt x="1120" y="4287"/>
                </a:lnTo>
                <a:lnTo>
                  <a:pt x="1121" y="4297"/>
                </a:lnTo>
                <a:lnTo>
                  <a:pt x="1121" y="4307"/>
                </a:lnTo>
                <a:lnTo>
                  <a:pt x="1121" y="4314"/>
                </a:lnTo>
                <a:lnTo>
                  <a:pt x="1120" y="4321"/>
                </a:lnTo>
                <a:lnTo>
                  <a:pt x="1063" y="4321"/>
                </a:lnTo>
                <a:lnTo>
                  <a:pt x="1065" y="4316"/>
                </a:lnTo>
                <a:lnTo>
                  <a:pt x="1067" y="4310"/>
                </a:lnTo>
                <a:lnTo>
                  <a:pt x="1067" y="4305"/>
                </a:lnTo>
                <a:lnTo>
                  <a:pt x="1068" y="4299"/>
                </a:lnTo>
                <a:lnTo>
                  <a:pt x="1067" y="4290"/>
                </a:lnTo>
                <a:lnTo>
                  <a:pt x="1065" y="4283"/>
                </a:lnTo>
                <a:lnTo>
                  <a:pt x="1063" y="4280"/>
                </a:lnTo>
                <a:lnTo>
                  <a:pt x="1062" y="4277"/>
                </a:lnTo>
                <a:lnTo>
                  <a:pt x="1059" y="4274"/>
                </a:lnTo>
                <a:lnTo>
                  <a:pt x="1057" y="4271"/>
                </a:lnTo>
                <a:lnTo>
                  <a:pt x="1051" y="4267"/>
                </a:lnTo>
                <a:lnTo>
                  <a:pt x="1047" y="4265"/>
                </a:lnTo>
                <a:lnTo>
                  <a:pt x="1043" y="4264"/>
                </a:lnTo>
                <a:lnTo>
                  <a:pt x="1035" y="4262"/>
                </a:lnTo>
                <a:lnTo>
                  <a:pt x="1031" y="4262"/>
                </a:lnTo>
                <a:lnTo>
                  <a:pt x="1027" y="4261"/>
                </a:lnTo>
                <a:lnTo>
                  <a:pt x="1021" y="4262"/>
                </a:lnTo>
                <a:lnTo>
                  <a:pt x="1016" y="4263"/>
                </a:lnTo>
                <a:lnTo>
                  <a:pt x="1005" y="4266"/>
                </a:lnTo>
                <a:lnTo>
                  <a:pt x="1000" y="4268"/>
                </a:lnTo>
                <a:lnTo>
                  <a:pt x="994" y="4271"/>
                </a:lnTo>
                <a:lnTo>
                  <a:pt x="983" y="4278"/>
                </a:lnTo>
                <a:lnTo>
                  <a:pt x="978" y="4282"/>
                </a:lnTo>
                <a:lnTo>
                  <a:pt x="973" y="4286"/>
                </a:lnTo>
                <a:lnTo>
                  <a:pt x="968" y="4292"/>
                </a:lnTo>
                <a:lnTo>
                  <a:pt x="963" y="4297"/>
                </a:lnTo>
                <a:lnTo>
                  <a:pt x="955" y="4308"/>
                </a:lnTo>
                <a:lnTo>
                  <a:pt x="947" y="4321"/>
                </a:lnTo>
                <a:lnTo>
                  <a:pt x="886" y="4321"/>
                </a:lnTo>
                <a:close/>
                <a:moveTo>
                  <a:pt x="1308" y="4321"/>
                </a:moveTo>
                <a:lnTo>
                  <a:pt x="1353" y="4271"/>
                </a:lnTo>
                <a:lnTo>
                  <a:pt x="1377" y="4244"/>
                </a:lnTo>
                <a:lnTo>
                  <a:pt x="1400" y="4216"/>
                </a:lnTo>
                <a:lnTo>
                  <a:pt x="1401" y="4216"/>
                </a:lnTo>
                <a:lnTo>
                  <a:pt x="1404" y="4215"/>
                </a:lnTo>
                <a:lnTo>
                  <a:pt x="1408" y="4216"/>
                </a:lnTo>
                <a:lnTo>
                  <a:pt x="1413" y="4217"/>
                </a:lnTo>
                <a:lnTo>
                  <a:pt x="1417" y="4219"/>
                </a:lnTo>
                <a:lnTo>
                  <a:pt x="1422" y="4221"/>
                </a:lnTo>
                <a:lnTo>
                  <a:pt x="1426" y="4224"/>
                </a:lnTo>
                <a:lnTo>
                  <a:pt x="1430" y="4228"/>
                </a:lnTo>
                <a:lnTo>
                  <a:pt x="1433" y="4233"/>
                </a:lnTo>
                <a:lnTo>
                  <a:pt x="1436" y="4238"/>
                </a:lnTo>
                <a:lnTo>
                  <a:pt x="1437" y="4243"/>
                </a:lnTo>
                <a:lnTo>
                  <a:pt x="1438" y="4247"/>
                </a:lnTo>
                <a:lnTo>
                  <a:pt x="1437" y="4253"/>
                </a:lnTo>
                <a:lnTo>
                  <a:pt x="1436" y="4258"/>
                </a:lnTo>
                <a:lnTo>
                  <a:pt x="1433" y="4264"/>
                </a:lnTo>
                <a:lnTo>
                  <a:pt x="1429" y="4270"/>
                </a:lnTo>
                <a:lnTo>
                  <a:pt x="1422" y="4279"/>
                </a:lnTo>
                <a:lnTo>
                  <a:pt x="1411" y="4292"/>
                </a:lnTo>
                <a:lnTo>
                  <a:pt x="1385" y="4321"/>
                </a:lnTo>
                <a:lnTo>
                  <a:pt x="1308" y="4321"/>
                </a:lnTo>
                <a:close/>
                <a:moveTo>
                  <a:pt x="4851" y="3591"/>
                </a:moveTo>
                <a:lnTo>
                  <a:pt x="4843" y="3591"/>
                </a:lnTo>
                <a:lnTo>
                  <a:pt x="4835" y="3590"/>
                </a:lnTo>
                <a:lnTo>
                  <a:pt x="4827" y="3589"/>
                </a:lnTo>
                <a:lnTo>
                  <a:pt x="4820" y="3587"/>
                </a:lnTo>
                <a:lnTo>
                  <a:pt x="4812" y="3585"/>
                </a:lnTo>
                <a:lnTo>
                  <a:pt x="4805" y="3583"/>
                </a:lnTo>
                <a:lnTo>
                  <a:pt x="4792" y="3577"/>
                </a:lnTo>
                <a:lnTo>
                  <a:pt x="4778" y="3569"/>
                </a:lnTo>
                <a:lnTo>
                  <a:pt x="4772" y="3565"/>
                </a:lnTo>
                <a:lnTo>
                  <a:pt x="4765" y="3560"/>
                </a:lnTo>
                <a:lnTo>
                  <a:pt x="4759" y="3555"/>
                </a:lnTo>
                <a:lnTo>
                  <a:pt x="4754" y="3550"/>
                </a:lnTo>
                <a:lnTo>
                  <a:pt x="4748" y="3545"/>
                </a:lnTo>
                <a:lnTo>
                  <a:pt x="4743" y="3539"/>
                </a:lnTo>
                <a:lnTo>
                  <a:pt x="4738" y="3533"/>
                </a:lnTo>
                <a:lnTo>
                  <a:pt x="4733" y="3527"/>
                </a:lnTo>
                <a:lnTo>
                  <a:pt x="4729" y="3520"/>
                </a:lnTo>
                <a:lnTo>
                  <a:pt x="4725" y="3513"/>
                </a:lnTo>
                <a:lnTo>
                  <a:pt x="4721" y="3505"/>
                </a:lnTo>
                <a:lnTo>
                  <a:pt x="4717" y="3498"/>
                </a:lnTo>
                <a:lnTo>
                  <a:pt x="4714" y="3490"/>
                </a:lnTo>
                <a:lnTo>
                  <a:pt x="4711" y="3482"/>
                </a:lnTo>
                <a:lnTo>
                  <a:pt x="4707" y="3474"/>
                </a:lnTo>
                <a:lnTo>
                  <a:pt x="4705" y="3466"/>
                </a:lnTo>
                <a:lnTo>
                  <a:pt x="4703" y="3458"/>
                </a:lnTo>
                <a:lnTo>
                  <a:pt x="4701" y="3448"/>
                </a:lnTo>
                <a:lnTo>
                  <a:pt x="4700" y="3439"/>
                </a:lnTo>
                <a:lnTo>
                  <a:pt x="4699" y="3431"/>
                </a:lnTo>
                <a:lnTo>
                  <a:pt x="4698" y="3422"/>
                </a:lnTo>
                <a:lnTo>
                  <a:pt x="4698" y="3412"/>
                </a:lnTo>
                <a:lnTo>
                  <a:pt x="4699" y="3394"/>
                </a:lnTo>
                <a:lnTo>
                  <a:pt x="4700" y="3384"/>
                </a:lnTo>
                <a:lnTo>
                  <a:pt x="4701" y="3374"/>
                </a:lnTo>
                <a:lnTo>
                  <a:pt x="4703" y="3365"/>
                </a:lnTo>
                <a:lnTo>
                  <a:pt x="4705" y="3357"/>
                </a:lnTo>
                <a:lnTo>
                  <a:pt x="4708" y="3348"/>
                </a:lnTo>
                <a:lnTo>
                  <a:pt x="4712" y="3339"/>
                </a:lnTo>
                <a:lnTo>
                  <a:pt x="4715" y="3330"/>
                </a:lnTo>
                <a:lnTo>
                  <a:pt x="4718" y="3322"/>
                </a:lnTo>
                <a:lnTo>
                  <a:pt x="4722" y="3314"/>
                </a:lnTo>
                <a:lnTo>
                  <a:pt x="4726" y="3306"/>
                </a:lnTo>
                <a:lnTo>
                  <a:pt x="4730" y="3298"/>
                </a:lnTo>
                <a:lnTo>
                  <a:pt x="4735" y="3291"/>
                </a:lnTo>
                <a:lnTo>
                  <a:pt x="4745" y="3277"/>
                </a:lnTo>
                <a:lnTo>
                  <a:pt x="4751" y="3269"/>
                </a:lnTo>
                <a:lnTo>
                  <a:pt x="4757" y="3263"/>
                </a:lnTo>
                <a:lnTo>
                  <a:pt x="4769" y="3252"/>
                </a:lnTo>
                <a:lnTo>
                  <a:pt x="4776" y="3247"/>
                </a:lnTo>
                <a:lnTo>
                  <a:pt x="4783" y="3242"/>
                </a:lnTo>
                <a:lnTo>
                  <a:pt x="4790" y="3237"/>
                </a:lnTo>
                <a:lnTo>
                  <a:pt x="4797" y="3233"/>
                </a:lnTo>
                <a:lnTo>
                  <a:pt x="4804" y="3230"/>
                </a:lnTo>
                <a:lnTo>
                  <a:pt x="4812" y="3227"/>
                </a:lnTo>
                <a:lnTo>
                  <a:pt x="4819" y="3224"/>
                </a:lnTo>
                <a:lnTo>
                  <a:pt x="4827" y="3222"/>
                </a:lnTo>
                <a:lnTo>
                  <a:pt x="4836" y="3220"/>
                </a:lnTo>
                <a:lnTo>
                  <a:pt x="4844" y="3219"/>
                </a:lnTo>
                <a:lnTo>
                  <a:pt x="4852" y="3218"/>
                </a:lnTo>
                <a:lnTo>
                  <a:pt x="4860" y="3218"/>
                </a:lnTo>
                <a:lnTo>
                  <a:pt x="4870" y="3218"/>
                </a:lnTo>
                <a:lnTo>
                  <a:pt x="4875" y="3219"/>
                </a:lnTo>
                <a:lnTo>
                  <a:pt x="4880" y="3219"/>
                </a:lnTo>
                <a:lnTo>
                  <a:pt x="4885" y="3220"/>
                </a:lnTo>
                <a:lnTo>
                  <a:pt x="4889" y="3222"/>
                </a:lnTo>
                <a:lnTo>
                  <a:pt x="4899" y="3225"/>
                </a:lnTo>
                <a:lnTo>
                  <a:pt x="4906" y="3229"/>
                </a:lnTo>
                <a:lnTo>
                  <a:pt x="4914" y="3233"/>
                </a:lnTo>
                <a:lnTo>
                  <a:pt x="4920" y="3239"/>
                </a:lnTo>
                <a:lnTo>
                  <a:pt x="4926" y="3245"/>
                </a:lnTo>
                <a:lnTo>
                  <a:pt x="4929" y="3248"/>
                </a:lnTo>
                <a:lnTo>
                  <a:pt x="4932" y="3251"/>
                </a:lnTo>
                <a:lnTo>
                  <a:pt x="4937" y="3258"/>
                </a:lnTo>
                <a:lnTo>
                  <a:pt x="4941" y="3266"/>
                </a:lnTo>
                <a:lnTo>
                  <a:pt x="4944" y="3276"/>
                </a:lnTo>
                <a:lnTo>
                  <a:pt x="4947" y="3284"/>
                </a:lnTo>
                <a:lnTo>
                  <a:pt x="4949" y="3293"/>
                </a:lnTo>
                <a:lnTo>
                  <a:pt x="4951" y="3303"/>
                </a:lnTo>
                <a:lnTo>
                  <a:pt x="4951" y="3313"/>
                </a:lnTo>
                <a:lnTo>
                  <a:pt x="4949" y="3325"/>
                </a:lnTo>
                <a:lnTo>
                  <a:pt x="4948" y="3333"/>
                </a:lnTo>
                <a:lnTo>
                  <a:pt x="4947" y="3339"/>
                </a:lnTo>
                <a:lnTo>
                  <a:pt x="4943" y="3351"/>
                </a:lnTo>
                <a:lnTo>
                  <a:pt x="4938" y="3362"/>
                </a:lnTo>
                <a:lnTo>
                  <a:pt x="4932" y="3373"/>
                </a:lnTo>
                <a:lnTo>
                  <a:pt x="4925" y="3384"/>
                </a:lnTo>
                <a:lnTo>
                  <a:pt x="4921" y="3389"/>
                </a:lnTo>
                <a:lnTo>
                  <a:pt x="4916" y="3395"/>
                </a:lnTo>
                <a:lnTo>
                  <a:pt x="4907" y="3404"/>
                </a:lnTo>
                <a:lnTo>
                  <a:pt x="4897" y="3413"/>
                </a:lnTo>
                <a:lnTo>
                  <a:pt x="4892" y="3416"/>
                </a:lnTo>
                <a:lnTo>
                  <a:pt x="4885" y="3420"/>
                </a:lnTo>
                <a:lnTo>
                  <a:pt x="4874" y="3427"/>
                </a:lnTo>
                <a:lnTo>
                  <a:pt x="4863" y="3432"/>
                </a:lnTo>
                <a:lnTo>
                  <a:pt x="4850" y="3437"/>
                </a:lnTo>
                <a:lnTo>
                  <a:pt x="4844" y="3439"/>
                </a:lnTo>
                <a:lnTo>
                  <a:pt x="4838" y="3440"/>
                </a:lnTo>
                <a:lnTo>
                  <a:pt x="4832" y="3441"/>
                </a:lnTo>
                <a:lnTo>
                  <a:pt x="4825" y="3442"/>
                </a:lnTo>
                <a:lnTo>
                  <a:pt x="4812" y="3443"/>
                </a:lnTo>
                <a:lnTo>
                  <a:pt x="4807" y="3442"/>
                </a:lnTo>
                <a:lnTo>
                  <a:pt x="4802" y="3441"/>
                </a:lnTo>
                <a:lnTo>
                  <a:pt x="4797" y="3438"/>
                </a:lnTo>
                <a:lnTo>
                  <a:pt x="4795" y="3436"/>
                </a:lnTo>
                <a:lnTo>
                  <a:pt x="4793" y="3434"/>
                </a:lnTo>
                <a:lnTo>
                  <a:pt x="4790" y="3429"/>
                </a:lnTo>
                <a:lnTo>
                  <a:pt x="4788" y="3424"/>
                </a:lnTo>
                <a:lnTo>
                  <a:pt x="4787" y="3421"/>
                </a:lnTo>
                <a:lnTo>
                  <a:pt x="4786" y="3418"/>
                </a:lnTo>
                <a:lnTo>
                  <a:pt x="4786" y="3412"/>
                </a:lnTo>
                <a:lnTo>
                  <a:pt x="4786" y="3409"/>
                </a:lnTo>
                <a:lnTo>
                  <a:pt x="4786" y="3406"/>
                </a:lnTo>
                <a:lnTo>
                  <a:pt x="4787" y="3401"/>
                </a:lnTo>
                <a:lnTo>
                  <a:pt x="4788" y="3399"/>
                </a:lnTo>
                <a:lnTo>
                  <a:pt x="4790" y="3397"/>
                </a:lnTo>
                <a:lnTo>
                  <a:pt x="4791" y="3396"/>
                </a:lnTo>
                <a:lnTo>
                  <a:pt x="4793" y="3395"/>
                </a:lnTo>
                <a:lnTo>
                  <a:pt x="4804" y="3393"/>
                </a:lnTo>
                <a:lnTo>
                  <a:pt x="4814" y="3389"/>
                </a:lnTo>
                <a:lnTo>
                  <a:pt x="4824" y="3386"/>
                </a:lnTo>
                <a:lnTo>
                  <a:pt x="4835" y="3382"/>
                </a:lnTo>
                <a:lnTo>
                  <a:pt x="4844" y="3377"/>
                </a:lnTo>
                <a:lnTo>
                  <a:pt x="4852" y="3372"/>
                </a:lnTo>
                <a:lnTo>
                  <a:pt x="4860" y="3367"/>
                </a:lnTo>
                <a:lnTo>
                  <a:pt x="4864" y="3364"/>
                </a:lnTo>
                <a:lnTo>
                  <a:pt x="4868" y="3361"/>
                </a:lnTo>
                <a:lnTo>
                  <a:pt x="4874" y="3354"/>
                </a:lnTo>
                <a:lnTo>
                  <a:pt x="4880" y="3348"/>
                </a:lnTo>
                <a:lnTo>
                  <a:pt x="4885" y="3341"/>
                </a:lnTo>
                <a:lnTo>
                  <a:pt x="4889" y="3334"/>
                </a:lnTo>
                <a:lnTo>
                  <a:pt x="4893" y="3326"/>
                </a:lnTo>
                <a:lnTo>
                  <a:pt x="4896" y="3319"/>
                </a:lnTo>
                <a:lnTo>
                  <a:pt x="4897" y="3312"/>
                </a:lnTo>
                <a:lnTo>
                  <a:pt x="4898" y="3305"/>
                </a:lnTo>
                <a:lnTo>
                  <a:pt x="4897" y="3297"/>
                </a:lnTo>
                <a:lnTo>
                  <a:pt x="4895" y="3290"/>
                </a:lnTo>
                <a:lnTo>
                  <a:pt x="4893" y="3286"/>
                </a:lnTo>
                <a:lnTo>
                  <a:pt x="4891" y="3283"/>
                </a:lnTo>
                <a:lnTo>
                  <a:pt x="4888" y="3281"/>
                </a:lnTo>
                <a:lnTo>
                  <a:pt x="4886" y="3278"/>
                </a:lnTo>
                <a:lnTo>
                  <a:pt x="4880" y="3274"/>
                </a:lnTo>
                <a:lnTo>
                  <a:pt x="4877" y="3272"/>
                </a:lnTo>
                <a:lnTo>
                  <a:pt x="4873" y="3270"/>
                </a:lnTo>
                <a:lnTo>
                  <a:pt x="4865" y="3268"/>
                </a:lnTo>
                <a:lnTo>
                  <a:pt x="4861" y="3267"/>
                </a:lnTo>
                <a:lnTo>
                  <a:pt x="4856" y="3267"/>
                </a:lnTo>
                <a:lnTo>
                  <a:pt x="4848" y="3268"/>
                </a:lnTo>
                <a:lnTo>
                  <a:pt x="4843" y="3269"/>
                </a:lnTo>
                <a:lnTo>
                  <a:pt x="4839" y="3270"/>
                </a:lnTo>
                <a:lnTo>
                  <a:pt x="4834" y="3273"/>
                </a:lnTo>
                <a:lnTo>
                  <a:pt x="4829" y="3275"/>
                </a:lnTo>
                <a:lnTo>
                  <a:pt x="4825" y="3277"/>
                </a:lnTo>
                <a:lnTo>
                  <a:pt x="4820" y="3279"/>
                </a:lnTo>
                <a:lnTo>
                  <a:pt x="4816" y="3282"/>
                </a:lnTo>
                <a:lnTo>
                  <a:pt x="4812" y="3285"/>
                </a:lnTo>
                <a:lnTo>
                  <a:pt x="4803" y="3292"/>
                </a:lnTo>
                <a:lnTo>
                  <a:pt x="4796" y="3300"/>
                </a:lnTo>
                <a:lnTo>
                  <a:pt x="4788" y="3309"/>
                </a:lnTo>
                <a:lnTo>
                  <a:pt x="4785" y="3314"/>
                </a:lnTo>
                <a:lnTo>
                  <a:pt x="4781" y="3319"/>
                </a:lnTo>
                <a:lnTo>
                  <a:pt x="4775" y="3330"/>
                </a:lnTo>
                <a:lnTo>
                  <a:pt x="4768" y="3343"/>
                </a:lnTo>
                <a:lnTo>
                  <a:pt x="4764" y="3355"/>
                </a:lnTo>
                <a:lnTo>
                  <a:pt x="4760" y="3368"/>
                </a:lnTo>
                <a:lnTo>
                  <a:pt x="4757" y="3381"/>
                </a:lnTo>
                <a:lnTo>
                  <a:pt x="4755" y="3396"/>
                </a:lnTo>
                <a:lnTo>
                  <a:pt x="4755" y="3403"/>
                </a:lnTo>
                <a:lnTo>
                  <a:pt x="4755" y="3410"/>
                </a:lnTo>
                <a:lnTo>
                  <a:pt x="4755" y="3423"/>
                </a:lnTo>
                <a:lnTo>
                  <a:pt x="4756" y="3435"/>
                </a:lnTo>
                <a:lnTo>
                  <a:pt x="4759" y="3446"/>
                </a:lnTo>
                <a:lnTo>
                  <a:pt x="4760" y="3453"/>
                </a:lnTo>
                <a:lnTo>
                  <a:pt x="4762" y="3458"/>
                </a:lnTo>
                <a:lnTo>
                  <a:pt x="4765" y="3469"/>
                </a:lnTo>
                <a:lnTo>
                  <a:pt x="4767" y="3474"/>
                </a:lnTo>
                <a:lnTo>
                  <a:pt x="4771" y="3479"/>
                </a:lnTo>
                <a:lnTo>
                  <a:pt x="4773" y="3483"/>
                </a:lnTo>
                <a:lnTo>
                  <a:pt x="4776" y="3488"/>
                </a:lnTo>
                <a:lnTo>
                  <a:pt x="4779" y="3492"/>
                </a:lnTo>
                <a:lnTo>
                  <a:pt x="4782" y="3496"/>
                </a:lnTo>
                <a:lnTo>
                  <a:pt x="4785" y="3500"/>
                </a:lnTo>
                <a:lnTo>
                  <a:pt x="4788" y="3503"/>
                </a:lnTo>
                <a:lnTo>
                  <a:pt x="4796" y="3510"/>
                </a:lnTo>
                <a:lnTo>
                  <a:pt x="4804" y="3517"/>
                </a:lnTo>
                <a:lnTo>
                  <a:pt x="4812" y="3522"/>
                </a:lnTo>
                <a:lnTo>
                  <a:pt x="4821" y="3525"/>
                </a:lnTo>
                <a:lnTo>
                  <a:pt x="4832" y="3528"/>
                </a:lnTo>
                <a:lnTo>
                  <a:pt x="4842" y="3530"/>
                </a:lnTo>
                <a:lnTo>
                  <a:pt x="4847" y="3530"/>
                </a:lnTo>
                <a:lnTo>
                  <a:pt x="4853" y="3530"/>
                </a:lnTo>
                <a:lnTo>
                  <a:pt x="4863" y="3530"/>
                </a:lnTo>
                <a:lnTo>
                  <a:pt x="4873" y="3528"/>
                </a:lnTo>
                <a:lnTo>
                  <a:pt x="4883" y="3526"/>
                </a:lnTo>
                <a:lnTo>
                  <a:pt x="4894" y="3523"/>
                </a:lnTo>
                <a:lnTo>
                  <a:pt x="4903" y="3518"/>
                </a:lnTo>
                <a:lnTo>
                  <a:pt x="4912" y="3513"/>
                </a:lnTo>
                <a:lnTo>
                  <a:pt x="4921" y="3507"/>
                </a:lnTo>
                <a:lnTo>
                  <a:pt x="4929" y="3500"/>
                </a:lnTo>
                <a:lnTo>
                  <a:pt x="4937" y="3493"/>
                </a:lnTo>
                <a:lnTo>
                  <a:pt x="4944" y="3485"/>
                </a:lnTo>
                <a:lnTo>
                  <a:pt x="4953" y="3476"/>
                </a:lnTo>
                <a:lnTo>
                  <a:pt x="4960" y="3467"/>
                </a:lnTo>
                <a:lnTo>
                  <a:pt x="4973" y="3447"/>
                </a:lnTo>
                <a:lnTo>
                  <a:pt x="4979" y="3437"/>
                </a:lnTo>
                <a:lnTo>
                  <a:pt x="4984" y="3426"/>
                </a:lnTo>
                <a:lnTo>
                  <a:pt x="4989" y="3415"/>
                </a:lnTo>
                <a:lnTo>
                  <a:pt x="4994" y="3404"/>
                </a:lnTo>
                <a:lnTo>
                  <a:pt x="4999" y="3392"/>
                </a:lnTo>
                <a:lnTo>
                  <a:pt x="5003" y="3379"/>
                </a:lnTo>
                <a:lnTo>
                  <a:pt x="5007" y="3367"/>
                </a:lnTo>
                <a:lnTo>
                  <a:pt x="5011" y="3355"/>
                </a:lnTo>
                <a:lnTo>
                  <a:pt x="5014" y="3343"/>
                </a:lnTo>
                <a:lnTo>
                  <a:pt x="5017" y="3330"/>
                </a:lnTo>
                <a:lnTo>
                  <a:pt x="5019" y="3318"/>
                </a:lnTo>
                <a:lnTo>
                  <a:pt x="5021" y="3307"/>
                </a:lnTo>
                <a:lnTo>
                  <a:pt x="5022" y="3295"/>
                </a:lnTo>
                <a:lnTo>
                  <a:pt x="5023" y="3283"/>
                </a:lnTo>
                <a:lnTo>
                  <a:pt x="5024" y="3272"/>
                </a:lnTo>
                <a:lnTo>
                  <a:pt x="5024" y="3260"/>
                </a:lnTo>
                <a:lnTo>
                  <a:pt x="5024" y="3249"/>
                </a:lnTo>
                <a:lnTo>
                  <a:pt x="5024" y="3239"/>
                </a:lnTo>
                <a:lnTo>
                  <a:pt x="5025" y="3236"/>
                </a:lnTo>
                <a:lnTo>
                  <a:pt x="5026" y="3234"/>
                </a:lnTo>
                <a:lnTo>
                  <a:pt x="5028" y="3232"/>
                </a:lnTo>
                <a:lnTo>
                  <a:pt x="5031" y="3230"/>
                </a:lnTo>
                <a:lnTo>
                  <a:pt x="5038" y="3227"/>
                </a:lnTo>
                <a:lnTo>
                  <a:pt x="5042" y="3227"/>
                </a:lnTo>
                <a:lnTo>
                  <a:pt x="5046" y="3226"/>
                </a:lnTo>
                <a:lnTo>
                  <a:pt x="5053" y="3227"/>
                </a:lnTo>
                <a:lnTo>
                  <a:pt x="5056" y="3228"/>
                </a:lnTo>
                <a:lnTo>
                  <a:pt x="5060" y="3229"/>
                </a:lnTo>
                <a:lnTo>
                  <a:pt x="5065" y="3231"/>
                </a:lnTo>
                <a:lnTo>
                  <a:pt x="5068" y="3233"/>
                </a:lnTo>
                <a:lnTo>
                  <a:pt x="5071" y="3236"/>
                </a:lnTo>
                <a:lnTo>
                  <a:pt x="5075" y="3241"/>
                </a:lnTo>
                <a:lnTo>
                  <a:pt x="5077" y="3245"/>
                </a:lnTo>
                <a:lnTo>
                  <a:pt x="5078" y="3249"/>
                </a:lnTo>
                <a:lnTo>
                  <a:pt x="5079" y="3253"/>
                </a:lnTo>
                <a:lnTo>
                  <a:pt x="5080" y="3258"/>
                </a:lnTo>
                <a:lnTo>
                  <a:pt x="5081" y="3263"/>
                </a:lnTo>
                <a:lnTo>
                  <a:pt x="5081" y="3269"/>
                </a:lnTo>
                <a:lnTo>
                  <a:pt x="5080" y="3286"/>
                </a:lnTo>
                <a:lnTo>
                  <a:pt x="5079" y="3301"/>
                </a:lnTo>
                <a:lnTo>
                  <a:pt x="5078" y="3316"/>
                </a:lnTo>
                <a:lnTo>
                  <a:pt x="5076" y="3333"/>
                </a:lnTo>
                <a:lnTo>
                  <a:pt x="5073" y="3347"/>
                </a:lnTo>
                <a:lnTo>
                  <a:pt x="5069" y="3362"/>
                </a:lnTo>
                <a:lnTo>
                  <a:pt x="5066" y="3377"/>
                </a:lnTo>
                <a:lnTo>
                  <a:pt x="5062" y="3392"/>
                </a:lnTo>
                <a:lnTo>
                  <a:pt x="5057" y="3406"/>
                </a:lnTo>
                <a:lnTo>
                  <a:pt x="5053" y="3419"/>
                </a:lnTo>
                <a:lnTo>
                  <a:pt x="5047" y="3432"/>
                </a:lnTo>
                <a:lnTo>
                  <a:pt x="5042" y="3445"/>
                </a:lnTo>
                <a:lnTo>
                  <a:pt x="5036" y="3459"/>
                </a:lnTo>
                <a:lnTo>
                  <a:pt x="5029" y="3471"/>
                </a:lnTo>
                <a:lnTo>
                  <a:pt x="5022" y="3482"/>
                </a:lnTo>
                <a:lnTo>
                  <a:pt x="5015" y="3493"/>
                </a:lnTo>
                <a:lnTo>
                  <a:pt x="5006" y="3504"/>
                </a:lnTo>
                <a:lnTo>
                  <a:pt x="4998" y="3515"/>
                </a:lnTo>
                <a:lnTo>
                  <a:pt x="4990" y="3525"/>
                </a:lnTo>
                <a:lnTo>
                  <a:pt x="4981" y="3534"/>
                </a:lnTo>
                <a:lnTo>
                  <a:pt x="4972" y="3542"/>
                </a:lnTo>
                <a:lnTo>
                  <a:pt x="4963" y="3550"/>
                </a:lnTo>
                <a:lnTo>
                  <a:pt x="4953" y="3557"/>
                </a:lnTo>
                <a:lnTo>
                  <a:pt x="4942" y="3564"/>
                </a:lnTo>
                <a:lnTo>
                  <a:pt x="4932" y="3570"/>
                </a:lnTo>
                <a:lnTo>
                  <a:pt x="4921" y="3576"/>
                </a:lnTo>
                <a:lnTo>
                  <a:pt x="4910" y="3580"/>
                </a:lnTo>
                <a:lnTo>
                  <a:pt x="4899" y="3584"/>
                </a:lnTo>
                <a:lnTo>
                  <a:pt x="4886" y="3587"/>
                </a:lnTo>
                <a:lnTo>
                  <a:pt x="4875" y="3589"/>
                </a:lnTo>
                <a:lnTo>
                  <a:pt x="4863" y="3590"/>
                </a:lnTo>
                <a:lnTo>
                  <a:pt x="4851" y="3591"/>
                </a:lnTo>
                <a:close/>
                <a:moveTo>
                  <a:pt x="5237" y="3585"/>
                </a:moveTo>
                <a:lnTo>
                  <a:pt x="5236" y="3585"/>
                </a:lnTo>
                <a:lnTo>
                  <a:pt x="5233" y="3584"/>
                </a:lnTo>
                <a:lnTo>
                  <a:pt x="5228" y="3581"/>
                </a:lnTo>
                <a:lnTo>
                  <a:pt x="5222" y="3577"/>
                </a:lnTo>
                <a:lnTo>
                  <a:pt x="5214" y="3572"/>
                </a:lnTo>
                <a:lnTo>
                  <a:pt x="5202" y="3560"/>
                </a:lnTo>
                <a:lnTo>
                  <a:pt x="5186" y="3546"/>
                </a:lnTo>
                <a:lnTo>
                  <a:pt x="5169" y="3530"/>
                </a:lnTo>
                <a:lnTo>
                  <a:pt x="5153" y="3513"/>
                </a:lnTo>
                <a:lnTo>
                  <a:pt x="5137" y="3495"/>
                </a:lnTo>
                <a:lnTo>
                  <a:pt x="5122" y="3479"/>
                </a:lnTo>
                <a:lnTo>
                  <a:pt x="5110" y="3464"/>
                </a:lnTo>
                <a:lnTo>
                  <a:pt x="5106" y="3458"/>
                </a:lnTo>
                <a:lnTo>
                  <a:pt x="5103" y="3453"/>
                </a:lnTo>
                <a:lnTo>
                  <a:pt x="5097" y="3442"/>
                </a:lnTo>
                <a:lnTo>
                  <a:pt x="5094" y="3432"/>
                </a:lnTo>
                <a:lnTo>
                  <a:pt x="5091" y="3422"/>
                </a:lnTo>
                <a:lnTo>
                  <a:pt x="5090" y="3412"/>
                </a:lnTo>
                <a:lnTo>
                  <a:pt x="5091" y="3407"/>
                </a:lnTo>
                <a:lnTo>
                  <a:pt x="5091" y="3401"/>
                </a:lnTo>
                <a:lnTo>
                  <a:pt x="5093" y="3395"/>
                </a:lnTo>
                <a:lnTo>
                  <a:pt x="5095" y="3388"/>
                </a:lnTo>
                <a:lnTo>
                  <a:pt x="5097" y="3382"/>
                </a:lnTo>
                <a:lnTo>
                  <a:pt x="5101" y="3376"/>
                </a:lnTo>
                <a:lnTo>
                  <a:pt x="5104" y="3369"/>
                </a:lnTo>
                <a:lnTo>
                  <a:pt x="5109" y="3362"/>
                </a:lnTo>
                <a:lnTo>
                  <a:pt x="5117" y="3351"/>
                </a:lnTo>
                <a:lnTo>
                  <a:pt x="5128" y="3338"/>
                </a:lnTo>
                <a:lnTo>
                  <a:pt x="5159" y="3303"/>
                </a:lnTo>
                <a:lnTo>
                  <a:pt x="5195" y="3263"/>
                </a:lnTo>
                <a:lnTo>
                  <a:pt x="5230" y="3223"/>
                </a:lnTo>
                <a:lnTo>
                  <a:pt x="5231" y="3222"/>
                </a:lnTo>
                <a:lnTo>
                  <a:pt x="5234" y="3222"/>
                </a:lnTo>
                <a:lnTo>
                  <a:pt x="5238" y="3222"/>
                </a:lnTo>
                <a:lnTo>
                  <a:pt x="5242" y="3223"/>
                </a:lnTo>
                <a:lnTo>
                  <a:pt x="5246" y="3225"/>
                </a:lnTo>
                <a:lnTo>
                  <a:pt x="5252" y="3228"/>
                </a:lnTo>
                <a:lnTo>
                  <a:pt x="5256" y="3231"/>
                </a:lnTo>
                <a:lnTo>
                  <a:pt x="5260" y="3235"/>
                </a:lnTo>
                <a:lnTo>
                  <a:pt x="5263" y="3239"/>
                </a:lnTo>
                <a:lnTo>
                  <a:pt x="5266" y="3244"/>
                </a:lnTo>
                <a:lnTo>
                  <a:pt x="5267" y="3248"/>
                </a:lnTo>
                <a:lnTo>
                  <a:pt x="5268" y="3253"/>
                </a:lnTo>
                <a:lnTo>
                  <a:pt x="5267" y="3259"/>
                </a:lnTo>
                <a:lnTo>
                  <a:pt x="5265" y="3264"/>
                </a:lnTo>
                <a:lnTo>
                  <a:pt x="5263" y="3270"/>
                </a:lnTo>
                <a:lnTo>
                  <a:pt x="5259" y="3277"/>
                </a:lnTo>
                <a:lnTo>
                  <a:pt x="5251" y="3287"/>
                </a:lnTo>
                <a:lnTo>
                  <a:pt x="5238" y="3300"/>
                </a:lnTo>
                <a:lnTo>
                  <a:pt x="5209" y="3334"/>
                </a:lnTo>
                <a:lnTo>
                  <a:pt x="5179" y="3368"/>
                </a:lnTo>
                <a:lnTo>
                  <a:pt x="5166" y="3382"/>
                </a:lnTo>
                <a:lnTo>
                  <a:pt x="5157" y="3395"/>
                </a:lnTo>
                <a:lnTo>
                  <a:pt x="5155" y="3398"/>
                </a:lnTo>
                <a:lnTo>
                  <a:pt x="5153" y="3402"/>
                </a:lnTo>
                <a:lnTo>
                  <a:pt x="5152" y="3406"/>
                </a:lnTo>
                <a:lnTo>
                  <a:pt x="5151" y="3409"/>
                </a:lnTo>
                <a:lnTo>
                  <a:pt x="5152" y="3414"/>
                </a:lnTo>
                <a:lnTo>
                  <a:pt x="5153" y="3418"/>
                </a:lnTo>
                <a:lnTo>
                  <a:pt x="5155" y="3422"/>
                </a:lnTo>
                <a:lnTo>
                  <a:pt x="5158" y="3427"/>
                </a:lnTo>
                <a:lnTo>
                  <a:pt x="5166" y="3436"/>
                </a:lnTo>
                <a:lnTo>
                  <a:pt x="5176" y="3448"/>
                </a:lnTo>
                <a:lnTo>
                  <a:pt x="5205" y="3478"/>
                </a:lnTo>
                <a:lnTo>
                  <a:pt x="5236" y="3510"/>
                </a:lnTo>
                <a:lnTo>
                  <a:pt x="5268" y="3541"/>
                </a:lnTo>
                <a:lnTo>
                  <a:pt x="5270" y="3543"/>
                </a:lnTo>
                <a:lnTo>
                  <a:pt x="5272" y="3545"/>
                </a:lnTo>
                <a:lnTo>
                  <a:pt x="5273" y="3548"/>
                </a:lnTo>
                <a:lnTo>
                  <a:pt x="5273" y="3550"/>
                </a:lnTo>
                <a:lnTo>
                  <a:pt x="5272" y="3556"/>
                </a:lnTo>
                <a:lnTo>
                  <a:pt x="5271" y="3559"/>
                </a:lnTo>
                <a:lnTo>
                  <a:pt x="5270" y="3561"/>
                </a:lnTo>
                <a:lnTo>
                  <a:pt x="5266" y="3567"/>
                </a:lnTo>
                <a:lnTo>
                  <a:pt x="5264" y="3570"/>
                </a:lnTo>
                <a:lnTo>
                  <a:pt x="5261" y="3573"/>
                </a:lnTo>
                <a:lnTo>
                  <a:pt x="5256" y="3578"/>
                </a:lnTo>
                <a:lnTo>
                  <a:pt x="5253" y="3580"/>
                </a:lnTo>
                <a:lnTo>
                  <a:pt x="5249" y="3582"/>
                </a:lnTo>
                <a:lnTo>
                  <a:pt x="5243" y="3584"/>
                </a:lnTo>
                <a:lnTo>
                  <a:pt x="5240" y="3585"/>
                </a:lnTo>
                <a:lnTo>
                  <a:pt x="5237" y="3585"/>
                </a:lnTo>
                <a:close/>
                <a:moveTo>
                  <a:pt x="5017" y="4321"/>
                </a:moveTo>
                <a:lnTo>
                  <a:pt x="5021" y="4298"/>
                </a:lnTo>
                <a:lnTo>
                  <a:pt x="5023" y="4275"/>
                </a:lnTo>
                <a:lnTo>
                  <a:pt x="5024" y="4253"/>
                </a:lnTo>
                <a:lnTo>
                  <a:pt x="5024" y="4243"/>
                </a:lnTo>
                <a:lnTo>
                  <a:pt x="5024" y="4233"/>
                </a:lnTo>
                <a:lnTo>
                  <a:pt x="5025" y="4229"/>
                </a:lnTo>
                <a:lnTo>
                  <a:pt x="5026" y="4227"/>
                </a:lnTo>
                <a:lnTo>
                  <a:pt x="5028" y="4225"/>
                </a:lnTo>
                <a:lnTo>
                  <a:pt x="5031" y="4223"/>
                </a:lnTo>
                <a:lnTo>
                  <a:pt x="5038" y="4221"/>
                </a:lnTo>
                <a:lnTo>
                  <a:pt x="5042" y="4220"/>
                </a:lnTo>
                <a:lnTo>
                  <a:pt x="5046" y="4220"/>
                </a:lnTo>
                <a:lnTo>
                  <a:pt x="5053" y="4220"/>
                </a:lnTo>
                <a:lnTo>
                  <a:pt x="5056" y="4221"/>
                </a:lnTo>
                <a:lnTo>
                  <a:pt x="5060" y="4222"/>
                </a:lnTo>
                <a:lnTo>
                  <a:pt x="5065" y="4225"/>
                </a:lnTo>
                <a:lnTo>
                  <a:pt x="5068" y="4227"/>
                </a:lnTo>
                <a:lnTo>
                  <a:pt x="5071" y="4229"/>
                </a:lnTo>
                <a:lnTo>
                  <a:pt x="5075" y="4236"/>
                </a:lnTo>
                <a:lnTo>
                  <a:pt x="5077" y="4239"/>
                </a:lnTo>
                <a:lnTo>
                  <a:pt x="5078" y="4243"/>
                </a:lnTo>
                <a:lnTo>
                  <a:pt x="5079" y="4247"/>
                </a:lnTo>
                <a:lnTo>
                  <a:pt x="5080" y="4252"/>
                </a:lnTo>
                <a:lnTo>
                  <a:pt x="5081" y="4258"/>
                </a:lnTo>
                <a:lnTo>
                  <a:pt x="5081" y="4263"/>
                </a:lnTo>
                <a:lnTo>
                  <a:pt x="5080" y="4278"/>
                </a:lnTo>
                <a:lnTo>
                  <a:pt x="5079" y="4293"/>
                </a:lnTo>
                <a:lnTo>
                  <a:pt x="5076" y="4321"/>
                </a:lnTo>
                <a:lnTo>
                  <a:pt x="5017" y="4321"/>
                </a:lnTo>
                <a:close/>
                <a:moveTo>
                  <a:pt x="4716" y="4321"/>
                </a:moveTo>
                <a:lnTo>
                  <a:pt x="4718" y="4315"/>
                </a:lnTo>
                <a:lnTo>
                  <a:pt x="4721" y="4310"/>
                </a:lnTo>
                <a:lnTo>
                  <a:pt x="4727" y="4299"/>
                </a:lnTo>
                <a:lnTo>
                  <a:pt x="4733" y="4287"/>
                </a:lnTo>
                <a:lnTo>
                  <a:pt x="4740" y="4277"/>
                </a:lnTo>
                <a:lnTo>
                  <a:pt x="4748" y="4267"/>
                </a:lnTo>
                <a:lnTo>
                  <a:pt x="4756" y="4258"/>
                </a:lnTo>
                <a:lnTo>
                  <a:pt x="4760" y="4254"/>
                </a:lnTo>
                <a:lnTo>
                  <a:pt x="4764" y="4250"/>
                </a:lnTo>
                <a:lnTo>
                  <a:pt x="4774" y="4243"/>
                </a:lnTo>
                <a:lnTo>
                  <a:pt x="4779" y="4239"/>
                </a:lnTo>
                <a:lnTo>
                  <a:pt x="4784" y="4236"/>
                </a:lnTo>
                <a:lnTo>
                  <a:pt x="4793" y="4229"/>
                </a:lnTo>
                <a:lnTo>
                  <a:pt x="4798" y="4226"/>
                </a:lnTo>
                <a:lnTo>
                  <a:pt x="4804" y="4223"/>
                </a:lnTo>
                <a:lnTo>
                  <a:pt x="4814" y="4219"/>
                </a:lnTo>
                <a:lnTo>
                  <a:pt x="4825" y="4215"/>
                </a:lnTo>
                <a:lnTo>
                  <a:pt x="4837" y="4213"/>
                </a:lnTo>
                <a:lnTo>
                  <a:pt x="4843" y="4212"/>
                </a:lnTo>
                <a:lnTo>
                  <a:pt x="4849" y="4211"/>
                </a:lnTo>
                <a:lnTo>
                  <a:pt x="4860" y="4211"/>
                </a:lnTo>
                <a:lnTo>
                  <a:pt x="4870" y="4211"/>
                </a:lnTo>
                <a:lnTo>
                  <a:pt x="4875" y="4212"/>
                </a:lnTo>
                <a:lnTo>
                  <a:pt x="4880" y="4213"/>
                </a:lnTo>
                <a:lnTo>
                  <a:pt x="4885" y="4214"/>
                </a:lnTo>
                <a:lnTo>
                  <a:pt x="4889" y="4215"/>
                </a:lnTo>
                <a:lnTo>
                  <a:pt x="4899" y="4218"/>
                </a:lnTo>
                <a:lnTo>
                  <a:pt x="4906" y="4222"/>
                </a:lnTo>
                <a:lnTo>
                  <a:pt x="4914" y="4226"/>
                </a:lnTo>
                <a:lnTo>
                  <a:pt x="4920" y="4233"/>
                </a:lnTo>
                <a:lnTo>
                  <a:pt x="4926" y="4239"/>
                </a:lnTo>
                <a:lnTo>
                  <a:pt x="4929" y="4242"/>
                </a:lnTo>
                <a:lnTo>
                  <a:pt x="4932" y="4245"/>
                </a:lnTo>
                <a:lnTo>
                  <a:pt x="4937" y="4253"/>
                </a:lnTo>
                <a:lnTo>
                  <a:pt x="4941" y="4260"/>
                </a:lnTo>
                <a:lnTo>
                  <a:pt x="4944" y="4269"/>
                </a:lnTo>
                <a:lnTo>
                  <a:pt x="4947" y="4277"/>
                </a:lnTo>
                <a:lnTo>
                  <a:pt x="4949" y="4287"/>
                </a:lnTo>
                <a:lnTo>
                  <a:pt x="4951" y="4297"/>
                </a:lnTo>
                <a:lnTo>
                  <a:pt x="4951" y="4307"/>
                </a:lnTo>
                <a:lnTo>
                  <a:pt x="4951" y="4314"/>
                </a:lnTo>
                <a:lnTo>
                  <a:pt x="4949" y="4321"/>
                </a:lnTo>
                <a:lnTo>
                  <a:pt x="4893" y="4321"/>
                </a:lnTo>
                <a:lnTo>
                  <a:pt x="4895" y="4316"/>
                </a:lnTo>
                <a:lnTo>
                  <a:pt x="4896" y="4310"/>
                </a:lnTo>
                <a:lnTo>
                  <a:pt x="4897" y="4305"/>
                </a:lnTo>
                <a:lnTo>
                  <a:pt x="4898" y="4299"/>
                </a:lnTo>
                <a:lnTo>
                  <a:pt x="4897" y="4290"/>
                </a:lnTo>
                <a:lnTo>
                  <a:pt x="4895" y="4283"/>
                </a:lnTo>
                <a:lnTo>
                  <a:pt x="4893" y="4280"/>
                </a:lnTo>
                <a:lnTo>
                  <a:pt x="4891" y="4277"/>
                </a:lnTo>
                <a:lnTo>
                  <a:pt x="4888" y="4274"/>
                </a:lnTo>
                <a:lnTo>
                  <a:pt x="4886" y="4271"/>
                </a:lnTo>
                <a:lnTo>
                  <a:pt x="4880" y="4267"/>
                </a:lnTo>
                <a:lnTo>
                  <a:pt x="4877" y="4265"/>
                </a:lnTo>
                <a:lnTo>
                  <a:pt x="4873" y="4264"/>
                </a:lnTo>
                <a:lnTo>
                  <a:pt x="4865" y="4262"/>
                </a:lnTo>
                <a:lnTo>
                  <a:pt x="4861" y="4262"/>
                </a:lnTo>
                <a:lnTo>
                  <a:pt x="4856" y="4261"/>
                </a:lnTo>
                <a:lnTo>
                  <a:pt x="4851" y="4262"/>
                </a:lnTo>
                <a:lnTo>
                  <a:pt x="4846" y="4263"/>
                </a:lnTo>
                <a:lnTo>
                  <a:pt x="4835" y="4266"/>
                </a:lnTo>
                <a:lnTo>
                  <a:pt x="4829" y="4268"/>
                </a:lnTo>
                <a:lnTo>
                  <a:pt x="4823" y="4271"/>
                </a:lnTo>
                <a:lnTo>
                  <a:pt x="4813" y="4278"/>
                </a:lnTo>
                <a:lnTo>
                  <a:pt x="4808" y="4282"/>
                </a:lnTo>
                <a:lnTo>
                  <a:pt x="4803" y="4286"/>
                </a:lnTo>
                <a:lnTo>
                  <a:pt x="4798" y="4292"/>
                </a:lnTo>
                <a:lnTo>
                  <a:pt x="4793" y="4297"/>
                </a:lnTo>
                <a:lnTo>
                  <a:pt x="4785" y="4308"/>
                </a:lnTo>
                <a:lnTo>
                  <a:pt x="4777" y="4321"/>
                </a:lnTo>
                <a:lnTo>
                  <a:pt x="4716" y="4321"/>
                </a:lnTo>
                <a:close/>
                <a:moveTo>
                  <a:pt x="5138" y="4321"/>
                </a:moveTo>
                <a:lnTo>
                  <a:pt x="5182" y="4271"/>
                </a:lnTo>
                <a:lnTo>
                  <a:pt x="5206" y="4244"/>
                </a:lnTo>
                <a:lnTo>
                  <a:pt x="5230" y="4216"/>
                </a:lnTo>
                <a:lnTo>
                  <a:pt x="5231" y="4216"/>
                </a:lnTo>
                <a:lnTo>
                  <a:pt x="5234" y="4215"/>
                </a:lnTo>
                <a:lnTo>
                  <a:pt x="5238" y="4216"/>
                </a:lnTo>
                <a:lnTo>
                  <a:pt x="5242" y="4217"/>
                </a:lnTo>
                <a:lnTo>
                  <a:pt x="5246" y="4219"/>
                </a:lnTo>
                <a:lnTo>
                  <a:pt x="5252" y="4221"/>
                </a:lnTo>
                <a:lnTo>
                  <a:pt x="5256" y="4224"/>
                </a:lnTo>
                <a:lnTo>
                  <a:pt x="5260" y="4228"/>
                </a:lnTo>
                <a:lnTo>
                  <a:pt x="5263" y="4233"/>
                </a:lnTo>
                <a:lnTo>
                  <a:pt x="5266" y="4238"/>
                </a:lnTo>
                <a:lnTo>
                  <a:pt x="5267" y="4243"/>
                </a:lnTo>
                <a:lnTo>
                  <a:pt x="5268" y="4247"/>
                </a:lnTo>
                <a:lnTo>
                  <a:pt x="5267" y="4253"/>
                </a:lnTo>
                <a:lnTo>
                  <a:pt x="5265" y="4258"/>
                </a:lnTo>
                <a:lnTo>
                  <a:pt x="5263" y="4264"/>
                </a:lnTo>
                <a:lnTo>
                  <a:pt x="5259" y="4270"/>
                </a:lnTo>
                <a:lnTo>
                  <a:pt x="5251" y="4279"/>
                </a:lnTo>
                <a:lnTo>
                  <a:pt x="5240" y="4292"/>
                </a:lnTo>
                <a:lnTo>
                  <a:pt x="5214" y="4321"/>
                </a:lnTo>
                <a:lnTo>
                  <a:pt x="5138" y="4321"/>
                </a:lnTo>
                <a:close/>
                <a:moveTo>
                  <a:pt x="1768" y="3591"/>
                </a:moveTo>
                <a:lnTo>
                  <a:pt x="1761" y="3591"/>
                </a:lnTo>
                <a:lnTo>
                  <a:pt x="1753" y="3590"/>
                </a:lnTo>
                <a:lnTo>
                  <a:pt x="1746" y="3589"/>
                </a:lnTo>
                <a:lnTo>
                  <a:pt x="1738" y="3587"/>
                </a:lnTo>
                <a:lnTo>
                  <a:pt x="1731" y="3585"/>
                </a:lnTo>
                <a:lnTo>
                  <a:pt x="1724" y="3583"/>
                </a:lnTo>
                <a:lnTo>
                  <a:pt x="1709" y="3577"/>
                </a:lnTo>
                <a:lnTo>
                  <a:pt x="1696" y="3569"/>
                </a:lnTo>
                <a:lnTo>
                  <a:pt x="1690" y="3565"/>
                </a:lnTo>
                <a:lnTo>
                  <a:pt x="1684" y="3560"/>
                </a:lnTo>
                <a:lnTo>
                  <a:pt x="1678" y="3555"/>
                </a:lnTo>
                <a:lnTo>
                  <a:pt x="1672" y="3550"/>
                </a:lnTo>
                <a:lnTo>
                  <a:pt x="1667" y="3545"/>
                </a:lnTo>
                <a:lnTo>
                  <a:pt x="1662" y="3539"/>
                </a:lnTo>
                <a:lnTo>
                  <a:pt x="1657" y="3533"/>
                </a:lnTo>
                <a:lnTo>
                  <a:pt x="1652" y="3527"/>
                </a:lnTo>
                <a:lnTo>
                  <a:pt x="1647" y="3520"/>
                </a:lnTo>
                <a:lnTo>
                  <a:pt x="1642" y="3513"/>
                </a:lnTo>
                <a:lnTo>
                  <a:pt x="1639" y="3505"/>
                </a:lnTo>
                <a:lnTo>
                  <a:pt x="1635" y="3498"/>
                </a:lnTo>
                <a:lnTo>
                  <a:pt x="1632" y="3490"/>
                </a:lnTo>
                <a:lnTo>
                  <a:pt x="1629" y="3482"/>
                </a:lnTo>
                <a:lnTo>
                  <a:pt x="1626" y="3474"/>
                </a:lnTo>
                <a:lnTo>
                  <a:pt x="1624" y="3466"/>
                </a:lnTo>
                <a:lnTo>
                  <a:pt x="1622" y="3458"/>
                </a:lnTo>
                <a:lnTo>
                  <a:pt x="1620" y="3448"/>
                </a:lnTo>
                <a:lnTo>
                  <a:pt x="1619" y="3439"/>
                </a:lnTo>
                <a:lnTo>
                  <a:pt x="1618" y="3431"/>
                </a:lnTo>
                <a:lnTo>
                  <a:pt x="1617" y="3422"/>
                </a:lnTo>
                <a:lnTo>
                  <a:pt x="1617" y="3412"/>
                </a:lnTo>
                <a:lnTo>
                  <a:pt x="1618" y="3394"/>
                </a:lnTo>
                <a:lnTo>
                  <a:pt x="1619" y="3384"/>
                </a:lnTo>
                <a:lnTo>
                  <a:pt x="1620" y="3374"/>
                </a:lnTo>
                <a:lnTo>
                  <a:pt x="1622" y="3365"/>
                </a:lnTo>
                <a:lnTo>
                  <a:pt x="1624" y="3357"/>
                </a:lnTo>
                <a:lnTo>
                  <a:pt x="1626" y="3348"/>
                </a:lnTo>
                <a:lnTo>
                  <a:pt x="1629" y="3339"/>
                </a:lnTo>
                <a:lnTo>
                  <a:pt x="1632" y="3330"/>
                </a:lnTo>
                <a:lnTo>
                  <a:pt x="1636" y="3322"/>
                </a:lnTo>
                <a:lnTo>
                  <a:pt x="1640" y="3314"/>
                </a:lnTo>
                <a:lnTo>
                  <a:pt x="1644" y="3306"/>
                </a:lnTo>
                <a:lnTo>
                  <a:pt x="1648" y="3298"/>
                </a:lnTo>
                <a:lnTo>
                  <a:pt x="1654" y="3291"/>
                </a:lnTo>
                <a:lnTo>
                  <a:pt x="1664" y="3277"/>
                </a:lnTo>
                <a:lnTo>
                  <a:pt x="1670" y="3269"/>
                </a:lnTo>
                <a:lnTo>
                  <a:pt x="1675" y="3263"/>
                </a:lnTo>
                <a:lnTo>
                  <a:pt x="1688" y="3252"/>
                </a:lnTo>
                <a:lnTo>
                  <a:pt x="1694" y="3247"/>
                </a:lnTo>
                <a:lnTo>
                  <a:pt x="1701" y="3242"/>
                </a:lnTo>
                <a:lnTo>
                  <a:pt x="1708" y="3237"/>
                </a:lnTo>
                <a:lnTo>
                  <a:pt x="1716" y="3233"/>
                </a:lnTo>
                <a:lnTo>
                  <a:pt x="1723" y="3230"/>
                </a:lnTo>
                <a:lnTo>
                  <a:pt x="1730" y="3227"/>
                </a:lnTo>
                <a:lnTo>
                  <a:pt x="1738" y="3224"/>
                </a:lnTo>
                <a:lnTo>
                  <a:pt x="1746" y="3222"/>
                </a:lnTo>
                <a:lnTo>
                  <a:pt x="1754" y="3220"/>
                </a:lnTo>
                <a:lnTo>
                  <a:pt x="1762" y="3219"/>
                </a:lnTo>
                <a:lnTo>
                  <a:pt x="1771" y="3218"/>
                </a:lnTo>
                <a:lnTo>
                  <a:pt x="1779" y="3218"/>
                </a:lnTo>
                <a:lnTo>
                  <a:pt x="1789" y="3218"/>
                </a:lnTo>
                <a:lnTo>
                  <a:pt x="1794" y="3219"/>
                </a:lnTo>
                <a:lnTo>
                  <a:pt x="1799" y="3219"/>
                </a:lnTo>
                <a:lnTo>
                  <a:pt x="1803" y="3220"/>
                </a:lnTo>
                <a:lnTo>
                  <a:pt x="1808" y="3222"/>
                </a:lnTo>
                <a:lnTo>
                  <a:pt x="1816" y="3225"/>
                </a:lnTo>
                <a:lnTo>
                  <a:pt x="1824" y="3229"/>
                </a:lnTo>
                <a:lnTo>
                  <a:pt x="1832" y="3233"/>
                </a:lnTo>
                <a:lnTo>
                  <a:pt x="1839" y="3239"/>
                </a:lnTo>
                <a:lnTo>
                  <a:pt x="1845" y="3245"/>
                </a:lnTo>
                <a:lnTo>
                  <a:pt x="1848" y="3248"/>
                </a:lnTo>
                <a:lnTo>
                  <a:pt x="1851" y="3251"/>
                </a:lnTo>
                <a:lnTo>
                  <a:pt x="1855" y="3258"/>
                </a:lnTo>
                <a:lnTo>
                  <a:pt x="1859" y="3266"/>
                </a:lnTo>
                <a:lnTo>
                  <a:pt x="1863" y="3276"/>
                </a:lnTo>
                <a:lnTo>
                  <a:pt x="1865" y="3284"/>
                </a:lnTo>
                <a:lnTo>
                  <a:pt x="1867" y="3293"/>
                </a:lnTo>
                <a:lnTo>
                  <a:pt x="1868" y="3303"/>
                </a:lnTo>
                <a:lnTo>
                  <a:pt x="1869" y="3313"/>
                </a:lnTo>
                <a:lnTo>
                  <a:pt x="1868" y="3325"/>
                </a:lnTo>
                <a:lnTo>
                  <a:pt x="1867" y="3333"/>
                </a:lnTo>
                <a:lnTo>
                  <a:pt x="1866" y="3339"/>
                </a:lnTo>
                <a:lnTo>
                  <a:pt x="1862" y="3351"/>
                </a:lnTo>
                <a:lnTo>
                  <a:pt x="1857" y="3362"/>
                </a:lnTo>
                <a:lnTo>
                  <a:pt x="1851" y="3373"/>
                </a:lnTo>
                <a:lnTo>
                  <a:pt x="1843" y="3384"/>
                </a:lnTo>
                <a:lnTo>
                  <a:pt x="1839" y="3389"/>
                </a:lnTo>
                <a:lnTo>
                  <a:pt x="1835" y="3395"/>
                </a:lnTo>
                <a:lnTo>
                  <a:pt x="1825" y="3404"/>
                </a:lnTo>
                <a:lnTo>
                  <a:pt x="1815" y="3413"/>
                </a:lnTo>
                <a:lnTo>
                  <a:pt x="1810" y="3416"/>
                </a:lnTo>
                <a:lnTo>
                  <a:pt x="1804" y="3420"/>
                </a:lnTo>
                <a:lnTo>
                  <a:pt x="1793" y="3427"/>
                </a:lnTo>
                <a:lnTo>
                  <a:pt x="1781" y="3432"/>
                </a:lnTo>
                <a:lnTo>
                  <a:pt x="1768" y="3437"/>
                </a:lnTo>
                <a:lnTo>
                  <a:pt x="1762" y="3439"/>
                </a:lnTo>
                <a:lnTo>
                  <a:pt x="1756" y="3440"/>
                </a:lnTo>
                <a:lnTo>
                  <a:pt x="1750" y="3441"/>
                </a:lnTo>
                <a:lnTo>
                  <a:pt x="1743" y="3442"/>
                </a:lnTo>
                <a:lnTo>
                  <a:pt x="1731" y="3443"/>
                </a:lnTo>
                <a:lnTo>
                  <a:pt x="1725" y="3442"/>
                </a:lnTo>
                <a:lnTo>
                  <a:pt x="1720" y="3441"/>
                </a:lnTo>
                <a:lnTo>
                  <a:pt x="1716" y="3438"/>
                </a:lnTo>
                <a:lnTo>
                  <a:pt x="1714" y="3436"/>
                </a:lnTo>
                <a:lnTo>
                  <a:pt x="1712" y="3434"/>
                </a:lnTo>
                <a:lnTo>
                  <a:pt x="1708" y="3429"/>
                </a:lnTo>
                <a:lnTo>
                  <a:pt x="1706" y="3424"/>
                </a:lnTo>
                <a:lnTo>
                  <a:pt x="1705" y="3421"/>
                </a:lnTo>
                <a:lnTo>
                  <a:pt x="1704" y="3418"/>
                </a:lnTo>
                <a:lnTo>
                  <a:pt x="1704" y="3412"/>
                </a:lnTo>
                <a:lnTo>
                  <a:pt x="1704" y="3409"/>
                </a:lnTo>
                <a:lnTo>
                  <a:pt x="1704" y="3406"/>
                </a:lnTo>
                <a:lnTo>
                  <a:pt x="1705" y="3401"/>
                </a:lnTo>
                <a:lnTo>
                  <a:pt x="1706" y="3399"/>
                </a:lnTo>
                <a:lnTo>
                  <a:pt x="1707" y="3397"/>
                </a:lnTo>
                <a:lnTo>
                  <a:pt x="1709" y="3396"/>
                </a:lnTo>
                <a:lnTo>
                  <a:pt x="1712" y="3395"/>
                </a:lnTo>
                <a:lnTo>
                  <a:pt x="1722" y="3393"/>
                </a:lnTo>
                <a:lnTo>
                  <a:pt x="1733" y="3389"/>
                </a:lnTo>
                <a:lnTo>
                  <a:pt x="1743" y="3386"/>
                </a:lnTo>
                <a:lnTo>
                  <a:pt x="1753" y="3382"/>
                </a:lnTo>
                <a:lnTo>
                  <a:pt x="1762" y="3377"/>
                </a:lnTo>
                <a:lnTo>
                  <a:pt x="1771" y="3372"/>
                </a:lnTo>
                <a:lnTo>
                  <a:pt x="1779" y="3367"/>
                </a:lnTo>
                <a:lnTo>
                  <a:pt x="1783" y="3364"/>
                </a:lnTo>
                <a:lnTo>
                  <a:pt x="1786" y="3361"/>
                </a:lnTo>
                <a:lnTo>
                  <a:pt x="1793" y="3354"/>
                </a:lnTo>
                <a:lnTo>
                  <a:pt x="1799" y="3348"/>
                </a:lnTo>
                <a:lnTo>
                  <a:pt x="1803" y="3341"/>
                </a:lnTo>
                <a:lnTo>
                  <a:pt x="1808" y="3334"/>
                </a:lnTo>
                <a:lnTo>
                  <a:pt x="1811" y="3326"/>
                </a:lnTo>
                <a:lnTo>
                  <a:pt x="1813" y="3319"/>
                </a:lnTo>
                <a:lnTo>
                  <a:pt x="1815" y="3312"/>
                </a:lnTo>
                <a:lnTo>
                  <a:pt x="1815" y="3305"/>
                </a:lnTo>
                <a:lnTo>
                  <a:pt x="1815" y="3297"/>
                </a:lnTo>
                <a:lnTo>
                  <a:pt x="1813" y="3290"/>
                </a:lnTo>
                <a:lnTo>
                  <a:pt x="1811" y="3286"/>
                </a:lnTo>
                <a:lnTo>
                  <a:pt x="1809" y="3283"/>
                </a:lnTo>
                <a:lnTo>
                  <a:pt x="1807" y="3281"/>
                </a:lnTo>
                <a:lnTo>
                  <a:pt x="1805" y="3278"/>
                </a:lnTo>
                <a:lnTo>
                  <a:pt x="1799" y="3274"/>
                </a:lnTo>
                <a:lnTo>
                  <a:pt x="1796" y="3272"/>
                </a:lnTo>
                <a:lnTo>
                  <a:pt x="1792" y="3270"/>
                </a:lnTo>
                <a:lnTo>
                  <a:pt x="1784" y="3268"/>
                </a:lnTo>
                <a:lnTo>
                  <a:pt x="1780" y="3267"/>
                </a:lnTo>
                <a:lnTo>
                  <a:pt x="1775" y="3267"/>
                </a:lnTo>
                <a:lnTo>
                  <a:pt x="1765" y="3268"/>
                </a:lnTo>
                <a:lnTo>
                  <a:pt x="1761" y="3269"/>
                </a:lnTo>
                <a:lnTo>
                  <a:pt x="1756" y="3270"/>
                </a:lnTo>
                <a:lnTo>
                  <a:pt x="1752" y="3273"/>
                </a:lnTo>
                <a:lnTo>
                  <a:pt x="1748" y="3275"/>
                </a:lnTo>
                <a:lnTo>
                  <a:pt x="1743" y="3277"/>
                </a:lnTo>
                <a:lnTo>
                  <a:pt x="1739" y="3279"/>
                </a:lnTo>
                <a:lnTo>
                  <a:pt x="1735" y="3282"/>
                </a:lnTo>
                <a:lnTo>
                  <a:pt x="1730" y="3285"/>
                </a:lnTo>
                <a:lnTo>
                  <a:pt x="1722" y="3292"/>
                </a:lnTo>
                <a:lnTo>
                  <a:pt x="1714" y="3300"/>
                </a:lnTo>
                <a:lnTo>
                  <a:pt x="1706" y="3309"/>
                </a:lnTo>
                <a:lnTo>
                  <a:pt x="1702" y="3314"/>
                </a:lnTo>
                <a:lnTo>
                  <a:pt x="1699" y="3319"/>
                </a:lnTo>
                <a:lnTo>
                  <a:pt x="1693" y="3330"/>
                </a:lnTo>
                <a:lnTo>
                  <a:pt x="1687" y="3343"/>
                </a:lnTo>
                <a:lnTo>
                  <a:pt x="1682" y="3355"/>
                </a:lnTo>
                <a:lnTo>
                  <a:pt x="1679" y="3368"/>
                </a:lnTo>
                <a:lnTo>
                  <a:pt x="1676" y="3381"/>
                </a:lnTo>
                <a:lnTo>
                  <a:pt x="1674" y="3396"/>
                </a:lnTo>
                <a:lnTo>
                  <a:pt x="1674" y="3403"/>
                </a:lnTo>
                <a:lnTo>
                  <a:pt x="1673" y="3410"/>
                </a:lnTo>
                <a:lnTo>
                  <a:pt x="1674" y="3423"/>
                </a:lnTo>
                <a:lnTo>
                  <a:pt x="1675" y="3435"/>
                </a:lnTo>
                <a:lnTo>
                  <a:pt x="1677" y="3446"/>
                </a:lnTo>
                <a:lnTo>
                  <a:pt x="1679" y="3453"/>
                </a:lnTo>
                <a:lnTo>
                  <a:pt x="1680" y="3458"/>
                </a:lnTo>
                <a:lnTo>
                  <a:pt x="1684" y="3469"/>
                </a:lnTo>
                <a:lnTo>
                  <a:pt x="1686" y="3474"/>
                </a:lnTo>
                <a:lnTo>
                  <a:pt x="1688" y="3479"/>
                </a:lnTo>
                <a:lnTo>
                  <a:pt x="1691" y="3483"/>
                </a:lnTo>
                <a:lnTo>
                  <a:pt x="1694" y="3488"/>
                </a:lnTo>
                <a:lnTo>
                  <a:pt x="1697" y="3492"/>
                </a:lnTo>
                <a:lnTo>
                  <a:pt x="1700" y="3496"/>
                </a:lnTo>
                <a:lnTo>
                  <a:pt x="1703" y="3500"/>
                </a:lnTo>
                <a:lnTo>
                  <a:pt x="1706" y="3503"/>
                </a:lnTo>
                <a:lnTo>
                  <a:pt x="1714" y="3510"/>
                </a:lnTo>
                <a:lnTo>
                  <a:pt x="1722" y="3517"/>
                </a:lnTo>
                <a:lnTo>
                  <a:pt x="1731" y="3522"/>
                </a:lnTo>
                <a:lnTo>
                  <a:pt x="1740" y="3525"/>
                </a:lnTo>
                <a:lnTo>
                  <a:pt x="1749" y="3528"/>
                </a:lnTo>
                <a:lnTo>
                  <a:pt x="1760" y="3530"/>
                </a:lnTo>
                <a:lnTo>
                  <a:pt x="1765" y="3530"/>
                </a:lnTo>
                <a:lnTo>
                  <a:pt x="1771" y="3530"/>
                </a:lnTo>
                <a:lnTo>
                  <a:pt x="1782" y="3530"/>
                </a:lnTo>
                <a:lnTo>
                  <a:pt x="1792" y="3528"/>
                </a:lnTo>
                <a:lnTo>
                  <a:pt x="1802" y="3526"/>
                </a:lnTo>
                <a:lnTo>
                  <a:pt x="1811" y="3523"/>
                </a:lnTo>
                <a:lnTo>
                  <a:pt x="1821" y="3518"/>
                </a:lnTo>
                <a:lnTo>
                  <a:pt x="1831" y="3513"/>
                </a:lnTo>
                <a:lnTo>
                  <a:pt x="1839" y="3507"/>
                </a:lnTo>
                <a:lnTo>
                  <a:pt x="1848" y="3500"/>
                </a:lnTo>
                <a:lnTo>
                  <a:pt x="1856" y="3493"/>
                </a:lnTo>
                <a:lnTo>
                  <a:pt x="1863" y="3485"/>
                </a:lnTo>
                <a:lnTo>
                  <a:pt x="1871" y="3476"/>
                </a:lnTo>
                <a:lnTo>
                  <a:pt x="1877" y="3467"/>
                </a:lnTo>
                <a:lnTo>
                  <a:pt x="1891" y="3447"/>
                </a:lnTo>
                <a:lnTo>
                  <a:pt x="1897" y="3437"/>
                </a:lnTo>
                <a:lnTo>
                  <a:pt x="1903" y="3426"/>
                </a:lnTo>
                <a:lnTo>
                  <a:pt x="1908" y="3415"/>
                </a:lnTo>
                <a:lnTo>
                  <a:pt x="1913" y="3404"/>
                </a:lnTo>
                <a:lnTo>
                  <a:pt x="1917" y="3392"/>
                </a:lnTo>
                <a:lnTo>
                  <a:pt x="1922" y="3379"/>
                </a:lnTo>
                <a:lnTo>
                  <a:pt x="1925" y="3367"/>
                </a:lnTo>
                <a:lnTo>
                  <a:pt x="1929" y="3355"/>
                </a:lnTo>
                <a:lnTo>
                  <a:pt x="1932" y="3343"/>
                </a:lnTo>
                <a:lnTo>
                  <a:pt x="1934" y="3330"/>
                </a:lnTo>
                <a:lnTo>
                  <a:pt x="1937" y="3318"/>
                </a:lnTo>
                <a:lnTo>
                  <a:pt x="1938" y="3307"/>
                </a:lnTo>
                <a:lnTo>
                  <a:pt x="1940" y="3295"/>
                </a:lnTo>
                <a:lnTo>
                  <a:pt x="1941" y="3283"/>
                </a:lnTo>
                <a:lnTo>
                  <a:pt x="1942" y="3272"/>
                </a:lnTo>
                <a:lnTo>
                  <a:pt x="1942" y="3260"/>
                </a:lnTo>
                <a:lnTo>
                  <a:pt x="1942" y="3249"/>
                </a:lnTo>
                <a:lnTo>
                  <a:pt x="1941" y="3239"/>
                </a:lnTo>
                <a:lnTo>
                  <a:pt x="1942" y="3236"/>
                </a:lnTo>
                <a:lnTo>
                  <a:pt x="1944" y="3234"/>
                </a:lnTo>
                <a:lnTo>
                  <a:pt x="1946" y="3232"/>
                </a:lnTo>
                <a:lnTo>
                  <a:pt x="1949" y="3230"/>
                </a:lnTo>
                <a:lnTo>
                  <a:pt x="1957" y="3227"/>
                </a:lnTo>
                <a:lnTo>
                  <a:pt x="1960" y="3227"/>
                </a:lnTo>
                <a:lnTo>
                  <a:pt x="1965" y="3226"/>
                </a:lnTo>
                <a:lnTo>
                  <a:pt x="1972" y="3227"/>
                </a:lnTo>
                <a:lnTo>
                  <a:pt x="1975" y="3228"/>
                </a:lnTo>
                <a:lnTo>
                  <a:pt x="1978" y="3229"/>
                </a:lnTo>
                <a:lnTo>
                  <a:pt x="1984" y="3231"/>
                </a:lnTo>
                <a:lnTo>
                  <a:pt x="1987" y="3233"/>
                </a:lnTo>
                <a:lnTo>
                  <a:pt x="1989" y="3236"/>
                </a:lnTo>
                <a:lnTo>
                  <a:pt x="1993" y="3241"/>
                </a:lnTo>
                <a:lnTo>
                  <a:pt x="1995" y="3245"/>
                </a:lnTo>
                <a:lnTo>
                  <a:pt x="1996" y="3249"/>
                </a:lnTo>
                <a:lnTo>
                  <a:pt x="1997" y="3253"/>
                </a:lnTo>
                <a:lnTo>
                  <a:pt x="1998" y="3258"/>
                </a:lnTo>
                <a:lnTo>
                  <a:pt x="1998" y="3263"/>
                </a:lnTo>
                <a:lnTo>
                  <a:pt x="1999" y="3269"/>
                </a:lnTo>
                <a:lnTo>
                  <a:pt x="1998" y="3286"/>
                </a:lnTo>
                <a:lnTo>
                  <a:pt x="1997" y="3301"/>
                </a:lnTo>
                <a:lnTo>
                  <a:pt x="1995" y="3316"/>
                </a:lnTo>
                <a:lnTo>
                  <a:pt x="1993" y="3333"/>
                </a:lnTo>
                <a:lnTo>
                  <a:pt x="1991" y="3347"/>
                </a:lnTo>
                <a:lnTo>
                  <a:pt x="1988" y="3362"/>
                </a:lnTo>
                <a:lnTo>
                  <a:pt x="1984" y="3377"/>
                </a:lnTo>
                <a:lnTo>
                  <a:pt x="1981" y="3392"/>
                </a:lnTo>
                <a:lnTo>
                  <a:pt x="1976" y="3406"/>
                </a:lnTo>
                <a:lnTo>
                  <a:pt x="1971" y="3419"/>
                </a:lnTo>
                <a:lnTo>
                  <a:pt x="1966" y="3432"/>
                </a:lnTo>
                <a:lnTo>
                  <a:pt x="1960" y="3445"/>
                </a:lnTo>
                <a:lnTo>
                  <a:pt x="1954" y="3459"/>
                </a:lnTo>
                <a:lnTo>
                  <a:pt x="1947" y="3471"/>
                </a:lnTo>
                <a:lnTo>
                  <a:pt x="1940" y="3482"/>
                </a:lnTo>
                <a:lnTo>
                  <a:pt x="1933" y="3493"/>
                </a:lnTo>
                <a:lnTo>
                  <a:pt x="1925" y="3504"/>
                </a:lnTo>
                <a:lnTo>
                  <a:pt x="1917" y="3515"/>
                </a:lnTo>
                <a:lnTo>
                  <a:pt x="1909" y="3525"/>
                </a:lnTo>
                <a:lnTo>
                  <a:pt x="1900" y="3534"/>
                </a:lnTo>
                <a:lnTo>
                  <a:pt x="1891" y="3542"/>
                </a:lnTo>
                <a:lnTo>
                  <a:pt x="1880" y="3550"/>
                </a:lnTo>
                <a:lnTo>
                  <a:pt x="1871" y="3557"/>
                </a:lnTo>
                <a:lnTo>
                  <a:pt x="1861" y="3564"/>
                </a:lnTo>
                <a:lnTo>
                  <a:pt x="1850" y="3570"/>
                </a:lnTo>
                <a:lnTo>
                  <a:pt x="1840" y="3576"/>
                </a:lnTo>
                <a:lnTo>
                  <a:pt x="1828" y="3580"/>
                </a:lnTo>
                <a:lnTo>
                  <a:pt x="1817" y="3584"/>
                </a:lnTo>
                <a:lnTo>
                  <a:pt x="1805" y="3587"/>
                </a:lnTo>
                <a:lnTo>
                  <a:pt x="1793" y="3589"/>
                </a:lnTo>
                <a:lnTo>
                  <a:pt x="1782" y="3590"/>
                </a:lnTo>
                <a:lnTo>
                  <a:pt x="1768" y="3591"/>
                </a:lnTo>
                <a:close/>
                <a:moveTo>
                  <a:pt x="2156" y="3585"/>
                </a:moveTo>
                <a:lnTo>
                  <a:pt x="2154" y="3585"/>
                </a:lnTo>
                <a:lnTo>
                  <a:pt x="2152" y="3584"/>
                </a:lnTo>
                <a:lnTo>
                  <a:pt x="2147" y="3581"/>
                </a:lnTo>
                <a:lnTo>
                  <a:pt x="2140" y="3577"/>
                </a:lnTo>
                <a:lnTo>
                  <a:pt x="2133" y="3572"/>
                </a:lnTo>
                <a:lnTo>
                  <a:pt x="2119" y="3560"/>
                </a:lnTo>
                <a:lnTo>
                  <a:pt x="2104" y="3546"/>
                </a:lnTo>
                <a:lnTo>
                  <a:pt x="2088" y="3530"/>
                </a:lnTo>
                <a:lnTo>
                  <a:pt x="2071" y="3513"/>
                </a:lnTo>
                <a:lnTo>
                  <a:pt x="2055" y="3495"/>
                </a:lnTo>
                <a:lnTo>
                  <a:pt x="2040" y="3479"/>
                </a:lnTo>
                <a:lnTo>
                  <a:pt x="2029" y="3464"/>
                </a:lnTo>
                <a:lnTo>
                  <a:pt x="2025" y="3458"/>
                </a:lnTo>
                <a:lnTo>
                  <a:pt x="2021" y="3453"/>
                </a:lnTo>
                <a:lnTo>
                  <a:pt x="2016" y="3442"/>
                </a:lnTo>
                <a:lnTo>
                  <a:pt x="2012" y="3432"/>
                </a:lnTo>
                <a:lnTo>
                  <a:pt x="2009" y="3422"/>
                </a:lnTo>
                <a:lnTo>
                  <a:pt x="2008" y="3412"/>
                </a:lnTo>
                <a:lnTo>
                  <a:pt x="2008" y="3407"/>
                </a:lnTo>
                <a:lnTo>
                  <a:pt x="2009" y="3401"/>
                </a:lnTo>
                <a:lnTo>
                  <a:pt x="2012" y="3395"/>
                </a:lnTo>
                <a:lnTo>
                  <a:pt x="2014" y="3388"/>
                </a:lnTo>
                <a:lnTo>
                  <a:pt x="2016" y="3382"/>
                </a:lnTo>
                <a:lnTo>
                  <a:pt x="2019" y="3376"/>
                </a:lnTo>
                <a:lnTo>
                  <a:pt x="2023" y="3369"/>
                </a:lnTo>
                <a:lnTo>
                  <a:pt x="2028" y="3362"/>
                </a:lnTo>
                <a:lnTo>
                  <a:pt x="2036" y="3351"/>
                </a:lnTo>
                <a:lnTo>
                  <a:pt x="2047" y="3338"/>
                </a:lnTo>
                <a:lnTo>
                  <a:pt x="2078" y="3303"/>
                </a:lnTo>
                <a:lnTo>
                  <a:pt x="2112" y="3263"/>
                </a:lnTo>
                <a:lnTo>
                  <a:pt x="2148" y="3223"/>
                </a:lnTo>
                <a:lnTo>
                  <a:pt x="2150" y="3222"/>
                </a:lnTo>
                <a:lnTo>
                  <a:pt x="2153" y="3222"/>
                </a:lnTo>
                <a:lnTo>
                  <a:pt x="2157" y="3222"/>
                </a:lnTo>
                <a:lnTo>
                  <a:pt x="2161" y="3223"/>
                </a:lnTo>
                <a:lnTo>
                  <a:pt x="2165" y="3225"/>
                </a:lnTo>
                <a:lnTo>
                  <a:pt x="2169" y="3228"/>
                </a:lnTo>
                <a:lnTo>
                  <a:pt x="2173" y="3231"/>
                </a:lnTo>
                <a:lnTo>
                  <a:pt x="2177" y="3235"/>
                </a:lnTo>
                <a:lnTo>
                  <a:pt x="2181" y="3239"/>
                </a:lnTo>
                <a:lnTo>
                  <a:pt x="2184" y="3244"/>
                </a:lnTo>
                <a:lnTo>
                  <a:pt x="2185" y="3248"/>
                </a:lnTo>
                <a:lnTo>
                  <a:pt x="2186" y="3253"/>
                </a:lnTo>
                <a:lnTo>
                  <a:pt x="2185" y="3259"/>
                </a:lnTo>
                <a:lnTo>
                  <a:pt x="2183" y="3264"/>
                </a:lnTo>
                <a:lnTo>
                  <a:pt x="2180" y="3270"/>
                </a:lnTo>
                <a:lnTo>
                  <a:pt x="2177" y="3277"/>
                </a:lnTo>
                <a:lnTo>
                  <a:pt x="2168" y="3287"/>
                </a:lnTo>
                <a:lnTo>
                  <a:pt x="2157" y="3300"/>
                </a:lnTo>
                <a:lnTo>
                  <a:pt x="2127" y="3334"/>
                </a:lnTo>
                <a:lnTo>
                  <a:pt x="2097" y="3368"/>
                </a:lnTo>
                <a:lnTo>
                  <a:pt x="2085" y="3382"/>
                </a:lnTo>
                <a:lnTo>
                  <a:pt x="2076" y="3395"/>
                </a:lnTo>
                <a:lnTo>
                  <a:pt x="2073" y="3398"/>
                </a:lnTo>
                <a:lnTo>
                  <a:pt x="2072" y="3402"/>
                </a:lnTo>
                <a:lnTo>
                  <a:pt x="2071" y="3406"/>
                </a:lnTo>
                <a:lnTo>
                  <a:pt x="2069" y="3409"/>
                </a:lnTo>
                <a:lnTo>
                  <a:pt x="2071" y="3414"/>
                </a:lnTo>
                <a:lnTo>
                  <a:pt x="2072" y="3418"/>
                </a:lnTo>
                <a:lnTo>
                  <a:pt x="2074" y="3422"/>
                </a:lnTo>
                <a:lnTo>
                  <a:pt x="2077" y="3427"/>
                </a:lnTo>
                <a:lnTo>
                  <a:pt x="2084" y="3436"/>
                </a:lnTo>
                <a:lnTo>
                  <a:pt x="2095" y="3448"/>
                </a:lnTo>
                <a:lnTo>
                  <a:pt x="2122" y="3478"/>
                </a:lnTo>
                <a:lnTo>
                  <a:pt x="2155" y="3510"/>
                </a:lnTo>
                <a:lnTo>
                  <a:pt x="2186" y="3541"/>
                </a:lnTo>
                <a:lnTo>
                  <a:pt x="2188" y="3543"/>
                </a:lnTo>
                <a:lnTo>
                  <a:pt x="2189" y="3545"/>
                </a:lnTo>
                <a:lnTo>
                  <a:pt x="2191" y="3548"/>
                </a:lnTo>
                <a:lnTo>
                  <a:pt x="2192" y="3550"/>
                </a:lnTo>
                <a:lnTo>
                  <a:pt x="2191" y="3556"/>
                </a:lnTo>
                <a:lnTo>
                  <a:pt x="2189" y="3559"/>
                </a:lnTo>
                <a:lnTo>
                  <a:pt x="2187" y="3561"/>
                </a:lnTo>
                <a:lnTo>
                  <a:pt x="2184" y="3567"/>
                </a:lnTo>
                <a:lnTo>
                  <a:pt x="2182" y="3570"/>
                </a:lnTo>
                <a:lnTo>
                  <a:pt x="2179" y="3573"/>
                </a:lnTo>
                <a:lnTo>
                  <a:pt x="2174" y="3578"/>
                </a:lnTo>
                <a:lnTo>
                  <a:pt x="2171" y="3580"/>
                </a:lnTo>
                <a:lnTo>
                  <a:pt x="2168" y="3582"/>
                </a:lnTo>
                <a:lnTo>
                  <a:pt x="2162" y="3584"/>
                </a:lnTo>
                <a:lnTo>
                  <a:pt x="2159" y="3585"/>
                </a:lnTo>
                <a:lnTo>
                  <a:pt x="2156" y="3585"/>
                </a:lnTo>
                <a:close/>
                <a:moveTo>
                  <a:pt x="1935" y="4321"/>
                </a:moveTo>
                <a:lnTo>
                  <a:pt x="1939" y="4298"/>
                </a:lnTo>
                <a:lnTo>
                  <a:pt x="1941" y="4275"/>
                </a:lnTo>
                <a:lnTo>
                  <a:pt x="1942" y="4253"/>
                </a:lnTo>
                <a:lnTo>
                  <a:pt x="1942" y="4243"/>
                </a:lnTo>
                <a:lnTo>
                  <a:pt x="1941" y="4233"/>
                </a:lnTo>
                <a:lnTo>
                  <a:pt x="1942" y="4229"/>
                </a:lnTo>
                <a:lnTo>
                  <a:pt x="1944" y="4227"/>
                </a:lnTo>
                <a:lnTo>
                  <a:pt x="1946" y="4225"/>
                </a:lnTo>
                <a:lnTo>
                  <a:pt x="1949" y="4223"/>
                </a:lnTo>
                <a:lnTo>
                  <a:pt x="1957" y="4221"/>
                </a:lnTo>
                <a:lnTo>
                  <a:pt x="1960" y="4220"/>
                </a:lnTo>
                <a:lnTo>
                  <a:pt x="1965" y="4220"/>
                </a:lnTo>
                <a:lnTo>
                  <a:pt x="1972" y="4220"/>
                </a:lnTo>
                <a:lnTo>
                  <a:pt x="1975" y="4221"/>
                </a:lnTo>
                <a:lnTo>
                  <a:pt x="1978" y="4222"/>
                </a:lnTo>
                <a:lnTo>
                  <a:pt x="1984" y="4225"/>
                </a:lnTo>
                <a:lnTo>
                  <a:pt x="1987" y="4227"/>
                </a:lnTo>
                <a:lnTo>
                  <a:pt x="1989" y="4229"/>
                </a:lnTo>
                <a:lnTo>
                  <a:pt x="1993" y="4236"/>
                </a:lnTo>
                <a:lnTo>
                  <a:pt x="1995" y="4239"/>
                </a:lnTo>
                <a:lnTo>
                  <a:pt x="1996" y="4243"/>
                </a:lnTo>
                <a:lnTo>
                  <a:pt x="1997" y="4247"/>
                </a:lnTo>
                <a:lnTo>
                  <a:pt x="1998" y="4252"/>
                </a:lnTo>
                <a:lnTo>
                  <a:pt x="1998" y="4258"/>
                </a:lnTo>
                <a:lnTo>
                  <a:pt x="1999" y="4263"/>
                </a:lnTo>
                <a:lnTo>
                  <a:pt x="1998" y="4278"/>
                </a:lnTo>
                <a:lnTo>
                  <a:pt x="1997" y="4293"/>
                </a:lnTo>
                <a:lnTo>
                  <a:pt x="1994" y="4321"/>
                </a:lnTo>
                <a:lnTo>
                  <a:pt x="1935" y="4321"/>
                </a:lnTo>
                <a:close/>
                <a:moveTo>
                  <a:pt x="1634" y="4321"/>
                </a:moveTo>
                <a:lnTo>
                  <a:pt x="1636" y="4315"/>
                </a:lnTo>
                <a:lnTo>
                  <a:pt x="1639" y="4310"/>
                </a:lnTo>
                <a:lnTo>
                  <a:pt x="1645" y="4299"/>
                </a:lnTo>
                <a:lnTo>
                  <a:pt x="1652" y="4287"/>
                </a:lnTo>
                <a:lnTo>
                  <a:pt x="1659" y="4277"/>
                </a:lnTo>
                <a:lnTo>
                  <a:pt x="1666" y="4267"/>
                </a:lnTo>
                <a:lnTo>
                  <a:pt x="1674" y="4258"/>
                </a:lnTo>
                <a:lnTo>
                  <a:pt x="1679" y="4254"/>
                </a:lnTo>
                <a:lnTo>
                  <a:pt x="1683" y="4250"/>
                </a:lnTo>
                <a:lnTo>
                  <a:pt x="1692" y="4243"/>
                </a:lnTo>
                <a:lnTo>
                  <a:pt x="1697" y="4239"/>
                </a:lnTo>
                <a:lnTo>
                  <a:pt x="1701" y="4236"/>
                </a:lnTo>
                <a:lnTo>
                  <a:pt x="1712" y="4229"/>
                </a:lnTo>
                <a:lnTo>
                  <a:pt x="1717" y="4226"/>
                </a:lnTo>
                <a:lnTo>
                  <a:pt x="1722" y="4223"/>
                </a:lnTo>
                <a:lnTo>
                  <a:pt x="1733" y="4219"/>
                </a:lnTo>
                <a:lnTo>
                  <a:pt x="1744" y="4215"/>
                </a:lnTo>
                <a:lnTo>
                  <a:pt x="1755" y="4213"/>
                </a:lnTo>
                <a:lnTo>
                  <a:pt x="1761" y="4212"/>
                </a:lnTo>
                <a:lnTo>
                  <a:pt x="1766" y="4211"/>
                </a:lnTo>
                <a:lnTo>
                  <a:pt x="1779" y="4211"/>
                </a:lnTo>
                <a:lnTo>
                  <a:pt x="1789" y="4211"/>
                </a:lnTo>
                <a:lnTo>
                  <a:pt x="1794" y="4212"/>
                </a:lnTo>
                <a:lnTo>
                  <a:pt x="1799" y="4213"/>
                </a:lnTo>
                <a:lnTo>
                  <a:pt x="1803" y="4214"/>
                </a:lnTo>
                <a:lnTo>
                  <a:pt x="1808" y="4215"/>
                </a:lnTo>
                <a:lnTo>
                  <a:pt x="1816" y="4218"/>
                </a:lnTo>
                <a:lnTo>
                  <a:pt x="1824" y="4222"/>
                </a:lnTo>
                <a:lnTo>
                  <a:pt x="1832" y="4226"/>
                </a:lnTo>
                <a:lnTo>
                  <a:pt x="1839" y="4233"/>
                </a:lnTo>
                <a:lnTo>
                  <a:pt x="1845" y="4239"/>
                </a:lnTo>
                <a:lnTo>
                  <a:pt x="1848" y="4242"/>
                </a:lnTo>
                <a:lnTo>
                  <a:pt x="1851" y="4245"/>
                </a:lnTo>
                <a:lnTo>
                  <a:pt x="1855" y="4253"/>
                </a:lnTo>
                <a:lnTo>
                  <a:pt x="1859" y="4260"/>
                </a:lnTo>
                <a:lnTo>
                  <a:pt x="1863" y="4269"/>
                </a:lnTo>
                <a:lnTo>
                  <a:pt x="1865" y="4277"/>
                </a:lnTo>
                <a:lnTo>
                  <a:pt x="1867" y="4287"/>
                </a:lnTo>
                <a:lnTo>
                  <a:pt x="1868" y="4297"/>
                </a:lnTo>
                <a:lnTo>
                  <a:pt x="1869" y="4307"/>
                </a:lnTo>
                <a:lnTo>
                  <a:pt x="1869" y="4314"/>
                </a:lnTo>
                <a:lnTo>
                  <a:pt x="1868" y="4321"/>
                </a:lnTo>
                <a:lnTo>
                  <a:pt x="1811" y="4321"/>
                </a:lnTo>
                <a:lnTo>
                  <a:pt x="1813" y="4316"/>
                </a:lnTo>
                <a:lnTo>
                  <a:pt x="1814" y="4310"/>
                </a:lnTo>
                <a:lnTo>
                  <a:pt x="1815" y="4305"/>
                </a:lnTo>
                <a:lnTo>
                  <a:pt x="1815" y="4299"/>
                </a:lnTo>
                <a:lnTo>
                  <a:pt x="1815" y="4290"/>
                </a:lnTo>
                <a:lnTo>
                  <a:pt x="1813" y="4283"/>
                </a:lnTo>
                <a:lnTo>
                  <a:pt x="1811" y="4280"/>
                </a:lnTo>
                <a:lnTo>
                  <a:pt x="1809" y="4277"/>
                </a:lnTo>
                <a:lnTo>
                  <a:pt x="1807" y="4274"/>
                </a:lnTo>
                <a:lnTo>
                  <a:pt x="1805" y="4271"/>
                </a:lnTo>
                <a:lnTo>
                  <a:pt x="1799" y="4267"/>
                </a:lnTo>
                <a:lnTo>
                  <a:pt x="1796" y="4265"/>
                </a:lnTo>
                <a:lnTo>
                  <a:pt x="1792" y="4264"/>
                </a:lnTo>
                <a:lnTo>
                  <a:pt x="1784" y="4262"/>
                </a:lnTo>
                <a:lnTo>
                  <a:pt x="1780" y="4262"/>
                </a:lnTo>
                <a:lnTo>
                  <a:pt x="1775" y="4261"/>
                </a:lnTo>
                <a:lnTo>
                  <a:pt x="1769" y="4262"/>
                </a:lnTo>
                <a:lnTo>
                  <a:pt x="1763" y="4263"/>
                </a:lnTo>
                <a:lnTo>
                  <a:pt x="1753" y="4266"/>
                </a:lnTo>
                <a:lnTo>
                  <a:pt x="1747" y="4268"/>
                </a:lnTo>
                <a:lnTo>
                  <a:pt x="1742" y="4271"/>
                </a:lnTo>
                <a:lnTo>
                  <a:pt x="1732" y="4278"/>
                </a:lnTo>
                <a:lnTo>
                  <a:pt x="1726" y="4282"/>
                </a:lnTo>
                <a:lnTo>
                  <a:pt x="1722" y="4286"/>
                </a:lnTo>
                <a:lnTo>
                  <a:pt x="1717" y="4292"/>
                </a:lnTo>
                <a:lnTo>
                  <a:pt x="1712" y="4297"/>
                </a:lnTo>
                <a:lnTo>
                  <a:pt x="1702" y="4308"/>
                </a:lnTo>
                <a:lnTo>
                  <a:pt x="1694" y="4321"/>
                </a:lnTo>
                <a:lnTo>
                  <a:pt x="1634" y="4321"/>
                </a:lnTo>
                <a:close/>
                <a:moveTo>
                  <a:pt x="2056" y="4321"/>
                </a:moveTo>
                <a:lnTo>
                  <a:pt x="2100" y="4271"/>
                </a:lnTo>
                <a:lnTo>
                  <a:pt x="2124" y="4244"/>
                </a:lnTo>
                <a:lnTo>
                  <a:pt x="2148" y="4216"/>
                </a:lnTo>
                <a:lnTo>
                  <a:pt x="2150" y="4216"/>
                </a:lnTo>
                <a:lnTo>
                  <a:pt x="2153" y="4215"/>
                </a:lnTo>
                <a:lnTo>
                  <a:pt x="2157" y="4216"/>
                </a:lnTo>
                <a:lnTo>
                  <a:pt x="2161" y="4217"/>
                </a:lnTo>
                <a:lnTo>
                  <a:pt x="2165" y="4219"/>
                </a:lnTo>
                <a:lnTo>
                  <a:pt x="2169" y="4221"/>
                </a:lnTo>
                <a:lnTo>
                  <a:pt x="2173" y="4224"/>
                </a:lnTo>
                <a:lnTo>
                  <a:pt x="2177" y="4228"/>
                </a:lnTo>
                <a:lnTo>
                  <a:pt x="2181" y="4233"/>
                </a:lnTo>
                <a:lnTo>
                  <a:pt x="2184" y="4238"/>
                </a:lnTo>
                <a:lnTo>
                  <a:pt x="2185" y="4243"/>
                </a:lnTo>
                <a:lnTo>
                  <a:pt x="2186" y="4247"/>
                </a:lnTo>
                <a:lnTo>
                  <a:pt x="2185" y="4253"/>
                </a:lnTo>
                <a:lnTo>
                  <a:pt x="2183" y="4258"/>
                </a:lnTo>
                <a:lnTo>
                  <a:pt x="2180" y="4264"/>
                </a:lnTo>
                <a:lnTo>
                  <a:pt x="2177" y="4270"/>
                </a:lnTo>
                <a:lnTo>
                  <a:pt x="2169" y="4279"/>
                </a:lnTo>
                <a:lnTo>
                  <a:pt x="2159" y="4292"/>
                </a:lnTo>
                <a:lnTo>
                  <a:pt x="2133" y="4321"/>
                </a:lnTo>
                <a:lnTo>
                  <a:pt x="2056" y="4321"/>
                </a:lnTo>
                <a:close/>
                <a:moveTo>
                  <a:pt x="5598" y="3591"/>
                </a:moveTo>
                <a:lnTo>
                  <a:pt x="5591" y="3591"/>
                </a:lnTo>
                <a:lnTo>
                  <a:pt x="5583" y="3590"/>
                </a:lnTo>
                <a:lnTo>
                  <a:pt x="5576" y="3589"/>
                </a:lnTo>
                <a:lnTo>
                  <a:pt x="5568" y="3587"/>
                </a:lnTo>
                <a:lnTo>
                  <a:pt x="5561" y="3585"/>
                </a:lnTo>
                <a:lnTo>
                  <a:pt x="5554" y="3583"/>
                </a:lnTo>
                <a:lnTo>
                  <a:pt x="5539" y="3577"/>
                </a:lnTo>
                <a:lnTo>
                  <a:pt x="5526" y="3569"/>
                </a:lnTo>
                <a:lnTo>
                  <a:pt x="5520" y="3565"/>
                </a:lnTo>
                <a:lnTo>
                  <a:pt x="5514" y="3560"/>
                </a:lnTo>
                <a:lnTo>
                  <a:pt x="5508" y="3555"/>
                </a:lnTo>
                <a:lnTo>
                  <a:pt x="5502" y="3550"/>
                </a:lnTo>
                <a:lnTo>
                  <a:pt x="5497" y="3545"/>
                </a:lnTo>
                <a:lnTo>
                  <a:pt x="5492" y="3539"/>
                </a:lnTo>
                <a:lnTo>
                  <a:pt x="5486" y="3533"/>
                </a:lnTo>
                <a:lnTo>
                  <a:pt x="5481" y="3527"/>
                </a:lnTo>
                <a:lnTo>
                  <a:pt x="5477" y="3520"/>
                </a:lnTo>
                <a:lnTo>
                  <a:pt x="5472" y="3513"/>
                </a:lnTo>
                <a:lnTo>
                  <a:pt x="5468" y="3505"/>
                </a:lnTo>
                <a:lnTo>
                  <a:pt x="5465" y="3498"/>
                </a:lnTo>
                <a:lnTo>
                  <a:pt x="5462" y="3490"/>
                </a:lnTo>
                <a:lnTo>
                  <a:pt x="5459" y="3482"/>
                </a:lnTo>
                <a:lnTo>
                  <a:pt x="5456" y="3474"/>
                </a:lnTo>
                <a:lnTo>
                  <a:pt x="5454" y="3466"/>
                </a:lnTo>
                <a:lnTo>
                  <a:pt x="5452" y="3458"/>
                </a:lnTo>
                <a:lnTo>
                  <a:pt x="5450" y="3448"/>
                </a:lnTo>
                <a:lnTo>
                  <a:pt x="5449" y="3439"/>
                </a:lnTo>
                <a:lnTo>
                  <a:pt x="5448" y="3431"/>
                </a:lnTo>
                <a:lnTo>
                  <a:pt x="5447" y="3422"/>
                </a:lnTo>
                <a:lnTo>
                  <a:pt x="5447" y="3412"/>
                </a:lnTo>
                <a:lnTo>
                  <a:pt x="5448" y="3394"/>
                </a:lnTo>
                <a:lnTo>
                  <a:pt x="5449" y="3384"/>
                </a:lnTo>
                <a:lnTo>
                  <a:pt x="5450" y="3374"/>
                </a:lnTo>
                <a:lnTo>
                  <a:pt x="5452" y="3365"/>
                </a:lnTo>
                <a:lnTo>
                  <a:pt x="5454" y="3357"/>
                </a:lnTo>
                <a:lnTo>
                  <a:pt x="5456" y="3348"/>
                </a:lnTo>
                <a:lnTo>
                  <a:pt x="5459" y="3339"/>
                </a:lnTo>
                <a:lnTo>
                  <a:pt x="5462" y="3330"/>
                </a:lnTo>
                <a:lnTo>
                  <a:pt x="5466" y="3322"/>
                </a:lnTo>
                <a:lnTo>
                  <a:pt x="5470" y="3314"/>
                </a:lnTo>
                <a:lnTo>
                  <a:pt x="5474" y="3306"/>
                </a:lnTo>
                <a:lnTo>
                  <a:pt x="5478" y="3298"/>
                </a:lnTo>
                <a:lnTo>
                  <a:pt x="5483" y="3291"/>
                </a:lnTo>
                <a:lnTo>
                  <a:pt x="5494" y="3277"/>
                </a:lnTo>
                <a:lnTo>
                  <a:pt x="5500" y="3269"/>
                </a:lnTo>
                <a:lnTo>
                  <a:pt x="5505" y="3263"/>
                </a:lnTo>
                <a:lnTo>
                  <a:pt x="5518" y="3252"/>
                </a:lnTo>
                <a:lnTo>
                  <a:pt x="5524" y="3247"/>
                </a:lnTo>
                <a:lnTo>
                  <a:pt x="5531" y="3242"/>
                </a:lnTo>
                <a:lnTo>
                  <a:pt x="5537" y="3237"/>
                </a:lnTo>
                <a:lnTo>
                  <a:pt x="5545" y="3233"/>
                </a:lnTo>
                <a:lnTo>
                  <a:pt x="5553" y="3230"/>
                </a:lnTo>
                <a:lnTo>
                  <a:pt x="5560" y="3227"/>
                </a:lnTo>
                <a:lnTo>
                  <a:pt x="5568" y="3224"/>
                </a:lnTo>
                <a:lnTo>
                  <a:pt x="5576" y="3222"/>
                </a:lnTo>
                <a:lnTo>
                  <a:pt x="5583" y="3220"/>
                </a:lnTo>
                <a:lnTo>
                  <a:pt x="5591" y="3219"/>
                </a:lnTo>
                <a:lnTo>
                  <a:pt x="5600" y="3218"/>
                </a:lnTo>
                <a:lnTo>
                  <a:pt x="5608" y="3218"/>
                </a:lnTo>
                <a:lnTo>
                  <a:pt x="5619" y="3218"/>
                </a:lnTo>
                <a:lnTo>
                  <a:pt x="5624" y="3219"/>
                </a:lnTo>
                <a:lnTo>
                  <a:pt x="5629" y="3219"/>
                </a:lnTo>
                <a:lnTo>
                  <a:pt x="5633" y="3220"/>
                </a:lnTo>
                <a:lnTo>
                  <a:pt x="5638" y="3222"/>
                </a:lnTo>
                <a:lnTo>
                  <a:pt x="5646" y="3225"/>
                </a:lnTo>
                <a:lnTo>
                  <a:pt x="5654" y="3229"/>
                </a:lnTo>
                <a:lnTo>
                  <a:pt x="5661" y="3233"/>
                </a:lnTo>
                <a:lnTo>
                  <a:pt x="5668" y="3239"/>
                </a:lnTo>
                <a:lnTo>
                  <a:pt x="5675" y="3245"/>
                </a:lnTo>
                <a:lnTo>
                  <a:pt x="5678" y="3248"/>
                </a:lnTo>
                <a:lnTo>
                  <a:pt x="5680" y="3251"/>
                </a:lnTo>
                <a:lnTo>
                  <a:pt x="5685" y="3258"/>
                </a:lnTo>
                <a:lnTo>
                  <a:pt x="5689" y="3266"/>
                </a:lnTo>
                <a:lnTo>
                  <a:pt x="5693" y="3276"/>
                </a:lnTo>
                <a:lnTo>
                  <a:pt x="5695" y="3284"/>
                </a:lnTo>
                <a:lnTo>
                  <a:pt x="5697" y="3293"/>
                </a:lnTo>
                <a:lnTo>
                  <a:pt x="5698" y="3303"/>
                </a:lnTo>
                <a:lnTo>
                  <a:pt x="5699" y="3313"/>
                </a:lnTo>
                <a:lnTo>
                  <a:pt x="5698" y="3325"/>
                </a:lnTo>
                <a:lnTo>
                  <a:pt x="5697" y="3333"/>
                </a:lnTo>
                <a:lnTo>
                  <a:pt x="5696" y="3339"/>
                </a:lnTo>
                <a:lnTo>
                  <a:pt x="5692" y="3351"/>
                </a:lnTo>
                <a:lnTo>
                  <a:pt x="5687" y="3362"/>
                </a:lnTo>
                <a:lnTo>
                  <a:pt x="5681" y="3373"/>
                </a:lnTo>
                <a:lnTo>
                  <a:pt x="5673" y="3384"/>
                </a:lnTo>
                <a:lnTo>
                  <a:pt x="5668" y="3389"/>
                </a:lnTo>
                <a:lnTo>
                  <a:pt x="5664" y="3395"/>
                </a:lnTo>
                <a:lnTo>
                  <a:pt x="5655" y="3404"/>
                </a:lnTo>
                <a:lnTo>
                  <a:pt x="5645" y="3413"/>
                </a:lnTo>
                <a:lnTo>
                  <a:pt x="5640" y="3416"/>
                </a:lnTo>
                <a:lnTo>
                  <a:pt x="5634" y="3420"/>
                </a:lnTo>
                <a:lnTo>
                  <a:pt x="5623" y="3427"/>
                </a:lnTo>
                <a:lnTo>
                  <a:pt x="5611" y="3432"/>
                </a:lnTo>
                <a:lnTo>
                  <a:pt x="5598" y="3437"/>
                </a:lnTo>
                <a:lnTo>
                  <a:pt x="5592" y="3439"/>
                </a:lnTo>
                <a:lnTo>
                  <a:pt x="5586" y="3440"/>
                </a:lnTo>
                <a:lnTo>
                  <a:pt x="5579" y="3441"/>
                </a:lnTo>
                <a:lnTo>
                  <a:pt x="5573" y="3442"/>
                </a:lnTo>
                <a:lnTo>
                  <a:pt x="5561" y="3443"/>
                </a:lnTo>
                <a:lnTo>
                  <a:pt x="5555" y="3442"/>
                </a:lnTo>
                <a:lnTo>
                  <a:pt x="5549" y="3441"/>
                </a:lnTo>
                <a:lnTo>
                  <a:pt x="5545" y="3438"/>
                </a:lnTo>
                <a:lnTo>
                  <a:pt x="5543" y="3436"/>
                </a:lnTo>
                <a:lnTo>
                  <a:pt x="5541" y="3434"/>
                </a:lnTo>
                <a:lnTo>
                  <a:pt x="5538" y="3429"/>
                </a:lnTo>
                <a:lnTo>
                  <a:pt x="5535" y="3424"/>
                </a:lnTo>
                <a:lnTo>
                  <a:pt x="5535" y="3421"/>
                </a:lnTo>
                <a:lnTo>
                  <a:pt x="5534" y="3418"/>
                </a:lnTo>
                <a:lnTo>
                  <a:pt x="5533" y="3412"/>
                </a:lnTo>
                <a:lnTo>
                  <a:pt x="5533" y="3409"/>
                </a:lnTo>
                <a:lnTo>
                  <a:pt x="5534" y="3406"/>
                </a:lnTo>
                <a:lnTo>
                  <a:pt x="5535" y="3401"/>
                </a:lnTo>
                <a:lnTo>
                  <a:pt x="5536" y="3399"/>
                </a:lnTo>
                <a:lnTo>
                  <a:pt x="5537" y="3397"/>
                </a:lnTo>
                <a:lnTo>
                  <a:pt x="5539" y="3396"/>
                </a:lnTo>
                <a:lnTo>
                  <a:pt x="5540" y="3395"/>
                </a:lnTo>
                <a:lnTo>
                  <a:pt x="5552" y="3393"/>
                </a:lnTo>
                <a:lnTo>
                  <a:pt x="5563" y="3389"/>
                </a:lnTo>
                <a:lnTo>
                  <a:pt x="5573" y="3386"/>
                </a:lnTo>
                <a:lnTo>
                  <a:pt x="5583" y="3382"/>
                </a:lnTo>
                <a:lnTo>
                  <a:pt x="5592" y="3377"/>
                </a:lnTo>
                <a:lnTo>
                  <a:pt x="5600" y="3372"/>
                </a:lnTo>
                <a:lnTo>
                  <a:pt x="5608" y="3367"/>
                </a:lnTo>
                <a:lnTo>
                  <a:pt x="5613" y="3364"/>
                </a:lnTo>
                <a:lnTo>
                  <a:pt x="5616" y="3361"/>
                </a:lnTo>
                <a:lnTo>
                  <a:pt x="5623" y="3354"/>
                </a:lnTo>
                <a:lnTo>
                  <a:pt x="5628" y="3348"/>
                </a:lnTo>
                <a:lnTo>
                  <a:pt x="5633" y="3341"/>
                </a:lnTo>
                <a:lnTo>
                  <a:pt x="5638" y="3334"/>
                </a:lnTo>
                <a:lnTo>
                  <a:pt x="5641" y="3326"/>
                </a:lnTo>
                <a:lnTo>
                  <a:pt x="5643" y="3319"/>
                </a:lnTo>
                <a:lnTo>
                  <a:pt x="5645" y="3312"/>
                </a:lnTo>
                <a:lnTo>
                  <a:pt x="5645" y="3305"/>
                </a:lnTo>
                <a:lnTo>
                  <a:pt x="5645" y="3297"/>
                </a:lnTo>
                <a:lnTo>
                  <a:pt x="5642" y="3290"/>
                </a:lnTo>
                <a:lnTo>
                  <a:pt x="5641" y="3286"/>
                </a:lnTo>
                <a:lnTo>
                  <a:pt x="5639" y="3283"/>
                </a:lnTo>
                <a:lnTo>
                  <a:pt x="5637" y="3281"/>
                </a:lnTo>
                <a:lnTo>
                  <a:pt x="5634" y="3278"/>
                </a:lnTo>
                <a:lnTo>
                  <a:pt x="5629" y="3274"/>
                </a:lnTo>
                <a:lnTo>
                  <a:pt x="5625" y="3272"/>
                </a:lnTo>
                <a:lnTo>
                  <a:pt x="5622" y="3270"/>
                </a:lnTo>
                <a:lnTo>
                  <a:pt x="5614" y="3268"/>
                </a:lnTo>
                <a:lnTo>
                  <a:pt x="5609" y="3267"/>
                </a:lnTo>
                <a:lnTo>
                  <a:pt x="5604" y="3267"/>
                </a:lnTo>
                <a:lnTo>
                  <a:pt x="5595" y="3268"/>
                </a:lnTo>
                <a:lnTo>
                  <a:pt x="5591" y="3269"/>
                </a:lnTo>
                <a:lnTo>
                  <a:pt x="5586" y="3270"/>
                </a:lnTo>
                <a:lnTo>
                  <a:pt x="5582" y="3273"/>
                </a:lnTo>
                <a:lnTo>
                  <a:pt x="5578" y="3275"/>
                </a:lnTo>
                <a:lnTo>
                  <a:pt x="5573" y="3277"/>
                </a:lnTo>
                <a:lnTo>
                  <a:pt x="5569" y="3279"/>
                </a:lnTo>
                <a:lnTo>
                  <a:pt x="5564" y="3282"/>
                </a:lnTo>
                <a:lnTo>
                  <a:pt x="5560" y="3285"/>
                </a:lnTo>
                <a:lnTo>
                  <a:pt x="5552" y="3292"/>
                </a:lnTo>
                <a:lnTo>
                  <a:pt x="5543" y="3300"/>
                </a:lnTo>
                <a:lnTo>
                  <a:pt x="5536" y="3309"/>
                </a:lnTo>
                <a:lnTo>
                  <a:pt x="5532" y="3314"/>
                </a:lnTo>
                <a:lnTo>
                  <a:pt x="5529" y="3319"/>
                </a:lnTo>
                <a:lnTo>
                  <a:pt x="5523" y="3330"/>
                </a:lnTo>
                <a:lnTo>
                  <a:pt x="5517" y="3343"/>
                </a:lnTo>
                <a:lnTo>
                  <a:pt x="5512" y="3355"/>
                </a:lnTo>
                <a:lnTo>
                  <a:pt x="5509" y="3368"/>
                </a:lnTo>
                <a:lnTo>
                  <a:pt x="5506" y="3381"/>
                </a:lnTo>
                <a:lnTo>
                  <a:pt x="5504" y="3396"/>
                </a:lnTo>
                <a:lnTo>
                  <a:pt x="5504" y="3403"/>
                </a:lnTo>
                <a:lnTo>
                  <a:pt x="5503" y="3410"/>
                </a:lnTo>
                <a:lnTo>
                  <a:pt x="5504" y="3423"/>
                </a:lnTo>
                <a:lnTo>
                  <a:pt x="5505" y="3435"/>
                </a:lnTo>
                <a:lnTo>
                  <a:pt x="5507" y="3446"/>
                </a:lnTo>
                <a:lnTo>
                  <a:pt x="5509" y="3453"/>
                </a:lnTo>
                <a:lnTo>
                  <a:pt x="5510" y="3458"/>
                </a:lnTo>
                <a:lnTo>
                  <a:pt x="5514" y="3469"/>
                </a:lnTo>
                <a:lnTo>
                  <a:pt x="5516" y="3474"/>
                </a:lnTo>
                <a:lnTo>
                  <a:pt x="5518" y="3479"/>
                </a:lnTo>
                <a:lnTo>
                  <a:pt x="5521" y="3483"/>
                </a:lnTo>
                <a:lnTo>
                  <a:pt x="5524" y="3488"/>
                </a:lnTo>
                <a:lnTo>
                  <a:pt x="5526" y="3492"/>
                </a:lnTo>
                <a:lnTo>
                  <a:pt x="5529" y="3496"/>
                </a:lnTo>
                <a:lnTo>
                  <a:pt x="5533" y="3500"/>
                </a:lnTo>
                <a:lnTo>
                  <a:pt x="5536" y="3503"/>
                </a:lnTo>
                <a:lnTo>
                  <a:pt x="5543" y="3510"/>
                </a:lnTo>
                <a:lnTo>
                  <a:pt x="5552" y="3517"/>
                </a:lnTo>
                <a:lnTo>
                  <a:pt x="5561" y="3522"/>
                </a:lnTo>
                <a:lnTo>
                  <a:pt x="5570" y="3525"/>
                </a:lnTo>
                <a:lnTo>
                  <a:pt x="5579" y="3528"/>
                </a:lnTo>
                <a:lnTo>
                  <a:pt x="5590" y="3530"/>
                </a:lnTo>
                <a:lnTo>
                  <a:pt x="5595" y="3530"/>
                </a:lnTo>
                <a:lnTo>
                  <a:pt x="5600" y="3530"/>
                </a:lnTo>
                <a:lnTo>
                  <a:pt x="5612" y="3530"/>
                </a:lnTo>
                <a:lnTo>
                  <a:pt x="5622" y="3528"/>
                </a:lnTo>
                <a:lnTo>
                  <a:pt x="5632" y="3526"/>
                </a:lnTo>
                <a:lnTo>
                  <a:pt x="5641" y="3523"/>
                </a:lnTo>
                <a:lnTo>
                  <a:pt x="5651" y="3518"/>
                </a:lnTo>
                <a:lnTo>
                  <a:pt x="5660" y="3513"/>
                </a:lnTo>
                <a:lnTo>
                  <a:pt x="5668" y="3507"/>
                </a:lnTo>
                <a:lnTo>
                  <a:pt x="5678" y="3500"/>
                </a:lnTo>
                <a:lnTo>
                  <a:pt x="5685" y="3493"/>
                </a:lnTo>
                <a:lnTo>
                  <a:pt x="5693" y="3485"/>
                </a:lnTo>
                <a:lnTo>
                  <a:pt x="5700" y="3476"/>
                </a:lnTo>
                <a:lnTo>
                  <a:pt x="5707" y="3467"/>
                </a:lnTo>
                <a:lnTo>
                  <a:pt x="5720" y="3447"/>
                </a:lnTo>
                <a:lnTo>
                  <a:pt x="5726" y="3437"/>
                </a:lnTo>
                <a:lnTo>
                  <a:pt x="5733" y="3426"/>
                </a:lnTo>
                <a:lnTo>
                  <a:pt x="5738" y="3415"/>
                </a:lnTo>
                <a:lnTo>
                  <a:pt x="5743" y="3404"/>
                </a:lnTo>
                <a:lnTo>
                  <a:pt x="5747" y="3392"/>
                </a:lnTo>
                <a:lnTo>
                  <a:pt x="5751" y="3379"/>
                </a:lnTo>
                <a:lnTo>
                  <a:pt x="5755" y="3367"/>
                </a:lnTo>
                <a:lnTo>
                  <a:pt x="5759" y="3355"/>
                </a:lnTo>
                <a:lnTo>
                  <a:pt x="5762" y="3343"/>
                </a:lnTo>
                <a:lnTo>
                  <a:pt x="5764" y="3330"/>
                </a:lnTo>
                <a:lnTo>
                  <a:pt x="5766" y="3318"/>
                </a:lnTo>
                <a:lnTo>
                  <a:pt x="5768" y="3307"/>
                </a:lnTo>
                <a:lnTo>
                  <a:pt x="5770" y="3295"/>
                </a:lnTo>
                <a:lnTo>
                  <a:pt x="5771" y="3283"/>
                </a:lnTo>
                <a:lnTo>
                  <a:pt x="5772" y="3272"/>
                </a:lnTo>
                <a:lnTo>
                  <a:pt x="5772" y="3260"/>
                </a:lnTo>
                <a:lnTo>
                  <a:pt x="5772" y="3249"/>
                </a:lnTo>
                <a:lnTo>
                  <a:pt x="5771" y="3239"/>
                </a:lnTo>
                <a:lnTo>
                  <a:pt x="5772" y="3236"/>
                </a:lnTo>
                <a:lnTo>
                  <a:pt x="5774" y="3234"/>
                </a:lnTo>
                <a:lnTo>
                  <a:pt x="5776" y="3232"/>
                </a:lnTo>
                <a:lnTo>
                  <a:pt x="5779" y="3230"/>
                </a:lnTo>
                <a:lnTo>
                  <a:pt x="5786" y="3227"/>
                </a:lnTo>
                <a:lnTo>
                  <a:pt x="5789" y="3227"/>
                </a:lnTo>
                <a:lnTo>
                  <a:pt x="5795" y="3226"/>
                </a:lnTo>
                <a:lnTo>
                  <a:pt x="5802" y="3227"/>
                </a:lnTo>
                <a:lnTo>
                  <a:pt x="5805" y="3228"/>
                </a:lnTo>
                <a:lnTo>
                  <a:pt x="5808" y="3229"/>
                </a:lnTo>
                <a:lnTo>
                  <a:pt x="5814" y="3231"/>
                </a:lnTo>
                <a:lnTo>
                  <a:pt x="5817" y="3233"/>
                </a:lnTo>
                <a:lnTo>
                  <a:pt x="5819" y="3236"/>
                </a:lnTo>
                <a:lnTo>
                  <a:pt x="5823" y="3241"/>
                </a:lnTo>
                <a:lnTo>
                  <a:pt x="5825" y="3245"/>
                </a:lnTo>
                <a:lnTo>
                  <a:pt x="5826" y="3249"/>
                </a:lnTo>
                <a:lnTo>
                  <a:pt x="5827" y="3253"/>
                </a:lnTo>
                <a:lnTo>
                  <a:pt x="5828" y="3258"/>
                </a:lnTo>
                <a:lnTo>
                  <a:pt x="5828" y="3263"/>
                </a:lnTo>
                <a:lnTo>
                  <a:pt x="5828" y="3269"/>
                </a:lnTo>
                <a:lnTo>
                  <a:pt x="5828" y="3286"/>
                </a:lnTo>
                <a:lnTo>
                  <a:pt x="5827" y="3301"/>
                </a:lnTo>
                <a:lnTo>
                  <a:pt x="5825" y="3316"/>
                </a:lnTo>
                <a:lnTo>
                  <a:pt x="5823" y="3333"/>
                </a:lnTo>
                <a:lnTo>
                  <a:pt x="5821" y="3347"/>
                </a:lnTo>
                <a:lnTo>
                  <a:pt x="5818" y="3362"/>
                </a:lnTo>
                <a:lnTo>
                  <a:pt x="5814" y="3377"/>
                </a:lnTo>
                <a:lnTo>
                  <a:pt x="5810" y="3392"/>
                </a:lnTo>
                <a:lnTo>
                  <a:pt x="5806" y="3406"/>
                </a:lnTo>
                <a:lnTo>
                  <a:pt x="5801" y="3419"/>
                </a:lnTo>
                <a:lnTo>
                  <a:pt x="5796" y="3432"/>
                </a:lnTo>
                <a:lnTo>
                  <a:pt x="5789" y="3445"/>
                </a:lnTo>
                <a:lnTo>
                  <a:pt x="5783" y="3459"/>
                </a:lnTo>
                <a:lnTo>
                  <a:pt x="5777" y="3471"/>
                </a:lnTo>
                <a:lnTo>
                  <a:pt x="5770" y="3482"/>
                </a:lnTo>
                <a:lnTo>
                  <a:pt x="5763" y="3493"/>
                </a:lnTo>
                <a:lnTo>
                  <a:pt x="5755" y="3504"/>
                </a:lnTo>
                <a:lnTo>
                  <a:pt x="5747" y="3515"/>
                </a:lnTo>
                <a:lnTo>
                  <a:pt x="5738" y="3525"/>
                </a:lnTo>
                <a:lnTo>
                  <a:pt x="5729" y="3534"/>
                </a:lnTo>
                <a:lnTo>
                  <a:pt x="5720" y="3542"/>
                </a:lnTo>
                <a:lnTo>
                  <a:pt x="5710" y="3550"/>
                </a:lnTo>
                <a:lnTo>
                  <a:pt x="5701" y="3557"/>
                </a:lnTo>
                <a:lnTo>
                  <a:pt x="5691" y="3564"/>
                </a:lnTo>
                <a:lnTo>
                  <a:pt x="5680" y="3570"/>
                </a:lnTo>
                <a:lnTo>
                  <a:pt x="5669" y="3576"/>
                </a:lnTo>
                <a:lnTo>
                  <a:pt x="5658" y="3580"/>
                </a:lnTo>
                <a:lnTo>
                  <a:pt x="5646" y="3584"/>
                </a:lnTo>
                <a:lnTo>
                  <a:pt x="5635" y="3587"/>
                </a:lnTo>
                <a:lnTo>
                  <a:pt x="5623" y="3589"/>
                </a:lnTo>
                <a:lnTo>
                  <a:pt x="5611" y="3590"/>
                </a:lnTo>
                <a:lnTo>
                  <a:pt x="5598" y="3591"/>
                </a:lnTo>
                <a:close/>
                <a:moveTo>
                  <a:pt x="5986" y="3585"/>
                </a:moveTo>
                <a:lnTo>
                  <a:pt x="5984" y="3585"/>
                </a:lnTo>
                <a:lnTo>
                  <a:pt x="5982" y="3584"/>
                </a:lnTo>
                <a:lnTo>
                  <a:pt x="5977" y="3581"/>
                </a:lnTo>
                <a:lnTo>
                  <a:pt x="5969" y="3577"/>
                </a:lnTo>
                <a:lnTo>
                  <a:pt x="5962" y="3572"/>
                </a:lnTo>
                <a:lnTo>
                  <a:pt x="5949" y="3560"/>
                </a:lnTo>
                <a:lnTo>
                  <a:pt x="5934" y="3546"/>
                </a:lnTo>
                <a:lnTo>
                  <a:pt x="5918" y="3530"/>
                </a:lnTo>
                <a:lnTo>
                  <a:pt x="5900" y="3513"/>
                </a:lnTo>
                <a:lnTo>
                  <a:pt x="5884" y="3495"/>
                </a:lnTo>
                <a:lnTo>
                  <a:pt x="5870" y="3479"/>
                </a:lnTo>
                <a:lnTo>
                  <a:pt x="5859" y="3464"/>
                </a:lnTo>
                <a:lnTo>
                  <a:pt x="5854" y="3458"/>
                </a:lnTo>
                <a:lnTo>
                  <a:pt x="5851" y="3453"/>
                </a:lnTo>
                <a:lnTo>
                  <a:pt x="5845" y="3442"/>
                </a:lnTo>
                <a:lnTo>
                  <a:pt x="5841" y="3432"/>
                </a:lnTo>
                <a:lnTo>
                  <a:pt x="5839" y="3422"/>
                </a:lnTo>
                <a:lnTo>
                  <a:pt x="5838" y="3412"/>
                </a:lnTo>
                <a:lnTo>
                  <a:pt x="5838" y="3407"/>
                </a:lnTo>
                <a:lnTo>
                  <a:pt x="5839" y="3401"/>
                </a:lnTo>
                <a:lnTo>
                  <a:pt x="5841" y="3395"/>
                </a:lnTo>
                <a:lnTo>
                  <a:pt x="5842" y="3388"/>
                </a:lnTo>
                <a:lnTo>
                  <a:pt x="5845" y="3382"/>
                </a:lnTo>
                <a:lnTo>
                  <a:pt x="5848" y="3376"/>
                </a:lnTo>
                <a:lnTo>
                  <a:pt x="5853" y="3369"/>
                </a:lnTo>
                <a:lnTo>
                  <a:pt x="5858" y="3362"/>
                </a:lnTo>
                <a:lnTo>
                  <a:pt x="5866" y="3351"/>
                </a:lnTo>
                <a:lnTo>
                  <a:pt x="5877" y="3338"/>
                </a:lnTo>
                <a:lnTo>
                  <a:pt x="5907" y="3303"/>
                </a:lnTo>
                <a:lnTo>
                  <a:pt x="5942" y="3263"/>
                </a:lnTo>
                <a:lnTo>
                  <a:pt x="5978" y="3223"/>
                </a:lnTo>
                <a:lnTo>
                  <a:pt x="5979" y="3222"/>
                </a:lnTo>
                <a:lnTo>
                  <a:pt x="5983" y="3222"/>
                </a:lnTo>
                <a:lnTo>
                  <a:pt x="5986" y="3222"/>
                </a:lnTo>
                <a:lnTo>
                  <a:pt x="5991" y="3223"/>
                </a:lnTo>
                <a:lnTo>
                  <a:pt x="5995" y="3225"/>
                </a:lnTo>
                <a:lnTo>
                  <a:pt x="5999" y="3228"/>
                </a:lnTo>
                <a:lnTo>
                  <a:pt x="6003" y="3231"/>
                </a:lnTo>
                <a:lnTo>
                  <a:pt x="6007" y="3235"/>
                </a:lnTo>
                <a:lnTo>
                  <a:pt x="6011" y="3239"/>
                </a:lnTo>
                <a:lnTo>
                  <a:pt x="6014" y="3244"/>
                </a:lnTo>
                <a:lnTo>
                  <a:pt x="6015" y="3248"/>
                </a:lnTo>
                <a:lnTo>
                  <a:pt x="6015" y="3253"/>
                </a:lnTo>
                <a:lnTo>
                  <a:pt x="6015" y="3259"/>
                </a:lnTo>
                <a:lnTo>
                  <a:pt x="6013" y="3264"/>
                </a:lnTo>
                <a:lnTo>
                  <a:pt x="6010" y="3270"/>
                </a:lnTo>
                <a:lnTo>
                  <a:pt x="6006" y="3277"/>
                </a:lnTo>
                <a:lnTo>
                  <a:pt x="5998" y="3287"/>
                </a:lnTo>
                <a:lnTo>
                  <a:pt x="5987" y="3300"/>
                </a:lnTo>
                <a:lnTo>
                  <a:pt x="5957" y="3334"/>
                </a:lnTo>
                <a:lnTo>
                  <a:pt x="5927" y="3368"/>
                </a:lnTo>
                <a:lnTo>
                  <a:pt x="5915" y="3382"/>
                </a:lnTo>
                <a:lnTo>
                  <a:pt x="5905" y="3395"/>
                </a:lnTo>
                <a:lnTo>
                  <a:pt x="5902" y="3398"/>
                </a:lnTo>
                <a:lnTo>
                  <a:pt x="5901" y="3402"/>
                </a:lnTo>
                <a:lnTo>
                  <a:pt x="5899" y="3406"/>
                </a:lnTo>
                <a:lnTo>
                  <a:pt x="5899" y="3409"/>
                </a:lnTo>
                <a:lnTo>
                  <a:pt x="5900" y="3414"/>
                </a:lnTo>
                <a:lnTo>
                  <a:pt x="5901" y="3418"/>
                </a:lnTo>
                <a:lnTo>
                  <a:pt x="5903" y="3422"/>
                </a:lnTo>
                <a:lnTo>
                  <a:pt x="5906" y="3427"/>
                </a:lnTo>
                <a:lnTo>
                  <a:pt x="5914" y="3436"/>
                </a:lnTo>
                <a:lnTo>
                  <a:pt x="5925" y="3448"/>
                </a:lnTo>
                <a:lnTo>
                  <a:pt x="5952" y="3478"/>
                </a:lnTo>
                <a:lnTo>
                  <a:pt x="5985" y="3510"/>
                </a:lnTo>
                <a:lnTo>
                  <a:pt x="6016" y="3541"/>
                </a:lnTo>
                <a:lnTo>
                  <a:pt x="6018" y="3543"/>
                </a:lnTo>
                <a:lnTo>
                  <a:pt x="6019" y="3545"/>
                </a:lnTo>
                <a:lnTo>
                  <a:pt x="6020" y="3548"/>
                </a:lnTo>
                <a:lnTo>
                  <a:pt x="6021" y="3550"/>
                </a:lnTo>
                <a:lnTo>
                  <a:pt x="6020" y="3556"/>
                </a:lnTo>
                <a:lnTo>
                  <a:pt x="6019" y="3559"/>
                </a:lnTo>
                <a:lnTo>
                  <a:pt x="6017" y="3561"/>
                </a:lnTo>
                <a:lnTo>
                  <a:pt x="6014" y="3567"/>
                </a:lnTo>
                <a:lnTo>
                  <a:pt x="6011" y="3570"/>
                </a:lnTo>
                <a:lnTo>
                  <a:pt x="6009" y="3573"/>
                </a:lnTo>
                <a:lnTo>
                  <a:pt x="6004" y="3578"/>
                </a:lnTo>
                <a:lnTo>
                  <a:pt x="6001" y="3580"/>
                </a:lnTo>
                <a:lnTo>
                  <a:pt x="5998" y="3582"/>
                </a:lnTo>
                <a:lnTo>
                  <a:pt x="5992" y="3584"/>
                </a:lnTo>
                <a:lnTo>
                  <a:pt x="5989" y="3585"/>
                </a:lnTo>
                <a:lnTo>
                  <a:pt x="5986" y="3585"/>
                </a:lnTo>
                <a:close/>
                <a:moveTo>
                  <a:pt x="5765" y="4321"/>
                </a:moveTo>
                <a:lnTo>
                  <a:pt x="5769" y="4298"/>
                </a:lnTo>
                <a:lnTo>
                  <a:pt x="5771" y="4275"/>
                </a:lnTo>
                <a:lnTo>
                  <a:pt x="5772" y="4253"/>
                </a:lnTo>
                <a:lnTo>
                  <a:pt x="5772" y="4243"/>
                </a:lnTo>
                <a:lnTo>
                  <a:pt x="5771" y="4233"/>
                </a:lnTo>
                <a:lnTo>
                  <a:pt x="5772" y="4229"/>
                </a:lnTo>
                <a:lnTo>
                  <a:pt x="5774" y="4227"/>
                </a:lnTo>
                <a:lnTo>
                  <a:pt x="5776" y="4225"/>
                </a:lnTo>
                <a:lnTo>
                  <a:pt x="5779" y="4223"/>
                </a:lnTo>
                <a:lnTo>
                  <a:pt x="5786" y="4221"/>
                </a:lnTo>
                <a:lnTo>
                  <a:pt x="5789" y="4220"/>
                </a:lnTo>
                <a:lnTo>
                  <a:pt x="5795" y="4220"/>
                </a:lnTo>
                <a:lnTo>
                  <a:pt x="5802" y="4220"/>
                </a:lnTo>
                <a:lnTo>
                  <a:pt x="5805" y="4221"/>
                </a:lnTo>
                <a:lnTo>
                  <a:pt x="5808" y="4222"/>
                </a:lnTo>
                <a:lnTo>
                  <a:pt x="5814" y="4225"/>
                </a:lnTo>
                <a:lnTo>
                  <a:pt x="5817" y="4227"/>
                </a:lnTo>
                <a:lnTo>
                  <a:pt x="5819" y="4229"/>
                </a:lnTo>
                <a:lnTo>
                  <a:pt x="5823" y="4236"/>
                </a:lnTo>
                <a:lnTo>
                  <a:pt x="5825" y="4239"/>
                </a:lnTo>
                <a:lnTo>
                  <a:pt x="5826" y="4243"/>
                </a:lnTo>
                <a:lnTo>
                  <a:pt x="5827" y="4247"/>
                </a:lnTo>
                <a:lnTo>
                  <a:pt x="5828" y="4252"/>
                </a:lnTo>
                <a:lnTo>
                  <a:pt x="5828" y="4258"/>
                </a:lnTo>
                <a:lnTo>
                  <a:pt x="5828" y="4263"/>
                </a:lnTo>
                <a:lnTo>
                  <a:pt x="5828" y="4278"/>
                </a:lnTo>
                <a:lnTo>
                  <a:pt x="5827" y="4293"/>
                </a:lnTo>
                <a:lnTo>
                  <a:pt x="5824" y="4321"/>
                </a:lnTo>
                <a:lnTo>
                  <a:pt x="5765" y="4321"/>
                </a:lnTo>
                <a:close/>
                <a:moveTo>
                  <a:pt x="5463" y="4321"/>
                </a:moveTo>
                <a:lnTo>
                  <a:pt x="5466" y="4315"/>
                </a:lnTo>
                <a:lnTo>
                  <a:pt x="5469" y="4310"/>
                </a:lnTo>
                <a:lnTo>
                  <a:pt x="5474" y="4299"/>
                </a:lnTo>
                <a:lnTo>
                  <a:pt x="5481" y="4287"/>
                </a:lnTo>
                <a:lnTo>
                  <a:pt x="5488" y="4277"/>
                </a:lnTo>
                <a:lnTo>
                  <a:pt x="5496" y="4267"/>
                </a:lnTo>
                <a:lnTo>
                  <a:pt x="5504" y="4258"/>
                </a:lnTo>
                <a:lnTo>
                  <a:pt x="5509" y="4254"/>
                </a:lnTo>
                <a:lnTo>
                  <a:pt x="5513" y="4250"/>
                </a:lnTo>
                <a:lnTo>
                  <a:pt x="5522" y="4243"/>
                </a:lnTo>
                <a:lnTo>
                  <a:pt x="5526" y="4239"/>
                </a:lnTo>
                <a:lnTo>
                  <a:pt x="5531" y="4236"/>
                </a:lnTo>
                <a:lnTo>
                  <a:pt x="5541" y="4229"/>
                </a:lnTo>
                <a:lnTo>
                  <a:pt x="5546" y="4226"/>
                </a:lnTo>
                <a:lnTo>
                  <a:pt x="5552" y="4223"/>
                </a:lnTo>
                <a:lnTo>
                  <a:pt x="5563" y="4219"/>
                </a:lnTo>
                <a:lnTo>
                  <a:pt x="5574" y="4215"/>
                </a:lnTo>
                <a:lnTo>
                  <a:pt x="5585" y="4213"/>
                </a:lnTo>
                <a:lnTo>
                  <a:pt x="5590" y="4212"/>
                </a:lnTo>
                <a:lnTo>
                  <a:pt x="5596" y="4211"/>
                </a:lnTo>
                <a:lnTo>
                  <a:pt x="5608" y="4211"/>
                </a:lnTo>
                <a:lnTo>
                  <a:pt x="5619" y="4211"/>
                </a:lnTo>
                <a:lnTo>
                  <a:pt x="5624" y="4212"/>
                </a:lnTo>
                <a:lnTo>
                  <a:pt x="5629" y="4213"/>
                </a:lnTo>
                <a:lnTo>
                  <a:pt x="5633" y="4214"/>
                </a:lnTo>
                <a:lnTo>
                  <a:pt x="5638" y="4215"/>
                </a:lnTo>
                <a:lnTo>
                  <a:pt x="5646" y="4218"/>
                </a:lnTo>
                <a:lnTo>
                  <a:pt x="5654" y="4222"/>
                </a:lnTo>
                <a:lnTo>
                  <a:pt x="5661" y="4226"/>
                </a:lnTo>
                <a:lnTo>
                  <a:pt x="5668" y="4233"/>
                </a:lnTo>
                <a:lnTo>
                  <a:pt x="5675" y="4239"/>
                </a:lnTo>
                <a:lnTo>
                  <a:pt x="5678" y="4242"/>
                </a:lnTo>
                <a:lnTo>
                  <a:pt x="5680" y="4245"/>
                </a:lnTo>
                <a:lnTo>
                  <a:pt x="5685" y="4253"/>
                </a:lnTo>
                <a:lnTo>
                  <a:pt x="5689" y="4260"/>
                </a:lnTo>
                <a:lnTo>
                  <a:pt x="5693" y="4269"/>
                </a:lnTo>
                <a:lnTo>
                  <a:pt x="5695" y="4277"/>
                </a:lnTo>
                <a:lnTo>
                  <a:pt x="5697" y="4287"/>
                </a:lnTo>
                <a:lnTo>
                  <a:pt x="5698" y="4297"/>
                </a:lnTo>
                <a:lnTo>
                  <a:pt x="5699" y="4307"/>
                </a:lnTo>
                <a:lnTo>
                  <a:pt x="5698" y="4314"/>
                </a:lnTo>
                <a:lnTo>
                  <a:pt x="5698" y="4321"/>
                </a:lnTo>
                <a:lnTo>
                  <a:pt x="5641" y="4321"/>
                </a:lnTo>
                <a:lnTo>
                  <a:pt x="5643" y="4316"/>
                </a:lnTo>
                <a:lnTo>
                  <a:pt x="5644" y="4310"/>
                </a:lnTo>
                <a:lnTo>
                  <a:pt x="5645" y="4305"/>
                </a:lnTo>
                <a:lnTo>
                  <a:pt x="5645" y="4299"/>
                </a:lnTo>
                <a:lnTo>
                  <a:pt x="5645" y="4290"/>
                </a:lnTo>
                <a:lnTo>
                  <a:pt x="5642" y="4283"/>
                </a:lnTo>
                <a:lnTo>
                  <a:pt x="5641" y="4280"/>
                </a:lnTo>
                <a:lnTo>
                  <a:pt x="5639" y="4277"/>
                </a:lnTo>
                <a:lnTo>
                  <a:pt x="5637" y="4274"/>
                </a:lnTo>
                <a:lnTo>
                  <a:pt x="5634" y="4271"/>
                </a:lnTo>
                <a:lnTo>
                  <a:pt x="5629" y="4267"/>
                </a:lnTo>
                <a:lnTo>
                  <a:pt x="5625" y="4265"/>
                </a:lnTo>
                <a:lnTo>
                  <a:pt x="5622" y="4264"/>
                </a:lnTo>
                <a:lnTo>
                  <a:pt x="5614" y="4262"/>
                </a:lnTo>
                <a:lnTo>
                  <a:pt x="5609" y="4262"/>
                </a:lnTo>
                <a:lnTo>
                  <a:pt x="5604" y="4261"/>
                </a:lnTo>
                <a:lnTo>
                  <a:pt x="5599" y="4262"/>
                </a:lnTo>
                <a:lnTo>
                  <a:pt x="5593" y="4263"/>
                </a:lnTo>
                <a:lnTo>
                  <a:pt x="5583" y="4266"/>
                </a:lnTo>
                <a:lnTo>
                  <a:pt x="5577" y="4268"/>
                </a:lnTo>
                <a:lnTo>
                  <a:pt x="5572" y="4271"/>
                </a:lnTo>
                <a:lnTo>
                  <a:pt x="5561" y="4278"/>
                </a:lnTo>
                <a:lnTo>
                  <a:pt x="5556" y="4282"/>
                </a:lnTo>
                <a:lnTo>
                  <a:pt x="5551" y="4286"/>
                </a:lnTo>
                <a:lnTo>
                  <a:pt x="5546" y="4292"/>
                </a:lnTo>
                <a:lnTo>
                  <a:pt x="5541" y="4297"/>
                </a:lnTo>
                <a:lnTo>
                  <a:pt x="5532" y="4308"/>
                </a:lnTo>
                <a:lnTo>
                  <a:pt x="5524" y="4321"/>
                </a:lnTo>
                <a:lnTo>
                  <a:pt x="5463" y="4321"/>
                </a:lnTo>
                <a:close/>
                <a:moveTo>
                  <a:pt x="5886" y="4321"/>
                </a:moveTo>
                <a:lnTo>
                  <a:pt x="5930" y="4271"/>
                </a:lnTo>
                <a:lnTo>
                  <a:pt x="5954" y="4244"/>
                </a:lnTo>
                <a:lnTo>
                  <a:pt x="5978" y="4216"/>
                </a:lnTo>
                <a:lnTo>
                  <a:pt x="5979" y="4216"/>
                </a:lnTo>
                <a:lnTo>
                  <a:pt x="5983" y="4215"/>
                </a:lnTo>
                <a:lnTo>
                  <a:pt x="5986" y="4216"/>
                </a:lnTo>
                <a:lnTo>
                  <a:pt x="5991" y="4217"/>
                </a:lnTo>
                <a:lnTo>
                  <a:pt x="5995" y="4219"/>
                </a:lnTo>
                <a:lnTo>
                  <a:pt x="5999" y="4221"/>
                </a:lnTo>
                <a:lnTo>
                  <a:pt x="6003" y="4224"/>
                </a:lnTo>
                <a:lnTo>
                  <a:pt x="6007" y="4228"/>
                </a:lnTo>
                <a:lnTo>
                  <a:pt x="6011" y="4233"/>
                </a:lnTo>
                <a:lnTo>
                  <a:pt x="6014" y="4238"/>
                </a:lnTo>
                <a:lnTo>
                  <a:pt x="6015" y="4243"/>
                </a:lnTo>
                <a:lnTo>
                  <a:pt x="6015" y="4247"/>
                </a:lnTo>
                <a:lnTo>
                  <a:pt x="6015" y="4253"/>
                </a:lnTo>
                <a:lnTo>
                  <a:pt x="6013" y="4258"/>
                </a:lnTo>
                <a:lnTo>
                  <a:pt x="6010" y="4264"/>
                </a:lnTo>
                <a:lnTo>
                  <a:pt x="6006" y="4270"/>
                </a:lnTo>
                <a:lnTo>
                  <a:pt x="5999" y="4279"/>
                </a:lnTo>
                <a:lnTo>
                  <a:pt x="5989" y="4292"/>
                </a:lnTo>
                <a:lnTo>
                  <a:pt x="5962" y="4321"/>
                </a:lnTo>
                <a:lnTo>
                  <a:pt x="5886" y="4321"/>
                </a:lnTo>
                <a:close/>
                <a:moveTo>
                  <a:pt x="6086" y="142"/>
                </a:moveTo>
                <a:lnTo>
                  <a:pt x="6073" y="141"/>
                </a:lnTo>
                <a:lnTo>
                  <a:pt x="6059" y="139"/>
                </a:lnTo>
                <a:lnTo>
                  <a:pt x="6047" y="136"/>
                </a:lnTo>
                <a:lnTo>
                  <a:pt x="6041" y="134"/>
                </a:lnTo>
                <a:lnTo>
                  <a:pt x="6035" y="131"/>
                </a:lnTo>
                <a:lnTo>
                  <a:pt x="6028" y="129"/>
                </a:lnTo>
                <a:lnTo>
                  <a:pt x="6022" y="126"/>
                </a:lnTo>
                <a:lnTo>
                  <a:pt x="6011" y="119"/>
                </a:lnTo>
                <a:lnTo>
                  <a:pt x="6000" y="111"/>
                </a:lnTo>
                <a:lnTo>
                  <a:pt x="5990" y="102"/>
                </a:lnTo>
                <a:lnTo>
                  <a:pt x="5985" y="97"/>
                </a:lnTo>
                <a:lnTo>
                  <a:pt x="5981" y="92"/>
                </a:lnTo>
                <a:lnTo>
                  <a:pt x="5972" y="81"/>
                </a:lnTo>
                <a:lnTo>
                  <a:pt x="5963" y="69"/>
                </a:lnTo>
                <a:lnTo>
                  <a:pt x="5956" y="57"/>
                </a:lnTo>
                <a:lnTo>
                  <a:pt x="5953" y="51"/>
                </a:lnTo>
                <a:lnTo>
                  <a:pt x="5950" y="44"/>
                </a:lnTo>
                <a:lnTo>
                  <a:pt x="5945" y="29"/>
                </a:lnTo>
                <a:lnTo>
                  <a:pt x="5941" y="15"/>
                </a:lnTo>
                <a:lnTo>
                  <a:pt x="5937" y="0"/>
                </a:lnTo>
                <a:lnTo>
                  <a:pt x="5995" y="0"/>
                </a:lnTo>
                <a:lnTo>
                  <a:pt x="5998" y="9"/>
                </a:lnTo>
                <a:lnTo>
                  <a:pt x="6001" y="17"/>
                </a:lnTo>
                <a:lnTo>
                  <a:pt x="6004" y="25"/>
                </a:lnTo>
                <a:lnTo>
                  <a:pt x="6008" y="34"/>
                </a:lnTo>
                <a:lnTo>
                  <a:pt x="6012" y="41"/>
                </a:lnTo>
                <a:lnTo>
                  <a:pt x="6017" y="48"/>
                </a:lnTo>
                <a:lnTo>
                  <a:pt x="6022" y="54"/>
                </a:lnTo>
                <a:lnTo>
                  <a:pt x="6028" y="59"/>
                </a:lnTo>
                <a:lnTo>
                  <a:pt x="6035" y="64"/>
                </a:lnTo>
                <a:lnTo>
                  <a:pt x="6041" y="69"/>
                </a:lnTo>
                <a:lnTo>
                  <a:pt x="6048" y="73"/>
                </a:lnTo>
                <a:lnTo>
                  <a:pt x="6055" y="76"/>
                </a:lnTo>
                <a:lnTo>
                  <a:pt x="6063" y="78"/>
                </a:lnTo>
                <a:lnTo>
                  <a:pt x="6071" y="80"/>
                </a:lnTo>
                <a:lnTo>
                  <a:pt x="6079" y="81"/>
                </a:lnTo>
                <a:lnTo>
                  <a:pt x="6088" y="81"/>
                </a:lnTo>
                <a:lnTo>
                  <a:pt x="6098" y="81"/>
                </a:lnTo>
                <a:lnTo>
                  <a:pt x="6107" y="80"/>
                </a:lnTo>
                <a:lnTo>
                  <a:pt x="6115" y="78"/>
                </a:lnTo>
                <a:lnTo>
                  <a:pt x="6124" y="75"/>
                </a:lnTo>
                <a:lnTo>
                  <a:pt x="6132" y="72"/>
                </a:lnTo>
                <a:lnTo>
                  <a:pt x="6140" y="68"/>
                </a:lnTo>
                <a:lnTo>
                  <a:pt x="6148" y="64"/>
                </a:lnTo>
                <a:lnTo>
                  <a:pt x="6156" y="59"/>
                </a:lnTo>
                <a:lnTo>
                  <a:pt x="6164" y="53"/>
                </a:lnTo>
                <a:lnTo>
                  <a:pt x="6170" y="47"/>
                </a:lnTo>
                <a:lnTo>
                  <a:pt x="6177" y="41"/>
                </a:lnTo>
                <a:lnTo>
                  <a:pt x="6184" y="33"/>
                </a:lnTo>
                <a:lnTo>
                  <a:pt x="6190" y="25"/>
                </a:lnTo>
                <a:lnTo>
                  <a:pt x="6196" y="17"/>
                </a:lnTo>
                <a:lnTo>
                  <a:pt x="6202" y="9"/>
                </a:lnTo>
                <a:lnTo>
                  <a:pt x="6207" y="0"/>
                </a:lnTo>
                <a:lnTo>
                  <a:pt x="6276" y="0"/>
                </a:lnTo>
                <a:lnTo>
                  <a:pt x="6268" y="15"/>
                </a:lnTo>
                <a:lnTo>
                  <a:pt x="6259" y="30"/>
                </a:lnTo>
                <a:lnTo>
                  <a:pt x="6255" y="38"/>
                </a:lnTo>
                <a:lnTo>
                  <a:pt x="6250" y="45"/>
                </a:lnTo>
                <a:lnTo>
                  <a:pt x="6241" y="58"/>
                </a:lnTo>
                <a:lnTo>
                  <a:pt x="6231" y="70"/>
                </a:lnTo>
                <a:lnTo>
                  <a:pt x="6220" y="82"/>
                </a:lnTo>
                <a:lnTo>
                  <a:pt x="6215" y="87"/>
                </a:lnTo>
                <a:lnTo>
                  <a:pt x="6208" y="93"/>
                </a:lnTo>
                <a:lnTo>
                  <a:pt x="6197" y="103"/>
                </a:lnTo>
                <a:lnTo>
                  <a:pt x="6185" y="112"/>
                </a:lnTo>
                <a:lnTo>
                  <a:pt x="6172" y="119"/>
                </a:lnTo>
                <a:lnTo>
                  <a:pt x="6159" y="126"/>
                </a:lnTo>
                <a:lnTo>
                  <a:pt x="6152" y="129"/>
                </a:lnTo>
                <a:lnTo>
                  <a:pt x="6145" y="132"/>
                </a:lnTo>
                <a:lnTo>
                  <a:pt x="6131" y="136"/>
                </a:lnTo>
                <a:lnTo>
                  <a:pt x="6116" y="139"/>
                </a:lnTo>
                <a:lnTo>
                  <a:pt x="6102" y="141"/>
                </a:lnTo>
                <a:lnTo>
                  <a:pt x="6086" y="142"/>
                </a:lnTo>
                <a:close/>
                <a:moveTo>
                  <a:pt x="6339" y="4"/>
                </a:moveTo>
                <a:lnTo>
                  <a:pt x="6337" y="0"/>
                </a:lnTo>
                <a:lnTo>
                  <a:pt x="6413" y="0"/>
                </a:lnTo>
                <a:lnTo>
                  <a:pt x="6433" y="21"/>
                </a:lnTo>
                <a:lnTo>
                  <a:pt x="6457" y="46"/>
                </a:lnTo>
                <a:lnTo>
                  <a:pt x="6481" y="70"/>
                </a:lnTo>
                <a:lnTo>
                  <a:pt x="6504" y="93"/>
                </a:lnTo>
                <a:lnTo>
                  <a:pt x="6505" y="95"/>
                </a:lnTo>
                <a:lnTo>
                  <a:pt x="6507" y="97"/>
                </a:lnTo>
                <a:lnTo>
                  <a:pt x="6508" y="100"/>
                </a:lnTo>
                <a:lnTo>
                  <a:pt x="6508" y="102"/>
                </a:lnTo>
                <a:lnTo>
                  <a:pt x="6507" y="108"/>
                </a:lnTo>
                <a:lnTo>
                  <a:pt x="6506" y="111"/>
                </a:lnTo>
                <a:lnTo>
                  <a:pt x="6505" y="113"/>
                </a:lnTo>
                <a:lnTo>
                  <a:pt x="6501" y="119"/>
                </a:lnTo>
                <a:lnTo>
                  <a:pt x="6499" y="122"/>
                </a:lnTo>
                <a:lnTo>
                  <a:pt x="6497" y="124"/>
                </a:lnTo>
                <a:lnTo>
                  <a:pt x="6491" y="129"/>
                </a:lnTo>
                <a:lnTo>
                  <a:pt x="6488" y="131"/>
                </a:lnTo>
                <a:lnTo>
                  <a:pt x="6485" y="133"/>
                </a:lnTo>
                <a:lnTo>
                  <a:pt x="6480" y="135"/>
                </a:lnTo>
                <a:lnTo>
                  <a:pt x="6477" y="136"/>
                </a:lnTo>
                <a:lnTo>
                  <a:pt x="6474" y="136"/>
                </a:lnTo>
                <a:lnTo>
                  <a:pt x="6472" y="136"/>
                </a:lnTo>
                <a:lnTo>
                  <a:pt x="6470" y="135"/>
                </a:lnTo>
                <a:lnTo>
                  <a:pt x="6464" y="132"/>
                </a:lnTo>
                <a:lnTo>
                  <a:pt x="6458" y="128"/>
                </a:lnTo>
                <a:lnTo>
                  <a:pt x="6451" y="123"/>
                </a:lnTo>
                <a:lnTo>
                  <a:pt x="6437" y="112"/>
                </a:lnTo>
                <a:lnTo>
                  <a:pt x="6422" y="98"/>
                </a:lnTo>
                <a:lnTo>
                  <a:pt x="6406" y="81"/>
                </a:lnTo>
                <a:lnTo>
                  <a:pt x="6388" y="64"/>
                </a:lnTo>
                <a:lnTo>
                  <a:pt x="6372" y="47"/>
                </a:lnTo>
                <a:lnTo>
                  <a:pt x="6358" y="30"/>
                </a:lnTo>
                <a:lnTo>
                  <a:pt x="6346" y="15"/>
                </a:lnTo>
                <a:lnTo>
                  <a:pt x="6342" y="9"/>
                </a:lnTo>
                <a:lnTo>
                  <a:pt x="6339" y="4"/>
                </a:lnTo>
                <a:close/>
                <a:moveTo>
                  <a:pt x="6856" y="142"/>
                </a:moveTo>
                <a:lnTo>
                  <a:pt x="6843" y="141"/>
                </a:lnTo>
                <a:lnTo>
                  <a:pt x="6830" y="139"/>
                </a:lnTo>
                <a:lnTo>
                  <a:pt x="6817" y="136"/>
                </a:lnTo>
                <a:lnTo>
                  <a:pt x="6811" y="134"/>
                </a:lnTo>
                <a:lnTo>
                  <a:pt x="6804" y="131"/>
                </a:lnTo>
                <a:lnTo>
                  <a:pt x="6798" y="129"/>
                </a:lnTo>
                <a:lnTo>
                  <a:pt x="6792" y="126"/>
                </a:lnTo>
                <a:lnTo>
                  <a:pt x="6781" y="119"/>
                </a:lnTo>
                <a:lnTo>
                  <a:pt x="6770" y="111"/>
                </a:lnTo>
                <a:lnTo>
                  <a:pt x="6760" y="102"/>
                </a:lnTo>
                <a:lnTo>
                  <a:pt x="6755" y="97"/>
                </a:lnTo>
                <a:lnTo>
                  <a:pt x="6751" y="92"/>
                </a:lnTo>
                <a:lnTo>
                  <a:pt x="6741" y="81"/>
                </a:lnTo>
                <a:lnTo>
                  <a:pt x="6733" y="69"/>
                </a:lnTo>
                <a:lnTo>
                  <a:pt x="6726" y="57"/>
                </a:lnTo>
                <a:lnTo>
                  <a:pt x="6723" y="51"/>
                </a:lnTo>
                <a:lnTo>
                  <a:pt x="6720" y="44"/>
                </a:lnTo>
                <a:lnTo>
                  <a:pt x="6715" y="29"/>
                </a:lnTo>
                <a:lnTo>
                  <a:pt x="6711" y="15"/>
                </a:lnTo>
                <a:lnTo>
                  <a:pt x="6708" y="0"/>
                </a:lnTo>
                <a:lnTo>
                  <a:pt x="6765" y="0"/>
                </a:lnTo>
                <a:lnTo>
                  <a:pt x="6768" y="9"/>
                </a:lnTo>
                <a:lnTo>
                  <a:pt x="6771" y="17"/>
                </a:lnTo>
                <a:lnTo>
                  <a:pt x="6774" y="25"/>
                </a:lnTo>
                <a:lnTo>
                  <a:pt x="6778" y="34"/>
                </a:lnTo>
                <a:lnTo>
                  <a:pt x="6782" y="41"/>
                </a:lnTo>
                <a:lnTo>
                  <a:pt x="6787" y="48"/>
                </a:lnTo>
                <a:lnTo>
                  <a:pt x="6792" y="54"/>
                </a:lnTo>
                <a:lnTo>
                  <a:pt x="6798" y="59"/>
                </a:lnTo>
                <a:lnTo>
                  <a:pt x="6804" y="64"/>
                </a:lnTo>
                <a:lnTo>
                  <a:pt x="6812" y="69"/>
                </a:lnTo>
                <a:lnTo>
                  <a:pt x="6818" y="73"/>
                </a:lnTo>
                <a:lnTo>
                  <a:pt x="6826" y="76"/>
                </a:lnTo>
                <a:lnTo>
                  <a:pt x="6833" y="78"/>
                </a:lnTo>
                <a:lnTo>
                  <a:pt x="6841" y="80"/>
                </a:lnTo>
                <a:lnTo>
                  <a:pt x="6849" y="81"/>
                </a:lnTo>
                <a:lnTo>
                  <a:pt x="6858" y="81"/>
                </a:lnTo>
                <a:lnTo>
                  <a:pt x="6867" y="81"/>
                </a:lnTo>
                <a:lnTo>
                  <a:pt x="6877" y="80"/>
                </a:lnTo>
                <a:lnTo>
                  <a:pt x="6886" y="78"/>
                </a:lnTo>
                <a:lnTo>
                  <a:pt x="6894" y="75"/>
                </a:lnTo>
                <a:lnTo>
                  <a:pt x="6902" y="72"/>
                </a:lnTo>
                <a:lnTo>
                  <a:pt x="6910" y="68"/>
                </a:lnTo>
                <a:lnTo>
                  <a:pt x="6918" y="64"/>
                </a:lnTo>
                <a:lnTo>
                  <a:pt x="6925" y="59"/>
                </a:lnTo>
                <a:lnTo>
                  <a:pt x="6934" y="53"/>
                </a:lnTo>
                <a:lnTo>
                  <a:pt x="6941" y="47"/>
                </a:lnTo>
                <a:lnTo>
                  <a:pt x="6947" y="41"/>
                </a:lnTo>
                <a:lnTo>
                  <a:pt x="6954" y="33"/>
                </a:lnTo>
                <a:lnTo>
                  <a:pt x="6960" y="25"/>
                </a:lnTo>
                <a:lnTo>
                  <a:pt x="6966" y="17"/>
                </a:lnTo>
                <a:lnTo>
                  <a:pt x="6972" y="9"/>
                </a:lnTo>
                <a:lnTo>
                  <a:pt x="6977" y="0"/>
                </a:lnTo>
                <a:lnTo>
                  <a:pt x="7046" y="0"/>
                </a:lnTo>
                <a:lnTo>
                  <a:pt x="7038" y="15"/>
                </a:lnTo>
                <a:lnTo>
                  <a:pt x="7030" y="30"/>
                </a:lnTo>
                <a:lnTo>
                  <a:pt x="7025" y="38"/>
                </a:lnTo>
                <a:lnTo>
                  <a:pt x="7021" y="45"/>
                </a:lnTo>
                <a:lnTo>
                  <a:pt x="7011" y="58"/>
                </a:lnTo>
                <a:lnTo>
                  <a:pt x="7001" y="70"/>
                </a:lnTo>
                <a:lnTo>
                  <a:pt x="6991" y="82"/>
                </a:lnTo>
                <a:lnTo>
                  <a:pt x="6984" y="87"/>
                </a:lnTo>
                <a:lnTo>
                  <a:pt x="6978" y="93"/>
                </a:lnTo>
                <a:lnTo>
                  <a:pt x="6967" y="103"/>
                </a:lnTo>
                <a:lnTo>
                  <a:pt x="6955" y="112"/>
                </a:lnTo>
                <a:lnTo>
                  <a:pt x="6942" y="119"/>
                </a:lnTo>
                <a:lnTo>
                  <a:pt x="6928" y="126"/>
                </a:lnTo>
                <a:lnTo>
                  <a:pt x="6922" y="129"/>
                </a:lnTo>
                <a:lnTo>
                  <a:pt x="6915" y="132"/>
                </a:lnTo>
                <a:lnTo>
                  <a:pt x="6901" y="136"/>
                </a:lnTo>
                <a:lnTo>
                  <a:pt x="6887" y="139"/>
                </a:lnTo>
                <a:lnTo>
                  <a:pt x="6872" y="141"/>
                </a:lnTo>
                <a:lnTo>
                  <a:pt x="6856" y="142"/>
                </a:lnTo>
                <a:close/>
                <a:moveTo>
                  <a:pt x="7108" y="4"/>
                </a:moveTo>
                <a:lnTo>
                  <a:pt x="7106" y="0"/>
                </a:lnTo>
                <a:lnTo>
                  <a:pt x="7183" y="0"/>
                </a:lnTo>
                <a:lnTo>
                  <a:pt x="7203" y="21"/>
                </a:lnTo>
                <a:lnTo>
                  <a:pt x="7226" y="46"/>
                </a:lnTo>
                <a:lnTo>
                  <a:pt x="7251" y="70"/>
                </a:lnTo>
                <a:lnTo>
                  <a:pt x="7274" y="93"/>
                </a:lnTo>
                <a:lnTo>
                  <a:pt x="7276" y="95"/>
                </a:lnTo>
                <a:lnTo>
                  <a:pt x="7277" y="97"/>
                </a:lnTo>
                <a:lnTo>
                  <a:pt x="7278" y="100"/>
                </a:lnTo>
                <a:lnTo>
                  <a:pt x="7278" y="102"/>
                </a:lnTo>
                <a:lnTo>
                  <a:pt x="7277" y="108"/>
                </a:lnTo>
                <a:lnTo>
                  <a:pt x="7276" y="111"/>
                </a:lnTo>
                <a:lnTo>
                  <a:pt x="7275" y="113"/>
                </a:lnTo>
                <a:lnTo>
                  <a:pt x="7271" y="119"/>
                </a:lnTo>
                <a:lnTo>
                  <a:pt x="7269" y="122"/>
                </a:lnTo>
                <a:lnTo>
                  <a:pt x="7267" y="124"/>
                </a:lnTo>
                <a:lnTo>
                  <a:pt x="7261" y="129"/>
                </a:lnTo>
                <a:lnTo>
                  <a:pt x="7259" y="131"/>
                </a:lnTo>
                <a:lnTo>
                  <a:pt x="7256" y="133"/>
                </a:lnTo>
                <a:lnTo>
                  <a:pt x="7250" y="135"/>
                </a:lnTo>
                <a:lnTo>
                  <a:pt x="7247" y="136"/>
                </a:lnTo>
                <a:lnTo>
                  <a:pt x="7244" y="136"/>
                </a:lnTo>
                <a:lnTo>
                  <a:pt x="7242" y="136"/>
                </a:lnTo>
                <a:lnTo>
                  <a:pt x="7240" y="135"/>
                </a:lnTo>
                <a:lnTo>
                  <a:pt x="7234" y="132"/>
                </a:lnTo>
                <a:lnTo>
                  <a:pt x="7227" y="128"/>
                </a:lnTo>
                <a:lnTo>
                  <a:pt x="7220" y="123"/>
                </a:lnTo>
                <a:lnTo>
                  <a:pt x="7207" y="112"/>
                </a:lnTo>
                <a:lnTo>
                  <a:pt x="7192" y="98"/>
                </a:lnTo>
                <a:lnTo>
                  <a:pt x="7176" y="81"/>
                </a:lnTo>
                <a:lnTo>
                  <a:pt x="7158" y="64"/>
                </a:lnTo>
                <a:lnTo>
                  <a:pt x="7142" y="47"/>
                </a:lnTo>
                <a:lnTo>
                  <a:pt x="7128" y="30"/>
                </a:lnTo>
                <a:lnTo>
                  <a:pt x="7117" y="15"/>
                </a:lnTo>
                <a:lnTo>
                  <a:pt x="7112" y="9"/>
                </a:lnTo>
                <a:lnTo>
                  <a:pt x="7108" y="4"/>
                </a:lnTo>
                <a:close/>
                <a:moveTo>
                  <a:pt x="7605" y="142"/>
                </a:moveTo>
                <a:lnTo>
                  <a:pt x="7591" y="141"/>
                </a:lnTo>
                <a:lnTo>
                  <a:pt x="7577" y="139"/>
                </a:lnTo>
                <a:lnTo>
                  <a:pt x="7565" y="136"/>
                </a:lnTo>
                <a:lnTo>
                  <a:pt x="7558" y="134"/>
                </a:lnTo>
                <a:lnTo>
                  <a:pt x="7552" y="131"/>
                </a:lnTo>
                <a:lnTo>
                  <a:pt x="7546" y="129"/>
                </a:lnTo>
                <a:lnTo>
                  <a:pt x="7541" y="126"/>
                </a:lnTo>
                <a:lnTo>
                  <a:pt x="7528" y="119"/>
                </a:lnTo>
                <a:lnTo>
                  <a:pt x="7518" y="111"/>
                </a:lnTo>
                <a:lnTo>
                  <a:pt x="7508" y="102"/>
                </a:lnTo>
                <a:lnTo>
                  <a:pt x="7503" y="97"/>
                </a:lnTo>
                <a:lnTo>
                  <a:pt x="7498" y="92"/>
                </a:lnTo>
                <a:lnTo>
                  <a:pt x="7490" y="81"/>
                </a:lnTo>
                <a:lnTo>
                  <a:pt x="7482" y="69"/>
                </a:lnTo>
                <a:lnTo>
                  <a:pt x="7475" y="57"/>
                </a:lnTo>
                <a:lnTo>
                  <a:pt x="7472" y="51"/>
                </a:lnTo>
                <a:lnTo>
                  <a:pt x="7468" y="44"/>
                </a:lnTo>
                <a:lnTo>
                  <a:pt x="7463" y="29"/>
                </a:lnTo>
                <a:lnTo>
                  <a:pt x="7458" y="15"/>
                </a:lnTo>
                <a:lnTo>
                  <a:pt x="7455" y="0"/>
                </a:lnTo>
                <a:lnTo>
                  <a:pt x="7513" y="0"/>
                </a:lnTo>
                <a:lnTo>
                  <a:pt x="7515" y="9"/>
                </a:lnTo>
                <a:lnTo>
                  <a:pt x="7518" y="17"/>
                </a:lnTo>
                <a:lnTo>
                  <a:pt x="7522" y="25"/>
                </a:lnTo>
                <a:lnTo>
                  <a:pt x="7526" y="34"/>
                </a:lnTo>
                <a:lnTo>
                  <a:pt x="7531" y="41"/>
                </a:lnTo>
                <a:lnTo>
                  <a:pt x="7536" y="48"/>
                </a:lnTo>
                <a:lnTo>
                  <a:pt x="7541" y="54"/>
                </a:lnTo>
                <a:lnTo>
                  <a:pt x="7547" y="59"/>
                </a:lnTo>
                <a:lnTo>
                  <a:pt x="7553" y="64"/>
                </a:lnTo>
                <a:lnTo>
                  <a:pt x="7559" y="69"/>
                </a:lnTo>
                <a:lnTo>
                  <a:pt x="7566" y="73"/>
                </a:lnTo>
                <a:lnTo>
                  <a:pt x="7573" y="76"/>
                </a:lnTo>
                <a:lnTo>
                  <a:pt x="7581" y="78"/>
                </a:lnTo>
                <a:lnTo>
                  <a:pt x="7589" y="80"/>
                </a:lnTo>
                <a:lnTo>
                  <a:pt x="7598" y="81"/>
                </a:lnTo>
                <a:lnTo>
                  <a:pt x="7607" y="81"/>
                </a:lnTo>
                <a:lnTo>
                  <a:pt x="7617" y="81"/>
                </a:lnTo>
                <a:lnTo>
                  <a:pt x="7622" y="80"/>
                </a:lnTo>
                <a:lnTo>
                  <a:pt x="7627" y="79"/>
                </a:lnTo>
                <a:lnTo>
                  <a:pt x="7637" y="77"/>
                </a:lnTo>
                <a:lnTo>
                  <a:pt x="7646" y="74"/>
                </a:lnTo>
                <a:lnTo>
                  <a:pt x="7656" y="70"/>
                </a:lnTo>
                <a:lnTo>
                  <a:pt x="7661" y="67"/>
                </a:lnTo>
                <a:lnTo>
                  <a:pt x="7665" y="65"/>
                </a:lnTo>
                <a:lnTo>
                  <a:pt x="7674" y="59"/>
                </a:lnTo>
                <a:lnTo>
                  <a:pt x="7682" y="53"/>
                </a:lnTo>
                <a:lnTo>
                  <a:pt x="7682" y="124"/>
                </a:lnTo>
                <a:lnTo>
                  <a:pt x="7673" y="128"/>
                </a:lnTo>
                <a:lnTo>
                  <a:pt x="7664" y="131"/>
                </a:lnTo>
                <a:lnTo>
                  <a:pt x="7655" y="134"/>
                </a:lnTo>
                <a:lnTo>
                  <a:pt x="7644" y="137"/>
                </a:lnTo>
                <a:lnTo>
                  <a:pt x="7635" y="139"/>
                </a:lnTo>
                <a:lnTo>
                  <a:pt x="7625" y="141"/>
                </a:lnTo>
                <a:lnTo>
                  <a:pt x="7615" y="141"/>
                </a:lnTo>
                <a:lnTo>
                  <a:pt x="7605" y="142"/>
                </a:lnTo>
                <a:close/>
                <a:moveTo>
                  <a:pt x="6086" y="1136"/>
                </a:moveTo>
                <a:lnTo>
                  <a:pt x="6078" y="1136"/>
                </a:lnTo>
                <a:lnTo>
                  <a:pt x="6071" y="1135"/>
                </a:lnTo>
                <a:lnTo>
                  <a:pt x="6063" y="1134"/>
                </a:lnTo>
                <a:lnTo>
                  <a:pt x="6056" y="1132"/>
                </a:lnTo>
                <a:lnTo>
                  <a:pt x="6049" y="1131"/>
                </a:lnTo>
                <a:lnTo>
                  <a:pt x="6041" y="1128"/>
                </a:lnTo>
                <a:lnTo>
                  <a:pt x="6027" y="1122"/>
                </a:lnTo>
                <a:lnTo>
                  <a:pt x="6014" y="1115"/>
                </a:lnTo>
                <a:lnTo>
                  <a:pt x="6007" y="1110"/>
                </a:lnTo>
                <a:lnTo>
                  <a:pt x="6001" y="1105"/>
                </a:lnTo>
                <a:lnTo>
                  <a:pt x="5995" y="1101"/>
                </a:lnTo>
                <a:lnTo>
                  <a:pt x="5990" y="1095"/>
                </a:lnTo>
                <a:lnTo>
                  <a:pt x="5984" y="1090"/>
                </a:lnTo>
                <a:lnTo>
                  <a:pt x="5979" y="1084"/>
                </a:lnTo>
                <a:lnTo>
                  <a:pt x="5974" y="1078"/>
                </a:lnTo>
                <a:lnTo>
                  <a:pt x="5969" y="1072"/>
                </a:lnTo>
                <a:lnTo>
                  <a:pt x="5964" y="1065"/>
                </a:lnTo>
                <a:lnTo>
                  <a:pt x="5960" y="1058"/>
                </a:lnTo>
                <a:lnTo>
                  <a:pt x="5956" y="1050"/>
                </a:lnTo>
                <a:lnTo>
                  <a:pt x="5952" y="1043"/>
                </a:lnTo>
                <a:lnTo>
                  <a:pt x="5949" y="1035"/>
                </a:lnTo>
                <a:lnTo>
                  <a:pt x="5946" y="1027"/>
                </a:lnTo>
                <a:lnTo>
                  <a:pt x="5943" y="1020"/>
                </a:lnTo>
                <a:lnTo>
                  <a:pt x="5941" y="1011"/>
                </a:lnTo>
                <a:lnTo>
                  <a:pt x="5939" y="1003"/>
                </a:lnTo>
                <a:lnTo>
                  <a:pt x="5937" y="994"/>
                </a:lnTo>
                <a:lnTo>
                  <a:pt x="5936" y="985"/>
                </a:lnTo>
                <a:lnTo>
                  <a:pt x="5935" y="976"/>
                </a:lnTo>
                <a:lnTo>
                  <a:pt x="5935" y="967"/>
                </a:lnTo>
                <a:lnTo>
                  <a:pt x="5934" y="958"/>
                </a:lnTo>
                <a:lnTo>
                  <a:pt x="5935" y="939"/>
                </a:lnTo>
                <a:lnTo>
                  <a:pt x="5936" y="929"/>
                </a:lnTo>
                <a:lnTo>
                  <a:pt x="5938" y="920"/>
                </a:lnTo>
                <a:lnTo>
                  <a:pt x="5939" y="911"/>
                </a:lnTo>
                <a:lnTo>
                  <a:pt x="5941" y="902"/>
                </a:lnTo>
                <a:lnTo>
                  <a:pt x="5944" y="893"/>
                </a:lnTo>
                <a:lnTo>
                  <a:pt x="5947" y="884"/>
                </a:lnTo>
                <a:lnTo>
                  <a:pt x="5950" y="876"/>
                </a:lnTo>
                <a:lnTo>
                  <a:pt x="5953" y="867"/>
                </a:lnTo>
                <a:lnTo>
                  <a:pt x="5957" y="859"/>
                </a:lnTo>
                <a:lnTo>
                  <a:pt x="5961" y="851"/>
                </a:lnTo>
                <a:lnTo>
                  <a:pt x="5966" y="843"/>
                </a:lnTo>
                <a:lnTo>
                  <a:pt x="5971" y="836"/>
                </a:lnTo>
                <a:lnTo>
                  <a:pt x="5982" y="822"/>
                </a:lnTo>
                <a:lnTo>
                  <a:pt x="5987" y="816"/>
                </a:lnTo>
                <a:lnTo>
                  <a:pt x="5993" y="809"/>
                </a:lnTo>
                <a:lnTo>
                  <a:pt x="6005" y="797"/>
                </a:lnTo>
                <a:lnTo>
                  <a:pt x="6012" y="792"/>
                </a:lnTo>
                <a:lnTo>
                  <a:pt x="6018" y="787"/>
                </a:lnTo>
                <a:lnTo>
                  <a:pt x="6025" y="783"/>
                </a:lnTo>
                <a:lnTo>
                  <a:pt x="6033" y="779"/>
                </a:lnTo>
                <a:lnTo>
                  <a:pt x="6040" y="775"/>
                </a:lnTo>
                <a:lnTo>
                  <a:pt x="6048" y="772"/>
                </a:lnTo>
                <a:lnTo>
                  <a:pt x="6055" y="769"/>
                </a:lnTo>
                <a:lnTo>
                  <a:pt x="6063" y="767"/>
                </a:lnTo>
                <a:lnTo>
                  <a:pt x="6071" y="765"/>
                </a:lnTo>
                <a:lnTo>
                  <a:pt x="6079" y="764"/>
                </a:lnTo>
                <a:lnTo>
                  <a:pt x="6087" y="763"/>
                </a:lnTo>
                <a:lnTo>
                  <a:pt x="6096" y="763"/>
                </a:lnTo>
                <a:lnTo>
                  <a:pt x="6107" y="763"/>
                </a:lnTo>
                <a:lnTo>
                  <a:pt x="6111" y="764"/>
                </a:lnTo>
                <a:lnTo>
                  <a:pt x="6116" y="765"/>
                </a:lnTo>
                <a:lnTo>
                  <a:pt x="6121" y="766"/>
                </a:lnTo>
                <a:lnTo>
                  <a:pt x="6125" y="767"/>
                </a:lnTo>
                <a:lnTo>
                  <a:pt x="6134" y="770"/>
                </a:lnTo>
                <a:lnTo>
                  <a:pt x="6142" y="774"/>
                </a:lnTo>
                <a:lnTo>
                  <a:pt x="6149" y="779"/>
                </a:lnTo>
                <a:lnTo>
                  <a:pt x="6157" y="784"/>
                </a:lnTo>
                <a:lnTo>
                  <a:pt x="6163" y="790"/>
                </a:lnTo>
                <a:lnTo>
                  <a:pt x="6165" y="793"/>
                </a:lnTo>
                <a:lnTo>
                  <a:pt x="6168" y="797"/>
                </a:lnTo>
                <a:lnTo>
                  <a:pt x="6173" y="804"/>
                </a:lnTo>
                <a:lnTo>
                  <a:pt x="6177" y="813"/>
                </a:lnTo>
                <a:lnTo>
                  <a:pt x="6180" y="821"/>
                </a:lnTo>
                <a:lnTo>
                  <a:pt x="6183" y="830"/>
                </a:lnTo>
                <a:lnTo>
                  <a:pt x="6185" y="839"/>
                </a:lnTo>
                <a:lnTo>
                  <a:pt x="6186" y="848"/>
                </a:lnTo>
                <a:lnTo>
                  <a:pt x="6186" y="858"/>
                </a:lnTo>
                <a:lnTo>
                  <a:pt x="6185" y="872"/>
                </a:lnTo>
                <a:lnTo>
                  <a:pt x="6184" y="878"/>
                </a:lnTo>
                <a:lnTo>
                  <a:pt x="6183" y="884"/>
                </a:lnTo>
                <a:lnTo>
                  <a:pt x="6179" y="896"/>
                </a:lnTo>
                <a:lnTo>
                  <a:pt x="6174" y="907"/>
                </a:lnTo>
                <a:lnTo>
                  <a:pt x="6168" y="919"/>
                </a:lnTo>
                <a:lnTo>
                  <a:pt x="6161" y="929"/>
                </a:lnTo>
                <a:lnTo>
                  <a:pt x="6157" y="935"/>
                </a:lnTo>
                <a:lnTo>
                  <a:pt x="6153" y="940"/>
                </a:lnTo>
                <a:lnTo>
                  <a:pt x="6142" y="949"/>
                </a:lnTo>
                <a:lnTo>
                  <a:pt x="6132" y="958"/>
                </a:lnTo>
                <a:lnTo>
                  <a:pt x="6127" y="962"/>
                </a:lnTo>
                <a:lnTo>
                  <a:pt x="6122" y="965"/>
                </a:lnTo>
                <a:lnTo>
                  <a:pt x="6110" y="972"/>
                </a:lnTo>
                <a:lnTo>
                  <a:pt x="6099" y="978"/>
                </a:lnTo>
                <a:lnTo>
                  <a:pt x="6086" y="982"/>
                </a:lnTo>
                <a:lnTo>
                  <a:pt x="6079" y="984"/>
                </a:lnTo>
                <a:lnTo>
                  <a:pt x="6073" y="986"/>
                </a:lnTo>
                <a:lnTo>
                  <a:pt x="6067" y="987"/>
                </a:lnTo>
                <a:lnTo>
                  <a:pt x="6061" y="988"/>
                </a:lnTo>
                <a:lnTo>
                  <a:pt x="6048" y="988"/>
                </a:lnTo>
                <a:lnTo>
                  <a:pt x="6043" y="988"/>
                </a:lnTo>
                <a:lnTo>
                  <a:pt x="6038" y="986"/>
                </a:lnTo>
                <a:lnTo>
                  <a:pt x="6033" y="983"/>
                </a:lnTo>
                <a:lnTo>
                  <a:pt x="6031" y="981"/>
                </a:lnTo>
                <a:lnTo>
                  <a:pt x="6029" y="979"/>
                </a:lnTo>
                <a:lnTo>
                  <a:pt x="6025" y="974"/>
                </a:lnTo>
                <a:lnTo>
                  <a:pt x="6023" y="969"/>
                </a:lnTo>
                <a:lnTo>
                  <a:pt x="6022" y="966"/>
                </a:lnTo>
                <a:lnTo>
                  <a:pt x="6022" y="963"/>
                </a:lnTo>
                <a:lnTo>
                  <a:pt x="6021" y="957"/>
                </a:lnTo>
                <a:lnTo>
                  <a:pt x="6021" y="954"/>
                </a:lnTo>
                <a:lnTo>
                  <a:pt x="6021" y="951"/>
                </a:lnTo>
                <a:lnTo>
                  <a:pt x="6023" y="947"/>
                </a:lnTo>
                <a:lnTo>
                  <a:pt x="6024" y="944"/>
                </a:lnTo>
                <a:lnTo>
                  <a:pt x="6025" y="943"/>
                </a:lnTo>
                <a:lnTo>
                  <a:pt x="6026" y="941"/>
                </a:lnTo>
                <a:lnTo>
                  <a:pt x="6028" y="940"/>
                </a:lnTo>
                <a:lnTo>
                  <a:pt x="6040" y="938"/>
                </a:lnTo>
                <a:lnTo>
                  <a:pt x="6050" y="935"/>
                </a:lnTo>
                <a:lnTo>
                  <a:pt x="6061" y="932"/>
                </a:lnTo>
                <a:lnTo>
                  <a:pt x="6070" y="927"/>
                </a:lnTo>
                <a:lnTo>
                  <a:pt x="6079" y="922"/>
                </a:lnTo>
                <a:lnTo>
                  <a:pt x="6088" y="917"/>
                </a:lnTo>
                <a:lnTo>
                  <a:pt x="6097" y="912"/>
                </a:lnTo>
                <a:lnTo>
                  <a:pt x="6100" y="909"/>
                </a:lnTo>
                <a:lnTo>
                  <a:pt x="6104" y="906"/>
                </a:lnTo>
                <a:lnTo>
                  <a:pt x="6110" y="900"/>
                </a:lnTo>
                <a:lnTo>
                  <a:pt x="6116" y="893"/>
                </a:lnTo>
                <a:lnTo>
                  <a:pt x="6121" y="886"/>
                </a:lnTo>
                <a:lnTo>
                  <a:pt x="6125" y="880"/>
                </a:lnTo>
                <a:lnTo>
                  <a:pt x="6128" y="873"/>
                </a:lnTo>
                <a:lnTo>
                  <a:pt x="6131" y="865"/>
                </a:lnTo>
                <a:lnTo>
                  <a:pt x="6132" y="857"/>
                </a:lnTo>
                <a:lnTo>
                  <a:pt x="6133" y="850"/>
                </a:lnTo>
                <a:lnTo>
                  <a:pt x="6132" y="842"/>
                </a:lnTo>
                <a:lnTo>
                  <a:pt x="6130" y="835"/>
                </a:lnTo>
                <a:lnTo>
                  <a:pt x="6129" y="832"/>
                </a:lnTo>
                <a:lnTo>
                  <a:pt x="6127" y="829"/>
                </a:lnTo>
                <a:lnTo>
                  <a:pt x="6125" y="826"/>
                </a:lnTo>
                <a:lnTo>
                  <a:pt x="6122" y="823"/>
                </a:lnTo>
                <a:lnTo>
                  <a:pt x="6116" y="819"/>
                </a:lnTo>
                <a:lnTo>
                  <a:pt x="6113" y="817"/>
                </a:lnTo>
                <a:lnTo>
                  <a:pt x="6109" y="816"/>
                </a:lnTo>
                <a:lnTo>
                  <a:pt x="6102" y="814"/>
                </a:lnTo>
                <a:lnTo>
                  <a:pt x="6097" y="814"/>
                </a:lnTo>
                <a:lnTo>
                  <a:pt x="6093" y="814"/>
                </a:lnTo>
                <a:lnTo>
                  <a:pt x="6083" y="814"/>
                </a:lnTo>
                <a:lnTo>
                  <a:pt x="6078" y="815"/>
                </a:lnTo>
                <a:lnTo>
                  <a:pt x="6074" y="816"/>
                </a:lnTo>
                <a:lnTo>
                  <a:pt x="6070" y="818"/>
                </a:lnTo>
                <a:lnTo>
                  <a:pt x="6065" y="820"/>
                </a:lnTo>
                <a:lnTo>
                  <a:pt x="6061" y="822"/>
                </a:lnTo>
                <a:lnTo>
                  <a:pt x="6056" y="825"/>
                </a:lnTo>
                <a:lnTo>
                  <a:pt x="6052" y="827"/>
                </a:lnTo>
                <a:lnTo>
                  <a:pt x="6048" y="830"/>
                </a:lnTo>
                <a:lnTo>
                  <a:pt x="6040" y="838"/>
                </a:lnTo>
                <a:lnTo>
                  <a:pt x="6032" y="846"/>
                </a:lnTo>
                <a:lnTo>
                  <a:pt x="6023" y="855"/>
                </a:lnTo>
                <a:lnTo>
                  <a:pt x="6020" y="859"/>
                </a:lnTo>
                <a:lnTo>
                  <a:pt x="6016" y="865"/>
                </a:lnTo>
                <a:lnTo>
                  <a:pt x="6010" y="876"/>
                </a:lnTo>
                <a:lnTo>
                  <a:pt x="6005" y="888"/>
                </a:lnTo>
                <a:lnTo>
                  <a:pt x="6000" y="900"/>
                </a:lnTo>
                <a:lnTo>
                  <a:pt x="5996" y="913"/>
                </a:lnTo>
                <a:lnTo>
                  <a:pt x="5993" y="926"/>
                </a:lnTo>
                <a:lnTo>
                  <a:pt x="5992" y="941"/>
                </a:lnTo>
                <a:lnTo>
                  <a:pt x="5991" y="948"/>
                </a:lnTo>
                <a:lnTo>
                  <a:pt x="5991" y="955"/>
                </a:lnTo>
                <a:lnTo>
                  <a:pt x="5991" y="968"/>
                </a:lnTo>
                <a:lnTo>
                  <a:pt x="5993" y="980"/>
                </a:lnTo>
                <a:lnTo>
                  <a:pt x="5995" y="993"/>
                </a:lnTo>
                <a:lnTo>
                  <a:pt x="5996" y="998"/>
                </a:lnTo>
                <a:lnTo>
                  <a:pt x="5998" y="1004"/>
                </a:lnTo>
                <a:lnTo>
                  <a:pt x="6001" y="1014"/>
                </a:lnTo>
                <a:lnTo>
                  <a:pt x="6004" y="1019"/>
                </a:lnTo>
                <a:lnTo>
                  <a:pt x="6006" y="1024"/>
                </a:lnTo>
                <a:lnTo>
                  <a:pt x="6008" y="1029"/>
                </a:lnTo>
                <a:lnTo>
                  <a:pt x="6011" y="1033"/>
                </a:lnTo>
                <a:lnTo>
                  <a:pt x="6014" y="1037"/>
                </a:lnTo>
                <a:lnTo>
                  <a:pt x="6017" y="1041"/>
                </a:lnTo>
                <a:lnTo>
                  <a:pt x="6020" y="1045"/>
                </a:lnTo>
                <a:lnTo>
                  <a:pt x="6024" y="1049"/>
                </a:lnTo>
                <a:lnTo>
                  <a:pt x="6032" y="1056"/>
                </a:lnTo>
                <a:lnTo>
                  <a:pt x="6040" y="1062"/>
                </a:lnTo>
                <a:lnTo>
                  <a:pt x="6048" y="1067"/>
                </a:lnTo>
                <a:lnTo>
                  <a:pt x="6057" y="1071"/>
                </a:lnTo>
                <a:lnTo>
                  <a:pt x="6067" y="1073"/>
                </a:lnTo>
                <a:lnTo>
                  <a:pt x="6077" y="1075"/>
                </a:lnTo>
                <a:lnTo>
                  <a:pt x="6082" y="1076"/>
                </a:lnTo>
                <a:lnTo>
                  <a:pt x="6088" y="1076"/>
                </a:lnTo>
                <a:lnTo>
                  <a:pt x="6099" y="1075"/>
                </a:lnTo>
                <a:lnTo>
                  <a:pt x="6110" y="1074"/>
                </a:lnTo>
                <a:lnTo>
                  <a:pt x="6119" y="1071"/>
                </a:lnTo>
                <a:lnTo>
                  <a:pt x="6129" y="1068"/>
                </a:lnTo>
                <a:lnTo>
                  <a:pt x="6138" y="1064"/>
                </a:lnTo>
                <a:lnTo>
                  <a:pt x="6147" y="1059"/>
                </a:lnTo>
                <a:lnTo>
                  <a:pt x="6157" y="1053"/>
                </a:lnTo>
                <a:lnTo>
                  <a:pt x="6165" y="1045"/>
                </a:lnTo>
                <a:lnTo>
                  <a:pt x="6173" y="1038"/>
                </a:lnTo>
                <a:lnTo>
                  <a:pt x="6181" y="1030"/>
                </a:lnTo>
                <a:lnTo>
                  <a:pt x="6188" y="1022"/>
                </a:lnTo>
                <a:lnTo>
                  <a:pt x="6195" y="1013"/>
                </a:lnTo>
                <a:lnTo>
                  <a:pt x="6208" y="993"/>
                </a:lnTo>
                <a:lnTo>
                  <a:pt x="6215" y="982"/>
                </a:lnTo>
                <a:lnTo>
                  <a:pt x="6220" y="971"/>
                </a:lnTo>
                <a:lnTo>
                  <a:pt x="6226" y="960"/>
                </a:lnTo>
                <a:lnTo>
                  <a:pt x="6230" y="949"/>
                </a:lnTo>
                <a:lnTo>
                  <a:pt x="6235" y="937"/>
                </a:lnTo>
                <a:lnTo>
                  <a:pt x="6239" y="925"/>
                </a:lnTo>
                <a:lnTo>
                  <a:pt x="6243" y="913"/>
                </a:lnTo>
                <a:lnTo>
                  <a:pt x="6246" y="901"/>
                </a:lnTo>
                <a:lnTo>
                  <a:pt x="6249" y="889"/>
                </a:lnTo>
                <a:lnTo>
                  <a:pt x="6252" y="877"/>
                </a:lnTo>
                <a:lnTo>
                  <a:pt x="6254" y="864"/>
                </a:lnTo>
                <a:lnTo>
                  <a:pt x="6256" y="852"/>
                </a:lnTo>
                <a:lnTo>
                  <a:pt x="6257" y="840"/>
                </a:lnTo>
                <a:lnTo>
                  <a:pt x="6258" y="828"/>
                </a:lnTo>
                <a:lnTo>
                  <a:pt x="6259" y="817"/>
                </a:lnTo>
                <a:lnTo>
                  <a:pt x="6259" y="805"/>
                </a:lnTo>
                <a:lnTo>
                  <a:pt x="6259" y="794"/>
                </a:lnTo>
                <a:lnTo>
                  <a:pt x="6259" y="784"/>
                </a:lnTo>
                <a:lnTo>
                  <a:pt x="6260" y="781"/>
                </a:lnTo>
                <a:lnTo>
                  <a:pt x="6261" y="779"/>
                </a:lnTo>
                <a:lnTo>
                  <a:pt x="6264" y="777"/>
                </a:lnTo>
                <a:lnTo>
                  <a:pt x="6266" y="775"/>
                </a:lnTo>
                <a:lnTo>
                  <a:pt x="6274" y="773"/>
                </a:lnTo>
                <a:lnTo>
                  <a:pt x="6278" y="772"/>
                </a:lnTo>
                <a:lnTo>
                  <a:pt x="6282" y="772"/>
                </a:lnTo>
                <a:lnTo>
                  <a:pt x="6289" y="772"/>
                </a:lnTo>
                <a:lnTo>
                  <a:pt x="6293" y="773"/>
                </a:lnTo>
                <a:lnTo>
                  <a:pt x="6296" y="774"/>
                </a:lnTo>
                <a:lnTo>
                  <a:pt x="6302" y="777"/>
                </a:lnTo>
                <a:lnTo>
                  <a:pt x="6304" y="779"/>
                </a:lnTo>
                <a:lnTo>
                  <a:pt x="6307" y="781"/>
                </a:lnTo>
                <a:lnTo>
                  <a:pt x="6311" y="787"/>
                </a:lnTo>
                <a:lnTo>
                  <a:pt x="6312" y="790"/>
                </a:lnTo>
                <a:lnTo>
                  <a:pt x="6314" y="794"/>
                </a:lnTo>
                <a:lnTo>
                  <a:pt x="6315" y="798"/>
                </a:lnTo>
                <a:lnTo>
                  <a:pt x="6315" y="803"/>
                </a:lnTo>
                <a:lnTo>
                  <a:pt x="6316" y="809"/>
                </a:lnTo>
                <a:lnTo>
                  <a:pt x="6316" y="815"/>
                </a:lnTo>
                <a:lnTo>
                  <a:pt x="6316" y="831"/>
                </a:lnTo>
                <a:lnTo>
                  <a:pt x="6315" y="846"/>
                </a:lnTo>
                <a:lnTo>
                  <a:pt x="6313" y="862"/>
                </a:lnTo>
                <a:lnTo>
                  <a:pt x="6311" y="878"/>
                </a:lnTo>
                <a:lnTo>
                  <a:pt x="6308" y="893"/>
                </a:lnTo>
                <a:lnTo>
                  <a:pt x="6305" y="907"/>
                </a:lnTo>
                <a:lnTo>
                  <a:pt x="6302" y="922"/>
                </a:lnTo>
                <a:lnTo>
                  <a:pt x="6298" y="937"/>
                </a:lnTo>
                <a:lnTo>
                  <a:pt x="6294" y="951"/>
                </a:lnTo>
                <a:lnTo>
                  <a:pt x="6289" y="964"/>
                </a:lnTo>
                <a:lnTo>
                  <a:pt x="6284" y="978"/>
                </a:lnTo>
                <a:lnTo>
                  <a:pt x="6278" y="990"/>
                </a:lnTo>
                <a:lnTo>
                  <a:pt x="6272" y="1004"/>
                </a:lnTo>
                <a:lnTo>
                  <a:pt x="6264" y="1016"/>
                </a:lnTo>
                <a:lnTo>
                  <a:pt x="6257" y="1027"/>
                </a:lnTo>
                <a:lnTo>
                  <a:pt x="6250" y="1039"/>
                </a:lnTo>
                <a:lnTo>
                  <a:pt x="6242" y="1049"/>
                </a:lnTo>
                <a:lnTo>
                  <a:pt x="6234" y="1060"/>
                </a:lnTo>
                <a:lnTo>
                  <a:pt x="6226" y="1070"/>
                </a:lnTo>
                <a:lnTo>
                  <a:pt x="6217" y="1079"/>
                </a:lnTo>
                <a:lnTo>
                  <a:pt x="6207" y="1087"/>
                </a:lnTo>
                <a:lnTo>
                  <a:pt x="6198" y="1095"/>
                </a:lnTo>
                <a:lnTo>
                  <a:pt x="6188" y="1103"/>
                </a:lnTo>
                <a:lnTo>
                  <a:pt x="6178" y="1109"/>
                </a:lnTo>
                <a:lnTo>
                  <a:pt x="6168" y="1116"/>
                </a:lnTo>
                <a:lnTo>
                  <a:pt x="6157" y="1121"/>
                </a:lnTo>
                <a:lnTo>
                  <a:pt x="6145" y="1126"/>
                </a:lnTo>
                <a:lnTo>
                  <a:pt x="6134" y="1129"/>
                </a:lnTo>
                <a:lnTo>
                  <a:pt x="6123" y="1132"/>
                </a:lnTo>
                <a:lnTo>
                  <a:pt x="6111" y="1134"/>
                </a:lnTo>
                <a:lnTo>
                  <a:pt x="6099" y="1136"/>
                </a:lnTo>
                <a:lnTo>
                  <a:pt x="6086" y="1136"/>
                </a:lnTo>
                <a:close/>
                <a:moveTo>
                  <a:pt x="6474" y="1130"/>
                </a:moveTo>
                <a:lnTo>
                  <a:pt x="6472" y="1130"/>
                </a:lnTo>
                <a:lnTo>
                  <a:pt x="6470" y="1129"/>
                </a:lnTo>
                <a:lnTo>
                  <a:pt x="6464" y="1127"/>
                </a:lnTo>
                <a:lnTo>
                  <a:pt x="6458" y="1122"/>
                </a:lnTo>
                <a:lnTo>
                  <a:pt x="6451" y="1117"/>
                </a:lnTo>
                <a:lnTo>
                  <a:pt x="6437" y="1105"/>
                </a:lnTo>
                <a:lnTo>
                  <a:pt x="6422" y="1091"/>
                </a:lnTo>
                <a:lnTo>
                  <a:pt x="6406" y="1075"/>
                </a:lnTo>
                <a:lnTo>
                  <a:pt x="6388" y="1058"/>
                </a:lnTo>
                <a:lnTo>
                  <a:pt x="6372" y="1040"/>
                </a:lnTo>
                <a:lnTo>
                  <a:pt x="6358" y="1024"/>
                </a:lnTo>
                <a:lnTo>
                  <a:pt x="6346" y="1010"/>
                </a:lnTo>
                <a:lnTo>
                  <a:pt x="6342" y="1004"/>
                </a:lnTo>
                <a:lnTo>
                  <a:pt x="6339" y="998"/>
                </a:lnTo>
                <a:lnTo>
                  <a:pt x="6334" y="987"/>
                </a:lnTo>
                <a:lnTo>
                  <a:pt x="6329" y="977"/>
                </a:lnTo>
                <a:lnTo>
                  <a:pt x="6326" y="968"/>
                </a:lnTo>
                <a:lnTo>
                  <a:pt x="6326" y="958"/>
                </a:lnTo>
                <a:lnTo>
                  <a:pt x="6326" y="952"/>
                </a:lnTo>
                <a:lnTo>
                  <a:pt x="6327" y="946"/>
                </a:lnTo>
                <a:lnTo>
                  <a:pt x="6328" y="941"/>
                </a:lnTo>
                <a:lnTo>
                  <a:pt x="6331" y="935"/>
                </a:lnTo>
                <a:lnTo>
                  <a:pt x="6334" y="927"/>
                </a:lnTo>
                <a:lnTo>
                  <a:pt x="6337" y="921"/>
                </a:lnTo>
                <a:lnTo>
                  <a:pt x="6341" y="914"/>
                </a:lnTo>
                <a:lnTo>
                  <a:pt x="6345" y="908"/>
                </a:lnTo>
                <a:lnTo>
                  <a:pt x="6353" y="897"/>
                </a:lnTo>
                <a:lnTo>
                  <a:pt x="6365" y="883"/>
                </a:lnTo>
                <a:lnTo>
                  <a:pt x="6395" y="848"/>
                </a:lnTo>
                <a:lnTo>
                  <a:pt x="6430" y="808"/>
                </a:lnTo>
                <a:lnTo>
                  <a:pt x="6466" y="768"/>
                </a:lnTo>
                <a:lnTo>
                  <a:pt x="6467" y="768"/>
                </a:lnTo>
                <a:lnTo>
                  <a:pt x="6470" y="767"/>
                </a:lnTo>
                <a:lnTo>
                  <a:pt x="6474" y="768"/>
                </a:lnTo>
                <a:lnTo>
                  <a:pt x="6478" y="769"/>
                </a:lnTo>
                <a:lnTo>
                  <a:pt x="6482" y="771"/>
                </a:lnTo>
                <a:lnTo>
                  <a:pt x="6487" y="773"/>
                </a:lnTo>
                <a:lnTo>
                  <a:pt x="6491" y="776"/>
                </a:lnTo>
                <a:lnTo>
                  <a:pt x="6495" y="780"/>
                </a:lnTo>
                <a:lnTo>
                  <a:pt x="6498" y="784"/>
                </a:lnTo>
                <a:lnTo>
                  <a:pt x="6501" y="789"/>
                </a:lnTo>
                <a:lnTo>
                  <a:pt x="6503" y="794"/>
                </a:lnTo>
                <a:lnTo>
                  <a:pt x="6503" y="798"/>
                </a:lnTo>
                <a:lnTo>
                  <a:pt x="6502" y="804"/>
                </a:lnTo>
                <a:lnTo>
                  <a:pt x="6501" y="809"/>
                </a:lnTo>
                <a:lnTo>
                  <a:pt x="6498" y="816"/>
                </a:lnTo>
                <a:lnTo>
                  <a:pt x="6494" y="822"/>
                </a:lnTo>
                <a:lnTo>
                  <a:pt x="6486" y="832"/>
                </a:lnTo>
                <a:lnTo>
                  <a:pt x="6474" y="846"/>
                </a:lnTo>
                <a:lnTo>
                  <a:pt x="6444" y="879"/>
                </a:lnTo>
                <a:lnTo>
                  <a:pt x="6415" y="913"/>
                </a:lnTo>
                <a:lnTo>
                  <a:pt x="6403" y="927"/>
                </a:lnTo>
                <a:lnTo>
                  <a:pt x="6393" y="940"/>
                </a:lnTo>
                <a:lnTo>
                  <a:pt x="6391" y="944"/>
                </a:lnTo>
                <a:lnTo>
                  <a:pt x="6388" y="947"/>
                </a:lnTo>
                <a:lnTo>
                  <a:pt x="6387" y="951"/>
                </a:lnTo>
                <a:lnTo>
                  <a:pt x="6387" y="954"/>
                </a:lnTo>
                <a:lnTo>
                  <a:pt x="6387" y="959"/>
                </a:lnTo>
                <a:lnTo>
                  <a:pt x="6388" y="963"/>
                </a:lnTo>
                <a:lnTo>
                  <a:pt x="6392" y="968"/>
                </a:lnTo>
                <a:lnTo>
                  <a:pt x="6395" y="972"/>
                </a:lnTo>
                <a:lnTo>
                  <a:pt x="6402" y="981"/>
                </a:lnTo>
                <a:lnTo>
                  <a:pt x="6412" y="994"/>
                </a:lnTo>
                <a:lnTo>
                  <a:pt x="6440" y="1023"/>
                </a:lnTo>
                <a:lnTo>
                  <a:pt x="6473" y="1056"/>
                </a:lnTo>
                <a:lnTo>
                  <a:pt x="6504" y="1087"/>
                </a:lnTo>
                <a:lnTo>
                  <a:pt x="6505" y="1088"/>
                </a:lnTo>
                <a:lnTo>
                  <a:pt x="6507" y="1091"/>
                </a:lnTo>
                <a:lnTo>
                  <a:pt x="6508" y="1093"/>
                </a:lnTo>
                <a:lnTo>
                  <a:pt x="6508" y="1095"/>
                </a:lnTo>
                <a:lnTo>
                  <a:pt x="6507" y="1101"/>
                </a:lnTo>
                <a:lnTo>
                  <a:pt x="6506" y="1104"/>
                </a:lnTo>
                <a:lnTo>
                  <a:pt x="6505" y="1107"/>
                </a:lnTo>
                <a:lnTo>
                  <a:pt x="6501" y="1113"/>
                </a:lnTo>
                <a:lnTo>
                  <a:pt x="6499" y="1116"/>
                </a:lnTo>
                <a:lnTo>
                  <a:pt x="6497" y="1119"/>
                </a:lnTo>
                <a:lnTo>
                  <a:pt x="6491" y="1123"/>
                </a:lnTo>
                <a:lnTo>
                  <a:pt x="6488" y="1125"/>
                </a:lnTo>
                <a:lnTo>
                  <a:pt x="6485" y="1127"/>
                </a:lnTo>
                <a:lnTo>
                  <a:pt x="6480" y="1129"/>
                </a:lnTo>
                <a:lnTo>
                  <a:pt x="6477" y="1130"/>
                </a:lnTo>
                <a:lnTo>
                  <a:pt x="6474" y="1130"/>
                </a:lnTo>
                <a:close/>
                <a:moveTo>
                  <a:pt x="6086" y="2129"/>
                </a:moveTo>
                <a:lnTo>
                  <a:pt x="6078" y="2129"/>
                </a:lnTo>
                <a:lnTo>
                  <a:pt x="6071" y="2128"/>
                </a:lnTo>
                <a:lnTo>
                  <a:pt x="6063" y="2127"/>
                </a:lnTo>
                <a:lnTo>
                  <a:pt x="6056" y="2126"/>
                </a:lnTo>
                <a:lnTo>
                  <a:pt x="6049" y="2124"/>
                </a:lnTo>
                <a:lnTo>
                  <a:pt x="6041" y="2121"/>
                </a:lnTo>
                <a:lnTo>
                  <a:pt x="6027" y="2116"/>
                </a:lnTo>
                <a:lnTo>
                  <a:pt x="6014" y="2108"/>
                </a:lnTo>
                <a:lnTo>
                  <a:pt x="6007" y="2104"/>
                </a:lnTo>
                <a:lnTo>
                  <a:pt x="6001" y="2100"/>
                </a:lnTo>
                <a:lnTo>
                  <a:pt x="5995" y="2095"/>
                </a:lnTo>
                <a:lnTo>
                  <a:pt x="5990" y="2090"/>
                </a:lnTo>
                <a:lnTo>
                  <a:pt x="5984" y="2084"/>
                </a:lnTo>
                <a:lnTo>
                  <a:pt x="5979" y="2078"/>
                </a:lnTo>
                <a:lnTo>
                  <a:pt x="5974" y="2072"/>
                </a:lnTo>
                <a:lnTo>
                  <a:pt x="5969" y="2065"/>
                </a:lnTo>
                <a:lnTo>
                  <a:pt x="5964" y="2058"/>
                </a:lnTo>
                <a:lnTo>
                  <a:pt x="5960" y="2051"/>
                </a:lnTo>
                <a:lnTo>
                  <a:pt x="5956" y="2044"/>
                </a:lnTo>
                <a:lnTo>
                  <a:pt x="5952" y="2037"/>
                </a:lnTo>
                <a:lnTo>
                  <a:pt x="5949" y="2029"/>
                </a:lnTo>
                <a:lnTo>
                  <a:pt x="5946" y="2022"/>
                </a:lnTo>
                <a:lnTo>
                  <a:pt x="5943" y="2014"/>
                </a:lnTo>
                <a:lnTo>
                  <a:pt x="5941" y="2005"/>
                </a:lnTo>
                <a:lnTo>
                  <a:pt x="5939" y="1996"/>
                </a:lnTo>
                <a:lnTo>
                  <a:pt x="5937" y="1988"/>
                </a:lnTo>
                <a:lnTo>
                  <a:pt x="5936" y="1979"/>
                </a:lnTo>
                <a:lnTo>
                  <a:pt x="5935" y="1970"/>
                </a:lnTo>
                <a:lnTo>
                  <a:pt x="5935" y="1961"/>
                </a:lnTo>
                <a:lnTo>
                  <a:pt x="5934" y="1952"/>
                </a:lnTo>
                <a:lnTo>
                  <a:pt x="5935" y="1932"/>
                </a:lnTo>
                <a:lnTo>
                  <a:pt x="5936" y="1923"/>
                </a:lnTo>
                <a:lnTo>
                  <a:pt x="5938" y="1914"/>
                </a:lnTo>
                <a:lnTo>
                  <a:pt x="5939" y="1905"/>
                </a:lnTo>
                <a:lnTo>
                  <a:pt x="5941" y="1896"/>
                </a:lnTo>
                <a:lnTo>
                  <a:pt x="5944" y="1886"/>
                </a:lnTo>
                <a:lnTo>
                  <a:pt x="5947" y="1878"/>
                </a:lnTo>
                <a:lnTo>
                  <a:pt x="5950" y="1869"/>
                </a:lnTo>
                <a:lnTo>
                  <a:pt x="5953" y="1861"/>
                </a:lnTo>
                <a:lnTo>
                  <a:pt x="5957" y="1853"/>
                </a:lnTo>
                <a:lnTo>
                  <a:pt x="5961" y="1845"/>
                </a:lnTo>
                <a:lnTo>
                  <a:pt x="5966" y="1838"/>
                </a:lnTo>
                <a:lnTo>
                  <a:pt x="5971" y="1829"/>
                </a:lnTo>
                <a:lnTo>
                  <a:pt x="5982" y="1815"/>
                </a:lnTo>
                <a:lnTo>
                  <a:pt x="5987" y="1809"/>
                </a:lnTo>
                <a:lnTo>
                  <a:pt x="5993" y="1803"/>
                </a:lnTo>
                <a:lnTo>
                  <a:pt x="6005" y="1791"/>
                </a:lnTo>
                <a:lnTo>
                  <a:pt x="6012" y="1786"/>
                </a:lnTo>
                <a:lnTo>
                  <a:pt x="6018" y="1781"/>
                </a:lnTo>
                <a:lnTo>
                  <a:pt x="6025" y="1777"/>
                </a:lnTo>
                <a:lnTo>
                  <a:pt x="6033" y="1773"/>
                </a:lnTo>
                <a:lnTo>
                  <a:pt x="6040" y="1768"/>
                </a:lnTo>
                <a:lnTo>
                  <a:pt x="6048" y="1765"/>
                </a:lnTo>
                <a:lnTo>
                  <a:pt x="6055" y="1762"/>
                </a:lnTo>
                <a:lnTo>
                  <a:pt x="6063" y="1760"/>
                </a:lnTo>
                <a:lnTo>
                  <a:pt x="6071" y="1758"/>
                </a:lnTo>
                <a:lnTo>
                  <a:pt x="6079" y="1757"/>
                </a:lnTo>
                <a:lnTo>
                  <a:pt x="6087" y="1756"/>
                </a:lnTo>
                <a:lnTo>
                  <a:pt x="6096" y="1756"/>
                </a:lnTo>
                <a:lnTo>
                  <a:pt x="6107" y="1756"/>
                </a:lnTo>
                <a:lnTo>
                  <a:pt x="6111" y="1757"/>
                </a:lnTo>
                <a:lnTo>
                  <a:pt x="6116" y="1758"/>
                </a:lnTo>
                <a:lnTo>
                  <a:pt x="6121" y="1759"/>
                </a:lnTo>
                <a:lnTo>
                  <a:pt x="6125" y="1760"/>
                </a:lnTo>
                <a:lnTo>
                  <a:pt x="6134" y="1763"/>
                </a:lnTo>
                <a:lnTo>
                  <a:pt x="6142" y="1767"/>
                </a:lnTo>
                <a:lnTo>
                  <a:pt x="6149" y="1773"/>
                </a:lnTo>
                <a:lnTo>
                  <a:pt x="6157" y="1778"/>
                </a:lnTo>
                <a:lnTo>
                  <a:pt x="6163" y="1784"/>
                </a:lnTo>
                <a:lnTo>
                  <a:pt x="6165" y="1787"/>
                </a:lnTo>
                <a:lnTo>
                  <a:pt x="6168" y="1791"/>
                </a:lnTo>
                <a:lnTo>
                  <a:pt x="6173" y="1798"/>
                </a:lnTo>
                <a:lnTo>
                  <a:pt x="6177" y="1806"/>
                </a:lnTo>
                <a:lnTo>
                  <a:pt x="6180" y="1814"/>
                </a:lnTo>
                <a:lnTo>
                  <a:pt x="6183" y="1823"/>
                </a:lnTo>
                <a:lnTo>
                  <a:pt x="6185" y="1833"/>
                </a:lnTo>
                <a:lnTo>
                  <a:pt x="6186" y="1842"/>
                </a:lnTo>
                <a:lnTo>
                  <a:pt x="6186" y="1852"/>
                </a:lnTo>
                <a:lnTo>
                  <a:pt x="6185" y="1865"/>
                </a:lnTo>
                <a:lnTo>
                  <a:pt x="6184" y="1871"/>
                </a:lnTo>
                <a:lnTo>
                  <a:pt x="6183" y="1877"/>
                </a:lnTo>
                <a:lnTo>
                  <a:pt x="6179" y="1889"/>
                </a:lnTo>
                <a:lnTo>
                  <a:pt x="6174" y="1902"/>
                </a:lnTo>
                <a:lnTo>
                  <a:pt x="6168" y="1913"/>
                </a:lnTo>
                <a:lnTo>
                  <a:pt x="6161" y="1923"/>
                </a:lnTo>
                <a:lnTo>
                  <a:pt x="6157" y="1928"/>
                </a:lnTo>
                <a:lnTo>
                  <a:pt x="6153" y="1933"/>
                </a:lnTo>
                <a:lnTo>
                  <a:pt x="6142" y="1943"/>
                </a:lnTo>
                <a:lnTo>
                  <a:pt x="6132" y="1952"/>
                </a:lnTo>
                <a:lnTo>
                  <a:pt x="6127" y="1956"/>
                </a:lnTo>
                <a:lnTo>
                  <a:pt x="6122" y="1960"/>
                </a:lnTo>
                <a:lnTo>
                  <a:pt x="6110" y="1966"/>
                </a:lnTo>
                <a:lnTo>
                  <a:pt x="6099" y="1972"/>
                </a:lnTo>
                <a:lnTo>
                  <a:pt x="6086" y="1976"/>
                </a:lnTo>
                <a:lnTo>
                  <a:pt x="6079" y="1978"/>
                </a:lnTo>
                <a:lnTo>
                  <a:pt x="6073" y="1980"/>
                </a:lnTo>
                <a:lnTo>
                  <a:pt x="6067" y="1981"/>
                </a:lnTo>
                <a:lnTo>
                  <a:pt x="6061" y="1982"/>
                </a:lnTo>
                <a:lnTo>
                  <a:pt x="6048" y="1982"/>
                </a:lnTo>
                <a:lnTo>
                  <a:pt x="6043" y="1982"/>
                </a:lnTo>
                <a:lnTo>
                  <a:pt x="6038" y="1980"/>
                </a:lnTo>
                <a:lnTo>
                  <a:pt x="6033" y="1977"/>
                </a:lnTo>
                <a:lnTo>
                  <a:pt x="6031" y="1975"/>
                </a:lnTo>
                <a:lnTo>
                  <a:pt x="6029" y="1973"/>
                </a:lnTo>
                <a:lnTo>
                  <a:pt x="6025" y="1969"/>
                </a:lnTo>
                <a:lnTo>
                  <a:pt x="6023" y="1963"/>
                </a:lnTo>
                <a:lnTo>
                  <a:pt x="6022" y="1961"/>
                </a:lnTo>
                <a:lnTo>
                  <a:pt x="6022" y="1958"/>
                </a:lnTo>
                <a:lnTo>
                  <a:pt x="6021" y="1950"/>
                </a:lnTo>
                <a:lnTo>
                  <a:pt x="6021" y="1947"/>
                </a:lnTo>
                <a:lnTo>
                  <a:pt x="6021" y="1945"/>
                </a:lnTo>
                <a:lnTo>
                  <a:pt x="6023" y="1940"/>
                </a:lnTo>
                <a:lnTo>
                  <a:pt x="6024" y="1938"/>
                </a:lnTo>
                <a:lnTo>
                  <a:pt x="6025" y="1936"/>
                </a:lnTo>
                <a:lnTo>
                  <a:pt x="6026" y="1934"/>
                </a:lnTo>
                <a:lnTo>
                  <a:pt x="6028" y="1933"/>
                </a:lnTo>
                <a:lnTo>
                  <a:pt x="6040" y="1931"/>
                </a:lnTo>
                <a:lnTo>
                  <a:pt x="6050" y="1928"/>
                </a:lnTo>
                <a:lnTo>
                  <a:pt x="6061" y="1925"/>
                </a:lnTo>
                <a:lnTo>
                  <a:pt x="6070" y="1921"/>
                </a:lnTo>
                <a:lnTo>
                  <a:pt x="6079" y="1917"/>
                </a:lnTo>
                <a:lnTo>
                  <a:pt x="6088" y="1911"/>
                </a:lnTo>
                <a:lnTo>
                  <a:pt x="6097" y="1906"/>
                </a:lnTo>
                <a:lnTo>
                  <a:pt x="6100" y="1903"/>
                </a:lnTo>
                <a:lnTo>
                  <a:pt x="6104" y="1900"/>
                </a:lnTo>
                <a:lnTo>
                  <a:pt x="6110" y="1894"/>
                </a:lnTo>
                <a:lnTo>
                  <a:pt x="6116" y="1886"/>
                </a:lnTo>
                <a:lnTo>
                  <a:pt x="6121" y="1880"/>
                </a:lnTo>
                <a:lnTo>
                  <a:pt x="6125" y="1873"/>
                </a:lnTo>
                <a:lnTo>
                  <a:pt x="6128" y="1866"/>
                </a:lnTo>
                <a:lnTo>
                  <a:pt x="6131" y="1859"/>
                </a:lnTo>
                <a:lnTo>
                  <a:pt x="6132" y="1852"/>
                </a:lnTo>
                <a:lnTo>
                  <a:pt x="6133" y="1845"/>
                </a:lnTo>
                <a:lnTo>
                  <a:pt x="6132" y="1837"/>
                </a:lnTo>
                <a:lnTo>
                  <a:pt x="6130" y="1828"/>
                </a:lnTo>
                <a:lnTo>
                  <a:pt x="6129" y="1825"/>
                </a:lnTo>
                <a:lnTo>
                  <a:pt x="6127" y="1822"/>
                </a:lnTo>
                <a:lnTo>
                  <a:pt x="6125" y="1819"/>
                </a:lnTo>
                <a:lnTo>
                  <a:pt x="6122" y="1817"/>
                </a:lnTo>
                <a:lnTo>
                  <a:pt x="6116" y="1812"/>
                </a:lnTo>
                <a:lnTo>
                  <a:pt x="6113" y="1811"/>
                </a:lnTo>
                <a:lnTo>
                  <a:pt x="6109" y="1809"/>
                </a:lnTo>
                <a:lnTo>
                  <a:pt x="6102" y="1807"/>
                </a:lnTo>
                <a:lnTo>
                  <a:pt x="6097" y="1807"/>
                </a:lnTo>
                <a:lnTo>
                  <a:pt x="6093" y="1807"/>
                </a:lnTo>
                <a:lnTo>
                  <a:pt x="6083" y="1807"/>
                </a:lnTo>
                <a:lnTo>
                  <a:pt x="6078" y="1808"/>
                </a:lnTo>
                <a:lnTo>
                  <a:pt x="6074" y="1810"/>
                </a:lnTo>
                <a:lnTo>
                  <a:pt x="6070" y="1811"/>
                </a:lnTo>
                <a:lnTo>
                  <a:pt x="6065" y="1813"/>
                </a:lnTo>
                <a:lnTo>
                  <a:pt x="6061" y="1815"/>
                </a:lnTo>
                <a:lnTo>
                  <a:pt x="6056" y="1818"/>
                </a:lnTo>
                <a:lnTo>
                  <a:pt x="6052" y="1821"/>
                </a:lnTo>
                <a:lnTo>
                  <a:pt x="6048" y="1824"/>
                </a:lnTo>
                <a:lnTo>
                  <a:pt x="6040" y="1832"/>
                </a:lnTo>
                <a:lnTo>
                  <a:pt x="6032" y="1840"/>
                </a:lnTo>
                <a:lnTo>
                  <a:pt x="6023" y="1849"/>
                </a:lnTo>
                <a:lnTo>
                  <a:pt x="6020" y="1854"/>
                </a:lnTo>
                <a:lnTo>
                  <a:pt x="6016" y="1859"/>
                </a:lnTo>
                <a:lnTo>
                  <a:pt x="6010" y="1870"/>
                </a:lnTo>
                <a:lnTo>
                  <a:pt x="6005" y="1881"/>
                </a:lnTo>
                <a:lnTo>
                  <a:pt x="6000" y="1894"/>
                </a:lnTo>
                <a:lnTo>
                  <a:pt x="5996" y="1907"/>
                </a:lnTo>
                <a:lnTo>
                  <a:pt x="5993" y="1920"/>
                </a:lnTo>
                <a:lnTo>
                  <a:pt x="5992" y="1934"/>
                </a:lnTo>
                <a:lnTo>
                  <a:pt x="5991" y="1941"/>
                </a:lnTo>
                <a:lnTo>
                  <a:pt x="5991" y="1948"/>
                </a:lnTo>
                <a:lnTo>
                  <a:pt x="5991" y="1962"/>
                </a:lnTo>
                <a:lnTo>
                  <a:pt x="5993" y="1974"/>
                </a:lnTo>
                <a:lnTo>
                  <a:pt x="5995" y="1986"/>
                </a:lnTo>
                <a:lnTo>
                  <a:pt x="5996" y="1991"/>
                </a:lnTo>
                <a:lnTo>
                  <a:pt x="5998" y="1997"/>
                </a:lnTo>
                <a:lnTo>
                  <a:pt x="6001" y="2007"/>
                </a:lnTo>
                <a:lnTo>
                  <a:pt x="6004" y="2013"/>
                </a:lnTo>
                <a:lnTo>
                  <a:pt x="6006" y="2018"/>
                </a:lnTo>
                <a:lnTo>
                  <a:pt x="6008" y="2023"/>
                </a:lnTo>
                <a:lnTo>
                  <a:pt x="6011" y="2027"/>
                </a:lnTo>
                <a:lnTo>
                  <a:pt x="6014" y="2031"/>
                </a:lnTo>
                <a:lnTo>
                  <a:pt x="6017" y="2035"/>
                </a:lnTo>
                <a:lnTo>
                  <a:pt x="6020" y="2039"/>
                </a:lnTo>
                <a:lnTo>
                  <a:pt x="6024" y="2043"/>
                </a:lnTo>
                <a:lnTo>
                  <a:pt x="6032" y="2050"/>
                </a:lnTo>
                <a:lnTo>
                  <a:pt x="6040" y="2055"/>
                </a:lnTo>
                <a:lnTo>
                  <a:pt x="6048" y="2060"/>
                </a:lnTo>
                <a:lnTo>
                  <a:pt x="6057" y="2064"/>
                </a:lnTo>
                <a:lnTo>
                  <a:pt x="6067" y="2067"/>
                </a:lnTo>
                <a:lnTo>
                  <a:pt x="6077" y="2068"/>
                </a:lnTo>
                <a:lnTo>
                  <a:pt x="6082" y="2069"/>
                </a:lnTo>
                <a:lnTo>
                  <a:pt x="6088" y="2069"/>
                </a:lnTo>
                <a:lnTo>
                  <a:pt x="6099" y="2068"/>
                </a:lnTo>
                <a:lnTo>
                  <a:pt x="6110" y="2067"/>
                </a:lnTo>
                <a:lnTo>
                  <a:pt x="6119" y="2064"/>
                </a:lnTo>
                <a:lnTo>
                  <a:pt x="6129" y="2061"/>
                </a:lnTo>
                <a:lnTo>
                  <a:pt x="6138" y="2057"/>
                </a:lnTo>
                <a:lnTo>
                  <a:pt x="6147" y="2052"/>
                </a:lnTo>
                <a:lnTo>
                  <a:pt x="6157" y="2046"/>
                </a:lnTo>
                <a:lnTo>
                  <a:pt x="6165" y="2039"/>
                </a:lnTo>
                <a:lnTo>
                  <a:pt x="6173" y="2032"/>
                </a:lnTo>
                <a:lnTo>
                  <a:pt x="6181" y="2024"/>
                </a:lnTo>
                <a:lnTo>
                  <a:pt x="6188" y="2016"/>
                </a:lnTo>
                <a:lnTo>
                  <a:pt x="6195" y="2006"/>
                </a:lnTo>
                <a:lnTo>
                  <a:pt x="6208" y="1986"/>
                </a:lnTo>
                <a:lnTo>
                  <a:pt x="6215" y="1976"/>
                </a:lnTo>
                <a:lnTo>
                  <a:pt x="6220" y="1965"/>
                </a:lnTo>
                <a:lnTo>
                  <a:pt x="6226" y="1954"/>
                </a:lnTo>
                <a:lnTo>
                  <a:pt x="6230" y="1942"/>
                </a:lnTo>
                <a:lnTo>
                  <a:pt x="6235" y="1930"/>
                </a:lnTo>
                <a:lnTo>
                  <a:pt x="6239" y="1919"/>
                </a:lnTo>
                <a:lnTo>
                  <a:pt x="6243" y="1907"/>
                </a:lnTo>
                <a:lnTo>
                  <a:pt x="6246" y="1895"/>
                </a:lnTo>
                <a:lnTo>
                  <a:pt x="6249" y="1882"/>
                </a:lnTo>
                <a:lnTo>
                  <a:pt x="6252" y="1870"/>
                </a:lnTo>
                <a:lnTo>
                  <a:pt x="6254" y="1858"/>
                </a:lnTo>
                <a:lnTo>
                  <a:pt x="6256" y="1846"/>
                </a:lnTo>
                <a:lnTo>
                  <a:pt x="6257" y="1834"/>
                </a:lnTo>
                <a:lnTo>
                  <a:pt x="6258" y="1822"/>
                </a:lnTo>
                <a:lnTo>
                  <a:pt x="6259" y="1810"/>
                </a:lnTo>
                <a:lnTo>
                  <a:pt x="6259" y="1799"/>
                </a:lnTo>
                <a:lnTo>
                  <a:pt x="6259" y="1788"/>
                </a:lnTo>
                <a:lnTo>
                  <a:pt x="6259" y="1778"/>
                </a:lnTo>
                <a:lnTo>
                  <a:pt x="6260" y="1776"/>
                </a:lnTo>
                <a:lnTo>
                  <a:pt x="6261" y="1773"/>
                </a:lnTo>
                <a:lnTo>
                  <a:pt x="6264" y="1770"/>
                </a:lnTo>
                <a:lnTo>
                  <a:pt x="6266" y="1769"/>
                </a:lnTo>
                <a:lnTo>
                  <a:pt x="6274" y="1766"/>
                </a:lnTo>
                <a:lnTo>
                  <a:pt x="6278" y="1765"/>
                </a:lnTo>
                <a:lnTo>
                  <a:pt x="6282" y="1765"/>
                </a:lnTo>
                <a:lnTo>
                  <a:pt x="6289" y="1765"/>
                </a:lnTo>
                <a:lnTo>
                  <a:pt x="6293" y="1766"/>
                </a:lnTo>
                <a:lnTo>
                  <a:pt x="6296" y="1767"/>
                </a:lnTo>
                <a:lnTo>
                  <a:pt x="6302" y="1770"/>
                </a:lnTo>
                <a:lnTo>
                  <a:pt x="6304" y="1773"/>
                </a:lnTo>
                <a:lnTo>
                  <a:pt x="6307" y="1775"/>
                </a:lnTo>
                <a:lnTo>
                  <a:pt x="6311" y="1781"/>
                </a:lnTo>
                <a:lnTo>
                  <a:pt x="6312" y="1784"/>
                </a:lnTo>
                <a:lnTo>
                  <a:pt x="6314" y="1788"/>
                </a:lnTo>
                <a:lnTo>
                  <a:pt x="6315" y="1793"/>
                </a:lnTo>
                <a:lnTo>
                  <a:pt x="6315" y="1797"/>
                </a:lnTo>
                <a:lnTo>
                  <a:pt x="6316" y="1803"/>
                </a:lnTo>
                <a:lnTo>
                  <a:pt x="6316" y="1809"/>
                </a:lnTo>
                <a:lnTo>
                  <a:pt x="6316" y="1824"/>
                </a:lnTo>
                <a:lnTo>
                  <a:pt x="6315" y="1841"/>
                </a:lnTo>
                <a:lnTo>
                  <a:pt x="6313" y="1856"/>
                </a:lnTo>
                <a:lnTo>
                  <a:pt x="6311" y="1871"/>
                </a:lnTo>
                <a:lnTo>
                  <a:pt x="6308" y="1886"/>
                </a:lnTo>
                <a:lnTo>
                  <a:pt x="6305" y="1902"/>
                </a:lnTo>
                <a:lnTo>
                  <a:pt x="6302" y="1916"/>
                </a:lnTo>
                <a:lnTo>
                  <a:pt x="6298" y="1930"/>
                </a:lnTo>
                <a:lnTo>
                  <a:pt x="6294" y="1944"/>
                </a:lnTo>
                <a:lnTo>
                  <a:pt x="6289" y="1959"/>
                </a:lnTo>
                <a:lnTo>
                  <a:pt x="6284" y="1972"/>
                </a:lnTo>
                <a:lnTo>
                  <a:pt x="6278" y="1985"/>
                </a:lnTo>
                <a:lnTo>
                  <a:pt x="6272" y="1997"/>
                </a:lnTo>
                <a:lnTo>
                  <a:pt x="6264" y="2009"/>
                </a:lnTo>
                <a:lnTo>
                  <a:pt x="6257" y="2022"/>
                </a:lnTo>
                <a:lnTo>
                  <a:pt x="6250" y="2033"/>
                </a:lnTo>
                <a:lnTo>
                  <a:pt x="6242" y="2043"/>
                </a:lnTo>
                <a:lnTo>
                  <a:pt x="6234" y="2054"/>
                </a:lnTo>
                <a:lnTo>
                  <a:pt x="6226" y="2063"/>
                </a:lnTo>
                <a:lnTo>
                  <a:pt x="6217" y="2073"/>
                </a:lnTo>
                <a:lnTo>
                  <a:pt x="6207" y="2082"/>
                </a:lnTo>
                <a:lnTo>
                  <a:pt x="6198" y="2090"/>
                </a:lnTo>
                <a:lnTo>
                  <a:pt x="6188" y="2097"/>
                </a:lnTo>
                <a:lnTo>
                  <a:pt x="6178" y="2103"/>
                </a:lnTo>
                <a:lnTo>
                  <a:pt x="6168" y="2109"/>
                </a:lnTo>
                <a:lnTo>
                  <a:pt x="6157" y="2114"/>
                </a:lnTo>
                <a:lnTo>
                  <a:pt x="6145" y="2119"/>
                </a:lnTo>
                <a:lnTo>
                  <a:pt x="6134" y="2122"/>
                </a:lnTo>
                <a:lnTo>
                  <a:pt x="6123" y="2125"/>
                </a:lnTo>
                <a:lnTo>
                  <a:pt x="6111" y="2127"/>
                </a:lnTo>
                <a:lnTo>
                  <a:pt x="6099" y="2129"/>
                </a:lnTo>
                <a:lnTo>
                  <a:pt x="6086" y="2129"/>
                </a:lnTo>
                <a:close/>
                <a:moveTo>
                  <a:pt x="6474" y="2123"/>
                </a:moveTo>
                <a:lnTo>
                  <a:pt x="6472" y="2123"/>
                </a:lnTo>
                <a:lnTo>
                  <a:pt x="6470" y="2123"/>
                </a:lnTo>
                <a:lnTo>
                  <a:pt x="6464" y="2120"/>
                </a:lnTo>
                <a:lnTo>
                  <a:pt x="6458" y="2116"/>
                </a:lnTo>
                <a:lnTo>
                  <a:pt x="6451" y="2110"/>
                </a:lnTo>
                <a:lnTo>
                  <a:pt x="6437" y="2099"/>
                </a:lnTo>
                <a:lnTo>
                  <a:pt x="6422" y="2085"/>
                </a:lnTo>
                <a:lnTo>
                  <a:pt x="6406" y="2068"/>
                </a:lnTo>
                <a:lnTo>
                  <a:pt x="6388" y="2051"/>
                </a:lnTo>
                <a:lnTo>
                  <a:pt x="6372" y="2034"/>
                </a:lnTo>
                <a:lnTo>
                  <a:pt x="6358" y="2018"/>
                </a:lnTo>
                <a:lnTo>
                  <a:pt x="6346" y="2003"/>
                </a:lnTo>
                <a:lnTo>
                  <a:pt x="6342" y="1997"/>
                </a:lnTo>
                <a:lnTo>
                  <a:pt x="6339" y="1991"/>
                </a:lnTo>
                <a:lnTo>
                  <a:pt x="6334" y="1981"/>
                </a:lnTo>
                <a:lnTo>
                  <a:pt x="6329" y="1971"/>
                </a:lnTo>
                <a:lnTo>
                  <a:pt x="6326" y="1962"/>
                </a:lnTo>
                <a:lnTo>
                  <a:pt x="6326" y="1952"/>
                </a:lnTo>
                <a:lnTo>
                  <a:pt x="6326" y="1945"/>
                </a:lnTo>
                <a:lnTo>
                  <a:pt x="6327" y="1940"/>
                </a:lnTo>
                <a:lnTo>
                  <a:pt x="6328" y="1934"/>
                </a:lnTo>
                <a:lnTo>
                  <a:pt x="6331" y="1928"/>
                </a:lnTo>
                <a:lnTo>
                  <a:pt x="6334" y="1922"/>
                </a:lnTo>
                <a:lnTo>
                  <a:pt x="6337" y="1915"/>
                </a:lnTo>
                <a:lnTo>
                  <a:pt x="6341" y="1909"/>
                </a:lnTo>
                <a:lnTo>
                  <a:pt x="6345" y="1902"/>
                </a:lnTo>
                <a:lnTo>
                  <a:pt x="6353" y="1890"/>
                </a:lnTo>
                <a:lnTo>
                  <a:pt x="6365" y="1876"/>
                </a:lnTo>
                <a:lnTo>
                  <a:pt x="6395" y="1842"/>
                </a:lnTo>
                <a:lnTo>
                  <a:pt x="6430" y="1802"/>
                </a:lnTo>
                <a:lnTo>
                  <a:pt x="6466" y="1761"/>
                </a:lnTo>
                <a:lnTo>
                  <a:pt x="6467" y="1761"/>
                </a:lnTo>
                <a:lnTo>
                  <a:pt x="6470" y="1760"/>
                </a:lnTo>
                <a:lnTo>
                  <a:pt x="6474" y="1761"/>
                </a:lnTo>
                <a:lnTo>
                  <a:pt x="6478" y="1762"/>
                </a:lnTo>
                <a:lnTo>
                  <a:pt x="6482" y="1764"/>
                </a:lnTo>
                <a:lnTo>
                  <a:pt x="6487" y="1766"/>
                </a:lnTo>
                <a:lnTo>
                  <a:pt x="6491" y="1769"/>
                </a:lnTo>
                <a:lnTo>
                  <a:pt x="6495" y="1774"/>
                </a:lnTo>
                <a:lnTo>
                  <a:pt x="6498" y="1778"/>
                </a:lnTo>
                <a:lnTo>
                  <a:pt x="6501" y="1783"/>
                </a:lnTo>
                <a:lnTo>
                  <a:pt x="6503" y="1788"/>
                </a:lnTo>
                <a:lnTo>
                  <a:pt x="6503" y="1793"/>
                </a:lnTo>
                <a:lnTo>
                  <a:pt x="6502" y="1798"/>
                </a:lnTo>
                <a:lnTo>
                  <a:pt x="6501" y="1803"/>
                </a:lnTo>
                <a:lnTo>
                  <a:pt x="6498" y="1809"/>
                </a:lnTo>
                <a:lnTo>
                  <a:pt x="6494" y="1815"/>
                </a:lnTo>
                <a:lnTo>
                  <a:pt x="6486" y="1825"/>
                </a:lnTo>
                <a:lnTo>
                  <a:pt x="6474" y="1840"/>
                </a:lnTo>
                <a:lnTo>
                  <a:pt x="6444" y="1873"/>
                </a:lnTo>
                <a:lnTo>
                  <a:pt x="6415" y="1907"/>
                </a:lnTo>
                <a:lnTo>
                  <a:pt x="6403" y="1921"/>
                </a:lnTo>
                <a:lnTo>
                  <a:pt x="6393" y="1933"/>
                </a:lnTo>
                <a:lnTo>
                  <a:pt x="6391" y="1937"/>
                </a:lnTo>
                <a:lnTo>
                  <a:pt x="6388" y="1940"/>
                </a:lnTo>
                <a:lnTo>
                  <a:pt x="6387" y="1944"/>
                </a:lnTo>
                <a:lnTo>
                  <a:pt x="6387" y="1948"/>
                </a:lnTo>
                <a:lnTo>
                  <a:pt x="6387" y="1953"/>
                </a:lnTo>
                <a:lnTo>
                  <a:pt x="6388" y="1957"/>
                </a:lnTo>
                <a:lnTo>
                  <a:pt x="6392" y="1962"/>
                </a:lnTo>
                <a:lnTo>
                  <a:pt x="6395" y="1967"/>
                </a:lnTo>
                <a:lnTo>
                  <a:pt x="6402" y="1976"/>
                </a:lnTo>
                <a:lnTo>
                  <a:pt x="6412" y="1987"/>
                </a:lnTo>
                <a:lnTo>
                  <a:pt x="6440" y="2017"/>
                </a:lnTo>
                <a:lnTo>
                  <a:pt x="6473" y="2050"/>
                </a:lnTo>
                <a:lnTo>
                  <a:pt x="6504" y="2081"/>
                </a:lnTo>
                <a:lnTo>
                  <a:pt x="6505" y="2083"/>
                </a:lnTo>
                <a:lnTo>
                  <a:pt x="6507" y="2085"/>
                </a:lnTo>
                <a:lnTo>
                  <a:pt x="6508" y="2087"/>
                </a:lnTo>
                <a:lnTo>
                  <a:pt x="6508" y="2090"/>
                </a:lnTo>
                <a:lnTo>
                  <a:pt x="6507" y="2095"/>
                </a:lnTo>
                <a:lnTo>
                  <a:pt x="6506" y="2098"/>
                </a:lnTo>
                <a:lnTo>
                  <a:pt x="6505" y="2101"/>
                </a:lnTo>
                <a:lnTo>
                  <a:pt x="6501" y="2107"/>
                </a:lnTo>
                <a:lnTo>
                  <a:pt x="6499" y="2109"/>
                </a:lnTo>
                <a:lnTo>
                  <a:pt x="6497" y="2112"/>
                </a:lnTo>
                <a:lnTo>
                  <a:pt x="6491" y="2116"/>
                </a:lnTo>
                <a:lnTo>
                  <a:pt x="6488" y="2118"/>
                </a:lnTo>
                <a:lnTo>
                  <a:pt x="6485" y="2120"/>
                </a:lnTo>
                <a:lnTo>
                  <a:pt x="6480" y="2123"/>
                </a:lnTo>
                <a:lnTo>
                  <a:pt x="6477" y="2123"/>
                </a:lnTo>
                <a:lnTo>
                  <a:pt x="6474" y="2123"/>
                </a:lnTo>
                <a:close/>
                <a:moveTo>
                  <a:pt x="6856" y="1136"/>
                </a:moveTo>
                <a:lnTo>
                  <a:pt x="6848" y="1136"/>
                </a:lnTo>
                <a:lnTo>
                  <a:pt x="6841" y="1135"/>
                </a:lnTo>
                <a:lnTo>
                  <a:pt x="6833" y="1134"/>
                </a:lnTo>
                <a:lnTo>
                  <a:pt x="6826" y="1132"/>
                </a:lnTo>
                <a:lnTo>
                  <a:pt x="6819" y="1131"/>
                </a:lnTo>
                <a:lnTo>
                  <a:pt x="6812" y="1128"/>
                </a:lnTo>
                <a:lnTo>
                  <a:pt x="6797" y="1122"/>
                </a:lnTo>
                <a:lnTo>
                  <a:pt x="6784" y="1115"/>
                </a:lnTo>
                <a:lnTo>
                  <a:pt x="6778" y="1110"/>
                </a:lnTo>
                <a:lnTo>
                  <a:pt x="6772" y="1105"/>
                </a:lnTo>
                <a:lnTo>
                  <a:pt x="6766" y="1101"/>
                </a:lnTo>
                <a:lnTo>
                  <a:pt x="6760" y="1095"/>
                </a:lnTo>
                <a:lnTo>
                  <a:pt x="6755" y="1090"/>
                </a:lnTo>
                <a:lnTo>
                  <a:pt x="6748" y="1084"/>
                </a:lnTo>
                <a:lnTo>
                  <a:pt x="6743" y="1078"/>
                </a:lnTo>
                <a:lnTo>
                  <a:pt x="6739" y="1072"/>
                </a:lnTo>
                <a:lnTo>
                  <a:pt x="6734" y="1065"/>
                </a:lnTo>
                <a:lnTo>
                  <a:pt x="6730" y="1058"/>
                </a:lnTo>
                <a:lnTo>
                  <a:pt x="6726" y="1050"/>
                </a:lnTo>
                <a:lnTo>
                  <a:pt x="6723" y="1043"/>
                </a:lnTo>
                <a:lnTo>
                  <a:pt x="6719" y="1035"/>
                </a:lnTo>
                <a:lnTo>
                  <a:pt x="6716" y="1027"/>
                </a:lnTo>
                <a:lnTo>
                  <a:pt x="6714" y="1020"/>
                </a:lnTo>
                <a:lnTo>
                  <a:pt x="6711" y="1011"/>
                </a:lnTo>
                <a:lnTo>
                  <a:pt x="6709" y="1003"/>
                </a:lnTo>
                <a:lnTo>
                  <a:pt x="6708" y="994"/>
                </a:lnTo>
                <a:lnTo>
                  <a:pt x="6706" y="985"/>
                </a:lnTo>
                <a:lnTo>
                  <a:pt x="6705" y="976"/>
                </a:lnTo>
                <a:lnTo>
                  <a:pt x="6705" y="967"/>
                </a:lnTo>
                <a:lnTo>
                  <a:pt x="6705" y="958"/>
                </a:lnTo>
                <a:lnTo>
                  <a:pt x="6705" y="939"/>
                </a:lnTo>
                <a:lnTo>
                  <a:pt x="6706" y="929"/>
                </a:lnTo>
                <a:lnTo>
                  <a:pt x="6708" y="920"/>
                </a:lnTo>
                <a:lnTo>
                  <a:pt x="6710" y="911"/>
                </a:lnTo>
                <a:lnTo>
                  <a:pt x="6712" y="902"/>
                </a:lnTo>
                <a:lnTo>
                  <a:pt x="6714" y="893"/>
                </a:lnTo>
                <a:lnTo>
                  <a:pt x="6717" y="884"/>
                </a:lnTo>
                <a:lnTo>
                  <a:pt x="6720" y="876"/>
                </a:lnTo>
                <a:lnTo>
                  <a:pt x="6724" y="867"/>
                </a:lnTo>
                <a:lnTo>
                  <a:pt x="6727" y="859"/>
                </a:lnTo>
                <a:lnTo>
                  <a:pt x="6731" y="851"/>
                </a:lnTo>
                <a:lnTo>
                  <a:pt x="6736" y="843"/>
                </a:lnTo>
                <a:lnTo>
                  <a:pt x="6741" y="836"/>
                </a:lnTo>
                <a:lnTo>
                  <a:pt x="6752" y="822"/>
                </a:lnTo>
                <a:lnTo>
                  <a:pt x="6757" y="816"/>
                </a:lnTo>
                <a:lnTo>
                  <a:pt x="6763" y="809"/>
                </a:lnTo>
                <a:lnTo>
                  <a:pt x="6775" y="797"/>
                </a:lnTo>
                <a:lnTo>
                  <a:pt x="6782" y="792"/>
                </a:lnTo>
                <a:lnTo>
                  <a:pt x="6788" y="787"/>
                </a:lnTo>
                <a:lnTo>
                  <a:pt x="6795" y="783"/>
                </a:lnTo>
                <a:lnTo>
                  <a:pt x="6802" y="779"/>
                </a:lnTo>
                <a:lnTo>
                  <a:pt x="6811" y="775"/>
                </a:lnTo>
                <a:lnTo>
                  <a:pt x="6818" y="772"/>
                </a:lnTo>
                <a:lnTo>
                  <a:pt x="6826" y="769"/>
                </a:lnTo>
                <a:lnTo>
                  <a:pt x="6833" y="767"/>
                </a:lnTo>
                <a:lnTo>
                  <a:pt x="6841" y="765"/>
                </a:lnTo>
                <a:lnTo>
                  <a:pt x="6849" y="764"/>
                </a:lnTo>
                <a:lnTo>
                  <a:pt x="6857" y="763"/>
                </a:lnTo>
                <a:lnTo>
                  <a:pt x="6866" y="763"/>
                </a:lnTo>
                <a:lnTo>
                  <a:pt x="6877" y="763"/>
                </a:lnTo>
                <a:lnTo>
                  <a:pt x="6882" y="764"/>
                </a:lnTo>
                <a:lnTo>
                  <a:pt x="6886" y="765"/>
                </a:lnTo>
                <a:lnTo>
                  <a:pt x="6891" y="766"/>
                </a:lnTo>
                <a:lnTo>
                  <a:pt x="6895" y="767"/>
                </a:lnTo>
                <a:lnTo>
                  <a:pt x="6904" y="770"/>
                </a:lnTo>
                <a:lnTo>
                  <a:pt x="6912" y="774"/>
                </a:lnTo>
                <a:lnTo>
                  <a:pt x="6919" y="779"/>
                </a:lnTo>
                <a:lnTo>
                  <a:pt x="6926" y="784"/>
                </a:lnTo>
                <a:lnTo>
                  <a:pt x="6933" y="790"/>
                </a:lnTo>
                <a:lnTo>
                  <a:pt x="6936" y="793"/>
                </a:lnTo>
                <a:lnTo>
                  <a:pt x="6938" y="797"/>
                </a:lnTo>
                <a:lnTo>
                  <a:pt x="6943" y="804"/>
                </a:lnTo>
                <a:lnTo>
                  <a:pt x="6947" y="813"/>
                </a:lnTo>
                <a:lnTo>
                  <a:pt x="6950" y="821"/>
                </a:lnTo>
                <a:lnTo>
                  <a:pt x="6953" y="830"/>
                </a:lnTo>
                <a:lnTo>
                  <a:pt x="6955" y="839"/>
                </a:lnTo>
                <a:lnTo>
                  <a:pt x="6956" y="848"/>
                </a:lnTo>
                <a:lnTo>
                  <a:pt x="6956" y="858"/>
                </a:lnTo>
                <a:lnTo>
                  <a:pt x="6956" y="872"/>
                </a:lnTo>
                <a:lnTo>
                  <a:pt x="6955" y="878"/>
                </a:lnTo>
                <a:lnTo>
                  <a:pt x="6953" y="884"/>
                </a:lnTo>
                <a:lnTo>
                  <a:pt x="6950" y="896"/>
                </a:lnTo>
                <a:lnTo>
                  <a:pt x="6945" y="907"/>
                </a:lnTo>
                <a:lnTo>
                  <a:pt x="6938" y="919"/>
                </a:lnTo>
                <a:lnTo>
                  <a:pt x="6931" y="929"/>
                </a:lnTo>
                <a:lnTo>
                  <a:pt x="6926" y="935"/>
                </a:lnTo>
                <a:lnTo>
                  <a:pt x="6922" y="940"/>
                </a:lnTo>
                <a:lnTo>
                  <a:pt x="6913" y="949"/>
                </a:lnTo>
                <a:lnTo>
                  <a:pt x="6903" y="958"/>
                </a:lnTo>
                <a:lnTo>
                  <a:pt x="6897" y="962"/>
                </a:lnTo>
                <a:lnTo>
                  <a:pt x="6892" y="965"/>
                </a:lnTo>
                <a:lnTo>
                  <a:pt x="6881" y="972"/>
                </a:lnTo>
                <a:lnTo>
                  <a:pt x="6868" y="978"/>
                </a:lnTo>
                <a:lnTo>
                  <a:pt x="6856" y="982"/>
                </a:lnTo>
                <a:lnTo>
                  <a:pt x="6850" y="984"/>
                </a:lnTo>
                <a:lnTo>
                  <a:pt x="6843" y="986"/>
                </a:lnTo>
                <a:lnTo>
                  <a:pt x="6837" y="987"/>
                </a:lnTo>
                <a:lnTo>
                  <a:pt x="6831" y="988"/>
                </a:lnTo>
                <a:lnTo>
                  <a:pt x="6818" y="988"/>
                </a:lnTo>
                <a:lnTo>
                  <a:pt x="6813" y="988"/>
                </a:lnTo>
                <a:lnTo>
                  <a:pt x="6807" y="986"/>
                </a:lnTo>
                <a:lnTo>
                  <a:pt x="6803" y="983"/>
                </a:lnTo>
                <a:lnTo>
                  <a:pt x="6801" y="981"/>
                </a:lnTo>
                <a:lnTo>
                  <a:pt x="6799" y="979"/>
                </a:lnTo>
                <a:lnTo>
                  <a:pt x="6796" y="974"/>
                </a:lnTo>
                <a:lnTo>
                  <a:pt x="6793" y="969"/>
                </a:lnTo>
                <a:lnTo>
                  <a:pt x="6792" y="966"/>
                </a:lnTo>
                <a:lnTo>
                  <a:pt x="6792" y="963"/>
                </a:lnTo>
                <a:lnTo>
                  <a:pt x="6791" y="957"/>
                </a:lnTo>
                <a:lnTo>
                  <a:pt x="6791" y="954"/>
                </a:lnTo>
                <a:lnTo>
                  <a:pt x="6792" y="951"/>
                </a:lnTo>
                <a:lnTo>
                  <a:pt x="6793" y="947"/>
                </a:lnTo>
                <a:lnTo>
                  <a:pt x="6794" y="944"/>
                </a:lnTo>
                <a:lnTo>
                  <a:pt x="6795" y="943"/>
                </a:lnTo>
                <a:lnTo>
                  <a:pt x="6796" y="941"/>
                </a:lnTo>
                <a:lnTo>
                  <a:pt x="6798" y="940"/>
                </a:lnTo>
                <a:lnTo>
                  <a:pt x="6809" y="938"/>
                </a:lnTo>
                <a:lnTo>
                  <a:pt x="6821" y="935"/>
                </a:lnTo>
                <a:lnTo>
                  <a:pt x="6831" y="932"/>
                </a:lnTo>
                <a:lnTo>
                  <a:pt x="6840" y="927"/>
                </a:lnTo>
                <a:lnTo>
                  <a:pt x="6849" y="922"/>
                </a:lnTo>
                <a:lnTo>
                  <a:pt x="6858" y="917"/>
                </a:lnTo>
                <a:lnTo>
                  <a:pt x="6866" y="912"/>
                </a:lnTo>
                <a:lnTo>
                  <a:pt x="6869" y="909"/>
                </a:lnTo>
                <a:lnTo>
                  <a:pt x="6874" y="906"/>
                </a:lnTo>
                <a:lnTo>
                  <a:pt x="6880" y="900"/>
                </a:lnTo>
                <a:lnTo>
                  <a:pt x="6886" y="893"/>
                </a:lnTo>
                <a:lnTo>
                  <a:pt x="6891" y="886"/>
                </a:lnTo>
                <a:lnTo>
                  <a:pt x="6895" y="880"/>
                </a:lnTo>
                <a:lnTo>
                  <a:pt x="6899" y="873"/>
                </a:lnTo>
                <a:lnTo>
                  <a:pt x="6901" y="865"/>
                </a:lnTo>
                <a:lnTo>
                  <a:pt x="6903" y="857"/>
                </a:lnTo>
                <a:lnTo>
                  <a:pt x="6903" y="850"/>
                </a:lnTo>
                <a:lnTo>
                  <a:pt x="6902" y="842"/>
                </a:lnTo>
                <a:lnTo>
                  <a:pt x="6900" y="835"/>
                </a:lnTo>
                <a:lnTo>
                  <a:pt x="6899" y="832"/>
                </a:lnTo>
                <a:lnTo>
                  <a:pt x="6897" y="829"/>
                </a:lnTo>
                <a:lnTo>
                  <a:pt x="6895" y="826"/>
                </a:lnTo>
                <a:lnTo>
                  <a:pt x="6892" y="823"/>
                </a:lnTo>
                <a:lnTo>
                  <a:pt x="6887" y="819"/>
                </a:lnTo>
                <a:lnTo>
                  <a:pt x="6883" y="817"/>
                </a:lnTo>
                <a:lnTo>
                  <a:pt x="6880" y="816"/>
                </a:lnTo>
                <a:lnTo>
                  <a:pt x="6872" y="814"/>
                </a:lnTo>
                <a:lnTo>
                  <a:pt x="6866" y="814"/>
                </a:lnTo>
                <a:lnTo>
                  <a:pt x="6862" y="814"/>
                </a:lnTo>
                <a:lnTo>
                  <a:pt x="6853" y="814"/>
                </a:lnTo>
                <a:lnTo>
                  <a:pt x="6849" y="815"/>
                </a:lnTo>
                <a:lnTo>
                  <a:pt x="6844" y="816"/>
                </a:lnTo>
                <a:lnTo>
                  <a:pt x="6840" y="818"/>
                </a:lnTo>
                <a:lnTo>
                  <a:pt x="6835" y="820"/>
                </a:lnTo>
                <a:lnTo>
                  <a:pt x="6831" y="822"/>
                </a:lnTo>
                <a:lnTo>
                  <a:pt x="6827" y="825"/>
                </a:lnTo>
                <a:lnTo>
                  <a:pt x="6822" y="827"/>
                </a:lnTo>
                <a:lnTo>
                  <a:pt x="6818" y="830"/>
                </a:lnTo>
                <a:lnTo>
                  <a:pt x="6809" y="838"/>
                </a:lnTo>
                <a:lnTo>
                  <a:pt x="6801" y="846"/>
                </a:lnTo>
                <a:lnTo>
                  <a:pt x="6794" y="855"/>
                </a:lnTo>
                <a:lnTo>
                  <a:pt x="6790" y="859"/>
                </a:lnTo>
                <a:lnTo>
                  <a:pt x="6787" y="865"/>
                </a:lnTo>
                <a:lnTo>
                  <a:pt x="6780" y="876"/>
                </a:lnTo>
                <a:lnTo>
                  <a:pt x="6775" y="888"/>
                </a:lnTo>
                <a:lnTo>
                  <a:pt x="6770" y="900"/>
                </a:lnTo>
                <a:lnTo>
                  <a:pt x="6766" y="913"/>
                </a:lnTo>
                <a:lnTo>
                  <a:pt x="6764" y="926"/>
                </a:lnTo>
                <a:lnTo>
                  <a:pt x="6762" y="941"/>
                </a:lnTo>
                <a:lnTo>
                  <a:pt x="6761" y="948"/>
                </a:lnTo>
                <a:lnTo>
                  <a:pt x="6761" y="955"/>
                </a:lnTo>
                <a:lnTo>
                  <a:pt x="6762" y="968"/>
                </a:lnTo>
                <a:lnTo>
                  <a:pt x="6763" y="980"/>
                </a:lnTo>
                <a:lnTo>
                  <a:pt x="6765" y="993"/>
                </a:lnTo>
                <a:lnTo>
                  <a:pt x="6766" y="998"/>
                </a:lnTo>
                <a:lnTo>
                  <a:pt x="6768" y="1004"/>
                </a:lnTo>
                <a:lnTo>
                  <a:pt x="6772" y="1014"/>
                </a:lnTo>
                <a:lnTo>
                  <a:pt x="6774" y="1019"/>
                </a:lnTo>
                <a:lnTo>
                  <a:pt x="6776" y="1024"/>
                </a:lnTo>
                <a:lnTo>
                  <a:pt x="6779" y="1029"/>
                </a:lnTo>
                <a:lnTo>
                  <a:pt x="6781" y="1033"/>
                </a:lnTo>
                <a:lnTo>
                  <a:pt x="6784" y="1037"/>
                </a:lnTo>
                <a:lnTo>
                  <a:pt x="6787" y="1041"/>
                </a:lnTo>
                <a:lnTo>
                  <a:pt x="6790" y="1045"/>
                </a:lnTo>
                <a:lnTo>
                  <a:pt x="6794" y="1049"/>
                </a:lnTo>
                <a:lnTo>
                  <a:pt x="6801" y="1056"/>
                </a:lnTo>
                <a:lnTo>
                  <a:pt x="6809" y="1062"/>
                </a:lnTo>
                <a:lnTo>
                  <a:pt x="6818" y="1067"/>
                </a:lnTo>
                <a:lnTo>
                  <a:pt x="6828" y="1071"/>
                </a:lnTo>
                <a:lnTo>
                  <a:pt x="6837" y="1073"/>
                </a:lnTo>
                <a:lnTo>
                  <a:pt x="6847" y="1075"/>
                </a:lnTo>
                <a:lnTo>
                  <a:pt x="6853" y="1076"/>
                </a:lnTo>
                <a:lnTo>
                  <a:pt x="6858" y="1076"/>
                </a:lnTo>
                <a:lnTo>
                  <a:pt x="6868" y="1075"/>
                </a:lnTo>
                <a:lnTo>
                  <a:pt x="6880" y="1074"/>
                </a:lnTo>
                <a:lnTo>
                  <a:pt x="6890" y="1071"/>
                </a:lnTo>
                <a:lnTo>
                  <a:pt x="6899" y="1068"/>
                </a:lnTo>
                <a:lnTo>
                  <a:pt x="6908" y="1064"/>
                </a:lnTo>
                <a:lnTo>
                  <a:pt x="6917" y="1059"/>
                </a:lnTo>
                <a:lnTo>
                  <a:pt x="6926" y="1053"/>
                </a:lnTo>
                <a:lnTo>
                  <a:pt x="6935" y="1045"/>
                </a:lnTo>
                <a:lnTo>
                  <a:pt x="6943" y="1038"/>
                </a:lnTo>
                <a:lnTo>
                  <a:pt x="6951" y="1030"/>
                </a:lnTo>
                <a:lnTo>
                  <a:pt x="6958" y="1022"/>
                </a:lnTo>
                <a:lnTo>
                  <a:pt x="6965" y="1013"/>
                </a:lnTo>
                <a:lnTo>
                  <a:pt x="6978" y="993"/>
                </a:lnTo>
                <a:lnTo>
                  <a:pt x="6984" y="982"/>
                </a:lnTo>
                <a:lnTo>
                  <a:pt x="6991" y="971"/>
                </a:lnTo>
                <a:lnTo>
                  <a:pt x="6996" y="960"/>
                </a:lnTo>
                <a:lnTo>
                  <a:pt x="7001" y="949"/>
                </a:lnTo>
                <a:lnTo>
                  <a:pt x="7005" y="937"/>
                </a:lnTo>
                <a:lnTo>
                  <a:pt x="7009" y="925"/>
                </a:lnTo>
                <a:lnTo>
                  <a:pt x="7013" y="913"/>
                </a:lnTo>
                <a:lnTo>
                  <a:pt x="7016" y="901"/>
                </a:lnTo>
                <a:lnTo>
                  <a:pt x="7019" y="889"/>
                </a:lnTo>
                <a:lnTo>
                  <a:pt x="7022" y="877"/>
                </a:lnTo>
                <a:lnTo>
                  <a:pt x="7024" y="864"/>
                </a:lnTo>
                <a:lnTo>
                  <a:pt x="7026" y="852"/>
                </a:lnTo>
                <a:lnTo>
                  <a:pt x="7028" y="840"/>
                </a:lnTo>
                <a:lnTo>
                  <a:pt x="7029" y="828"/>
                </a:lnTo>
                <a:lnTo>
                  <a:pt x="7029" y="817"/>
                </a:lnTo>
                <a:lnTo>
                  <a:pt x="7030" y="805"/>
                </a:lnTo>
                <a:lnTo>
                  <a:pt x="7030" y="794"/>
                </a:lnTo>
                <a:lnTo>
                  <a:pt x="7029" y="784"/>
                </a:lnTo>
                <a:lnTo>
                  <a:pt x="7030" y="781"/>
                </a:lnTo>
                <a:lnTo>
                  <a:pt x="7032" y="779"/>
                </a:lnTo>
                <a:lnTo>
                  <a:pt x="7034" y="777"/>
                </a:lnTo>
                <a:lnTo>
                  <a:pt x="7037" y="775"/>
                </a:lnTo>
                <a:lnTo>
                  <a:pt x="7043" y="773"/>
                </a:lnTo>
                <a:lnTo>
                  <a:pt x="7047" y="772"/>
                </a:lnTo>
                <a:lnTo>
                  <a:pt x="7052" y="772"/>
                </a:lnTo>
                <a:lnTo>
                  <a:pt x="7060" y="772"/>
                </a:lnTo>
                <a:lnTo>
                  <a:pt x="7063" y="773"/>
                </a:lnTo>
                <a:lnTo>
                  <a:pt x="7066" y="774"/>
                </a:lnTo>
                <a:lnTo>
                  <a:pt x="7072" y="777"/>
                </a:lnTo>
                <a:lnTo>
                  <a:pt x="7074" y="779"/>
                </a:lnTo>
                <a:lnTo>
                  <a:pt x="7077" y="781"/>
                </a:lnTo>
                <a:lnTo>
                  <a:pt x="7081" y="787"/>
                </a:lnTo>
                <a:lnTo>
                  <a:pt x="7082" y="790"/>
                </a:lnTo>
                <a:lnTo>
                  <a:pt x="7084" y="794"/>
                </a:lnTo>
                <a:lnTo>
                  <a:pt x="7085" y="798"/>
                </a:lnTo>
                <a:lnTo>
                  <a:pt x="7086" y="803"/>
                </a:lnTo>
                <a:lnTo>
                  <a:pt x="7086" y="809"/>
                </a:lnTo>
                <a:lnTo>
                  <a:pt x="7086" y="815"/>
                </a:lnTo>
                <a:lnTo>
                  <a:pt x="7086" y="831"/>
                </a:lnTo>
                <a:lnTo>
                  <a:pt x="7085" y="846"/>
                </a:lnTo>
                <a:lnTo>
                  <a:pt x="7083" y="862"/>
                </a:lnTo>
                <a:lnTo>
                  <a:pt x="7081" y="878"/>
                </a:lnTo>
                <a:lnTo>
                  <a:pt x="7079" y="893"/>
                </a:lnTo>
                <a:lnTo>
                  <a:pt x="7076" y="907"/>
                </a:lnTo>
                <a:lnTo>
                  <a:pt x="7072" y="922"/>
                </a:lnTo>
                <a:lnTo>
                  <a:pt x="7068" y="937"/>
                </a:lnTo>
                <a:lnTo>
                  <a:pt x="7064" y="951"/>
                </a:lnTo>
                <a:lnTo>
                  <a:pt x="7059" y="964"/>
                </a:lnTo>
                <a:lnTo>
                  <a:pt x="7054" y="978"/>
                </a:lnTo>
                <a:lnTo>
                  <a:pt x="7047" y="990"/>
                </a:lnTo>
                <a:lnTo>
                  <a:pt x="7041" y="1004"/>
                </a:lnTo>
                <a:lnTo>
                  <a:pt x="7034" y="1016"/>
                </a:lnTo>
                <a:lnTo>
                  <a:pt x="7028" y="1027"/>
                </a:lnTo>
                <a:lnTo>
                  <a:pt x="7020" y="1039"/>
                </a:lnTo>
                <a:lnTo>
                  <a:pt x="7013" y="1049"/>
                </a:lnTo>
                <a:lnTo>
                  <a:pt x="7005" y="1060"/>
                </a:lnTo>
                <a:lnTo>
                  <a:pt x="6996" y="1070"/>
                </a:lnTo>
                <a:lnTo>
                  <a:pt x="6987" y="1079"/>
                </a:lnTo>
                <a:lnTo>
                  <a:pt x="6977" y="1087"/>
                </a:lnTo>
                <a:lnTo>
                  <a:pt x="6968" y="1095"/>
                </a:lnTo>
                <a:lnTo>
                  <a:pt x="6958" y="1103"/>
                </a:lnTo>
                <a:lnTo>
                  <a:pt x="6948" y="1109"/>
                </a:lnTo>
                <a:lnTo>
                  <a:pt x="6938" y="1116"/>
                </a:lnTo>
                <a:lnTo>
                  <a:pt x="6926" y="1121"/>
                </a:lnTo>
                <a:lnTo>
                  <a:pt x="6915" y="1126"/>
                </a:lnTo>
                <a:lnTo>
                  <a:pt x="6904" y="1129"/>
                </a:lnTo>
                <a:lnTo>
                  <a:pt x="6893" y="1132"/>
                </a:lnTo>
                <a:lnTo>
                  <a:pt x="6881" y="1134"/>
                </a:lnTo>
                <a:lnTo>
                  <a:pt x="6868" y="1136"/>
                </a:lnTo>
                <a:lnTo>
                  <a:pt x="6856" y="1136"/>
                </a:lnTo>
                <a:close/>
                <a:moveTo>
                  <a:pt x="7244" y="1130"/>
                </a:moveTo>
                <a:lnTo>
                  <a:pt x="7242" y="1130"/>
                </a:lnTo>
                <a:lnTo>
                  <a:pt x="7240" y="1129"/>
                </a:lnTo>
                <a:lnTo>
                  <a:pt x="7234" y="1127"/>
                </a:lnTo>
                <a:lnTo>
                  <a:pt x="7227" y="1122"/>
                </a:lnTo>
                <a:lnTo>
                  <a:pt x="7220" y="1117"/>
                </a:lnTo>
                <a:lnTo>
                  <a:pt x="7207" y="1105"/>
                </a:lnTo>
                <a:lnTo>
                  <a:pt x="7192" y="1091"/>
                </a:lnTo>
                <a:lnTo>
                  <a:pt x="7176" y="1075"/>
                </a:lnTo>
                <a:lnTo>
                  <a:pt x="7158" y="1058"/>
                </a:lnTo>
                <a:lnTo>
                  <a:pt x="7142" y="1040"/>
                </a:lnTo>
                <a:lnTo>
                  <a:pt x="7128" y="1024"/>
                </a:lnTo>
                <a:lnTo>
                  <a:pt x="7117" y="1010"/>
                </a:lnTo>
                <a:lnTo>
                  <a:pt x="7112" y="1004"/>
                </a:lnTo>
                <a:lnTo>
                  <a:pt x="7108" y="998"/>
                </a:lnTo>
                <a:lnTo>
                  <a:pt x="7103" y="987"/>
                </a:lnTo>
                <a:lnTo>
                  <a:pt x="7099" y="977"/>
                </a:lnTo>
                <a:lnTo>
                  <a:pt x="7097" y="968"/>
                </a:lnTo>
                <a:lnTo>
                  <a:pt x="7096" y="958"/>
                </a:lnTo>
                <a:lnTo>
                  <a:pt x="7096" y="952"/>
                </a:lnTo>
                <a:lnTo>
                  <a:pt x="7097" y="946"/>
                </a:lnTo>
                <a:lnTo>
                  <a:pt x="7098" y="941"/>
                </a:lnTo>
                <a:lnTo>
                  <a:pt x="7100" y="935"/>
                </a:lnTo>
                <a:lnTo>
                  <a:pt x="7103" y="927"/>
                </a:lnTo>
                <a:lnTo>
                  <a:pt x="7106" y="921"/>
                </a:lnTo>
                <a:lnTo>
                  <a:pt x="7111" y="914"/>
                </a:lnTo>
                <a:lnTo>
                  <a:pt x="7115" y="908"/>
                </a:lnTo>
                <a:lnTo>
                  <a:pt x="7124" y="897"/>
                </a:lnTo>
                <a:lnTo>
                  <a:pt x="7135" y="883"/>
                </a:lnTo>
                <a:lnTo>
                  <a:pt x="7164" y="848"/>
                </a:lnTo>
                <a:lnTo>
                  <a:pt x="7200" y="808"/>
                </a:lnTo>
                <a:lnTo>
                  <a:pt x="7236" y="768"/>
                </a:lnTo>
                <a:lnTo>
                  <a:pt x="7237" y="768"/>
                </a:lnTo>
                <a:lnTo>
                  <a:pt x="7241" y="767"/>
                </a:lnTo>
                <a:lnTo>
                  <a:pt x="7244" y="768"/>
                </a:lnTo>
                <a:lnTo>
                  <a:pt x="7248" y="769"/>
                </a:lnTo>
                <a:lnTo>
                  <a:pt x="7253" y="771"/>
                </a:lnTo>
                <a:lnTo>
                  <a:pt x="7257" y="773"/>
                </a:lnTo>
                <a:lnTo>
                  <a:pt x="7261" y="776"/>
                </a:lnTo>
                <a:lnTo>
                  <a:pt x="7265" y="780"/>
                </a:lnTo>
                <a:lnTo>
                  <a:pt x="7269" y="784"/>
                </a:lnTo>
                <a:lnTo>
                  <a:pt x="7271" y="789"/>
                </a:lnTo>
                <a:lnTo>
                  <a:pt x="7273" y="794"/>
                </a:lnTo>
                <a:lnTo>
                  <a:pt x="7273" y="798"/>
                </a:lnTo>
                <a:lnTo>
                  <a:pt x="7273" y="804"/>
                </a:lnTo>
                <a:lnTo>
                  <a:pt x="7271" y="809"/>
                </a:lnTo>
                <a:lnTo>
                  <a:pt x="7268" y="816"/>
                </a:lnTo>
                <a:lnTo>
                  <a:pt x="7264" y="822"/>
                </a:lnTo>
                <a:lnTo>
                  <a:pt x="7256" y="832"/>
                </a:lnTo>
                <a:lnTo>
                  <a:pt x="7244" y="846"/>
                </a:lnTo>
                <a:lnTo>
                  <a:pt x="7214" y="879"/>
                </a:lnTo>
                <a:lnTo>
                  <a:pt x="7185" y="913"/>
                </a:lnTo>
                <a:lnTo>
                  <a:pt x="7173" y="927"/>
                </a:lnTo>
                <a:lnTo>
                  <a:pt x="7163" y="940"/>
                </a:lnTo>
                <a:lnTo>
                  <a:pt x="7160" y="944"/>
                </a:lnTo>
                <a:lnTo>
                  <a:pt x="7158" y="947"/>
                </a:lnTo>
                <a:lnTo>
                  <a:pt x="7157" y="951"/>
                </a:lnTo>
                <a:lnTo>
                  <a:pt x="7157" y="954"/>
                </a:lnTo>
                <a:lnTo>
                  <a:pt x="7157" y="959"/>
                </a:lnTo>
                <a:lnTo>
                  <a:pt x="7159" y="963"/>
                </a:lnTo>
                <a:lnTo>
                  <a:pt x="7161" y="968"/>
                </a:lnTo>
                <a:lnTo>
                  <a:pt x="7164" y="972"/>
                </a:lnTo>
                <a:lnTo>
                  <a:pt x="7172" y="981"/>
                </a:lnTo>
                <a:lnTo>
                  <a:pt x="7183" y="994"/>
                </a:lnTo>
                <a:lnTo>
                  <a:pt x="7210" y="1023"/>
                </a:lnTo>
                <a:lnTo>
                  <a:pt x="7243" y="1056"/>
                </a:lnTo>
                <a:lnTo>
                  <a:pt x="7274" y="1087"/>
                </a:lnTo>
                <a:lnTo>
                  <a:pt x="7276" y="1088"/>
                </a:lnTo>
                <a:lnTo>
                  <a:pt x="7277" y="1091"/>
                </a:lnTo>
                <a:lnTo>
                  <a:pt x="7278" y="1093"/>
                </a:lnTo>
                <a:lnTo>
                  <a:pt x="7278" y="1095"/>
                </a:lnTo>
                <a:lnTo>
                  <a:pt x="7277" y="1101"/>
                </a:lnTo>
                <a:lnTo>
                  <a:pt x="7276" y="1104"/>
                </a:lnTo>
                <a:lnTo>
                  <a:pt x="7275" y="1107"/>
                </a:lnTo>
                <a:lnTo>
                  <a:pt x="7271" y="1113"/>
                </a:lnTo>
                <a:lnTo>
                  <a:pt x="7269" y="1116"/>
                </a:lnTo>
                <a:lnTo>
                  <a:pt x="7267" y="1119"/>
                </a:lnTo>
                <a:lnTo>
                  <a:pt x="7261" y="1123"/>
                </a:lnTo>
                <a:lnTo>
                  <a:pt x="7259" y="1125"/>
                </a:lnTo>
                <a:lnTo>
                  <a:pt x="7256" y="1127"/>
                </a:lnTo>
                <a:lnTo>
                  <a:pt x="7250" y="1129"/>
                </a:lnTo>
                <a:lnTo>
                  <a:pt x="7247" y="1130"/>
                </a:lnTo>
                <a:lnTo>
                  <a:pt x="7244" y="1130"/>
                </a:lnTo>
                <a:close/>
                <a:moveTo>
                  <a:pt x="6856" y="2129"/>
                </a:moveTo>
                <a:lnTo>
                  <a:pt x="6848" y="2129"/>
                </a:lnTo>
                <a:lnTo>
                  <a:pt x="6841" y="2128"/>
                </a:lnTo>
                <a:lnTo>
                  <a:pt x="6833" y="2127"/>
                </a:lnTo>
                <a:lnTo>
                  <a:pt x="6826" y="2126"/>
                </a:lnTo>
                <a:lnTo>
                  <a:pt x="6819" y="2124"/>
                </a:lnTo>
                <a:lnTo>
                  <a:pt x="6812" y="2121"/>
                </a:lnTo>
                <a:lnTo>
                  <a:pt x="6797" y="2116"/>
                </a:lnTo>
                <a:lnTo>
                  <a:pt x="6784" y="2108"/>
                </a:lnTo>
                <a:lnTo>
                  <a:pt x="6778" y="2104"/>
                </a:lnTo>
                <a:lnTo>
                  <a:pt x="6772" y="2100"/>
                </a:lnTo>
                <a:lnTo>
                  <a:pt x="6766" y="2095"/>
                </a:lnTo>
                <a:lnTo>
                  <a:pt x="6760" y="2090"/>
                </a:lnTo>
                <a:lnTo>
                  <a:pt x="6755" y="2084"/>
                </a:lnTo>
                <a:lnTo>
                  <a:pt x="6748" y="2078"/>
                </a:lnTo>
                <a:lnTo>
                  <a:pt x="6743" y="2072"/>
                </a:lnTo>
                <a:lnTo>
                  <a:pt x="6739" y="2065"/>
                </a:lnTo>
                <a:lnTo>
                  <a:pt x="6734" y="2058"/>
                </a:lnTo>
                <a:lnTo>
                  <a:pt x="6730" y="2051"/>
                </a:lnTo>
                <a:lnTo>
                  <a:pt x="6726" y="2044"/>
                </a:lnTo>
                <a:lnTo>
                  <a:pt x="6723" y="2037"/>
                </a:lnTo>
                <a:lnTo>
                  <a:pt x="6719" y="2029"/>
                </a:lnTo>
                <a:lnTo>
                  <a:pt x="6716" y="2022"/>
                </a:lnTo>
                <a:lnTo>
                  <a:pt x="6714" y="2014"/>
                </a:lnTo>
                <a:lnTo>
                  <a:pt x="6711" y="2005"/>
                </a:lnTo>
                <a:lnTo>
                  <a:pt x="6709" y="1996"/>
                </a:lnTo>
                <a:lnTo>
                  <a:pt x="6708" y="1988"/>
                </a:lnTo>
                <a:lnTo>
                  <a:pt x="6706" y="1979"/>
                </a:lnTo>
                <a:lnTo>
                  <a:pt x="6705" y="1970"/>
                </a:lnTo>
                <a:lnTo>
                  <a:pt x="6705" y="1961"/>
                </a:lnTo>
                <a:lnTo>
                  <a:pt x="6705" y="1952"/>
                </a:lnTo>
                <a:lnTo>
                  <a:pt x="6705" y="1932"/>
                </a:lnTo>
                <a:lnTo>
                  <a:pt x="6706" y="1923"/>
                </a:lnTo>
                <a:lnTo>
                  <a:pt x="6708" y="1914"/>
                </a:lnTo>
                <a:lnTo>
                  <a:pt x="6710" y="1905"/>
                </a:lnTo>
                <a:lnTo>
                  <a:pt x="6712" y="1896"/>
                </a:lnTo>
                <a:lnTo>
                  <a:pt x="6714" y="1886"/>
                </a:lnTo>
                <a:lnTo>
                  <a:pt x="6717" y="1878"/>
                </a:lnTo>
                <a:lnTo>
                  <a:pt x="6720" y="1869"/>
                </a:lnTo>
                <a:lnTo>
                  <a:pt x="6724" y="1861"/>
                </a:lnTo>
                <a:lnTo>
                  <a:pt x="6727" y="1853"/>
                </a:lnTo>
                <a:lnTo>
                  <a:pt x="6731" y="1845"/>
                </a:lnTo>
                <a:lnTo>
                  <a:pt x="6736" y="1838"/>
                </a:lnTo>
                <a:lnTo>
                  <a:pt x="6741" y="1829"/>
                </a:lnTo>
                <a:lnTo>
                  <a:pt x="6752" y="1815"/>
                </a:lnTo>
                <a:lnTo>
                  <a:pt x="6757" y="1809"/>
                </a:lnTo>
                <a:lnTo>
                  <a:pt x="6763" y="1803"/>
                </a:lnTo>
                <a:lnTo>
                  <a:pt x="6775" y="1791"/>
                </a:lnTo>
                <a:lnTo>
                  <a:pt x="6782" y="1786"/>
                </a:lnTo>
                <a:lnTo>
                  <a:pt x="6788" y="1781"/>
                </a:lnTo>
                <a:lnTo>
                  <a:pt x="6795" y="1777"/>
                </a:lnTo>
                <a:lnTo>
                  <a:pt x="6802" y="1773"/>
                </a:lnTo>
                <a:lnTo>
                  <a:pt x="6811" y="1768"/>
                </a:lnTo>
                <a:lnTo>
                  <a:pt x="6818" y="1765"/>
                </a:lnTo>
                <a:lnTo>
                  <a:pt x="6826" y="1762"/>
                </a:lnTo>
                <a:lnTo>
                  <a:pt x="6833" y="1760"/>
                </a:lnTo>
                <a:lnTo>
                  <a:pt x="6841" y="1758"/>
                </a:lnTo>
                <a:lnTo>
                  <a:pt x="6849" y="1757"/>
                </a:lnTo>
                <a:lnTo>
                  <a:pt x="6857" y="1756"/>
                </a:lnTo>
                <a:lnTo>
                  <a:pt x="6866" y="1756"/>
                </a:lnTo>
                <a:lnTo>
                  <a:pt x="6877" y="1756"/>
                </a:lnTo>
                <a:lnTo>
                  <a:pt x="6882" y="1757"/>
                </a:lnTo>
                <a:lnTo>
                  <a:pt x="6886" y="1758"/>
                </a:lnTo>
                <a:lnTo>
                  <a:pt x="6891" y="1759"/>
                </a:lnTo>
                <a:lnTo>
                  <a:pt x="6895" y="1760"/>
                </a:lnTo>
                <a:lnTo>
                  <a:pt x="6904" y="1763"/>
                </a:lnTo>
                <a:lnTo>
                  <a:pt x="6912" y="1767"/>
                </a:lnTo>
                <a:lnTo>
                  <a:pt x="6919" y="1773"/>
                </a:lnTo>
                <a:lnTo>
                  <a:pt x="6926" y="1778"/>
                </a:lnTo>
                <a:lnTo>
                  <a:pt x="6933" y="1784"/>
                </a:lnTo>
                <a:lnTo>
                  <a:pt x="6936" y="1787"/>
                </a:lnTo>
                <a:lnTo>
                  <a:pt x="6938" y="1791"/>
                </a:lnTo>
                <a:lnTo>
                  <a:pt x="6943" y="1798"/>
                </a:lnTo>
                <a:lnTo>
                  <a:pt x="6947" y="1806"/>
                </a:lnTo>
                <a:lnTo>
                  <a:pt x="6950" y="1814"/>
                </a:lnTo>
                <a:lnTo>
                  <a:pt x="6953" y="1823"/>
                </a:lnTo>
                <a:lnTo>
                  <a:pt x="6955" y="1833"/>
                </a:lnTo>
                <a:lnTo>
                  <a:pt x="6956" y="1842"/>
                </a:lnTo>
                <a:lnTo>
                  <a:pt x="6956" y="1852"/>
                </a:lnTo>
                <a:lnTo>
                  <a:pt x="6956" y="1865"/>
                </a:lnTo>
                <a:lnTo>
                  <a:pt x="6955" y="1871"/>
                </a:lnTo>
                <a:lnTo>
                  <a:pt x="6953" y="1877"/>
                </a:lnTo>
                <a:lnTo>
                  <a:pt x="6950" y="1889"/>
                </a:lnTo>
                <a:lnTo>
                  <a:pt x="6945" y="1902"/>
                </a:lnTo>
                <a:lnTo>
                  <a:pt x="6938" y="1913"/>
                </a:lnTo>
                <a:lnTo>
                  <a:pt x="6931" y="1923"/>
                </a:lnTo>
                <a:lnTo>
                  <a:pt x="6926" y="1928"/>
                </a:lnTo>
                <a:lnTo>
                  <a:pt x="6922" y="1933"/>
                </a:lnTo>
                <a:lnTo>
                  <a:pt x="6913" y="1943"/>
                </a:lnTo>
                <a:lnTo>
                  <a:pt x="6903" y="1952"/>
                </a:lnTo>
                <a:lnTo>
                  <a:pt x="6897" y="1956"/>
                </a:lnTo>
                <a:lnTo>
                  <a:pt x="6892" y="1960"/>
                </a:lnTo>
                <a:lnTo>
                  <a:pt x="6881" y="1966"/>
                </a:lnTo>
                <a:lnTo>
                  <a:pt x="6868" y="1972"/>
                </a:lnTo>
                <a:lnTo>
                  <a:pt x="6856" y="1976"/>
                </a:lnTo>
                <a:lnTo>
                  <a:pt x="6850" y="1978"/>
                </a:lnTo>
                <a:lnTo>
                  <a:pt x="6843" y="1980"/>
                </a:lnTo>
                <a:lnTo>
                  <a:pt x="6837" y="1981"/>
                </a:lnTo>
                <a:lnTo>
                  <a:pt x="6831" y="1982"/>
                </a:lnTo>
                <a:lnTo>
                  <a:pt x="6818" y="1982"/>
                </a:lnTo>
                <a:lnTo>
                  <a:pt x="6813" y="1982"/>
                </a:lnTo>
                <a:lnTo>
                  <a:pt x="6807" y="1980"/>
                </a:lnTo>
                <a:lnTo>
                  <a:pt x="6803" y="1977"/>
                </a:lnTo>
                <a:lnTo>
                  <a:pt x="6801" y="1975"/>
                </a:lnTo>
                <a:lnTo>
                  <a:pt x="6799" y="1973"/>
                </a:lnTo>
                <a:lnTo>
                  <a:pt x="6796" y="1969"/>
                </a:lnTo>
                <a:lnTo>
                  <a:pt x="6793" y="1963"/>
                </a:lnTo>
                <a:lnTo>
                  <a:pt x="6792" y="1961"/>
                </a:lnTo>
                <a:lnTo>
                  <a:pt x="6792" y="1958"/>
                </a:lnTo>
                <a:lnTo>
                  <a:pt x="6791" y="1950"/>
                </a:lnTo>
                <a:lnTo>
                  <a:pt x="6791" y="1947"/>
                </a:lnTo>
                <a:lnTo>
                  <a:pt x="6792" y="1945"/>
                </a:lnTo>
                <a:lnTo>
                  <a:pt x="6793" y="1940"/>
                </a:lnTo>
                <a:lnTo>
                  <a:pt x="6794" y="1938"/>
                </a:lnTo>
                <a:lnTo>
                  <a:pt x="6795" y="1936"/>
                </a:lnTo>
                <a:lnTo>
                  <a:pt x="6796" y="1934"/>
                </a:lnTo>
                <a:lnTo>
                  <a:pt x="6798" y="1933"/>
                </a:lnTo>
                <a:lnTo>
                  <a:pt x="6809" y="1931"/>
                </a:lnTo>
                <a:lnTo>
                  <a:pt x="6821" y="1928"/>
                </a:lnTo>
                <a:lnTo>
                  <a:pt x="6831" y="1925"/>
                </a:lnTo>
                <a:lnTo>
                  <a:pt x="6840" y="1921"/>
                </a:lnTo>
                <a:lnTo>
                  <a:pt x="6849" y="1917"/>
                </a:lnTo>
                <a:lnTo>
                  <a:pt x="6858" y="1911"/>
                </a:lnTo>
                <a:lnTo>
                  <a:pt x="6866" y="1906"/>
                </a:lnTo>
                <a:lnTo>
                  <a:pt x="6869" y="1903"/>
                </a:lnTo>
                <a:lnTo>
                  <a:pt x="6874" y="1900"/>
                </a:lnTo>
                <a:lnTo>
                  <a:pt x="6880" y="1894"/>
                </a:lnTo>
                <a:lnTo>
                  <a:pt x="6886" y="1886"/>
                </a:lnTo>
                <a:lnTo>
                  <a:pt x="6891" y="1880"/>
                </a:lnTo>
                <a:lnTo>
                  <a:pt x="6895" y="1873"/>
                </a:lnTo>
                <a:lnTo>
                  <a:pt x="6899" y="1866"/>
                </a:lnTo>
                <a:lnTo>
                  <a:pt x="6901" y="1859"/>
                </a:lnTo>
                <a:lnTo>
                  <a:pt x="6903" y="1852"/>
                </a:lnTo>
                <a:lnTo>
                  <a:pt x="6903" y="1845"/>
                </a:lnTo>
                <a:lnTo>
                  <a:pt x="6902" y="1837"/>
                </a:lnTo>
                <a:lnTo>
                  <a:pt x="6900" y="1828"/>
                </a:lnTo>
                <a:lnTo>
                  <a:pt x="6899" y="1825"/>
                </a:lnTo>
                <a:lnTo>
                  <a:pt x="6897" y="1822"/>
                </a:lnTo>
                <a:lnTo>
                  <a:pt x="6895" y="1819"/>
                </a:lnTo>
                <a:lnTo>
                  <a:pt x="6892" y="1817"/>
                </a:lnTo>
                <a:lnTo>
                  <a:pt x="6887" y="1812"/>
                </a:lnTo>
                <a:lnTo>
                  <a:pt x="6883" y="1811"/>
                </a:lnTo>
                <a:lnTo>
                  <a:pt x="6880" y="1809"/>
                </a:lnTo>
                <a:lnTo>
                  <a:pt x="6872" y="1807"/>
                </a:lnTo>
                <a:lnTo>
                  <a:pt x="6866" y="1807"/>
                </a:lnTo>
                <a:lnTo>
                  <a:pt x="6862" y="1807"/>
                </a:lnTo>
                <a:lnTo>
                  <a:pt x="6853" y="1807"/>
                </a:lnTo>
                <a:lnTo>
                  <a:pt x="6849" y="1808"/>
                </a:lnTo>
                <a:lnTo>
                  <a:pt x="6844" y="1810"/>
                </a:lnTo>
                <a:lnTo>
                  <a:pt x="6840" y="1811"/>
                </a:lnTo>
                <a:lnTo>
                  <a:pt x="6835" y="1813"/>
                </a:lnTo>
                <a:lnTo>
                  <a:pt x="6831" y="1815"/>
                </a:lnTo>
                <a:lnTo>
                  <a:pt x="6827" y="1818"/>
                </a:lnTo>
                <a:lnTo>
                  <a:pt x="6822" y="1821"/>
                </a:lnTo>
                <a:lnTo>
                  <a:pt x="6818" y="1824"/>
                </a:lnTo>
                <a:lnTo>
                  <a:pt x="6809" y="1832"/>
                </a:lnTo>
                <a:lnTo>
                  <a:pt x="6801" y="1840"/>
                </a:lnTo>
                <a:lnTo>
                  <a:pt x="6794" y="1849"/>
                </a:lnTo>
                <a:lnTo>
                  <a:pt x="6790" y="1854"/>
                </a:lnTo>
                <a:lnTo>
                  <a:pt x="6787" y="1859"/>
                </a:lnTo>
                <a:lnTo>
                  <a:pt x="6780" y="1870"/>
                </a:lnTo>
                <a:lnTo>
                  <a:pt x="6775" y="1881"/>
                </a:lnTo>
                <a:lnTo>
                  <a:pt x="6770" y="1894"/>
                </a:lnTo>
                <a:lnTo>
                  <a:pt x="6766" y="1907"/>
                </a:lnTo>
                <a:lnTo>
                  <a:pt x="6764" y="1920"/>
                </a:lnTo>
                <a:lnTo>
                  <a:pt x="6762" y="1934"/>
                </a:lnTo>
                <a:lnTo>
                  <a:pt x="6761" y="1941"/>
                </a:lnTo>
                <a:lnTo>
                  <a:pt x="6761" y="1948"/>
                </a:lnTo>
                <a:lnTo>
                  <a:pt x="6762" y="1962"/>
                </a:lnTo>
                <a:lnTo>
                  <a:pt x="6763" y="1974"/>
                </a:lnTo>
                <a:lnTo>
                  <a:pt x="6765" y="1986"/>
                </a:lnTo>
                <a:lnTo>
                  <a:pt x="6766" y="1991"/>
                </a:lnTo>
                <a:lnTo>
                  <a:pt x="6768" y="1997"/>
                </a:lnTo>
                <a:lnTo>
                  <a:pt x="6772" y="2007"/>
                </a:lnTo>
                <a:lnTo>
                  <a:pt x="6774" y="2013"/>
                </a:lnTo>
                <a:lnTo>
                  <a:pt x="6776" y="2018"/>
                </a:lnTo>
                <a:lnTo>
                  <a:pt x="6779" y="2023"/>
                </a:lnTo>
                <a:lnTo>
                  <a:pt x="6781" y="2027"/>
                </a:lnTo>
                <a:lnTo>
                  <a:pt x="6784" y="2031"/>
                </a:lnTo>
                <a:lnTo>
                  <a:pt x="6787" y="2035"/>
                </a:lnTo>
                <a:lnTo>
                  <a:pt x="6790" y="2039"/>
                </a:lnTo>
                <a:lnTo>
                  <a:pt x="6794" y="2043"/>
                </a:lnTo>
                <a:lnTo>
                  <a:pt x="6801" y="2050"/>
                </a:lnTo>
                <a:lnTo>
                  <a:pt x="6809" y="2055"/>
                </a:lnTo>
                <a:lnTo>
                  <a:pt x="6818" y="2060"/>
                </a:lnTo>
                <a:lnTo>
                  <a:pt x="6828" y="2064"/>
                </a:lnTo>
                <a:lnTo>
                  <a:pt x="6837" y="2067"/>
                </a:lnTo>
                <a:lnTo>
                  <a:pt x="6847" y="2068"/>
                </a:lnTo>
                <a:lnTo>
                  <a:pt x="6853" y="2069"/>
                </a:lnTo>
                <a:lnTo>
                  <a:pt x="6858" y="2069"/>
                </a:lnTo>
                <a:lnTo>
                  <a:pt x="6868" y="2068"/>
                </a:lnTo>
                <a:lnTo>
                  <a:pt x="6880" y="2067"/>
                </a:lnTo>
                <a:lnTo>
                  <a:pt x="6890" y="2064"/>
                </a:lnTo>
                <a:lnTo>
                  <a:pt x="6899" y="2061"/>
                </a:lnTo>
                <a:lnTo>
                  <a:pt x="6908" y="2057"/>
                </a:lnTo>
                <a:lnTo>
                  <a:pt x="6917" y="2052"/>
                </a:lnTo>
                <a:lnTo>
                  <a:pt x="6926" y="2046"/>
                </a:lnTo>
                <a:lnTo>
                  <a:pt x="6935" y="2039"/>
                </a:lnTo>
                <a:lnTo>
                  <a:pt x="6943" y="2032"/>
                </a:lnTo>
                <a:lnTo>
                  <a:pt x="6951" y="2024"/>
                </a:lnTo>
                <a:lnTo>
                  <a:pt x="6958" y="2016"/>
                </a:lnTo>
                <a:lnTo>
                  <a:pt x="6965" y="2006"/>
                </a:lnTo>
                <a:lnTo>
                  <a:pt x="6978" y="1986"/>
                </a:lnTo>
                <a:lnTo>
                  <a:pt x="6984" y="1976"/>
                </a:lnTo>
                <a:lnTo>
                  <a:pt x="6991" y="1965"/>
                </a:lnTo>
                <a:lnTo>
                  <a:pt x="6996" y="1954"/>
                </a:lnTo>
                <a:lnTo>
                  <a:pt x="7001" y="1942"/>
                </a:lnTo>
                <a:lnTo>
                  <a:pt x="7005" y="1930"/>
                </a:lnTo>
                <a:lnTo>
                  <a:pt x="7009" y="1919"/>
                </a:lnTo>
                <a:lnTo>
                  <a:pt x="7013" y="1907"/>
                </a:lnTo>
                <a:lnTo>
                  <a:pt x="7016" y="1895"/>
                </a:lnTo>
                <a:lnTo>
                  <a:pt x="7019" y="1882"/>
                </a:lnTo>
                <a:lnTo>
                  <a:pt x="7022" y="1870"/>
                </a:lnTo>
                <a:lnTo>
                  <a:pt x="7024" y="1858"/>
                </a:lnTo>
                <a:lnTo>
                  <a:pt x="7026" y="1846"/>
                </a:lnTo>
                <a:lnTo>
                  <a:pt x="7028" y="1834"/>
                </a:lnTo>
                <a:lnTo>
                  <a:pt x="7029" y="1822"/>
                </a:lnTo>
                <a:lnTo>
                  <a:pt x="7029" y="1810"/>
                </a:lnTo>
                <a:lnTo>
                  <a:pt x="7030" y="1799"/>
                </a:lnTo>
                <a:lnTo>
                  <a:pt x="7030" y="1788"/>
                </a:lnTo>
                <a:lnTo>
                  <a:pt x="7029" y="1778"/>
                </a:lnTo>
                <a:lnTo>
                  <a:pt x="7030" y="1776"/>
                </a:lnTo>
                <a:lnTo>
                  <a:pt x="7032" y="1773"/>
                </a:lnTo>
                <a:lnTo>
                  <a:pt x="7034" y="1770"/>
                </a:lnTo>
                <a:lnTo>
                  <a:pt x="7037" y="1769"/>
                </a:lnTo>
                <a:lnTo>
                  <a:pt x="7043" y="1766"/>
                </a:lnTo>
                <a:lnTo>
                  <a:pt x="7047" y="1765"/>
                </a:lnTo>
                <a:lnTo>
                  <a:pt x="7052" y="1765"/>
                </a:lnTo>
                <a:lnTo>
                  <a:pt x="7060" y="1765"/>
                </a:lnTo>
                <a:lnTo>
                  <a:pt x="7063" y="1766"/>
                </a:lnTo>
                <a:lnTo>
                  <a:pt x="7066" y="1767"/>
                </a:lnTo>
                <a:lnTo>
                  <a:pt x="7072" y="1770"/>
                </a:lnTo>
                <a:lnTo>
                  <a:pt x="7074" y="1773"/>
                </a:lnTo>
                <a:lnTo>
                  <a:pt x="7077" y="1775"/>
                </a:lnTo>
                <a:lnTo>
                  <a:pt x="7081" y="1781"/>
                </a:lnTo>
                <a:lnTo>
                  <a:pt x="7082" y="1784"/>
                </a:lnTo>
                <a:lnTo>
                  <a:pt x="7084" y="1788"/>
                </a:lnTo>
                <a:lnTo>
                  <a:pt x="7085" y="1793"/>
                </a:lnTo>
                <a:lnTo>
                  <a:pt x="7086" y="1797"/>
                </a:lnTo>
                <a:lnTo>
                  <a:pt x="7086" y="1803"/>
                </a:lnTo>
                <a:lnTo>
                  <a:pt x="7086" y="1809"/>
                </a:lnTo>
                <a:lnTo>
                  <a:pt x="7086" y="1824"/>
                </a:lnTo>
                <a:lnTo>
                  <a:pt x="7085" y="1841"/>
                </a:lnTo>
                <a:lnTo>
                  <a:pt x="7083" y="1856"/>
                </a:lnTo>
                <a:lnTo>
                  <a:pt x="7081" y="1871"/>
                </a:lnTo>
                <a:lnTo>
                  <a:pt x="7079" y="1886"/>
                </a:lnTo>
                <a:lnTo>
                  <a:pt x="7076" y="1902"/>
                </a:lnTo>
                <a:lnTo>
                  <a:pt x="7072" y="1916"/>
                </a:lnTo>
                <a:lnTo>
                  <a:pt x="7068" y="1930"/>
                </a:lnTo>
                <a:lnTo>
                  <a:pt x="7064" y="1944"/>
                </a:lnTo>
                <a:lnTo>
                  <a:pt x="7059" y="1959"/>
                </a:lnTo>
                <a:lnTo>
                  <a:pt x="7054" y="1972"/>
                </a:lnTo>
                <a:lnTo>
                  <a:pt x="7047" y="1985"/>
                </a:lnTo>
                <a:lnTo>
                  <a:pt x="7041" y="1997"/>
                </a:lnTo>
                <a:lnTo>
                  <a:pt x="7034" y="2009"/>
                </a:lnTo>
                <a:lnTo>
                  <a:pt x="7028" y="2022"/>
                </a:lnTo>
                <a:lnTo>
                  <a:pt x="7020" y="2033"/>
                </a:lnTo>
                <a:lnTo>
                  <a:pt x="7013" y="2043"/>
                </a:lnTo>
                <a:lnTo>
                  <a:pt x="7005" y="2054"/>
                </a:lnTo>
                <a:lnTo>
                  <a:pt x="6996" y="2063"/>
                </a:lnTo>
                <a:lnTo>
                  <a:pt x="6987" y="2073"/>
                </a:lnTo>
                <a:lnTo>
                  <a:pt x="6977" y="2082"/>
                </a:lnTo>
                <a:lnTo>
                  <a:pt x="6968" y="2090"/>
                </a:lnTo>
                <a:lnTo>
                  <a:pt x="6958" y="2097"/>
                </a:lnTo>
                <a:lnTo>
                  <a:pt x="6948" y="2103"/>
                </a:lnTo>
                <a:lnTo>
                  <a:pt x="6938" y="2109"/>
                </a:lnTo>
                <a:lnTo>
                  <a:pt x="6926" y="2114"/>
                </a:lnTo>
                <a:lnTo>
                  <a:pt x="6915" y="2119"/>
                </a:lnTo>
                <a:lnTo>
                  <a:pt x="6904" y="2122"/>
                </a:lnTo>
                <a:lnTo>
                  <a:pt x="6893" y="2125"/>
                </a:lnTo>
                <a:lnTo>
                  <a:pt x="6881" y="2127"/>
                </a:lnTo>
                <a:lnTo>
                  <a:pt x="6868" y="2129"/>
                </a:lnTo>
                <a:lnTo>
                  <a:pt x="6856" y="2129"/>
                </a:lnTo>
                <a:close/>
                <a:moveTo>
                  <a:pt x="7244" y="2123"/>
                </a:moveTo>
                <a:lnTo>
                  <a:pt x="7242" y="2123"/>
                </a:lnTo>
                <a:lnTo>
                  <a:pt x="7240" y="2123"/>
                </a:lnTo>
                <a:lnTo>
                  <a:pt x="7234" y="2120"/>
                </a:lnTo>
                <a:lnTo>
                  <a:pt x="7227" y="2116"/>
                </a:lnTo>
                <a:lnTo>
                  <a:pt x="7220" y="2110"/>
                </a:lnTo>
                <a:lnTo>
                  <a:pt x="7207" y="2099"/>
                </a:lnTo>
                <a:lnTo>
                  <a:pt x="7192" y="2085"/>
                </a:lnTo>
                <a:lnTo>
                  <a:pt x="7176" y="2068"/>
                </a:lnTo>
                <a:lnTo>
                  <a:pt x="7158" y="2051"/>
                </a:lnTo>
                <a:lnTo>
                  <a:pt x="7142" y="2034"/>
                </a:lnTo>
                <a:lnTo>
                  <a:pt x="7128" y="2018"/>
                </a:lnTo>
                <a:lnTo>
                  <a:pt x="7117" y="2003"/>
                </a:lnTo>
                <a:lnTo>
                  <a:pt x="7112" y="1997"/>
                </a:lnTo>
                <a:lnTo>
                  <a:pt x="7108" y="1991"/>
                </a:lnTo>
                <a:lnTo>
                  <a:pt x="7103" y="1981"/>
                </a:lnTo>
                <a:lnTo>
                  <a:pt x="7099" y="1971"/>
                </a:lnTo>
                <a:lnTo>
                  <a:pt x="7097" y="1962"/>
                </a:lnTo>
                <a:lnTo>
                  <a:pt x="7096" y="1952"/>
                </a:lnTo>
                <a:lnTo>
                  <a:pt x="7096" y="1945"/>
                </a:lnTo>
                <a:lnTo>
                  <a:pt x="7097" y="1940"/>
                </a:lnTo>
                <a:lnTo>
                  <a:pt x="7098" y="1934"/>
                </a:lnTo>
                <a:lnTo>
                  <a:pt x="7100" y="1928"/>
                </a:lnTo>
                <a:lnTo>
                  <a:pt x="7103" y="1922"/>
                </a:lnTo>
                <a:lnTo>
                  <a:pt x="7106" y="1915"/>
                </a:lnTo>
                <a:lnTo>
                  <a:pt x="7111" y="1909"/>
                </a:lnTo>
                <a:lnTo>
                  <a:pt x="7115" y="1902"/>
                </a:lnTo>
                <a:lnTo>
                  <a:pt x="7124" y="1890"/>
                </a:lnTo>
                <a:lnTo>
                  <a:pt x="7135" y="1876"/>
                </a:lnTo>
                <a:lnTo>
                  <a:pt x="7164" y="1842"/>
                </a:lnTo>
                <a:lnTo>
                  <a:pt x="7200" y="1802"/>
                </a:lnTo>
                <a:lnTo>
                  <a:pt x="7236" y="1761"/>
                </a:lnTo>
                <a:lnTo>
                  <a:pt x="7237" y="1761"/>
                </a:lnTo>
                <a:lnTo>
                  <a:pt x="7241" y="1760"/>
                </a:lnTo>
                <a:lnTo>
                  <a:pt x="7244" y="1761"/>
                </a:lnTo>
                <a:lnTo>
                  <a:pt x="7248" y="1762"/>
                </a:lnTo>
                <a:lnTo>
                  <a:pt x="7253" y="1764"/>
                </a:lnTo>
                <a:lnTo>
                  <a:pt x="7257" y="1766"/>
                </a:lnTo>
                <a:lnTo>
                  <a:pt x="7261" y="1769"/>
                </a:lnTo>
                <a:lnTo>
                  <a:pt x="7265" y="1774"/>
                </a:lnTo>
                <a:lnTo>
                  <a:pt x="7269" y="1778"/>
                </a:lnTo>
                <a:lnTo>
                  <a:pt x="7271" y="1783"/>
                </a:lnTo>
                <a:lnTo>
                  <a:pt x="7273" y="1788"/>
                </a:lnTo>
                <a:lnTo>
                  <a:pt x="7273" y="1793"/>
                </a:lnTo>
                <a:lnTo>
                  <a:pt x="7273" y="1798"/>
                </a:lnTo>
                <a:lnTo>
                  <a:pt x="7271" y="1803"/>
                </a:lnTo>
                <a:lnTo>
                  <a:pt x="7268" y="1809"/>
                </a:lnTo>
                <a:lnTo>
                  <a:pt x="7264" y="1815"/>
                </a:lnTo>
                <a:lnTo>
                  <a:pt x="7256" y="1825"/>
                </a:lnTo>
                <a:lnTo>
                  <a:pt x="7244" y="1840"/>
                </a:lnTo>
                <a:lnTo>
                  <a:pt x="7214" y="1873"/>
                </a:lnTo>
                <a:lnTo>
                  <a:pt x="7185" y="1907"/>
                </a:lnTo>
                <a:lnTo>
                  <a:pt x="7173" y="1921"/>
                </a:lnTo>
                <a:lnTo>
                  <a:pt x="7163" y="1933"/>
                </a:lnTo>
                <a:lnTo>
                  <a:pt x="7160" y="1937"/>
                </a:lnTo>
                <a:lnTo>
                  <a:pt x="7158" y="1940"/>
                </a:lnTo>
                <a:lnTo>
                  <a:pt x="7157" y="1944"/>
                </a:lnTo>
                <a:lnTo>
                  <a:pt x="7157" y="1948"/>
                </a:lnTo>
                <a:lnTo>
                  <a:pt x="7157" y="1953"/>
                </a:lnTo>
                <a:lnTo>
                  <a:pt x="7159" y="1957"/>
                </a:lnTo>
                <a:lnTo>
                  <a:pt x="7161" y="1962"/>
                </a:lnTo>
                <a:lnTo>
                  <a:pt x="7164" y="1967"/>
                </a:lnTo>
                <a:lnTo>
                  <a:pt x="7172" y="1976"/>
                </a:lnTo>
                <a:lnTo>
                  <a:pt x="7183" y="1987"/>
                </a:lnTo>
                <a:lnTo>
                  <a:pt x="7210" y="2017"/>
                </a:lnTo>
                <a:lnTo>
                  <a:pt x="7243" y="2050"/>
                </a:lnTo>
                <a:lnTo>
                  <a:pt x="7274" y="2081"/>
                </a:lnTo>
                <a:lnTo>
                  <a:pt x="7276" y="2083"/>
                </a:lnTo>
                <a:lnTo>
                  <a:pt x="7277" y="2085"/>
                </a:lnTo>
                <a:lnTo>
                  <a:pt x="7278" y="2087"/>
                </a:lnTo>
                <a:lnTo>
                  <a:pt x="7278" y="2090"/>
                </a:lnTo>
                <a:lnTo>
                  <a:pt x="7277" y="2095"/>
                </a:lnTo>
                <a:lnTo>
                  <a:pt x="7276" y="2098"/>
                </a:lnTo>
                <a:lnTo>
                  <a:pt x="7275" y="2101"/>
                </a:lnTo>
                <a:lnTo>
                  <a:pt x="7271" y="2107"/>
                </a:lnTo>
                <a:lnTo>
                  <a:pt x="7269" y="2109"/>
                </a:lnTo>
                <a:lnTo>
                  <a:pt x="7267" y="2112"/>
                </a:lnTo>
                <a:lnTo>
                  <a:pt x="7261" y="2116"/>
                </a:lnTo>
                <a:lnTo>
                  <a:pt x="7259" y="2118"/>
                </a:lnTo>
                <a:lnTo>
                  <a:pt x="7256" y="2120"/>
                </a:lnTo>
                <a:lnTo>
                  <a:pt x="7250" y="2123"/>
                </a:lnTo>
                <a:lnTo>
                  <a:pt x="7247" y="2123"/>
                </a:lnTo>
                <a:lnTo>
                  <a:pt x="7244" y="2123"/>
                </a:lnTo>
                <a:close/>
                <a:moveTo>
                  <a:pt x="6856" y="3095"/>
                </a:moveTo>
                <a:lnTo>
                  <a:pt x="6848" y="3094"/>
                </a:lnTo>
                <a:lnTo>
                  <a:pt x="6841" y="3094"/>
                </a:lnTo>
                <a:lnTo>
                  <a:pt x="6833" y="3093"/>
                </a:lnTo>
                <a:lnTo>
                  <a:pt x="6826" y="3090"/>
                </a:lnTo>
                <a:lnTo>
                  <a:pt x="6819" y="3088"/>
                </a:lnTo>
                <a:lnTo>
                  <a:pt x="6812" y="3086"/>
                </a:lnTo>
                <a:lnTo>
                  <a:pt x="6797" y="3080"/>
                </a:lnTo>
                <a:lnTo>
                  <a:pt x="6784" y="3073"/>
                </a:lnTo>
                <a:lnTo>
                  <a:pt x="6778" y="3069"/>
                </a:lnTo>
                <a:lnTo>
                  <a:pt x="6772" y="3064"/>
                </a:lnTo>
                <a:lnTo>
                  <a:pt x="6766" y="3059"/>
                </a:lnTo>
                <a:lnTo>
                  <a:pt x="6760" y="3054"/>
                </a:lnTo>
                <a:lnTo>
                  <a:pt x="6755" y="3049"/>
                </a:lnTo>
                <a:lnTo>
                  <a:pt x="6748" y="3043"/>
                </a:lnTo>
                <a:lnTo>
                  <a:pt x="6743" y="3037"/>
                </a:lnTo>
                <a:lnTo>
                  <a:pt x="6739" y="3029"/>
                </a:lnTo>
                <a:lnTo>
                  <a:pt x="6734" y="3023"/>
                </a:lnTo>
                <a:lnTo>
                  <a:pt x="6730" y="3016"/>
                </a:lnTo>
                <a:lnTo>
                  <a:pt x="6726" y="3009"/>
                </a:lnTo>
                <a:lnTo>
                  <a:pt x="6723" y="3001"/>
                </a:lnTo>
                <a:lnTo>
                  <a:pt x="6719" y="2994"/>
                </a:lnTo>
                <a:lnTo>
                  <a:pt x="6716" y="2986"/>
                </a:lnTo>
                <a:lnTo>
                  <a:pt x="6714" y="2978"/>
                </a:lnTo>
                <a:lnTo>
                  <a:pt x="6711" y="2969"/>
                </a:lnTo>
                <a:lnTo>
                  <a:pt x="6709" y="2961"/>
                </a:lnTo>
                <a:lnTo>
                  <a:pt x="6708" y="2952"/>
                </a:lnTo>
                <a:lnTo>
                  <a:pt x="6706" y="2943"/>
                </a:lnTo>
                <a:lnTo>
                  <a:pt x="6705" y="2934"/>
                </a:lnTo>
                <a:lnTo>
                  <a:pt x="6705" y="2925"/>
                </a:lnTo>
                <a:lnTo>
                  <a:pt x="6705" y="2916"/>
                </a:lnTo>
                <a:lnTo>
                  <a:pt x="6705" y="2897"/>
                </a:lnTo>
                <a:lnTo>
                  <a:pt x="6706" y="2887"/>
                </a:lnTo>
                <a:lnTo>
                  <a:pt x="6708" y="2878"/>
                </a:lnTo>
                <a:lnTo>
                  <a:pt x="6710" y="2869"/>
                </a:lnTo>
                <a:lnTo>
                  <a:pt x="6712" y="2860"/>
                </a:lnTo>
                <a:lnTo>
                  <a:pt x="6714" y="2852"/>
                </a:lnTo>
                <a:lnTo>
                  <a:pt x="6717" y="2842"/>
                </a:lnTo>
                <a:lnTo>
                  <a:pt x="6720" y="2834"/>
                </a:lnTo>
                <a:lnTo>
                  <a:pt x="6724" y="2825"/>
                </a:lnTo>
                <a:lnTo>
                  <a:pt x="6727" y="2817"/>
                </a:lnTo>
                <a:lnTo>
                  <a:pt x="6731" y="2810"/>
                </a:lnTo>
                <a:lnTo>
                  <a:pt x="6736" y="2802"/>
                </a:lnTo>
                <a:lnTo>
                  <a:pt x="6741" y="2795"/>
                </a:lnTo>
                <a:lnTo>
                  <a:pt x="6752" y="2780"/>
                </a:lnTo>
                <a:lnTo>
                  <a:pt x="6757" y="2773"/>
                </a:lnTo>
                <a:lnTo>
                  <a:pt x="6763" y="2767"/>
                </a:lnTo>
                <a:lnTo>
                  <a:pt x="6775" y="2756"/>
                </a:lnTo>
                <a:lnTo>
                  <a:pt x="6782" y="2751"/>
                </a:lnTo>
                <a:lnTo>
                  <a:pt x="6788" y="2746"/>
                </a:lnTo>
                <a:lnTo>
                  <a:pt x="6795" y="2741"/>
                </a:lnTo>
                <a:lnTo>
                  <a:pt x="6802" y="2737"/>
                </a:lnTo>
                <a:lnTo>
                  <a:pt x="6811" y="2734"/>
                </a:lnTo>
                <a:lnTo>
                  <a:pt x="6818" y="2730"/>
                </a:lnTo>
                <a:lnTo>
                  <a:pt x="6826" y="2727"/>
                </a:lnTo>
                <a:lnTo>
                  <a:pt x="6833" y="2725"/>
                </a:lnTo>
                <a:lnTo>
                  <a:pt x="6841" y="2723"/>
                </a:lnTo>
                <a:lnTo>
                  <a:pt x="6849" y="2721"/>
                </a:lnTo>
                <a:lnTo>
                  <a:pt x="6857" y="2721"/>
                </a:lnTo>
                <a:lnTo>
                  <a:pt x="6866" y="2720"/>
                </a:lnTo>
                <a:lnTo>
                  <a:pt x="6877" y="2721"/>
                </a:lnTo>
                <a:lnTo>
                  <a:pt x="6882" y="2721"/>
                </a:lnTo>
                <a:lnTo>
                  <a:pt x="6886" y="2722"/>
                </a:lnTo>
                <a:lnTo>
                  <a:pt x="6891" y="2723"/>
                </a:lnTo>
                <a:lnTo>
                  <a:pt x="6895" y="2725"/>
                </a:lnTo>
                <a:lnTo>
                  <a:pt x="6904" y="2728"/>
                </a:lnTo>
                <a:lnTo>
                  <a:pt x="6912" y="2733"/>
                </a:lnTo>
                <a:lnTo>
                  <a:pt x="6919" y="2737"/>
                </a:lnTo>
                <a:lnTo>
                  <a:pt x="6926" y="2743"/>
                </a:lnTo>
                <a:lnTo>
                  <a:pt x="6933" y="2749"/>
                </a:lnTo>
                <a:lnTo>
                  <a:pt x="6936" y="2752"/>
                </a:lnTo>
                <a:lnTo>
                  <a:pt x="6938" y="2755"/>
                </a:lnTo>
                <a:lnTo>
                  <a:pt x="6943" y="2762"/>
                </a:lnTo>
                <a:lnTo>
                  <a:pt x="6947" y="2770"/>
                </a:lnTo>
                <a:lnTo>
                  <a:pt x="6950" y="2778"/>
                </a:lnTo>
                <a:lnTo>
                  <a:pt x="6953" y="2787"/>
                </a:lnTo>
                <a:lnTo>
                  <a:pt x="6955" y="2797"/>
                </a:lnTo>
                <a:lnTo>
                  <a:pt x="6956" y="2807"/>
                </a:lnTo>
                <a:lnTo>
                  <a:pt x="6956" y="2817"/>
                </a:lnTo>
                <a:lnTo>
                  <a:pt x="6956" y="2829"/>
                </a:lnTo>
                <a:lnTo>
                  <a:pt x="6955" y="2835"/>
                </a:lnTo>
                <a:lnTo>
                  <a:pt x="6953" y="2842"/>
                </a:lnTo>
                <a:lnTo>
                  <a:pt x="6950" y="2854"/>
                </a:lnTo>
                <a:lnTo>
                  <a:pt x="6945" y="2866"/>
                </a:lnTo>
                <a:lnTo>
                  <a:pt x="6938" y="2877"/>
                </a:lnTo>
                <a:lnTo>
                  <a:pt x="6931" y="2888"/>
                </a:lnTo>
                <a:lnTo>
                  <a:pt x="6926" y="2893"/>
                </a:lnTo>
                <a:lnTo>
                  <a:pt x="6922" y="2898"/>
                </a:lnTo>
                <a:lnTo>
                  <a:pt x="6913" y="2907"/>
                </a:lnTo>
                <a:lnTo>
                  <a:pt x="6903" y="2916"/>
                </a:lnTo>
                <a:lnTo>
                  <a:pt x="6897" y="2920"/>
                </a:lnTo>
                <a:lnTo>
                  <a:pt x="6892" y="2924"/>
                </a:lnTo>
                <a:lnTo>
                  <a:pt x="6881" y="2931"/>
                </a:lnTo>
                <a:lnTo>
                  <a:pt x="6868" y="2936"/>
                </a:lnTo>
                <a:lnTo>
                  <a:pt x="6856" y="2941"/>
                </a:lnTo>
                <a:lnTo>
                  <a:pt x="6850" y="2943"/>
                </a:lnTo>
                <a:lnTo>
                  <a:pt x="6843" y="2944"/>
                </a:lnTo>
                <a:lnTo>
                  <a:pt x="6837" y="2945"/>
                </a:lnTo>
                <a:lnTo>
                  <a:pt x="6831" y="2946"/>
                </a:lnTo>
                <a:lnTo>
                  <a:pt x="6818" y="2947"/>
                </a:lnTo>
                <a:lnTo>
                  <a:pt x="6813" y="2946"/>
                </a:lnTo>
                <a:lnTo>
                  <a:pt x="6807" y="2944"/>
                </a:lnTo>
                <a:lnTo>
                  <a:pt x="6803" y="2942"/>
                </a:lnTo>
                <a:lnTo>
                  <a:pt x="6801" y="2940"/>
                </a:lnTo>
                <a:lnTo>
                  <a:pt x="6799" y="2938"/>
                </a:lnTo>
                <a:lnTo>
                  <a:pt x="6796" y="2933"/>
                </a:lnTo>
                <a:lnTo>
                  <a:pt x="6793" y="2928"/>
                </a:lnTo>
                <a:lnTo>
                  <a:pt x="6792" y="2925"/>
                </a:lnTo>
                <a:lnTo>
                  <a:pt x="6792" y="2922"/>
                </a:lnTo>
                <a:lnTo>
                  <a:pt x="6791" y="2916"/>
                </a:lnTo>
                <a:lnTo>
                  <a:pt x="6791" y="2913"/>
                </a:lnTo>
                <a:lnTo>
                  <a:pt x="6792" y="2909"/>
                </a:lnTo>
                <a:lnTo>
                  <a:pt x="6793" y="2904"/>
                </a:lnTo>
                <a:lnTo>
                  <a:pt x="6794" y="2902"/>
                </a:lnTo>
                <a:lnTo>
                  <a:pt x="6795" y="2900"/>
                </a:lnTo>
                <a:lnTo>
                  <a:pt x="6796" y="2899"/>
                </a:lnTo>
                <a:lnTo>
                  <a:pt x="6798" y="2897"/>
                </a:lnTo>
                <a:lnTo>
                  <a:pt x="6809" y="2896"/>
                </a:lnTo>
                <a:lnTo>
                  <a:pt x="6821" y="2893"/>
                </a:lnTo>
                <a:lnTo>
                  <a:pt x="6831" y="2890"/>
                </a:lnTo>
                <a:lnTo>
                  <a:pt x="6840" y="2886"/>
                </a:lnTo>
                <a:lnTo>
                  <a:pt x="6849" y="2881"/>
                </a:lnTo>
                <a:lnTo>
                  <a:pt x="6858" y="2876"/>
                </a:lnTo>
                <a:lnTo>
                  <a:pt x="6866" y="2870"/>
                </a:lnTo>
                <a:lnTo>
                  <a:pt x="6869" y="2868"/>
                </a:lnTo>
                <a:lnTo>
                  <a:pt x="6874" y="2865"/>
                </a:lnTo>
                <a:lnTo>
                  <a:pt x="6880" y="2858"/>
                </a:lnTo>
                <a:lnTo>
                  <a:pt x="6886" y="2852"/>
                </a:lnTo>
                <a:lnTo>
                  <a:pt x="6891" y="2844"/>
                </a:lnTo>
                <a:lnTo>
                  <a:pt x="6895" y="2837"/>
                </a:lnTo>
                <a:lnTo>
                  <a:pt x="6899" y="2830"/>
                </a:lnTo>
                <a:lnTo>
                  <a:pt x="6901" y="2823"/>
                </a:lnTo>
                <a:lnTo>
                  <a:pt x="6903" y="2816"/>
                </a:lnTo>
                <a:lnTo>
                  <a:pt x="6903" y="2809"/>
                </a:lnTo>
                <a:lnTo>
                  <a:pt x="6902" y="2801"/>
                </a:lnTo>
                <a:lnTo>
                  <a:pt x="6900" y="2794"/>
                </a:lnTo>
                <a:lnTo>
                  <a:pt x="6899" y="2789"/>
                </a:lnTo>
                <a:lnTo>
                  <a:pt x="6897" y="2786"/>
                </a:lnTo>
                <a:lnTo>
                  <a:pt x="6895" y="2784"/>
                </a:lnTo>
                <a:lnTo>
                  <a:pt x="6892" y="2781"/>
                </a:lnTo>
                <a:lnTo>
                  <a:pt x="6887" y="2777"/>
                </a:lnTo>
                <a:lnTo>
                  <a:pt x="6883" y="2775"/>
                </a:lnTo>
                <a:lnTo>
                  <a:pt x="6880" y="2774"/>
                </a:lnTo>
                <a:lnTo>
                  <a:pt x="6872" y="2772"/>
                </a:lnTo>
                <a:lnTo>
                  <a:pt x="6866" y="2771"/>
                </a:lnTo>
                <a:lnTo>
                  <a:pt x="6862" y="2771"/>
                </a:lnTo>
                <a:lnTo>
                  <a:pt x="6853" y="2772"/>
                </a:lnTo>
                <a:lnTo>
                  <a:pt x="6849" y="2773"/>
                </a:lnTo>
                <a:lnTo>
                  <a:pt x="6844" y="2774"/>
                </a:lnTo>
                <a:lnTo>
                  <a:pt x="6840" y="2776"/>
                </a:lnTo>
                <a:lnTo>
                  <a:pt x="6835" y="2777"/>
                </a:lnTo>
                <a:lnTo>
                  <a:pt x="6831" y="2780"/>
                </a:lnTo>
                <a:lnTo>
                  <a:pt x="6827" y="2782"/>
                </a:lnTo>
                <a:lnTo>
                  <a:pt x="6822" y="2785"/>
                </a:lnTo>
                <a:lnTo>
                  <a:pt x="6818" y="2788"/>
                </a:lnTo>
                <a:lnTo>
                  <a:pt x="6809" y="2796"/>
                </a:lnTo>
                <a:lnTo>
                  <a:pt x="6801" y="2804"/>
                </a:lnTo>
                <a:lnTo>
                  <a:pt x="6794" y="2813"/>
                </a:lnTo>
                <a:lnTo>
                  <a:pt x="6790" y="2818"/>
                </a:lnTo>
                <a:lnTo>
                  <a:pt x="6787" y="2823"/>
                </a:lnTo>
                <a:lnTo>
                  <a:pt x="6780" y="2834"/>
                </a:lnTo>
                <a:lnTo>
                  <a:pt x="6775" y="2845"/>
                </a:lnTo>
                <a:lnTo>
                  <a:pt x="6770" y="2859"/>
                </a:lnTo>
                <a:lnTo>
                  <a:pt x="6766" y="2871"/>
                </a:lnTo>
                <a:lnTo>
                  <a:pt x="6764" y="2885"/>
                </a:lnTo>
                <a:lnTo>
                  <a:pt x="6762" y="2899"/>
                </a:lnTo>
                <a:lnTo>
                  <a:pt x="6761" y="2906"/>
                </a:lnTo>
                <a:lnTo>
                  <a:pt x="6761" y="2914"/>
                </a:lnTo>
                <a:lnTo>
                  <a:pt x="6762" y="2926"/>
                </a:lnTo>
                <a:lnTo>
                  <a:pt x="6763" y="2939"/>
                </a:lnTo>
                <a:lnTo>
                  <a:pt x="6765" y="2950"/>
                </a:lnTo>
                <a:lnTo>
                  <a:pt x="6766" y="2956"/>
                </a:lnTo>
                <a:lnTo>
                  <a:pt x="6768" y="2961"/>
                </a:lnTo>
                <a:lnTo>
                  <a:pt x="6772" y="2973"/>
                </a:lnTo>
                <a:lnTo>
                  <a:pt x="6774" y="2978"/>
                </a:lnTo>
                <a:lnTo>
                  <a:pt x="6776" y="2983"/>
                </a:lnTo>
                <a:lnTo>
                  <a:pt x="6779" y="2987"/>
                </a:lnTo>
                <a:lnTo>
                  <a:pt x="6781" y="2992"/>
                </a:lnTo>
                <a:lnTo>
                  <a:pt x="6784" y="2996"/>
                </a:lnTo>
                <a:lnTo>
                  <a:pt x="6787" y="3000"/>
                </a:lnTo>
                <a:lnTo>
                  <a:pt x="6790" y="3004"/>
                </a:lnTo>
                <a:lnTo>
                  <a:pt x="6794" y="3007"/>
                </a:lnTo>
                <a:lnTo>
                  <a:pt x="6801" y="3014"/>
                </a:lnTo>
                <a:lnTo>
                  <a:pt x="6809" y="3020"/>
                </a:lnTo>
                <a:lnTo>
                  <a:pt x="6818" y="3025"/>
                </a:lnTo>
                <a:lnTo>
                  <a:pt x="6828" y="3028"/>
                </a:lnTo>
                <a:lnTo>
                  <a:pt x="6837" y="3032"/>
                </a:lnTo>
                <a:lnTo>
                  <a:pt x="6847" y="3034"/>
                </a:lnTo>
                <a:lnTo>
                  <a:pt x="6853" y="3034"/>
                </a:lnTo>
                <a:lnTo>
                  <a:pt x="6858" y="3034"/>
                </a:lnTo>
                <a:lnTo>
                  <a:pt x="6868" y="3034"/>
                </a:lnTo>
                <a:lnTo>
                  <a:pt x="6880" y="3032"/>
                </a:lnTo>
                <a:lnTo>
                  <a:pt x="6890" y="3029"/>
                </a:lnTo>
                <a:lnTo>
                  <a:pt x="6899" y="3026"/>
                </a:lnTo>
                <a:lnTo>
                  <a:pt x="6908" y="3021"/>
                </a:lnTo>
                <a:lnTo>
                  <a:pt x="6917" y="3016"/>
                </a:lnTo>
                <a:lnTo>
                  <a:pt x="6926" y="3010"/>
                </a:lnTo>
                <a:lnTo>
                  <a:pt x="6935" y="3004"/>
                </a:lnTo>
                <a:lnTo>
                  <a:pt x="6943" y="2997"/>
                </a:lnTo>
                <a:lnTo>
                  <a:pt x="6951" y="2989"/>
                </a:lnTo>
                <a:lnTo>
                  <a:pt x="6958" y="2980"/>
                </a:lnTo>
                <a:lnTo>
                  <a:pt x="6965" y="2970"/>
                </a:lnTo>
                <a:lnTo>
                  <a:pt x="6978" y="2951"/>
                </a:lnTo>
                <a:lnTo>
                  <a:pt x="6984" y="2941"/>
                </a:lnTo>
                <a:lnTo>
                  <a:pt x="6991" y="2930"/>
                </a:lnTo>
                <a:lnTo>
                  <a:pt x="6996" y="2919"/>
                </a:lnTo>
                <a:lnTo>
                  <a:pt x="7001" y="2906"/>
                </a:lnTo>
                <a:lnTo>
                  <a:pt x="7005" y="2895"/>
                </a:lnTo>
                <a:lnTo>
                  <a:pt x="7009" y="2883"/>
                </a:lnTo>
                <a:lnTo>
                  <a:pt x="7013" y="2871"/>
                </a:lnTo>
                <a:lnTo>
                  <a:pt x="7016" y="2859"/>
                </a:lnTo>
                <a:lnTo>
                  <a:pt x="7019" y="2846"/>
                </a:lnTo>
                <a:lnTo>
                  <a:pt x="7022" y="2834"/>
                </a:lnTo>
                <a:lnTo>
                  <a:pt x="7024" y="2822"/>
                </a:lnTo>
                <a:lnTo>
                  <a:pt x="7026" y="2810"/>
                </a:lnTo>
                <a:lnTo>
                  <a:pt x="7028" y="2799"/>
                </a:lnTo>
                <a:lnTo>
                  <a:pt x="7029" y="2786"/>
                </a:lnTo>
                <a:lnTo>
                  <a:pt x="7029" y="2775"/>
                </a:lnTo>
                <a:lnTo>
                  <a:pt x="7030" y="2764"/>
                </a:lnTo>
                <a:lnTo>
                  <a:pt x="7030" y="2753"/>
                </a:lnTo>
                <a:lnTo>
                  <a:pt x="7029" y="2742"/>
                </a:lnTo>
                <a:lnTo>
                  <a:pt x="7030" y="2740"/>
                </a:lnTo>
                <a:lnTo>
                  <a:pt x="7032" y="2738"/>
                </a:lnTo>
                <a:lnTo>
                  <a:pt x="7034" y="2736"/>
                </a:lnTo>
                <a:lnTo>
                  <a:pt x="7037" y="2734"/>
                </a:lnTo>
                <a:lnTo>
                  <a:pt x="7043" y="2730"/>
                </a:lnTo>
                <a:lnTo>
                  <a:pt x="7047" y="2730"/>
                </a:lnTo>
                <a:lnTo>
                  <a:pt x="7052" y="2729"/>
                </a:lnTo>
                <a:lnTo>
                  <a:pt x="7060" y="2730"/>
                </a:lnTo>
                <a:lnTo>
                  <a:pt x="7063" y="2732"/>
                </a:lnTo>
                <a:lnTo>
                  <a:pt x="7066" y="2732"/>
                </a:lnTo>
                <a:lnTo>
                  <a:pt x="7072" y="2735"/>
                </a:lnTo>
                <a:lnTo>
                  <a:pt x="7074" y="2737"/>
                </a:lnTo>
                <a:lnTo>
                  <a:pt x="7077" y="2740"/>
                </a:lnTo>
                <a:lnTo>
                  <a:pt x="7081" y="2745"/>
                </a:lnTo>
                <a:lnTo>
                  <a:pt x="7082" y="2749"/>
                </a:lnTo>
                <a:lnTo>
                  <a:pt x="7084" y="2753"/>
                </a:lnTo>
                <a:lnTo>
                  <a:pt x="7085" y="2757"/>
                </a:lnTo>
                <a:lnTo>
                  <a:pt x="7086" y="2762"/>
                </a:lnTo>
                <a:lnTo>
                  <a:pt x="7086" y="2767"/>
                </a:lnTo>
                <a:lnTo>
                  <a:pt x="7086" y="2773"/>
                </a:lnTo>
                <a:lnTo>
                  <a:pt x="7086" y="2789"/>
                </a:lnTo>
                <a:lnTo>
                  <a:pt x="7085" y="2805"/>
                </a:lnTo>
                <a:lnTo>
                  <a:pt x="7083" y="2820"/>
                </a:lnTo>
                <a:lnTo>
                  <a:pt x="7081" y="2835"/>
                </a:lnTo>
                <a:lnTo>
                  <a:pt x="7079" y="2850"/>
                </a:lnTo>
                <a:lnTo>
                  <a:pt x="7076" y="2866"/>
                </a:lnTo>
                <a:lnTo>
                  <a:pt x="7072" y="2880"/>
                </a:lnTo>
                <a:lnTo>
                  <a:pt x="7068" y="2895"/>
                </a:lnTo>
                <a:lnTo>
                  <a:pt x="7064" y="2908"/>
                </a:lnTo>
                <a:lnTo>
                  <a:pt x="7059" y="2923"/>
                </a:lnTo>
                <a:lnTo>
                  <a:pt x="7054" y="2936"/>
                </a:lnTo>
                <a:lnTo>
                  <a:pt x="7047" y="2949"/>
                </a:lnTo>
                <a:lnTo>
                  <a:pt x="7041" y="2961"/>
                </a:lnTo>
                <a:lnTo>
                  <a:pt x="7034" y="2975"/>
                </a:lnTo>
                <a:lnTo>
                  <a:pt x="7028" y="2986"/>
                </a:lnTo>
                <a:lnTo>
                  <a:pt x="7020" y="2997"/>
                </a:lnTo>
                <a:lnTo>
                  <a:pt x="7013" y="3008"/>
                </a:lnTo>
                <a:lnTo>
                  <a:pt x="7005" y="3018"/>
                </a:lnTo>
                <a:lnTo>
                  <a:pt x="6996" y="3028"/>
                </a:lnTo>
                <a:lnTo>
                  <a:pt x="6987" y="3038"/>
                </a:lnTo>
                <a:lnTo>
                  <a:pt x="6977" y="3046"/>
                </a:lnTo>
                <a:lnTo>
                  <a:pt x="6968" y="3054"/>
                </a:lnTo>
                <a:lnTo>
                  <a:pt x="6958" y="3061"/>
                </a:lnTo>
                <a:lnTo>
                  <a:pt x="6948" y="3068"/>
                </a:lnTo>
                <a:lnTo>
                  <a:pt x="6938" y="3074"/>
                </a:lnTo>
                <a:lnTo>
                  <a:pt x="6926" y="3079"/>
                </a:lnTo>
                <a:lnTo>
                  <a:pt x="6915" y="3083"/>
                </a:lnTo>
                <a:lnTo>
                  <a:pt x="6904" y="3087"/>
                </a:lnTo>
                <a:lnTo>
                  <a:pt x="6893" y="3090"/>
                </a:lnTo>
                <a:lnTo>
                  <a:pt x="6881" y="3093"/>
                </a:lnTo>
                <a:lnTo>
                  <a:pt x="6868" y="3094"/>
                </a:lnTo>
                <a:lnTo>
                  <a:pt x="6856" y="3095"/>
                </a:lnTo>
                <a:close/>
                <a:moveTo>
                  <a:pt x="7244" y="3088"/>
                </a:moveTo>
                <a:lnTo>
                  <a:pt x="7242" y="3088"/>
                </a:lnTo>
                <a:lnTo>
                  <a:pt x="7240" y="3087"/>
                </a:lnTo>
                <a:lnTo>
                  <a:pt x="7234" y="3084"/>
                </a:lnTo>
                <a:lnTo>
                  <a:pt x="7227" y="3080"/>
                </a:lnTo>
                <a:lnTo>
                  <a:pt x="7220" y="3075"/>
                </a:lnTo>
                <a:lnTo>
                  <a:pt x="7207" y="3064"/>
                </a:lnTo>
                <a:lnTo>
                  <a:pt x="7192" y="3050"/>
                </a:lnTo>
                <a:lnTo>
                  <a:pt x="7176" y="3034"/>
                </a:lnTo>
                <a:lnTo>
                  <a:pt x="7158" y="3016"/>
                </a:lnTo>
                <a:lnTo>
                  <a:pt x="7142" y="2999"/>
                </a:lnTo>
                <a:lnTo>
                  <a:pt x="7128" y="2983"/>
                </a:lnTo>
                <a:lnTo>
                  <a:pt x="7117" y="2967"/>
                </a:lnTo>
                <a:lnTo>
                  <a:pt x="7112" y="2961"/>
                </a:lnTo>
                <a:lnTo>
                  <a:pt x="7108" y="2956"/>
                </a:lnTo>
                <a:lnTo>
                  <a:pt x="7103" y="2946"/>
                </a:lnTo>
                <a:lnTo>
                  <a:pt x="7099" y="2936"/>
                </a:lnTo>
                <a:lnTo>
                  <a:pt x="7097" y="2926"/>
                </a:lnTo>
                <a:lnTo>
                  <a:pt x="7096" y="2916"/>
                </a:lnTo>
                <a:lnTo>
                  <a:pt x="7096" y="2910"/>
                </a:lnTo>
                <a:lnTo>
                  <a:pt x="7097" y="2904"/>
                </a:lnTo>
                <a:lnTo>
                  <a:pt x="7098" y="2898"/>
                </a:lnTo>
                <a:lnTo>
                  <a:pt x="7100" y="2892"/>
                </a:lnTo>
                <a:lnTo>
                  <a:pt x="7103" y="2886"/>
                </a:lnTo>
                <a:lnTo>
                  <a:pt x="7106" y="2880"/>
                </a:lnTo>
                <a:lnTo>
                  <a:pt x="7111" y="2873"/>
                </a:lnTo>
                <a:lnTo>
                  <a:pt x="7115" y="2866"/>
                </a:lnTo>
                <a:lnTo>
                  <a:pt x="7124" y="2855"/>
                </a:lnTo>
                <a:lnTo>
                  <a:pt x="7135" y="2841"/>
                </a:lnTo>
                <a:lnTo>
                  <a:pt x="7164" y="2807"/>
                </a:lnTo>
                <a:lnTo>
                  <a:pt x="7200" y="2767"/>
                </a:lnTo>
                <a:lnTo>
                  <a:pt x="7236" y="2726"/>
                </a:lnTo>
                <a:lnTo>
                  <a:pt x="7237" y="2725"/>
                </a:lnTo>
                <a:lnTo>
                  <a:pt x="7241" y="2725"/>
                </a:lnTo>
                <a:lnTo>
                  <a:pt x="7244" y="2725"/>
                </a:lnTo>
                <a:lnTo>
                  <a:pt x="7248" y="2726"/>
                </a:lnTo>
                <a:lnTo>
                  <a:pt x="7253" y="2728"/>
                </a:lnTo>
                <a:lnTo>
                  <a:pt x="7257" y="2732"/>
                </a:lnTo>
                <a:lnTo>
                  <a:pt x="7261" y="2735"/>
                </a:lnTo>
                <a:lnTo>
                  <a:pt x="7265" y="2739"/>
                </a:lnTo>
                <a:lnTo>
                  <a:pt x="7269" y="2743"/>
                </a:lnTo>
                <a:lnTo>
                  <a:pt x="7271" y="2748"/>
                </a:lnTo>
                <a:lnTo>
                  <a:pt x="7273" y="2752"/>
                </a:lnTo>
                <a:lnTo>
                  <a:pt x="7273" y="2757"/>
                </a:lnTo>
                <a:lnTo>
                  <a:pt x="7273" y="2762"/>
                </a:lnTo>
                <a:lnTo>
                  <a:pt x="7271" y="2768"/>
                </a:lnTo>
                <a:lnTo>
                  <a:pt x="7268" y="2773"/>
                </a:lnTo>
                <a:lnTo>
                  <a:pt x="7264" y="2779"/>
                </a:lnTo>
                <a:lnTo>
                  <a:pt x="7256" y="2790"/>
                </a:lnTo>
                <a:lnTo>
                  <a:pt x="7244" y="2804"/>
                </a:lnTo>
                <a:lnTo>
                  <a:pt x="7214" y="2837"/>
                </a:lnTo>
                <a:lnTo>
                  <a:pt x="7185" y="2871"/>
                </a:lnTo>
                <a:lnTo>
                  <a:pt x="7173" y="2886"/>
                </a:lnTo>
                <a:lnTo>
                  <a:pt x="7163" y="2897"/>
                </a:lnTo>
                <a:lnTo>
                  <a:pt x="7160" y="2901"/>
                </a:lnTo>
                <a:lnTo>
                  <a:pt x="7158" y="2905"/>
                </a:lnTo>
                <a:lnTo>
                  <a:pt x="7157" y="2908"/>
                </a:lnTo>
                <a:lnTo>
                  <a:pt x="7157" y="2913"/>
                </a:lnTo>
                <a:lnTo>
                  <a:pt x="7157" y="2917"/>
                </a:lnTo>
                <a:lnTo>
                  <a:pt x="7159" y="2922"/>
                </a:lnTo>
                <a:lnTo>
                  <a:pt x="7161" y="2926"/>
                </a:lnTo>
                <a:lnTo>
                  <a:pt x="7164" y="2931"/>
                </a:lnTo>
                <a:lnTo>
                  <a:pt x="7172" y="2940"/>
                </a:lnTo>
                <a:lnTo>
                  <a:pt x="7183" y="2952"/>
                </a:lnTo>
                <a:lnTo>
                  <a:pt x="7210" y="2982"/>
                </a:lnTo>
                <a:lnTo>
                  <a:pt x="7243" y="3014"/>
                </a:lnTo>
                <a:lnTo>
                  <a:pt x="7274" y="3045"/>
                </a:lnTo>
                <a:lnTo>
                  <a:pt x="7276" y="3047"/>
                </a:lnTo>
                <a:lnTo>
                  <a:pt x="7277" y="3049"/>
                </a:lnTo>
                <a:lnTo>
                  <a:pt x="7278" y="3051"/>
                </a:lnTo>
                <a:lnTo>
                  <a:pt x="7278" y="3054"/>
                </a:lnTo>
                <a:lnTo>
                  <a:pt x="7277" y="3060"/>
                </a:lnTo>
                <a:lnTo>
                  <a:pt x="7276" y="3062"/>
                </a:lnTo>
                <a:lnTo>
                  <a:pt x="7275" y="3065"/>
                </a:lnTo>
                <a:lnTo>
                  <a:pt x="7271" y="3071"/>
                </a:lnTo>
                <a:lnTo>
                  <a:pt x="7269" y="3074"/>
                </a:lnTo>
                <a:lnTo>
                  <a:pt x="7267" y="3076"/>
                </a:lnTo>
                <a:lnTo>
                  <a:pt x="7261" y="3081"/>
                </a:lnTo>
                <a:lnTo>
                  <a:pt x="7259" y="3083"/>
                </a:lnTo>
                <a:lnTo>
                  <a:pt x="7256" y="3085"/>
                </a:lnTo>
                <a:lnTo>
                  <a:pt x="7250" y="3087"/>
                </a:lnTo>
                <a:lnTo>
                  <a:pt x="7247" y="3088"/>
                </a:lnTo>
                <a:lnTo>
                  <a:pt x="7244" y="3088"/>
                </a:lnTo>
                <a:close/>
                <a:moveTo>
                  <a:pt x="7605" y="1136"/>
                </a:moveTo>
                <a:lnTo>
                  <a:pt x="7597" y="1136"/>
                </a:lnTo>
                <a:lnTo>
                  <a:pt x="7588" y="1135"/>
                </a:lnTo>
                <a:lnTo>
                  <a:pt x="7581" y="1134"/>
                </a:lnTo>
                <a:lnTo>
                  <a:pt x="7574" y="1132"/>
                </a:lnTo>
                <a:lnTo>
                  <a:pt x="7566" y="1131"/>
                </a:lnTo>
                <a:lnTo>
                  <a:pt x="7559" y="1128"/>
                </a:lnTo>
                <a:lnTo>
                  <a:pt x="7546" y="1122"/>
                </a:lnTo>
                <a:lnTo>
                  <a:pt x="7533" y="1115"/>
                </a:lnTo>
                <a:lnTo>
                  <a:pt x="7525" y="1110"/>
                </a:lnTo>
                <a:lnTo>
                  <a:pt x="7519" y="1105"/>
                </a:lnTo>
                <a:lnTo>
                  <a:pt x="7513" y="1101"/>
                </a:lnTo>
                <a:lnTo>
                  <a:pt x="7508" y="1095"/>
                </a:lnTo>
                <a:lnTo>
                  <a:pt x="7502" y="1090"/>
                </a:lnTo>
                <a:lnTo>
                  <a:pt x="7497" y="1084"/>
                </a:lnTo>
                <a:lnTo>
                  <a:pt x="7492" y="1078"/>
                </a:lnTo>
                <a:lnTo>
                  <a:pt x="7487" y="1072"/>
                </a:lnTo>
                <a:lnTo>
                  <a:pt x="7483" y="1065"/>
                </a:lnTo>
                <a:lnTo>
                  <a:pt x="7479" y="1058"/>
                </a:lnTo>
                <a:lnTo>
                  <a:pt x="7475" y="1050"/>
                </a:lnTo>
                <a:lnTo>
                  <a:pt x="7471" y="1043"/>
                </a:lnTo>
                <a:lnTo>
                  <a:pt x="7467" y="1035"/>
                </a:lnTo>
                <a:lnTo>
                  <a:pt x="7464" y="1027"/>
                </a:lnTo>
                <a:lnTo>
                  <a:pt x="7461" y="1020"/>
                </a:lnTo>
                <a:lnTo>
                  <a:pt x="7459" y="1011"/>
                </a:lnTo>
                <a:lnTo>
                  <a:pt x="7457" y="1003"/>
                </a:lnTo>
                <a:lnTo>
                  <a:pt x="7455" y="994"/>
                </a:lnTo>
                <a:lnTo>
                  <a:pt x="7454" y="985"/>
                </a:lnTo>
                <a:lnTo>
                  <a:pt x="7453" y="976"/>
                </a:lnTo>
                <a:lnTo>
                  <a:pt x="7452" y="967"/>
                </a:lnTo>
                <a:lnTo>
                  <a:pt x="7452" y="958"/>
                </a:lnTo>
                <a:lnTo>
                  <a:pt x="7453" y="939"/>
                </a:lnTo>
                <a:lnTo>
                  <a:pt x="7454" y="929"/>
                </a:lnTo>
                <a:lnTo>
                  <a:pt x="7455" y="920"/>
                </a:lnTo>
                <a:lnTo>
                  <a:pt x="7457" y="911"/>
                </a:lnTo>
                <a:lnTo>
                  <a:pt x="7459" y="902"/>
                </a:lnTo>
                <a:lnTo>
                  <a:pt x="7462" y="893"/>
                </a:lnTo>
                <a:lnTo>
                  <a:pt x="7465" y="884"/>
                </a:lnTo>
                <a:lnTo>
                  <a:pt x="7468" y="876"/>
                </a:lnTo>
                <a:lnTo>
                  <a:pt x="7472" y="867"/>
                </a:lnTo>
                <a:lnTo>
                  <a:pt x="7476" y="859"/>
                </a:lnTo>
                <a:lnTo>
                  <a:pt x="7480" y="851"/>
                </a:lnTo>
                <a:lnTo>
                  <a:pt x="7485" y="843"/>
                </a:lnTo>
                <a:lnTo>
                  <a:pt x="7489" y="836"/>
                </a:lnTo>
                <a:lnTo>
                  <a:pt x="7499" y="822"/>
                </a:lnTo>
                <a:lnTo>
                  <a:pt x="7505" y="816"/>
                </a:lnTo>
                <a:lnTo>
                  <a:pt x="7511" y="809"/>
                </a:lnTo>
                <a:lnTo>
                  <a:pt x="7523" y="797"/>
                </a:lnTo>
                <a:lnTo>
                  <a:pt x="7529" y="792"/>
                </a:lnTo>
                <a:lnTo>
                  <a:pt x="7537" y="787"/>
                </a:lnTo>
                <a:lnTo>
                  <a:pt x="7544" y="783"/>
                </a:lnTo>
                <a:lnTo>
                  <a:pt x="7551" y="779"/>
                </a:lnTo>
                <a:lnTo>
                  <a:pt x="7558" y="775"/>
                </a:lnTo>
                <a:lnTo>
                  <a:pt x="7566" y="772"/>
                </a:lnTo>
                <a:lnTo>
                  <a:pt x="7573" y="769"/>
                </a:lnTo>
                <a:lnTo>
                  <a:pt x="7581" y="767"/>
                </a:lnTo>
                <a:lnTo>
                  <a:pt x="7589" y="765"/>
                </a:lnTo>
                <a:lnTo>
                  <a:pt x="7598" y="764"/>
                </a:lnTo>
                <a:lnTo>
                  <a:pt x="7606" y="763"/>
                </a:lnTo>
                <a:lnTo>
                  <a:pt x="7614" y="763"/>
                </a:lnTo>
                <a:lnTo>
                  <a:pt x="7625" y="763"/>
                </a:lnTo>
                <a:lnTo>
                  <a:pt x="7630" y="764"/>
                </a:lnTo>
                <a:lnTo>
                  <a:pt x="7635" y="765"/>
                </a:lnTo>
                <a:lnTo>
                  <a:pt x="7644" y="767"/>
                </a:lnTo>
                <a:lnTo>
                  <a:pt x="7653" y="770"/>
                </a:lnTo>
                <a:lnTo>
                  <a:pt x="7662" y="774"/>
                </a:lnTo>
                <a:lnTo>
                  <a:pt x="7669" y="779"/>
                </a:lnTo>
                <a:lnTo>
                  <a:pt x="7676" y="785"/>
                </a:lnTo>
                <a:lnTo>
                  <a:pt x="7679" y="788"/>
                </a:lnTo>
                <a:lnTo>
                  <a:pt x="7682" y="791"/>
                </a:lnTo>
                <a:lnTo>
                  <a:pt x="7682" y="925"/>
                </a:lnTo>
                <a:lnTo>
                  <a:pt x="7677" y="933"/>
                </a:lnTo>
                <a:lnTo>
                  <a:pt x="7671" y="939"/>
                </a:lnTo>
                <a:lnTo>
                  <a:pt x="7665" y="945"/>
                </a:lnTo>
                <a:lnTo>
                  <a:pt x="7659" y="951"/>
                </a:lnTo>
                <a:lnTo>
                  <a:pt x="7653" y="957"/>
                </a:lnTo>
                <a:lnTo>
                  <a:pt x="7645" y="962"/>
                </a:lnTo>
                <a:lnTo>
                  <a:pt x="7638" y="966"/>
                </a:lnTo>
                <a:lnTo>
                  <a:pt x="7631" y="971"/>
                </a:lnTo>
                <a:lnTo>
                  <a:pt x="7623" y="975"/>
                </a:lnTo>
                <a:lnTo>
                  <a:pt x="7615" y="978"/>
                </a:lnTo>
                <a:lnTo>
                  <a:pt x="7608" y="981"/>
                </a:lnTo>
                <a:lnTo>
                  <a:pt x="7600" y="984"/>
                </a:lnTo>
                <a:lnTo>
                  <a:pt x="7591" y="986"/>
                </a:lnTo>
                <a:lnTo>
                  <a:pt x="7582" y="987"/>
                </a:lnTo>
                <a:lnTo>
                  <a:pt x="7574" y="988"/>
                </a:lnTo>
                <a:lnTo>
                  <a:pt x="7566" y="988"/>
                </a:lnTo>
                <a:lnTo>
                  <a:pt x="7561" y="988"/>
                </a:lnTo>
                <a:lnTo>
                  <a:pt x="7556" y="986"/>
                </a:lnTo>
                <a:lnTo>
                  <a:pt x="7551" y="983"/>
                </a:lnTo>
                <a:lnTo>
                  <a:pt x="7549" y="981"/>
                </a:lnTo>
                <a:lnTo>
                  <a:pt x="7547" y="979"/>
                </a:lnTo>
                <a:lnTo>
                  <a:pt x="7544" y="974"/>
                </a:lnTo>
                <a:lnTo>
                  <a:pt x="7542" y="969"/>
                </a:lnTo>
                <a:lnTo>
                  <a:pt x="7541" y="966"/>
                </a:lnTo>
                <a:lnTo>
                  <a:pt x="7540" y="963"/>
                </a:lnTo>
                <a:lnTo>
                  <a:pt x="7540" y="957"/>
                </a:lnTo>
                <a:lnTo>
                  <a:pt x="7540" y="954"/>
                </a:lnTo>
                <a:lnTo>
                  <a:pt x="7540" y="951"/>
                </a:lnTo>
                <a:lnTo>
                  <a:pt x="7541" y="947"/>
                </a:lnTo>
                <a:lnTo>
                  <a:pt x="7542" y="944"/>
                </a:lnTo>
                <a:lnTo>
                  <a:pt x="7544" y="943"/>
                </a:lnTo>
                <a:lnTo>
                  <a:pt x="7545" y="941"/>
                </a:lnTo>
                <a:lnTo>
                  <a:pt x="7547" y="940"/>
                </a:lnTo>
                <a:lnTo>
                  <a:pt x="7558" y="938"/>
                </a:lnTo>
                <a:lnTo>
                  <a:pt x="7568" y="935"/>
                </a:lnTo>
                <a:lnTo>
                  <a:pt x="7578" y="932"/>
                </a:lnTo>
                <a:lnTo>
                  <a:pt x="7588" y="927"/>
                </a:lnTo>
                <a:lnTo>
                  <a:pt x="7598" y="922"/>
                </a:lnTo>
                <a:lnTo>
                  <a:pt x="7606" y="917"/>
                </a:lnTo>
                <a:lnTo>
                  <a:pt x="7614" y="912"/>
                </a:lnTo>
                <a:lnTo>
                  <a:pt x="7618" y="909"/>
                </a:lnTo>
                <a:lnTo>
                  <a:pt x="7622" y="906"/>
                </a:lnTo>
                <a:lnTo>
                  <a:pt x="7628" y="900"/>
                </a:lnTo>
                <a:lnTo>
                  <a:pt x="7634" y="893"/>
                </a:lnTo>
                <a:lnTo>
                  <a:pt x="7639" y="886"/>
                </a:lnTo>
                <a:lnTo>
                  <a:pt x="7643" y="880"/>
                </a:lnTo>
                <a:lnTo>
                  <a:pt x="7646" y="873"/>
                </a:lnTo>
                <a:lnTo>
                  <a:pt x="7649" y="865"/>
                </a:lnTo>
                <a:lnTo>
                  <a:pt x="7651" y="857"/>
                </a:lnTo>
                <a:lnTo>
                  <a:pt x="7652" y="850"/>
                </a:lnTo>
                <a:lnTo>
                  <a:pt x="7651" y="842"/>
                </a:lnTo>
                <a:lnTo>
                  <a:pt x="7648" y="835"/>
                </a:lnTo>
                <a:lnTo>
                  <a:pt x="7646" y="832"/>
                </a:lnTo>
                <a:lnTo>
                  <a:pt x="7645" y="829"/>
                </a:lnTo>
                <a:lnTo>
                  <a:pt x="7642" y="826"/>
                </a:lnTo>
                <a:lnTo>
                  <a:pt x="7640" y="823"/>
                </a:lnTo>
                <a:lnTo>
                  <a:pt x="7634" y="819"/>
                </a:lnTo>
                <a:lnTo>
                  <a:pt x="7631" y="817"/>
                </a:lnTo>
                <a:lnTo>
                  <a:pt x="7627" y="816"/>
                </a:lnTo>
                <a:lnTo>
                  <a:pt x="7619" y="814"/>
                </a:lnTo>
                <a:lnTo>
                  <a:pt x="7615" y="814"/>
                </a:lnTo>
                <a:lnTo>
                  <a:pt x="7610" y="814"/>
                </a:lnTo>
                <a:lnTo>
                  <a:pt x="7602" y="814"/>
                </a:lnTo>
                <a:lnTo>
                  <a:pt x="7597" y="815"/>
                </a:lnTo>
                <a:lnTo>
                  <a:pt x="7593" y="816"/>
                </a:lnTo>
                <a:lnTo>
                  <a:pt x="7587" y="818"/>
                </a:lnTo>
                <a:lnTo>
                  <a:pt x="7583" y="820"/>
                </a:lnTo>
                <a:lnTo>
                  <a:pt x="7579" y="822"/>
                </a:lnTo>
                <a:lnTo>
                  <a:pt x="7574" y="825"/>
                </a:lnTo>
                <a:lnTo>
                  <a:pt x="7570" y="827"/>
                </a:lnTo>
                <a:lnTo>
                  <a:pt x="7566" y="830"/>
                </a:lnTo>
                <a:lnTo>
                  <a:pt x="7557" y="838"/>
                </a:lnTo>
                <a:lnTo>
                  <a:pt x="7550" y="846"/>
                </a:lnTo>
                <a:lnTo>
                  <a:pt x="7542" y="855"/>
                </a:lnTo>
                <a:lnTo>
                  <a:pt x="7539" y="859"/>
                </a:lnTo>
                <a:lnTo>
                  <a:pt x="7535" y="865"/>
                </a:lnTo>
                <a:lnTo>
                  <a:pt x="7528" y="876"/>
                </a:lnTo>
                <a:lnTo>
                  <a:pt x="7523" y="888"/>
                </a:lnTo>
                <a:lnTo>
                  <a:pt x="7518" y="900"/>
                </a:lnTo>
                <a:lnTo>
                  <a:pt x="7514" y="913"/>
                </a:lnTo>
                <a:lnTo>
                  <a:pt x="7511" y="926"/>
                </a:lnTo>
                <a:lnTo>
                  <a:pt x="7509" y="941"/>
                </a:lnTo>
                <a:lnTo>
                  <a:pt x="7509" y="948"/>
                </a:lnTo>
                <a:lnTo>
                  <a:pt x="7509" y="955"/>
                </a:lnTo>
                <a:lnTo>
                  <a:pt x="7509" y="968"/>
                </a:lnTo>
                <a:lnTo>
                  <a:pt x="7511" y="980"/>
                </a:lnTo>
                <a:lnTo>
                  <a:pt x="7513" y="993"/>
                </a:lnTo>
                <a:lnTo>
                  <a:pt x="7514" y="998"/>
                </a:lnTo>
                <a:lnTo>
                  <a:pt x="7516" y="1004"/>
                </a:lnTo>
                <a:lnTo>
                  <a:pt x="7519" y="1014"/>
                </a:lnTo>
                <a:lnTo>
                  <a:pt x="7521" y="1019"/>
                </a:lnTo>
                <a:lnTo>
                  <a:pt x="7524" y="1024"/>
                </a:lnTo>
                <a:lnTo>
                  <a:pt x="7526" y="1029"/>
                </a:lnTo>
                <a:lnTo>
                  <a:pt x="7529" y="1033"/>
                </a:lnTo>
                <a:lnTo>
                  <a:pt x="7533" y="1037"/>
                </a:lnTo>
                <a:lnTo>
                  <a:pt x="7536" y="1041"/>
                </a:lnTo>
                <a:lnTo>
                  <a:pt x="7539" y="1045"/>
                </a:lnTo>
                <a:lnTo>
                  <a:pt x="7542" y="1049"/>
                </a:lnTo>
                <a:lnTo>
                  <a:pt x="7550" y="1056"/>
                </a:lnTo>
                <a:lnTo>
                  <a:pt x="7558" y="1062"/>
                </a:lnTo>
                <a:lnTo>
                  <a:pt x="7566" y="1067"/>
                </a:lnTo>
                <a:lnTo>
                  <a:pt x="7575" y="1071"/>
                </a:lnTo>
                <a:lnTo>
                  <a:pt x="7585" y="1073"/>
                </a:lnTo>
                <a:lnTo>
                  <a:pt x="7596" y="1075"/>
                </a:lnTo>
                <a:lnTo>
                  <a:pt x="7601" y="1076"/>
                </a:lnTo>
                <a:lnTo>
                  <a:pt x="7607" y="1076"/>
                </a:lnTo>
                <a:lnTo>
                  <a:pt x="7617" y="1075"/>
                </a:lnTo>
                <a:lnTo>
                  <a:pt x="7622" y="1075"/>
                </a:lnTo>
                <a:lnTo>
                  <a:pt x="7627" y="1074"/>
                </a:lnTo>
                <a:lnTo>
                  <a:pt x="7637" y="1071"/>
                </a:lnTo>
                <a:lnTo>
                  <a:pt x="7646" y="1068"/>
                </a:lnTo>
                <a:lnTo>
                  <a:pt x="7656" y="1064"/>
                </a:lnTo>
                <a:lnTo>
                  <a:pt x="7661" y="1062"/>
                </a:lnTo>
                <a:lnTo>
                  <a:pt x="7665" y="1059"/>
                </a:lnTo>
                <a:lnTo>
                  <a:pt x="7674" y="1054"/>
                </a:lnTo>
                <a:lnTo>
                  <a:pt x="7682" y="1046"/>
                </a:lnTo>
                <a:lnTo>
                  <a:pt x="7682" y="1118"/>
                </a:lnTo>
                <a:lnTo>
                  <a:pt x="7673" y="1122"/>
                </a:lnTo>
                <a:lnTo>
                  <a:pt x="7664" y="1126"/>
                </a:lnTo>
                <a:lnTo>
                  <a:pt x="7655" y="1129"/>
                </a:lnTo>
                <a:lnTo>
                  <a:pt x="7644" y="1131"/>
                </a:lnTo>
                <a:lnTo>
                  <a:pt x="7635" y="1133"/>
                </a:lnTo>
                <a:lnTo>
                  <a:pt x="7625" y="1135"/>
                </a:lnTo>
                <a:lnTo>
                  <a:pt x="7615" y="1136"/>
                </a:lnTo>
                <a:lnTo>
                  <a:pt x="7605" y="1136"/>
                </a:lnTo>
                <a:close/>
                <a:moveTo>
                  <a:pt x="7605" y="2129"/>
                </a:moveTo>
                <a:lnTo>
                  <a:pt x="7597" y="2129"/>
                </a:lnTo>
                <a:lnTo>
                  <a:pt x="7588" y="2128"/>
                </a:lnTo>
                <a:lnTo>
                  <a:pt x="7581" y="2127"/>
                </a:lnTo>
                <a:lnTo>
                  <a:pt x="7574" y="2126"/>
                </a:lnTo>
                <a:lnTo>
                  <a:pt x="7566" y="2124"/>
                </a:lnTo>
                <a:lnTo>
                  <a:pt x="7559" y="2121"/>
                </a:lnTo>
                <a:lnTo>
                  <a:pt x="7546" y="2116"/>
                </a:lnTo>
                <a:lnTo>
                  <a:pt x="7533" y="2108"/>
                </a:lnTo>
                <a:lnTo>
                  <a:pt x="7525" y="2104"/>
                </a:lnTo>
                <a:lnTo>
                  <a:pt x="7519" y="2100"/>
                </a:lnTo>
                <a:lnTo>
                  <a:pt x="7513" y="2095"/>
                </a:lnTo>
                <a:lnTo>
                  <a:pt x="7508" y="2090"/>
                </a:lnTo>
                <a:lnTo>
                  <a:pt x="7502" y="2084"/>
                </a:lnTo>
                <a:lnTo>
                  <a:pt x="7497" y="2078"/>
                </a:lnTo>
                <a:lnTo>
                  <a:pt x="7492" y="2072"/>
                </a:lnTo>
                <a:lnTo>
                  <a:pt x="7487" y="2065"/>
                </a:lnTo>
                <a:lnTo>
                  <a:pt x="7483" y="2058"/>
                </a:lnTo>
                <a:lnTo>
                  <a:pt x="7479" y="2051"/>
                </a:lnTo>
                <a:lnTo>
                  <a:pt x="7475" y="2044"/>
                </a:lnTo>
                <a:lnTo>
                  <a:pt x="7471" y="2037"/>
                </a:lnTo>
                <a:lnTo>
                  <a:pt x="7467" y="2029"/>
                </a:lnTo>
                <a:lnTo>
                  <a:pt x="7464" y="2022"/>
                </a:lnTo>
                <a:lnTo>
                  <a:pt x="7461" y="2014"/>
                </a:lnTo>
                <a:lnTo>
                  <a:pt x="7459" y="2005"/>
                </a:lnTo>
                <a:lnTo>
                  <a:pt x="7457" y="1996"/>
                </a:lnTo>
                <a:lnTo>
                  <a:pt x="7455" y="1988"/>
                </a:lnTo>
                <a:lnTo>
                  <a:pt x="7454" y="1979"/>
                </a:lnTo>
                <a:lnTo>
                  <a:pt x="7453" y="1970"/>
                </a:lnTo>
                <a:lnTo>
                  <a:pt x="7452" y="1961"/>
                </a:lnTo>
                <a:lnTo>
                  <a:pt x="7452" y="1952"/>
                </a:lnTo>
                <a:lnTo>
                  <a:pt x="7453" y="1932"/>
                </a:lnTo>
                <a:lnTo>
                  <a:pt x="7454" y="1923"/>
                </a:lnTo>
                <a:lnTo>
                  <a:pt x="7455" y="1914"/>
                </a:lnTo>
                <a:lnTo>
                  <a:pt x="7457" y="1905"/>
                </a:lnTo>
                <a:lnTo>
                  <a:pt x="7459" y="1896"/>
                </a:lnTo>
                <a:lnTo>
                  <a:pt x="7462" y="1886"/>
                </a:lnTo>
                <a:lnTo>
                  <a:pt x="7465" y="1878"/>
                </a:lnTo>
                <a:lnTo>
                  <a:pt x="7468" y="1869"/>
                </a:lnTo>
                <a:lnTo>
                  <a:pt x="7472" y="1861"/>
                </a:lnTo>
                <a:lnTo>
                  <a:pt x="7476" y="1853"/>
                </a:lnTo>
                <a:lnTo>
                  <a:pt x="7480" y="1845"/>
                </a:lnTo>
                <a:lnTo>
                  <a:pt x="7485" y="1838"/>
                </a:lnTo>
                <a:lnTo>
                  <a:pt x="7489" y="1829"/>
                </a:lnTo>
                <a:lnTo>
                  <a:pt x="7499" y="1815"/>
                </a:lnTo>
                <a:lnTo>
                  <a:pt x="7505" y="1809"/>
                </a:lnTo>
                <a:lnTo>
                  <a:pt x="7511" y="1803"/>
                </a:lnTo>
                <a:lnTo>
                  <a:pt x="7523" y="1791"/>
                </a:lnTo>
                <a:lnTo>
                  <a:pt x="7529" y="1786"/>
                </a:lnTo>
                <a:lnTo>
                  <a:pt x="7537" y="1781"/>
                </a:lnTo>
                <a:lnTo>
                  <a:pt x="7544" y="1777"/>
                </a:lnTo>
                <a:lnTo>
                  <a:pt x="7551" y="1773"/>
                </a:lnTo>
                <a:lnTo>
                  <a:pt x="7558" y="1768"/>
                </a:lnTo>
                <a:lnTo>
                  <a:pt x="7566" y="1765"/>
                </a:lnTo>
                <a:lnTo>
                  <a:pt x="7573" y="1762"/>
                </a:lnTo>
                <a:lnTo>
                  <a:pt x="7581" y="1760"/>
                </a:lnTo>
                <a:lnTo>
                  <a:pt x="7589" y="1758"/>
                </a:lnTo>
                <a:lnTo>
                  <a:pt x="7598" y="1757"/>
                </a:lnTo>
                <a:lnTo>
                  <a:pt x="7606" y="1756"/>
                </a:lnTo>
                <a:lnTo>
                  <a:pt x="7614" y="1756"/>
                </a:lnTo>
                <a:lnTo>
                  <a:pt x="7625" y="1756"/>
                </a:lnTo>
                <a:lnTo>
                  <a:pt x="7630" y="1757"/>
                </a:lnTo>
                <a:lnTo>
                  <a:pt x="7635" y="1758"/>
                </a:lnTo>
                <a:lnTo>
                  <a:pt x="7644" y="1760"/>
                </a:lnTo>
                <a:lnTo>
                  <a:pt x="7653" y="1764"/>
                </a:lnTo>
                <a:lnTo>
                  <a:pt x="7662" y="1768"/>
                </a:lnTo>
                <a:lnTo>
                  <a:pt x="7669" y="1774"/>
                </a:lnTo>
                <a:lnTo>
                  <a:pt x="7676" y="1779"/>
                </a:lnTo>
                <a:lnTo>
                  <a:pt x="7679" y="1782"/>
                </a:lnTo>
                <a:lnTo>
                  <a:pt x="7682" y="1785"/>
                </a:lnTo>
                <a:lnTo>
                  <a:pt x="7682" y="1919"/>
                </a:lnTo>
                <a:lnTo>
                  <a:pt x="7677" y="1926"/>
                </a:lnTo>
                <a:lnTo>
                  <a:pt x="7671" y="1932"/>
                </a:lnTo>
                <a:lnTo>
                  <a:pt x="7665" y="1938"/>
                </a:lnTo>
                <a:lnTo>
                  <a:pt x="7659" y="1944"/>
                </a:lnTo>
                <a:lnTo>
                  <a:pt x="7653" y="1950"/>
                </a:lnTo>
                <a:lnTo>
                  <a:pt x="7645" y="1956"/>
                </a:lnTo>
                <a:lnTo>
                  <a:pt x="7638" y="1961"/>
                </a:lnTo>
                <a:lnTo>
                  <a:pt x="7631" y="1965"/>
                </a:lnTo>
                <a:lnTo>
                  <a:pt x="7623" y="1969"/>
                </a:lnTo>
                <a:lnTo>
                  <a:pt x="7615" y="1972"/>
                </a:lnTo>
                <a:lnTo>
                  <a:pt x="7608" y="1975"/>
                </a:lnTo>
                <a:lnTo>
                  <a:pt x="7600" y="1978"/>
                </a:lnTo>
                <a:lnTo>
                  <a:pt x="7591" y="1980"/>
                </a:lnTo>
                <a:lnTo>
                  <a:pt x="7582" y="1981"/>
                </a:lnTo>
                <a:lnTo>
                  <a:pt x="7574" y="1982"/>
                </a:lnTo>
                <a:lnTo>
                  <a:pt x="7566" y="1982"/>
                </a:lnTo>
                <a:lnTo>
                  <a:pt x="7561" y="1982"/>
                </a:lnTo>
                <a:lnTo>
                  <a:pt x="7556" y="1980"/>
                </a:lnTo>
                <a:lnTo>
                  <a:pt x="7551" y="1977"/>
                </a:lnTo>
                <a:lnTo>
                  <a:pt x="7549" y="1975"/>
                </a:lnTo>
                <a:lnTo>
                  <a:pt x="7547" y="1973"/>
                </a:lnTo>
                <a:lnTo>
                  <a:pt x="7544" y="1969"/>
                </a:lnTo>
                <a:lnTo>
                  <a:pt x="7542" y="1963"/>
                </a:lnTo>
                <a:lnTo>
                  <a:pt x="7541" y="1961"/>
                </a:lnTo>
                <a:lnTo>
                  <a:pt x="7540" y="1958"/>
                </a:lnTo>
                <a:lnTo>
                  <a:pt x="7540" y="1950"/>
                </a:lnTo>
                <a:lnTo>
                  <a:pt x="7540" y="1947"/>
                </a:lnTo>
                <a:lnTo>
                  <a:pt x="7540" y="1945"/>
                </a:lnTo>
                <a:lnTo>
                  <a:pt x="7541" y="1940"/>
                </a:lnTo>
                <a:lnTo>
                  <a:pt x="7542" y="1938"/>
                </a:lnTo>
                <a:lnTo>
                  <a:pt x="7544" y="1936"/>
                </a:lnTo>
                <a:lnTo>
                  <a:pt x="7545" y="1934"/>
                </a:lnTo>
                <a:lnTo>
                  <a:pt x="7547" y="1933"/>
                </a:lnTo>
                <a:lnTo>
                  <a:pt x="7558" y="1931"/>
                </a:lnTo>
                <a:lnTo>
                  <a:pt x="7568" y="1928"/>
                </a:lnTo>
                <a:lnTo>
                  <a:pt x="7578" y="1925"/>
                </a:lnTo>
                <a:lnTo>
                  <a:pt x="7588" y="1921"/>
                </a:lnTo>
                <a:lnTo>
                  <a:pt x="7598" y="1917"/>
                </a:lnTo>
                <a:lnTo>
                  <a:pt x="7606" y="1911"/>
                </a:lnTo>
                <a:lnTo>
                  <a:pt x="7614" y="1906"/>
                </a:lnTo>
                <a:lnTo>
                  <a:pt x="7618" y="1903"/>
                </a:lnTo>
                <a:lnTo>
                  <a:pt x="7622" y="1900"/>
                </a:lnTo>
                <a:lnTo>
                  <a:pt x="7628" y="1894"/>
                </a:lnTo>
                <a:lnTo>
                  <a:pt x="7634" y="1886"/>
                </a:lnTo>
                <a:lnTo>
                  <a:pt x="7639" y="1880"/>
                </a:lnTo>
                <a:lnTo>
                  <a:pt x="7643" y="1873"/>
                </a:lnTo>
                <a:lnTo>
                  <a:pt x="7646" y="1866"/>
                </a:lnTo>
                <a:lnTo>
                  <a:pt x="7649" y="1859"/>
                </a:lnTo>
                <a:lnTo>
                  <a:pt x="7651" y="1852"/>
                </a:lnTo>
                <a:lnTo>
                  <a:pt x="7652" y="1845"/>
                </a:lnTo>
                <a:lnTo>
                  <a:pt x="7651" y="1837"/>
                </a:lnTo>
                <a:lnTo>
                  <a:pt x="7648" y="1828"/>
                </a:lnTo>
                <a:lnTo>
                  <a:pt x="7646" y="1825"/>
                </a:lnTo>
                <a:lnTo>
                  <a:pt x="7645" y="1822"/>
                </a:lnTo>
                <a:lnTo>
                  <a:pt x="7642" y="1819"/>
                </a:lnTo>
                <a:lnTo>
                  <a:pt x="7640" y="1817"/>
                </a:lnTo>
                <a:lnTo>
                  <a:pt x="7634" y="1812"/>
                </a:lnTo>
                <a:lnTo>
                  <a:pt x="7631" y="1811"/>
                </a:lnTo>
                <a:lnTo>
                  <a:pt x="7627" y="1809"/>
                </a:lnTo>
                <a:lnTo>
                  <a:pt x="7619" y="1807"/>
                </a:lnTo>
                <a:lnTo>
                  <a:pt x="7615" y="1807"/>
                </a:lnTo>
                <a:lnTo>
                  <a:pt x="7610" y="1807"/>
                </a:lnTo>
                <a:lnTo>
                  <a:pt x="7602" y="1807"/>
                </a:lnTo>
                <a:lnTo>
                  <a:pt x="7597" y="1808"/>
                </a:lnTo>
                <a:lnTo>
                  <a:pt x="7593" y="1810"/>
                </a:lnTo>
                <a:lnTo>
                  <a:pt x="7587" y="1811"/>
                </a:lnTo>
                <a:lnTo>
                  <a:pt x="7583" y="1813"/>
                </a:lnTo>
                <a:lnTo>
                  <a:pt x="7579" y="1815"/>
                </a:lnTo>
                <a:lnTo>
                  <a:pt x="7574" y="1818"/>
                </a:lnTo>
                <a:lnTo>
                  <a:pt x="7570" y="1821"/>
                </a:lnTo>
                <a:lnTo>
                  <a:pt x="7566" y="1824"/>
                </a:lnTo>
                <a:lnTo>
                  <a:pt x="7557" y="1832"/>
                </a:lnTo>
                <a:lnTo>
                  <a:pt x="7550" y="1840"/>
                </a:lnTo>
                <a:lnTo>
                  <a:pt x="7542" y="1849"/>
                </a:lnTo>
                <a:lnTo>
                  <a:pt x="7539" y="1854"/>
                </a:lnTo>
                <a:lnTo>
                  <a:pt x="7535" y="1859"/>
                </a:lnTo>
                <a:lnTo>
                  <a:pt x="7528" y="1870"/>
                </a:lnTo>
                <a:lnTo>
                  <a:pt x="7523" y="1881"/>
                </a:lnTo>
                <a:lnTo>
                  <a:pt x="7518" y="1894"/>
                </a:lnTo>
                <a:lnTo>
                  <a:pt x="7514" y="1907"/>
                </a:lnTo>
                <a:lnTo>
                  <a:pt x="7511" y="1920"/>
                </a:lnTo>
                <a:lnTo>
                  <a:pt x="7509" y="1934"/>
                </a:lnTo>
                <a:lnTo>
                  <a:pt x="7509" y="1941"/>
                </a:lnTo>
                <a:lnTo>
                  <a:pt x="7509" y="1948"/>
                </a:lnTo>
                <a:lnTo>
                  <a:pt x="7509" y="1962"/>
                </a:lnTo>
                <a:lnTo>
                  <a:pt x="7511" y="1974"/>
                </a:lnTo>
                <a:lnTo>
                  <a:pt x="7513" y="1986"/>
                </a:lnTo>
                <a:lnTo>
                  <a:pt x="7514" y="1991"/>
                </a:lnTo>
                <a:lnTo>
                  <a:pt x="7516" y="1997"/>
                </a:lnTo>
                <a:lnTo>
                  <a:pt x="7519" y="2007"/>
                </a:lnTo>
                <a:lnTo>
                  <a:pt x="7521" y="2013"/>
                </a:lnTo>
                <a:lnTo>
                  <a:pt x="7524" y="2018"/>
                </a:lnTo>
                <a:lnTo>
                  <a:pt x="7526" y="2023"/>
                </a:lnTo>
                <a:lnTo>
                  <a:pt x="7529" y="2027"/>
                </a:lnTo>
                <a:lnTo>
                  <a:pt x="7533" y="2031"/>
                </a:lnTo>
                <a:lnTo>
                  <a:pt x="7536" y="2035"/>
                </a:lnTo>
                <a:lnTo>
                  <a:pt x="7539" y="2039"/>
                </a:lnTo>
                <a:lnTo>
                  <a:pt x="7542" y="2043"/>
                </a:lnTo>
                <a:lnTo>
                  <a:pt x="7550" y="2050"/>
                </a:lnTo>
                <a:lnTo>
                  <a:pt x="7558" y="2055"/>
                </a:lnTo>
                <a:lnTo>
                  <a:pt x="7566" y="2060"/>
                </a:lnTo>
                <a:lnTo>
                  <a:pt x="7575" y="2064"/>
                </a:lnTo>
                <a:lnTo>
                  <a:pt x="7585" y="2067"/>
                </a:lnTo>
                <a:lnTo>
                  <a:pt x="7596" y="2068"/>
                </a:lnTo>
                <a:lnTo>
                  <a:pt x="7601" y="2069"/>
                </a:lnTo>
                <a:lnTo>
                  <a:pt x="7607" y="2069"/>
                </a:lnTo>
                <a:lnTo>
                  <a:pt x="7617" y="2068"/>
                </a:lnTo>
                <a:lnTo>
                  <a:pt x="7622" y="2068"/>
                </a:lnTo>
                <a:lnTo>
                  <a:pt x="7627" y="2067"/>
                </a:lnTo>
                <a:lnTo>
                  <a:pt x="7637" y="2065"/>
                </a:lnTo>
                <a:lnTo>
                  <a:pt x="7646" y="2061"/>
                </a:lnTo>
                <a:lnTo>
                  <a:pt x="7656" y="2057"/>
                </a:lnTo>
                <a:lnTo>
                  <a:pt x="7661" y="2055"/>
                </a:lnTo>
                <a:lnTo>
                  <a:pt x="7665" y="2052"/>
                </a:lnTo>
                <a:lnTo>
                  <a:pt x="7674" y="2047"/>
                </a:lnTo>
                <a:lnTo>
                  <a:pt x="7682" y="2040"/>
                </a:lnTo>
                <a:lnTo>
                  <a:pt x="7682" y="2111"/>
                </a:lnTo>
                <a:lnTo>
                  <a:pt x="7673" y="2115"/>
                </a:lnTo>
                <a:lnTo>
                  <a:pt x="7664" y="2119"/>
                </a:lnTo>
                <a:lnTo>
                  <a:pt x="7655" y="2122"/>
                </a:lnTo>
                <a:lnTo>
                  <a:pt x="7644" y="2125"/>
                </a:lnTo>
                <a:lnTo>
                  <a:pt x="7635" y="2127"/>
                </a:lnTo>
                <a:lnTo>
                  <a:pt x="7625" y="2128"/>
                </a:lnTo>
                <a:lnTo>
                  <a:pt x="7615" y="2129"/>
                </a:lnTo>
                <a:lnTo>
                  <a:pt x="7605" y="2129"/>
                </a:lnTo>
                <a:close/>
                <a:moveTo>
                  <a:pt x="7605" y="3095"/>
                </a:moveTo>
                <a:lnTo>
                  <a:pt x="7597" y="3094"/>
                </a:lnTo>
                <a:lnTo>
                  <a:pt x="7588" y="3094"/>
                </a:lnTo>
                <a:lnTo>
                  <a:pt x="7581" y="3093"/>
                </a:lnTo>
                <a:lnTo>
                  <a:pt x="7574" y="3090"/>
                </a:lnTo>
                <a:lnTo>
                  <a:pt x="7566" y="3088"/>
                </a:lnTo>
                <a:lnTo>
                  <a:pt x="7559" y="3086"/>
                </a:lnTo>
                <a:lnTo>
                  <a:pt x="7546" y="3080"/>
                </a:lnTo>
                <a:lnTo>
                  <a:pt x="7533" y="3073"/>
                </a:lnTo>
                <a:lnTo>
                  <a:pt x="7525" y="3069"/>
                </a:lnTo>
                <a:lnTo>
                  <a:pt x="7519" y="3064"/>
                </a:lnTo>
                <a:lnTo>
                  <a:pt x="7513" y="3059"/>
                </a:lnTo>
                <a:lnTo>
                  <a:pt x="7508" y="3054"/>
                </a:lnTo>
                <a:lnTo>
                  <a:pt x="7502" y="3049"/>
                </a:lnTo>
                <a:lnTo>
                  <a:pt x="7497" y="3043"/>
                </a:lnTo>
                <a:lnTo>
                  <a:pt x="7492" y="3037"/>
                </a:lnTo>
                <a:lnTo>
                  <a:pt x="7487" y="3029"/>
                </a:lnTo>
                <a:lnTo>
                  <a:pt x="7483" y="3023"/>
                </a:lnTo>
                <a:lnTo>
                  <a:pt x="7479" y="3016"/>
                </a:lnTo>
                <a:lnTo>
                  <a:pt x="7475" y="3009"/>
                </a:lnTo>
                <a:lnTo>
                  <a:pt x="7471" y="3001"/>
                </a:lnTo>
                <a:lnTo>
                  <a:pt x="7467" y="2994"/>
                </a:lnTo>
                <a:lnTo>
                  <a:pt x="7464" y="2986"/>
                </a:lnTo>
                <a:lnTo>
                  <a:pt x="7461" y="2978"/>
                </a:lnTo>
                <a:lnTo>
                  <a:pt x="7459" y="2969"/>
                </a:lnTo>
                <a:lnTo>
                  <a:pt x="7457" y="2961"/>
                </a:lnTo>
                <a:lnTo>
                  <a:pt x="7455" y="2952"/>
                </a:lnTo>
                <a:lnTo>
                  <a:pt x="7454" y="2943"/>
                </a:lnTo>
                <a:lnTo>
                  <a:pt x="7453" y="2934"/>
                </a:lnTo>
                <a:lnTo>
                  <a:pt x="7452" y="2925"/>
                </a:lnTo>
                <a:lnTo>
                  <a:pt x="7452" y="2916"/>
                </a:lnTo>
                <a:lnTo>
                  <a:pt x="7453" y="2897"/>
                </a:lnTo>
                <a:lnTo>
                  <a:pt x="7454" y="2887"/>
                </a:lnTo>
                <a:lnTo>
                  <a:pt x="7455" y="2878"/>
                </a:lnTo>
                <a:lnTo>
                  <a:pt x="7457" y="2869"/>
                </a:lnTo>
                <a:lnTo>
                  <a:pt x="7459" y="2860"/>
                </a:lnTo>
                <a:lnTo>
                  <a:pt x="7462" y="2852"/>
                </a:lnTo>
                <a:lnTo>
                  <a:pt x="7465" y="2842"/>
                </a:lnTo>
                <a:lnTo>
                  <a:pt x="7468" y="2834"/>
                </a:lnTo>
                <a:lnTo>
                  <a:pt x="7472" y="2825"/>
                </a:lnTo>
                <a:lnTo>
                  <a:pt x="7476" y="2817"/>
                </a:lnTo>
                <a:lnTo>
                  <a:pt x="7480" y="2810"/>
                </a:lnTo>
                <a:lnTo>
                  <a:pt x="7485" y="2802"/>
                </a:lnTo>
                <a:lnTo>
                  <a:pt x="7489" y="2795"/>
                </a:lnTo>
                <a:lnTo>
                  <a:pt x="7499" y="2780"/>
                </a:lnTo>
                <a:lnTo>
                  <a:pt x="7505" y="2773"/>
                </a:lnTo>
                <a:lnTo>
                  <a:pt x="7511" y="2767"/>
                </a:lnTo>
                <a:lnTo>
                  <a:pt x="7523" y="2756"/>
                </a:lnTo>
                <a:lnTo>
                  <a:pt x="7529" y="2751"/>
                </a:lnTo>
                <a:lnTo>
                  <a:pt x="7537" y="2746"/>
                </a:lnTo>
                <a:lnTo>
                  <a:pt x="7544" y="2741"/>
                </a:lnTo>
                <a:lnTo>
                  <a:pt x="7551" y="2737"/>
                </a:lnTo>
                <a:lnTo>
                  <a:pt x="7558" y="2734"/>
                </a:lnTo>
                <a:lnTo>
                  <a:pt x="7566" y="2730"/>
                </a:lnTo>
                <a:lnTo>
                  <a:pt x="7573" y="2727"/>
                </a:lnTo>
                <a:lnTo>
                  <a:pt x="7581" y="2725"/>
                </a:lnTo>
                <a:lnTo>
                  <a:pt x="7589" y="2723"/>
                </a:lnTo>
                <a:lnTo>
                  <a:pt x="7598" y="2721"/>
                </a:lnTo>
                <a:lnTo>
                  <a:pt x="7606" y="2721"/>
                </a:lnTo>
                <a:lnTo>
                  <a:pt x="7614" y="2720"/>
                </a:lnTo>
                <a:lnTo>
                  <a:pt x="7625" y="2721"/>
                </a:lnTo>
                <a:lnTo>
                  <a:pt x="7630" y="2722"/>
                </a:lnTo>
                <a:lnTo>
                  <a:pt x="7635" y="2722"/>
                </a:lnTo>
                <a:lnTo>
                  <a:pt x="7644" y="2725"/>
                </a:lnTo>
                <a:lnTo>
                  <a:pt x="7653" y="2728"/>
                </a:lnTo>
                <a:lnTo>
                  <a:pt x="7662" y="2733"/>
                </a:lnTo>
                <a:lnTo>
                  <a:pt x="7669" y="2738"/>
                </a:lnTo>
                <a:lnTo>
                  <a:pt x="7676" y="2744"/>
                </a:lnTo>
                <a:lnTo>
                  <a:pt x="7679" y="2747"/>
                </a:lnTo>
                <a:lnTo>
                  <a:pt x="7682" y="2750"/>
                </a:lnTo>
                <a:lnTo>
                  <a:pt x="7682" y="2884"/>
                </a:lnTo>
                <a:lnTo>
                  <a:pt x="7677" y="2890"/>
                </a:lnTo>
                <a:lnTo>
                  <a:pt x="7671" y="2897"/>
                </a:lnTo>
                <a:lnTo>
                  <a:pt x="7665" y="2903"/>
                </a:lnTo>
                <a:lnTo>
                  <a:pt x="7659" y="2909"/>
                </a:lnTo>
                <a:lnTo>
                  <a:pt x="7653" y="2915"/>
                </a:lnTo>
                <a:lnTo>
                  <a:pt x="7645" y="2920"/>
                </a:lnTo>
                <a:lnTo>
                  <a:pt x="7638" y="2925"/>
                </a:lnTo>
                <a:lnTo>
                  <a:pt x="7631" y="2929"/>
                </a:lnTo>
                <a:lnTo>
                  <a:pt x="7623" y="2933"/>
                </a:lnTo>
                <a:lnTo>
                  <a:pt x="7615" y="2937"/>
                </a:lnTo>
                <a:lnTo>
                  <a:pt x="7608" y="2940"/>
                </a:lnTo>
                <a:lnTo>
                  <a:pt x="7600" y="2942"/>
                </a:lnTo>
                <a:lnTo>
                  <a:pt x="7591" y="2944"/>
                </a:lnTo>
                <a:lnTo>
                  <a:pt x="7582" y="2946"/>
                </a:lnTo>
                <a:lnTo>
                  <a:pt x="7574" y="2947"/>
                </a:lnTo>
                <a:lnTo>
                  <a:pt x="7566" y="2947"/>
                </a:lnTo>
                <a:lnTo>
                  <a:pt x="7561" y="2946"/>
                </a:lnTo>
                <a:lnTo>
                  <a:pt x="7556" y="2944"/>
                </a:lnTo>
                <a:lnTo>
                  <a:pt x="7551" y="2942"/>
                </a:lnTo>
                <a:lnTo>
                  <a:pt x="7549" y="2940"/>
                </a:lnTo>
                <a:lnTo>
                  <a:pt x="7547" y="2938"/>
                </a:lnTo>
                <a:lnTo>
                  <a:pt x="7544" y="2933"/>
                </a:lnTo>
                <a:lnTo>
                  <a:pt x="7542" y="2928"/>
                </a:lnTo>
                <a:lnTo>
                  <a:pt x="7541" y="2925"/>
                </a:lnTo>
                <a:lnTo>
                  <a:pt x="7540" y="2922"/>
                </a:lnTo>
                <a:lnTo>
                  <a:pt x="7540" y="2916"/>
                </a:lnTo>
                <a:lnTo>
                  <a:pt x="7540" y="2913"/>
                </a:lnTo>
                <a:lnTo>
                  <a:pt x="7540" y="2909"/>
                </a:lnTo>
                <a:lnTo>
                  <a:pt x="7541" y="2904"/>
                </a:lnTo>
                <a:lnTo>
                  <a:pt x="7542" y="2902"/>
                </a:lnTo>
                <a:lnTo>
                  <a:pt x="7544" y="2900"/>
                </a:lnTo>
                <a:lnTo>
                  <a:pt x="7545" y="2899"/>
                </a:lnTo>
                <a:lnTo>
                  <a:pt x="7547" y="2897"/>
                </a:lnTo>
                <a:lnTo>
                  <a:pt x="7558" y="2896"/>
                </a:lnTo>
                <a:lnTo>
                  <a:pt x="7568" y="2893"/>
                </a:lnTo>
                <a:lnTo>
                  <a:pt x="7578" y="2890"/>
                </a:lnTo>
                <a:lnTo>
                  <a:pt x="7588" y="2886"/>
                </a:lnTo>
                <a:lnTo>
                  <a:pt x="7598" y="2881"/>
                </a:lnTo>
                <a:lnTo>
                  <a:pt x="7606" y="2876"/>
                </a:lnTo>
                <a:lnTo>
                  <a:pt x="7614" y="2870"/>
                </a:lnTo>
                <a:lnTo>
                  <a:pt x="7618" y="2868"/>
                </a:lnTo>
                <a:lnTo>
                  <a:pt x="7622" y="2865"/>
                </a:lnTo>
                <a:lnTo>
                  <a:pt x="7628" y="2858"/>
                </a:lnTo>
                <a:lnTo>
                  <a:pt x="7634" y="2852"/>
                </a:lnTo>
                <a:lnTo>
                  <a:pt x="7639" y="2844"/>
                </a:lnTo>
                <a:lnTo>
                  <a:pt x="7643" y="2837"/>
                </a:lnTo>
                <a:lnTo>
                  <a:pt x="7646" y="2830"/>
                </a:lnTo>
                <a:lnTo>
                  <a:pt x="7649" y="2823"/>
                </a:lnTo>
                <a:lnTo>
                  <a:pt x="7651" y="2816"/>
                </a:lnTo>
                <a:lnTo>
                  <a:pt x="7652" y="2809"/>
                </a:lnTo>
                <a:lnTo>
                  <a:pt x="7651" y="2801"/>
                </a:lnTo>
                <a:lnTo>
                  <a:pt x="7648" y="2794"/>
                </a:lnTo>
                <a:lnTo>
                  <a:pt x="7646" y="2789"/>
                </a:lnTo>
                <a:lnTo>
                  <a:pt x="7645" y="2786"/>
                </a:lnTo>
                <a:lnTo>
                  <a:pt x="7642" y="2784"/>
                </a:lnTo>
                <a:lnTo>
                  <a:pt x="7640" y="2781"/>
                </a:lnTo>
                <a:lnTo>
                  <a:pt x="7634" y="2777"/>
                </a:lnTo>
                <a:lnTo>
                  <a:pt x="7631" y="2775"/>
                </a:lnTo>
                <a:lnTo>
                  <a:pt x="7627" y="2774"/>
                </a:lnTo>
                <a:lnTo>
                  <a:pt x="7619" y="2772"/>
                </a:lnTo>
                <a:lnTo>
                  <a:pt x="7615" y="2771"/>
                </a:lnTo>
                <a:lnTo>
                  <a:pt x="7610" y="2771"/>
                </a:lnTo>
                <a:lnTo>
                  <a:pt x="7602" y="2772"/>
                </a:lnTo>
                <a:lnTo>
                  <a:pt x="7597" y="2773"/>
                </a:lnTo>
                <a:lnTo>
                  <a:pt x="7593" y="2774"/>
                </a:lnTo>
                <a:lnTo>
                  <a:pt x="7587" y="2776"/>
                </a:lnTo>
                <a:lnTo>
                  <a:pt x="7583" y="2777"/>
                </a:lnTo>
                <a:lnTo>
                  <a:pt x="7579" y="2780"/>
                </a:lnTo>
                <a:lnTo>
                  <a:pt x="7574" y="2782"/>
                </a:lnTo>
                <a:lnTo>
                  <a:pt x="7570" y="2785"/>
                </a:lnTo>
                <a:lnTo>
                  <a:pt x="7566" y="2788"/>
                </a:lnTo>
                <a:lnTo>
                  <a:pt x="7557" y="2796"/>
                </a:lnTo>
                <a:lnTo>
                  <a:pt x="7550" y="2804"/>
                </a:lnTo>
                <a:lnTo>
                  <a:pt x="7542" y="2813"/>
                </a:lnTo>
                <a:lnTo>
                  <a:pt x="7539" y="2818"/>
                </a:lnTo>
                <a:lnTo>
                  <a:pt x="7535" y="2823"/>
                </a:lnTo>
                <a:lnTo>
                  <a:pt x="7528" y="2834"/>
                </a:lnTo>
                <a:lnTo>
                  <a:pt x="7523" y="2845"/>
                </a:lnTo>
                <a:lnTo>
                  <a:pt x="7518" y="2859"/>
                </a:lnTo>
                <a:lnTo>
                  <a:pt x="7514" y="2871"/>
                </a:lnTo>
                <a:lnTo>
                  <a:pt x="7511" y="2885"/>
                </a:lnTo>
                <a:lnTo>
                  <a:pt x="7509" y="2899"/>
                </a:lnTo>
                <a:lnTo>
                  <a:pt x="7509" y="2906"/>
                </a:lnTo>
                <a:lnTo>
                  <a:pt x="7509" y="2914"/>
                </a:lnTo>
                <a:lnTo>
                  <a:pt x="7509" y="2926"/>
                </a:lnTo>
                <a:lnTo>
                  <a:pt x="7511" y="2939"/>
                </a:lnTo>
                <a:lnTo>
                  <a:pt x="7513" y="2950"/>
                </a:lnTo>
                <a:lnTo>
                  <a:pt x="7514" y="2956"/>
                </a:lnTo>
                <a:lnTo>
                  <a:pt x="7516" y="2961"/>
                </a:lnTo>
                <a:lnTo>
                  <a:pt x="7519" y="2973"/>
                </a:lnTo>
                <a:lnTo>
                  <a:pt x="7521" y="2978"/>
                </a:lnTo>
                <a:lnTo>
                  <a:pt x="7524" y="2983"/>
                </a:lnTo>
                <a:lnTo>
                  <a:pt x="7526" y="2987"/>
                </a:lnTo>
                <a:lnTo>
                  <a:pt x="7529" y="2992"/>
                </a:lnTo>
                <a:lnTo>
                  <a:pt x="7533" y="2996"/>
                </a:lnTo>
                <a:lnTo>
                  <a:pt x="7536" y="3000"/>
                </a:lnTo>
                <a:lnTo>
                  <a:pt x="7539" y="3004"/>
                </a:lnTo>
                <a:lnTo>
                  <a:pt x="7542" y="3007"/>
                </a:lnTo>
                <a:lnTo>
                  <a:pt x="7550" y="3014"/>
                </a:lnTo>
                <a:lnTo>
                  <a:pt x="7558" y="3020"/>
                </a:lnTo>
                <a:lnTo>
                  <a:pt x="7566" y="3025"/>
                </a:lnTo>
                <a:lnTo>
                  <a:pt x="7575" y="3028"/>
                </a:lnTo>
                <a:lnTo>
                  <a:pt x="7585" y="3032"/>
                </a:lnTo>
                <a:lnTo>
                  <a:pt x="7596" y="3034"/>
                </a:lnTo>
                <a:lnTo>
                  <a:pt x="7601" y="3034"/>
                </a:lnTo>
                <a:lnTo>
                  <a:pt x="7607" y="3034"/>
                </a:lnTo>
                <a:lnTo>
                  <a:pt x="7617" y="3034"/>
                </a:lnTo>
                <a:lnTo>
                  <a:pt x="7622" y="3033"/>
                </a:lnTo>
                <a:lnTo>
                  <a:pt x="7627" y="3032"/>
                </a:lnTo>
                <a:lnTo>
                  <a:pt x="7637" y="3029"/>
                </a:lnTo>
                <a:lnTo>
                  <a:pt x="7646" y="3026"/>
                </a:lnTo>
                <a:lnTo>
                  <a:pt x="7656" y="3022"/>
                </a:lnTo>
                <a:lnTo>
                  <a:pt x="7661" y="3019"/>
                </a:lnTo>
                <a:lnTo>
                  <a:pt x="7665" y="3017"/>
                </a:lnTo>
                <a:lnTo>
                  <a:pt x="7674" y="3011"/>
                </a:lnTo>
                <a:lnTo>
                  <a:pt x="7682" y="3005"/>
                </a:lnTo>
                <a:lnTo>
                  <a:pt x="7682" y="3076"/>
                </a:lnTo>
                <a:lnTo>
                  <a:pt x="7673" y="3080"/>
                </a:lnTo>
                <a:lnTo>
                  <a:pt x="7664" y="3083"/>
                </a:lnTo>
                <a:lnTo>
                  <a:pt x="7655" y="3086"/>
                </a:lnTo>
                <a:lnTo>
                  <a:pt x="7644" y="3089"/>
                </a:lnTo>
                <a:lnTo>
                  <a:pt x="7635" y="3092"/>
                </a:lnTo>
                <a:lnTo>
                  <a:pt x="7625" y="3093"/>
                </a:lnTo>
                <a:lnTo>
                  <a:pt x="7615" y="3094"/>
                </a:lnTo>
                <a:lnTo>
                  <a:pt x="7605" y="3095"/>
                </a:lnTo>
                <a:close/>
                <a:moveTo>
                  <a:pt x="6389" y="639"/>
                </a:moveTo>
                <a:lnTo>
                  <a:pt x="6382" y="639"/>
                </a:lnTo>
                <a:lnTo>
                  <a:pt x="6374" y="639"/>
                </a:lnTo>
                <a:lnTo>
                  <a:pt x="6367" y="637"/>
                </a:lnTo>
                <a:lnTo>
                  <a:pt x="6359" y="636"/>
                </a:lnTo>
                <a:lnTo>
                  <a:pt x="6352" y="634"/>
                </a:lnTo>
                <a:lnTo>
                  <a:pt x="6345" y="632"/>
                </a:lnTo>
                <a:lnTo>
                  <a:pt x="6331" y="625"/>
                </a:lnTo>
                <a:lnTo>
                  <a:pt x="6317" y="618"/>
                </a:lnTo>
                <a:lnTo>
                  <a:pt x="6311" y="613"/>
                </a:lnTo>
                <a:lnTo>
                  <a:pt x="6305" y="609"/>
                </a:lnTo>
                <a:lnTo>
                  <a:pt x="6299" y="604"/>
                </a:lnTo>
                <a:lnTo>
                  <a:pt x="6293" y="599"/>
                </a:lnTo>
                <a:lnTo>
                  <a:pt x="6288" y="593"/>
                </a:lnTo>
                <a:lnTo>
                  <a:pt x="6283" y="588"/>
                </a:lnTo>
                <a:lnTo>
                  <a:pt x="6278" y="582"/>
                </a:lnTo>
                <a:lnTo>
                  <a:pt x="6273" y="575"/>
                </a:lnTo>
                <a:lnTo>
                  <a:pt x="6268" y="568"/>
                </a:lnTo>
                <a:lnTo>
                  <a:pt x="6264" y="561"/>
                </a:lnTo>
                <a:lnTo>
                  <a:pt x="6260" y="554"/>
                </a:lnTo>
                <a:lnTo>
                  <a:pt x="6256" y="546"/>
                </a:lnTo>
                <a:lnTo>
                  <a:pt x="6253" y="539"/>
                </a:lnTo>
                <a:lnTo>
                  <a:pt x="6250" y="531"/>
                </a:lnTo>
                <a:lnTo>
                  <a:pt x="6247" y="523"/>
                </a:lnTo>
                <a:lnTo>
                  <a:pt x="6245" y="515"/>
                </a:lnTo>
                <a:lnTo>
                  <a:pt x="6243" y="505"/>
                </a:lnTo>
                <a:lnTo>
                  <a:pt x="6241" y="497"/>
                </a:lnTo>
                <a:lnTo>
                  <a:pt x="6240" y="488"/>
                </a:lnTo>
                <a:lnTo>
                  <a:pt x="6239" y="479"/>
                </a:lnTo>
                <a:lnTo>
                  <a:pt x="6238" y="470"/>
                </a:lnTo>
                <a:lnTo>
                  <a:pt x="6238" y="461"/>
                </a:lnTo>
                <a:lnTo>
                  <a:pt x="6239" y="441"/>
                </a:lnTo>
                <a:lnTo>
                  <a:pt x="6240" y="432"/>
                </a:lnTo>
                <a:lnTo>
                  <a:pt x="6241" y="423"/>
                </a:lnTo>
                <a:lnTo>
                  <a:pt x="6243" y="414"/>
                </a:lnTo>
                <a:lnTo>
                  <a:pt x="6245" y="405"/>
                </a:lnTo>
                <a:lnTo>
                  <a:pt x="6247" y="396"/>
                </a:lnTo>
                <a:lnTo>
                  <a:pt x="6250" y="387"/>
                </a:lnTo>
                <a:lnTo>
                  <a:pt x="6253" y="378"/>
                </a:lnTo>
                <a:lnTo>
                  <a:pt x="6257" y="370"/>
                </a:lnTo>
                <a:lnTo>
                  <a:pt x="6261" y="362"/>
                </a:lnTo>
                <a:lnTo>
                  <a:pt x="6265" y="354"/>
                </a:lnTo>
                <a:lnTo>
                  <a:pt x="6269" y="347"/>
                </a:lnTo>
                <a:lnTo>
                  <a:pt x="6275" y="339"/>
                </a:lnTo>
                <a:lnTo>
                  <a:pt x="6285" y="325"/>
                </a:lnTo>
                <a:lnTo>
                  <a:pt x="6291" y="318"/>
                </a:lnTo>
                <a:lnTo>
                  <a:pt x="6296" y="312"/>
                </a:lnTo>
                <a:lnTo>
                  <a:pt x="6309" y="301"/>
                </a:lnTo>
                <a:lnTo>
                  <a:pt x="6315" y="295"/>
                </a:lnTo>
                <a:lnTo>
                  <a:pt x="6322" y="291"/>
                </a:lnTo>
                <a:lnTo>
                  <a:pt x="6329" y="286"/>
                </a:lnTo>
                <a:lnTo>
                  <a:pt x="6337" y="282"/>
                </a:lnTo>
                <a:lnTo>
                  <a:pt x="6344" y="278"/>
                </a:lnTo>
                <a:lnTo>
                  <a:pt x="6351" y="275"/>
                </a:lnTo>
                <a:lnTo>
                  <a:pt x="6359" y="273"/>
                </a:lnTo>
                <a:lnTo>
                  <a:pt x="6367" y="269"/>
                </a:lnTo>
                <a:lnTo>
                  <a:pt x="6375" y="268"/>
                </a:lnTo>
                <a:lnTo>
                  <a:pt x="6383" y="266"/>
                </a:lnTo>
                <a:lnTo>
                  <a:pt x="6392" y="265"/>
                </a:lnTo>
                <a:lnTo>
                  <a:pt x="6400" y="265"/>
                </a:lnTo>
                <a:lnTo>
                  <a:pt x="6410" y="266"/>
                </a:lnTo>
                <a:lnTo>
                  <a:pt x="6415" y="266"/>
                </a:lnTo>
                <a:lnTo>
                  <a:pt x="6420" y="267"/>
                </a:lnTo>
                <a:lnTo>
                  <a:pt x="6424" y="268"/>
                </a:lnTo>
                <a:lnTo>
                  <a:pt x="6429" y="269"/>
                </a:lnTo>
                <a:lnTo>
                  <a:pt x="6437" y="273"/>
                </a:lnTo>
                <a:lnTo>
                  <a:pt x="6445" y="277"/>
                </a:lnTo>
                <a:lnTo>
                  <a:pt x="6454" y="282"/>
                </a:lnTo>
                <a:lnTo>
                  <a:pt x="6460" y="287"/>
                </a:lnTo>
                <a:lnTo>
                  <a:pt x="6466" y="293"/>
                </a:lnTo>
                <a:lnTo>
                  <a:pt x="6469" y="297"/>
                </a:lnTo>
                <a:lnTo>
                  <a:pt x="6472" y="300"/>
                </a:lnTo>
                <a:lnTo>
                  <a:pt x="6476" y="307"/>
                </a:lnTo>
                <a:lnTo>
                  <a:pt x="6480" y="315"/>
                </a:lnTo>
                <a:lnTo>
                  <a:pt x="6484" y="323"/>
                </a:lnTo>
                <a:lnTo>
                  <a:pt x="6486" y="333"/>
                </a:lnTo>
                <a:lnTo>
                  <a:pt x="6488" y="342"/>
                </a:lnTo>
                <a:lnTo>
                  <a:pt x="6489" y="352"/>
                </a:lnTo>
                <a:lnTo>
                  <a:pt x="6490" y="362"/>
                </a:lnTo>
                <a:lnTo>
                  <a:pt x="6489" y="374"/>
                </a:lnTo>
                <a:lnTo>
                  <a:pt x="6488" y="380"/>
                </a:lnTo>
                <a:lnTo>
                  <a:pt x="6487" y="386"/>
                </a:lnTo>
                <a:lnTo>
                  <a:pt x="6483" y="399"/>
                </a:lnTo>
                <a:lnTo>
                  <a:pt x="6478" y="411"/>
                </a:lnTo>
                <a:lnTo>
                  <a:pt x="6472" y="422"/>
                </a:lnTo>
                <a:lnTo>
                  <a:pt x="6464" y="433"/>
                </a:lnTo>
                <a:lnTo>
                  <a:pt x="6460" y="438"/>
                </a:lnTo>
                <a:lnTo>
                  <a:pt x="6456" y="442"/>
                </a:lnTo>
                <a:lnTo>
                  <a:pt x="6446" y="453"/>
                </a:lnTo>
                <a:lnTo>
                  <a:pt x="6436" y="461"/>
                </a:lnTo>
                <a:lnTo>
                  <a:pt x="6431" y="465"/>
                </a:lnTo>
                <a:lnTo>
                  <a:pt x="6425" y="469"/>
                </a:lnTo>
                <a:lnTo>
                  <a:pt x="6414" y="475"/>
                </a:lnTo>
                <a:lnTo>
                  <a:pt x="6402" y="481"/>
                </a:lnTo>
                <a:lnTo>
                  <a:pt x="6389" y="486"/>
                </a:lnTo>
                <a:lnTo>
                  <a:pt x="6383" y="487"/>
                </a:lnTo>
                <a:lnTo>
                  <a:pt x="6377" y="489"/>
                </a:lnTo>
                <a:lnTo>
                  <a:pt x="6371" y="490"/>
                </a:lnTo>
                <a:lnTo>
                  <a:pt x="6364" y="491"/>
                </a:lnTo>
                <a:lnTo>
                  <a:pt x="6352" y="492"/>
                </a:lnTo>
                <a:lnTo>
                  <a:pt x="6346" y="491"/>
                </a:lnTo>
                <a:lnTo>
                  <a:pt x="6341" y="489"/>
                </a:lnTo>
                <a:lnTo>
                  <a:pt x="6337" y="486"/>
                </a:lnTo>
                <a:lnTo>
                  <a:pt x="6335" y="485"/>
                </a:lnTo>
                <a:lnTo>
                  <a:pt x="6333" y="483"/>
                </a:lnTo>
                <a:lnTo>
                  <a:pt x="6329" y="478"/>
                </a:lnTo>
                <a:lnTo>
                  <a:pt x="6327" y="473"/>
                </a:lnTo>
                <a:lnTo>
                  <a:pt x="6326" y="470"/>
                </a:lnTo>
                <a:lnTo>
                  <a:pt x="6325" y="467"/>
                </a:lnTo>
                <a:lnTo>
                  <a:pt x="6325" y="460"/>
                </a:lnTo>
                <a:lnTo>
                  <a:pt x="6325" y="458"/>
                </a:lnTo>
                <a:lnTo>
                  <a:pt x="6325" y="455"/>
                </a:lnTo>
                <a:lnTo>
                  <a:pt x="6326" y="449"/>
                </a:lnTo>
                <a:lnTo>
                  <a:pt x="6327" y="447"/>
                </a:lnTo>
                <a:lnTo>
                  <a:pt x="6328" y="445"/>
                </a:lnTo>
                <a:lnTo>
                  <a:pt x="6331" y="443"/>
                </a:lnTo>
                <a:lnTo>
                  <a:pt x="6333" y="442"/>
                </a:lnTo>
                <a:lnTo>
                  <a:pt x="6344" y="440"/>
                </a:lnTo>
                <a:lnTo>
                  <a:pt x="6354" y="438"/>
                </a:lnTo>
                <a:lnTo>
                  <a:pt x="6364" y="434"/>
                </a:lnTo>
                <a:lnTo>
                  <a:pt x="6374" y="430"/>
                </a:lnTo>
                <a:lnTo>
                  <a:pt x="6383" y="426"/>
                </a:lnTo>
                <a:lnTo>
                  <a:pt x="6392" y="421"/>
                </a:lnTo>
                <a:lnTo>
                  <a:pt x="6400" y="415"/>
                </a:lnTo>
                <a:lnTo>
                  <a:pt x="6404" y="412"/>
                </a:lnTo>
                <a:lnTo>
                  <a:pt x="6407" y="409"/>
                </a:lnTo>
                <a:lnTo>
                  <a:pt x="6414" y="403"/>
                </a:lnTo>
                <a:lnTo>
                  <a:pt x="6420" y="397"/>
                </a:lnTo>
                <a:lnTo>
                  <a:pt x="6425" y="389"/>
                </a:lnTo>
                <a:lnTo>
                  <a:pt x="6429" y="382"/>
                </a:lnTo>
                <a:lnTo>
                  <a:pt x="6432" y="375"/>
                </a:lnTo>
                <a:lnTo>
                  <a:pt x="6434" y="368"/>
                </a:lnTo>
                <a:lnTo>
                  <a:pt x="6436" y="361"/>
                </a:lnTo>
                <a:lnTo>
                  <a:pt x="6436" y="354"/>
                </a:lnTo>
                <a:lnTo>
                  <a:pt x="6436" y="346"/>
                </a:lnTo>
                <a:lnTo>
                  <a:pt x="6434" y="338"/>
                </a:lnTo>
                <a:lnTo>
                  <a:pt x="6432" y="335"/>
                </a:lnTo>
                <a:lnTo>
                  <a:pt x="6430" y="332"/>
                </a:lnTo>
                <a:lnTo>
                  <a:pt x="6428" y="328"/>
                </a:lnTo>
                <a:lnTo>
                  <a:pt x="6426" y="326"/>
                </a:lnTo>
                <a:lnTo>
                  <a:pt x="6420" y="322"/>
                </a:lnTo>
                <a:lnTo>
                  <a:pt x="6417" y="320"/>
                </a:lnTo>
                <a:lnTo>
                  <a:pt x="6413" y="318"/>
                </a:lnTo>
                <a:lnTo>
                  <a:pt x="6405" y="317"/>
                </a:lnTo>
                <a:lnTo>
                  <a:pt x="6401" y="316"/>
                </a:lnTo>
                <a:lnTo>
                  <a:pt x="6396" y="316"/>
                </a:lnTo>
                <a:lnTo>
                  <a:pt x="6386" y="317"/>
                </a:lnTo>
                <a:lnTo>
                  <a:pt x="6382" y="318"/>
                </a:lnTo>
                <a:lnTo>
                  <a:pt x="6378" y="319"/>
                </a:lnTo>
                <a:lnTo>
                  <a:pt x="6373" y="320"/>
                </a:lnTo>
                <a:lnTo>
                  <a:pt x="6369" y="322"/>
                </a:lnTo>
                <a:lnTo>
                  <a:pt x="6364" y="324"/>
                </a:lnTo>
                <a:lnTo>
                  <a:pt x="6360" y="327"/>
                </a:lnTo>
                <a:lnTo>
                  <a:pt x="6356" y="330"/>
                </a:lnTo>
                <a:lnTo>
                  <a:pt x="6351" y="334"/>
                </a:lnTo>
                <a:lnTo>
                  <a:pt x="6343" y="341"/>
                </a:lnTo>
                <a:lnTo>
                  <a:pt x="6335" y="349"/>
                </a:lnTo>
                <a:lnTo>
                  <a:pt x="6327" y="358"/>
                </a:lnTo>
                <a:lnTo>
                  <a:pt x="6323" y="363"/>
                </a:lnTo>
                <a:lnTo>
                  <a:pt x="6320" y="368"/>
                </a:lnTo>
                <a:lnTo>
                  <a:pt x="6314" y="379"/>
                </a:lnTo>
                <a:lnTo>
                  <a:pt x="6308" y="390"/>
                </a:lnTo>
                <a:lnTo>
                  <a:pt x="6304" y="403"/>
                </a:lnTo>
                <a:lnTo>
                  <a:pt x="6300" y="416"/>
                </a:lnTo>
                <a:lnTo>
                  <a:pt x="6297" y="430"/>
                </a:lnTo>
                <a:lnTo>
                  <a:pt x="6295" y="443"/>
                </a:lnTo>
                <a:lnTo>
                  <a:pt x="6295" y="450"/>
                </a:lnTo>
                <a:lnTo>
                  <a:pt x="6295" y="459"/>
                </a:lnTo>
                <a:lnTo>
                  <a:pt x="6295" y="471"/>
                </a:lnTo>
                <a:lnTo>
                  <a:pt x="6296" y="483"/>
                </a:lnTo>
                <a:lnTo>
                  <a:pt x="6298" y="495"/>
                </a:lnTo>
                <a:lnTo>
                  <a:pt x="6300" y="501"/>
                </a:lnTo>
                <a:lnTo>
                  <a:pt x="6301" y="506"/>
                </a:lnTo>
                <a:lnTo>
                  <a:pt x="6305" y="518"/>
                </a:lnTo>
                <a:lnTo>
                  <a:pt x="6307" y="523"/>
                </a:lnTo>
                <a:lnTo>
                  <a:pt x="6310" y="527"/>
                </a:lnTo>
                <a:lnTo>
                  <a:pt x="6312" y="532"/>
                </a:lnTo>
                <a:lnTo>
                  <a:pt x="6315" y="536"/>
                </a:lnTo>
                <a:lnTo>
                  <a:pt x="6318" y="541"/>
                </a:lnTo>
                <a:lnTo>
                  <a:pt x="6321" y="545"/>
                </a:lnTo>
                <a:lnTo>
                  <a:pt x="6324" y="548"/>
                </a:lnTo>
                <a:lnTo>
                  <a:pt x="6327" y="552"/>
                </a:lnTo>
                <a:lnTo>
                  <a:pt x="6335" y="559"/>
                </a:lnTo>
                <a:lnTo>
                  <a:pt x="6343" y="564"/>
                </a:lnTo>
                <a:lnTo>
                  <a:pt x="6352" y="569"/>
                </a:lnTo>
                <a:lnTo>
                  <a:pt x="6361" y="574"/>
                </a:lnTo>
                <a:lnTo>
                  <a:pt x="6371" y="577"/>
                </a:lnTo>
                <a:lnTo>
                  <a:pt x="6381" y="579"/>
                </a:lnTo>
                <a:lnTo>
                  <a:pt x="6386" y="579"/>
                </a:lnTo>
                <a:lnTo>
                  <a:pt x="6392" y="579"/>
                </a:lnTo>
                <a:lnTo>
                  <a:pt x="6403" y="579"/>
                </a:lnTo>
                <a:lnTo>
                  <a:pt x="6413" y="577"/>
                </a:lnTo>
                <a:lnTo>
                  <a:pt x="6423" y="575"/>
                </a:lnTo>
                <a:lnTo>
                  <a:pt x="6433" y="570"/>
                </a:lnTo>
                <a:lnTo>
                  <a:pt x="6442" y="566"/>
                </a:lnTo>
                <a:lnTo>
                  <a:pt x="6452" y="561"/>
                </a:lnTo>
                <a:lnTo>
                  <a:pt x="6460" y="555"/>
                </a:lnTo>
                <a:lnTo>
                  <a:pt x="6469" y="549"/>
                </a:lnTo>
                <a:lnTo>
                  <a:pt x="6477" y="541"/>
                </a:lnTo>
                <a:lnTo>
                  <a:pt x="6484" y="534"/>
                </a:lnTo>
                <a:lnTo>
                  <a:pt x="6492" y="525"/>
                </a:lnTo>
                <a:lnTo>
                  <a:pt x="6499" y="516"/>
                </a:lnTo>
                <a:lnTo>
                  <a:pt x="6512" y="496"/>
                </a:lnTo>
                <a:lnTo>
                  <a:pt x="6518" y="485"/>
                </a:lnTo>
                <a:lnTo>
                  <a:pt x="6524" y="475"/>
                </a:lnTo>
                <a:lnTo>
                  <a:pt x="6529" y="464"/>
                </a:lnTo>
                <a:lnTo>
                  <a:pt x="6534" y="452"/>
                </a:lnTo>
                <a:lnTo>
                  <a:pt x="6538" y="440"/>
                </a:lnTo>
                <a:lnTo>
                  <a:pt x="6543" y="428"/>
                </a:lnTo>
                <a:lnTo>
                  <a:pt x="6546" y="416"/>
                </a:lnTo>
                <a:lnTo>
                  <a:pt x="6550" y="404"/>
                </a:lnTo>
                <a:lnTo>
                  <a:pt x="6553" y="392"/>
                </a:lnTo>
                <a:lnTo>
                  <a:pt x="6555" y="379"/>
                </a:lnTo>
                <a:lnTo>
                  <a:pt x="6558" y="367"/>
                </a:lnTo>
                <a:lnTo>
                  <a:pt x="6559" y="355"/>
                </a:lnTo>
                <a:lnTo>
                  <a:pt x="6561" y="343"/>
                </a:lnTo>
                <a:lnTo>
                  <a:pt x="6562" y="332"/>
                </a:lnTo>
                <a:lnTo>
                  <a:pt x="6563" y="320"/>
                </a:lnTo>
                <a:lnTo>
                  <a:pt x="6563" y="308"/>
                </a:lnTo>
                <a:lnTo>
                  <a:pt x="6563" y="298"/>
                </a:lnTo>
                <a:lnTo>
                  <a:pt x="6562" y="287"/>
                </a:lnTo>
                <a:lnTo>
                  <a:pt x="6563" y="285"/>
                </a:lnTo>
                <a:lnTo>
                  <a:pt x="6565" y="283"/>
                </a:lnTo>
                <a:lnTo>
                  <a:pt x="6567" y="281"/>
                </a:lnTo>
                <a:lnTo>
                  <a:pt x="6571" y="279"/>
                </a:lnTo>
                <a:lnTo>
                  <a:pt x="6578" y="276"/>
                </a:lnTo>
                <a:lnTo>
                  <a:pt x="6582" y="275"/>
                </a:lnTo>
                <a:lnTo>
                  <a:pt x="6586" y="275"/>
                </a:lnTo>
                <a:lnTo>
                  <a:pt x="6593" y="276"/>
                </a:lnTo>
                <a:lnTo>
                  <a:pt x="6596" y="276"/>
                </a:lnTo>
                <a:lnTo>
                  <a:pt x="6599" y="277"/>
                </a:lnTo>
                <a:lnTo>
                  <a:pt x="6605" y="280"/>
                </a:lnTo>
                <a:lnTo>
                  <a:pt x="6608" y="282"/>
                </a:lnTo>
                <a:lnTo>
                  <a:pt x="6610" y="284"/>
                </a:lnTo>
                <a:lnTo>
                  <a:pt x="6614" y="290"/>
                </a:lnTo>
                <a:lnTo>
                  <a:pt x="6616" y="294"/>
                </a:lnTo>
                <a:lnTo>
                  <a:pt x="6617" y="297"/>
                </a:lnTo>
                <a:lnTo>
                  <a:pt x="6618" y="302"/>
                </a:lnTo>
                <a:lnTo>
                  <a:pt x="6619" y="307"/>
                </a:lnTo>
                <a:lnTo>
                  <a:pt x="6619" y="312"/>
                </a:lnTo>
                <a:lnTo>
                  <a:pt x="6620" y="318"/>
                </a:lnTo>
                <a:lnTo>
                  <a:pt x="6619" y="334"/>
                </a:lnTo>
                <a:lnTo>
                  <a:pt x="6618" y="350"/>
                </a:lnTo>
                <a:lnTo>
                  <a:pt x="6617" y="365"/>
                </a:lnTo>
                <a:lnTo>
                  <a:pt x="6615" y="380"/>
                </a:lnTo>
                <a:lnTo>
                  <a:pt x="6612" y="396"/>
                </a:lnTo>
                <a:lnTo>
                  <a:pt x="6609" y="411"/>
                </a:lnTo>
                <a:lnTo>
                  <a:pt x="6606" y="425"/>
                </a:lnTo>
                <a:lnTo>
                  <a:pt x="6602" y="439"/>
                </a:lnTo>
                <a:lnTo>
                  <a:pt x="6597" y="454"/>
                </a:lnTo>
                <a:lnTo>
                  <a:pt x="6592" y="468"/>
                </a:lnTo>
                <a:lnTo>
                  <a:pt x="6587" y="481"/>
                </a:lnTo>
                <a:lnTo>
                  <a:pt x="6581" y="494"/>
                </a:lnTo>
                <a:lnTo>
                  <a:pt x="6575" y="506"/>
                </a:lnTo>
                <a:lnTo>
                  <a:pt x="6568" y="519"/>
                </a:lnTo>
                <a:lnTo>
                  <a:pt x="6561" y="531"/>
                </a:lnTo>
                <a:lnTo>
                  <a:pt x="6554" y="542"/>
                </a:lnTo>
                <a:lnTo>
                  <a:pt x="6546" y="553"/>
                </a:lnTo>
                <a:lnTo>
                  <a:pt x="6538" y="563"/>
                </a:lnTo>
                <a:lnTo>
                  <a:pt x="6530" y="573"/>
                </a:lnTo>
                <a:lnTo>
                  <a:pt x="6521" y="582"/>
                </a:lnTo>
                <a:lnTo>
                  <a:pt x="6512" y="591"/>
                </a:lnTo>
                <a:lnTo>
                  <a:pt x="6501" y="599"/>
                </a:lnTo>
                <a:lnTo>
                  <a:pt x="6492" y="606"/>
                </a:lnTo>
                <a:lnTo>
                  <a:pt x="6482" y="612"/>
                </a:lnTo>
                <a:lnTo>
                  <a:pt x="6471" y="618"/>
                </a:lnTo>
                <a:lnTo>
                  <a:pt x="6461" y="624"/>
                </a:lnTo>
                <a:lnTo>
                  <a:pt x="6449" y="628"/>
                </a:lnTo>
                <a:lnTo>
                  <a:pt x="6438" y="633"/>
                </a:lnTo>
                <a:lnTo>
                  <a:pt x="6426" y="636"/>
                </a:lnTo>
                <a:lnTo>
                  <a:pt x="6415" y="638"/>
                </a:lnTo>
                <a:lnTo>
                  <a:pt x="6403" y="639"/>
                </a:lnTo>
                <a:lnTo>
                  <a:pt x="6389" y="639"/>
                </a:lnTo>
                <a:close/>
                <a:moveTo>
                  <a:pt x="6777" y="634"/>
                </a:moveTo>
                <a:lnTo>
                  <a:pt x="6775" y="633"/>
                </a:lnTo>
                <a:lnTo>
                  <a:pt x="6773" y="633"/>
                </a:lnTo>
                <a:lnTo>
                  <a:pt x="6768" y="629"/>
                </a:lnTo>
                <a:lnTo>
                  <a:pt x="6761" y="625"/>
                </a:lnTo>
                <a:lnTo>
                  <a:pt x="6754" y="619"/>
                </a:lnTo>
                <a:lnTo>
                  <a:pt x="6740" y="608"/>
                </a:lnTo>
                <a:lnTo>
                  <a:pt x="6725" y="595"/>
                </a:lnTo>
                <a:lnTo>
                  <a:pt x="6709" y="579"/>
                </a:lnTo>
                <a:lnTo>
                  <a:pt x="6692" y="561"/>
                </a:lnTo>
                <a:lnTo>
                  <a:pt x="6676" y="544"/>
                </a:lnTo>
                <a:lnTo>
                  <a:pt x="6661" y="527"/>
                </a:lnTo>
                <a:lnTo>
                  <a:pt x="6650" y="513"/>
                </a:lnTo>
                <a:lnTo>
                  <a:pt x="6646" y="506"/>
                </a:lnTo>
                <a:lnTo>
                  <a:pt x="6642" y="501"/>
                </a:lnTo>
                <a:lnTo>
                  <a:pt x="6637" y="490"/>
                </a:lnTo>
                <a:lnTo>
                  <a:pt x="6633" y="481"/>
                </a:lnTo>
                <a:lnTo>
                  <a:pt x="6631" y="471"/>
                </a:lnTo>
                <a:lnTo>
                  <a:pt x="6629" y="461"/>
                </a:lnTo>
                <a:lnTo>
                  <a:pt x="6629" y="456"/>
                </a:lnTo>
                <a:lnTo>
                  <a:pt x="6631" y="449"/>
                </a:lnTo>
                <a:lnTo>
                  <a:pt x="6633" y="443"/>
                </a:lnTo>
                <a:lnTo>
                  <a:pt x="6635" y="437"/>
                </a:lnTo>
                <a:lnTo>
                  <a:pt x="6637" y="431"/>
                </a:lnTo>
                <a:lnTo>
                  <a:pt x="6640" y="424"/>
                </a:lnTo>
                <a:lnTo>
                  <a:pt x="6644" y="418"/>
                </a:lnTo>
                <a:lnTo>
                  <a:pt x="6649" y="411"/>
                </a:lnTo>
                <a:lnTo>
                  <a:pt x="6657" y="400"/>
                </a:lnTo>
                <a:lnTo>
                  <a:pt x="6668" y="385"/>
                </a:lnTo>
                <a:lnTo>
                  <a:pt x="6699" y="352"/>
                </a:lnTo>
                <a:lnTo>
                  <a:pt x="6734" y="312"/>
                </a:lnTo>
                <a:lnTo>
                  <a:pt x="6770" y="270"/>
                </a:lnTo>
                <a:lnTo>
                  <a:pt x="6771" y="270"/>
                </a:lnTo>
                <a:lnTo>
                  <a:pt x="6774" y="270"/>
                </a:lnTo>
                <a:lnTo>
                  <a:pt x="6778" y="270"/>
                </a:lnTo>
                <a:lnTo>
                  <a:pt x="6782" y="272"/>
                </a:lnTo>
                <a:lnTo>
                  <a:pt x="6786" y="274"/>
                </a:lnTo>
                <a:lnTo>
                  <a:pt x="6790" y="276"/>
                </a:lnTo>
                <a:lnTo>
                  <a:pt x="6795" y="280"/>
                </a:lnTo>
                <a:lnTo>
                  <a:pt x="6798" y="283"/>
                </a:lnTo>
                <a:lnTo>
                  <a:pt x="6802" y="288"/>
                </a:lnTo>
                <a:lnTo>
                  <a:pt x="6805" y="292"/>
                </a:lnTo>
                <a:lnTo>
                  <a:pt x="6806" y="297"/>
                </a:lnTo>
                <a:lnTo>
                  <a:pt x="6807" y="302"/>
                </a:lnTo>
                <a:lnTo>
                  <a:pt x="6806" y="307"/>
                </a:lnTo>
                <a:lnTo>
                  <a:pt x="6804" y="313"/>
                </a:lnTo>
                <a:lnTo>
                  <a:pt x="6801" y="318"/>
                </a:lnTo>
                <a:lnTo>
                  <a:pt x="6798" y="324"/>
                </a:lnTo>
                <a:lnTo>
                  <a:pt x="6789" y="336"/>
                </a:lnTo>
                <a:lnTo>
                  <a:pt x="6778" y="349"/>
                </a:lnTo>
                <a:lnTo>
                  <a:pt x="6748" y="382"/>
                </a:lnTo>
                <a:lnTo>
                  <a:pt x="6718" y="416"/>
                </a:lnTo>
                <a:lnTo>
                  <a:pt x="6706" y="431"/>
                </a:lnTo>
                <a:lnTo>
                  <a:pt x="6697" y="442"/>
                </a:lnTo>
                <a:lnTo>
                  <a:pt x="6694" y="446"/>
                </a:lnTo>
                <a:lnTo>
                  <a:pt x="6693" y="450"/>
                </a:lnTo>
                <a:lnTo>
                  <a:pt x="6692" y="454"/>
                </a:lnTo>
                <a:lnTo>
                  <a:pt x="6691" y="458"/>
                </a:lnTo>
                <a:lnTo>
                  <a:pt x="6692" y="462"/>
                </a:lnTo>
                <a:lnTo>
                  <a:pt x="6693" y="467"/>
                </a:lnTo>
                <a:lnTo>
                  <a:pt x="6695" y="471"/>
                </a:lnTo>
                <a:lnTo>
                  <a:pt x="6698" y="476"/>
                </a:lnTo>
                <a:lnTo>
                  <a:pt x="6706" y="485"/>
                </a:lnTo>
                <a:lnTo>
                  <a:pt x="6716" y="497"/>
                </a:lnTo>
                <a:lnTo>
                  <a:pt x="6743" y="527"/>
                </a:lnTo>
                <a:lnTo>
                  <a:pt x="6776" y="559"/>
                </a:lnTo>
                <a:lnTo>
                  <a:pt x="6807" y="590"/>
                </a:lnTo>
                <a:lnTo>
                  <a:pt x="6809" y="592"/>
                </a:lnTo>
                <a:lnTo>
                  <a:pt x="6811" y="594"/>
                </a:lnTo>
                <a:lnTo>
                  <a:pt x="6812" y="596"/>
                </a:lnTo>
                <a:lnTo>
                  <a:pt x="6813" y="599"/>
                </a:lnTo>
                <a:lnTo>
                  <a:pt x="6812" y="604"/>
                </a:lnTo>
                <a:lnTo>
                  <a:pt x="6811" y="607"/>
                </a:lnTo>
                <a:lnTo>
                  <a:pt x="6808" y="610"/>
                </a:lnTo>
                <a:lnTo>
                  <a:pt x="6805" y="616"/>
                </a:lnTo>
                <a:lnTo>
                  <a:pt x="6803" y="618"/>
                </a:lnTo>
                <a:lnTo>
                  <a:pt x="6800" y="621"/>
                </a:lnTo>
                <a:lnTo>
                  <a:pt x="6795" y="626"/>
                </a:lnTo>
                <a:lnTo>
                  <a:pt x="6792" y="628"/>
                </a:lnTo>
                <a:lnTo>
                  <a:pt x="6789" y="629"/>
                </a:lnTo>
                <a:lnTo>
                  <a:pt x="6783" y="633"/>
                </a:lnTo>
                <a:lnTo>
                  <a:pt x="6780" y="633"/>
                </a:lnTo>
                <a:lnTo>
                  <a:pt x="6777" y="634"/>
                </a:lnTo>
                <a:close/>
                <a:moveTo>
                  <a:pt x="6389" y="1633"/>
                </a:moveTo>
                <a:lnTo>
                  <a:pt x="6382" y="1632"/>
                </a:lnTo>
                <a:lnTo>
                  <a:pt x="6374" y="1632"/>
                </a:lnTo>
                <a:lnTo>
                  <a:pt x="6367" y="1631"/>
                </a:lnTo>
                <a:lnTo>
                  <a:pt x="6359" y="1629"/>
                </a:lnTo>
                <a:lnTo>
                  <a:pt x="6352" y="1627"/>
                </a:lnTo>
                <a:lnTo>
                  <a:pt x="6345" y="1625"/>
                </a:lnTo>
                <a:lnTo>
                  <a:pt x="6331" y="1619"/>
                </a:lnTo>
                <a:lnTo>
                  <a:pt x="6317" y="1612"/>
                </a:lnTo>
                <a:lnTo>
                  <a:pt x="6311" y="1608"/>
                </a:lnTo>
                <a:lnTo>
                  <a:pt x="6305" y="1603"/>
                </a:lnTo>
                <a:lnTo>
                  <a:pt x="6299" y="1598"/>
                </a:lnTo>
                <a:lnTo>
                  <a:pt x="6293" y="1593"/>
                </a:lnTo>
                <a:lnTo>
                  <a:pt x="6288" y="1587"/>
                </a:lnTo>
                <a:lnTo>
                  <a:pt x="6283" y="1581"/>
                </a:lnTo>
                <a:lnTo>
                  <a:pt x="6278" y="1575"/>
                </a:lnTo>
                <a:lnTo>
                  <a:pt x="6273" y="1568"/>
                </a:lnTo>
                <a:lnTo>
                  <a:pt x="6268" y="1562"/>
                </a:lnTo>
                <a:lnTo>
                  <a:pt x="6264" y="1555"/>
                </a:lnTo>
                <a:lnTo>
                  <a:pt x="6260" y="1548"/>
                </a:lnTo>
                <a:lnTo>
                  <a:pt x="6256" y="1540"/>
                </a:lnTo>
                <a:lnTo>
                  <a:pt x="6253" y="1533"/>
                </a:lnTo>
                <a:lnTo>
                  <a:pt x="6250" y="1524"/>
                </a:lnTo>
                <a:lnTo>
                  <a:pt x="6247" y="1516"/>
                </a:lnTo>
                <a:lnTo>
                  <a:pt x="6245" y="1508"/>
                </a:lnTo>
                <a:lnTo>
                  <a:pt x="6243" y="1500"/>
                </a:lnTo>
                <a:lnTo>
                  <a:pt x="6241" y="1491"/>
                </a:lnTo>
                <a:lnTo>
                  <a:pt x="6240" y="1482"/>
                </a:lnTo>
                <a:lnTo>
                  <a:pt x="6239" y="1473"/>
                </a:lnTo>
                <a:lnTo>
                  <a:pt x="6238" y="1463"/>
                </a:lnTo>
                <a:lnTo>
                  <a:pt x="6238" y="1454"/>
                </a:lnTo>
                <a:lnTo>
                  <a:pt x="6239" y="1436"/>
                </a:lnTo>
                <a:lnTo>
                  <a:pt x="6240" y="1426"/>
                </a:lnTo>
                <a:lnTo>
                  <a:pt x="6241" y="1417"/>
                </a:lnTo>
                <a:lnTo>
                  <a:pt x="6243" y="1407"/>
                </a:lnTo>
                <a:lnTo>
                  <a:pt x="6245" y="1398"/>
                </a:lnTo>
                <a:lnTo>
                  <a:pt x="6247" y="1390"/>
                </a:lnTo>
                <a:lnTo>
                  <a:pt x="6250" y="1381"/>
                </a:lnTo>
                <a:lnTo>
                  <a:pt x="6253" y="1373"/>
                </a:lnTo>
                <a:lnTo>
                  <a:pt x="6257" y="1364"/>
                </a:lnTo>
                <a:lnTo>
                  <a:pt x="6261" y="1356"/>
                </a:lnTo>
                <a:lnTo>
                  <a:pt x="6265" y="1348"/>
                </a:lnTo>
                <a:lnTo>
                  <a:pt x="6269" y="1340"/>
                </a:lnTo>
                <a:lnTo>
                  <a:pt x="6275" y="1333"/>
                </a:lnTo>
                <a:lnTo>
                  <a:pt x="6285" y="1319"/>
                </a:lnTo>
                <a:lnTo>
                  <a:pt x="6291" y="1312"/>
                </a:lnTo>
                <a:lnTo>
                  <a:pt x="6296" y="1306"/>
                </a:lnTo>
                <a:lnTo>
                  <a:pt x="6309" y="1295"/>
                </a:lnTo>
                <a:lnTo>
                  <a:pt x="6315" y="1289"/>
                </a:lnTo>
                <a:lnTo>
                  <a:pt x="6322" y="1284"/>
                </a:lnTo>
                <a:lnTo>
                  <a:pt x="6329" y="1279"/>
                </a:lnTo>
                <a:lnTo>
                  <a:pt x="6337" y="1275"/>
                </a:lnTo>
                <a:lnTo>
                  <a:pt x="6344" y="1272"/>
                </a:lnTo>
                <a:lnTo>
                  <a:pt x="6351" y="1269"/>
                </a:lnTo>
                <a:lnTo>
                  <a:pt x="6359" y="1266"/>
                </a:lnTo>
                <a:lnTo>
                  <a:pt x="6367" y="1264"/>
                </a:lnTo>
                <a:lnTo>
                  <a:pt x="6375" y="1262"/>
                </a:lnTo>
                <a:lnTo>
                  <a:pt x="6383" y="1260"/>
                </a:lnTo>
                <a:lnTo>
                  <a:pt x="6392" y="1260"/>
                </a:lnTo>
                <a:lnTo>
                  <a:pt x="6400" y="1259"/>
                </a:lnTo>
                <a:lnTo>
                  <a:pt x="6410" y="1260"/>
                </a:lnTo>
                <a:lnTo>
                  <a:pt x="6415" y="1260"/>
                </a:lnTo>
                <a:lnTo>
                  <a:pt x="6420" y="1261"/>
                </a:lnTo>
                <a:lnTo>
                  <a:pt x="6424" y="1262"/>
                </a:lnTo>
                <a:lnTo>
                  <a:pt x="6429" y="1263"/>
                </a:lnTo>
                <a:lnTo>
                  <a:pt x="6437" y="1267"/>
                </a:lnTo>
                <a:lnTo>
                  <a:pt x="6445" y="1270"/>
                </a:lnTo>
                <a:lnTo>
                  <a:pt x="6454" y="1275"/>
                </a:lnTo>
                <a:lnTo>
                  <a:pt x="6460" y="1280"/>
                </a:lnTo>
                <a:lnTo>
                  <a:pt x="6466" y="1286"/>
                </a:lnTo>
                <a:lnTo>
                  <a:pt x="6469" y="1290"/>
                </a:lnTo>
                <a:lnTo>
                  <a:pt x="6472" y="1294"/>
                </a:lnTo>
                <a:lnTo>
                  <a:pt x="6476" y="1301"/>
                </a:lnTo>
                <a:lnTo>
                  <a:pt x="6480" y="1309"/>
                </a:lnTo>
                <a:lnTo>
                  <a:pt x="6484" y="1317"/>
                </a:lnTo>
                <a:lnTo>
                  <a:pt x="6486" y="1326"/>
                </a:lnTo>
                <a:lnTo>
                  <a:pt x="6488" y="1335"/>
                </a:lnTo>
                <a:lnTo>
                  <a:pt x="6489" y="1345"/>
                </a:lnTo>
                <a:lnTo>
                  <a:pt x="6490" y="1356"/>
                </a:lnTo>
                <a:lnTo>
                  <a:pt x="6489" y="1368"/>
                </a:lnTo>
                <a:lnTo>
                  <a:pt x="6488" y="1374"/>
                </a:lnTo>
                <a:lnTo>
                  <a:pt x="6487" y="1380"/>
                </a:lnTo>
                <a:lnTo>
                  <a:pt x="6483" y="1392"/>
                </a:lnTo>
                <a:lnTo>
                  <a:pt x="6478" y="1404"/>
                </a:lnTo>
                <a:lnTo>
                  <a:pt x="6472" y="1416"/>
                </a:lnTo>
                <a:lnTo>
                  <a:pt x="6464" y="1427"/>
                </a:lnTo>
                <a:lnTo>
                  <a:pt x="6460" y="1432"/>
                </a:lnTo>
                <a:lnTo>
                  <a:pt x="6456" y="1437"/>
                </a:lnTo>
                <a:lnTo>
                  <a:pt x="6446" y="1446"/>
                </a:lnTo>
                <a:lnTo>
                  <a:pt x="6436" y="1454"/>
                </a:lnTo>
                <a:lnTo>
                  <a:pt x="6431" y="1458"/>
                </a:lnTo>
                <a:lnTo>
                  <a:pt x="6425" y="1462"/>
                </a:lnTo>
                <a:lnTo>
                  <a:pt x="6414" y="1469"/>
                </a:lnTo>
                <a:lnTo>
                  <a:pt x="6402" y="1475"/>
                </a:lnTo>
                <a:lnTo>
                  <a:pt x="6389" y="1480"/>
                </a:lnTo>
                <a:lnTo>
                  <a:pt x="6383" y="1482"/>
                </a:lnTo>
                <a:lnTo>
                  <a:pt x="6377" y="1483"/>
                </a:lnTo>
                <a:lnTo>
                  <a:pt x="6371" y="1484"/>
                </a:lnTo>
                <a:lnTo>
                  <a:pt x="6364" y="1485"/>
                </a:lnTo>
                <a:lnTo>
                  <a:pt x="6352" y="1486"/>
                </a:lnTo>
                <a:lnTo>
                  <a:pt x="6346" y="1485"/>
                </a:lnTo>
                <a:lnTo>
                  <a:pt x="6341" y="1483"/>
                </a:lnTo>
                <a:lnTo>
                  <a:pt x="6337" y="1481"/>
                </a:lnTo>
                <a:lnTo>
                  <a:pt x="6335" y="1479"/>
                </a:lnTo>
                <a:lnTo>
                  <a:pt x="6333" y="1477"/>
                </a:lnTo>
                <a:lnTo>
                  <a:pt x="6329" y="1472"/>
                </a:lnTo>
                <a:lnTo>
                  <a:pt x="6327" y="1466"/>
                </a:lnTo>
                <a:lnTo>
                  <a:pt x="6326" y="1463"/>
                </a:lnTo>
                <a:lnTo>
                  <a:pt x="6325" y="1460"/>
                </a:lnTo>
                <a:lnTo>
                  <a:pt x="6325" y="1454"/>
                </a:lnTo>
                <a:lnTo>
                  <a:pt x="6325" y="1451"/>
                </a:lnTo>
                <a:lnTo>
                  <a:pt x="6325" y="1448"/>
                </a:lnTo>
                <a:lnTo>
                  <a:pt x="6326" y="1443"/>
                </a:lnTo>
                <a:lnTo>
                  <a:pt x="6327" y="1441"/>
                </a:lnTo>
                <a:lnTo>
                  <a:pt x="6328" y="1439"/>
                </a:lnTo>
                <a:lnTo>
                  <a:pt x="6331" y="1438"/>
                </a:lnTo>
                <a:lnTo>
                  <a:pt x="6333" y="1436"/>
                </a:lnTo>
                <a:lnTo>
                  <a:pt x="6344" y="1434"/>
                </a:lnTo>
                <a:lnTo>
                  <a:pt x="6354" y="1432"/>
                </a:lnTo>
                <a:lnTo>
                  <a:pt x="6364" y="1428"/>
                </a:lnTo>
                <a:lnTo>
                  <a:pt x="6374" y="1424"/>
                </a:lnTo>
                <a:lnTo>
                  <a:pt x="6383" y="1420"/>
                </a:lnTo>
                <a:lnTo>
                  <a:pt x="6392" y="1415"/>
                </a:lnTo>
                <a:lnTo>
                  <a:pt x="6400" y="1408"/>
                </a:lnTo>
                <a:lnTo>
                  <a:pt x="6404" y="1406"/>
                </a:lnTo>
                <a:lnTo>
                  <a:pt x="6407" y="1403"/>
                </a:lnTo>
                <a:lnTo>
                  <a:pt x="6414" y="1396"/>
                </a:lnTo>
                <a:lnTo>
                  <a:pt x="6420" y="1390"/>
                </a:lnTo>
                <a:lnTo>
                  <a:pt x="6425" y="1383"/>
                </a:lnTo>
                <a:lnTo>
                  <a:pt x="6429" y="1376"/>
                </a:lnTo>
                <a:lnTo>
                  <a:pt x="6432" y="1369"/>
                </a:lnTo>
                <a:lnTo>
                  <a:pt x="6434" y="1362"/>
                </a:lnTo>
                <a:lnTo>
                  <a:pt x="6436" y="1355"/>
                </a:lnTo>
                <a:lnTo>
                  <a:pt x="6436" y="1347"/>
                </a:lnTo>
                <a:lnTo>
                  <a:pt x="6436" y="1339"/>
                </a:lnTo>
                <a:lnTo>
                  <a:pt x="6434" y="1332"/>
                </a:lnTo>
                <a:lnTo>
                  <a:pt x="6432" y="1328"/>
                </a:lnTo>
                <a:lnTo>
                  <a:pt x="6430" y="1325"/>
                </a:lnTo>
                <a:lnTo>
                  <a:pt x="6428" y="1323"/>
                </a:lnTo>
                <a:lnTo>
                  <a:pt x="6426" y="1320"/>
                </a:lnTo>
                <a:lnTo>
                  <a:pt x="6420" y="1316"/>
                </a:lnTo>
                <a:lnTo>
                  <a:pt x="6417" y="1314"/>
                </a:lnTo>
                <a:lnTo>
                  <a:pt x="6413" y="1313"/>
                </a:lnTo>
                <a:lnTo>
                  <a:pt x="6405" y="1311"/>
                </a:lnTo>
                <a:lnTo>
                  <a:pt x="6401" y="1310"/>
                </a:lnTo>
                <a:lnTo>
                  <a:pt x="6396" y="1310"/>
                </a:lnTo>
                <a:lnTo>
                  <a:pt x="6386" y="1311"/>
                </a:lnTo>
                <a:lnTo>
                  <a:pt x="6382" y="1312"/>
                </a:lnTo>
                <a:lnTo>
                  <a:pt x="6378" y="1313"/>
                </a:lnTo>
                <a:lnTo>
                  <a:pt x="6373" y="1315"/>
                </a:lnTo>
                <a:lnTo>
                  <a:pt x="6369" y="1316"/>
                </a:lnTo>
                <a:lnTo>
                  <a:pt x="6364" y="1319"/>
                </a:lnTo>
                <a:lnTo>
                  <a:pt x="6360" y="1321"/>
                </a:lnTo>
                <a:lnTo>
                  <a:pt x="6356" y="1324"/>
                </a:lnTo>
                <a:lnTo>
                  <a:pt x="6351" y="1327"/>
                </a:lnTo>
                <a:lnTo>
                  <a:pt x="6343" y="1334"/>
                </a:lnTo>
                <a:lnTo>
                  <a:pt x="6335" y="1342"/>
                </a:lnTo>
                <a:lnTo>
                  <a:pt x="6327" y="1352"/>
                </a:lnTo>
                <a:lnTo>
                  <a:pt x="6323" y="1357"/>
                </a:lnTo>
                <a:lnTo>
                  <a:pt x="6320" y="1362"/>
                </a:lnTo>
                <a:lnTo>
                  <a:pt x="6314" y="1373"/>
                </a:lnTo>
                <a:lnTo>
                  <a:pt x="6308" y="1384"/>
                </a:lnTo>
                <a:lnTo>
                  <a:pt x="6304" y="1397"/>
                </a:lnTo>
                <a:lnTo>
                  <a:pt x="6300" y="1409"/>
                </a:lnTo>
                <a:lnTo>
                  <a:pt x="6297" y="1424"/>
                </a:lnTo>
                <a:lnTo>
                  <a:pt x="6295" y="1438"/>
                </a:lnTo>
                <a:lnTo>
                  <a:pt x="6295" y="1445"/>
                </a:lnTo>
                <a:lnTo>
                  <a:pt x="6295" y="1452"/>
                </a:lnTo>
                <a:lnTo>
                  <a:pt x="6295" y="1464"/>
                </a:lnTo>
                <a:lnTo>
                  <a:pt x="6296" y="1478"/>
                </a:lnTo>
                <a:lnTo>
                  <a:pt x="6298" y="1489"/>
                </a:lnTo>
                <a:lnTo>
                  <a:pt x="6300" y="1495"/>
                </a:lnTo>
                <a:lnTo>
                  <a:pt x="6301" y="1500"/>
                </a:lnTo>
                <a:lnTo>
                  <a:pt x="6305" y="1511"/>
                </a:lnTo>
                <a:lnTo>
                  <a:pt x="6307" y="1516"/>
                </a:lnTo>
                <a:lnTo>
                  <a:pt x="6310" y="1521"/>
                </a:lnTo>
                <a:lnTo>
                  <a:pt x="6312" y="1525"/>
                </a:lnTo>
                <a:lnTo>
                  <a:pt x="6315" y="1530"/>
                </a:lnTo>
                <a:lnTo>
                  <a:pt x="6318" y="1535"/>
                </a:lnTo>
                <a:lnTo>
                  <a:pt x="6321" y="1539"/>
                </a:lnTo>
                <a:lnTo>
                  <a:pt x="6324" y="1543"/>
                </a:lnTo>
                <a:lnTo>
                  <a:pt x="6327" y="1546"/>
                </a:lnTo>
                <a:lnTo>
                  <a:pt x="6335" y="1553"/>
                </a:lnTo>
                <a:lnTo>
                  <a:pt x="6343" y="1559"/>
                </a:lnTo>
                <a:lnTo>
                  <a:pt x="6352" y="1563"/>
                </a:lnTo>
                <a:lnTo>
                  <a:pt x="6361" y="1567"/>
                </a:lnTo>
                <a:lnTo>
                  <a:pt x="6371" y="1570"/>
                </a:lnTo>
                <a:lnTo>
                  <a:pt x="6381" y="1572"/>
                </a:lnTo>
                <a:lnTo>
                  <a:pt x="6386" y="1572"/>
                </a:lnTo>
                <a:lnTo>
                  <a:pt x="6392" y="1572"/>
                </a:lnTo>
                <a:lnTo>
                  <a:pt x="6403" y="1572"/>
                </a:lnTo>
                <a:lnTo>
                  <a:pt x="6413" y="1570"/>
                </a:lnTo>
                <a:lnTo>
                  <a:pt x="6423" y="1568"/>
                </a:lnTo>
                <a:lnTo>
                  <a:pt x="6433" y="1564"/>
                </a:lnTo>
                <a:lnTo>
                  <a:pt x="6442" y="1560"/>
                </a:lnTo>
                <a:lnTo>
                  <a:pt x="6452" y="1555"/>
                </a:lnTo>
                <a:lnTo>
                  <a:pt x="6460" y="1549"/>
                </a:lnTo>
                <a:lnTo>
                  <a:pt x="6469" y="1543"/>
                </a:lnTo>
                <a:lnTo>
                  <a:pt x="6477" y="1536"/>
                </a:lnTo>
                <a:lnTo>
                  <a:pt x="6484" y="1527"/>
                </a:lnTo>
                <a:lnTo>
                  <a:pt x="6492" y="1518"/>
                </a:lnTo>
                <a:lnTo>
                  <a:pt x="6499" y="1509"/>
                </a:lnTo>
                <a:lnTo>
                  <a:pt x="6512" y="1490"/>
                </a:lnTo>
                <a:lnTo>
                  <a:pt x="6518" y="1479"/>
                </a:lnTo>
                <a:lnTo>
                  <a:pt x="6524" y="1468"/>
                </a:lnTo>
                <a:lnTo>
                  <a:pt x="6529" y="1457"/>
                </a:lnTo>
                <a:lnTo>
                  <a:pt x="6534" y="1445"/>
                </a:lnTo>
                <a:lnTo>
                  <a:pt x="6538" y="1434"/>
                </a:lnTo>
                <a:lnTo>
                  <a:pt x="6543" y="1422"/>
                </a:lnTo>
                <a:lnTo>
                  <a:pt x="6546" y="1409"/>
                </a:lnTo>
                <a:lnTo>
                  <a:pt x="6550" y="1397"/>
                </a:lnTo>
                <a:lnTo>
                  <a:pt x="6553" y="1385"/>
                </a:lnTo>
                <a:lnTo>
                  <a:pt x="6555" y="1373"/>
                </a:lnTo>
                <a:lnTo>
                  <a:pt x="6558" y="1361"/>
                </a:lnTo>
                <a:lnTo>
                  <a:pt x="6559" y="1348"/>
                </a:lnTo>
                <a:lnTo>
                  <a:pt x="6561" y="1337"/>
                </a:lnTo>
                <a:lnTo>
                  <a:pt x="6562" y="1325"/>
                </a:lnTo>
                <a:lnTo>
                  <a:pt x="6563" y="1314"/>
                </a:lnTo>
                <a:lnTo>
                  <a:pt x="6563" y="1303"/>
                </a:lnTo>
                <a:lnTo>
                  <a:pt x="6563" y="1292"/>
                </a:lnTo>
                <a:lnTo>
                  <a:pt x="6562" y="1280"/>
                </a:lnTo>
                <a:lnTo>
                  <a:pt x="6563" y="1278"/>
                </a:lnTo>
                <a:lnTo>
                  <a:pt x="6565" y="1276"/>
                </a:lnTo>
                <a:lnTo>
                  <a:pt x="6567" y="1274"/>
                </a:lnTo>
                <a:lnTo>
                  <a:pt x="6571" y="1272"/>
                </a:lnTo>
                <a:lnTo>
                  <a:pt x="6578" y="1269"/>
                </a:lnTo>
                <a:lnTo>
                  <a:pt x="6582" y="1269"/>
                </a:lnTo>
                <a:lnTo>
                  <a:pt x="6586" y="1268"/>
                </a:lnTo>
                <a:lnTo>
                  <a:pt x="6593" y="1269"/>
                </a:lnTo>
                <a:lnTo>
                  <a:pt x="6596" y="1269"/>
                </a:lnTo>
                <a:lnTo>
                  <a:pt x="6599" y="1270"/>
                </a:lnTo>
                <a:lnTo>
                  <a:pt x="6605" y="1273"/>
                </a:lnTo>
                <a:lnTo>
                  <a:pt x="6608" y="1275"/>
                </a:lnTo>
                <a:lnTo>
                  <a:pt x="6610" y="1277"/>
                </a:lnTo>
                <a:lnTo>
                  <a:pt x="6614" y="1283"/>
                </a:lnTo>
                <a:lnTo>
                  <a:pt x="6616" y="1287"/>
                </a:lnTo>
                <a:lnTo>
                  <a:pt x="6617" y="1292"/>
                </a:lnTo>
                <a:lnTo>
                  <a:pt x="6618" y="1296"/>
                </a:lnTo>
                <a:lnTo>
                  <a:pt x="6619" y="1301"/>
                </a:lnTo>
                <a:lnTo>
                  <a:pt x="6619" y="1306"/>
                </a:lnTo>
                <a:lnTo>
                  <a:pt x="6620" y="1312"/>
                </a:lnTo>
                <a:lnTo>
                  <a:pt x="6619" y="1328"/>
                </a:lnTo>
                <a:lnTo>
                  <a:pt x="6618" y="1343"/>
                </a:lnTo>
                <a:lnTo>
                  <a:pt x="6617" y="1359"/>
                </a:lnTo>
                <a:lnTo>
                  <a:pt x="6615" y="1374"/>
                </a:lnTo>
                <a:lnTo>
                  <a:pt x="6612" y="1389"/>
                </a:lnTo>
                <a:lnTo>
                  <a:pt x="6609" y="1404"/>
                </a:lnTo>
                <a:lnTo>
                  <a:pt x="6606" y="1419"/>
                </a:lnTo>
                <a:lnTo>
                  <a:pt x="6602" y="1434"/>
                </a:lnTo>
                <a:lnTo>
                  <a:pt x="6597" y="1447"/>
                </a:lnTo>
                <a:lnTo>
                  <a:pt x="6592" y="1461"/>
                </a:lnTo>
                <a:lnTo>
                  <a:pt x="6587" y="1475"/>
                </a:lnTo>
                <a:lnTo>
                  <a:pt x="6581" y="1488"/>
                </a:lnTo>
                <a:lnTo>
                  <a:pt x="6575" y="1500"/>
                </a:lnTo>
                <a:lnTo>
                  <a:pt x="6568" y="1512"/>
                </a:lnTo>
                <a:lnTo>
                  <a:pt x="6561" y="1524"/>
                </a:lnTo>
                <a:lnTo>
                  <a:pt x="6554" y="1536"/>
                </a:lnTo>
                <a:lnTo>
                  <a:pt x="6546" y="1547"/>
                </a:lnTo>
                <a:lnTo>
                  <a:pt x="6538" y="1557"/>
                </a:lnTo>
                <a:lnTo>
                  <a:pt x="6530" y="1567"/>
                </a:lnTo>
                <a:lnTo>
                  <a:pt x="6521" y="1576"/>
                </a:lnTo>
                <a:lnTo>
                  <a:pt x="6512" y="1584"/>
                </a:lnTo>
                <a:lnTo>
                  <a:pt x="6501" y="1593"/>
                </a:lnTo>
                <a:lnTo>
                  <a:pt x="6492" y="1600"/>
                </a:lnTo>
                <a:lnTo>
                  <a:pt x="6482" y="1607"/>
                </a:lnTo>
                <a:lnTo>
                  <a:pt x="6471" y="1613"/>
                </a:lnTo>
                <a:lnTo>
                  <a:pt x="6461" y="1618"/>
                </a:lnTo>
                <a:lnTo>
                  <a:pt x="6449" y="1622"/>
                </a:lnTo>
                <a:lnTo>
                  <a:pt x="6438" y="1626"/>
                </a:lnTo>
                <a:lnTo>
                  <a:pt x="6426" y="1629"/>
                </a:lnTo>
                <a:lnTo>
                  <a:pt x="6415" y="1631"/>
                </a:lnTo>
                <a:lnTo>
                  <a:pt x="6403" y="1632"/>
                </a:lnTo>
                <a:lnTo>
                  <a:pt x="6389" y="1633"/>
                </a:lnTo>
                <a:close/>
                <a:moveTo>
                  <a:pt x="6777" y="1627"/>
                </a:moveTo>
                <a:lnTo>
                  <a:pt x="6775" y="1627"/>
                </a:lnTo>
                <a:lnTo>
                  <a:pt x="6773" y="1626"/>
                </a:lnTo>
                <a:lnTo>
                  <a:pt x="6768" y="1623"/>
                </a:lnTo>
                <a:lnTo>
                  <a:pt x="6761" y="1619"/>
                </a:lnTo>
                <a:lnTo>
                  <a:pt x="6754" y="1613"/>
                </a:lnTo>
                <a:lnTo>
                  <a:pt x="6740" y="1603"/>
                </a:lnTo>
                <a:lnTo>
                  <a:pt x="6725" y="1588"/>
                </a:lnTo>
                <a:lnTo>
                  <a:pt x="6709" y="1572"/>
                </a:lnTo>
                <a:lnTo>
                  <a:pt x="6692" y="1555"/>
                </a:lnTo>
                <a:lnTo>
                  <a:pt x="6676" y="1538"/>
                </a:lnTo>
                <a:lnTo>
                  <a:pt x="6661" y="1521"/>
                </a:lnTo>
                <a:lnTo>
                  <a:pt x="6650" y="1506"/>
                </a:lnTo>
                <a:lnTo>
                  <a:pt x="6646" y="1500"/>
                </a:lnTo>
                <a:lnTo>
                  <a:pt x="6642" y="1495"/>
                </a:lnTo>
                <a:lnTo>
                  <a:pt x="6637" y="1485"/>
                </a:lnTo>
                <a:lnTo>
                  <a:pt x="6633" y="1475"/>
                </a:lnTo>
                <a:lnTo>
                  <a:pt x="6631" y="1464"/>
                </a:lnTo>
                <a:lnTo>
                  <a:pt x="6629" y="1454"/>
                </a:lnTo>
                <a:lnTo>
                  <a:pt x="6629" y="1449"/>
                </a:lnTo>
                <a:lnTo>
                  <a:pt x="6631" y="1443"/>
                </a:lnTo>
                <a:lnTo>
                  <a:pt x="6633" y="1437"/>
                </a:lnTo>
                <a:lnTo>
                  <a:pt x="6635" y="1431"/>
                </a:lnTo>
                <a:lnTo>
                  <a:pt x="6637" y="1425"/>
                </a:lnTo>
                <a:lnTo>
                  <a:pt x="6640" y="1419"/>
                </a:lnTo>
                <a:lnTo>
                  <a:pt x="6644" y="1412"/>
                </a:lnTo>
                <a:lnTo>
                  <a:pt x="6649" y="1404"/>
                </a:lnTo>
                <a:lnTo>
                  <a:pt x="6657" y="1393"/>
                </a:lnTo>
                <a:lnTo>
                  <a:pt x="6668" y="1380"/>
                </a:lnTo>
                <a:lnTo>
                  <a:pt x="6699" y="1345"/>
                </a:lnTo>
                <a:lnTo>
                  <a:pt x="6734" y="1306"/>
                </a:lnTo>
                <a:lnTo>
                  <a:pt x="6770" y="1264"/>
                </a:lnTo>
                <a:lnTo>
                  <a:pt x="6771" y="1264"/>
                </a:lnTo>
                <a:lnTo>
                  <a:pt x="6774" y="1264"/>
                </a:lnTo>
                <a:lnTo>
                  <a:pt x="6778" y="1264"/>
                </a:lnTo>
                <a:lnTo>
                  <a:pt x="6782" y="1265"/>
                </a:lnTo>
                <a:lnTo>
                  <a:pt x="6786" y="1267"/>
                </a:lnTo>
                <a:lnTo>
                  <a:pt x="6790" y="1270"/>
                </a:lnTo>
                <a:lnTo>
                  <a:pt x="6795" y="1273"/>
                </a:lnTo>
                <a:lnTo>
                  <a:pt x="6798" y="1276"/>
                </a:lnTo>
                <a:lnTo>
                  <a:pt x="6802" y="1281"/>
                </a:lnTo>
                <a:lnTo>
                  <a:pt x="6805" y="1286"/>
                </a:lnTo>
                <a:lnTo>
                  <a:pt x="6806" y="1290"/>
                </a:lnTo>
                <a:lnTo>
                  <a:pt x="6807" y="1296"/>
                </a:lnTo>
                <a:lnTo>
                  <a:pt x="6806" y="1301"/>
                </a:lnTo>
                <a:lnTo>
                  <a:pt x="6804" y="1307"/>
                </a:lnTo>
                <a:lnTo>
                  <a:pt x="6801" y="1312"/>
                </a:lnTo>
                <a:lnTo>
                  <a:pt x="6798" y="1318"/>
                </a:lnTo>
                <a:lnTo>
                  <a:pt x="6789" y="1329"/>
                </a:lnTo>
                <a:lnTo>
                  <a:pt x="6778" y="1342"/>
                </a:lnTo>
                <a:lnTo>
                  <a:pt x="6748" y="1376"/>
                </a:lnTo>
                <a:lnTo>
                  <a:pt x="6718" y="1409"/>
                </a:lnTo>
                <a:lnTo>
                  <a:pt x="6706" y="1425"/>
                </a:lnTo>
                <a:lnTo>
                  <a:pt x="6697" y="1436"/>
                </a:lnTo>
                <a:lnTo>
                  <a:pt x="6694" y="1440"/>
                </a:lnTo>
                <a:lnTo>
                  <a:pt x="6693" y="1444"/>
                </a:lnTo>
                <a:lnTo>
                  <a:pt x="6692" y="1447"/>
                </a:lnTo>
                <a:lnTo>
                  <a:pt x="6691" y="1451"/>
                </a:lnTo>
                <a:lnTo>
                  <a:pt x="6692" y="1455"/>
                </a:lnTo>
                <a:lnTo>
                  <a:pt x="6693" y="1460"/>
                </a:lnTo>
                <a:lnTo>
                  <a:pt x="6695" y="1464"/>
                </a:lnTo>
                <a:lnTo>
                  <a:pt x="6698" y="1469"/>
                </a:lnTo>
                <a:lnTo>
                  <a:pt x="6706" y="1479"/>
                </a:lnTo>
                <a:lnTo>
                  <a:pt x="6716" y="1491"/>
                </a:lnTo>
                <a:lnTo>
                  <a:pt x="6743" y="1520"/>
                </a:lnTo>
                <a:lnTo>
                  <a:pt x="6776" y="1553"/>
                </a:lnTo>
                <a:lnTo>
                  <a:pt x="6807" y="1583"/>
                </a:lnTo>
                <a:lnTo>
                  <a:pt x="6809" y="1585"/>
                </a:lnTo>
                <a:lnTo>
                  <a:pt x="6811" y="1587"/>
                </a:lnTo>
                <a:lnTo>
                  <a:pt x="6812" y="1589"/>
                </a:lnTo>
                <a:lnTo>
                  <a:pt x="6813" y="1593"/>
                </a:lnTo>
                <a:lnTo>
                  <a:pt x="6812" y="1599"/>
                </a:lnTo>
                <a:lnTo>
                  <a:pt x="6811" y="1601"/>
                </a:lnTo>
                <a:lnTo>
                  <a:pt x="6808" y="1604"/>
                </a:lnTo>
                <a:lnTo>
                  <a:pt x="6805" y="1610"/>
                </a:lnTo>
                <a:lnTo>
                  <a:pt x="6803" y="1613"/>
                </a:lnTo>
                <a:lnTo>
                  <a:pt x="6800" y="1615"/>
                </a:lnTo>
                <a:lnTo>
                  <a:pt x="6795" y="1620"/>
                </a:lnTo>
                <a:lnTo>
                  <a:pt x="6792" y="1622"/>
                </a:lnTo>
                <a:lnTo>
                  <a:pt x="6789" y="1624"/>
                </a:lnTo>
                <a:lnTo>
                  <a:pt x="6783" y="1626"/>
                </a:lnTo>
                <a:lnTo>
                  <a:pt x="6780" y="1627"/>
                </a:lnTo>
                <a:lnTo>
                  <a:pt x="6777" y="1627"/>
                </a:lnTo>
                <a:close/>
                <a:moveTo>
                  <a:pt x="6389" y="2627"/>
                </a:moveTo>
                <a:lnTo>
                  <a:pt x="6382" y="2627"/>
                </a:lnTo>
                <a:lnTo>
                  <a:pt x="6374" y="2626"/>
                </a:lnTo>
                <a:lnTo>
                  <a:pt x="6367" y="2625"/>
                </a:lnTo>
                <a:lnTo>
                  <a:pt x="6359" y="2623"/>
                </a:lnTo>
                <a:lnTo>
                  <a:pt x="6352" y="2621"/>
                </a:lnTo>
                <a:lnTo>
                  <a:pt x="6345" y="2619"/>
                </a:lnTo>
                <a:lnTo>
                  <a:pt x="6331" y="2613"/>
                </a:lnTo>
                <a:lnTo>
                  <a:pt x="6317" y="2605"/>
                </a:lnTo>
                <a:lnTo>
                  <a:pt x="6311" y="2601"/>
                </a:lnTo>
                <a:lnTo>
                  <a:pt x="6305" y="2596"/>
                </a:lnTo>
                <a:lnTo>
                  <a:pt x="6299" y="2591"/>
                </a:lnTo>
                <a:lnTo>
                  <a:pt x="6293" y="2586"/>
                </a:lnTo>
                <a:lnTo>
                  <a:pt x="6288" y="2581"/>
                </a:lnTo>
                <a:lnTo>
                  <a:pt x="6283" y="2575"/>
                </a:lnTo>
                <a:lnTo>
                  <a:pt x="6278" y="2569"/>
                </a:lnTo>
                <a:lnTo>
                  <a:pt x="6273" y="2563"/>
                </a:lnTo>
                <a:lnTo>
                  <a:pt x="6268" y="2556"/>
                </a:lnTo>
                <a:lnTo>
                  <a:pt x="6264" y="2548"/>
                </a:lnTo>
                <a:lnTo>
                  <a:pt x="6260" y="2541"/>
                </a:lnTo>
                <a:lnTo>
                  <a:pt x="6256" y="2534"/>
                </a:lnTo>
                <a:lnTo>
                  <a:pt x="6253" y="2526"/>
                </a:lnTo>
                <a:lnTo>
                  <a:pt x="6250" y="2518"/>
                </a:lnTo>
                <a:lnTo>
                  <a:pt x="6247" y="2510"/>
                </a:lnTo>
                <a:lnTo>
                  <a:pt x="6245" y="2502"/>
                </a:lnTo>
                <a:lnTo>
                  <a:pt x="6243" y="2494"/>
                </a:lnTo>
                <a:lnTo>
                  <a:pt x="6241" y="2484"/>
                </a:lnTo>
                <a:lnTo>
                  <a:pt x="6240" y="2475"/>
                </a:lnTo>
                <a:lnTo>
                  <a:pt x="6239" y="2467"/>
                </a:lnTo>
                <a:lnTo>
                  <a:pt x="6238" y="2458"/>
                </a:lnTo>
                <a:lnTo>
                  <a:pt x="6238" y="2448"/>
                </a:lnTo>
                <a:lnTo>
                  <a:pt x="6239" y="2429"/>
                </a:lnTo>
                <a:lnTo>
                  <a:pt x="6240" y="2420"/>
                </a:lnTo>
                <a:lnTo>
                  <a:pt x="6241" y="2410"/>
                </a:lnTo>
                <a:lnTo>
                  <a:pt x="6243" y="2401"/>
                </a:lnTo>
                <a:lnTo>
                  <a:pt x="6245" y="2393"/>
                </a:lnTo>
                <a:lnTo>
                  <a:pt x="6247" y="2384"/>
                </a:lnTo>
                <a:lnTo>
                  <a:pt x="6250" y="2375"/>
                </a:lnTo>
                <a:lnTo>
                  <a:pt x="6253" y="2366"/>
                </a:lnTo>
                <a:lnTo>
                  <a:pt x="6257" y="2358"/>
                </a:lnTo>
                <a:lnTo>
                  <a:pt x="6261" y="2350"/>
                </a:lnTo>
                <a:lnTo>
                  <a:pt x="6265" y="2342"/>
                </a:lnTo>
                <a:lnTo>
                  <a:pt x="6269" y="2334"/>
                </a:lnTo>
                <a:lnTo>
                  <a:pt x="6275" y="2327"/>
                </a:lnTo>
                <a:lnTo>
                  <a:pt x="6285" y="2313"/>
                </a:lnTo>
                <a:lnTo>
                  <a:pt x="6291" y="2305"/>
                </a:lnTo>
                <a:lnTo>
                  <a:pt x="6296" y="2299"/>
                </a:lnTo>
                <a:lnTo>
                  <a:pt x="6309" y="2288"/>
                </a:lnTo>
                <a:lnTo>
                  <a:pt x="6315" y="2283"/>
                </a:lnTo>
                <a:lnTo>
                  <a:pt x="6322" y="2278"/>
                </a:lnTo>
                <a:lnTo>
                  <a:pt x="6329" y="2274"/>
                </a:lnTo>
                <a:lnTo>
                  <a:pt x="6337" y="2269"/>
                </a:lnTo>
                <a:lnTo>
                  <a:pt x="6344" y="2266"/>
                </a:lnTo>
                <a:lnTo>
                  <a:pt x="6351" y="2263"/>
                </a:lnTo>
                <a:lnTo>
                  <a:pt x="6359" y="2260"/>
                </a:lnTo>
                <a:lnTo>
                  <a:pt x="6367" y="2258"/>
                </a:lnTo>
                <a:lnTo>
                  <a:pt x="6375" y="2256"/>
                </a:lnTo>
                <a:lnTo>
                  <a:pt x="6383" y="2255"/>
                </a:lnTo>
                <a:lnTo>
                  <a:pt x="6392" y="2254"/>
                </a:lnTo>
                <a:lnTo>
                  <a:pt x="6400" y="2254"/>
                </a:lnTo>
                <a:lnTo>
                  <a:pt x="6410" y="2254"/>
                </a:lnTo>
                <a:lnTo>
                  <a:pt x="6415" y="2255"/>
                </a:lnTo>
                <a:lnTo>
                  <a:pt x="6420" y="2255"/>
                </a:lnTo>
                <a:lnTo>
                  <a:pt x="6424" y="2256"/>
                </a:lnTo>
                <a:lnTo>
                  <a:pt x="6429" y="2258"/>
                </a:lnTo>
                <a:lnTo>
                  <a:pt x="6437" y="2261"/>
                </a:lnTo>
                <a:lnTo>
                  <a:pt x="6445" y="2265"/>
                </a:lnTo>
                <a:lnTo>
                  <a:pt x="6454" y="2269"/>
                </a:lnTo>
                <a:lnTo>
                  <a:pt x="6460" y="2275"/>
                </a:lnTo>
                <a:lnTo>
                  <a:pt x="6466" y="2281"/>
                </a:lnTo>
                <a:lnTo>
                  <a:pt x="6469" y="2284"/>
                </a:lnTo>
                <a:lnTo>
                  <a:pt x="6472" y="2287"/>
                </a:lnTo>
                <a:lnTo>
                  <a:pt x="6476" y="2295"/>
                </a:lnTo>
                <a:lnTo>
                  <a:pt x="6480" y="2302"/>
                </a:lnTo>
                <a:lnTo>
                  <a:pt x="6484" y="2312"/>
                </a:lnTo>
                <a:lnTo>
                  <a:pt x="6486" y="2320"/>
                </a:lnTo>
                <a:lnTo>
                  <a:pt x="6488" y="2329"/>
                </a:lnTo>
                <a:lnTo>
                  <a:pt x="6489" y="2339"/>
                </a:lnTo>
                <a:lnTo>
                  <a:pt x="6490" y="2349"/>
                </a:lnTo>
                <a:lnTo>
                  <a:pt x="6489" y="2361"/>
                </a:lnTo>
                <a:lnTo>
                  <a:pt x="6488" y="2368"/>
                </a:lnTo>
                <a:lnTo>
                  <a:pt x="6487" y="2375"/>
                </a:lnTo>
                <a:lnTo>
                  <a:pt x="6483" y="2387"/>
                </a:lnTo>
                <a:lnTo>
                  <a:pt x="6478" y="2398"/>
                </a:lnTo>
                <a:lnTo>
                  <a:pt x="6472" y="2409"/>
                </a:lnTo>
                <a:lnTo>
                  <a:pt x="6464" y="2420"/>
                </a:lnTo>
                <a:lnTo>
                  <a:pt x="6460" y="2425"/>
                </a:lnTo>
                <a:lnTo>
                  <a:pt x="6456" y="2430"/>
                </a:lnTo>
                <a:lnTo>
                  <a:pt x="6446" y="2440"/>
                </a:lnTo>
                <a:lnTo>
                  <a:pt x="6436" y="2449"/>
                </a:lnTo>
                <a:lnTo>
                  <a:pt x="6431" y="2452"/>
                </a:lnTo>
                <a:lnTo>
                  <a:pt x="6425" y="2456"/>
                </a:lnTo>
                <a:lnTo>
                  <a:pt x="6414" y="2463"/>
                </a:lnTo>
                <a:lnTo>
                  <a:pt x="6402" y="2468"/>
                </a:lnTo>
                <a:lnTo>
                  <a:pt x="6389" y="2473"/>
                </a:lnTo>
                <a:lnTo>
                  <a:pt x="6383" y="2475"/>
                </a:lnTo>
                <a:lnTo>
                  <a:pt x="6377" y="2476"/>
                </a:lnTo>
                <a:lnTo>
                  <a:pt x="6371" y="2478"/>
                </a:lnTo>
                <a:lnTo>
                  <a:pt x="6364" y="2478"/>
                </a:lnTo>
                <a:lnTo>
                  <a:pt x="6352" y="2479"/>
                </a:lnTo>
                <a:lnTo>
                  <a:pt x="6346" y="2478"/>
                </a:lnTo>
                <a:lnTo>
                  <a:pt x="6341" y="2477"/>
                </a:lnTo>
                <a:lnTo>
                  <a:pt x="6337" y="2474"/>
                </a:lnTo>
                <a:lnTo>
                  <a:pt x="6335" y="2472"/>
                </a:lnTo>
                <a:lnTo>
                  <a:pt x="6333" y="2470"/>
                </a:lnTo>
                <a:lnTo>
                  <a:pt x="6329" y="2465"/>
                </a:lnTo>
                <a:lnTo>
                  <a:pt x="6327" y="2460"/>
                </a:lnTo>
                <a:lnTo>
                  <a:pt x="6326" y="2457"/>
                </a:lnTo>
                <a:lnTo>
                  <a:pt x="6325" y="2454"/>
                </a:lnTo>
                <a:lnTo>
                  <a:pt x="6325" y="2448"/>
                </a:lnTo>
                <a:lnTo>
                  <a:pt x="6325" y="2445"/>
                </a:lnTo>
                <a:lnTo>
                  <a:pt x="6325" y="2442"/>
                </a:lnTo>
                <a:lnTo>
                  <a:pt x="6326" y="2437"/>
                </a:lnTo>
                <a:lnTo>
                  <a:pt x="6327" y="2435"/>
                </a:lnTo>
                <a:lnTo>
                  <a:pt x="6328" y="2433"/>
                </a:lnTo>
                <a:lnTo>
                  <a:pt x="6331" y="2432"/>
                </a:lnTo>
                <a:lnTo>
                  <a:pt x="6333" y="2430"/>
                </a:lnTo>
                <a:lnTo>
                  <a:pt x="6344" y="2428"/>
                </a:lnTo>
                <a:lnTo>
                  <a:pt x="6354" y="2425"/>
                </a:lnTo>
                <a:lnTo>
                  <a:pt x="6364" y="2422"/>
                </a:lnTo>
                <a:lnTo>
                  <a:pt x="6374" y="2418"/>
                </a:lnTo>
                <a:lnTo>
                  <a:pt x="6383" y="2413"/>
                </a:lnTo>
                <a:lnTo>
                  <a:pt x="6392" y="2408"/>
                </a:lnTo>
                <a:lnTo>
                  <a:pt x="6400" y="2403"/>
                </a:lnTo>
                <a:lnTo>
                  <a:pt x="6404" y="2400"/>
                </a:lnTo>
                <a:lnTo>
                  <a:pt x="6407" y="2397"/>
                </a:lnTo>
                <a:lnTo>
                  <a:pt x="6414" y="2390"/>
                </a:lnTo>
                <a:lnTo>
                  <a:pt x="6420" y="2384"/>
                </a:lnTo>
                <a:lnTo>
                  <a:pt x="6425" y="2377"/>
                </a:lnTo>
                <a:lnTo>
                  <a:pt x="6429" y="2369"/>
                </a:lnTo>
                <a:lnTo>
                  <a:pt x="6432" y="2362"/>
                </a:lnTo>
                <a:lnTo>
                  <a:pt x="6434" y="2355"/>
                </a:lnTo>
                <a:lnTo>
                  <a:pt x="6436" y="2348"/>
                </a:lnTo>
                <a:lnTo>
                  <a:pt x="6436" y="2341"/>
                </a:lnTo>
                <a:lnTo>
                  <a:pt x="6436" y="2333"/>
                </a:lnTo>
                <a:lnTo>
                  <a:pt x="6434" y="2326"/>
                </a:lnTo>
                <a:lnTo>
                  <a:pt x="6432" y="2323"/>
                </a:lnTo>
                <a:lnTo>
                  <a:pt x="6430" y="2319"/>
                </a:lnTo>
                <a:lnTo>
                  <a:pt x="6428" y="2317"/>
                </a:lnTo>
                <a:lnTo>
                  <a:pt x="6426" y="2314"/>
                </a:lnTo>
                <a:lnTo>
                  <a:pt x="6420" y="2309"/>
                </a:lnTo>
                <a:lnTo>
                  <a:pt x="6417" y="2307"/>
                </a:lnTo>
                <a:lnTo>
                  <a:pt x="6413" y="2306"/>
                </a:lnTo>
                <a:lnTo>
                  <a:pt x="6405" y="2304"/>
                </a:lnTo>
                <a:lnTo>
                  <a:pt x="6401" y="2303"/>
                </a:lnTo>
                <a:lnTo>
                  <a:pt x="6396" y="2303"/>
                </a:lnTo>
                <a:lnTo>
                  <a:pt x="6386" y="2304"/>
                </a:lnTo>
                <a:lnTo>
                  <a:pt x="6382" y="2305"/>
                </a:lnTo>
                <a:lnTo>
                  <a:pt x="6378" y="2306"/>
                </a:lnTo>
                <a:lnTo>
                  <a:pt x="6373" y="2308"/>
                </a:lnTo>
                <a:lnTo>
                  <a:pt x="6369" y="2310"/>
                </a:lnTo>
                <a:lnTo>
                  <a:pt x="6364" y="2313"/>
                </a:lnTo>
                <a:lnTo>
                  <a:pt x="6360" y="2315"/>
                </a:lnTo>
                <a:lnTo>
                  <a:pt x="6356" y="2318"/>
                </a:lnTo>
                <a:lnTo>
                  <a:pt x="6351" y="2321"/>
                </a:lnTo>
                <a:lnTo>
                  <a:pt x="6343" y="2328"/>
                </a:lnTo>
                <a:lnTo>
                  <a:pt x="6335" y="2336"/>
                </a:lnTo>
                <a:lnTo>
                  <a:pt x="6327" y="2345"/>
                </a:lnTo>
                <a:lnTo>
                  <a:pt x="6323" y="2350"/>
                </a:lnTo>
                <a:lnTo>
                  <a:pt x="6320" y="2355"/>
                </a:lnTo>
                <a:lnTo>
                  <a:pt x="6314" y="2366"/>
                </a:lnTo>
                <a:lnTo>
                  <a:pt x="6308" y="2379"/>
                </a:lnTo>
                <a:lnTo>
                  <a:pt x="6304" y="2391"/>
                </a:lnTo>
                <a:lnTo>
                  <a:pt x="6300" y="2404"/>
                </a:lnTo>
                <a:lnTo>
                  <a:pt x="6297" y="2417"/>
                </a:lnTo>
                <a:lnTo>
                  <a:pt x="6295" y="2432"/>
                </a:lnTo>
                <a:lnTo>
                  <a:pt x="6295" y="2439"/>
                </a:lnTo>
                <a:lnTo>
                  <a:pt x="6295" y="2446"/>
                </a:lnTo>
                <a:lnTo>
                  <a:pt x="6295" y="2459"/>
                </a:lnTo>
                <a:lnTo>
                  <a:pt x="6296" y="2471"/>
                </a:lnTo>
                <a:lnTo>
                  <a:pt x="6298" y="2482"/>
                </a:lnTo>
                <a:lnTo>
                  <a:pt x="6300" y="2488"/>
                </a:lnTo>
                <a:lnTo>
                  <a:pt x="6301" y="2494"/>
                </a:lnTo>
                <a:lnTo>
                  <a:pt x="6305" y="2505"/>
                </a:lnTo>
                <a:lnTo>
                  <a:pt x="6307" y="2510"/>
                </a:lnTo>
                <a:lnTo>
                  <a:pt x="6310" y="2515"/>
                </a:lnTo>
                <a:lnTo>
                  <a:pt x="6312" y="2519"/>
                </a:lnTo>
                <a:lnTo>
                  <a:pt x="6315" y="2524"/>
                </a:lnTo>
                <a:lnTo>
                  <a:pt x="6318" y="2528"/>
                </a:lnTo>
                <a:lnTo>
                  <a:pt x="6321" y="2532"/>
                </a:lnTo>
                <a:lnTo>
                  <a:pt x="6324" y="2536"/>
                </a:lnTo>
                <a:lnTo>
                  <a:pt x="6327" y="2540"/>
                </a:lnTo>
                <a:lnTo>
                  <a:pt x="6335" y="2546"/>
                </a:lnTo>
                <a:lnTo>
                  <a:pt x="6343" y="2553"/>
                </a:lnTo>
                <a:lnTo>
                  <a:pt x="6352" y="2558"/>
                </a:lnTo>
                <a:lnTo>
                  <a:pt x="6361" y="2561"/>
                </a:lnTo>
                <a:lnTo>
                  <a:pt x="6371" y="2564"/>
                </a:lnTo>
                <a:lnTo>
                  <a:pt x="6381" y="2566"/>
                </a:lnTo>
                <a:lnTo>
                  <a:pt x="6386" y="2566"/>
                </a:lnTo>
                <a:lnTo>
                  <a:pt x="6392" y="2567"/>
                </a:lnTo>
                <a:lnTo>
                  <a:pt x="6403" y="2566"/>
                </a:lnTo>
                <a:lnTo>
                  <a:pt x="6413" y="2564"/>
                </a:lnTo>
                <a:lnTo>
                  <a:pt x="6423" y="2562"/>
                </a:lnTo>
                <a:lnTo>
                  <a:pt x="6433" y="2559"/>
                </a:lnTo>
                <a:lnTo>
                  <a:pt x="6442" y="2554"/>
                </a:lnTo>
                <a:lnTo>
                  <a:pt x="6452" y="2548"/>
                </a:lnTo>
                <a:lnTo>
                  <a:pt x="6460" y="2543"/>
                </a:lnTo>
                <a:lnTo>
                  <a:pt x="6469" y="2536"/>
                </a:lnTo>
                <a:lnTo>
                  <a:pt x="6477" y="2529"/>
                </a:lnTo>
                <a:lnTo>
                  <a:pt x="6484" y="2521"/>
                </a:lnTo>
                <a:lnTo>
                  <a:pt x="6492" y="2512"/>
                </a:lnTo>
                <a:lnTo>
                  <a:pt x="6499" y="2503"/>
                </a:lnTo>
                <a:lnTo>
                  <a:pt x="6512" y="2483"/>
                </a:lnTo>
                <a:lnTo>
                  <a:pt x="6518" y="2473"/>
                </a:lnTo>
                <a:lnTo>
                  <a:pt x="6524" y="2462"/>
                </a:lnTo>
                <a:lnTo>
                  <a:pt x="6529" y="2451"/>
                </a:lnTo>
                <a:lnTo>
                  <a:pt x="6534" y="2440"/>
                </a:lnTo>
                <a:lnTo>
                  <a:pt x="6538" y="2427"/>
                </a:lnTo>
                <a:lnTo>
                  <a:pt x="6543" y="2415"/>
                </a:lnTo>
                <a:lnTo>
                  <a:pt x="6546" y="2403"/>
                </a:lnTo>
                <a:lnTo>
                  <a:pt x="6550" y="2391"/>
                </a:lnTo>
                <a:lnTo>
                  <a:pt x="6553" y="2379"/>
                </a:lnTo>
                <a:lnTo>
                  <a:pt x="6555" y="2366"/>
                </a:lnTo>
                <a:lnTo>
                  <a:pt x="6558" y="2354"/>
                </a:lnTo>
                <a:lnTo>
                  <a:pt x="6559" y="2343"/>
                </a:lnTo>
                <a:lnTo>
                  <a:pt x="6561" y="2331"/>
                </a:lnTo>
                <a:lnTo>
                  <a:pt x="6562" y="2319"/>
                </a:lnTo>
                <a:lnTo>
                  <a:pt x="6563" y="2307"/>
                </a:lnTo>
                <a:lnTo>
                  <a:pt x="6563" y="2296"/>
                </a:lnTo>
                <a:lnTo>
                  <a:pt x="6563" y="2285"/>
                </a:lnTo>
                <a:lnTo>
                  <a:pt x="6562" y="2275"/>
                </a:lnTo>
                <a:lnTo>
                  <a:pt x="6563" y="2272"/>
                </a:lnTo>
                <a:lnTo>
                  <a:pt x="6565" y="2270"/>
                </a:lnTo>
                <a:lnTo>
                  <a:pt x="6567" y="2268"/>
                </a:lnTo>
                <a:lnTo>
                  <a:pt x="6571" y="2266"/>
                </a:lnTo>
                <a:lnTo>
                  <a:pt x="6578" y="2263"/>
                </a:lnTo>
                <a:lnTo>
                  <a:pt x="6582" y="2263"/>
                </a:lnTo>
                <a:lnTo>
                  <a:pt x="6586" y="2262"/>
                </a:lnTo>
                <a:lnTo>
                  <a:pt x="6593" y="2263"/>
                </a:lnTo>
                <a:lnTo>
                  <a:pt x="6596" y="2264"/>
                </a:lnTo>
                <a:lnTo>
                  <a:pt x="6599" y="2265"/>
                </a:lnTo>
                <a:lnTo>
                  <a:pt x="6605" y="2267"/>
                </a:lnTo>
                <a:lnTo>
                  <a:pt x="6608" y="2269"/>
                </a:lnTo>
                <a:lnTo>
                  <a:pt x="6610" y="2272"/>
                </a:lnTo>
                <a:lnTo>
                  <a:pt x="6614" y="2277"/>
                </a:lnTo>
                <a:lnTo>
                  <a:pt x="6616" y="2281"/>
                </a:lnTo>
                <a:lnTo>
                  <a:pt x="6617" y="2285"/>
                </a:lnTo>
                <a:lnTo>
                  <a:pt x="6618" y="2289"/>
                </a:lnTo>
                <a:lnTo>
                  <a:pt x="6619" y="2294"/>
                </a:lnTo>
                <a:lnTo>
                  <a:pt x="6619" y="2299"/>
                </a:lnTo>
                <a:lnTo>
                  <a:pt x="6620" y="2305"/>
                </a:lnTo>
                <a:lnTo>
                  <a:pt x="6619" y="2322"/>
                </a:lnTo>
                <a:lnTo>
                  <a:pt x="6618" y="2337"/>
                </a:lnTo>
                <a:lnTo>
                  <a:pt x="6617" y="2352"/>
                </a:lnTo>
                <a:lnTo>
                  <a:pt x="6615" y="2368"/>
                </a:lnTo>
                <a:lnTo>
                  <a:pt x="6612" y="2383"/>
                </a:lnTo>
                <a:lnTo>
                  <a:pt x="6609" y="2398"/>
                </a:lnTo>
                <a:lnTo>
                  <a:pt x="6606" y="2413"/>
                </a:lnTo>
                <a:lnTo>
                  <a:pt x="6602" y="2427"/>
                </a:lnTo>
                <a:lnTo>
                  <a:pt x="6597" y="2442"/>
                </a:lnTo>
                <a:lnTo>
                  <a:pt x="6592" y="2455"/>
                </a:lnTo>
                <a:lnTo>
                  <a:pt x="6587" y="2468"/>
                </a:lnTo>
                <a:lnTo>
                  <a:pt x="6581" y="2481"/>
                </a:lnTo>
                <a:lnTo>
                  <a:pt x="6575" y="2495"/>
                </a:lnTo>
                <a:lnTo>
                  <a:pt x="6568" y="2507"/>
                </a:lnTo>
                <a:lnTo>
                  <a:pt x="6561" y="2518"/>
                </a:lnTo>
                <a:lnTo>
                  <a:pt x="6554" y="2529"/>
                </a:lnTo>
                <a:lnTo>
                  <a:pt x="6546" y="2540"/>
                </a:lnTo>
                <a:lnTo>
                  <a:pt x="6538" y="2550"/>
                </a:lnTo>
                <a:lnTo>
                  <a:pt x="6530" y="2561"/>
                </a:lnTo>
                <a:lnTo>
                  <a:pt x="6521" y="2570"/>
                </a:lnTo>
                <a:lnTo>
                  <a:pt x="6512" y="2578"/>
                </a:lnTo>
                <a:lnTo>
                  <a:pt x="6501" y="2586"/>
                </a:lnTo>
                <a:lnTo>
                  <a:pt x="6492" y="2593"/>
                </a:lnTo>
                <a:lnTo>
                  <a:pt x="6482" y="2600"/>
                </a:lnTo>
                <a:lnTo>
                  <a:pt x="6471" y="2606"/>
                </a:lnTo>
                <a:lnTo>
                  <a:pt x="6461" y="2612"/>
                </a:lnTo>
                <a:lnTo>
                  <a:pt x="6449" y="2616"/>
                </a:lnTo>
                <a:lnTo>
                  <a:pt x="6438" y="2620"/>
                </a:lnTo>
                <a:lnTo>
                  <a:pt x="6426" y="2623"/>
                </a:lnTo>
                <a:lnTo>
                  <a:pt x="6415" y="2625"/>
                </a:lnTo>
                <a:lnTo>
                  <a:pt x="6403" y="2626"/>
                </a:lnTo>
                <a:lnTo>
                  <a:pt x="6389" y="2627"/>
                </a:lnTo>
                <a:close/>
                <a:moveTo>
                  <a:pt x="6777" y="2621"/>
                </a:moveTo>
                <a:lnTo>
                  <a:pt x="6775" y="2621"/>
                </a:lnTo>
                <a:lnTo>
                  <a:pt x="6773" y="2620"/>
                </a:lnTo>
                <a:lnTo>
                  <a:pt x="6768" y="2617"/>
                </a:lnTo>
                <a:lnTo>
                  <a:pt x="6761" y="2613"/>
                </a:lnTo>
                <a:lnTo>
                  <a:pt x="6754" y="2607"/>
                </a:lnTo>
                <a:lnTo>
                  <a:pt x="6740" y="2596"/>
                </a:lnTo>
                <a:lnTo>
                  <a:pt x="6725" y="2582"/>
                </a:lnTo>
                <a:lnTo>
                  <a:pt x="6709" y="2566"/>
                </a:lnTo>
                <a:lnTo>
                  <a:pt x="6692" y="2548"/>
                </a:lnTo>
                <a:lnTo>
                  <a:pt x="6676" y="2531"/>
                </a:lnTo>
                <a:lnTo>
                  <a:pt x="6661" y="2515"/>
                </a:lnTo>
                <a:lnTo>
                  <a:pt x="6650" y="2501"/>
                </a:lnTo>
                <a:lnTo>
                  <a:pt x="6646" y="2494"/>
                </a:lnTo>
                <a:lnTo>
                  <a:pt x="6642" y="2488"/>
                </a:lnTo>
                <a:lnTo>
                  <a:pt x="6637" y="2478"/>
                </a:lnTo>
                <a:lnTo>
                  <a:pt x="6633" y="2468"/>
                </a:lnTo>
                <a:lnTo>
                  <a:pt x="6631" y="2458"/>
                </a:lnTo>
                <a:lnTo>
                  <a:pt x="6629" y="2448"/>
                </a:lnTo>
                <a:lnTo>
                  <a:pt x="6629" y="2443"/>
                </a:lnTo>
                <a:lnTo>
                  <a:pt x="6631" y="2437"/>
                </a:lnTo>
                <a:lnTo>
                  <a:pt x="6633" y="2430"/>
                </a:lnTo>
                <a:lnTo>
                  <a:pt x="6635" y="2424"/>
                </a:lnTo>
                <a:lnTo>
                  <a:pt x="6637" y="2418"/>
                </a:lnTo>
                <a:lnTo>
                  <a:pt x="6640" y="2412"/>
                </a:lnTo>
                <a:lnTo>
                  <a:pt x="6644" y="2405"/>
                </a:lnTo>
                <a:lnTo>
                  <a:pt x="6649" y="2398"/>
                </a:lnTo>
                <a:lnTo>
                  <a:pt x="6657" y="2387"/>
                </a:lnTo>
                <a:lnTo>
                  <a:pt x="6668" y="2374"/>
                </a:lnTo>
                <a:lnTo>
                  <a:pt x="6699" y="2339"/>
                </a:lnTo>
                <a:lnTo>
                  <a:pt x="6734" y="2299"/>
                </a:lnTo>
                <a:lnTo>
                  <a:pt x="6770" y="2259"/>
                </a:lnTo>
                <a:lnTo>
                  <a:pt x="6771" y="2258"/>
                </a:lnTo>
                <a:lnTo>
                  <a:pt x="6774" y="2258"/>
                </a:lnTo>
                <a:lnTo>
                  <a:pt x="6778" y="2258"/>
                </a:lnTo>
                <a:lnTo>
                  <a:pt x="6782" y="2260"/>
                </a:lnTo>
                <a:lnTo>
                  <a:pt x="6786" y="2261"/>
                </a:lnTo>
                <a:lnTo>
                  <a:pt x="6790" y="2264"/>
                </a:lnTo>
                <a:lnTo>
                  <a:pt x="6795" y="2267"/>
                </a:lnTo>
                <a:lnTo>
                  <a:pt x="6798" y="2271"/>
                </a:lnTo>
                <a:lnTo>
                  <a:pt x="6802" y="2275"/>
                </a:lnTo>
                <a:lnTo>
                  <a:pt x="6805" y="2280"/>
                </a:lnTo>
                <a:lnTo>
                  <a:pt x="6806" y="2284"/>
                </a:lnTo>
                <a:lnTo>
                  <a:pt x="6807" y="2289"/>
                </a:lnTo>
                <a:lnTo>
                  <a:pt x="6806" y="2295"/>
                </a:lnTo>
                <a:lnTo>
                  <a:pt x="6804" y="2300"/>
                </a:lnTo>
                <a:lnTo>
                  <a:pt x="6801" y="2306"/>
                </a:lnTo>
                <a:lnTo>
                  <a:pt x="6798" y="2313"/>
                </a:lnTo>
                <a:lnTo>
                  <a:pt x="6789" y="2323"/>
                </a:lnTo>
                <a:lnTo>
                  <a:pt x="6778" y="2336"/>
                </a:lnTo>
                <a:lnTo>
                  <a:pt x="6748" y="2369"/>
                </a:lnTo>
                <a:lnTo>
                  <a:pt x="6718" y="2404"/>
                </a:lnTo>
                <a:lnTo>
                  <a:pt x="6706" y="2418"/>
                </a:lnTo>
                <a:lnTo>
                  <a:pt x="6697" y="2430"/>
                </a:lnTo>
                <a:lnTo>
                  <a:pt x="6694" y="2434"/>
                </a:lnTo>
                <a:lnTo>
                  <a:pt x="6693" y="2438"/>
                </a:lnTo>
                <a:lnTo>
                  <a:pt x="6692" y="2442"/>
                </a:lnTo>
                <a:lnTo>
                  <a:pt x="6691" y="2445"/>
                </a:lnTo>
                <a:lnTo>
                  <a:pt x="6692" y="2450"/>
                </a:lnTo>
                <a:lnTo>
                  <a:pt x="6693" y="2454"/>
                </a:lnTo>
                <a:lnTo>
                  <a:pt x="6695" y="2458"/>
                </a:lnTo>
                <a:lnTo>
                  <a:pt x="6698" y="2463"/>
                </a:lnTo>
                <a:lnTo>
                  <a:pt x="6706" y="2472"/>
                </a:lnTo>
                <a:lnTo>
                  <a:pt x="6716" y="2484"/>
                </a:lnTo>
                <a:lnTo>
                  <a:pt x="6743" y="2514"/>
                </a:lnTo>
                <a:lnTo>
                  <a:pt x="6776" y="2546"/>
                </a:lnTo>
                <a:lnTo>
                  <a:pt x="6807" y="2577"/>
                </a:lnTo>
                <a:lnTo>
                  <a:pt x="6809" y="2579"/>
                </a:lnTo>
                <a:lnTo>
                  <a:pt x="6811" y="2581"/>
                </a:lnTo>
                <a:lnTo>
                  <a:pt x="6812" y="2584"/>
                </a:lnTo>
                <a:lnTo>
                  <a:pt x="6813" y="2586"/>
                </a:lnTo>
                <a:lnTo>
                  <a:pt x="6812" y="2592"/>
                </a:lnTo>
                <a:lnTo>
                  <a:pt x="6811" y="2595"/>
                </a:lnTo>
                <a:lnTo>
                  <a:pt x="6808" y="2597"/>
                </a:lnTo>
                <a:lnTo>
                  <a:pt x="6805" y="2603"/>
                </a:lnTo>
                <a:lnTo>
                  <a:pt x="6803" y="2606"/>
                </a:lnTo>
                <a:lnTo>
                  <a:pt x="6800" y="2608"/>
                </a:lnTo>
                <a:lnTo>
                  <a:pt x="6795" y="2614"/>
                </a:lnTo>
                <a:lnTo>
                  <a:pt x="6792" y="2616"/>
                </a:lnTo>
                <a:lnTo>
                  <a:pt x="6789" y="2618"/>
                </a:lnTo>
                <a:lnTo>
                  <a:pt x="6783" y="2620"/>
                </a:lnTo>
                <a:lnTo>
                  <a:pt x="6780" y="2621"/>
                </a:lnTo>
                <a:lnTo>
                  <a:pt x="6777" y="2621"/>
                </a:lnTo>
                <a:close/>
                <a:moveTo>
                  <a:pt x="7160" y="639"/>
                </a:moveTo>
                <a:lnTo>
                  <a:pt x="7152" y="639"/>
                </a:lnTo>
                <a:lnTo>
                  <a:pt x="7144" y="639"/>
                </a:lnTo>
                <a:lnTo>
                  <a:pt x="7137" y="637"/>
                </a:lnTo>
                <a:lnTo>
                  <a:pt x="7130" y="636"/>
                </a:lnTo>
                <a:lnTo>
                  <a:pt x="7122" y="634"/>
                </a:lnTo>
                <a:lnTo>
                  <a:pt x="7115" y="632"/>
                </a:lnTo>
                <a:lnTo>
                  <a:pt x="7101" y="625"/>
                </a:lnTo>
                <a:lnTo>
                  <a:pt x="7087" y="618"/>
                </a:lnTo>
                <a:lnTo>
                  <a:pt x="7081" y="613"/>
                </a:lnTo>
                <a:lnTo>
                  <a:pt x="7075" y="609"/>
                </a:lnTo>
                <a:lnTo>
                  <a:pt x="7069" y="604"/>
                </a:lnTo>
                <a:lnTo>
                  <a:pt x="7064" y="599"/>
                </a:lnTo>
                <a:lnTo>
                  <a:pt x="7058" y="593"/>
                </a:lnTo>
                <a:lnTo>
                  <a:pt x="7053" y="588"/>
                </a:lnTo>
                <a:lnTo>
                  <a:pt x="7047" y="582"/>
                </a:lnTo>
                <a:lnTo>
                  <a:pt x="7042" y="575"/>
                </a:lnTo>
                <a:lnTo>
                  <a:pt x="7038" y="568"/>
                </a:lnTo>
                <a:lnTo>
                  <a:pt x="7034" y="561"/>
                </a:lnTo>
                <a:lnTo>
                  <a:pt x="7030" y="554"/>
                </a:lnTo>
                <a:lnTo>
                  <a:pt x="7026" y="546"/>
                </a:lnTo>
                <a:lnTo>
                  <a:pt x="7023" y="539"/>
                </a:lnTo>
                <a:lnTo>
                  <a:pt x="7020" y="531"/>
                </a:lnTo>
                <a:lnTo>
                  <a:pt x="7017" y="523"/>
                </a:lnTo>
                <a:lnTo>
                  <a:pt x="7015" y="515"/>
                </a:lnTo>
                <a:lnTo>
                  <a:pt x="7013" y="505"/>
                </a:lnTo>
                <a:lnTo>
                  <a:pt x="7011" y="497"/>
                </a:lnTo>
                <a:lnTo>
                  <a:pt x="7010" y="488"/>
                </a:lnTo>
                <a:lnTo>
                  <a:pt x="7009" y="479"/>
                </a:lnTo>
                <a:lnTo>
                  <a:pt x="7008" y="470"/>
                </a:lnTo>
                <a:lnTo>
                  <a:pt x="7008" y="461"/>
                </a:lnTo>
                <a:lnTo>
                  <a:pt x="7009" y="441"/>
                </a:lnTo>
                <a:lnTo>
                  <a:pt x="7010" y="432"/>
                </a:lnTo>
                <a:lnTo>
                  <a:pt x="7011" y="423"/>
                </a:lnTo>
                <a:lnTo>
                  <a:pt x="7013" y="414"/>
                </a:lnTo>
                <a:lnTo>
                  <a:pt x="7015" y="405"/>
                </a:lnTo>
                <a:lnTo>
                  <a:pt x="7018" y="396"/>
                </a:lnTo>
                <a:lnTo>
                  <a:pt x="7021" y="387"/>
                </a:lnTo>
                <a:lnTo>
                  <a:pt x="7024" y="378"/>
                </a:lnTo>
                <a:lnTo>
                  <a:pt x="7027" y="370"/>
                </a:lnTo>
                <a:lnTo>
                  <a:pt x="7031" y="362"/>
                </a:lnTo>
                <a:lnTo>
                  <a:pt x="7035" y="354"/>
                </a:lnTo>
                <a:lnTo>
                  <a:pt x="7039" y="347"/>
                </a:lnTo>
                <a:lnTo>
                  <a:pt x="7044" y="339"/>
                </a:lnTo>
                <a:lnTo>
                  <a:pt x="7055" y="325"/>
                </a:lnTo>
                <a:lnTo>
                  <a:pt x="7061" y="318"/>
                </a:lnTo>
                <a:lnTo>
                  <a:pt x="7067" y="312"/>
                </a:lnTo>
                <a:lnTo>
                  <a:pt x="7079" y="301"/>
                </a:lnTo>
                <a:lnTo>
                  <a:pt x="7085" y="295"/>
                </a:lnTo>
                <a:lnTo>
                  <a:pt x="7092" y="291"/>
                </a:lnTo>
                <a:lnTo>
                  <a:pt x="7099" y="286"/>
                </a:lnTo>
                <a:lnTo>
                  <a:pt x="7106" y="282"/>
                </a:lnTo>
                <a:lnTo>
                  <a:pt x="7114" y="278"/>
                </a:lnTo>
                <a:lnTo>
                  <a:pt x="7122" y="275"/>
                </a:lnTo>
                <a:lnTo>
                  <a:pt x="7129" y="273"/>
                </a:lnTo>
                <a:lnTo>
                  <a:pt x="7137" y="269"/>
                </a:lnTo>
                <a:lnTo>
                  <a:pt x="7145" y="268"/>
                </a:lnTo>
                <a:lnTo>
                  <a:pt x="7153" y="266"/>
                </a:lnTo>
                <a:lnTo>
                  <a:pt x="7161" y="265"/>
                </a:lnTo>
                <a:lnTo>
                  <a:pt x="7169" y="265"/>
                </a:lnTo>
                <a:lnTo>
                  <a:pt x="7180" y="266"/>
                </a:lnTo>
                <a:lnTo>
                  <a:pt x="7185" y="266"/>
                </a:lnTo>
                <a:lnTo>
                  <a:pt x="7190" y="267"/>
                </a:lnTo>
                <a:lnTo>
                  <a:pt x="7195" y="268"/>
                </a:lnTo>
                <a:lnTo>
                  <a:pt x="7199" y="269"/>
                </a:lnTo>
                <a:lnTo>
                  <a:pt x="7208" y="273"/>
                </a:lnTo>
                <a:lnTo>
                  <a:pt x="7215" y="277"/>
                </a:lnTo>
                <a:lnTo>
                  <a:pt x="7223" y="282"/>
                </a:lnTo>
                <a:lnTo>
                  <a:pt x="7229" y="287"/>
                </a:lnTo>
                <a:lnTo>
                  <a:pt x="7236" y="293"/>
                </a:lnTo>
                <a:lnTo>
                  <a:pt x="7239" y="297"/>
                </a:lnTo>
                <a:lnTo>
                  <a:pt x="7242" y="300"/>
                </a:lnTo>
                <a:lnTo>
                  <a:pt x="7247" y="307"/>
                </a:lnTo>
                <a:lnTo>
                  <a:pt x="7251" y="315"/>
                </a:lnTo>
                <a:lnTo>
                  <a:pt x="7254" y="323"/>
                </a:lnTo>
                <a:lnTo>
                  <a:pt x="7257" y="333"/>
                </a:lnTo>
                <a:lnTo>
                  <a:pt x="7258" y="342"/>
                </a:lnTo>
                <a:lnTo>
                  <a:pt x="7260" y="352"/>
                </a:lnTo>
                <a:lnTo>
                  <a:pt x="7260" y="362"/>
                </a:lnTo>
                <a:lnTo>
                  <a:pt x="7259" y="374"/>
                </a:lnTo>
                <a:lnTo>
                  <a:pt x="7258" y="380"/>
                </a:lnTo>
                <a:lnTo>
                  <a:pt x="7257" y="386"/>
                </a:lnTo>
                <a:lnTo>
                  <a:pt x="7253" y="399"/>
                </a:lnTo>
                <a:lnTo>
                  <a:pt x="7248" y="411"/>
                </a:lnTo>
                <a:lnTo>
                  <a:pt x="7242" y="422"/>
                </a:lnTo>
                <a:lnTo>
                  <a:pt x="7235" y="433"/>
                </a:lnTo>
                <a:lnTo>
                  <a:pt x="7231" y="438"/>
                </a:lnTo>
                <a:lnTo>
                  <a:pt x="7225" y="442"/>
                </a:lnTo>
                <a:lnTo>
                  <a:pt x="7216" y="453"/>
                </a:lnTo>
                <a:lnTo>
                  <a:pt x="7206" y="461"/>
                </a:lnTo>
                <a:lnTo>
                  <a:pt x="7201" y="465"/>
                </a:lnTo>
                <a:lnTo>
                  <a:pt x="7195" y="469"/>
                </a:lnTo>
                <a:lnTo>
                  <a:pt x="7184" y="475"/>
                </a:lnTo>
                <a:lnTo>
                  <a:pt x="7172" y="481"/>
                </a:lnTo>
                <a:lnTo>
                  <a:pt x="7159" y="486"/>
                </a:lnTo>
                <a:lnTo>
                  <a:pt x="7153" y="487"/>
                </a:lnTo>
                <a:lnTo>
                  <a:pt x="7147" y="489"/>
                </a:lnTo>
                <a:lnTo>
                  <a:pt x="7141" y="490"/>
                </a:lnTo>
                <a:lnTo>
                  <a:pt x="7135" y="491"/>
                </a:lnTo>
                <a:lnTo>
                  <a:pt x="7122" y="492"/>
                </a:lnTo>
                <a:lnTo>
                  <a:pt x="7117" y="491"/>
                </a:lnTo>
                <a:lnTo>
                  <a:pt x="7112" y="489"/>
                </a:lnTo>
                <a:lnTo>
                  <a:pt x="7106" y="486"/>
                </a:lnTo>
                <a:lnTo>
                  <a:pt x="7104" y="485"/>
                </a:lnTo>
                <a:lnTo>
                  <a:pt x="7102" y="483"/>
                </a:lnTo>
                <a:lnTo>
                  <a:pt x="7099" y="478"/>
                </a:lnTo>
                <a:lnTo>
                  <a:pt x="7097" y="473"/>
                </a:lnTo>
                <a:lnTo>
                  <a:pt x="7096" y="470"/>
                </a:lnTo>
                <a:lnTo>
                  <a:pt x="7095" y="467"/>
                </a:lnTo>
                <a:lnTo>
                  <a:pt x="7095" y="460"/>
                </a:lnTo>
                <a:lnTo>
                  <a:pt x="7095" y="458"/>
                </a:lnTo>
                <a:lnTo>
                  <a:pt x="7095" y="455"/>
                </a:lnTo>
                <a:lnTo>
                  <a:pt x="7096" y="449"/>
                </a:lnTo>
                <a:lnTo>
                  <a:pt x="7097" y="447"/>
                </a:lnTo>
                <a:lnTo>
                  <a:pt x="7099" y="445"/>
                </a:lnTo>
                <a:lnTo>
                  <a:pt x="7100" y="443"/>
                </a:lnTo>
                <a:lnTo>
                  <a:pt x="7102" y="442"/>
                </a:lnTo>
                <a:lnTo>
                  <a:pt x="7114" y="440"/>
                </a:lnTo>
                <a:lnTo>
                  <a:pt x="7124" y="438"/>
                </a:lnTo>
                <a:lnTo>
                  <a:pt x="7134" y="434"/>
                </a:lnTo>
                <a:lnTo>
                  <a:pt x="7144" y="430"/>
                </a:lnTo>
                <a:lnTo>
                  <a:pt x="7153" y="426"/>
                </a:lnTo>
                <a:lnTo>
                  <a:pt x="7161" y="421"/>
                </a:lnTo>
                <a:lnTo>
                  <a:pt x="7169" y="415"/>
                </a:lnTo>
                <a:lnTo>
                  <a:pt x="7174" y="412"/>
                </a:lnTo>
                <a:lnTo>
                  <a:pt x="7177" y="409"/>
                </a:lnTo>
                <a:lnTo>
                  <a:pt x="7184" y="403"/>
                </a:lnTo>
                <a:lnTo>
                  <a:pt x="7190" y="397"/>
                </a:lnTo>
                <a:lnTo>
                  <a:pt x="7195" y="389"/>
                </a:lnTo>
                <a:lnTo>
                  <a:pt x="7199" y="382"/>
                </a:lnTo>
                <a:lnTo>
                  <a:pt x="7202" y="375"/>
                </a:lnTo>
                <a:lnTo>
                  <a:pt x="7205" y="368"/>
                </a:lnTo>
                <a:lnTo>
                  <a:pt x="7206" y="361"/>
                </a:lnTo>
                <a:lnTo>
                  <a:pt x="7207" y="354"/>
                </a:lnTo>
                <a:lnTo>
                  <a:pt x="7206" y="346"/>
                </a:lnTo>
                <a:lnTo>
                  <a:pt x="7204" y="338"/>
                </a:lnTo>
                <a:lnTo>
                  <a:pt x="7202" y="335"/>
                </a:lnTo>
                <a:lnTo>
                  <a:pt x="7200" y="332"/>
                </a:lnTo>
                <a:lnTo>
                  <a:pt x="7198" y="328"/>
                </a:lnTo>
                <a:lnTo>
                  <a:pt x="7196" y="326"/>
                </a:lnTo>
                <a:lnTo>
                  <a:pt x="7190" y="322"/>
                </a:lnTo>
                <a:lnTo>
                  <a:pt x="7187" y="320"/>
                </a:lnTo>
                <a:lnTo>
                  <a:pt x="7183" y="318"/>
                </a:lnTo>
                <a:lnTo>
                  <a:pt x="7175" y="317"/>
                </a:lnTo>
                <a:lnTo>
                  <a:pt x="7171" y="316"/>
                </a:lnTo>
                <a:lnTo>
                  <a:pt x="7165" y="316"/>
                </a:lnTo>
                <a:lnTo>
                  <a:pt x="7157" y="317"/>
                </a:lnTo>
                <a:lnTo>
                  <a:pt x="7152" y="318"/>
                </a:lnTo>
                <a:lnTo>
                  <a:pt x="7148" y="319"/>
                </a:lnTo>
                <a:lnTo>
                  <a:pt x="7143" y="320"/>
                </a:lnTo>
                <a:lnTo>
                  <a:pt x="7139" y="322"/>
                </a:lnTo>
                <a:lnTo>
                  <a:pt x="7134" y="324"/>
                </a:lnTo>
                <a:lnTo>
                  <a:pt x="7130" y="327"/>
                </a:lnTo>
                <a:lnTo>
                  <a:pt x="7126" y="330"/>
                </a:lnTo>
                <a:lnTo>
                  <a:pt x="7122" y="334"/>
                </a:lnTo>
                <a:lnTo>
                  <a:pt x="7113" y="341"/>
                </a:lnTo>
                <a:lnTo>
                  <a:pt x="7104" y="349"/>
                </a:lnTo>
                <a:lnTo>
                  <a:pt x="7097" y="358"/>
                </a:lnTo>
                <a:lnTo>
                  <a:pt x="7094" y="363"/>
                </a:lnTo>
                <a:lnTo>
                  <a:pt x="7090" y="368"/>
                </a:lnTo>
                <a:lnTo>
                  <a:pt x="7084" y="379"/>
                </a:lnTo>
                <a:lnTo>
                  <a:pt x="7078" y="390"/>
                </a:lnTo>
                <a:lnTo>
                  <a:pt x="7074" y="403"/>
                </a:lnTo>
                <a:lnTo>
                  <a:pt x="7070" y="416"/>
                </a:lnTo>
                <a:lnTo>
                  <a:pt x="7067" y="430"/>
                </a:lnTo>
                <a:lnTo>
                  <a:pt x="7065" y="443"/>
                </a:lnTo>
                <a:lnTo>
                  <a:pt x="7065" y="450"/>
                </a:lnTo>
                <a:lnTo>
                  <a:pt x="7065" y="459"/>
                </a:lnTo>
                <a:lnTo>
                  <a:pt x="7065" y="471"/>
                </a:lnTo>
                <a:lnTo>
                  <a:pt x="7066" y="483"/>
                </a:lnTo>
                <a:lnTo>
                  <a:pt x="7069" y="495"/>
                </a:lnTo>
                <a:lnTo>
                  <a:pt x="7070" y="501"/>
                </a:lnTo>
                <a:lnTo>
                  <a:pt x="7072" y="506"/>
                </a:lnTo>
                <a:lnTo>
                  <a:pt x="7075" y="518"/>
                </a:lnTo>
                <a:lnTo>
                  <a:pt x="7077" y="523"/>
                </a:lnTo>
                <a:lnTo>
                  <a:pt x="7080" y="527"/>
                </a:lnTo>
                <a:lnTo>
                  <a:pt x="7082" y="532"/>
                </a:lnTo>
                <a:lnTo>
                  <a:pt x="7085" y="536"/>
                </a:lnTo>
                <a:lnTo>
                  <a:pt x="7088" y="541"/>
                </a:lnTo>
                <a:lnTo>
                  <a:pt x="7091" y="545"/>
                </a:lnTo>
                <a:lnTo>
                  <a:pt x="7094" y="548"/>
                </a:lnTo>
                <a:lnTo>
                  <a:pt x="7097" y="552"/>
                </a:lnTo>
                <a:lnTo>
                  <a:pt x="7105" y="559"/>
                </a:lnTo>
                <a:lnTo>
                  <a:pt x="7114" y="564"/>
                </a:lnTo>
                <a:lnTo>
                  <a:pt x="7122" y="569"/>
                </a:lnTo>
                <a:lnTo>
                  <a:pt x="7131" y="574"/>
                </a:lnTo>
                <a:lnTo>
                  <a:pt x="7141" y="577"/>
                </a:lnTo>
                <a:lnTo>
                  <a:pt x="7151" y="579"/>
                </a:lnTo>
                <a:lnTo>
                  <a:pt x="7156" y="579"/>
                </a:lnTo>
                <a:lnTo>
                  <a:pt x="7162" y="579"/>
                </a:lnTo>
                <a:lnTo>
                  <a:pt x="7173" y="579"/>
                </a:lnTo>
                <a:lnTo>
                  <a:pt x="7183" y="577"/>
                </a:lnTo>
                <a:lnTo>
                  <a:pt x="7193" y="575"/>
                </a:lnTo>
                <a:lnTo>
                  <a:pt x="7203" y="570"/>
                </a:lnTo>
                <a:lnTo>
                  <a:pt x="7212" y="566"/>
                </a:lnTo>
                <a:lnTo>
                  <a:pt x="7221" y="561"/>
                </a:lnTo>
                <a:lnTo>
                  <a:pt x="7231" y="555"/>
                </a:lnTo>
                <a:lnTo>
                  <a:pt x="7239" y="549"/>
                </a:lnTo>
                <a:lnTo>
                  <a:pt x="7247" y="541"/>
                </a:lnTo>
                <a:lnTo>
                  <a:pt x="7254" y="534"/>
                </a:lnTo>
                <a:lnTo>
                  <a:pt x="7262" y="525"/>
                </a:lnTo>
                <a:lnTo>
                  <a:pt x="7269" y="516"/>
                </a:lnTo>
                <a:lnTo>
                  <a:pt x="7282" y="496"/>
                </a:lnTo>
                <a:lnTo>
                  <a:pt x="7288" y="485"/>
                </a:lnTo>
                <a:lnTo>
                  <a:pt x="7294" y="475"/>
                </a:lnTo>
                <a:lnTo>
                  <a:pt x="7299" y="464"/>
                </a:lnTo>
                <a:lnTo>
                  <a:pt x="7304" y="452"/>
                </a:lnTo>
                <a:lnTo>
                  <a:pt x="7309" y="440"/>
                </a:lnTo>
                <a:lnTo>
                  <a:pt x="7313" y="428"/>
                </a:lnTo>
                <a:lnTo>
                  <a:pt x="7317" y="416"/>
                </a:lnTo>
                <a:lnTo>
                  <a:pt x="7320" y="404"/>
                </a:lnTo>
                <a:lnTo>
                  <a:pt x="7323" y="392"/>
                </a:lnTo>
                <a:lnTo>
                  <a:pt x="7326" y="379"/>
                </a:lnTo>
                <a:lnTo>
                  <a:pt x="7328" y="367"/>
                </a:lnTo>
                <a:lnTo>
                  <a:pt x="7330" y="355"/>
                </a:lnTo>
                <a:lnTo>
                  <a:pt x="7331" y="343"/>
                </a:lnTo>
                <a:lnTo>
                  <a:pt x="7332" y="332"/>
                </a:lnTo>
                <a:lnTo>
                  <a:pt x="7333" y="320"/>
                </a:lnTo>
                <a:lnTo>
                  <a:pt x="7333" y="308"/>
                </a:lnTo>
                <a:lnTo>
                  <a:pt x="7333" y="298"/>
                </a:lnTo>
                <a:lnTo>
                  <a:pt x="7333" y="287"/>
                </a:lnTo>
                <a:lnTo>
                  <a:pt x="7334" y="285"/>
                </a:lnTo>
                <a:lnTo>
                  <a:pt x="7335" y="283"/>
                </a:lnTo>
                <a:lnTo>
                  <a:pt x="7337" y="281"/>
                </a:lnTo>
                <a:lnTo>
                  <a:pt x="7340" y="279"/>
                </a:lnTo>
                <a:lnTo>
                  <a:pt x="7347" y="276"/>
                </a:lnTo>
                <a:lnTo>
                  <a:pt x="7352" y="275"/>
                </a:lnTo>
                <a:lnTo>
                  <a:pt x="7356" y="275"/>
                </a:lnTo>
                <a:lnTo>
                  <a:pt x="7363" y="276"/>
                </a:lnTo>
                <a:lnTo>
                  <a:pt x="7366" y="276"/>
                </a:lnTo>
                <a:lnTo>
                  <a:pt x="7370" y="277"/>
                </a:lnTo>
                <a:lnTo>
                  <a:pt x="7375" y="280"/>
                </a:lnTo>
                <a:lnTo>
                  <a:pt x="7378" y="282"/>
                </a:lnTo>
                <a:lnTo>
                  <a:pt x="7380" y="284"/>
                </a:lnTo>
                <a:lnTo>
                  <a:pt x="7384" y="290"/>
                </a:lnTo>
                <a:lnTo>
                  <a:pt x="7386" y="294"/>
                </a:lnTo>
                <a:lnTo>
                  <a:pt x="7387" y="297"/>
                </a:lnTo>
                <a:lnTo>
                  <a:pt x="7388" y="302"/>
                </a:lnTo>
                <a:lnTo>
                  <a:pt x="7389" y="307"/>
                </a:lnTo>
                <a:lnTo>
                  <a:pt x="7390" y="312"/>
                </a:lnTo>
                <a:lnTo>
                  <a:pt x="7390" y="318"/>
                </a:lnTo>
                <a:lnTo>
                  <a:pt x="7389" y="334"/>
                </a:lnTo>
                <a:lnTo>
                  <a:pt x="7388" y="350"/>
                </a:lnTo>
                <a:lnTo>
                  <a:pt x="7387" y="365"/>
                </a:lnTo>
                <a:lnTo>
                  <a:pt x="7385" y="380"/>
                </a:lnTo>
                <a:lnTo>
                  <a:pt x="7382" y="396"/>
                </a:lnTo>
                <a:lnTo>
                  <a:pt x="7379" y="411"/>
                </a:lnTo>
                <a:lnTo>
                  <a:pt x="7376" y="425"/>
                </a:lnTo>
                <a:lnTo>
                  <a:pt x="7372" y="439"/>
                </a:lnTo>
                <a:lnTo>
                  <a:pt x="7367" y="454"/>
                </a:lnTo>
                <a:lnTo>
                  <a:pt x="7363" y="468"/>
                </a:lnTo>
                <a:lnTo>
                  <a:pt x="7357" y="481"/>
                </a:lnTo>
                <a:lnTo>
                  <a:pt x="7352" y="494"/>
                </a:lnTo>
                <a:lnTo>
                  <a:pt x="7345" y="506"/>
                </a:lnTo>
                <a:lnTo>
                  <a:pt x="7338" y="519"/>
                </a:lnTo>
                <a:lnTo>
                  <a:pt x="7331" y="531"/>
                </a:lnTo>
                <a:lnTo>
                  <a:pt x="7324" y="542"/>
                </a:lnTo>
                <a:lnTo>
                  <a:pt x="7316" y="553"/>
                </a:lnTo>
                <a:lnTo>
                  <a:pt x="7308" y="563"/>
                </a:lnTo>
                <a:lnTo>
                  <a:pt x="7300" y="573"/>
                </a:lnTo>
                <a:lnTo>
                  <a:pt x="7291" y="582"/>
                </a:lnTo>
                <a:lnTo>
                  <a:pt x="7281" y="591"/>
                </a:lnTo>
                <a:lnTo>
                  <a:pt x="7272" y="599"/>
                </a:lnTo>
                <a:lnTo>
                  <a:pt x="7262" y="606"/>
                </a:lnTo>
                <a:lnTo>
                  <a:pt x="7252" y="612"/>
                </a:lnTo>
                <a:lnTo>
                  <a:pt x="7242" y="618"/>
                </a:lnTo>
                <a:lnTo>
                  <a:pt x="7231" y="624"/>
                </a:lnTo>
                <a:lnTo>
                  <a:pt x="7219" y="628"/>
                </a:lnTo>
                <a:lnTo>
                  <a:pt x="7208" y="633"/>
                </a:lnTo>
                <a:lnTo>
                  <a:pt x="7196" y="636"/>
                </a:lnTo>
                <a:lnTo>
                  <a:pt x="7185" y="638"/>
                </a:lnTo>
                <a:lnTo>
                  <a:pt x="7173" y="639"/>
                </a:lnTo>
                <a:lnTo>
                  <a:pt x="7160" y="639"/>
                </a:lnTo>
                <a:close/>
                <a:moveTo>
                  <a:pt x="7547" y="634"/>
                </a:moveTo>
                <a:lnTo>
                  <a:pt x="7546" y="633"/>
                </a:lnTo>
                <a:lnTo>
                  <a:pt x="7543" y="633"/>
                </a:lnTo>
                <a:lnTo>
                  <a:pt x="7538" y="629"/>
                </a:lnTo>
                <a:lnTo>
                  <a:pt x="7532" y="625"/>
                </a:lnTo>
                <a:lnTo>
                  <a:pt x="7523" y="619"/>
                </a:lnTo>
                <a:lnTo>
                  <a:pt x="7511" y="608"/>
                </a:lnTo>
                <a:lnTo>
                  <a:pt x="7496" y="595"/>
                </a:lnTo>
                <a:lnTo>
                  <a:pt x="7479" y="579"/>
                </a:lnTo>
                <a:lnTo>
                  <a:pt x="7462" y="561"/>
                </a:lnTo>
                <a:lnTo>
                  <a:pt x="7446" y="544"/>
                </a:lnTo>
                <a:lnTo>
                  <a:pt x="7432" y="527"/>
                </a:lnTo>
                <a:lnTo>
                  <a:pt x="7420" y="513"/>
                </a:lnTo>
                <a:lnTo>
                  <a:pt x="7416" y="506"/>
                </a:lnTo>
                <a:lnTo>
                  <a:pt x="7413" y="501"/>
                </a:lnTo>
                <a:lnTo>
                  <a:pt x="7406" y="490"/>
                </a:lnTo>
                <a:lnTo>
                  <a:pt x="7403" y="481"/>
                </a:lnTo>
                <a:lnTo>
                  <a:pt x="7400" y="471"/>
                </a:lnTo>
                <a:lnTo>
                  <a:pt x="7399" y="461"/>
                </a:lnTo>
                <a:lnTo>
                  <a:pt x="7400" y="456"/>
                </a:lnTo>
                <a:lnTo>
                  <a:pt x="7400" y="449"/>
                </a:lnTo>
                <a:lnTo>
                  <a:pt x="7402" y="443"/>
                </a:lnTo>
                <a:lnTo>
                  <a:pt x="7404" y="437"/>
                </a:lnTo>
                <a:lnTo>
                  <a:pt x="7406" y="431"/>
                </a:lnTo>
                <a:lnTo>
                  <a:pt x="7411" y="424"/>
                </a:lnTo>
                <a:lnTo>
                  <a:pt x="7414" y="418"/>
                </a:lnTo>
                <a:lnTo>
                  <a:pt x="7419" y="411"/>
                </a:lnTo>
                <a:lnTo>
                  <a:pt x="7427" y="400"/>
                </a:lnTo>
                <a:lnTo>
                  <a:pt x="7438" y="385"/>
                </a:lnTo>
                <a:lnTo>
                  <a:pt x="7468" y="352"/>
                </a:lnTo>
                <a:lnTo>
                  <a:pt x="7504" y="312"/>
                </a:lnTo>
                <a:lnTo>
                  <a:pt x="7540" y="270"/>
                </a:lnTo>
                <a:lnTo>
                  <a:pt x="7541" y="270"/>
                </a:lnTo>
                <a:lnTo>
                  <a:pt x="7544" y="270"/>
                </a:lnTo>
                <a:lnTo>
                  <a:pt x="7548" y="270"/>
                </a:lnTo>
                <a:lnTo>
                  <a:pt x="7552" y="272"/>
                </a:lnTo>
                <a:lnTo>
                  <a:pt x="7556" y="274"/>
                </a:lnTo>
                <a:lnTo>
                  <a:pt x="7560" y="276"/>
                </a:lnTo>
                <a:lnTo>
                  <a:pt x="7565" y="280"/>
                </a:lnTo>
                <a:lnTo>
                  <a:pt x="7569" y="283"/>
                </a:lnTo>
                <a:lnTo>
                  <a:pt x="7572" y="288"/>
                </a:lnTo>
                <a:lnTo>
                  <a:pt x="7575" y="292"/>
                </a:lnTo>
                <a:lnTo>
                  <a:pt x="7576" y="297"/>
                </a:lnTo>
                <a:lnTo>
                  <a:pt x="7577" y="302"/>
                </a:lnTo>
                <a:lnTo>
                  <a:pt x="7576" y="307"/>
                </a:lnTo>
                <a:lnTo>
                  <a:pt x="7574" y="313"/>
                </a:lnTo>
                <a:lnTo>
                  <a:pt x="7572" y="318"/>
                </a:lnTo>
                <a:lnTo>
                  <a:pt x="7568" y="324"/>
                </a:lnTo>
                <a:lnTo>
                  <a:pt x="7560" y="336"/>
                </a:lnTo>
                <a:lnTo>
                  <a:pt x="7548" y="349"/>
                </a:lnTo>
                <a:lnTo>
                  <a:pt x="7518" y="382"/>
                </a:lnTo>
                <a:lnTo>
                  <a:pt x="7488" y="416"/>
                </a:lnTo>
                <a:lnTo>
                  <a:pt x="7476" y="431"/>
                </a:lnTo>
                <a:lnTo>
                  <a:pt x="7466" y="442"/>
                </a:lnTo>
                <a:lnTo>
                  <a:pt x="7464" y="446"/>
                </a:lnTo>
                <a:lnTo>
                  <a:pt x="7462" y="450"/>
                </a:lnTo>
                <a:lnTo>
                  <a:pt x="7461" y="454"/>
                </a:lnTo>
                <a:lnTo>
                  <a:pt x="7460" y="458"/>
                </a:lnTo>
                <a:lnTo>
                  <a:pt x="7461" y="462"/>
                </a:lnTo>
                <a:lnTo>
                  <a:pt x="7462" y="467"/>
                </a:lnTo>
                <a:lnTo>
                  <a:pt x="7464" y="471"/>
                </a:lnTo>
                <a:lnTo>
                  <a:pt x="7467" y="476"/>
                </a:lnTo>
                <a:lnTo>
                  <a:pt x="7476" y="485"/>
                </a:lnTo>
                <a:lnTo>
                  <a:pt x="7486" y="497"/>
                </a:lnTo>
                <a:lnTo>
                  <a:pt x="7514" y="527"/>
                </a:lnTo>
                <a:lnTo>
                  <a:pt x="7546" y="559"/>
                </a:lnTo>
                <a:lnTo>
                  <a:pt x="7577" y="590"/>
                </a:lnTo>
                <a:lnTo>
                  <a:pt x="7579" y="592"/>
                </a:lnTo>
                <a:lnTo>
                  <a:pt x="7581" y="594"/>
                </a:lnTo>
                <a:lnTo>
                  <a:pt x="7582" y="596"/>
                </a:lnTo>
                <a:lnTo>
                  <a:pt x="7582" y="599"/>
                </a:lnTo>
                <a:lnTo>
                  <a:pt x="7581" y="604"/>
                </a:lnTo>
                <a:lnTo>
                  <a:pt x="7580" y="607"/>
                </a:lnTo>
                <a:lnTo>
                  <a:pt x="7579" y="610"/>
                </a:lnTo>
                <a:lnTo>
                  <a:pt x="7575" y="616"/>
                </a:lnTo>
                <a:lnTo>
                  <a:pt x="7573" y="618"/>
                </a:lnTo>
                <a:lnTo>
                  <a:pt x="7570" y="621"/>
                </a:lnTo>
                <a:lnTo>
                  <a:pt x="7565" y="626"/>
                </a:lnTo>
                <a:lnTo>
                  <a:pt x="7562" y="628"/>
                </a:lnTo>
                <a:lnTo>
                  <a:pt x="7559" y="629"/>
                </a:lnTo>
                <a:lnTo>
                  <a:pt x="7553" y="633"/>
                </a:lnTo>
                <a:lnTo>
                  <a:pt x="7550" y="633"/>
                </a:lnTo>
                <a:lnTo>
                  <a:pt x="7547" y="634"/>
                </a:lnTo>
                <a:close/>
                <a:moveTo>
                  <a:pt x="7160" y="1633"/>
                </a:moveTo>
                <a:lnTo>
                  <a:pt x="7152" y="1632"/>
                </a:lnTo>
                <a:lnTo>
                  <a:pt x="7144" y="1632"/>
                </a:lnTo>
                <a:lnTo>
                  <a:pt x="7137" y="1631"/>
                </a:lnTo>
                <a:lnTo>
                  <a:pt x="7130" y="1629"/>
                </a:lnTo>
                <a:lnTo>
                  <a:pt x="7122" y="1627"/>
                </a:lnTo>
                <a:lnTo>
                  <a:pt x="7115" y="1625"/>
                </a:lnTo>
                <a:lnTo>
                  <a:pt x="7101" y="1619"/>
                </a:lnTo>
                <a:lnTo>
                  <a:pt x="7087" y="1612"/>
                </a:lnTo>
                <a:lnTo>
                  <a:pt x="7081" y="1608"/>
                </a:lnTo>
                <a:lnTo>
                  <a:pt x="7075" y="1603"/>
                </a:lnTo>
                <a:lnTo>
                  <a:pt x="7069" y="1598"/>
                </a:lnTo>
                <a:lnTo>
                  <a:pt x="7064" y="1593"/>
                </a:lnTo>
                <a:lnTo>
                  <a:pt x="7058" y="1587"/>
                </a:lnTo>
                <a:lnTo>
                  <a:pt x="7053" y="1581"/>
                </a:lnTo>
                <a:lnTo>
                  <a:pt x="7047" y="1575"/>
                </a:lnTo>
                <a:lnTo>
                  <a:pt x="7042" y="1568"/>
                </a:lnTo>
                <a:lnTo>
                  <a:pt x="7038" y="1562"/>
                </a:lnTo>
                <a:lnTo>
                  <a:pt x="7034" y="1555"/>
                </a:lnTo>
                <a:lnTo>
                  <a:pt x="7030" y="1548"/>
                </a:lnTo>
                <a:lnTo>
                  <a:pt x="7026" y="1540"/>
                </a:lnTo>
                <a:lnTo>
                  <a:pt x="7023" y="1533"/>
                </a:lnTo>
                <a:lnTo>
                  <a:pt x="7020" y="1524"/>
                </a:lnTo>
                <a:lnTo>
                  <a:pt x="7017" y="1516"/>
                </a:lnTo>
                <a:lnTo>
                  <a:pt x="7015" y="1508"/>
                </a:lnTo>
                <a:lnTo>
                  <a:pt x="7013" y="1500"/>
                </a:lnTo>
                <a:lnTo>
                  <a:pt x="7011" y="1491"/>
                </a:lnTo>
                <a:lnTo>
                  <a:pt x="7010" y="1482"/>
                </a:lnTo>
                <a:lnTo>
                  <a:pt x="7009" y="1473"/>
                </a:lnTo>
                <a:lnTo>
                  <a:pt x="7008" y="1463"/>
                </a:lnTo>
                <a:lnTo>
                  <a:pt x="7008" y="1454"/>
                </a:lnTo>
                <a:lnTo>
                  <a:pt x="7009" y="1436"/>
                </a:lnTo>
                <a:lnTo>
                  <a:pt x="7010" y="1426"/>
                </a:lnTo>
                <a:lnTo>
                  <a:pt x="7011" y="1417"/>
                </a:lnTo>
                <a:lnTo>
                  <a:pt x="7013" y="1407"/>
                </a:lnTo>
                <a:lnTo>
                  <a:pt x="7015" y="1398"/>
                </a:lnTo>
                <a:lnTo>
                  <a:pt x="7018" y="1390"/>
                </a:lnTo>
                <a:lnTo>
                  <a:pt x="7021" y="1381"/>
                </a:lnTo>
                <a:lnTo>
                  <a:pt x="7024" y="1373"/>
                </a:lnTo>
                <a:lnTo>
                  <a:pt x="7027" y="1364"/>
                </a:lnTo>
                <a:lnTo>
                  <a:pt x="7031" y="1356"/>
                </a:lnTo>
                <a:lnTo>
                  <a:pt x="7035" y="1348"/>
                </a:lnTo>
                <a:lnTo>
                  <a:pt x="7039" y="1340"/>
                </a:lnTo>
                <a:lnTo>
                  <a:pt x="7044" y="1333"/>
                </a:lnTo>
                <a:lnTo>
                  <a:pt x="7055" y="1319"/>
                </a:lnTo>
                <a:lnTo>
                  <a:pt x="7061" y="1312"/>
                </a:lnTo>
                <a:lnTo>
                  <a:pt x="7067" y="1306"/>
                </a:lnTo>
                <a:lnTo>
                  <a:pt x="7079" y="1295"/>
                </a:lnTo>
                <a:lnTo>
                  <a:pt x="7085" y="1289"/>
                </a:lnTo>
                <a:lnTo>
                  <a:pt x="7092" y="1284"/>
                </a:lnTo>
                <a:lnTo>
                  <a:pt x="7099" y="1279"/>
                </a:lnTo>
                <a:lnTo>
                  <a:pt x="7106" y="1275"/>
                </a:lnTo>
                <a:lnTo>
                  <a:pt x="7114" y="1272"/>
                </a:lnTo>
                <a:lnTo>
                  <a:pt x="7122" y="1269"/>
                </a:lnTo>
                <a:lnTo>
                  <a:pt x="7129" y="1266"/>
                </a:lnTo>
                <a:lnTo>
                  <a:pt x="7137" y="1264"/>
                </a:lnTo>
                <a:lnTo>
                  <a:pt x="7145" y="1262"/>
                </a:lnTo>
                <a:lnTo>
                  <a:pt x="7153" y="1260"/>
                </a:lnTo>
                <a:lnTo>
                  <a:pt x="7161" y="1260"/>
                </a:lnTo>
                <a:lnTo>
                  <a:pt x="7169" y="1259"/>
                </a:lnTo>
                <a:lnTo>
                  <a:pt x="7180" y="1260"/>
                </a:lnTo>
                <a:lnTo>
                  <a:pt x="7185" y="1260"/>
                </a:lnTo>
                <a:lnTo>
                  <a:pt x="7190" y="1261"/>
                </a:lnTo>
                <a:lnTo>
                  <a:pt x="7195" y="1262"/>
                </a:lnTo>
                <a:lnTo>
                  <a:pt x="7199" y="1263"/>
                </a:lnTo>
                <a:lnTo>
                  <a:pt x="7208" y="1267"/>
                </a:lnTo>
                <a:lnTo>
                  <a:pt x="7215" y="1270"/>
                </a:lnTo>
                <a:lnTo>
                  <a:pt x="7223" y="1275"/>
                </a:lnTo>
                <a:lnTo>
                  <a:pt x="7229" y="1280"/>
                </a:lnTo>
                <a:lnTo>
                  <a:pt x="7236" y="1286"/>
                </a:lnTo>
                <a:lnTo>
                  <a:pt x="7239" y="1290"/>
                </a:lnTo>
                <a:lnTo>
                  <a:pt x="7242" y="1294"/>
                </a:lnTo>
                <a:lnTo>
                  <a:pt x="7247" y="1301"/>
                </a:lnTo>
                <a:lnTo>
                  <a:pt x="7251" y="1309"/>
                </a:lnTo>
                <a:lnTo>
                  <a:pt x="7254" y="1317"/>
                </a:lnTo>
                <a:lnTo>
                  <a:pt x="7257" y="1326"/>
                </a:lnTo>
                <a:lnTo>
                  <a:pt x="7258" y="1335"/>
                </a:lnTo>
                <a:lnTo>
                  <a:pt x="7260" y="1345"/>
                </a:lnTo>
                <a:lnTo>
                  <a:pt x="7260" y="1356"/>
                </a:lnTo>
                <a:lnTo>
                  <a:pt x="7259" y="1368"/>
                </a:lnTo>
                <a:lnTo>
                  <a:pt x="7258" y="1374"/>
                </a:lnTo>
                <a:lnTo>
                  <a:pt x="7257" y="1380"/>
                </a:lnTo>
                <a:lnTo>
                  <a:pt x="7253" y="1392"/>
                </a:lnTo>
                <a:lnTo>
                  <a:pt x="7248" y="1404"/>
                </a:lnTo>
                <a:lnTo>
                  <a:pt x="7242" y="1416"/>
                </a:lnTo>
                <a:lnTo>
                  <a:pt x="7235" y="1427"/>
                </a:lnTo>
                <a:lnTo>
                  <a:pt x="7231" y="1432"/>
                </a:lnTo>
                <a:lnTo>
                  <a:pt x="7225" y="1437"/>
                </a:lnTo>
                <a:lnTo>
                  <a:pt x="7216" y="1446"/>
                </a:lnTo>
                <a:lnTo>
                  <a:pt x="7206" y="1454"/>
                </a:lnTo>
                <a:lnTo>
                  <a:pt x="7201" y="1458"/>
                </a:lnTo>
                <a:lnTo>
                  <a:pt x="7195" y="1462"/>
                </a:lnTo>
                <a:lnTo>
                  <a:pt x="7184" y="1469"/>
                </a:lnTo>
                <a:lnTo>
                  <a:pt x="7172" y="1475"/>
                </a:lnTo>
                <a:lnTo>
                  <a:pt x="7159" y="1480"/>
                </a:lnTo>
                <a:lnTo>
                  <a:pt x="7153" y="1482"/>
                </a:lnTo>
                <a:lnTo>
                  <a:pt x="7147" y="1483"/>
                </a:lnTo>
                <a:lnTo>
                  <a:pt x="7141" y="1484"/>
                </a:lnTo>
                <a:lnTo>
                  <a:pt x="7135" y="1485"/>
                </a:lnTo>
                <a:lnTo>
                  <a:pt x="7122" y="1486"/>
                </a:lnTo>
                <a:lnTo>
                  <a:pt x="7117" y="1485"/>
                </a:lnTo>
                <a:lnTo>
                  <a:pt x="7112" y="1483"/>
                </a:lnTo>
                <a:lnTo>
                  <a:pt x="7106" y="1481"/>
                </a:lnTo>
                <a:lnTo>
                  <a:pt x="7104" y="1479"/>
                </a:lnTo>
                <a:lnTo>
                  <a:pt x="7102" y="1477"/>
                </a:lnTo>
                <a:lnTo>
                  <a:pt x="7099" y="1472"/>
                </a:lnTo>
                <a:lnTo>
                  <a:pt x="7097" y="1466"/>
                </a:lnTo>
                <a:lnTo>
                  <a:pt x="7096" y="1463"/>
                </a:lnTo>
                <a:lnTo>
                  <a:pt x="7095" y="1460"/>
                </a:lnTo>
                <a:lnTo>
                  <a:pt x="7095" y="1454"/>
                </a:lnTo>
                <a:lnTo>
                  <a:pt x="7095" y="1451"/>
                </a:lnTo>
                <a:lnTo>
                  <a:pt x="7095" y="1448"/>
                </a:lnTo>
                <a:lnTo>
                  <a:pt x="7096" y="1443"/>
                </a:lnTo>
                <a:lnTo>
                  <a:pt x="7097" y="1441"/>
                </a:lnTo>
                <a:lnTo>
                  <a:pt x="7099" y="1439"/>
                </a:lnTo>
                <a:lnTo>
                  <a:pt x="7100" y="1438"/>
                </a:lnTo>
                <a:lnTo>
                  <a:pt x="7102" y="1436"/>
                </a:lnTo>
                <a:lnTo>
                  <a:pt x="7114" y="1434"/>
                </a:lnTo>
                <a:lnTo>
                  <a:pt x="7124" y="1432"/>
                </a:lnTo>
                <a:lnTo>
                  <a:pt x="7134" y="1428"/>
                </a:lnTo>
                <a:lnTo>
                  <a:pt x="7144" y="1424"/>
                </a:lnTo>
                <a:lnTo>
                  <a:pt x="7153" y="1420"/>
                </a:lnTo>
                <a:lnTo>
                  <a:pt x="7161" y="1415"/>
                </a:lnTo>
                <a:lnTo>
                  <a:pt x="7169" y="1408"/>
                </a:lnTo>
                <a:lnTo>
                  <a:pt x="7174" y="1406"/>
                </a:lnTo>
                <a:lnTo>
                  <a:pt x="7177" y="1403"/>
                </a:lnTo>
                <a:lnTo>
                  <a:pt x="7184" y="1396"/>
                </a:lnTo>
                <a:lnTo>
                  <a:pt x="7190" y="1390"/>
                </a:lnTo>
                <a:lnTo>
                  <a:pt x="7195" y="1383"/>
                </a:lnTo>
                <a:lnTo>
                  <a:pt x="7199" y="1376"/>
                </a:lnTo>
                <a:lnTo>
                  <a:pt x="7202" y="1369"/>
                </a:lnTo>
                <a:lnTo>
                  <a:pt x="7205" y="1362"/>
                </a:lnTo>
                <a:lnTo>
                  <a:pt x="7206" y="1355"/>
                </a:lnTo>
                <a:lnTo>
                  <a:pt x="7207" y="1347"/>
                </a:lnTo>
                <a:lnTo>
                  <a:pt x="7206" y="1339"/>
                </a:lnTo>
                <a:lnTo>
                  <a:pt x="7204" y="1332"/>
                </a:lnTo>
                <a:lnTo>
                  <a:pt x="7202" y="1328"/>
                </a:lnTo>
                <a:lnTo>
                  <a:pt x="7200" y="1325"/>
                </a:lnTo>
                <a:lnTo>
                  <a:pt x="7198" y="1323"/>
                </a:lnTo>
                <a:lnTo>
                  <a:pt x="7196" y="1320"/>
                </a:lnTo>
                <a:lnTo>
                  <a:pt x="7190" y="1316"/>
                </a:lnTo>
                <a:lnTo>
                  <a:pt x="7187" y="1314"/>
                </a:lnTo>
                <a:lnTo>
                  <a:pt x="7183" y="1313"/>
                </a:lnTo>
                <a:lnTo>
                  <a:pt x="7175" y="1311"/>
                </a:lnTo>
                <a:lnTo>
                  <a:pt x="7171" y="1310"/>
                </a:lnTo>
                <a:lnTo>
                  <a:pt x="7165" y="1310"/>
                </a:lnTo>
                <a:lnTo>
                  <a:pt x="7157" y="1311"/>
                </a:lnTo>
                <a:lnTo>
                  <a:pt x="7152" y="1312"/>
                </a:lnTo>
                <a:lnTo>
                  <a:pt x="7148" y="1313"/>
                </a:lnTo>
                <a:lnTo>
                  <a:pt x="7143" y="1315"/>
                </a:lnTo>
                <a:lnTo>
                  <a:pt x="7139" y="1316"/>
                </a:lnTo>
                <a:lnTo>
                  <a:pt x="7134" y="1319"/>
                </a:lnTo>
                <a:lnTo>
                  <a:pt x="7130" y="1321"/>
                </a:lnTo>
                <a:lnTo>
                  <a:pt x="7126" y="1324"/>
                </a:lnTo>
                <a:lnTo>
                  <a:pt x="7122" y="1327"/>
                </a:lnTo>
                <a:lnTo>
                  <a:pt x="7113" y="1334"/>
                </a:lnTo>
                <a:lnTo>
                  <a:pt x="7104" y="1342"/>
                </a:lnTo>
                <a:lnTo>
                  <a:pt x="7097" y="1352"/>
                </a:lnTo>
                <a:lnTo>
                  <a:pt x="7094" y="1357"/>
                </a:lnTo>
                <a:lnTo>
                  <a:pt x="7090" y="1362"/>
                </a:lnTo>
                <a:lnTo>
                  <a:pt x="7084" y="1373"/>
                </a:lnTo>
                <a:lnTo>
                  <a:pt x="7078" y="1384"/>
                </a:lnTo>
                <a:lnTo>
                  <a:pt x="7074" y="1397"/>
                </a:lnTo>
                <a:lnTo>
                  <a:pt x="7070" y="1409"/>
                </a:lnTo>
                <a:lnTo>
                  <a:pt x="7067" y="1424"/>
                </a:lnTo>
                <a:lnTo>
                  <a:pt x="7065" y="1438"/>
                </a:lnTo>
                <a:lnTo>
                  <a:pt x="7065" y="1445"/>
                </a:lnTo>
                <a:lnTo>
                  <a:pt x="7065" y="1452"/>
                </a:lnTo>
                <a:lnTo>
                  <a:pt x="7065" y="1464"/>
                </a:lnTo>
                <a:lnTo>
                  <a:pt x="7066" y="1478"/>
                </a:lnTo>
                <a:lnTo>
                  <a:pt x="7069" y="1489"/>
                </a:lnTo>
                <a:lnTo>
                  <a:pt x="7070" y="1495"/>
                </a:lnTo>
                <a:lnTo>
                  <a:pt x="7072" y="1500"/>
                </a:lnTo>
                <a:lnTo>
                  <a:pt x="7075" y="1511"/>
                </a:lnTo>
                <a:lnTo>
                  <a:pt x="7077" y="1516"/>
                </a:lnTo>
                <a:lnTo>
                  <a:pt x="7080" y="1521"/>
                </a:lnTo>
                <a:lnTo>
                  <a:pt x="7082" y="1525"/>
                </a:lnTo>
                <a:lnTo>
                  <a:pt x="7085" y="1530"/>
                </a:lnTo>
                <a:lnTo>
                  <a:pt x="7088" y="1535"/>
                </a:lnTo>
                <a:lnTo>
                  <a:pt x="7091" y="1539"/>
                </a:lnTo>
                <a:lnTo>
                  <a:pt x="7094" y="1543"/>
                </a:lnTo>
                <a:lnTo>
                  <a:pt x="7097" y="1546"/>
                </a:lnTo>
                <a:lnTo>
                  <a:pt x="7105" y="1553"/>
                </a:lnTo>
                <a:lnTo>
                  <a:pt x="7114" y="1559"/>
                </a:lnTo>
                <a:lnTo>
                  <a:pt x="7122" y="1563"/>
                </a:lnTo>
                <a:lnTo>
                  <a:pt x="7131" y="1567"/>
                </a:lnTo>
                <a:lnTo>
                  <a:pt x="7141" y="1570"/>
                </a:lnTo>
                <a:lnTo>
                  <a:pt x="7151" y="1572"/>
                </a:lnTo>
                <a:lnTo>
                  <a:pt x="7156" y="1572"/>
                </a:lnTo>
                <a:lnTo>
                  <a:pt x="7162" y="1572"/>
                </a:lnTo>
                <a:lnTo>
                  <a:pt x="7173" y="1572"/>
                </a:lnTo>
                <a:lnTo>
                  <a:pt x="7183" y="1570"/>
                </a:lnTo>
                <a:lnTo>
                  <a:pt x="7193" y="1568"/>
                </a:lnTo>
                <a:lnTo>
                  <a:pt x="7203" y="1564"/>
                </a:lnTo>
                <a:lnTo>
                  <a:pt x="7212" y="1560"/>
                </a:lnTo>
                <a:lnTo>
                  <a:pt x="7221" y="1555"/>
                </a:lnTo>
                <a:lnTo>
                  <a:pt x="7231" y="1549"/>
                </a:lnTo>
                <a:lnTo>
                  <a:pt x="7239" y="1543"/>
                </a:lnTo>
                <a:lnTo>
                  <a:pt x="7247" y="1536"/>
                </a:lnTo>
                <a:lnTo>
                  <a:pt x="7254" y="1527"/>
                </a:lnTo>
                <a:lnTo>
                  <a:pt x="7262" y="1518"/>
                </a:lnTo>
                <a:lnTo>
                  <a:pt x="7269" y="1509"/>
                </a:lnTo>
                <a:lnTo>
                  <a:pt x="7282" y="1490"/>
                </a:lnTo>
                <a:lnTo>
                  <a:pt x="7288" y="1479"/>
                </a:lnTo>
                <a:lnTo>
                  <a:pt x="7294" y="1468"/>
                </a:lnTo>
                <a:lnTo>
                  <a:pt x="7299" y="1457"/>
                </a:lnTo>
                <a:lnTo>
                  <a:pt x="7304" y="1445"/>
                </a:lnTo>
                <a:lnTo>
                  <a:pt x="7309" y="1434"/>
                </a:lnTo>
                <a:lnTo>
                  <a:pt x="7313" y="1422"/>
                </a:lnTo>
                <a:lnTo>
                  <a:pt x="7317" y="1409"/>
                </a:lnTo>
                <a:lnTo>
                  <a:pt x="7320" y="1397"/>
                </a:lnTo>
                <a:lnTo>
                  <a:pt x="7323" y="1385"/>
                </a:lnTo>
                <a:lnTo>
                  <a:pt x="7326" y="1373"/>
                </a:lnTo>
                <a:lnTo>
                  <a:pt x="7328" y="1361"/>
                </a:lnTo>
                <a:lnTo>
                  <a:pt x="7330" y="1348"/>
                </a:lnTo>
                <a:lnTo>
                  <a:pt x="7331" y="1337"/>
                </a:lnTo>
                <a:lnTo>
                  <a:pt x="7332" y="1325"/>
                </a:lnTo>
                <a:lnTo>
                  <a:pt x="7333" y="1314"/>
                </a:lnTo>
                <a:lnTo>
                  <a:pt x="7333" y="1303"/>
                </a:lnTo>
                <a:lnTo>
                  <a:pt x="7333" y="1292"/>
                </a:lnTo>
                <a:lnTo>
                  <a:pt x="7333" y="1280"/>
                </a:lnTo>
                <a:lnTo>
                  <a:pt x="7334" y="1278"/>
                </a:lnTo>
                <a:lnTo>
                  <a:pt x="7335" y="1276"/>
                </a:lnTo>
                <a:lnTo>
                  <a:pt x="7337" y="1274"/>
                </a:lnTo>
                <a:lnTo>
                  <a:pt x="7340" y="1272"/>
                </a:lnTo>
                <a:lnTo>
                  <a:pt x="7347" y="1269"/>
                </a:lnTo>
                <a:lnTo>
                  <a:pt x="7352" y="1269"/>
                </a:lnTo>
                <a:lnTo>
                  <a:pt x="7356" y="1268"/>
                </a:lnTo>
                <a:lnTo>
                  <a:pt x="7363" y="1269"/>
                </a:lnTo>
                <a:lnTo>
                  <a:pt x="7366" y="1269"/>
                </a:lnTo>
                <a:lnTo>
                  <a:pt x="7370" y="1270"/>
                </a:lnTo>
                <a:lnTo>
                  <a:pt x="7375" y="1273"/>
                </a:lnTo>
                <a:lnTo>
                  <a:pt x="7378" y="1275"/>
                </a:lnTo>
                <a:lnTo>
                  <a:pt x="7380" y="1277"/>
                </a:lnTo>
                <a:lnTo>
                  <a:pt x="7384" y="1283"/>
                </a:lnTo>
                <a:lnTo>
                  <a:pt x="7386" y="1287"/>
                </a:lnTo>
                <a:lnTo>
                  <a:pt x="7387" y="1292"/>
                </a:lnTo>
                <a:lnTo>
                  <a:pt x="7388" y="1296"/>
                </a:lnTo>
                <a:lnTo>
                  <a:pt x="7389" y="1301"/>
                </a:lnTo>
                <a:lnTo>
                  <a:pt x="7390" y="1306"/>
                </a:lnTo>
                <a:lnTo>
                  <a:pt x="7390" y="1312"/>
                </a:lnTo>
                <a:lnTo>
                  <a:pt x="7389" y="1328"/>
                </a:lnTo>
                <a:lnTo>
                  <a:pt x="7388" y="1343"/>
                </a:lnTo>
                <a:lnTo>
                  <a:pt x="7387" y="1359"/>
                </a:lnTo>
                <a:lnTo>
                  <a:pt x="7385" y="1374"/>
                </a:lnTo>
                <a:lnTo>
                  <a:pt x="7382" y="1389"/>
                </a:lnTo>
                <a:lnTo>
                  <a:pt x="7379" y="1404"/>
                </a:lnTo>
                <a:lnTo>
                  <a:pt x="7376" y="1419"/>
                </a:lnTo>
                <a:lnTo>
                  <a:pt x="7372" y="1434"/>
                </a:lnTo>
                <a:lnTo>
                  <a:pt x="7367" y="1447"/>
                </a:lnTo>
                <a:lnTo>
                  <a:pt x="7363" y="1461"/>
                </a:lnTo>
                <a:lnTo>
                  <a:pt x="7357" y="1475"/>
                </a:lnTo>
                <a:lnTo>
                  <a:pt x="7352" y="1488"/>
                </a:lnTo>
                <a:lnTo>
                  <a:pt x="7345" y="1500"/>
                </a:lnTo>
                <a:lnTo>
                  <a:pt x="7338" y="1512"/>
                </a:lnTo>
                <a:lnTo>
                  <a:pt x="7331" y="1524"/>
                </a:lnTo>
                <a:lnTo>
                  <a:pt x="7324" y="1536"/>
                </a:lnTo>
                <a:lnTo>
                  <a:pt x="7316" y="1547"/>
                </a:lnTo>
                <a:lnTo>
                  <a:pt x="7308" y="1557"/>
                </a:lnTo>
                <a:lnTo>
                  <a:pt x="7300" y="1567"/>
                </a:lnTo>
                <a:lnTo>
                  <a:pt x="7291" y="1576"/>
                </a:lnTo>
                <a:lnTo>
                  <a:pt x="7281" y="1584"/>
                </a:lnTo>
                <a:lnTo>
                  <a:pt x="7272" y="1593"/>
                </a:lnTo>
                <a:lnTo>
                  <a:pt x="7262" y="1600"/>
                </a:lnTo>
                <a:lnTo>
                  <a:pt x="7252" y="1607"/>
                </a:lnTo>
                <a:lnTo>
                  <a:pt x="7242" y="1613"/>
                </a:lnTo>
                <a:lnTo>
                  <a:pt x="7231" y="1618"/>
                </a:lnTo>
                <a:lnTo>
                  <a:pt x="7219" y="1622"/>
                </a:lnTo>
                <a:lnTo>
                  <a:pt x="7208" y="1626"/>
                </a:lnTo>
                <a:lnTo>
                  <a:pt x="7196" y="1629"/>
                </a:lnTo>
                <a:lnTo>
                  <a:pt x="7185" y="1631"/>
                </a:lnTo>
                <a:lnTo>
                  <a:pt x="7173" y="1632"/>
                </a:lnTo>
                <a:lnTo>
                  <a:pt x="7160" y="1633"/>
                </a:lnTo>
                <a:close/>
                <a:moveTo>
                  <a:pt x="7547" y="1627"/>
                </a:moveTo>
                <a:lnTo>
                  <a:pt x="7546" y="1627"/>
                </a:lnTo>
                <a:lnTo>
                  <a:pt x="7543" y="1626"/>
                </a:lnTo>
                <a:lnTo>
                  <a:pt x="7538" y="1623"/>
                </a:lnTo>
                <a:lnTo>
                  <a:pt x="7532" y="1619"/>
                </a:lnTo>
                <a:lnTo>
                  <a:pt x="7523" y="1613"/>
                </a:lnTo>
                <a:lnTo>
                  <a:pt x="7511" y="1603"/>
                </a:lnTo>
                <a:lnTo>
                  <a:pt x="7496" y="1588"/>
                </a:lnTo>
                <a:lnTo>
                  <a:pt x="7479" y="1572"/>
                </a:lnTo>
                <a:lnTo>
                  <a:pt x="7462" y="1555"/>
                </a:lnTo>
                <a:lnTo>
                  <a:pt x="7446" y="1538"/>
                </a:lnTo>
                <a:lnTo>
                  <a:pt x="7432" y="1521"/>
                </a:lnTo>
                <a:lnTo>
                  <a:pt x="7420" y="1506"/>
                </a:lnTo>
                <a:lnTo>
                  <a:pt x="7416" y="1500"/>
                </a:lnTo>
                <a:lnTo>
                  <a:pt x="7413" y="1495"/>
                </a:lnTo>
                <a:lnTo>
                  <a:pt x="7406" y="1485"/>
                </a:lnTo>
                <a:lnTo>
                  <a:pt x="7403" y="1475"/>
                </a:lnTo>
                <a:lnTo>
                  <a:pt x="7400" y="1464"/>
                </a:lnTo>
                <a:lnTo>
                  <a:pt x="7399" y="1454"/>
                </a:lnTo>
                <a:lnTo>
                  <a:pt x="7400" y="1449"/>
                </a:lnTo>
                <a:lnTo>
                  <a:pt x="7400" y="1443"/>
                </a:lnTo>
                <a:lnTo>
                  <a:pt x="7402" y="1437"/>
                </a:lnTo>
                <a:lnTo>
                  <a:pt x="7404" y="1431"/>
                </a:lnTo>
                <a:lnTo>
                  <a:pt x="7406" y="1425"/>
                </a:lnTo>
                <a:lnTo>
                  <a:pt x="7411" y="1419"/>
                </a:lnTo>
                <a:lnTo>
                  <a:pt x="7414" y="1412"/>
                </a:lnTo>
                <a:lnTo>
                  <a:pt x="7419" y="1404"/>
                </a:lnTo>
                <a:lnTo>
                  <a:pt x="7427" y="1393"/>
                </a:lnTo>
                <a:lnTo>
                  <a:pt x="7438" y="1380"/>
                </a:lnTo>
                <a:lnTo>
                  <a:pt x="7468" y="1345"/>
                </a:lnTo>
                <a:lnTo>
                  <a:pt x="7504" y="1306"/>
                </a:lnTo>
                <a:lnTo>
                  <a:pt x="7540" y="1264"/>
                </a:lnTo>
                <a:lnTo>
                  <a:pt x="7541" y="1264"/>
                </a:lnTo>
                <a:lnTo>
                  <a:pt x="7544" y="1264"/>
                </a:lnTo>
                <a:lnTo>
                  <a:pt x="7548" y="1264"/>
                </a:lnTo>
                <a:lnTo>
                  <a:pt x="7552" y="1265"/>
                </a:lnTo>
                <a:lnTo>
                  <a:pt x="7556" y="1267"/>
                </a:lnTo>
                <a:lnTo>
                  <a:pt x="7560" y="1270"/>
                </a:lnTo>
                <a:lnTo>
                  <a:pt x="7565" y="1273"/>
                </a:lnTo>
                <a:lnTo>
                  <a:pt x="7569" y="1276"/>
                </a:lnTo>
                <a:lnTo>
                  <a:pt x="7572" y="1281"/>
                </a:lnTo>
                <a:lnTo>
                  <a:pt x="7575" y="1286"/>
                </a:lnTo>
                <a:lnTo>
                  <a:pt x="7576" y="1290"/>
                </a:lnTo>
                <a:lnTo>
                  <a:pt x="7577" y="1296"/>
                </a:lnTo>
                <a:lnTo>
                  <a:pt x="7576" y="1301"/>
                </a:lnTo>
                <a:lnTo>
                  <a:pt x="7574" y="1307"/>
                </a:lnTo>
                <a:lnTo>
                  <a:pt x="7572" y="1312"/>
                </a:lnTo>
                <a:lnTo>
                  <a:pt x="7568" y="1318"/>
                </a:lnTo>
                <a:lnTo>
                  <a:pt x="7560" y="1329"/>
                </a:lnTo>
                <a:lnTo>
                  <a:pt x="7548" y="1342"/>
                </a:lnTo>
                <a:lnTo>
                  <a:pt x="7518" y="1376"/>
                </a:lnTo>
                <a:lnTo>
                  <a:pt x="7488" y="1409"/>
                </a:lnTo>
                <a:lnTo>
                  <a:pt x="7476" y="1425"/>
                </a:lnTo>
                <a:lnTo>
                  <a:pt x="7466" y="1436"/>
                </a:lnTo>
                <a:lnTo>
                  <a:pt x="7464" y="1440"/>
                </a:lnTo>
                <a:lnTo>
                  <a:pt x="7462" y="1444"/>
                </a:lnTo>
                <a:lnTo>
                  <a:pt x="7461" y="1447"/>
                </a:lnTo>
                <a:lnTo>
                  <a:pt x="7460" y="1451"/>
                </a:lnTo>
                <a:lnTo>
                  <a:pt x="7461" y="1455"/>
                </a:lnTo>
                <a:lnTo>
                  <a:pt x="7462" y="1460"/>
                </a:lnTo>
                <a:lnTo>
                  <a:pt x="7464" y="1464"/>
                </a:lnTo>
                <a:lnTo>
                  <a:pt x="7467" y="1469"/>
                </a:lnTo>
                <a:lnTo>
                  <a:pt x="7476" y="1479"/>
                </a:lnTo>
                <a:lnTo>
                  <a:pt x="7486" y="1491"/>
                </a:lnTo>
                <a:lnTo>
                  <a:pt x="7514" y="1520"/>
                </a:lnTo>
                <a:lnTo>
                  <a:pt x="7546" y="1553"/>
                </a:lnTo>
                <a:lnTo>
                  <a:pt x="7577" y="1583"/>
                </a:lnTo>
                <a:lnTo>
                  <a:pt x="7579" y="1585"/>
                </a:lnTo>
                <a:lnTo>
                  <a:pt x="7581" y="1587"/>
                </a:lnTo>
                <a:lnTo>
                  <a:pt x="7582" y="1589"/>
                </a:lnTo>
                <a:lnTo>
                  <a:pt x="7582" y="1593"/>
                </a:lnTo>
                <a:lnTo>
                  <a:pt x="7581" y="1599"/>
                </a:lnTo>
                <a:lnTo>
                  <a:pt x="7580" y="1601"/>
                </a:lnTo>
                <a:lnTo>
                  <a:pt x="7579" y="1604"/>
                </a:lnTo>
                <a:lnTo>
                  <a:pt x="7575" y="1610"/>
                </a:lnTo>
                <a:lnTo>
                  <a:pt x="7573" y="1613"/>
                </a:lnTo>
                <a:lnTo>
                  <a:pt x="7570" y="1615"/>
                </a:lnTo>
                <a:lnTo>
                  <a:pt x="7565" y="1620"/>
                </a:lnTo>
                <a:lnTo>
                  <a:pt x="7562" y="1622"/>
                </a:lnTo>
                <a:lnTo>
                  <a:pt x="7559" y="1624"/>
                </a:lnTo>
                <a:lnTo>
                  <a:pt x="7553" y="1626"/>
                </a:lnTo>
                <a:lnTo>
                  <a:pt x="7550" y="1627"/>
                </a:lnTo>
                <a:lnTo>
                  <a:pt x="7547" y="1627"/>
                </a:lnTo>
                <a:close/>
                <a:moveTo>
                  <a:pt x="7160" y="2627"/>
                </a:moveTo>
                <a:lnTo>
                  <a:pt x="7152" y="2627"/>
                </a:lnTo>
                <a:lnTo>
                  <a:pt x="7144" y="2626"/>
                </a:lnTo>
                <a:lnTo>
                  <a:pt x="7137" y="2625"/>
                </a:lnTo>
                <a:lnTo>
                  <a:pt x="7130" y="2623"/>
                </a:lnTo>
                <a:lnTo>
                  <a:pt x="7122" y="2621"/>
                </a:lnTo>
                <a:lnTo>
                  <a:pt x="7115" y="2619"/>
                </a:lnTo>
                <a:lnTo>
                  <a:pt x="7101" y="2613"/>
                </a:lnTo>
                <a:lnTo>
                  <a:pt x="7087" y="2605"/>
                </a:lnTo>
                <a:lnTo>
                  <a:pt x="7081" y="2601"/>
                </a:lnTo>
                <a:lnTo>
                  <a:pt x="7075" y="2596"/>
                </a:lnTo>
                <a:lnTo>
                  <a:pt x="7069" y="2591"/>
                </a:lnTo>
                <a:lnTo>
                  <a:pt x="7064" y="2586"/>
                </a:lnTo>
                <a:lnTo>
                  <a:pt x="7058" y="2581"/>
                </a:lnTo>
                <a:lnTo>
                  <a:pt x="7053" y="2575"/>
                </a:lnTo>
                <a:lnTo>
                  <a:pt x="7047" y="2569"/>
                </a:lnTo>
                <a:lnTo>
                  <a:pt x="7042" y="2563"/>
                </a:lnTo>
                <a:lnTo>
                  <a:pt x="7038" y="2556"/>
                </a:lnTo>
                <a:lnTo>
                  <a:pt x="7034" y="2548"/>
                </a:lnTo>
                <a:lnTo>
                  <a:pt x="7030" y="2541"/>
                </a:lnTo>
                <a:lnTo>
                  <a:pt x="7026" y="2534"/>
                </a:lnTo>
                <a:lnTo>
                  <a:pt x="7023" y="2526"/>
                </a:lnTo>
                <a:lnTo>
                  <a:pt x="7020" y="2518"/>
                </a:lnTo>
                <a:lnTo>
                  <a:pt x="7017" y="2510"/>
                </a:lnTo>
                <a:lnTo>
                  <a:pt x="7015" y="2502"/>
                </a:lnTo>
                <a:lnTo>
                  <a:pt x="7013" y="2494"/>
                </a:lnTo>
                <a:lnTo>
                  <a:pt x="7011" y="2484"/>
                </a:lnTo>
                <a:lnTo>
                  <a:pt x="7010" y="2475"/>
                </a:lnTo>
                <a:lnTo>
                  <a:pt x="7009" y="2467"/>
                </a:lnTo>
                <a:lnTo>
                  <a:pt x="7008" y="2458"/>
                </a:lnTo>
                <a:lnTo>
                  <a:pt x="7008" y="2448"/>
                </a:lnTo>
                <a:lnTo>
                  <a:pt x="7009" y="2429"/>
                </a:lnTo>
                <a:lnTo>
                  <a:pt x="7010" y="2420"/>
                </a:lnTo>
                <a:lnTo>
                  <a:pt x="7011" y="2410"/>
                </a:lnTo>
                <a:lnTo>
                  <a:pt x="7013" y="2401"/>
                </a:lnTo>
                <a:lnTo>
                  <a:pt x="7015" y="2393"/>
                </a:lnTo>
                <a:lnTo>
                  <a:pt x="7018" y="2384"/>
                </a:lnTo>
                <a:lnTo>
                  <a:pt x="7021" y="2375"/>
                </a:lnTo>
                <a:lnTo>
                  <a:pt x="7024" y="2366"/>
                </a:lnTo>
                <a:lnTo>
                  <a:pt x="7027" y="2358"/>
                </a:lnTo>
                <a:lnTo>
                  <a:pt x="7031" y="2350"/>
                </a:lnTo>
                <a:lnTo>
                  <a:pt x="7035" y="2342"/>
                </a:lnTo>
                <a:lnTo>
                  <a:pt x="7039" y="2334"/>
                </a:lnTo>
                <a:lnTo>
                  <a:pt x="7044" y="2327"/>
                </a:lnTo>
                <a:lnTo>
                  <a:pt x="7055" y="2313"/>
                </a:lnTo>
                <a:lnTo>
                  <a:pt x="7061" y="2305"/>
                </a:lnTo>
                <a:lnTo>
                  <a:pt x="7067" y="2299"/>
                </a:lnTo>
                <a:lnTo>
                  <a:pt x="7079" y="2288"/>
                </a:lnTo>
                <a:lnTo>
                  <a:pt x="7085" y="2283"/>
                </a:lnTo>
                <a:lnTo>
                  <a:pt x="7092" y="2278"/>
                </a:lnTo>
                <a:lnTo>
                  <a:pt x="7099" y="2274"/>
                </a:lnTo>
                <a:lnTo>
                  <a:pt x="7106" y="2269"/>
                </a:lnTo>
                <a:lnTo>
                  <a:pt x="7114" y="2266"/>
                </a:lnTo>
                <a:lnTo>
                  <a:pt x="7122" y="2263"/>
                </a:lnTo>
                <a:lnTo>
                  <a:pt x="7129" y="2260"/>
                </a:lnTo>
                <a:lnTo>
                  <a:pt x="7137" y="2258"/>
                </a:lnTo>
                <a:lnTo>
                  <a:pt x="7145" y="2256"/>
                </a:lnTo>
                <a:lnTo>
                  <a:pt x="7153" y="2255"/>
                </a:lnTo>
                <a:lnTo>
                  <a:pt x="7161" y="2254"/>
                </a:lnTo>
                <a:lnTo>
                  <a:pt x="7169" y="2254"/>
                </a:lnTo>
                <a:lnTo>
                  <a:pt x="7180" y="2254"/>
                </a:lnTo>
                <a:lnTo>
                  <a:pt x="7185" y="2255"/>
                </a:lnTo>
                <a:lnTo>
                  <a:pt x="7190" y="2255"/>
                </a:lnTo>
                <a:lnTo>
                  <a:pt x="7195" y="2256"/>
                </a:lnTo>
                <a:lnTo>
                  <a:pt x="7199" y="2258"/>
                </a:lnTo>
                <a:lnTo>
                  <a:pt x="7208" y="2261"/>
                </a:lnTo>
                <a:lnTo>
                  <a:pt x="7215" y="2265"/>
                </a:lnTo>
                <a:lnTo>
                  <a:pt x="7223" y="2269"/>
                </a:lnTo>
                <a:lnTo>
                  <a:pt x="7229" y="2275"/>
                </a:lnTo>
                <a:lnTo>
                  <a:pt x="7236" y="2281"/>
                </a:lnTo>
                <a:lnTo>
                  <a:pt x="7239" y="2284"/>
                </a:lnTo>
                <a:lnTo>
                  <a:pt x="7242" y="2287"/>
                </a:lnTo>
                <a:lnTo>
                  <a:pt x="7247" y="2295"/>
                </a:lnTo>
                <a:lnTo>
                  <a:pt x="7251" y="2302"/>
                </a:lnTo>
                <a:lnTo>
                  <a:pt x="7254" y="2312"/>
                </a:lnTo>
                <a:lnTo>
                  <a:pt x="7257" y="2320"/>
                </a:lnTo>
                <a:lnTo>
                  <a:pt x="7258" y="2329"/>
                </a:lnTo>
                <a:lnTo>
                  <a:pt x="7260" y="2339"/>
                </a:lnTo>
                <a:lnTo>
                  <a:pt x="7260" y="2349"/>
                </a:lnTo>
                <a:lnTo>
                  <a:pt x="7259" y="2361"/>
                </a:lnTo>
                <a:lnTo>
                  <a:pt x="7258" y="2368"/>
                </a:lnTo>
                <a:lnTo>
                  <a:pt x="7257" y="2375"/>
                </a:lnTo>
                <a:lnTo>
                  <a:pt x="7253" y="2387"/>
                </a:lnTo>
                <a:lnTo>
                  <a:pt x="7248" y="2398"/>
                </a:lnTo>
                <a:lnTo>
                  <a:pt x="7242" y="2409"/>
                </a:lnTo>
                <a:lnTo>
                  <a:pt x="7235" y="2420"/>
                </a:lnTo>
                <a:lnTo>
                  <a:pt x="7231" y="2425"/>
                </a:lnTo>
                <a:lnTo>
                  <a:pt x="7225" y="2430"/>
                </a:lnTo>
                <a:lnTo>
                  <a:pt x="7216" y="2440"/>
                </a:lnTo>
                <a:lnTo>
                  <a:pt x="7206" y="2449"/>
                </a:lnTo>
                <a:lnTo>
                  <a:pt x="7201" y="2452"/>
                </a:lnTo>
                <a:lnTo>
                  <a:pt x="7195" y="2456"/>
                </a:lnTo>
                <a:lnTo>
                  <a:pt x="7184" y="2463"/>
                </a:lnTo>
                <a:lnTo>
                  <a:pt x="7172" y="2468"/>
                </a:lnTo>
                <a:lnTo>
                  <a:pt x="7159" y="2473"/>
                </a:lnTo>
                <a:lnTo>
                  <a:pt x="7153" y="2475"/>
                </a:lnTo>
                <a:lnTo>
                  <a:pt x="7147" y="2476"/>
                </a:lnTo>
                <a:lnTo>
                  <a:pt x="7141" y="2478"/>
                </a:lnTo>
                <a:lnTo>
                  <a:pt x="7135" y="2478"/>
                </a:lnTo>
                <a:lnTo>
                  <a:pt x="7122" y="2479"/>
                </a:lnTo>
                <a:lnTo>
                  <a:pt x="7117" y="2478"/>
                </a:lnTo>
                <a:lnTo>
                  <a:pt x="7112" y="2477"/>
                </a:lnTo>
                <a:lnTo>
                  <a:pt x="7106" y="2474"/>
                </a:lnTo>
                <a:lnTo>
                  <a:pt x="7104" y="2472"/>
                </a:lnTo>
                <a:lnTo>
                  <a:pt x="7102" y="2470"/>
                </a:lnTo>
                <a:lnTo>
                  <a:pt x="7099" y="2465"/>
                </a:lnTo>
                <a:lnTo>
                  <a:pt x="7097" y="2460"/>
                </a:lnTo>
                <a:lnTo>
                  <a:pt x="7096" y="2457"/>
                </a:lnTo>
                <a:lnTo>
                  <a:pt x="7095" y="2454"/>
                </a:lnTo>
                <a:lnTo>
                  <a:pt x="7095" y="2448"/>
                </a:lnTo>
                <a:lnTo>
                  <a:pt x="7095" y="2445"/>
                </a:lnTo>
                <a:lnTo>
                  <a:pt x="7095" y="2442"/>
                </a:lnTo>
                <a:lnTo>
                  <a:pt x="7096" y="2437"/>
                </a:lnTo>
                <a:lnTo>
                  <a:pt x="7097" y="2435"/>
                </a:lnTo>
                <a:lnTo>
                  <a:pt x="7099" y="2433"/>
                </a:lnTo>
                <a:lnTo>
                  <a:pt x="7100" y="2432"/>
                </a:lnTo>
                <a:lnTo>
                  <a:pt x="7102" y="2430"/>
                </a:lnTo>
                <a:lnTo>
                  <a:pt x="7114" y="2428"/>
                </a:lnTo>
                <a:lnTo>
                  <a:pt x="7124" y="2425"/>
                </a:lnTo>
                <a:lnTo>
                  <a:pt x="7134" y="2422"/>
                </a:lnTo>
                <a:lnTo>
                  <a:pt x="7144" y="2418"/>
                </a:lnTo>
                <a:lnTo>
                  <a:pt x="7153" y="2413"/>
                </a:lnTo>
                <a:lnTo>
                  <a:pt x="7161" y="2408"/>
                </a:lnTo>
                <a:lnTo>
                  <a:pt x="7169" y="2403"/>
                </a:lnTo>
                <a:lnTo>
                  <a:pt x="7174" y="2400"/>
                </a:lnTo>
                <a:lnTo>
                  <a:pt x="7177" y="2397"/>
                </a:lnTo>
                <a:lnTo>
                  <a:pt x="7184" y="2390"/>
                </a:lnTo>
                <a:lnTo>
                  <a:pt x="7190" y="2384"/>
                </a:lnTo>
                <a:lnTo>
                  <a:pt x="7195" y="2377"/>
                </a:lnTo>
                <a:lnTo>
                  <a:pt x="7199" y="2369"/>
                </a:lnTo>
                <a:lnTo>
                  <a:pt x="7202" y="2362"/>
                </a:lnTo>
                <a:lnTo>
                  <a:pt x="7205" y="2355"/>
                </a:lnTo>
                <a:lnTo>
                  <a:pt x="7206" y="2348"/>
                </a:lnTo>
                <a:lnTo>
                  <a:pt x="7207" y="2341"/>
                </a:lnTo>
                <a:lnTo>
                  <a:pt x="7206" y="2333"/>
                </a:lnTo>
                <a:lnTo>
                  <a:pt x="7204" y="2326"/>
                </a:lnTo>
                <a:lnTo>
                  <a:pt x="7202" y="2323"/>
                </a:lnTo>
                <a:lnTo>
                  <a:pt x="7200" y="2319"/>
                </a:lnTo>
                <a:lnTo>
                  <a:pt x="7198" y="2317"/>
                </a:lnTo>
                <a:lnTo>
                  <a:pt x="7196" y="2314"/>
                </a:lnTo>
                <a:lnTo>
                  <a:pt x="7190" y="2309"/>
                </a:lnTo>
                <a:lnTo>
                  <a:pt x="7187" y="2307"/>
                </a:lnTo>
                <a:lnTo>
                  <a:pt x="7183" y="2306"/>
                </a:lnTo>
                <a:lnTo>
                  <a:pt x="7175" y="2304"/>
                </a:lnTo>
                <a:lnTo>
                  <a:pt x="7171" y="2303"/>
                </a:lnTo>
                <a:lnTo>
                  <a:pt x="7165" y="2303"/>
                </a:lnTo>
                <a:lnTo>
                  <a:pt x="7157" y="2304"/>
                </a:lnTo>
                <a:lnTo>
                  <a:pt x="7152" y="2305"/>
                </a:lnTo>
                <a:lnTo>
                  <a:pt x="7148" y="2306"/>
                </a:lnTo>
                <a:lnTo>
                  <a:pt x="7143" y="2308"/>
                </a:lnTo>
                <a:lnTo>
                  <a:pt x="7139" y="2310"/>
                </a:lnTo>
                <a:lnTo>
                  <a:pt x="7134" y="2313"/>
                </a:lnTo>
                <a:lnTo>
                  <a:pt x="7130" y="2315"/>
                </a:lnTo>
                <a:lnTo>
                  <a:pt x="7126" y="2318"/>
                </a:lnTo>
                <a:lnTo>
                  <a:pt x="7122" y="2321"/>
                </a:lnTo>
                <a:lnTo>
                  <a:pt x="7113" y="2328"/>
                </a:lnTo>
                <a:lnTo>
                  <a:pt x="7104" y="2336"/>
                </a:lnTo>
                <a:lnTo>
                  <a:pt x="7097" y="2345"/>
                </a:lnTo>
                <a:lnTo>
                  <a:pt x="7094" y="2350"/>
                </a:lnTo>
                <a:lnTo>
                  <a:pt x="7090" y="2355"/>
                </a:lnTo>
                <a:lnTo>
                  <a:pt x="7084" y="2366"/>
                </a:lnTo>
                <a:lnTo>
                  <a:pt x="7078" y="2379"/>
                </a:lnTo>
                <a:lnTo>
                  <a:pt x="7074" y="2391"/>
                </a:lnTo>
                <a:lnTo>
                  <a:pt x="7070" y="2404"/>
                </a:lnTo>
                <a:lnTo>
                  <a:pt x="7067" y="2417"/>
                </a:lnTo>
                <a:lnTo>
                  <a:pt x="7065" y="2432"/>
                </a:lnTo>
                <a:lnTo>
                  <a:pt x="7065" y="2439"/>
                </a:lnTo>
                <a:lnTo>
                  <a:pt x="7065" y="2446"/>
                </a:lnTo>
                <a:lnTo>
                  <a:pt x="7065" y="2459"/>
                </a:lnTo>
                <a:lnTo>
                  <a:pt x="7066" y="2471"/>
                </a:lnTo>
                <a:lnTo>
                  <a:pt x="7069" y="2482"/>
                </a:lnTo>
                <a:lnTo>
                  <a:pt x="7070" y="2488"/>
                </a:lnTo>
                <a:lnTo>
                  <a:pt x="7072" y="2494"/>
                </a:lnTo>
                <a:lnTo>
                  <a:pt x="7075" y="2505"/>
                </a:lnTo>
                <a:lnTo>
                  <a:pt x="7077" y="2510"/>
                </a:lnTo>
                <a:lnTo>
                  <a:pt x="7080" y="2515"/>
                </a:lnTo>
                <a:lnTo>
                  <a:pt x="7082" y="2519"/>
                </a:lnTo>
                <a:lnTo>
                  <a:pt x="7085" y="2524"/>
                </a:lnTo>
                <a:lnTo>
                  <a:pt x="7088" y="2528"/>
                </a:lnTo>
                <a:lnTo>
                  <a:pt x="7091" y="2532"/>
                </a:lnTo>
                <a:lnTo>
                  <a:pt x="7094" y="2536"/>
                </a:lnTo>
                <a:lnTo>
                  <a:pt x="7097" y="2540"/>
                </a:lnTo>
                <a:lnTo>
                  <a:pt x="7105" y="2546"/>
                </a:lnTo>
                <a:lnTo>
                  <a:pt x="7114" y="2553"/>
                </a:lnTo>
                <a:lnTo>
                  <a:pt x="7122" y="2558"/>
                </a:lnTo>
                <a:lnTo>
                  <a:pt x="7131" y="2561"/>
                </a:lnTo>
                <a:lnTo>
                  <a:pt x="7141" y="2564"/>
                </a:lnTo>
                <a:lnTo>
                  <a:pt x="7151" y="2566"/>
                </a:lnTo>
                <a:lnTo>
                  <a:pt x="7156" y="2566"/>
                </a:lnTo>
                <a:lnTo>
                  <a:pt x="7162" y="2567"/>
                </a:lnTo>
                <a:lnTo>
                  <a:pt x="7173" y="2566"/>
                </a:lnTo>
                <a:lnTo>
                  <a:pt x="7183" y="2564"/>
                </a:lnTo>
                <a:lnTo>
                  <a:pt x="7193" y="2562"/>
                </a:lnTo>
                <a:lnTo>
                  <a:pt x="7203" y="2559"/>
                </a:lnTo>
                <a:lnTo>
                  <a:pt x="7212" y="2554"/>
                </a:lnTo>
                <a:lnTo>
                  <a:pt x="7221" y="2548"/>
                </a:lnTo>
                <a:lnTo>
                  <a:pt x="7231" y="2543"/>
                </a:lnTo>
                <a:lnTo>
                  <a:pt x="7239" y="2536"/>
                </a:lnTo>
                <a:lnTo>
                  <a:pt x="7247" y="2529"/>
                </a:lnTo>
                <a:lnTo>
                  <a:pt x="7254" y="2521"/>
                </a:lnTo>
                <a:lnTo>
                  <a:pt x="7262" y="2512"/>
                </a:lnTo>
                <a:lnTo>
                  <a:pt x="7269" y="2503"/>
                </a:lnTo>
                <a:lnTo>
                  <a:pt x="7282" y="2483"/>
                </a:lnTo>
                <a:lnTo>
                  <a:pt x="7288" y="2473"/>
                </a:lnTo>
                <a:lnTo>
                  <a:pt x="7294" y="2462"/>
                </a:lnTo>
                <a:lnTo>
                  <a:pt x="7299" y="2451"/>
                </a:lnTo>
                <a:lnTo>
                  <a:pt x="7304" y="2440"/>
                </a:lnTo>
                <a:lnTo>
                  <a:pt x="7309" y="2427"/>
                </a:lnTo>
                <a:lnTo>
                  <a:pt x="7313" y="2415"/>
                </a:lnTo>
                <a:lnTo>
                  <a:pt x="7317" y="2403"/>
                </a:lnTo>
                <a:lnTo>
                  <a:pt x="7320" y="2391"/>
                </a:lnTo>
                <a:lnTo>
                  <a:pt x="7323" y="2379"/>
                </a:lnTo>
                <a:lnTo>
                  <a:pt x="7326" y="2366"/>
                </a:lnTo>
                <a:lnTo>
                  <a:pt x="7328" y="2354"/>
                </a:lnTo>
                <a:lnTo>
                  <a:pt x="7330" y="2343"/>
                </a:lnTo>
                <a:lnTo>
                  <a:pt x="7331" y="2331"/>
                </a:lnTo>
                <a:lnTo>
                  <a:pt x="7332" y="2319"/>
                </a:lnTo>
                <a:lnTo>
                  <a:pt x="7333" y="2307"/>
                </a:lnTo>
                <a:lnTo>
                  <a:pt x="7333" y="2296"/>
                </a:lnTo>
                <a:lnTo>
                  <a:pt x="7333" y="2285"/>
                </a:lnTo>
                <a:lnTo>
                  <a:pt x="7333" y="2275"/>
                </a:lnTo>
                <a:lnTo>
                  <a:pt x="7334" y="2272"/>
                </a:lnTo>
                <a:lnTo>
                  <a:pt x="7335" y="2270"/>
                </a:lnTo>
                <a:lnTo>
                  <a:pt x="7337" y="2268"/>
                </a:lnTo>
                <a:lnTo>
                  <a:pt x="7340" y="2266"/>
                </a:lnTo>
                <a:lnTo>
                  <a:pt x="7347" y="2263"/>
                </a:lnTo>
                <a:lnTo>
                  <a:pt x="7352" y="2263"/>
                </a:lnTo>
                <a:lnTo>
                  <a:pt x="7356" y="2262"/>
                </a:lnTo>
                <a:lnTo>
                  <a:pt x="7363" y="2263"/>
                </a:lnTo>
                <a:lnTo>
                  <a:pt x="7366" y="2264"/>
                </a:lnTo>
                <a:lnTo>
                  <a:pt x="7370" y="2265"/>
                </a:lnTo>
                <a:lnTo>
                  <a:pt x="7375" y="2267"/>
                </a:lnTo>
                <a:lnTo>
                  <a:pt x="7378" y="2269"/>
                </a:lnTo>
                <a:lnTo>
                  <a:pt x="7380" y="2272"/>
                </a:lnTo>
                <a:lnTo>
                  <a:pt x="7384" y="2277"/>
                </a:lnTo>
                <a:lnTo>
                  <a:pt x="7386" y="2281"/>
                </a:lnTo>
                <a:lnTo>
                  <a:pt x="7387" y="2285"/>
                </a:lnTo>
                <a:lnTo>
                  <a:pt x="7388" y="2289"/>
                </a:lnTo>
                <a:lnTo>
                  <a:pt x="7389" y="2294"/>
                </a:lnTo>
                <a:lnTo>
                  <a:pt x="7390" y="2299"/>
                </a:lnTo>
                <a:lnTo>
                  <a:pt x="7390" y="2305"/>
                </a:lnTo>
                <a:lnTo>
                  <a:pt x="7389" y="2322"/>
                </a:lnTo>
                <a:lnTo>
                  <a:pt x="7388" y="2337"/>
                </a:lnTo>
                <a:lnTo>
                  <a:pt x="7387" y="2352"/>
                </a:lnTo>
                <a:lnTo>
                  <a:pt x="7385" y="2368"/>
                </a:lnTo>
                <a:lnTo>
                  <a:pt x="7382" y="2383"/>
                </a:lnTo>
                <a:lnTo>
                  <a:pt x="7379" y="2398"/>
                </a:lnTo>
                <a:lnTo>
                  <a:pt x="7376" y="2413"/>
                </a:lnTo>
                <a:lnTo>
                  <a:pt x="7372" y="2427"/>
                </a:lnTo>
                <a:lnTo>
                  <a:pt x="7367" y="2442"/>
                </a:lnTo>
                <a:lnTo>
                  <a:pt x="7363" y="2455"/>
                </a:lnTo>
                <a:lnTo>
                  <a:pt x="7357" y="2468"/>
                </a:lnTo>
                <a:lnTo>
                  <a:pt x="7352" y="2481"/>
                </a:lnTo>
                <a:lnTo>
                  <a:pt x="7345" y="2495"/>
                </a:lnTo>
                <a:lnTo>
                  <a:pt x="7338" y="2507"/>
                </a:lnTo>
                <a:lnTo>
                  <a:pt x="7331" y="2518"/>
                </a:lnTo>
                <a:lnTo>
                  <a:pt x="7324" y="2529"/>
                </a:lnTo>
                <a:lnTo>
                  <a:pt x="7316" y="2540"/>
                </a:lnTo>
                <a:lnTo>
                  <a:pt x="7308" y="2550"/>
                </a:lnTo>
                <a:lnTo>
                  <a:pt x="7300" y="2561"/>
                </a:lnTo>
                <a:lnTo>
                  <a:pt x="7291" y="2570"/>
                </a:lnTo>
                <a:lnTo>
                  <a:pt x="7281" y="2578"/>
                </a:lnTo>
                <a:lnTo>
                  <a:pt x="7272" y="2586"/>
                </a:lnTo>
                <a:lnTo>
                  <a:pt x="7262" y="2593"/>
                </a:lnTo>
                <a:lnTo>
                  <a:pt x="7252" y="2600"/>
                </a:lnTo>
                <a:lnTo>
                  <a:pt x="7242" y="2606"/>
                </a:lnTo>
                <a:lnTo>
                  <a:pt x="7231" y="2612"/>
                </a:lnTo>
                <a:lnTo>
                  <a:pt x="7219" y="2616"/>
                </a:lnTo>
                <a:lnTo>
                  <a:pt x="7208" y="2620"/>
                </a:lnTo>
                <a:lnTo>
                  <a:pt x="7196" y="2623"/>
                </a:lnTo>
                <a:lnTo>
                  <a:pt x="7185" y="2625"/>
                </a:lnTo>
                <a:lnTo>
                  <a:pt x="7173" y="2626"/>
                </a:lnTo>
                <a:lnTo>
                  <a:pt x="7160" y="2627"/>
                </a:lnTo>
                <a:close/>
                <a:moveTo>
                  <a:pt x="7547" y="2621"/>
                </a:moveTo>
                <a:lnTo>
                  <a:pt x="7546" y="2621"/>
                </a:lnTo>
                <a:lnTo>
                  <a:pt x="7543" y="2620"/>
                </a:lnTo>
                <a:lnTo>
                  <a:pt x="7538" y="2617"/>
                </a:lnTo>
                <a:lnTo>
                  <a:pt x="7532" y="2613"/>
                </a:lnTo>
                <a:lnTo>
                  <a:pt x="7523" y="2607"/>
                </a:lnTo>
                <a:lnTo>
                  <a:pt x="7511" y="2596"/>
                </a:lnTo>
                <a:lnTo>
                  <a:pt x="7496" y="2582"/>
                </a:lnTo>
                <a:lnTo>
                  <a:pt x="7479" y="2566"/>
                </a:lnTo>
                <a:lnTo>
                  <a:pt x="7462" y="2548"/>
                </a:lnTo>
                <a:lnTo>
                  <a:pt x="7446" y="2531"/>
                </a:lnTo>
                <a:lnTo>
                  <a:pt x="7432" y="2515"/>
                </a:lnTo>
                <a:lnTo>
                  <a:pt x="7420" y="2501"/>
                </a:lnTo>
                <a:lnTo>
                  <a:pt x="7416" y="2494"/>
                </a:lnTo>
                <a:lnTo>
                  <a:pt x="7413" y="2488"/>
                </a:lnTo>
                <a:lnTo>
                  <a:pt x="7406" y="2478"/>
                </a:lnTo>
                <a:lnTo>
                  <a:pt x="7403" y="2468"/>
                </a:lnTo>
                <a:lnTo>
                  <a:pt x="7400" y="2458"/>
                </a:lnTo>
                <a:lnTo>
                  <a:pt x="7399" y="2448"/>
                </a:lnTo>
                <a:lnTo>
                  <a:pt x="7400" y="2443"/>
                </a:lnTo>
                <a:lnTo>
                  <a:pt x="7400" y="2437"/>
                </a:lnTo>
                <a:lnTo>
                  <a:pt x="7402" y="2430"/>
                </a:lnTo>
                <a:lnTo>
                  <a:pt x="7404" y="2424"/>
                </a:lnTo>
                <a:lnTo>
                  <a:pt x="7406" y="2418"/>
                </a:lnTo>
                <a:lnTo>
                  <a:pt x="7411" y="2412"/>
                </a:lnTo>
                <a:lnTo>
                  <a:pt x="7414" y="2405"/>
                </a:lnTo>
                <a:lnTo>
                  <a:pt x="7419" y="2398"/>
                </a:lnTo>
                <a:lnTo>
                  <a:pt x="7427" y="2387"/>
                </a:lnTo>
                <a:lnTo>
                  <a:pt x="7438" y="2374"/>
                </a:lnTo>
                <a:lnTo>
                  <a:pt x="7468" y="2339"/>
                </a:lnTo>
                <a:lnTo>
                  <a:pt x="7504" y="2299"/>
                </a:lnTo>
                <a:lnTo>
                  <a:pt x="7540" y="2259"/>
                </a:lnTo>
                <a:lnTo>
                  <a:pt x="7541" y="2258"/>
                </a:lnTo>
                <a:lnTo>
                  <a:pt x="7544" y="2258"/>
                </a:lnTo>
                <a:lnTo>
                  <a:pt x="7548" y="2258"/>
                </a:lnTo>
                <a:lnTo>
                  <a:pt x="7552" y="2260"/>
                </a:lnTo>
                <a:lnTo>
                  <a:pt x="7556" y="2261"/>
                </a:lnTo>
                <a:lnTo>
                  <a:pt x="7560" y="2264"/>
                </a:lnTo>
                <a:lnTo>
                  <a:pt x="7565" y="2267"/>
                </a:lnTo>
                <a:lnTo>
                  <a:pt x="7569" y="2271"/>
                </a:lnTo>
                <a:lnTo>
                  <a:pt x="7572" y="2275"/>
                </a:lnTo>
                <a:lnTo>
                  <a:pt x="7575" y="2280"/>
                </a:lnTo>
                <a:lnTo>
                  <a:pt x="7576" y="2284"/>
                </a:lnTo>
                <a:lnTo>
                  <a:pt x="7577" y="2289"/>
                </a:lnTo>
                <a:lnTo>
                  <a:pt x="7576" y="2295"/>
                </a:lnTo>
                <a:lnTo>
                  <a:pt x="7574" y="2300"/>
                </a:lnTo>
                <a:lnTo>
                  <a:pt x="7572" y="2306"/>
                </a:lnTo>
                <a:lnTo>
                  <a:pt x="7568" y="2313"/>
                </a:lnTo>
                <a:lnTo>
                  <a:pt x="7560" y="2323"/>
                </a:lnTo>
                <a:lnTo>
                  <a:pt x="7548" y="2336"/>
                </a:lnTo>
                <a:lnTo>
                  <a:pt x="7518" y="2369"/>
                </a:lnTo>
                <a:lnTo>
                  <a:pt x="7488" y="2404"/>
                </a:lnTo>
                <a:lnTo>
                  <a:pt x="7476" y="2418"/>
                </a:lnTo>
                <a:lnTo>
                  <a:pt x="7466" y="2430"/>
                </a:lnTo>
                <a:lnTo>
                  <a:pt x="7464" y="2434"/>
                </a:lnTo>
                <a:lnTo>
                  <a:pt x="7462" y="2438"/>
                </a:lnTo>
                <a:lnTo>
                  <a:pt x="7461" y="2442"/>
                </a:lnTo>
                <a:lnTo>
                  <a:pt x="7460" y="2445"/>
                </a:lnTo>
                <a:lnTo>
                  <a:pt x="7461" y="2450"/>
                </a:lnTo>
                <a:lnTo>
                  <a:pt x="7462" y="2454"/>
                </a:lnTo>
                <a:lnTo>
                  <a:pt x="7464" y="2458"/>
                </a:lnTo>
                <a:lnTo>
                  <a:pt x="7467" y="2463"/>
                </a:lnTo>
                <a:lnTo>
                  <a:pt x="7476" y="2472"/>
                </a:lnTo>
                <a:lnTo>
                  <a:pt x="7486" y="2484"/>
                </a:lnTo>
                <a:lnTo>
                  <a:pt x="7514" y="2514"/>
                </a:lnTo>
                <a:lnTo>
                  <a:pt x="7546" y="2546"/>
                </a:lnTo>
                <a:lnTo>
                  <a:pt x="7577" y="2577"/>
                </a:lnTo>
                <a:lnTo>
                  <a:pt x="7579" y="2579"/>
                </a:lnTo>
                <a:lnTo>
                  <a:pt x="7581" y="2581"/>
                </a:lnTo>
                <a:lnTo>
                  <a:pt x="7582" y="2584"/>
                </a:lnTo>
                <a:lnTo>
                  <a:pt x="7582" y="2586"/>
                </a:lnTo>
                <a:lnTo>
                  <a:pt x="7581" y="2592"/>
                </a:lnTo>
                <a:lnTo>
                  <a:pt x="7580" y="2595"/>
                </a:lnTo>
                <a:lnTo>
                  <a:pt x="7579" y="2597"/>
                </a:lnTo>
                <a:lnTo>
                  <a:pt x="7575" y="2603"/>
                </a:lnTo>
                <a:lnTo>
                  <a:pt x="7573" y="2606"/>
                </a:lnTo>
                <a:lnTo>
                  <a:pt x="7570" y="2608"/>
                </a:lnTo>
                <a:lnTo>
                  <a:pt x="7565" y="2614"/>
                </a:lnTo>
                <a:lnTo>
                  <a:pt x="7562" y="2616"/>
                </a:lnTo>
                <a:lnTo>
                  <a:pt x="7559" y="2618"/>
                </a:lnTo>
                <a:lnTo>
                  <a:pt x="7553" y="2620"/>
                </a:lnTo>
                <a:lnTo>
                  <a:pt x="7550" y="2621"/>
                </a:lnTo>
                <a:lnTo>
                  <a:pt x="7547" y="2621"/>
                </a:lnTo>
                <a:close/>
                <a:moveTo>
                  <a:pt x="5934" y="2916"/>
                </a:moveTo>
                <a:lnTo>
                  <a:pt x="5935" y="2897"/>
                </a:lnTo>
                <a:lnTo>
                  <a:pt x="5936" y="2887"/>
                </a:lnTo>
                <a:lnTo>
                  <a:pt x="5938" y="2878"/>
                </a:lnTo>
                <a:lnTo>
                  <a:pt x="5939" y="2869"/>
                </a:lnTo>
                <a:lnTo>
                  <a:pt x="5941" y="2860"/>
                </a:lnTo>
                <a:lnTo>
                  <a:pt x="5944" y="2850"/>
                </a:lnTo>
                <a:lnTo>
                  <a:pt x="5947" y="2842"/>
                </a:lnTo>
                <a:lnTo>
                  <a:pt x="5950" y="2833"/>
                </a:lnTo>
                <a:lnTo>
                  <a:pt x="5953" y="2825"/>
                </a:lnTo>
                <a:lnTo>
                  <a:pt x="5957" y="2817"/>
                </a:lnTo>
                <a:lnTo>
                  <a:pt x="5961" y="2809"/>
                </a:lnTo>
                <a:lnTo>
                  <a:pt x="5966" y="2802"/>
                </a:lnTo>
                <a:lnTo>
                  <a:pt x="5971" y="2794"/>
                </a:lnTo>
                <a:lnTo>
                  <a:pt x="5982" y="2779"/>
                </a:lnTo>
                <a:lnTo>
                  <a:pt x="5987" y="2773"/>
                </a:lnTo>
                <a:lnTo>
                  <a:pt x="5993" y="2767"/>
                </a:lnTo>
                <a:lnTo>
                  <a:pt x="6005" y="2755"/>
                </a:lnTo>
                <a:lnTo>
                  <a:pt x="6012" y="2750"/>
                </a:lnTo>
                <a:lnTo>
                  <a:pt x="6018" y="2745"/>
                </a:lnTo>
                <a:lnTo>
                  <a:pt x="6025" y="2741"/>
                </a:lnTo>
                <a:lnTo>
                  <a:pt x="6033" y="2737"/>
                </a:lnTo>
                <a:lnTo>
                  <a:pt x="6040" y="2733"/>
                </a:lnTo>
                <a:lnTo>
                  <a:pt x="6048" y="2729"/>
                </a:lnTo>
                <a:lnTo>
                  <a:pt x="6055" y="2726"/>
                </a:lnTo>
                <a:lnTo>
                  <a:pt x="6063" y="2724"/>
                </a:lnTo>
                <a:lnTo>
                  <a:pt x="6071" y="2722"/>
                </a:lnTo>
                <a:lnTo>
                  <a:pt x="6079" y="2721"/>
                </a:lnTo>
                <a:lnTo>
                  <a:pt x="6087" y="2720"/>
                </a:lnTo>
                <a:lnTo>
                  <a:pt x="6096" y="2720"/>
                </a:lnTo>
                <a:lnTo>
                  <a:pt x="6107" y="2720"/>
                </a:lnTo>
                <a:lnTo>
                  <a:pt x="6111" y="2721"/>
                </a:lnTo>
                <a:lnTo>
                  <a:pt x="6116" y="2722"/>
                </a:lnTo>
                <a:lnTo>
                  <a:pt x="6121" y="2723"/>
                </a:lnTo>
                <a:lnTo>
                  <a:pt x="6125" y="2724"/>
                </a:lnTo>
                <a:lnTo>
                  <a:pt x="6134" y="2727"/>
                </a:lnTo>
                <a:lnTo>
                  <a:pt x="6142" y="2732"/>
                </a:lnTo>
                <a:lnTo>
                  <a:pt x="6149" y="2737"/>
                </a:lnTo>
                <a:lnTo>
                  <a:pt x="6157" y="2742"/>
                </a:lnTo>
                <a:lnTo>
                  <a:pt x="6163" y="2748"/>
                </a:lnTo>
                <a:lnTo>
                  <a:pt x="6165" y="2751"/>
                </a:lnTo>
                <a:lnTo>
                  <a:pt x="6168" y="2755"/>
                </a:lnTo>
                <a:lnTo>
                  <a:pt x="6173" y="2762"/>
                </a:lnTo>
                <a:lnTo>
                  <a:pt x="6177" y="2770"/>
                </a:lnTo>
                <a:lnTo>
                  <a:pt x="6180" y="2778"/>
                </a:lnTo>
                <a:lnTo>
                  <a:pt x="6183" y="2787"/>
                </a:lnTo>
                <a:lnTo>
                  <a:pt x="6185" y="2797"/>
                </a:lnTo>
                <a:lnTo>
                  <a:pt x="6186" y="2806"/>
                </a:lnTo>
                <a:lnTo>
                  <a:pt x="6186" y="2816"/>
                </a:lnTo>
                <a:lnTo>
                  <a:pt x="6186" y="2823"/>
                </a:lnTo>
                <a:lnTo>
                  <a:pt x="6185" y="2829"/>
                </a:lnTo>
                <a:lnTo>
                  <a:pt x="6184" y="2835"/>
                </a:lnTo>
                <a:lnTo>
                  <a:pt x="6183" y="2841"/>
                </a:lnTo>
                <a:lnTo>
                  <a:pt x="6179" y="2854"/>
                </a:lnTo>
                <a:lnTo>
                  <a:pt x="6174" y="2866"/>
                </a:lnTo>
                <a:lnTo>
                  <a:pt x="6168" y="2877"/>
                </a:lnTo>
                <a:lnTo>
                  <a:pt x="6165" y="2882"/>
                </a:lnTo>
                <a:lnTo>
                  <a:pt x="6161" y="2888"/>
                </a:lnTo>
                <a:lnTo>
                  <a:pt x="6157" y="2893"/>
                </a:lnTo>
                <a:lnTo>
                  <a:pt x="6153" y="2898"/>
                </a:lnTo>
                <a:lnTo>
                  <a:pt x="6142" y="2907"/>
                </a:lnTo>
                <a:lnTo>
                  <a:pt x="6132" y="2916"/>
                </a:lnTo>
                <a:lnTo>
                  <a:pt x="6127" y="2920"/>
                </a:lnTo>
                <a:lnTo>
                  <a:pt x="6122" y="2924"/>
                </a:lnTo>
                <a:lnTo>
                  <a:pt x="6110" y="2931"/>
                </a:lnTo>
                <a:lnTo>
                  <a:pt x="6099" y="2936"/>
                </a:lnTo>
                <a:lnTo>
                  <a:pt x="6086" y="2941"/>
                </a:lnTo>
                <a:lnTo>
                  <a:pt x="6079" y="2943"/>
                </a:lnTo>
                <a:lnTo>
                  <a:pt x="6073" y="2944"/>
                </a:lnTo>
                <a:lnTo>
                  <a:pt x="6067" y="2945"/>
                </a:lnTo>
                <a:lnTo>
                  <a:pt x="6061" y="2946"/>
                </a:lnTo>
                <a:lnTo>
                  <a:pt x="6048" y="2947"/>
                </a:lnTo>
                <a:lnTo>
                  <a:pt x="6043" y="2946"/>
                </a:lnTo>
                <a:lnTo>
                  <a:pt x="6038" y="2944"/>
                </a:lnTo>
                <a:lnTo>
                  <a:pt x="6033" y="2942"/>
                </a:lnTo>
                <a:lnTo>
                  <a:pt x="6031" y="2940"/>
                </a:lnTo>
                <a:lnTo>
                  <a:pt x="6029" y="2938"/>
                </a:lnTo>
                <a:lnTo>
                  <a:pt x="6025" y="2933"/>
                </a:lnTo>
                <a:lnTo>
                  <a:pt x="6023" y="2928"/>
                </a:lnTo>
                <a:lnTo>
                  <a:pt x="6022" y="2925"/>
                </a:lnTo>
                <a:lnTo>
                  <a:pt x="6022" y="2922"/>
                </a:lnTo>
                <a:lnTo>
                  <a:pt x="6021" y="2916"/>
                </a:lnTo>
                <a:lnTo>
                  <a:pt x="6021" y="2913"/>
                </a:lnTo>
                <a:lnTo>
                  <a:pt x="6021" y="2909"/>
                </a:lnTo>
                <a:lnTo>
                  <a:pt x="6023" y="2904"/>
                </a:lnTo>
                <a:lnTo>
                  <a:pt x="6024" y="2902"/>
                </a:lnTo>
                <a:lnTo>
                  <a:pt x="6025" y="2900"/>
                </a:lnTo>
                <a:lnTo>
                  <a:pt x="6026" y="2898"/>
                </a:lnTo>
                <a:lnTo>
                  <a:pt x="6028" y="2897"/>
                </a:lnTo>
                <a:lnTo>
                  <a:pt x="6040" y="2895"/>
                </a:lnTo>
                <a:lnTo>
                  <a:pt x="6050" y="2892"/>
                </a:lnTo>
                <a:lnTo>
                  <a:pt x="6060" y="2889"/>
                </a:lnTo>
                <a:lnTo>
                  <a:pt x="6070" y="2885"/>
                </a:lnTo>
                <a:lnTo>
                  <a:pt x="6079" y="2881"/>
                </a:lnTo>
                <a:lnTo>
                  <a:pt x="6087" y="2876"/>
                </a:lnTo>
                <a:lnTo>
                  <a:pt x="6096" y="2870"/>
                </a:lnTo>
                <a:lnTo>
                  <a:pt x="6103" y="2864"/>
                </a:lnTo>
                <a:lnTo>
                  <a:pt x="6110" y="2858"/>
                </a:lnTo>
                <a:lnTo>
                  <a:pt x="6116" y="2852"/>
                </a:lnTo>
                <a:lnTo>
                  <a:pt x="6121" y="2844"/>
                </a:lnTo>
                <a:lnTo>
                  <a:pt x="6125" y="2837"/>
                </a:lnTo>
                <a:lnTo>
                  <a:pt x="6128" y="2830"/>
                </a:lnTo>
                <a:lnTo>
                  <a:pt x="6131" y="2823"/>
                </a:lnTo>
                <a:lnTo>
                  <a:pt x="6132" y="2816"/>
                </a:lnTo>
                <a:lnTo>
                  <a:pt x="6133" y="2809"/>
                </a:lnTo>
                <a:lnTo>
                  <a:pt x="6133" y="2805"/>
                </a:lnTo>
                <a:lnTo>
                  <a:pt x="6132" y="2801"/>
                </a:lnTo>
                <a:lnTo>
                  <a:pt x="6130" y="2794"/>
                </a:lnTo>
                <a:lnTo>
                  <a:pt x="6128" y="2789"/>
                </a:lnTo>
                <a:lnTo>
                  <a:pt x="6127" y="2786"/>
                </a:lnTo>
                <a:lnTo>
                  <a:pt x="6124" y="2783"/>
                </a:lnTo>
                <a:lnTo>
                  <a:pt x="6122" y="2781"/>
                </a:lnTo>
                <a:lnTo>
                  <a:pt x="6116" y="2777"/>
                </a:lnTo>
                <a:lnTo>
                  <a:pt x="6113" y="2775"/>
                </a:lnTo>
                <a:lnTo>
                  <a:pt x="6109" y="2774"/>
                </a:lnTo>
                <a:lnTo>
                  <a:pt x="6101" y="2772"/>
                </a:lnTo>
                <a:lnTo>
                  <a:pt x="6093" y="2771"/>
                </a:lnTo>
                <a:lnTo>
                  <a:pt x="6083" y="2772"/>
                </a:lnTo>
                <a:lnTo>
                  <a:pt x="6078" y="2773"/>
                </a:lnTo>
                <a:lnTo>
                  <a:pt x="6074" y="2774"/>
                </a:lnTo>
                <a:lnTo>
                  <a:pt x="6070" y="2776"/>
                </a:lnTo>
                <a:lnTo>
                  <a:pt x="6065" y="2777"/>
                </a:lnTo>
                <a:lnTo>
                  <a:pt x="6061" y="2780"/>
                </a:lnTo>
                <a:lnTo>
                  <a:pt x="6056" y="2782"/>
                </a:lnTo>
                <a:lnTo>
                  <a:pt x="6052" y="2785"/>
                </a:lnTo>
                <a:lnTo>
                  <a:pt x="6048" y="2788"/>
                </a:lnTo>
                <a:lnTo>
                  <a:pt x="6040" y="2796"/>
                </a:lnTo>
                <a:lnTo>
                  <a:pt x="6032" y="2804"/>
                </a:lnTo>
                <a:lnTo>
                  <a:pt x="6023" y="2813"/>
                </a:lnTo>
                <a:lnTo>
                  <a:pt x="6020" y="2818"/>
                </a:lnTo>
                <a:lnTo>
                  <a:pt x="6017" y="2823"/>
                </a:lnTo>
                <a:lnTo>
                  <a:pt x="6010" y="2834"/>
                </a:lnTo>
                <a:lnTo>
                  <a:pt x="6005" y="2845"/>
                </a:lnTo>
                <a:lnTo>
                  <a:pt x="6000" y="2858"/>
                </a:lnTo>
                <a:lnTo>
                  <a:pt x="5996" y="2871"/>
                </a:lnTo>
                <a:lnTo>
                  <a:pt x="5993" y="2884"/>
                </a:lnTo>
                <a:lnTo>
                  <a:pt x="5992" y="2891"/>
                </a:lnTo>
                <a:lnTo>
                  <a:pt x="5992" y="2898"/>
                </a:lnTo>
                <a:lnTo>
                  <a:pt x="5991" y="2905"/>
                </a:lnTo>
                <a:lnTo>
                  <a:pt x="5991" y="2913"/>
                </a:lnTo>
                <a:lnTo>
                  <a:pt x="5991" y="2926"/>
                </a:lnTo>
                <a:lnTo>
                  <a:pt x="5993" y="2938"/>
                </a:lnTo>
                <a:lnTo>
                  <a:pt x="5994" y="2944"/>
                </a:lnTo>
                <a:lnTo>
                  <a:pt x="5995" y="2950"/>
                </a:lnTo>
                <a:lnTo>
                  <a:pt x="5996" y="2956"/>
                </a:lnTo>
                <a:lnTo>
                  <a:pt x="5998" y="2961"/>
                </a:lnTo>
                <a:lnTo>
                  <a:pt x="6002" y="2972"/>
                </a:lnTo>
                <a:lnTo>
                  <a:pt x="6004" y="2977"/>
                </a:lnTo>
                <a:lnTo>
                  <a:pt x="6006" y="2982"/>
                </a:lnTo>
                <a:lnTo>
                  <a:pt x="6009" y="2987"/>
                </a:lnTo>
                <a:lnTo>
                  <a:pt x="6011" y="2991"/>
                </a:lnTo>
                <a:lnTo>
                  <a:pt x="6014" y="2995"/>
                </a:lnTo>
                <a:lnTo>
                  <a:pt x="6017" y="2999"/>
                </a:lnTo>
                <a:lnTo>
                  <a:pt x="6020" y="3003"/>
                </a:lnTo>
                <a:lnTo>
                  <a:pt x="6024" y="3007"/>
                </a:lnTo>
                <a:lnTo>
                  <a:pt x="6032" y="3014"/>
                </a:lnTo>
                <a:lnTo>
                  <a:pt x="6040" y="3019"/>
                </a:lnTo>
                <a:lnTo>
                  <a:pt x="6048" y="3024"/>
                </a:lnTo>
                <a:lnTo>
                  <a:pt x="6057" y="3028"/>
                </a:lnTo>
                <a:lnTo>
                  <a:pt x="6067" y="3032"/>
                </a:lnTo>
                <a:lnTo>
                  <a:pt x="6077" y="3033"/>
                </a:lnTo>
                <a:lnTo>
                  <a:pt x="6082" y="3034"/>
                </a:lnTo>
                <a:lnTo>
                  <a:pt x="6088" y="3034"/>
                </a:lnTo>
                <a:lnTo>
                  <a:pt x="6099" y="3033"/>
                </a:lnTo>
                <a:lnTo>
                  <a:pt x="6108" y="3032"/>
                </a:lnTo>
                <a:lnTo>
                  <a:pt x="6118" y="3029"/>
                </a:lnTo>
                <a:lnTo>
                  <a:pt x="6127" y="3026"/>
                </a:lnTo>
                <a:lnTo>
                  <a:pt x="6136" y="3022"/>
                </a:lnTo>
                <a:lnTo>
                  <a:pt x="6144" y="3018"/>
                </a:lnTo>
                <a:lnTo>
                  <a:pt x="6153" y="3012"/>
                </a:lnTo>
                <a:lnTo>
                  <a:pt x="6161" y="3006"/>
                </a:lnTo>
                <a:lnTo>
                  <a:pt x="6169" y="3000"/>
                </a:lnTo>
                <a:lnTo>
                  <a:pt x="6176" y="2993"/>
                </a:lnTo>
                <a:lnTo>
                  <a:pt x="6184" y="2985"/>
                </a:lnTo>
                <a:lnTo>
                  <a:pt x="6190" y="2977"/>
                </a:lnTo>
                <a:lnTo>
                  <a:pt x="6197" y="2967"/>
                </a:lnTo>
                <a:lnTo>
                  <a:pt x="6203" y="2958"/>
                </a:lnTo>
                <a:lnTo>
                  <a:pt x="6215" y="2939"/>
                </a:lnTo>
                <a:lnTo>
                  <a:pt x="6225" y="2918"/>
                </a:lnTo>
                <a:lnTo>
                  <a:pt x="6230" y="2907"/>
                </a:lnTo>
                <a:lnTo>
                  <a:pt x="6234" y="2896"/>
                </a:lnTo>
                <a:lnTo>
                  <a:pt x="6238" y="2885"/>
                </a:lnTo>
                <a:lnTo>
                  <a:pt x="6242" y="2874"/>
                </a:lnTo>
                <a:lnTo>
                  <a:pt x="6245" y="2862"/>
                </a:lnTo>
                <a:lnTo>
                  <a:pt x="6248" y="2850"/>
                </a:lnTo>
                <a:lnTo>
                  <a:pt x="6253" y="2827"/>
                </a:lnTo>
                <a:lnTo>
                  <a:pt x="6255" y="2816"/>
                </a:lnTo>
                <a:lnTo>
                  <a:pt x="6257" y="2805"/>
                </a:lnTo>
                <a:lnTo>
                  <a:pt x="6259" y="2782"/>
                </a:lnTo>
                <a:lnTo>
                  <a:pt x="6259" y="2761"/>
                </a:lnTo>
                <a:lnTo>
                  <a:pt x="6259" y="2752"/>
                </a:lnTo>
                <a:lnTo>
                  <a:pt x="6259" y="2742"/>
                </a:lnTo>
                <a:lnTo>
                  <a:pt x="6260" y="2740"/>
                </a:lnTo>
                <a:lnTo>
                  <a:pt x="6261" y="2738"/>
                </a:lnTo>
                <a:lnTo>
                  <a:pt x="6264" y="2735"/>
                </a:lnTo>
                <a:lnTo>
                  <a:pt x="6266" y="2734"/>
                </a:lnTo>
                <a:lnTo>
                  <a:pt x="6271" y="2732"/>
                </a:lnTo>
                <a:lnTo>
                  <a:pt x="6274" y="2730"/>
                </a:lnTo>
                <a:lnTo>
                  <a:pt x="6278" y="2729"/>
                </a:lnTo>
                <a:lnTo>
                  <a:pt x="6282" y="2729"/>
                </a:lnTo>
                <a:lnTo>
                  <a:pt x="6289" y="2729"/>
                </a:lnTo>
                <a:lnTo>
                  <a:pt x="6293" y="2730"/>
                </a:lnTo>
                <a:lnTo>
                  <a:pt x="6296" y="2732"/>
                </a:lnTo>
                <a:lnTo>
                  <a:pt x="6302" y="2735"/>
                </a:lnTo>
                <a:lnTo>
                  <a:pt x="6304" y="2737"/>
                </a:lnTo>
                <a:lnTo>
                  <a:pt x="6307" y="2739"/>
                </a:lnTo>
                <a:lnTo>
                  <a:pt x="6311" y="2745"/>
                </a:lnTo>
                <a:lnTo>
                  <a:pt x="6312" y="2748"/>
                </a:lnTo>
                <a:lnTo>
                  <a:pt x="6314" y="2752"/>
                </a:lnTo>
                <a:lnTo>
                  <a:pt x="6315" y="2757"/>
                </a:lnTo>
                <a:lnTo>
                  <a:pt x="6315" y="2761"/>
                </a:lnTo>
                <a:lnTo>
                  <a:pt x="6316" y="2767"/>
                </a:lnTo>
                <a:lnTo>
                  <a:pt x="6316" y="2773"/>
                </a:lnTo>
                <a:lnTo>
                  <a:pt x="6316" y="2788"/>
                </a:lnTo>
                <a:lnTo>
                  <a:pt x="6315" y="2805"/>
                </a:lnTo>
                <a:lnTo>
                  <a:pt x="6313" y="2820"/>
                </a:lnTo>
                <a:lnTo>
                  <a:pt x="6311" y="2835"/>
                </a:lnTo>
                <a:lnTo>
                  <a:pt x="6308" y="2850"/>
                </a:lnTo>
                <a:lnTo>
                  <a:pt x="6305" y="2866"/>
                </a:lnTo>
                <a:lnTo>
                  <a:pt x="6302" y="2880"/>
                </a:lnTo>
                <a:lnTo>
                  <a:pt x="6298" y="2894"/>
                </a:lnTo>
                <a:lnTo>
                  <a:pt x="6294" y="2908"/>
                </a:lnTo>
                <a:lnTo>
                  <a:pt x="6289" y="2923"/>
                </a:lnTo>
                <a:lnTo>
                  <a:pt x="6284" y="2936"/>
                </a:lnTo>
                <a:lnTo>
                  <a:pt x="6278" y="2949"/>
                </a:lnTo>
                <a:lnTo>
                  <a:pt x="6272" y="2961"/>
                </a:lnTo>
                <a:lnTo>
                  <a:pt x="6264" y="2974"/>
                </a:lnTo>
                <a:lnTo>
                  <a:pt x="6257" y="2986"/>
                </a:lnTo>
                <a:lnTo>
                  <a:pt x="6250" y="2997"/>
                </a:lnTo>
                <a:lnTo>
                  <a:pt x="6242" y="3008"/>
                </a:lnTo>
                <a:lnTo>
                  <a:pt x="6234" y="3018"/>
                </a:lnTo>
                <a:lnTo>
                  <a:pt x="6226" y="3028"/>
                </a:lnTo>
                <a:lnTo>
                  <a:pt x="6217" y="3038"/>
                </a:lnTo>
                <a:lnTo>
                  <a:pt x="6207" y="3046"/>
                </a:lnTo>
                <a:lnTo>
                  <a:pt x="6198" y="3054"/>
                </a:lnTo>
                <a:lnTo>
                  <a:pt x="6188" y="3061"/>
                </a:lnTo>
                <a:lnTo>
                  <a:pt x="6178" y="3068"/>
                </a:lnTo>
                <a:lnTo>
                  <a:pt x="6168" y="3074"/>
                </a:lnTo>
                <a:lnTo>
                  <a:pt x="6157" y="3079"/>
                </a:lnTo>
                <a:lnTo>
                  <a:pt x="6145" y="3083"/>
                </a:lnTo>
                <a:lnTo>
                  <a:pt x="6134" y="3087"/>
                </a:lnTo>
                <a:lnTo>
                  <a:pt x="6123" y="3090"/>
                </a:lnTo>
                <a:lnTo>
                  <a:pt x="6111" y="3093"/>
                </a:lnTo>
                <a:lnTo>
                  <a:pt x="6099" y="3094"/>
                </a:lnTo>
                <a:lnTo>
                  <a:pt x="6086" y="3095"/>
                </a:lnTo>
                <a:lnTo>
                  <a:pt x="6078" y="3094"/>
                </a:lnTo>
                <a:lnTo>
                  <a:pt x="6071" y="3094"/>
                </a:lnTo>
                <a:lnTo>
                  <a:pt x="6063" y="3093"/>
                </a:lnTo>
                <a:lnTo>
                  <a:pt x="6056" y="3090"/>
                </a:lnTo>
                <a:lnTo>
                  <a:pt x="6049" y="3088"/>
                </a:lnTo>
                <a:lnTo>
                  <a:pt x="6041" y="3086"/>
                </a:lnTo>
                <a:lnTo>
                  <a:pt x="6027" y="3080"/>
                </a:lnTo>
                <a:lnTo>
                  <a:pt x="6014" y="3073"/>
                </a:lnTo>
                <a:lnTo>
                  <a:pt x="6007" y="3069"/>
                </a:lnTo>
                <a:lnTo>
                  <a:pt x="6001" y="3064"/>
                </a:lnTo>
                <a:lnTo>
                  <a:pt x="5995" y="3059"/>
                </a:lnTo>
                <a:lnTo>
                  <a:pt x="5990" y="3054"/>
                </a:lnTo>
                <a:lnTo>
                  <a:pt x="5984" y="3049"/>
                </a:lnTo>
                <a:lnTo>
                  <a:pt x="5979" y="3043"/>
                </a:lnTo>
                <a:lnTo>
                  <a:pt x="5974" y="3037"/>
                </a:lnTo>
                <a:lnTo>
                  <a:pt x="5969" y="3029"/>
                </a:lnTo>
                <a:lnTo>
                  <a:pt x="5964" y="3023"/>
                </a:lnTo>
                <a:lnTo>
                  <a:pt x="5960" y="3016"/>
                </a:lnTo>
                <a:lnTo>
                  <a:pt x="5956" y="3009"/>
                </a:lnTo>
                <a:lnTo>
                  <a:pt x="5952" y="3001"/>
                </a:lnTo>
                <a:lnTo>
                  <a:pt x="5949" y="2994"/>
                </a:lnTo>
                <a:lnTo>
                  <a:pt x="5946" y="2986"/>
                </a:lnTo>
                <a:lnTo>
                  <a:pt x="5943" y="2978"/>
                </a:lnTo>
                <a:lnTo>
                  <a:pt x="5941" y="2969"/>
                </a:lnTo>
                <a:lnTo>
                  <a:pt x="5939" y="2961"/>
                </a:lnTo>
                <a:lnTo>
                  <a:pt x="5937" y="2952"/>
                </a:lnTo>
                <a:lnTo>
                  <a:pt x="5936" y="2943"/>
                </a:lnTo>
                <a:lnTo>
                  <a:pt x="5935" y="2934"/>
                </a:lnTo>
                <a:lnTo>
                  <a:pt x="5935" y="2925"/>
                </a:lnTo>
                <a:lnTo>
                  <a:pt x="5934" y="2916"/>
                </a:lnTo>
                <a:close/>
                <a:moveTo>
                  <a:pt x="6326" y="2916"/>
                </a:moveTo>
                <a:lnTo>
                  <a:pt x="6326" y="2910"/>
                </a:lnTo>
                <a:lnTo>
                  <a:pt x="6327" y="2904"/>
                </a:lnTo>
                <a:lnTo>
                  <a:pt x="6328" y="2898"/>
                </a:lnTo>
                <a:lnTo>
                  <a:pt x="6331" y="2892"/>
                </a:lnTo>
                <a:lnTo>
                  <a:pt x="6337" y="2879"/>
                </a:lnTo>
                <a:lnTo>
                  <a:pt x="6341" y="2873"/>
                </a:lnTo>
                <a:lnTo>
                  <a:pt x="6345" y="2866"/>
                </a:lnTo>
                <a:lnTo>
                  <a:pt x="6353" y="2855"/>
                </a:lnTo>
                <a:lnTo>
                  <a:pt x="6365" y="2840"/>
                </a:lnTo>
                <a:lnTo>
                  <a:pt x="6395" y="2806"/>
                </a:lnTo>
                <a:lnTo>
                  <a:pt x="6430" y="2766"/>
                </a:lnTo>
                <a:lnTo>
                  <a:pt x="6466" y="2725"/>
                </a:lnTo>
                <a:lnTo>
                  <a:pt x="6467" y="2725"/>
                </a:lnTo>
                <a:lnTo>
                  <a:pt x="6470" y="2724"/>
                </a:lnTo>
                <a:lnTo>
                  <a:pt x="6474" y="2725"/>
                </a:lnTo>
                <a:lnTo>
                  <a:pt x="6478" y="2726"/>
                </a:lnTo>
                <a:lnTo>
                  <a:pt x="6482" y="2728"/>
                </a:lnTo>
                <a:lnTo>
                  <a:pt x="6487" y="2730"/>
                </a:lnTo>
                <a:lnTo>
                  <a:pt x="6491" y="2734"/>
                </a:lnTo>
                <a:lnTo>
                  <a:pt x="6495" y="2738"/>
                </a:lnTo>
                <a:lnTo>
                  <a:pt x="6498" y="2742"/>
                </a:lnTo>
                <a:lnTo>
                  <a:pt x="6501" y="2747"/>
                </a:lnTo>
                <a:lnTo>
                  <a:pt x="6503" y="2752"/>
                </a:lnTo>
                <a:lnTo>
                  <a:pt x="6503" y="2757"/>
                </a:lnTo>
                <a:lnTo>
                  <a:pt x="6502" y="2762"/>
                </a:lnTo>
                <a:lnTo>
                  <a:pt x="6501" y="2768"/>
                </a:lnTo>
                <a:lnTo>
                  <a:pt x="6498" y="2773"/>
                </a:lnTo>
                <a:lnTo>
                  <a:pt x="6494" y="2779"/>
                </a:lnTo>
                <a:lnTo>
                  <a:pt x="6486" y="2790"/>
                </a:lnTo>
                <a:lnTo>
                  <a:pt x="6474" y="2804"/>
                </a:lnTo>
                <a:lnTo>
                  <a:pt x="6444" y="2837"/>
                </a:lnTo>
                <a:lnTo>
                  <a:pt x="6415" y="2871"/>
                </a:lnTo>
                <a:lnTo>
                  <a:pt x="6403" y="2886"/>
                </a:lnTo>
                <a:lnTo>
                  <a:pt x="6393" y="2897"/>
                </a:lnTo>
                <a:lnTo>
                  <a:pt x="6391" y="2901"/>
                </a:lnTo>
                <a:lnTo>
                  <a:pt x="6388" y="2905"/>
                </a:lnTo>
                <a:lnTo>
                  <a:pt x="6387" y="2908"/>
                </a:lnTo>
                <a:lnTo>
                  <a:pt x="6387" y="2913"/>
                </a:lnTo>
                <a:lnTo>
                  <a:pt x="6387" y="2917"/>
                </a:lnTo>
                <a:lnTo>
                  <a:pt x="6389" y="2922"/>
                </a:lnTo>
                <a:lnTo>
                  <a:pt x="6392" y="2926"/>
                </a:lnTo>
                <a:lnTo>
                  <a:pt x="6395" y="2930"/>
                </a:lnTo>
                <a:lnTo>
                  <a:pt x="6402" y="2939"/>
                </a:lnTo>
                <a:lnTo>
                  <a:pt x="6412" y="2951"/>
                </a:lnTo>
                <a:lnTo>
                  <a:pt x="6440" y="2981"/>
                </a:lnTo>
                <a:lnTo>
                  <a:pt x="6473" y="3014"/>
                </a:lnTo>
                <a:lnTo>
                  <a:pt x="6504" y="3045"/>
                </a:lnTo>
                <a:lnTo>
                  <a:pt x="6505" y="3047"/>
                </a:lnTo>
                <a:lnTo>
                  <a:pt x="6507" y="3049"/>
                </a:lnTo>
                <a:lnTo>
                  <a:pt x="6508" y="3051"/>
                </a:lnTo>
                <a:lnTo>
                  <a:pt x="6508" y="3054"/>
                </a:lnTo>
                <a:lnTo>
                  <a:pt x="6507" y="3059"/>
                </a:lnTo>
                <a:lnTo>
                  <a:pt x="6506" y="3062"/>
                </a:lnTo>
                <a:lnTo>
                  <a:pt x="6505" y="3065"/>
                </a:lnTo>
                <a:lnTo>
                  <a:pt x="6503" y="3068"/>
                </a:lnTo>
                <a:lnTo>
                  <a:pt x="6501" y="3071"/>
                </a:lnTo>
                <a:lnTo>
                  <a:pt x="6499" y="3074"/>
                </a:lnTo>
                <a:lnTo>
                  <a:pt x="6497" y="3076"/>
                </a:lnTo>
                <a:lnTo>
                  <a:pt x="6491" y="3081"/>
                </a:lnTo>
                <a:lnTo>
                  <a:pt x="6488" y="3083"/>
                </a:lnTo>
                <a:lnTo>
                  <a:pt x="6485" y="3085"/>
                </a:lnTo>
                <a:lnTo>
                  <a:pt x="6480" y="3087"/>
                </a:lnTo>
                <a:lnTo>
                  <a:pt x="6477" y="3088"/>
                </a:lnTo>
                <a:lnTo>
                  <a:pt x="6474" y="3088"/>
                </a:lnTo>
                <a:lnTo>
                  <a:pt x="6472" y="3088"/>
                </a:lnTo>
                <a:lnTo>
                  <a:pt x="6470" y="3087"/>
                </a:lnTo>
                <a:lnTo>
                  <a:pt x="6464" y="3084"/>
                </a:lnTo>
                <a:lnTo>
                  <a:pt x="6458" y="3080"/>
                </a:lnTo>
                <a:lnTo>
                  <a:pt x="6451" y="3075"/>
                </a:lnTo>
                <a:lnTo>
                  <a:pt x="6437" y="3064"/>
                </a:lnTo>
                <a:lnTo>
                  <a:pt x="6422" y="3050"/>
                </a:lnTo>
                <a:lnTo>
                  <a:pt x="6406" y="3034"/>
                </a:lnTo>
                <a:lnTo>
                  <a:pt x="6388" y="3016"/>
                </a:lnTo>
                <a:lnTo>
                  <a:pt x="6372" y="2999"/>
                </a:lnTo>
                <a:lnTo>
                  <a:pt x="6358" y="2983"/>
                </a:lnTo>
                <a:lnTo>
                  <a:pt x="6346" y="2967"/>
                </a:lnTo>
                <a:lnTo>
                  <a:pt x="6342" y="2961"/>
                </a:lnTo>
                <a:lnTo>
                  <a:pt x="6339" y="2956"/>
                </a:lnTo>
                <a:lnTo>
                  <a:pt x="6334" y="2946"/>
                </a:lnTo>
                <a:lnTo>
                  <a:pt x="6329" y="2936"/>
                </a:lnTo>
                <a:lnTo>
                  <a:pt x="6326" y="2926"/>
                </a:lnTo>
                <a:lnTo>
                  <a:pt x="6326" y="2916"/>
                </a:lnTo>
                <a:close/>
                <a:moveTo>
                  <a:pt x="6086" y="4087"/>
                </a:moveTo>
                <a:lnTo>
                  <a:pt x="6078" y="4087"/>
                </a:lnTo>
                <a:lnTo>
                  <a:pt x="6071" y="4086"/>
                </a:lnTo>
                <a:lnTo>
                  <a:pt x="6063" y="4085"/>
                </a:lnTo>
                <a:lnTo>
                  <a:pt x="6056" y="4084"/>
                </a:lnTo>
                <a:lnTo>
                  <a:pt x="6049" y="4082"/>
                </a:lnTo>
                <a:lnTo>
                  <a:pt x="6041" y="4080"/>
                </a:lnTo>
                <a:lnTo>
                  <a:pt x="6027" y="4074"/>
                </a:lnTo>
                <a:lnTo>
                  <a:pt x="6014" y="4066"/>
                </a:lnTo>
                <a:lnTo>
                  <a:pt x="6007" y="4062"/>
                </a:lnTo>
                <a:lnTo>
                  <a:pt x="6001" y="4058"/>
                </a:lnTo>
                <a:lnTo>
                  <a:pt x="5995" y="4053"/>
                </a:lnTo>
                <a:lnTo>
                  <a:pt x="5990" y="4047"/>
                </a:lnTo>
                <a:lnTo>
                  <a:pt x="5984" y="4041"/>
                </a:lnTo>
                <a:lnTo>
                  <a:pt x="5979" y="4035"/>
                </a:lnTo>
                <a:lnTo>
                  <a:pt x="5974" y="4029"/>
                </a:lnTo>
                <a:lnTo>
                  <a:pt x="5969" y="4023"/>
                </a:lnTo>
                <a:lnTo>
                  <a:pt x="5964" y="4016"/>
                </a:lnTo>
                <a:lnTo>
                  <a:pt x="5960" y="4010"/>
                </a:lnTo>
                <a:lnTo>
                  <a:pt x="5956" y="4003"/>
                </a:lnTo>
                <a:lnTo>
                  <a:pt x="5952" y="3995"/>
                </a:lnTo>
                <a:lnTo>
                  <a:pt x="5949" y="3987"/>
                </a:lnTo>
                <a:lnTo>
                  <a:pt x="5946" y="3979"/>
                </a:lnTo>
                <a:lnTo>
                  <a:pt x="5943" y="3971"/>
                </a:lnTo>
                <a:lnTo>
                  <a:pt x="5941" y="3963"/>
                </a:lnTo>
                <a:lnTo>
                  <a:pt x="5939" y="3954"/>
                </a:lnTo>
                <a:lnTo>
                  <a:pt x="5937" y="3946"/>
                </a:lnTo>
                <a:lnTo>
                  <a:pt x="5936" y="3937"/>
                </a:lnTo>
                <a:lnTo>
                  <a:pt x="5935" y="3927"/>
                </a:lnTo>
                <a:lnTo>
                  <a:pt x="5935" y="3918"/>
                </a:lnTo>
                <a:lnTo>
                  <a:pt x="5934" y="3909"/>
                </a:lnTo>
                <a:lnTo>
                  <a:pt x="5935" y="3890"/>
                </a:lnTo>
                <a:lnTo>
                  <a:pt x="5936" y="3881"/>
                </a:lnTo>
                <a:lnTo>
                  <a:pt x="5938" y="3872"/>
                </a:lnTo>
                <a:lnTo>
                  <a:pt x="5939" y="3862"/>
                </a:lnTo>
                <a:lnTo>
                  <a:pt x="5941" y="3853"/>
                </a:lnTo>
                <a:lnTo>
                  <a:pt x="5944" y="3844"/>
                </a:lnTo>
                <a:lnTo>
                  <a:pt x="5947" y="3836"/>
                </a:lnTo>
                <a:lnTo>
                  <a:pt x="5950" y="3827"/>
                </a:lnTo>
                <a:lnTo>
                  <a:pt x="5953" y="3819"/>
                </a:lnTo>
                <a:lnTo>
                  <a:pt x="5957" y="3810"/>
                </a:lnTo>
                <a:lnTo>
                  <a:pt x="5961" y="3802"/>
                </a:lnTo>
                <a:lnTo>
                  <a:pt x="5966" y="3795"/>
                </a:lnTo>
                <a:lnTo>
                  <a:pt x="5971" y="3787"/>
                </a:lnTo>
                <a:lnTo>
                  <a:pt x="5982" y="3774"/>
                </a:lnTo>
                <a:lnTo>
                  <a:pt x="5987" y="3767"/>
                </a:lnTo>
                <a:lnTo>
                  <a:pt x="5993" y="3761"/>
                </a:lnTo>
                <a:lnTo>
                  <a:pt x="6005" y="3748"/>
                </a:lnTo>
                <a:lnTo>
                  <a:pt x="6012" y="3743"/>
                </a:lnTo>
                <a:lnTo>
                  <a:pt x="6018" y="3738"/>
                </a:lnTo>
                <a:lnTo>
                  <a:pt x="6025" y="3734"/>
                </a:lnTo>
                <a:lnTo>
                  <a:pt x="6033" y="3730"/>
                </a:lnTo>
                <a:lnTo>
                  <a:pt x="6040" y="3726"/>
                </a:lnTo>
                <a:lnTo>
                  <a:pt x="6048" y="3723"/>
                </a:lnTo>
                <a:lnTo>
                  <a:pt x="6055" y="3721"/>
                </a:lnTo>
                <a:lnTo>
                  <a:pt x="6063" y="3718"/>
                </a:lnTo>
                <a:lnTo>
                  <a:pt x="6071" y="3716"/>
                </a:lnTo>
                <a:lnTo>
                  <a:pt x="6079" y="3715"/>
                </a:lnTo>
                <a:lnTo>
                  <a:pt x="6087" y="3714"/>
                </a:lnTo>
                <a:lnTo>
                  <a:pt x="6096" y="3714"/>
                </a:lnTo>
                <a:lnTo>
                  <a:pt x="6107" y="3715"/>
                </a:lnTo>
                <a:lnTo>
                  <a:pt x="6111" y="3715"/>
                </a:lnTo>
                <a:lnTo>
                  <a:pt x="6116" y="3716"/>
                </a:lnTo>
                <a:lnTo>
                  <a:pt x="6121" y="3717"/>
                </a:lnTo>
                <a:lnTo>
                  <a:pt x="6125" y="3718"/>
                </a:lnTo>
                <a:lnTo>
                  <a:pt x="6134" y="3721"/>
                </a:lnTo>
                <a:lnTo>
                  <a:pt x="6142" y="3725"/>
                </a:lnTo>
                <a:lnTo>
                  <a:pt x="6149" y="3730"/>
                </a:lnTo>
                <a:lnTo>
                  <a:pt x="6157" y="3735"/>
                </a:lnTo>
                <a:lnTo>
                  <a:pt x="6163" y="3741"/>
                </a:lnTo>
                <a:lnTo>
                  <a:pt x="6165" y="3744"/>
                </a:lnTo>
                <a:lnTo>
                  <a:pt x="6168" y="3748"/>
                </a:lnTo>
                <a:lnTo>
                  <a:pt x="6173" y="3756"/>
                </a:lnTo>
                <a:lnTo>
                  <a:pt x="6177" y="3764"/>
                </a:lnTo>
                <a:lnTo>
                  <a:pt x="6180" y="3772"/>
                </a:lnTo>
                <a:lnTo>
                  <a:pt x="6183" y="3781"/>
                </a:lnTo>
                <a:lnTo>
                  <a:pt x="6185" y="3790"/>
                </a:lnTo>
                <a:lnTo>
                  <a:pt x="6186" y="3800"/>
                </a:lnTo>
                <a:lnTo>
                  <a:pt x="6186" y="3809"/>
                </a:lnTo>
                <a:lnTo>
                  <a:pt x="6185" y="3823"/>
                </a:lnTo>
                <a:lnTo>
                  <a:pt x="6184" y="3829"/>
                </a:lnTo>
                <a:lnTo>
                  <a:pt x="6183" y="3835"/>
                </a:lnTo>
                <a:lnTo>
                  <a:pt x="6179" y="3847"/>
                </a:lnTo>
                <a:lnTo>
                  <a:pt x="6174" y="3859"/>
                </a:lnTo>
                <a:lnTo>
                  <a:pt x="6168" y="3870"/>
                </a:lnTo>
                <a:lnTo>
                  <a:pt x="6161" y="3881"/>
                </a:lnTo>
                <a:lnTo>
                  <a:pt x="6157" y="3887"/>
                </a:lnTo>
                <a:lnTo>
                  <a:pt x="6153" y="3891"/>
                </a:lnTo>
                <a:lnTo>
                  <a:pt x="6142" y="3901"/>
                </a:lnTo>
                <a:lnTo>
                  <a:pt x="6132" y="3909"/>
                </a:lnTo>
                <a:lnTo>
                  <a:pt x="6127" y="3913"/>
                </a:lnTo>
                <a:lnTo>
                  <a:pt x="6122" y="3917"/>
                </a:lnTo>
                <a:lnTo>
                  <a:pt x="6110" y="3923"/>
                </a:lnTo>
                <a:lnTo>
                  <a:pt x="6099" y="3929"/>
                </a:lnTo>
                <a:lnTo>
                  <a:pt x="6086" y="3935"/>
                </a:lnTo>
                <a:lnTo>
                  <a:pt x="6079" y="3936"/>
                </a:lnTo>
                <a:lnTo>
                  <a:pt x="6073" y="3938"/>
                </a:lnTo>
                <a:lnTo>
                  <a:pt x="6067" y="3939"/>
                </a:lnTo>
                <a:lnTo>
                  <a:pt x="6061" y="3940"/>
                </a:lnTo>
                <a:lnTo>
                  <a:pt x="6048" y="3941"/>
                </a:lnTo>
                <a:lnTo>
                  <a:pt x="6043" y="3940"/>
                </a:lnTo>
                <a:lnTo>
                  <a:pt x="6038" y="3938"/>
                </a:lnTo>
                <a:lnTo>
                  <a:pt x="6033" y="3935"/>
                </a:lnTo>
                <a:lnTo>
                  <a:pt x="6031" y="3933"/>
                </a:lnTo>
                <a:lnTo>
                  <a:pt x="6029" y="3930"/>
                </a:lnTo>
                <a:lnTo>
                  <a:pt x="6025" y="3926"/>
                </a:lnTo>
                <a:lnTo>
                  <a:pt x="6023" y="3921"/>
                </a:lnTo>
                <a:lnTo>
                  <a:pt x="6022" y="3918"/>
                </a:lnTo>
                <a:lnTo>
                  <a:pt x="6022" y="3915"/>
                </a:lnTo>
                <a:lnTo>
                  <a:pt x="6021" y="3908"/>
                </a:lnTo>
                <a:lnTo>
                  <a:pt x="6021" y="3906"/>
                </a:lnTo>
                <a:lnTo>
                  <a:pt x="6021" y="3903"/>
                </a:lnTo>
                <a:lnTo>
                  <a:pt x="6023" y="3898"/>
                </a:lnTo>
                <a:lnTo>
                  <a:pt x="6024" y="3896"/>
                </a:lnTo>
                <a:lnTo>
                  <a:pt x="6025" y="3894"/>
                </a:lnTo>
                <a:lnTo>
                  <a:pt x="6026" y="3892"/>
                </a:lnTo>
                <a:lnTo>
                  <a:pt x="6028" y="3891"/>
                </a:lnTo>
                <a:lnTo>
                  <a:pt x="6040" y="3889"/>
                </a:lnTo>
                <a:lnTo>
                  <a:pt x="6050" y="3887"/>
                </a:lnTo>
                <a:lnTo>
                  <a:pt x="6061" y="3883"/>
                </a:lnTo>
                <a:lnTo>
                  <a:pt x="6070" y="3879"/>
                </a:lnTo>
                <a:lnTo>
                  <a:pt x="6079" y="3875"/>
                </a:lnTo>
                <a:lnTo>
                  <a:pt x="6088" y="3869"/>
                </a:lnTo>
                <a:lnTo>
                  <a:pt x="6097" y="3863"/>
                </a:lnTo>
                <a:lnTo>
                  <a:pt x="6100" y="3860"/>
                </a:lnTo>
                <a:lnTo>
                  <a:pt x="6104" y="3857"/>
                </a:lnTo>
                <a:lnTo>
                  <a:pt x="6110" y="3851"/>
                </a:lnTo>
                <a:lnTo>
                  <a:pt x="6116" y="3845"/>
                </a:lnTo>
                <a:lnTo>
                  <a:pt x="6121" y="3838"/>
                </a:lnTo>
                <a:lnTo>
                  <a:pt x="6125" y="3831"/>
                </a:lnTo>
                <a:lnTo>
                  <a:pt x="6128" y="3824"/>
                </a:lnTo>
                <a:lnTo>
                  <a:pt x="6131" y="3817"/>
                </a:lnTo>
                <a:lnTo>
                  <a:pt x="6132" y="3809"/>
                </a:lnTo>
                <a:lnTo>
                  <a:pt x="6133" y="3802"/>
                </a:lnTo>
                <a:lnTo>
                  <a:pt x="6132" y="3794"/>
                </a:lnTo>
                <a:lnTo>
                  <a:pt x="6130" y="3786"/>
                </a:lnTo>
                <a:lnTo>
                  <a:pt x="6129" y="3783"/>
                </a:lnTo>
                <a:lnTo>
                  <a:pt x="6127" y="3780"/>
                </a:lnTo>
                <a:lnTo>
                  <a:pt x="6125" y="3777"/>
                </a:lnTo>
                <a:lnTo>
                  <a:pt x="6122" y="3775"/>
                </a:lnTo>
                <a:lnTo>
                  <a:pt x="6116" y="3771"/>
                </a:lnTo>
                <a:lnTo>
                  <a:pt x="6113" y="3769"/>
                </a:lnTo>
                <a:lnTo>
                  <a:pt x="6109" y="3767"/>
                </a:lnTo>
                <a:lnTo>
                  <a:pt x="6102" y="3766"/>
                </a:lnTo>
                <a:lnTo>
                  <a:pt x="6097" y="3765"/>
                </a:lnTo>
                <a:lnTo>
                  <a:pt x="6093" y="3765"/>
                </a:lnTo>
                <a:lnTo>
                  <a:pt x="6083" y="3766"/>
                </a:lnTo>
                <a:lnTo>
                  <a:pt x="6078" y="3766"/>
                </a:lnTo>
                <a:lnTo>
                  <a:pt x="6074" y="3768"/>
                </a:lnTo>
                <a:lnTo>
                  <a:pt x="6070" y="3769"/>
                </a:lnTo>
                <a:lnTo>
                  <a:pt x="6065" y="3771"/>
                </a:lnTo>
                <a:lnTo>
                  <a:pt x="6061" y="3773"/>
                </a:lnTo>
                <a:lnTo>
                  <a:pt x="6056" y="3776"/>
                </a:lnTo>
                <a:lnTo>
                  <a:pt x="6052" y="3779"/>
                </a:lnTo>
                <a:lnTo>
                  <a:pt x="6048" y="3782"/>
                </a:lnTo>
                <a:lnTo>
                  <a:pt x="6040" y="3789"/>
                </a:lnTo>
                <a:lnTo>
                  <a:pt x="6032" y="3797"/>
                </a:lnTo>
                <a:lnTo>
                  <a:pt x="6023" y="3806"/>
                </a:lnTo>
                <a:lnTo>
                  <a:pt x="6020" y="3812"/>
                </a:lnTo>
                <a:lnTo>
                  <a:pt x="6016" y="3817"/>
                </a:lnTo>
                <a:lnTo>
                  <a:pt x="6010" y="3828"/>
                </a:lnTo>
                <a:lnTo>
                  <a:pt x="6005" y="3839"/>
                </a:lnTo>
                <a:lnTo>
                  <a:pt x="6000" y="3851"/>
                </a:lnTo>
                <a:lnTo>
                  <a:pt x="5996" y="3864"/>
                </a:lnTo>
                <a:lnTo>
                  <a:pt x="5993" y="3879"/>
                </a:lnTo>
                <a:lnTo>
                  <a:pt x="5992" y="3892"/>
                </a:lnTo>
                <a:lnTo>
                  <a:pt x="5991" y="3899"/>
                </a:lnTo>
                <a:lnTo>
                  <a:pt x="5991" y="3906"/>
                </a:lnTo>
                <a:lnTo>
                  <a:pt x="5991" y="3919"/>
                </a:lnTo>
                <a:lnTo>
                  <a:pt x="5993" y="3932"/>
                </a:lnTo>
                <a:lnTo>
                  <a:pt x="5995" y="3944"/>
                </a:lnTo>
                <a:lnTo>
                  <a:pt x="5996" y="3950"/>
                </a:lnTo>
                <a:lnTo>
                  <a:pt x="5998" y="3955"/>
                </a:lnTo>
                <a:lnTo>
                  <a:pt x="6001" y="3965"/>
                </a:lnTo>
                <a:lnTo>
                  <a:pt x="6004" y="3970"/>
                </a:lnTo>
                <a:lnTo>
                  <a:pt x="6006" y="3975"/>
                </a:lnTo>
                <a:lnTo>
                  <a:pt x="6008" y="3980"/>
                </a:lnTo>
                <a:lnTo>
                  <a:pt x="6011" y="3984"/>
                </a:lnTo>
                <a:lnTo>
                  <a:pt x="6014" y="3989"/>
                </a:lnTo>
                <a:lnTo>
                  <a:pt x="6017" y="3994"/>
                </a:lnTo>
                <a:lnTo>
                  <a:pt x="6020" y="3997"/>
                </a:lnTo>
                <a:lnTo>
                  <a:pt x="6024" y="4001"/>
                </a:lnTo>
                <a:lnTo>
                  <a:pt x="6032" y="4008"/>
                </a:lnTo>
                <a:lnTo>
                  <a:pt x="6040" y="4013"/>
                </a:lnTo>
                <a:lnTo>
                  <a:pt x="6048" y="4018"/>
                </a:lnTo>
                <a:lnTo>
                  <a:pt x="6057" y="4022"/>
                </a:lnTo>
                <a:lnTo>
                  <a:pt x="6067" y="4025"/>
                </a:lnTo>
                <a:lnTo>
                  <a:pt x="6077" y="4026"/>
                </a:lnTo>
                <a:lnTo>
                  <a:pt x="6082" y="4027"/>
                </a:lnTo>
                <a:lnTo>
                  <a:pt x="6088" y="4027"/>
                </a:lnTo>
                <a:lnTo>
                  <a:pt x="6099" y="4027"/>
                </a:lnTo>
                <a:lnTo>
                  <a:pt x="6110" y="4025"/>
                </a:lnTo>
                <a:lnTo>
                  <a:pt x="6119" y="4023"/>
                </a:lnTo>
                <a:lnTo>
                  <a:pt x="6129" y="4019"/>
                </a:lnTo>
                <a:lnTo>
                  <a:pt x="6138" y="4015"/>
                </a:lnTo>
                <a:lnTo>
                  <a:pt x="6147" y="4010"/>
                </a:lnTo>
                <a:lnTo>
                  <a:pt x="6157" y="4004"/>
                </a:lnTo>
                <a:lnTo>
                  <a:pt x="6165" y="3998"/>
                </a:lnTo>
                <a:lnTo>
                  <a:pt x="6173" y="3989"/>
                </a:lnTo>
                <a:lnTo>
                  <a:pt x="6181" y="3981"/>
                </a:lnTo>
                <a:lnTo>
                  <a:pt x="6188" y="3973"/>
                </a:lnTo>
                <a:lnTo>
                  <a:pt x="6195" y="3964"/>
                </a:lnTo>
                <a:lnTo>
                  <a:pt x="6208" y="3945"/>
                </a:lnTo>
                <a:lnTo>
                  <a:pt x="6215" y="3934"/>
                </a:lnTo>
                <a:lnTo>
                  <a:pt x="6220" y="3922"/>
                </a:lnTo>
                <a:lnTo>
                  <a:pt x="6226" y="3911"/>
                </a:lnTo>
                <a:lnTo>
                  <a:pt x="6230" y="3900"/>
                </a:lnTo>
                <a:lnTo>
                  <a:pt x="6235" y="3889"/>
                </a:lnTo>
                <a:lnTo>
                  <a:pt x="6239" y="3877"/>
                </a:lnTo>
                <a:lnTo>
                  <a:pt x="6243" y="3864"/>
                </a:lnTo>
                <a:lnTo>
                  <a:pt x="6246" y="3852"/>
                </a:lnTo>
                <a:lnTo>
                  <a:pt x="6249" y="3840"/>
                </a:lnTo>
                <a:lnTo>
                  <a:pt x="6252" y="3828"/>
                </a:lnTo>
                <a:lnTo>
                  <a:pt x="6254" y="3816"/>
                </a:lnTo>
                <a:lnTo>
                  <a:pt x="6256" y="3803"/>
                </a:lnTo>
                <a:lnTo>
                  <a:pt x="6257" y="3791"/>
                </a:lnTo>
                <a:lnTo>
                  <a:pt x="6258" y="3780"/>
                </a:lnTo>
                <a:lnTo>
                  <a:pt x="6259" y="3768"/>
                </a:lnTo>
                <a:lnTo>
                  <a:pt x="6259" y="3757"/>
                </a:lnTo>
                <a:lnTo>
                  <a:pt x="6259" y="3746"/>
                </a:lnTo>
                <a:lnTo>
                  <a:pt x="6259" y="3735"/>
                </a:lnTo>
                <a:lnTo>
                  <a:pt x="6260" y="3733"/>
                </a:lnTo>
                <a:lnTo>
                  <a:pt x="6261" y="3731"/>
                </a:lnTo>
                <a:lnTo>
                  <a:pt x="6264" y="3729"/>
                </a:lnTo>
                <a:lnTo>
                  <a:pt x="6266" y="3727"/>
                </a:lnTo>
                <a:lnTo>
                  <a:pt x="6274" y="3724"/>
                </a:lnTo>
                <a:lnTo>
                  <a:pt x="6278" y="3723"/>
                </a:lnTo>
                <a:lnTo>
                  <a:pt x="6282" y="3723"/>
                </a:lnTo>
                <a:lnTo>
                  <a:pt x="6289" y="3724"/>
                </a:lnTo>
                <a:lnTo>
                  <a:pt x="6293" y="3724"/>
                </a:lnTo>
                <a:lnTo>
                  <a:pt x="6296" y="3725"/>
                </a:lnTo>
                <a:lnTo>
                  <a:pt x="6302" y="3728"/>
                </a:lnTo>
                <a:lnTo>
                  <a:pt x="6304" y="3730"/>
                </a:lnTo>
                <a:lnTo>
                  <a:pt x="6307" y="3732"/>
                </a:lnTo>
                <a:lnTo>
                  <a:pt x="6311" y="3738"/>
                </a:lnTo>
                <a:lnTo>
                  <a:pt x="6312" y="3741"/>
                </a:lnTo>
                <a:lnTo>
                  <a:pt x="6314" y="3745"/>
                </a:lnTo>
                <a:lnTo>
                  <a:pt x="6315" y="3750"/>
                </a:lnTo>
                <a:lnTo>
                  <a:pt x="6315" y="3756"/>
                </a:lnTo>
                <a:lnTo>
                  <a:pt x="6316" y="3761"/>
                </a:lnTo>
                <a:lnTo>
                  <a:pt x="6316" y="3767"/>
                </a:lnTo>
                <a:lnTo>
                  <a:pt x="6316" y="3782"/>
                </a:lnTo>
                <a:lnTo>
                  <a:pt x="6315" y="3798"/>
                </a:lnTo>
                <a:lnTo>
                  <a:pt x="6313" y="3814"/>
                </a:lnTo>
                <a:lnTo>
                  <a:pt x="6311" y="3829"/>
                </a:lnTo>
                <a:lnTo>
                  <a:pt x="6308" y="3844"/>
                </a:lnTo>
                <a:lnTo>
                  <a:pt x="6305" y="3859"/>
                </a:lnTo>
                <a:lnTo>
                  <a:pt x="6302" y="3874"/>
                </a:lnTo>
                <a:lnTo>
                  <a:pt x="6298" y="3888"/>
                </a:lnTo>
                <a:lnTo>
                  <a:pt x="6294" y="3902"/>
                </a:lnTo>
                <a:lnTo>
                  <a:pt x="6289" y="3916"/>
                </a:lnTo>
                <a:lnTo>
                  <a:pt x="6284" y="3929"/>
                </a:lnTo>
                <a:lnTo>
                  <a:pt x="6278" y="3943"/>
                </a:lnTo>
                <a:lnTo>
                  <a:pt x="6272" y="3955"/>
                </a:lnTo>
                <a:lnTo>
                  <a:pt x="6264" y="3967"/>
                </a:lnTo>
                <a:lnTo>
                  <a:pt x="6257" y="3979"/>
                </a:lnTo>
                <a:lnTo>
                  <a:pt x="6250" y="3990"/>
                </a:lnTo>
                <a:lnTo>
                  <a:pt x="6242" y="4002"/>
                </a:lnTo>
                <a:lnTo>
                  <a:pt x="6234" y="4012"/>
                </a:lnTo>
                <a:lnTo>
                  <a:pt x="6226" y="4021"/>
                </a:lnTo>
                <a:lnTo>
                  <a:pt x="6217" y="4030"/>
                </a:lnTo>
                <a:lnTo>
                  <a:pt x="6207" y="4039"/>
                </a:lnTo>
                <a:lnTo>
                  <a:pt x="6198" y="4047"/>
                </a:lnTo>
                <a:lnTo>
                  <a:pt x="6188" y="4055"/>
                </a:lnTo>
                <a:lnTo>
                  <a:pt x="6178" y="4061"/>
                </a:lnTo>
                <a:lnTo>
                  <a:pt x="6168" y="4067"/>
                </a:lnTo>
                <a:lnTo>
                  <a:pt x="6157" y="4072"/>
                </a:lnTo>
                <a:lnTo>
                  <a:pt x="6145" y="4077"/>
                </a:lnTo>
                <a:lnTo>
                  <a:pt x="6134" y="4081"/>
                </a:lnTo>
                <a:lnTo>
                  <a:pt x="6123" y="4084"/>
                </a:lnTo>
                <a:lnTo>
                  <a:pt x="6111" y="4086"/>
                </a:lnTo>
                <a:lnTo>
                  <a:pt x="6099" y="4087"/>
                </a:lnTo>
                <a:lnTo>
                  <a:pt x="6086" y="4087"/>
                </a:lnTo>
                <a:close/>
                <a:moveTo>
                  <a:pt x="6474" y="4082"/>
                </a:moveTo>
                <a:lnTo>
                  <a:pt x="6472" y="4081"/>
                </a:lnTo>
                <a:lnTo>
                  <a:pt x="6470" y="4081"/>
                </a:lnTo>
                <a:lnTo>
                  <a:pt x="6464" y="4078"/>
                </a:lnTo>
                <a:lnTo>
                  <a:pt x="6458" y="4074"/>
                </a:lnTo>
                <a:lnTo>
                  <a:pt x="6451" y="4068"/>
                </a:lnTo>
                <a:lnTo>
                  <a:pt x="6437" y="4057"/>
                </a:lnTo>
                <a:lnTo>
                  <a:pt x="6422" y="4042"/>
                </a:lnTo>
                <a:lnTo>
                  <a:pt x="6406" y="4027"/>
                </a:lnTo>
                <a:lnTo>
                  <a:pt x="6388" y="4010"/>
                </a:lnTo>
                <a:lnTo>
                  <a:pt x="6372" y="3993"/>
                </a:lnTo>
                <a:lnTo>
                  <a:pt x="6358" y="3975"/>
                </a:lnTo>
                <a:lnTo>
                  <a:pt x="6346" y="3961"/>
                </a:lnTo>
                <a:lnTo>
                  <a:pt x="6342" y="3955"/>
                </a:lnTo>
                <a:lnTo>
                  <a:pt x="6339" y="3950"/>
                </a:lnTo>
                <a:lnTo>
                  <a:pt x="6334" y="3939"/>
                </a:lnTo>
                <a:lnTo>
                  <a:pt x="6329" y="3929"/>
                </a:lnTo>
                <a:lnTo>
                  <a:pt x="6326" y="3919"/>
                </a:lnTo>
                <a:lnTo>
                  <a:pt x="6326" y="3909"/>
                </a:lnTo>
                <a:lnTo>
                  <a:pt x="6326" y="3903"/>
                </a:lnTo>
                <a:lnTo>
                  <a:pt x="6327" y="3898"/>
                </a:lnTo>
                <a:lnTo>
                  <a:pt x="6328" y="3892"/>
                </a:lnTo>
                <a:lnTo>
                  <a:pt x="6331" y="3886"/>
                </a:lnTo>
                <a:lnTo>
                  <a:pt x="6334" y="3880"/>
                </a:lnTo>
                <a:lnTo>
                  <a:pt x="6337" y="3873"/>
                </a:lnTo>
                <a:lnTo>
                  <a:pt x="6341" y="3866"/>
                </a:lnTo>
                <a:lnTo>
                  <a:pt x="6345" y="3859"/>
                </a:lnTo>
                <a:lnTo>
                  <a:pt x="6353" y="3848"/>
                </a:lnTo>
                <a:lnTo>
                  <a:pt x="6365" y="3834"/>
                </a:lnTo>
                <a:lnTo>
                  <a:pt x="6395" y="3800"/>
                </a:lnTo>
                <a:lnTo>
                  <a:pt x="6430" y="3761"/>
                </a:lnTo>
                <a:lnTo>
                  <a:pt x="6466" y="3719"/>
                </a:lnTo>
                <a:lnTo>
                  <a:pt x="6467" y="3719"/>
                </a:lnTo>
                <a:lnTo>
                  <a:pt x="6470" y="3719"/>
                </a:lnTo>
                <a:lnTo>
                  <a:pt x="6474" y="3719"/>
                </a:lnTo>
                <a:lnTo>
                  <a:pt x="6478" y="3720"/>
                </a:lnTo>
                <a:lnTo>
                  <a:pt x="6482" y="3722"/>
                </a:lnTo>
                <a:lnTo>
                  <a:pt x="6487" y="3724"/>
                </a:lnTo>
                <a:lnTo>
                  <a:pt x="6491" y="3728"/>
                </a:lnTo>
                <a:lnTo>
                  <a:pt x="6495" y="3731"/>
                </a:lnTo>
                <a:lnTo>
                  <a:pt x="6498" y="3735"/>
                </a:lnTo>
                <a:lnTo>
                  <a:pt x="6501" y="3740"/>
                </a:lnTo>
                <a:lnTo>
                  <a:pt x="6503" y="3745"/>
                </a:lnTo>
                <a:lnTo>
                  <a:pt x="6503" y="3750"/>
                </a:lnTo>
                <a:lnTo>
                  <a:pt x="6502" y="3756"/>
                </a:lnTo>
                <a:lnTo>
                  <a:pt x="6501" y="3762"/>
                </a:lnTo>
                <a:lnTo>
                  <a:pt x="6498" y="3767"/>
                </a:lnTo>
                <a:lnTo>
                  <a:pt x="6494" y="3773"/>
                </a:lnTo>
                <a:lnTo>
                  <a:pt x="6486" y="3783"/>
                </a:lnTo>
                <a:lnTo>
                  <a:pt x="6474" y="3797"/>
                </a:lnTo>
                <a:lnTo>
                  <a:pt x="6444" y="3831"/>
                </a:lnTo>
                <a:lnTo>
                  <a:pt x="6415" y="3864"/>
                </a:lnTo>
                <a:lnTo>
                  <a:pt x="6403" y="3880"/>
                </a:lnTo>
                <a:lnTo>
                  <a:pt x="6393" y="3891"/>
                </a:lnTo>
                <a:lnTo>
                  <a:pt x="6391" y="3895"/>
                </a:lnTo>
                <a:lnTo>
                  <a:pt x="6388" y="3899"/>
                </a:lnTo>
                <a:lnTo>
                  <a:pt x="6387" y="3902"/>
                </a:lnTo>
                <a:lnTo>
                  <a:pt x="6387" y="3906"/>
                </a:lnTo>
                <a:lnTo>
                  <a:pt x="6387" y="3910"/>
                </a:lnTo>
                <a:lnTo>
                  <a:pt x="6388" y="3915"/>
                </a:lnTo>
                <a:lnTo>
                  <a:pt x="6392" y="3919"/>
                </a:lnTo>
                <a:lnTo>
                  <a:pt x="6395" y="3924"/>
                </a:lnTo>
                <a:lnTo>
                  <a:pt x="6402" y="3934"/>
                </a:lnTo>
                <a:lnTo>
                  <a:pt x="6412" y="3945"/>
                </a:lnTo>
                <a:lnTo>
                  <a:pt x="6440" y="3975"/>
                </a:lnTo>
                <a:lnTo>
                  <a:pt x="6473" y="4008"/>
                </a:lnTo>
                <a:lnTo>
                  <a:pt x="6504" y="4038"/>
                </a:lnTo>
                <a:lnTo>
                  <a:pt x="6505" y="4040"/>
                </a:lnTo>
                <a:lnTo>
                  <a:pt x="6507" y="4042"/>
                </a:lnTo>
                <a:lnTo>
                  <a:pt x="6508" y="4044"/>
                </a:lnTo>
                <a:lnTo>
                  <a:pt x="6508" y="4047"/>
                </a:lnTo>
                <a:lnTo>
                  <a:pt x="6507" y="4053"/>
                </a:lnTo>
                <a:lnTo>
                  <a:pt x="6506" y="4056"/>
                </a:lnTo>
                <a:lnTo>
                  <a:pt x="6505" y="4059"/>
                </a:lnTo>
                <a:lnTo>
                  <a:pt x="6501" y="4065"/>
                </a:lnTo>
                <a:lnTo>
                  <a:pt x="6499" y="4067"/>
                </a:lnTo>
                <a:lnTo>
                  <a:pt x="6497" y="4070"/>
                </a:lnTo>
                <a:lnTo>
                  <a:pt x="6491" y="4075"/>
                </a:lnTo>
                <a:lnTo>
                  <a:pt x="6488" y="4077"/>
                </a:lnTo>
                <a:lnTo>
                  <a:pt x="6485" y="4078"/>
                </a:lnTo>
                <a:lnTo>
                  <a:pt x="6480" y="4081"/>
                </a:lnTo>
                <a:lnTo>
                  <a:pt x="6477" y="4081"/>
                </a:lnTo>
                <a:lnTo>
                  <a:pt x="6474" y="4082"/>
                </a:lnTo>
                <a:close/>
                <a:moveTo>
                  <a:pt x="6856" y="4087"/>
                </a:moveTo>
                <a:lnTo>
                  <a:pt x="6848" y="4087"/>
                </a:lnTo>
                <a:lnTo>
                  <a:pt x="6841" y="4086"/>
                </a:lnTo>
                <a:lnTo>
                  <a:pt x="6833" y="4085"/>
                </a:lnTo>
                <a:lnTo>
                  <a:pt x="6826" y="4084"/>
                </a:lnTo>
                <a:lnTo>
                  <a:pt x="6819" y="4082"/>
                </a:lnTo>
                <a:lnTo>
                  <a:pt x="6812" y="4080"/>
                </a:lnTo>
                <a:lnTo>
                  <a:pt x="6797" y="4074"/>
                </a:lnTo>
                <a:lnTo>
                  <a:pt x="6784" y="4066"/>
                </a:lnTo>
                <a:lnTo>
                  <a:pt x="6778" y="4062"/>
                </a:lnTo>
                <a:lnTo>
                  <a:pt x="6772" y="4058"/>
                </a:lnTo>
                <a:lnTo>
                  <a:pt x="6766" y="4053"/>
                </a:lnTo>
                <a:lnTo>
                  <a:pt x="6760" y="4047"/>
                </a:lnTo>
                <a:lnTo>
                  <a:pt x="6755" y="4041"/>
                </a:lnTo>
                <a:lnTo>
                  <a:pt x="6748" y="4035"/>
                </a:lnTo>
                <a:lnTo>
                  <a:pt x="6743" y="4029"/>
                </a:lnTo>
                <a:lnTo>
                  <a:pt x="6739" y="4023"/>
                </a:lnTo>
                <a:lnTo>
                  <a:pt x="6734" y="4016"/>
                </a:lnTo>
                <a:lnTo>
                  <a:pt x="6730" y="4010"/>
                </a:lnTo>
                <a:lnTo>
                  <a:pt x="6726" y="4003"/>
                </a:lnTo>
                <a:lnTo>
                  <a:pt x="6723" y="3995"/>
                </a:lnTo>
                <a:lnTo>
                  <a:pt x="6719" y="3987"/>
                </a:lnTo>
                <a:lnTo>
                  <a:pt x="6716" y="3979"/>
                </a:lnTo>
                <a:lnTo>
                  <a:pt x="6714" y="3971"/>
                </a:lnTo>
                <a:lnTo>
                  <a:pt x="6711" y="3963"/>
                </a:lnTo>
                <a:lnTo>
                  <a:pt x="6709" y="3954"/>
                </a:lnTo>
                <a:lnTo>
                  <a:pt x="6708" y="3946"/>
                </a:lnTo>
                <a:lnTo>
                  <a:pt x="6706" y="3937"/>
                </a:lnTo>
                <a:lnTo>
                  <a:pt x="6705" y="3927"/>
                </a:lnTo>
                <a:lnTo>
                  <a:pt x="6705" y="3918"/>
                </a:lnTo>
                <a:lnTo>
                  <a:pt x="6705" y="3909"/>
                </a:lnTo>
                <a:lnTo>
                  <a:pt x="6705" y="3890"/>
                </a:lnTo>
                <a:lnTo>
                  <a:pt x="6706" y="3881"/>
                </a:lnTo>
                <a:lnTo>
                  <a:pt x="6708" y="3872"/>
                </a:lnTo>
                <a:lnTo>
                  <a:pt x="6710" y="3862"/>
                </a:lnTo>
                <a:lnTo>
                  <a:pt x="6712" y="3853"/>
                </a:lnTo>
                <a:lnTo>
                  <a:pt x="6714" y="3844"/>
                </a:lnTo>
                <a:lnTo>
                  <a:pt x="6717" y="3836"/>
                </a:lnTo>
                <a:lnTo>
                  <a:pt x="6720" y="3827"/>
                </a:lnTo>
                <a:lnTo>
                  <a:pt x="6724" y="3819"/>
                </a:lnTo>
                <a:lnTo>
                  <a:pt x="6727" y="3810"/>
                </a:lnTo>
                <a:lnTo>
                  <a:pt x="6731" y="3802"/>
                </a:lnTo>
                <a:lnTo>
                  <a:pt x="6736" y="3795"/>
                </a:lnTo>
                <a:lnTo>
                  <a:pt x="6741" y="3787"/>
                </a:lnTo>
                <a:lnTo>
                  <a:pt x="6752" y="3774"/>
                </a:lnTo>
                <a:lnTo>
                  <a:pt x="6757" y="3767"/>
                </a:lnTo>
                <a:lnTo>
                  <a:pt x="6763" y="3761"/>
                </a:lnTo>
                <a:lnTo>
                  <a:pt x="6775" y="3748"/>
                </a:lnTo>
                <a:lnTo>
                  <a:pt x="6782" y="3743"/>
                </a:lnTo>
                <a:lnTo>
                  <a:pt x="6788" y="3738"/>
                </a:lnTo>
                <a:lnTo>
                  <a:pt x="6795" y="3734"/>
                </a:lnTo>
                <a:lnTo>
                  <a:pt x="6802" y="3730"/>
                </a:lnTo>
                <a:lnTo>
                  <a:pt x="6811" y="3726"/>
                </a:lnTo>
                <a:lnTo>
                  <a:pt x="6818" y="3723"/>
                </a:lnTo>
                <a:lnTo>
                  <a:pt x="6826" y="3721"/>
                </a:lnTo>
                <a:lnTo>
                  <a:pt x="6833" y="3718"/>
                </a:lnTo>
                <a:lnTo>
                  <a:pt x="6841" y="3716"/>
                </a:lnTo>
                <a:lnTo>
                  <a:pt x="6849" y="3715"/>
                </a:lnTo>
                <a:lnTo>
                  <a:pt x="6857" y="3714"/>
                </a:lnTo>
                <a:lnTo>
                  <a:pt x="6866" y="3714"/>
                </a:lnTo>
                <a:lnTo>
                  <a:pt x="6877" y="3715"/>
                </a:lnTo>
                <a:lnTo>
                  <a:pt x="6882" y="3715"/>
                </a:lnTo>
                <a:lnTo>
                  <a:pt x="6886" y="3716"/>
                </a:lnTo>
                <a:lnTo>
                  <a:pt x="6891" y="3717"/>
                </a:lnTo>
                <a:lnTo>
                  <a:pt x="6895" y="3718"/>
                </a:lnTo>
                <a:lnTo>
                  <a:pt x="6904" y="3721"/>
                </a:lnTo>
                <a:lnTo>
                  <a:pt x="6912" y="3725"/>
                </a:lnTo>
                <a:lnTo>
                  <a:pt x="6919" y="3730"/>
                </a:lnTo>
                <a:lnTo>
                  <a:pt x="6926" y="3735"/>
                </a:lnTo>
                <a:lnTo>
                  <a:pt x="6933" y="3741"/>
                </a:lnTo>
                <a:lnTo>
                  <a:pt x="6936" y="3744"/>
                </a:lnTo>
                <a:lnTo>
                  <a:pt x="6938" y="3748"/>
                </a:lnTo>
                <a:lnTo>
                  <a:pt x="6943" y="3756"/>
                </a:lnTo>
                <a:lnTo>
                  <a:pt x="6947" y="3764"/>
                </a:lnTo>
                <a:lnTo>
                  <a:pt x="6950" y="3772"/>
                </a:lnTo>
                <a:lnTo>
                  <a:pt x="6953" y="3781"/>
                </a:lnTo>
                <a:lnTo>
                  <a:pt x="6955" y="3790"/>
                </a:lnTo>
                <a:lnTo>
                  <a:pt x="6956" y="3800"/>
                </a:lnTo>
                <a:lnTo>
                  <a:pt x="6956" y="3809"/>
                </a:lnTo>
                <a:lnTo>
                  <a:pt x="6956" y="3823"/>
                </a:lnTo>
                <a:lnTo>
                  <a:pt x="6955" y="3829"/>
                </a:lnTo>
                <a:lnTo>
                  <a:pt x="6953" y="3835"/>
                </a:lnTo>
                <a:lnTo>
                  <a:pt x="6950" y="3847"/>
                </a:lnTo>
                <a:lnTo>
                  <a:pt x="6945" y="3859"/>
                </a:lnTo>
                <a:lnTo>
                  <a:pt x="6938" y="3870"/>
                </a:lnTo>
                <a:lnTo>
                  <a:pt x="6931" y="3881"/>
                </a:lnTo>
                <a:lnTo>
                  <a:pt x="6926" y="3887"/>
                </a:lnTo>
                <a:lnTo>
                  <a:pt x="6922" y="3891"/>
                </a:lnTo>
                <a:lnTo>
                  <a:pt x="6913" y="3901"/>
                </a:lnTo>
                <a:lnTo>
                  <a:pt x="6903" y="3909"/>
                </a:lnTo>
                <a:lnTo>
                  <a:pt x="6897" y="3913"/>
                </a:lnTo>
                <a:lnTo>
                  <a:pt x="6892" y="3917"/>
                </a:lnTo>
                <a:lnTo>
                  <a:pt x="6881" y="3923"/>
                </a:lnTo>
                <a:lnTo>
                  <a:pt x="6868" y="3929"/>
                </a:lnTo>
                <a:lnTo>
                  <a:pt x="6856" y="3935"/>
                </a:lnTo>
                <a:lnTo>
                  <a:pt x="6850" y="3936"/>
                </a:lnTo>
                <a:lnTo>
                  <a:pt x="6843" y="3938"/>
                </a:lnTo>
                <a:lnTo>
                  <a:pt x="6837" y="3939"/>
                </a:lnTo>
                <a:lnTo>
                  <a:pt x="6831" y="3940"/>
                </a:lnTo>
                <a:lnTo>
                  <a:pt x="6818" y="3941"/>
                </a:lnTo>
                <a:lnTo>
                  <a:pt x="6813" y="3940"/>
                </a:lnTo>
                <a:lnTo>
                  <a:pt x="6807" y="3938"/>
                </a:lnTo>
                <a:lnTo>
                  <a:pt x="6803" y="3935"/>
                </a:lnTo>
                <a:lnTo>
                  <a:pt x="6801" y="3933"/>
                </a:lnTo>
                <a:lnTo>
                  <a:pt x="6799" y="3930"/>
                </a:lnTo>
                <a:lnTo>
                  <a:pt x="6796" y="3926"/>
                </a:lnTo>
                <a:lnTo>
                  <a:pt x="6793" y="3921"/>
                </a:lnTo>
                <a:lnTo>
                  <a:pt x="6792" y="3918"/>
                </a:lnTo>
                <a:lnTo>
                  <a:pt x="6792" y="3915"/>
                </a:lnTo>
                <a:lnTo>
                  <a:pt x="6791" y="3908"/>
                </a:lnTo>
                <a:lnTo>
                  <a:pt x="6791" y="3906"/>
                </a:lnTo>
                <a:lnTo>
                  <a:pt x="6792" y="3903"/>
                </a:lnTo>
                <a:lnTo>
                  <a:pt x="6793" y="3898"/>
                </a:lnTo>
                <a:lnTo>
                  <a:pt x="6794" y="3896"/>
                </a:lnTo>
                <a:lnTo>
                  <a:pt x="6795" y="3894"/>
                </a:lnTo>
                <a:lnTo>
                  <a:pt x="6796" y="3892"/>
                </a:lnTo>
                <a:lnTo>
                  <a:pt x="6798" y="3891"/>
                </a:lnTo>
                <a:lnTo>
                  <a:pt x="6809" y="3889"/>
                </a:lnTo>
                <a:lnTo>
                  <a:pt x="6821" y="3887"/>
                </a:lnTo>
                <a:lnTo>
                  <a:pt x="6831" y="3883"/>
                </a:lnTo>
                <a:lnTo>
                  <a:pt x="6840" y="3879"/>
                </a:lnTo>
                <a:lnTo>
                  <a:pt x="6849" y="3875"/>
                </a:lnTo>
                <a:lnTo>
                  <a:pt x="6858" y="3869"/>
                </a:lnTo>
                <a:lnTo>
                  <a:pt x="6866" y="3863"/>
                </a:lnTo>
                <a:lnTo>
                  <a:pt x="6869" y="3860"/>
                </a:lnTo>
                <a:lnTo>
                  <a:pt x="6874" y="3857"/>
                </a:lnTo>
                <a:lnTo>
                  <a:pt x="6880" y="3851"/>
                </a:lnTo>
                <a:lnTo>
                  <a:pt x="6886" y="3845"/>
                </a:lnTo>
                <a:lnTo>
                  <a:pt x="6891" y="3838"/>
                </a:lnTo>
                <a:lnTo>
                  <a:pt x="6895" y="3831"/>
                </a:lnTo>
                <a:lnTo>
                  <a:pt x="6899" y="3824"/>
                </a:lnTo>
                <a:lnTo>
                  <a:pt x="6901" y="3817"/>
                </a:lnTo>
                <a:lnTo>
                  <a:pt x="6903" y="3809"/>
                </a:lnTo>
                <a:lnTo>
                  <a:pt x="6903" y="3802"/>
                </a:lnTo>
                <a:lnTo>
                  <a:pt x="6902" y="3794"/>
                </a:lnTo>
                <a:lnTo>
                  <a:pt x="6900" y="3786"/>
                </a:lnTo>
                <a:lnTo>
                  <a:pt x="6899" y="3783"/>
                </a:lnTo>
                <a:lnTo>
                  <a:pt x="6897" y="3780"/>
                </a:lnTo>
                <a:lnTo>
                  <a:pt x="6895" y="3777"/>
                </a:lnTo>
                <a:lnTo>
                  <a:pt x="6892" y="3775"/>
                </a:lnTo>
                <a:lnTo>
                  <a:pt x="6887" y="3771"/>
                </a:lnTo>
                <a:lnTo>
                  <a:pt x="6883" y="3769"/>
                </a:lnTo>
                <a:lnTo>
                  <a:pt x="6880" y="3767"/>
                </a:lnTo>
                <a:lnTo>
                  <a:pt x="6872" y="3766"/>
                </a:lnTo>
                <a:lnTo>
                  <a:pt x="6866" y="3765"/>
                </a:lnTo>
                <a:lnTo>
                  <a:pt x="6862" y="3765"/>
                </a:lnTo>
                <a:lnTo>
                  <a:pt x="6853" y="3766"/>
                </a:lnTo>
                <a:lnTo>
                  <a:pt x="6849" y="3766"/>
                </a:lnTo>
                <a:lnTo>
                  <a:pt x="6844" y="3768"/>
                </a:lnTo>
                <a:lnTo>
                  <a:pt x="6840" y="3769"/>
                </a:lnTo>
                <a:lnTo>
                  <a:pt x="6835" y="3771"/>
                </a:lnTo>
                <a:lnTo>
                  <a:pt x="6831" y="3773"/>
                </a:lnTo>
                <a:lnTo>
                  <a:pt x="6827" y="3776"/>
                </a:lnTo>
                <a:lnTo>
                  <a:pt x="6822" y="3779"/>
                </a:lnTo>
                <a:lnTo>
                  <a:pt x="6818" y="3782"/>
                </a:lnTo>
                <a:lnTo>
                  <a:pt x="6809" y="3789"/>
                </a:lnTo>
                <a:lnTo>
                  <a:pt x="6801" y="3797"/>
                </a:lnTo>
                <a:lnTo>
                  <a:pt x="6794" y="3806"/>
                </a:lnTo>
                <a:lnTo>
                  <a:pt x="6790" y="3812"/>
                </a:lnTo>
                <a:lnTo>
                  <a:pt x="6787" y="3817"/>
                </a:lnTo>
                <a:lnTo>
                  <a:pt x="6780" y="3828"/>
                </a:lnTo>
                <a:lnTo>
                  <a:pt x="6775" y="3839"/>
                </a:lnTo>
                <a:lnTo>
                  <a:pt x="6770" y="3851"/>
                </a:lnTo>
                <a:lnTo>
                  <a:pt x="6766" y="3864"/>
                </a:lnTo>
                <a:lnTo>
                  <a:pt x="6764" y="3879"/>
                </a:lnTo>
                <a:lnTo>
                  <a:pt x="6762" y="3892"/>
                </a:lnTo>
                <a:lnTo>
                  <a:pt x="6761" y="3899"/>
                </a:lnTo>
                <a:lnTo>
                  <a:pt x="6761" y="3906"/>
                </a:lnTo>
                <a:lnTo>
                  <a:pt x="6762" y="3919"/>
                </a:lnTo>
                <a:lnTo>
                  <a:pt x="6763" y="3932"/>
                </a:lnTo>
                <a:lnTo>
                  <a:pt x="6765" y="3944"/>
                </a:lnTo>
                <a:lnTo>
                  <a:pt x="6766" y="3950"/>
                </a:lnTo>
                <a:lnTo>
                  <a:pt x="6768" y="3955"/>
                </a:lnTo>
                <a:lnTo>
                  <a:pt x="6772" y="3965"/>
                </a:lnTo>
                <a:lnTo>
                  <a:pt x="6774" y="3970"/>
                </a:lnTo>
                <a:lnTo>
                  <a:pt x="6776" y="3975"/>
                </a:lnTo>
                <a:lnTo>
                  <a:pt x="6779" y="3980"/>
                </a:lnTo>
                <a:lnTo>
                  <a:pt x="6781" y="3984"/>
                </a:lnTo>
                <a:lnTo>
                  <a:pt x="6784" y="3989"/>
                </a:lnTo>
                <a:lnTo>
                  <a:pt x="6787" y="3994"/>
                </a:lnTo>
                <a:lnTo>
                  <a:pt x="6790" y="3997"/>
                </a:lnTo>
                <a:lnTo>
                  <a:pt x="6794" y="4001"/>
                </a:lnTo>
                <a:lnTo>
                  <a:pt x="6801" y="4008"/>
                </a:lnTo>
                <a:lnTo>
                  <a:pt x="6809" y="4013"/>
                </a:lnTo>
                <a:lnTo>
                  <a:pt x="6818" y="4018"/>
                </a:lnTo>
                <a:lnTo>
                  <a:pt x="6828" y="4022"/>
                </a:lnTo>
                <a:lnTo>
                  <a:pt x="6837" y="4025"/>
                </a:lnTo>
                <a:lnTo>
                  <a:pt x="6847" y="4026"/>
                </a:lnTo>
                <a:lnTo>
                  <a:pt x="6853" y="4027"/>
                </a:lnTo>
                <a:lnTo>
                  <a:pt x="6858" y="4027"/>
                </a:lnTo>
                <a:lnTo>
                  <a:pt x="6868" y="4027"/>
                </a:lnTo>
                <a:lnTo>
                  <a:pt x="6880" y="4025"/>
                </a:lnTo>
                <a:lnTo>
                  <a:pt x="6890" y="4023"/>
                </a:lnTo>
                <a:lnTo>
                  <a:pt x="6899" y="4019"/>
                </a:lnTo>
                <a:lnTo>
                  <a:pt x="6908" y="4015"/>
                </a:lnTo>
                <a:lnTo>
                  <a:pt x="6917" y="4010"/>
                </a:lnTo>
                <a:lnTo>
                  <a:pt x="6926" y="4004"/>
                </a:lnTo>
                <a:lnTo>
                  <a:pt x="6935" y="3998"/>
                </a:lnTo>
                <a:lnTo>
                  <a:pt x="6943" y="3989"/>
                </a:lnTo>
                <a:lnTo>
                  <a:pt x="6951" y="3981"/>
                </a:lnTo>
                <a:lnTo>
                  <a:pt x="6958" y="3973"/>
                </a:lnTo>
                <a:lnTo>
                  <a:pt x="6965" y="3964"/>
                </a:lnTo>
                <a:lnTo>
                  <a:pt x="6978" y="3945"/>
                </a:lnTo>
                <a:lnTo>
                  <a:pt x="6984" y="3934"/>
                </a:lnTo>
                <a:lnTo>
                  <a:pt x="6991" y="3922"/>
                </a:lnTo>
                <a:lnTo>
                  <a:pt x="6996" y="3911"/>
                </a:lnTo>
                <a:lnTo>
                  <a:pt x="7001" y="3900"/>
                </a:lnTo>
                <a:lnTo>
                  <a:pt x="7005" y="3889"/>
                </a:lnTo>
                <a:lnTo>
                  <a:pt x="7009" y="3877"/>
                </a:lnTo>
                <a:lnTo>
                  <a:pt x="7013" y="3864"/>
                </a:lnTo>
                <a:lnTo>
                  <a:pt x="7016" y="3852"/>
                </a:lnTo>
                <a:lnTo>
                  <a:pt x="7019" y="3840"/>
                </a:lnTo>
                <a:lnTo>
                  <a:pt x="7022" y="3828"/>
                </a:lnTo>
                <a:lnTo>
                  <a:pt x="7024" y="3816"/>
                </a:lnTo>
                <a:lnTo>
                  <a:pt x="7026" y="3803"/>
                </a:lnTo>
                <a:lnTo>
                  <a:pt x="7028" y="3791"/>
                </a:lnTo>
                <a:lnTo>
                  <a:pt x="7029" y="3780"/>
                </a:lnTo>
                <a:lnTo>
                  <a:pt x="7029" y="3768"/>
                </a:lnTo>
                <a:lnTo>
                  <a:pt x="7030" y="3757"/>
                </a:lnTo>
                <a:lnTo>
                  <a:pt x="7030" y="3746"/>
                </a:lnTo>
                <a:lnTo>
                  <a:pt x="7029" y="3735"/>
                </a:lnTo>
                <a:lnTo>
                  <a:pt x="7030" y="3733"/>
                </a:lnTo>
                <a:lnTo>
                  <a:pt x="7032" y="3731"/>
                </a:lnTo>
                <a:lnTo>
                  <a:pt x="7034" y="3729"/>
                </a:lnTo>
                <a:lnTo>
                  <a:pt x="7037" y="3727"/>
                </a:lnTo>
                <a:lnTo>
                  <a:pt x="7043" y="3724"/>
                </a:lnTo>
                <a:lnTo>
                  <a:pt x="7047" y="3723"/>
                </a:lnTo>
                <a:lnTo>
                  <a:pt x="7052" y="3723"/>
                </a:lnTo>
                <a:lnTo>
                  <a:pt x="7060" y="3724"/>
                </a:lnTo>
                <a:lnTo>
                  <a:pt x="7063" y="3724"/>
                </a:lnTo>
                <a:lnTo>
                  <a:pt x="7066" y="3725"/>
                </a:lnTo>
                <a:lnTo>
                  <a:pt x="7072" y="3728"/>
                </a:lnTo>
                <a:lnTo>
                  <a:pt x="7074" y="3730"/>
                </a:lnTo>
                <a:lnTo>
                  <a:pt x="7077" y="3732"/>
                </a:lnTo>
                <a:lnTo>
                  <a:pt x="7081" y="3738"/>
                </a:lnTo>
                <a:lnTo>
                  <a:pt x="7082" y="3741"/>
                </a:lnTo>
                <a:lnTo>
                  <a:pt x="7084" y="3745"/>
                </a:lnTo>
                <a:lnTo>
                  <a:pt x="7085" y="3750"/>
                </a:lnTo>
                <a:lnTo>
                  <a:pt x="7086" y="3756"/>
                </a:lnTo>
                <a:lnTo>
                  <a:pt x="7086" y="3761"/>
                </a:lnTo>
                <a:lnTo>
                  <a:pt x="7086" y="3767"/>
                </a:lnTo>
                <a:lnTo>
                  <a:pt x="7086" y="3782"/>
                </a:lnTo>
                <a:lnTo>
                  <a:pt x="7085" y="3798"/>
                </a:lnTo>
                <a:lnTo>
                  <a:pt x="7083" y="3814"/>
                </a:lnTo>
                <a:lnTo>
                  <a:pt x="7081" y="3829"/>
                </a:lnTo>
                <a:lnTo>
                  <a:pt x="7079" y="3844"/>
                </a:lnTo>
                <a:lnTo>
                  <a:pt x="7076" y="3859"/>
                </a:lnTo>
                <a:lnTo>
                  <a:pt x="7072" y="3874"/>
                </a:lnTo>
                <a:lnTo>
                  <a:pt x="7068" y="3888"/>
                </a:lnTo>
                <a:lnTo>
                  <a:pt x="7064" y="3902"/>
                </a:lnTo>
                <a:lnTo>
                  <a:pt x="7059" y="3916"/>
                </a:lnTo>
                <a:lnTo>
                  <a:pt x="7054" y="3929"/>
                </a:lnTo>
                <a:lnTo>
                  <a:pt x="7047" y="3943"/>
                </a:lnTo>
                <a:lnTo>
                  <a:pt x="7041" y="3955"/>
                </a:lnTo>
                <a:lnTo>
                  <a:pt x="7034" y="3967"/>
                </a:lnTo>
                <a:lnTo>
                  <a:pt x="7028" y="3979"/>
                </a:lnTo>
                <a:lnTo>
                  <a:pt x="7020" y="3990"/>
                </a:lnTo>
                <a:lnTo>
                  <a:pt x="7013" y="4002"/>
                </a:lnTo>
                <a:lnTo>
                  <a:pt x="7005" y="4012"/>
                </a:lnTo>
                <a:lnTo>
                  <a:pt x="6996" y="4021"/>
                </a:lnTo>
                <a:lnTo>
                  <a:pt x="6987" y="4030"/>
                </a:lnTo>
                <a:lnTo>
                  <a:pt x="6977" y="4039"/>
                </a:lnTo>
                <a:lnTo>
                  <a:pt x="6968" y="4047"/>
                </a:lnTo>
                <a:lnTo>
                  <a:pt x="6958" y="4055"/>
                </a:lnTo>
                <a:lnTo>
                  <a:pt x="6948" y="4061"/>
                </a:lnTo>
                <a:lnTo>
                  <a:pt x="6938" y="4067"/>
                </a:lnTo>
                <a:lnTo>
                  <a:pt x="6926" y="4072"/>
                </a:lnTo>
                <a:lnTo>
                  <a:pt x="6915" y="4077"/>
                </a:lnTo>
                <a:lnTo>
                  <a:pt x="6904" y="4081"/>
                </a:lnTo>
                <a:lnTo>
                  <a:pt x="6893" y="4084"/>
                </a:lnTo>
                <a:lnTo>
                  <a:pt x="6881" y="4086"/>
                </a:lnTo>
                <a:lnTo>
                  <a:pt x="6868" y="4087"/>
                </a:lnTo>
                <a:lnTo>
                  <a:pt x="6856" y="4087"/>
                </a:lnTo>
                <a:close/>
                <a:moveTo>
                  <a:pt x="7244" y="4082"/>
                </a:moveTo>
                <a:lnTo>
                  <a:pt x="7242" y="4081"/>
                </a:lnTo>
                <a:lnTo>
                  <a:pt x="7240" y="4081"/>
                </a:lnTo>
                <a:lnTo>
                  <a:pt x="7234" y="4078"/>
                </a:lnTo>
                <a:lnTo>
                  <a:pt x="7227" y="4074"/>
                </a:lnTo>
                <a:lnTo>
                  <a:pt x="7220" y="4068"/>
                </a:lnTo>
                <a:lnTo>
                  <a:pt x="7207" y="4057"/>
                </a:lnTo>
                <a:lnTo>
                  <a:pt x="7192" y="4042"/>
                </a:lnTo>
                <a:lnTo>
                  <a:pt x="7176" y="4027"/>
                </a:lnTo>
                <a:lnTo>
                  <a:pt x="7158" y="4010"/>
                </a:lnTo>
                <a:lnTo>
                  <a:pt x="7142" y="3993"/>
                </a:lnTo>
                <a:lnTo>
                  <a:pt x="7128" y="3975"/>
                </a:lnTo>
                <a:lnTo>
                  <a:pt x="7117" y="3961"/>
                </a:lnTo>
                <a:lnTo>
                  <a:pt x="7112" y="3955"/>
                </a:lnTo>
                <a:lnTo>
                  <a:pt x="7108" y="3950"/>
                </a:lnTo>
                <a:lnTo>
                  <a:pt x="7103" y="3939"/>
                </a:lnTo>
                <a:lnTo>
                  <a:pt x="7099" y="3929"/>
                </a:lnTo>
                <a:lnTo>
                  <a:pt x="7097" y="3919"/>
                </a:lnTo>
                <a:lnTo>
                  <a:pt x="7096" y="3909"/>
                </a:lnTo>
                <a:lnTo>
                  <a:pt x="7096" y="3903"/>
                </a:lnTo>
                <a:lnTo>
                  <a:pt x="7097" y="3898"/>
                </a:lnTo>
                <a:lnTo>
                  <a:pt x="7098" y="3892"/>
                </a:lnTo>
                <a:lnTo>
                  <a:pt x="7100" y="3886"/>
                </a:lnTo>
                <a:lnTo>
                  <a:pt x="7103" y="3880"/>
                </a:lnTo>
                <a:lnTo>
                  <a:pt x="7106" y="3873"/>
                </a:lnTo>
                <a:lnTo>
                  <a:pt x="7111" y="3866"/>
                </a:lnTo>
                <a:lnTo>
                  <a:pt x="7115" y="3859"/>
                </a:lnTo>
                <a:lnTo>
                  <a:pt x="7124" y="3848"/>
                </a:lnTo>
                <a:lnTo>
                  <a:pt x="7135" y="3834"/>
                </a:lnTo>
                <a:lnTo>
                  <a:pt x="7164" y="3800"/>
                </a:lnTo>
                <a:lnTo>
                  <a:pt x="7200" y="3761"/>
                </a:lnTo>
                <a:lnTo>
                  <a:pt x="7236" y="3719"/>
                </a:lnTo>
                <a:lnTo>
                  <a:pt x="7237" y="3719"/>
                </a:lnTo>
                <a:lnTo>
                  <a:pt x="7241" y="3719"/>
                </a:lnTo>
                <a:lnTo>
                  <a:pt x="7244" y="3719"/>
                </a:lnTo>
                <a:lnTo>
                  <a:pt x="7248" y="3720"/>
                </a:lnTo>
                <a:lnTo>
                  <a:pt x="7253" y="3722"/>
                </a:lnTo>
                <a:lnTo>
                  <a:pt x="7257" y="3724"/>
                </a:lnTo>
                <a:lnTo>
                  <a:pt x="7261" y="3728"/>
                </a:lnTo>
                <a:lnTo>
                  <a:pt x="7265" y="3731"/>
                </a:lnTo>
                <a:lnTo>
                  <a:pt x="7269" y="3735"/>
                </a:lnTo>
                <a:lnTo>
                  <a:pt x="7271" y="3740"/>
                </a:lnTo>
                <a:lnTo>
                  <a:pt x="7273" y="3745"/>
                </a:lnTo>
                <a:lnTo>
                  <a:pt x="7273" y="3750"/>
                </a:lnTo>
                <a:lnTo>
                  <a:pt x="7273" y="3756"/>
                </a:lnTo>
                <a:lnTo>
                  <a:pt x="7271" y="3762"/>
                </a:lnTo>
                <a:lnTo>
                  <a:pt x="7268" y="3767"/>
                </a:lnTo>
                <a:lnTo>
                  <a:pt x="7264" y="3773"/>
                </a:lnTo>
                <a:lnTo>
                  <a:pt x="7256" y="3783"/>
                </a:lnTo>
                <a:lnTo>
                  <a:pt x="7244" y="3797"/>
                </a:lnTo>
                <a:lnTo>
                  <a:pt x="7214" y="3831"/>
                </a:lnTo>
                <a:lnTo>
                  <a:pt x="7185" y="3864"/>
                </a:lnTo>
                <a:lnTo>
                  <a:pt x="7173" y="3880"/>
                </a:lnTo>
                <a:lnTo>
                  <a:pt x="7163" y="3891"/>
                </a:lnTo>
                <a:lnTo>
                  <a:pt x="7160" y="3895"/>
                </a:lnTo>
                <a:lnTo>
                  <a:pt x="7158" y="3899"/>
                </a:lnTo>
                <a:lnTo>
                  <a:pt x="7157" y="3902"/>
                </a:lnTo>
                <a:lnTo>
                  <a:pt x="7157" y="3906"/>
                </a:lnTo>
                <a:lnTo>
                  <a:pt x="7157" y="3910"/>
                </a:lnTo>
                <a:lnTo>
                  <a:pt x="7159" y="3915"/>
                </a:lnTo>
                <a:lnTo>
                  <a:pt x="7161" y="3919"/>
                </a:lnTo>
                <a:lnTo>
                  <a:pt x="7164" y="3924"/>
                </a:lnTo>
                <a:lnTo>
                  <a:pt x="7172" y="3934"/>
                </a:lnTo>
                <a:lnTo>
                  <a:pt x="7183" y="3945"/>
                </a:lnTo>
                <a:lnTo>
                  <a:pt x="7210" y="3975"/>
                </a:lnTo>
                <a:lnTo>
                  <a:pt x="7243" y="4008"/>
                </a:lnTo>
                <a:lnTo>
                  <a:pt x="7274" y="4038"/>
                </a:lnTo>
                <a:lnTo>
                  <a:pt x="7276" y="4040"/>
                </a:lnTo>
                <a:lnTo>
                  <a:pt x="7277" y="4042"/>
                </a:lnTo>
                <a:lnTo>
                  <a:pt x="7278" y="4044"/>
                </a:lnTo>
                <a:lnTo>
                  <a:pt x="7278" y="4047"/>
                </a:lnTo>
                <a:lnTo>
                  <a:pt x="7277" y="4053"/>
                </a:lnTo>
                <a:lnTo>
                  <a:pt x="7276" y="4056"/>
                </a:lnTo>
                <a:lnTo>
                  <a:pt x="7275" y="4059"/>
                </a:lnTo>
                <a:lnTo>
                  <a:pt x="7271" y="4065"/>
                </a:lnTo>
                <a:lnTo>
                  <a:pt x="7269" y="4067"/>
                </a:lnTo>
                <a:lnTo>
                  <a:pt x="7267" y="4070"/>
                </a:lnTo>
                <a:lnTo>
                  <a:pt x="7261" y="4075"/>
                </a:lnTo>
                <a:lnTo>
                  <a:pt x="7259" y="4077"/>
                </a:lnTo>
                <a:lnTo>
                  <a:pt x="7256" y="4078"/>
                </a:lnTo>
                <a:lnTo>
                  <a:pt x="7250" y="4081"/>
                </a:lnTo>
                <a:lnTo>
                  <a:pt x="7247" y="4081"/>
                </a:lnTo>
                <a:lnTo>
                  <a:pt x="7244" y="4082"/>
                </a:lnTo>
                <a:close/>
                <a:moveTo>
                  <a:pt x="7605" y="4087"/>
                </a:moveTo>
                <a:lnTo>
                  <a:pt x="7597" y="4087"/>
                </a:lnTo>
                <a:lnTo>
                  <a:pt x="7588" y="4086"/>
                </a:lnTo>
                <a:lnTo>
                  <a:pt x="7581" y="4085"/>
                </a:lnTo>
                <a:lnTo>
                  <a:pt x="7574" y="4084"/>
                </a:lnTo>
                <a:lnTo>
                  <a:pt x="7566" y="4082"/>
                </a:lnTo>
                <a:lnTo>
                  <a:pt x="7559" y="4080"/>
                </a:lnTo>
                <a:lnTo>
                  <a:pt x="7546" y="4074"/>
                </a:lnTo>
                <a:lnTo>
                  <a:pt x="7533" y="4066"/>
                </a:lnTo>
                <a:lnTo>
                  <a:pt x="7525" y="4062"/>
                </a:lnTo>
                <a:lnTo>
                  <a:pt x="7519" y="4058"/>
                </a:lnTo>
                <a:lnTo>
                  <a:pt x="7513" y="4053"/>
                </a:lnTo>
                <a:lnTo>
                  <a:pt x="7508" y="4047"/>
                </a:lnTo>
                <a:lnTo>
                  <a:pt x="7502" y="4041"/>
                </a:lnTo>
                <a:lnTo>
                  <a:pt x="7497" y="4035"/>
                </a:lnTo>
                <a:lnTo>
                  <a:pt x="7492" y="4029"/>
                </a:lnTo>
                <a:lnTo>
                  <a:pt x="7487" y="4023"/>
                </a:lnTo>
                <a:lnTo>
                  <a:pt x="7483" y="4016"/>
                </a:lnTo>
                <a:lnTo>
                  <a:pt x="7479" y="4010"/>
                </a:lnTo>
                <a:lnTo>
                  <a:pt x="7475" y="4003"/>
                </a:lnTo>
                <a:lnTo>
                  <a:pt x="7471" y="3995"/>
                </a:lnTo>
                <a:lnTo>
                  <a:pt x="7467" y="3987"/>
                </a:lnTo>
                <a:lnTo>
                  <a:pt x="7464" y="3979"/>
                </a:lnTo>
                <a:lnTo>
                  <a:pt x="7461" y="3971"/>
                </a:lnTo>
                <a:lnTo>
                  <a:pt x="7459" y="3963"/>
                </a:lnTo>
                <a:lnTo>
                  <a:pt x="7457" y="3954"/>
                </a:lnTo>
                <a:lnTo>
                  <a:pt x="7455" y="3946"/>
                </a:lnTo>
                <a:lnTo>
                  <a:pt x="7454" y="3937"/>
                </a:lnTo>
                <a:lnTo>
                  <a:pt x="7453" y="3927"/>
                </a:lnTo>
                <a:lnTo>
                  <a:pt x="7452" y="3918"/>
                </a:lnTo>
                <a:lnTo>
                  <a:pt x="7452" y="3909"/>
                </a:lnTo>
                <a:lnTo>
                  <a:pt x="7453" y="3890"/>
                </a:lnTo>
                <a:lnTo>
                  <a:pt x="7454" y="3881"/>
                </a:lnTo>
                <a:lnTo>
                  <a:pt x="7455" y="3872"/>
                </a:lnTo>
                <a:lnTo>
                  <a:pt x="7457" y="3862"/>
                </a:lnTo>
                <a:lnTo>
                  <a:pt x="7459" y="3853"/>
                </a:lnTo>
                <a:lnTo>
                  <a:pt x="7462" y="3844"/>
                </a:lnTo>
                <a:lnTo>
                  <a:pt x="7465" y="3836"/>
                </a:lnTo>
                <a:lnTo>
                  <a:pt x="7468" y="3827"/>
                </a:lnTo>
                <a:lnTo>
                  <a:pt x="7472" y="3819"/>
                </a:lnTo>
                <a:lnTo>
                  <a:pt x="7476" y="3810"/>
                </a:lnTo>
                <a:lnTo>
                  <a:pt x="7480" y="3802"/>
                </a:lnTo>
                <a:lnTo>
                  <a:pt x="7485" y="3795"/>
                </a:lnTo>
                <a:lnTo>
                  <a:pt x="7489" y="3787"/>
                </a:lnTo>
                <a:lnTo>
                  <a:pt x="7499" y="3774"/>
                </a:lnTo>
                <a:lnTo>
                  <a:pt x="7505" y="3767"/>
                </a:lnTo>
                <a:lnTo>
                  <a:pt x="7511" y="3761"/>
                </a:lnTo>
                <a:lnTo>
                  <a:pt x="7523" y="3748"/>
                </a:lnTo>
                <a:lnTo>
                  <a:pt x="7529" y="3743"/>
                </a:lnTo>
                <a:lnTo>
                  <a:pt x="7537" y="3738"/>
                </a:lnTo>
                <a:lnTo>
                  <a:pt x="7544" y="3734"/>
                </a:lnTo>
                <a:lnTo>
                  <a:pt x="7551" y="3730"/>
                </a:lnTo>
                <a:lnTo>
                  <a:pt x="7558" y="3726"/>
                </a:lnTo>
                <a:lnTo>
                  <a:pt x="7566" y="3723"/>
                </a:lnTo>
                <a:lnTo>
                  <a:pt x="7573" y="3721"/>
                </a:lnTo>
                <a:lnTo>
                  <a:pt x="7581" y="3718"/>
                </a:lnTo>
                <a:lnTo>
                  <a:pt x="7589" y="3716"/>
                </a:lnTo>
                <a:lnTo>
                  <a:pt x="7598" y="3715"/>
                </a:lnTo>
                <a:lnTo>
                  <a:pt x="7606" y="3714"/>
                </a:lnTo>
                <a:lnTo>
                  <a:pt x="7614" y="3714"/>
                </a:lnTo>
                <a:lnTo>
                  <a:pt x="7625" y="3715"/>
                </a:lnTo>
                <a:lnTo>
                  <a:pt x="7630" y="3715"/>
                </a:lnTo>
                <a:lnTo>
                  <a:pt x="7635" y="3716"/>
                </a:lnTo>
                <a:lnTo>
                  <a:pt x="7644" y="3718"/>
                </a:lnTo>
                <a:lnTo>
                  <a:pt x="7653" y="3722"/>
                </a:lnTo>
                <a:lnTo>
                  <a:pt x="7662" y="3726"/>
                </a:lnTo>
                <a:lnTo>
                  <a:pt x="7669" y="3731"/>
                </a:lnTo>
                <a:lnTo>
                  <a:pt x="7676" y="3736"/>
                </a:lnTo>
                <a:lnTo>
                  <a:pt x="7679" y="3739"/>
                </a:lnTo>
                <a:lnTo>
                  <a:pt x="7682" y="3743"/>
                </a:lnTo>
                <a:lnTo>
                  <a:pt x="7682" y="3877"/>
                </a:lnTo>
                <a:lnTo>
                  <a:pt x="7677" y="3884"/>
                </a:lnTo>
                <a:lnTo>
                  <a:pt x="7671" y="3890"/>
                </a:lnTo>
                <a:lnTo>
                  <a:pt x="7665" y="3897"/>
                </a:lnTo>
                <a:lnTo>
                  <a:pt x="7659" y="3902"/>
                </a:lnTo>
                <a:lnTo>
                  <a:pt x="7653" y="3908"/>
                </a:lnTo>
                <a:lnTo>
                  <a:pt x="7645" y="3913"/>
                </a:lnTo>
                <a:lnTo>
                  <a:pt x="7638" y="3918"/>
                </a:lnTo>
                <a:lnTo>
                  <a:pt x="7631" y="3922"/>
                </a:lnTo>
                <a:lnTo>
                  <a:pt x="7623" y="3926"/>
                </a:lnTo>
                <a:lnTo>
                  <a:pt x="7615" y="3930"/>
                </a:lnTo>
                <a:lnTo>
                  <a:pt x="7608" y="3934"/>
                </a:lnTo>
                <a:lnTo>
                  <a:pt x="7600" y="3936"/>
                </a:lnTo>
                <a:lnTo>
                  <a:pt x="7591" y="3938"/>
                </a:lnTo>
                <a:lnTo>
                  <a:pt x="7582" y="3939"/>
                </a:lnTo>
                <a:lnTo>
                  <a:pt x="7574" y="3940"/>
                </a:lnTo>
                <a:lnTo>
                  <a:pt x="7566" y="3941"/>
                </a:lnTo>
                <a:lnTo>
                  <a:pt x="7561" y="3940"/>
                </a:lnTo>
                <a:lnTo>
                  <a:pt x="7556" y="3938"/>
                </a:lnTo>
                <a:lnTo>
                  <a:pt x="7551" y="3935"/>
                </a:lnTo>
                <a:lnTo>
                  <a:pt x="7549" y="3933"/>
                </a:lnTo>
                <a:lnTo>
                  <a:pt x="7547" y="3930"/>
                </a:lnTo>
                <a:lnTo>
                  <a:pt x="7544" y="3926"/>
                </a:lnTo>
                <a:lnTo>
                  <a:pt x="7542" y="3921"/>
                </a:lnTo>
                <a:lnTo>
                  <a:pt x="7541" y="3918"/>
                </a:lnTo>
                <a:lnTo>
                  <a:pt x="7540" y="3915"/>
                </a:lnTo>
                <a:lnTo>
                  <a:pt x="7540" y="3908"/>
                </a:lnTo>
                <a:lnTo>
                  <a:pt x="7540" y="3906"/>
                </a:lnTo>
                <a:lnTo>
                  <a:pt x="7540" y="3903"/>
                </a:lnTo>
                <a:lnTo>
                  <a:pt x="7541" y="3898"/>
                </a:lnTo>
                <a:lnTo>
                  <a:pt x="7542" y="3896"/>
                </a:lnTo>
                <a:lnTo>
                  <a:pt x="7544" y="3894"/>
                </a:lnTo>
                <a:lnTo>
                  <a:pt x="7545" y="3892"/>
                </a:lnTo>
                <a:lnTo>
                  <a:pt x="7547" y="3891"/>
                </a:lnTo>
                <a:lnTo>
                  <a:pt x="7558" y="3889"/>
                </a:lnTo>
                <a:lnTo>
                  <a:pt x="7568" y="3887"/>
                </a:lnTo>
                <a:lnTo>
                  <a:pt x="7578" y="3883"/>
                </a:lnTo>
                <a:lnTo>
                  <a:pt x="7588" y="3879"/>
                </a:lnTo>
                <a:lnTo>
                  <a:pt x="7598" y="3875"/>
                </a:lnTo>
                <a:lnTo>
                  <a:pt x="7606" y="3869"/>
                </a:lnTo>
                <a:lnTo>
                  <a:pt x="7614" y="3863"/>
                </a:lnTo>
                <a:lnTo>
                  <a:pt x="7618" y="3860"/>
                </a:lnTo>
                <a:lnTo>
                  <a:pt x="7622" y="3857"/>
                </a:lnTo>
                <a:lnTo>
                  <a:pt x="7628" y="3851"/>
                </a:lnTo>
                <a:lnTo>
                  <a:pt x="7634" y="3845"/>
                </a:lnTo>
                <a:lnTo>
                  <a:pt x="7639" y="3838"/>
                </a:lnTo>
                <a:lnTo>
                  <a:pt x="7643" y="3831"/>
                </a:lnTo>
                <a:lnTo>
                  <a:pt x="7646" y="3824"/>
                </a:lnTo>
                <a:lnTo>
                  <a:pt x="7649" y="3817"/>
                </a:lnTo>
                <a:lnTo>
                  <a:pt x="7651" y="3809"/>
                </a:lnTo>
                <a:lnTo>
                  <a:pt x="7652" y="3802"/>
                </a:lnTo>
                <a:lnTo>
                  <a:pt x="7651" y="3794"/>
                </a:lnTo>
                <a:lnTo>
                  <a:pt x="7648" y="3786"/>
                </a:lnTo>
                <a:lnTo>
                  <a:pt x="7646" y="3783"/>
                </a:lnTo>
                <a:lnTo>
                  <a:pt x="7645" y="3780"/>
                </a:lnTo>
                <a:lnTo>
                  <a:pt x="7642" y="3777"/>
                </a:lnTo>
                <a:lnTo>
                  <a:pt x="7640" y="3775"/>
                </a:lnTo>
                <a:lnTo>
                  <a:pt x="7634" y="3771"/>
                </a:lnTo>
                <a:lnTo>
                  <a:pt x="7631" y="3769"/>
                </a:lnTo>
                <a:lnTo>
                  <a:pt x="7627" y="3767"/>
                </a:lnTo>
                <a:lnTo>
                  <a:pt x="7619" y="3766"/>
                </a:lnTo>
                <a:lnTo>
                  <a:pt x="7615" y="3765"/>
                </a:lnTo>
                <a:lnTo>
                  <a:pt x="7610" y="3765"/>
                </a:lnTo>
                <a:lnTo>
                  <a:pt x="7602" y="3766"/>
                </a:lnTo>
                <a:lnTo>
                  <a:pt x="7597" y="3766"/>
                </a:lnTo>
                <a:lnTo>
                  <a:pt x="7593" y="3768"/>
                </a:lnTo>
                <a:lnTo>
                  <a:pt x="7587" y="3769"/>
                </a:lnTo>
                <a:lnTo>
                  <a:pt x="7583" y="3771"/>
                </a:lnTo>
                <a:lnTo>
                  <a:pt x="7579" y="3773"/>
                </a:lnTo>
                <a:lnTo>
                  <a:pt x="7574" y="3776"/>
                </a:lnTo>
                <a:lnTo>
                  <a:pt x="7570" y="3779"/>
                </a:lnTo>
                <a:lnTo>
                  <a:pt x="7566" y="3782"/>
                </a:lnTo>
                <a:lnTo>
                  <a:pt x="7557" y="3789"/>
                </a:lnTo>
                <a:lnTo>
                  <a:pt x="7550" y="3797"/>
                </a:lnTo>
                <a:lnTo>
                  <a:pt x="7542" y="3806"/>
                </a:lnTo>
                <a:lnTo>
                  <a:pt x="7539" y="3812"/>
                </a:lnTo>
                <a:lnTo>
                  <a:pt x="7535" y="3817"/>
                </a:lnTo>
                <a:lnTo>
                  <a:pt x="7528" y="3828"/>
                </a:lnTo>
                <a:lnTo>
                  <a:pt x="7523" y="3839"/>
                </a:lnTo>
                <a:lnTo>
                  <a:pt x="7518" y="3851"/>
                </a:lnTo>
                <a:lnTo>
                  <a:pt x="7514" y="3864"/>
                </a:lnTo>
                <a:lnTo>
                  <a:pt x="7511" y="3879"/>
                </a:lnTo>
                <a:lnTo>
                  <a:pt x="7509" y="3892"/>
                </a:lnTo>
                <a:lnTo>
                  <a:pt x="7509" y="3899"/>
                </a:lnTo>
                <a:lnTo>
                  <a:pt x="7509" y="3906"/>
                </a:lnTo>
                <a:lnTo>
                  <a:pt x="7509" y="3919"/>
                </a:lnTo>
                <a:lnTo>
                  <a:pt x="7511" y="3932"/>
                </a:lnTo>
                <a:lnTo>
                  <a:pt x="7513" y="3944"/>
                </a:lnTo>
                <a:lnTo>
                  <a:pt x="7514" y="3950"/>
                </a:lnTo>
                <a:lnTo>
                  <a:pt x="7516" y="3955"/>
                </a:lnTo>
                <a:lnTo>
                  <a:pt x="7519" y="3965"/>
                </a:lnTo>
                <a:lnTo>
                  <a:pt x="7521" y="3970"/>
                </a:lnTo>
                <a:lnTo>
                  <a:pt x="7524" y="3975"/>
                </a:lnTo>
                <a:lnTo>
                  <a:pt x="7526" y="3980"/>
                </a:lnTo>
                <a:lnTo>
                  <a:pt x="7529" y="3984"/>
                </a:lnTo>
                <a:lnTo>
                  <a:pt x="7533" y="3989"/>
                </a:lnTo>
                <a:lnTo>
                  <a:pt x="7536" y="3994"/>
                </a:lnTo>
                <a:lnTo>
                  <a:pt x="7539" y="3997"/>
                </a:lnTo>
                <a:lnTo>
                  <a:pt x="7542" y="4001"/>
                </a:lnTo>
                <a:lnTo>
                  <a:pt x="7550" y="4008"/>
                </a:lnTo>
                <a:lnTo>
                  <a:pt x="7558" y="4013"/>
                </a:lnTo>
                <a:lnTo>
                  <a:pt x="7566" y="4018"/>
                </a:lnTo>
                <a:lnTo>
                  <a:pt x="7575" y="4022"/>
                </a:lnTo>
                <a:lnTo>
                  <a:pt x="7585" y="4025"/>
                </a:lnTo>
                <a:lnTo>
                  <a:pt x="7596" y="4026"/>
                </a:lnTo>
                <a:lnTo>
                  <a:pt x="7601" y="4027"/>
                </a:lnTo>
                <a:lnTo>
                  <a:pt x="7607" y="4027"/>
                </a:lnTo>
                <a:lnTo>
                  <a:pt x="7617" y="4027"/>
                </a:lnTo>
                <a:lnTo>
                  <a:pt x="7622" y="4026"/>
                </a:lnTo>
                <a:lnTo>
                  <a:pt x="7627" y="4025"/>
                </a:lnTo>
                <a:lnTo>
                  <a:pt x="7637" y="4023"/>
                </a:lnTo>
                <a:lnTo>
                  <a:pt x="7646" y="4019"/>
                </a:lnTo>
                <a:lnTo>
                  <a:pt x="7656" y="4015"/>
                </a:lnTo>
                <a:lnTo>
                  <a:pt x="7661" y="4013"/>
                </a:lnTo>
                <a:lnTo>
                  <a:pt x="7665" y="4011"/>
                </a:lnTo>
                <a:lnTo>
                  <a:pt x="7674" y="4005"/>
                </a:lnTo>
                <a:lnTo>
                  <a:pt x="7682" y="3999"/>
                </a:lnTo>
                <a:lnTo>
                  <a:pt x="7682" y="4069"/>
                </a:lnTo>
                <a:lnTo>
                  <a:pt x="7673" y="4073"/>
                </a:lnTo>
                <a:lnTo>
                  <a:pt x="7664" y="4077"/>
                </a:lnTo>
                <a:lnTo>
                  <a:pt x="7655" y="4080"/>
                </a:lnTo>
                <a:lnTo>
                  <a:pt x="7644" y="4083"/>
                </a:lnTo>
                <a:lnTo>
                  <a:pt x="7635" y="4085"/>
                </a:lnTo>
                <a:lnTo>
                  <a:pt x="7625" y="4086"/>
                </a:lnTo>
                <a:lnTo>
                  <a:pt x="7615" y="4087"/>
                </a:lnTo>
                <a:lnTo>
                  <a:pt x="7605" y="4087"/>
                </a:lnTo>
                <a:close/>
                <a:moveTo>
                  <a:pt x="6389" y="3591"/>
                </a:moveTo>
                <a:lnTo>
                  <a:pt x="6382" y="3591"/>
                </a:lnTo>
                <a:lnTo>
                  <a:pt x="6374" y="3590"/>
                </a:lnTo>
                <a:lnTo>
                  <a:pt x="6367" y="3589"/>
                </a:lnTo>
                <a:lnTo>
                  <a:pt x="6359" y="3587"/>
                </a:lnTo>
                <a:lnTo>
                  <a:pt x="6352" y="3585"/>
                </a:lnTo>
                <a:lnTo>
                  <a:pt x="6345" y="3583"/>
                </a:lnTo>
                <a:lnTo>
                  <a:pt x="6331" y="3577"/>
                </a:lnTo>
                <a:lnTo>
                  <a:pt x="6317" y="3569"/>
                </a:lnTo>
                <a:lnTo>
                  <a:pt x="6311" y="3565"/>
                </a:lnTo>
                <a:lnTo>
                  <a:pt x="6305" y="3560"/>
                </a:lnTo>
                <a:lnTo>
                  <a:pt x="6299" y="3555"/>
                </a:lnTo>
                <a:lnTo>
                  <a:pt x="6293" y="3550"/>
                </a:lnTo>
                <a:lnTo>
                  <a:pt x="6288" y="3545"/>
                </a:lnTo>
                <a:lnTo>
                  <a:pt x="6283" y="3539"/>
                </a:lnTo>
                <a:lnTo>
                  <a:pt x="6278" y="3533"/>
                </a:lnTo>
                <a:lnTo>
                  <a:pt x="6273" y="3527"/>
                </a:lnTo>
                <a:lnTo>
                  <a:pt x="6268" y="3520"/>
                </a:lnTo>
                <a:lnTo>
                  <a:pt x="6264" y="3513"/>
                </a:lnTo>
                <a:lnTo>
                  <a:pt x="6260" y="3505"/>
                </a:lnTo>
                <a:lnTo>
                  <a:pt x="6256" y="3498"/>
                </a:lnTo>
                <a:lnTo>
                  <a:pt x="6253" y="3490"/>
                </a:lnTo>
                <a:lnTo>
                  <a:pt x="6250" y="3482"/>
                </a:lnTo>
                <a:lnTo>
                  <a:pt x="6247" y="3474"/>
                </a:lnTo>
                <a:lnTo>
                  <a:pt x="6245" y="3466"/>
                </a:lnTo>
                <a:lnTo>
                  <a:pt x="6243" y="3458"/>
                </a:lnTo>
                <a:lnTo>
                  <a:pt x="6241" y="3448"/>
                </a:lnTo>
                <a:lnTo>
                  <a:pt x="6240" y="3439"/>
                </a:lnTo>
                <a:lnTo>
                  <a:pt x="6239" y="3431"/>
                </a:lnTo>
                <a:lnTo>
                  <a:pt x="6238" y="3422"/>
                </a:lnTo>
                <a:lnTo>
                  <a:pt x="6238" y="3412"/>
                </a:lnTo>
                <a:lnTo>
                  <a:pt x="6239" y="3394"/>
                </a:lnTo>
                <a:lnTo>
                  <a:pt x="6240" y="3384"/>
                </a:lnTo>
                <a:lnTo>
                  <a:pt x="6241" y="3374"/>
                </a:lnTo>
                <a:lnTo>
                  <a:pt x="6243" y="3365"/>
                </a:lnTo>
                <a:lnTo>
                  <a:pt x="6245" y="3357"/>
                </a:lnTo>
                <a:lnTo>
                  <a:pt x="6247" y="3348"/>
                </a:lnTo>
                <a:lnTo>
                  <a:pt x="6250" y="3339"/>
                </a:lnTo>
                <a:lnTo>
                  <a:pt x="6253" y="3330"/>
                </a:lnTo>
                <a:lnTo>
                  <a:pt x="6257" y="3322"/>
                </a:lnTo>
                <a:lnTo>
                  <a:pt x="6261" y="3314"/>
                </a:lnTo>
                <a:lnTo>
                  <a:pt x="6265" y="3306"/>
                </a:lnTo>
                <a:lnTo>
                  <a:pt x="6269" y="3298"/>
                </a:lnTo>
                <a:lnTo>
                  <a:pt x="6275" y="3291"/>
                </a:lnTo>
                <a:lnTo>
                  <a:pt x="6285" y="3277"/>
                </a:lnTo>
                <a:lnTo>
                  <a:pt x="6291" y="3269"/>
                </a:lnTo>
                <a:lnTo>
                  <a:pt x="6296" y="3263"/>
                </a:lnTo>
                <a:lnTo>
                  <a:pt x="6309" y="3252"/>
                </a:lnTo>
                <a:lnTo>
                  <a:pt x="6315" y="3247"/>
                </a:lnTo>
                <a:lnTo>
                  <a:pt x="6322" y="3242"/>
                </a:lnTo>
                <a:lnTo>
                  <a:pt x="6329" y="3237"/>
                </a:lnTo>
                <a:lnTo>
                  <a:pt x="6337" y="3233"/>
                </a:lnTo>
                <a:lnTo>
                  <a:pt x="6344" y="3230"/>
                </a:lnTo>
                <a:lnTo>
                  <a:pt x="6351" y="3227"/>
                </a:lnTo>
                <a:lnTo>
                  <a:pt x="6359" y="3224"/>
                </a:lnTo>
                <a:lnTo>
                  <a:pt x="6367" y="3222"/>
                </a:lnTo>
                <a:lnTo>
                  <a:pt x="6375" y="3220"/>
                </a:lnTo>
                <a:lnTo>
                  <a:pt x="6383" y="3219"/>
                </a:lnTo>
                <a:lnTo>
                  <a:pt x="6392" y="3218"/>
                </a:lnTo>
                <a:lnTo>
                  <a:pt x="6400" y="3218"/>
                </a:lnTo>
                <a:lnTo>
                  <a:pt x="6410" y="3218"/>
                </a:lnTo>
                <a:lnTo>
                  <a:pt x="6415" y="3219"/>
                </a:lnTo>
                <a:lnTo>
                  <a:pt x="6420" y="3219"/>
                </a:lnTo>
                <a:lnTo>
                  <a:pt x="6424" y="3220"/>
                </a:lnTo>
                <a:lnTo>
                  <a:pt x="6429" y="3222"/>
                </a:lnTo>
                <a:lnTo>
                  <a:pt x="6437" y="3225"/>
                </a:lnTo>
                <a:lnTo>
                  <a:pt x="6445" y="3229"/>
                </a:lnTo>
                <a:lnTo>
                  <a:pt x="6454" y="3233"/>
                </a:lnTo>
                <a:lnTo>
                  <a:pt x="6460" y="3239"/>
                </a:lnTo>
                <a:lnTo>
                  <a:pt x="6466" y="3245"/>
                </a:lnTo>
                <a:lnTo>
                  <a:pt x="6469" y="3248"/>
                </a:lnTo>
                <a:lnTo>
                  <a:pt x="6472" y="3251"/>
                </a:lnTo>
                <a:lnTo>
                  <a:pt x="6476" y="3258"/>
                </a:lnTo>
                <a:lnTo>
                  <a:pt x="6480" y="3266"/>
                </a:lnTo>
                <a:lnTo>
                  <a:pt x="6484" y="3276"/>
                </a:lnTo>
                <a:lnTo>
                  <a:pt x="6486" y="3284"/>
                </a:lnTo>
                <a:lnTo>
                  <a:pt x="6488" y="3293"/>
                </a:lnTo>
                <a:lnTo>
                  <a:pt x="6489" y="3303"/>
                </a:lnTo>
                <a:lnTo>
                  <a:pt x="6490" y="3313"/>
                </a:lnTo>
                <a:lnTo>
                  <a:pt x="6489" y="3325"/>
                </a:lnTo>
                <a:lnTo>
                  <a:pt x="6488" y="3333"/>
                </a:lnTo>
                <a:lnTo>
                  <a:pt x="6487" y="3339"/>
                </a:lnTo>
                <a:lnTo>
                  <a:pt x="6483" y="3351"/>
                </a:lnTo>
                <a:lnTo>
                  <a:pt x="6478" y="3362"/>
                </a:lnTo>
                <a:lnTo>
                  <a:pt x="6472" y="3373"/>
                </a:lnTo>
                <a:lnTo>
                  <a:pt x="6464" y="3384"/>
                </a:lnTo>
                <a:lnTo>
                  <a:pt x="6460" y="3389"/>
                </a:lnTo>
                <a:lnTo>
                  <a:pt x="6456" y="3395"/>
                </a:lnTo>
                <a:lnTo>
                  <a:pt x="6446" y="3404"/>
                </a:lnTo>
                <a:lnTo>
                  <a:pt x="6436" y="3413"/>
                </a:lnTo>
                <a:lnTo>
                  <a:pt x="6431" y="3416"/>
                </a:lnTo>
                <a:lnTo>
                  <a:pt x="6425" y="3420"/>
                </a:lnTo>
                <a:lnTo>
                  <a:pt x="6414" y="3427"/>
                </a:lnTo>
                <a:lnTo>
                  <a:pt x="6402" y="3432"/>
                </a:lnTo>
                <a:lnTo>
                  <a:pt x="6389" y="3437"/>
                </a:lnTo>
                <a:lnTo>
                  <a:pt x="6383" y="3439"/>
                </a:lnTo>
                <a:lnTo>
                  <a:pt x="6377" y="3440"/>
                </a:lnTo>
                <a:lnTo>
                  <a:pt x="6371" y="3441"/>
                </a:lnTo>
                <a:lnTo>
                  <a:pt x="6364" y="3442"/>
                </a:lnTo>
                <a:lnTo>
                  <a:pt x="6352" y="3443"/>
                </a:lnTo>
                <a:lnTo>
                  <a:pt x="6346" y="3442"/>
                </a:lnTo>
                <a:lnTo>
                  <a:pt x="6341" y="3441"/>
                </a:lnTo>
                <a:lnTo>
                  <a:pt x="6337" y="3438"/>
                </a:lnTo>
                <a:lnTo>
                  <a:pt x="6335" y="3436"/>
                </a:lnTo>
                <a:lnTo>
                  <a:pt x="6333" y="3434"/>
                </a:lnTo>
                <a:lnTo>
                  <a:pt x="6329" y="3429"/>
                </a:lnTo>
                <a:lnTo>
                  <a:pt x="6327" y="3424"/>
                </a:lnTo>
                <a:lnTo>
                  <a:pt x="6326" y="3421"/>
                </a:lnTo>
                <a:lnTo>
                  <a:pt x="6325" y="3418"/>
                </a:lnTo>
                <a:lnTo>
                  <a:pt x="6325" y="3412"/>
                </a:lnTo>
                <a:lnTo>
                  <a:pt x="6325" y="3409"/>
                </a:lnTo>
                <a:lnTo>
                  <a:pt x="6325" y="3406"/>
                </a:lnTo>
                <a:lnTo>
                  <a:pt x="6326" y="3401"/>
                </a:lnTo>
                <a:lnTo>
                  <a:pt x="6327" y="3399"/>
                </a:lnTo>
                <a:lnTo>
                  <a:pt x="6328" y="3397"/>
                </a:lnTo>
                <a:lnTo>
                  <a:pt x="6331" y="3396"/>
                </a:lnTo>
                <a:lnTo>
                  <a:pt x="6333" y="3395"/>
                </a:lnTo>
                <a:lnTo>
                  <a:pt x="6344" y="3393"/>
                </a:lnTo>
                <a:lnTo>
                  <a:pt x="6354" y="3389"/>
                </a:lnTo>
                <a:lnTo>
                  <a:pt x="6364" y="3386"/>
                </a:lnTo>
                <a:lnTo>
                  <a:pt x="6374" y="3382"/>
                </a:lnTo>
                <a:lnTo>
                  <a:pt x="6383" y="3377"/>
                </a:lnTo>
                <a:lnTo>
                  <a:pt x="6392" y="3372"/>
                </a:lnTo>
                <a:lnTo>
                  <a:pt x="6400" y="3367"/>
                </a:lnTo>
                <a:lnTo>
                  <a:pt x="6404" y="3364"/>
                </a:lnTo>
                <a:lnTo>
                  <a:pt x="6407" y="3361"/>
                </a:lnTo>
                <a:lnTo>
                  <a:pt x="6414" y="3354"/>
                </a:lnTo>
                <a:lnTo>
                  <a:pt x="6420" y="3348"/>
                </a:lnTo>
                <a:lnTo>
                  <a:pt x="6425" y="3341"/>
                </a:lnTo>
                <a:lnTo>
                  <a:pt x="6429" y="3334"/>
                </a:lnTo>
                <a:lnTo>
                  <a:pt x="6432" y="3326"/>
                </a:lnTo>
                <a:lnTo>
                  <a:pt x="6434" y="3319"/>
                </a:lnTo>
                <a:lnTo>
                  <a:pt x="6436" y="3312"/>
                </a:lnTo>
                <a:lnTo>
                  <a:pt x="6436" y="3305"/>
                </a:lnTo>
                <a:lnTo>
                  <a:pt x="6436" y="3297"/>
                </a:lnTo>
                <a:lnTo>
                  <a:pt x="6434" y="3290"/>
                </a:lnTo>
                <a:lnTo>
                  <a:pt x="6432" y="3286"/>
                </a:lnTo>
                <a:lnTo>
                  <a:pt x="6430" y="3283"/>
                </a:lnTo>
                <a:lnTo>
                  <a:pt x="6428" y="3281"/>
                </a:lnTo>
                <a:lnTo>
                  <a:pt x="6426" y="3278"/>
                </a:lnTo>
                <a:lnTo>
                  <a:pt x="6420" y="3274"/>
                </a:lnTo>
                <a:lnTo>
                  <a:pt x="6417" y="3272"/>
                </a:lnTo>
                <a:lnTo>
                  <a:pt x="6413" y="3270"/>
                </a:lnTo>
                <a:lnTo>
                  <a:pt x="6405" y="3268"/>
                </a:lnTo>
                <a:lnTo>
                  <a:pt x="6401" y="3267"/>
                </a:lnTo>
                <a:lnTo>
                  <a:pt x="6396" y="3267"/>
                </a:lnTo>
                <a:lnTo>
                  <a:pt x="6386" y="3268"/>
                </a:lnTo>
                <a:lnTo>
                  <a:pt x="6382" y="3269"/>
                </a:lnTo>
                <a:lnTo>
                  <a:pt x="6378" y="3270"/>
                </a:lnTo>
                <a:lnTo>
                  <a:pt x="6373" y="3273"/>
                </a:lnTo>
                <a:lnTo>
                  <a:pt x="6369" y="3275"/>
                </a:lnTo>
                <a:lnTo>
                  <a:pt x="6364" y="3277"/>
                </a:lnTo>
                <a:lnTo>
                  <a:pt x="6360" y="3279"/>
                </a:lnTo>
                <a:lnTo>
                  <a:pt x="6356" y="3282"/>
                </a:lnTo>
                <a:lnTo>
                  <a:pt x="6351" y="3285"/>
                </a:lnTo>
                <a:lnTo>
                  <a:pt x="6343" y="3292"/>
                </a:lnTo>
                <a:lnTo>
                  <a:pt x="6335" y="3300"/>
                </a:lnTo>
                <a:lnTo>
                  <a:pt x="6327" y="3309"/>
                </a:lnTo>
                <a:lnTo>
                  <a:pt x="6323" y="3314"/>
                </a:lnTo>
                <a:lnTo>
                  <a:pt x="6320" y="3319"/>
                </a:lnTo>
                <a:lnTo>
                  <a:pt x="6314" y="3330"/>
                </a:lnTo>
                <a:lnTo>
                  <a:pt x="6308" y="3343"/>
                </a:lnTo>
                <a:lnTo>
                  <a:pt x="6304" y="3355"/>
                </a:lnTo>
                <a:lnTo>
                  <a:pt x="6300" y="3368"/>
                </a:lnTo>
                <a:lnTo>
                  <a:pt x="6297" y="3381"/>
                </a:lnTo>
                <a:lnTo>
                  <a:pt x="6295" y="3396"/>
                </a:lnTo>
                <a:lnTo>
                  <a:pt x="6295" y="3403"/>
                </a:lnTo>
                <a:lnTo>
                  <a:pt x="6295" y="3410"/>
                </a:lnTo>
                <a:lnTo>
                  <a:pt x="6295" y="3423"/>
                </a:lnTo>
                <a:lnTo>
                  <a:pt x="6296" y="3435"/>
                </a:lnTo>
                <a:lnTo>
                  <a:pt x="6298" y="3446"/>
                </a:lnTo>
                <a:lnTo>
                  <a:pt x="6300" y="3453"/>
                </a:lnTo>
                <a:lnTo>
                  <a:pt x="6301" y="3458"/>
                </a:lnTo>
                <a:lnTo>
                  <a:pt x="6305" y="3469"/>
                </a:lnTo>
                <a:lnTo>
                  <a:pt x="6307" y="3474"/>
                </a:lnTo>
                <a:lnTo>
                  <a:pt x="6310" y="3479"/>
                </a:lnTo>
                <a:lnTo>
                  <a:pt x="6312" y="3483"/>
                </a:lnTo>
                <a:lnTo>
                  <a:pt x="6315" y="3488"/>
                </a:lnTo>
                <a:lnTo>
                  <a:pt x="6318" y="3492"/>
                </a:lnTo>
                <a:lnTo>
                  <a:pt x="6321" y="3496"/>
                </a:lnTo>
                <a:lnTo>
                  <a:pt x="6324" y="3500"/>
                </a:lnTo>
                <a:lnTo>
                  <a:pt x="6327" y="3503"/>
                </a:lnTo>
                <a:lnTo>
                  <a:pt x="6335" y="3510"/>
                </a:lnTo>
                <a:lnTo>
                  <a:pt x="6343" y="3517"/>
                </a:lnTo>
                <a:lnTo>
                  <a:pt x="6352" y="3522"/>
                </a:lnTo>
                <a:lnTo>
                  <a:pt x="6361" y="3525"/>
                </a:lnTo>
                <a:lnTo>
                  <a:pt x="6371" y="3528"/>
                </a:lnTo>
                <a:lnTo>
                  <a:pt x="6381" y="3530"/>
                </a:lnTo>
                <a:lnTo>
                  <a:pt x="6386" y="3530"/>
                </a:lnTo>
                <a:lnTo>
                  <a:pt x="6392" y="3530"/>
                </a:lnTo>
                <a:lnTo>
                  <a:pt x="6403" y="3530"/>
                </a:lnTo>
                <a:lnTo>
                  <a:pt x="6413" y="3528"/>
                </a:lnTo>
                <a:lnTo>
                  <a:pt x="6423" y="3526"/>
                </a:lnTo>
                <a:lnTo>
                  <a:pt x="6433" y="3523"/>
                </a:lnTo>
                <a:lnTo>
                  <a:pt x="6442" y="3518"/>
                </a:lnTo>
                <a:lnTo>
                  <a:pt x="6452" y="3513"/>
                </a:lnTo>
                <a:lnTo>
                  <a:pt x="6460" y="3507"/>
                </a:lnTo>
                <a:lnTo>
                  <a:pt x="6469" y="3500"/>
                </a:lnTo>
                <a:lnTo>
                  <a:pt x="6477" y="3493"/>
                </a:lnTo>
                <a:lnTo>
                  <a:pt x="6484" y="3485"/>
                </a:lnTo>
                <a:lnTo>
                  <a:pt x="6492" y="3476"/>
                </a:lnTo>
                <a:lnTo>
                  <a:pt x="6499" y="3467"/>
                </a:lnTo>
                <a:lnTo>
                  <a:pt x="6512" y="3447"/>
                </a:lnTo>
                <a:lnTo>
                  <a:pt x="6518" y="3437"/>
                </a:lnTo>
                <a:lnTo>
                  <a:pt x="6524" y="3426"/>
                </a:lnTo>
                <a:lnTo>
                  <a:pt x="6529" y="3415"/>
                </a:lnTo>
                <a:lnTo>
                  <a:pt x="6534" y="3404"/>
                </a:lnTo>
                <a:lnTo>
                  <a:pt x="6538" y="3392"/>
                </a:lnTo>
                <a:lnTo>
                  <a:pt x="6543" y="3379"/>
                </a:lnTo>
                <a:lnTo>
                  <a:pt x="6546" y="3367"/>
                </a:lnTo>
                <a:lnTo>
                  <a:pt x="6550" y="3355"/>
                </a:lnTo>
                <a:lnTo>
                  <a:pt x="6553" y="3343"/>
                </a:lnTo>
                <a:lnTo>
                  <a:pt x="6555" y="3330"/>
                </a:lnTo>
                <a:lnTo>
                  <a:pt x="6558" y="3318"/>
                </a:lnTo>
                <a:lnTo>
                  <a:pt x="6559" y="3307"/>
                </a:lnTo>
                <a:lnTo>
                  <a:pt x="6561" y="3295"/>
                </a:lnTo>
                <a:lnTo>
                  <a:pt x="6562" y="3283"/>
                </a:lnTo>
                <a:lnTo>
                  <a:pt x="6563" y="3272"/>
                </a:lnTo>
                <a:lnTo>
                  <a:pt x="6563" y="3260"/>
                </a:lnTo>
                <a:lnTo>
                  <a:pt x="6563" y="3249"/>
                </a:lnTo>
                <a:lnTo>
                  <a:pt x="6562" y="3239"/>
                </a:lnTo>
                <a:lnTo>
                  <a:pt x="6563" y="3236"/>
                </a:lnTo>
                <a:lnTo>
                  <a:pt x="6565" y="3234"/>
                </a:lnTo>
                <a:lnTo>
                  <a:pt x="6567" y="3232"/>
                </a:lnTo>
                <a:lnTo>
                  <a:pt x="6571" y="3230"/>
                </a:lnTo>
                <a:lnTo>
                  <a:pt x="6578" y="3227"/>
                </a:lnTo>
                <a:lnTo>
                  <a:pt x="6582" y="3227"/>
                </a:lnTo>
                <a:lnTo>
                  <a:pt x="6586" y="3226"/>
                </a:lnTo>
                <a:lnTo>
                  <a:pt x="6593" y="3227"/>
                </a:lnTo>
                <a:lnTo>
                  <a:pt x="6596" y="3228"/>
                </a:lnTo>
                <a:lnTo>
                  <a:pt x="6599" y="3229"/>
                </a:lnTo>
                <a:lnTo>
                  <a:pt x="6605" y="3231"/>
                </a:lnTo>
                <a:lnTo>
                  <a:pt x="6608" y="3233"/>
                </a:lnTo>
                <a:lnTo>
                  <a:pt x="6610" y="3236"/>
                </a:lnTo>
                <a:lnTo>
                  <a:pt x="6614" y="3241"/>
                </a:lnTo>
                <a:lnTo>
                  <a:pt x="6616" y="3245"/>
                </a:lnTo>
                <a:lnTo>
                  <a:pt x="6617" y="3249"/>
                </a:lnTo>
                <a:lnTo>
                  <a:pt x="6618" y="3253"/>
                </a:lnTo>
                <a:lnTo>
                  <a:pt x="6619" y="3258"/>
                </a:lnTo>
                <a:lnTo>
                  <a:pt x="6619" y="3263"/>
                </a:lnTo>
                <a:lnTo>
                  <a:pt x="6620" y="3269"/>
                </a:lnTo>
                <a:lnTo>
                  <a:pt x="6619" y="3286"/>
                </a:lnTo>
                <a:lnTo>
                  <a:pt x="6618" y="3301"/>
                </a:lnTo>
                <a:lnTo>
                  <a:pt x="6617" y="3316"/>
                </a:lnTo>
                <a:lnTo>
                  <a:pt x="6615" y="3333"/>
                </a:lnTo>
                <a:lnTo>
                  <a:pt x="6612" y="3347"/>
                </a:lnTo>
                <a:lnTo>
                  <a:pt x="6609" y="3362"/>
                </a:lnTo>
                <a:lnTo>
                  <a:pt x="6606" y="3377"/>
                </a:lnTo>
                <a:lnTo>
                  <a:pt x="6602" y="3392"/>
                </a:lnTo>
                <a:lnTo>
                  <a:pt x="6597" y="3406"/>
                </a:lnTo>
                <a:lnTo>
                  <a:pt x="6592" y="3419"/>
                </a:lnTo>
                <a:lnTo>
                  <a:pt x="6587" y="3432"/>
                </a:lnTo>
                <a:lnTo>
                  <a:pt x="6581" y="3445"/>
                </a:lnTo>
                <a:lnTo>
                  <a:pt x="6575" y="3459"/>
                </a:lnTo>
                <a:lnTo>
                  <a:pt x="6568" y="3471"/>
                </a:lnTo>
                <a:lnTo>
                  <a:pt x="6561" y="3482"/>
                </a:lnTo>
                <a:lnTo>
                  <a:pt x="6554" y="3493"/>
                </a:lnTo>
                <a:lnTo>
                  <a:pt x="6546" y="3504"/>
                </a:lnTo>
                <a:lnTo>
                  <a:pt x="6538" y="3515"/>
                </a:lnTo>
                <a:lnTo>
                  <a:pt x="6530" y="3525"/>
                </a:lnTo>
                <a:lnTo>
                  <a:pt x="6521" y="3534"/>
                </a:lnTo>
                <a:lnTo>
                  <a:pt x="6512" y="3542"/>
                </a:lnTo>
                <a:lnTo>
                  <a:pt x="6501" y="3550"/>
                </a:lnTo>
                <a:lnTo>
                  <a:pt x="6492" y="3557"/>
                </a:lnTo>
                <a:lnTo>
                  <a:pt x="6482" y="3564"/>
                </a:lnTo>
                <a:lnTo>
                  <a:pt x="6471" y="3570"/>
                </a:lnTo>
                <a:lnTo>
                  <a:pt x="6461" y="3576"/>
                </a:lnTo>
                <a:lnTo>
                  <a:pt x="6449" y="3580"/>
                </a:lnTo>
                <a:lnTo>
                  <a:pt x="6438" y="3584"/>
                </a:lnTo>
                <a:lnTo>
                  <a:pt x="6426" y="3587"/>
                </a:lnTo>
                <a:lnTo>
                  <a:pt x="6415" y="3589"/>
                </a:lnTo>
                <a:lnTo>
                  <a:pt x="6403" y="3590"/>
                </a:lnTo>
                <a:lnTo>
                  <a:pt x="6389" y="3591"/>
                </a:lnTo>
                <a:close/>
                <a:moveTo>
                  <a:pt x="6777" y="3585"/>
                </a:moveTo>
                <a:lnTo>
                  <a:pt x="6775" y="3585"/>
                </a:lnTo>
                <a:lnTo>
                  <a:pt x="6773" y="3584"/>
                </a:lnTo>
                <a:lnTo>
                  <a:pt x="6768" y="3581"/>
                </a:lnTo>
                <a:lnTo>
                  <a:pt x="6761" y="3577"/>
                </a:lnTo>
                <a:lnTo>
                  <a:pt x="6754" y="3572"/>
                </a:lnTo>
                <a:lnTo>
                  <a:pt x="6740" y="3560"/>
                </a:lnTo>
                <a:lnTo>
                  <a:pt x="6725" y="3546"/>
                </a:lnTo>
                <a:lnTo>
                  <a:pt x="6709" y="3530"/>
                </a:lnTo>
                <a:lnTo>
                  <a:pt x="6692" y="3513"/>
                </a:lnTo>
                <a:lnTo>
                  <a:pt x="6676" y="3495"/>
                </a:lnTo>
                <a:lnTo>
                  <a:pt x="6661" y="3479"/>
                </a:lnTo>
                <a:lnTo>
                  <a:pt x="6650" y="3464"/>
                </a:lnTo>
                <a:lnTo>
                  <a:pt x="6646" y="3458"/>
                </a:lnTo>
                <a:lnTo>
                  <a:pt x="6642" y="3453"/>
                </a:lnTo>
                <a:lnTo>
                  <a:pt x="6637" y="3442"/>
                </a:lnTo>
                <a:lnTo>
                  <a:pt x="6633" y="3432"/>
                </a:lnTo>
                <a:lnTo>
                  <a:pt x="6631" y="3422"/>
                </a:lnTo>
                <a:lnTo>
                  <a:pt x="6629" y="3412"/>
                </a:lnTo>
                <a:lnTo>
                  <a:pt x="6629" y="3407"/>
                </a:lnTo>
                <a:lnTo>
                  <a:pt x="6631" y="3401"/>
                </a:lnTo>
                <a:lnTo>
                  <a:pt x="6633" y="3395"/>
                </a:lnTo>
                <a:lnTo>
                  <a:pt x="6635" y="3388"/>
                </a:lnTo>
                <a:lnTo>
                  <a:pt x="6637" y="3382"/>
                </a:lnTo>
                <a:lnTo>
                  <a:pt x="6640" y="3376"/>
                </a:lnTo>
                <a:lnTo>
                  <a:pt x="6644" y="3369"/>
                </a:lnTo>
                <a:lnTo>
                  <a:pt x="6649" y="3362"/>
                </a:lnTo>
                <a:lnTo>
                  <a:pt x="6657" y="3351"/>
                </a:lnTo>
                <a:lnTo>
                  <a:pt x="6668" y="3338"/>
                </a:lnTo>
                <a:lnTo>
                  <a:pt x="6699" y="3303"/>
                </a:lnTo>
                <a:lnTo>
                  <a:pt x="6734" y="3263"/>
                </a:lnTo>
                <a:lnTo>
                  <a:pt x="6770" y="3223"/>
                </a:lnTo>
                <a:lnTo>
                  <a:pt x="6771" y="3222"/>
                </a:lnTo>
                <a:lnTo>
                  <a:pt x="6774" y="3222"/>
                </a:lnTo>
                <a:lnTo>
                  <a:pt x="6778" y="3222"/>
                </a:lnTo>
                <a:lnTo>
                  <a:pt x="6782" y="3223"/>
                </a:lnTo>
                <a:lnTo>
                  <a:pt x="6786" y="3225"/>
                </a:lnTo>
                <a:lnTo>
                  <a:pt x="6790" y="3228"/>
                </a:lnTo>
                <a:lnTo>
                  <a:pt x="6795" y="3231"/>
                </a:lnTo>
                <a:lnTo>
                  <a:pt x="6798" y="3235"/>
                </a:lnTo>
                <a:lnTo>
                  <a:pt x="6802" y="3239"/>
                </a:lnTo>
                <a:lnTo>
                  <a:pt x="6805" y="3244"/>
                </a:lnTo>
                <a:lnTo>
                  <a:pt x="6806" y="3248"/>
                </a:lnTo>
                <a:lnTo>
                  <a:pt x="6807" y="3253"/>
                </a:lnTo>
                <a:lnTo>
                  <a:pt x="6806" y="3259"/>
                </a:lnTo>
                <a:lnTo>
                  <a:pt x="6804" y="3264"/>
                </a:lnTo>
                <a:lnTo>
                  <a:pt x="6801" y="3270"/>
                </a:lnTo>
                <a:lnTo>
                  <a:pt x="6798" y="3277"/>
                </a:lnTo>
                <a:lnTo>
                  <a:pt x="6789" y="3287"/>
                </a:lnTo>
                <a:lnTo>
                  <a:pt x="6778" y="3300"/>
                </a:lnTo>
                <a:lnTo>
                  <a:pt x="6748" y="3334"/>
                </a:lnTo>
                <a:lnTo>
                  <a:pt x="6718" y="3368"/>
                </a:lnTo>
                <a:lnTo>
                  <a:pt x="6706" y="3382"/>
                </a:lnTo>
                <a:lnTo>
                  <a:pt x="6697" y="3395"/>
                </a:lnTo>
                <a:lnTo>
                  <a:pt x="6694" y="3398"/>
                </a:lnTo>
                <a:lnTo>
                  <a:pt x="6693" y="3402"/>
                </a:lnTo>
                <a:lnTo>
                  <a:pt x="6692" y="3406"/>
                </a:lnTo>
                <a:lnTo>
                  <a:pt x="6691" y="3409"/>
                </a:lnTo>
                <a:lnTo>
                  <a:pt x="6692" y="3414"/>
                </a:lnTo>
                <a:lnTo>
                  <a:pt x="6693" y="3418"/>
                </a:lnTo>
                <a:lnTo>
                  <a:pt x="6695" y="3422"/>
                </a:lnTo>
                <a:lnTo>
                  <a:pt x="6698" y="3427"/>
                </a:lnTo>
                <a:lnTo>
                  <a:pt x="6706" y="3436"/>
                </a:lnTo>
                <a:lnTo>
                  <a:pt x="6716" y="3448"/>
                </a:lnTo>
                <a:lnTo>
                  <a:pt x="6743" y="3478"/>
                </a:lnTo>
                <a:lnTo>
                  <a:pt x="6776" y="3510"/>
                </a:lnTo>
                <a:lnTo>
                  <a:pt x="6807" y="3541"/>
                </a:lnTo>
                <a:lnTo>
                  <a:pt x="6809" y="3543"/>
                </a:lnTo>
                <a:lnTo>
                  <a:pt x="6811" y="3545"/>
                </a:lnTo>
                <a:lnTo>
                  <a:pt x="6812" y="3548"/>
                </a:lnTo>
                <a:lnTo>
                  <a:pt x="6813" y="3550"/>
                </a:lnTo>
                <a:lnTo>
                  <a:pt x="6812" y="3556"/>
                </a:lnTo>
                <a:lnTo>
                  <a:pt x="6811" y="3559"/>
                </a:lnTo>
                <a:lnTo>
                  <a:pt x="6808" y="3561"/>
                </a:lnTo>
                <a:lnTo>
                  <a:pt x="6805" y="3567"/>
                </a:lnTo>
                <a:lnTo>
                  <a:pt x="6803" y="3570"/>
                </a:lnTo>
                <a:lnTo>
                  <a:pt x="6800" y="3573"/>
                </a:lnTo>
                <a:lnTo>
                  <a:pt x="6795" y="3578"/>
                </a:lnTo>
                <a:lnTo>
                  <a:pt x="6792" y="3580"/>
                </a:lnTo>
                <a:lnTo>
                  <a:pt x="6789" y="3582"/>
                </a:lnTo>
                <a:lnTo>
                  <a:pt x="6783" y="3584"/>
                </a:lnTo>
                <a:lnTo>
                  <a:pt x="6780" y="3585"/>
                </a:lnTo>
                <a:lnTo>
                  <a:pt x="6777" y="3585"/>
                </a:lnTo>
                <a:close/>
                <a:moveTo>
                  <a:pt x="6556" y="4321"/>
                </a:moveTo>
                <a:lnTo>
                  <a:pt x="6560" y="4298"/>
                </a:lnTo>
                <a:lnTo>
                  <a:pt x="6562" y="4275"/>
                </a:lnTo>
                <a:lnTo>
                  <a:pt x="6563" y="4253"/>
                </a:lnTo>
                <a:lnTo>
                  <a:pt x="6563" y="4243"/>
                </a:lnTo>
                <a:lnTo>
                  <a:pt x="6562" y="4233"/>
                </a:lnTo>
                <a:lnTo>
                  <a:pt x="6563" y="4229"/>
                </a:lnTo>
                <a:lnTo>
                  <a:pt x="6565" y="4227"/>
                </a:lnTo>
                <a:lnTo>
                  <a:pt x="6567" y="4225"/>
                </a:lnTo>
                <a:lnTo>
                  <a:pt x="6571" y="4223"/>
                </a:lnTo>
                <a:lnTo>
                  <a:pt x="6578" y="4221"/>
                </a:lnTo>
                <a:lnTo>
                  <a:pt x="6582" y="4220"/>
                </a:lnTo>
                <a:lnTo>
                  <a:pt x="6586" y="4220"/>
                </a:lnTo>
                <a:lnTo>
                  <a:pt x="6593" y="4220"/>
                </a:lnTo>
                <a:lnTo>
                  <a:pt x="6596" y="4221"/>
                </a:lnTo>
                <a:lnTo>
                  <a:pt x="6599" y="4222"/>
                </a:lnTo>
                <a:lnTo>
                  <a:pt x="6605" y="4225"/>
                </a:lnTo>
                <a:lnTo>
                  <a:pt x="6608" y="4227"/>
                </a:lnTo>
                <a:lnTo>
                  <a:pt x="6610" y="4229"/>
                </a:lnTo>
                <a:lnTo>
                  <a:pt x="6614" y="4236"/>
                </a:lnTo>
                <a:lnTo>
                  <a:pt x="6616" y="4239"/>
                </a:lnTo>
                <a:lnTo>
                  <a:pt x="6617" y="4243"/>
                </a:lnTo>
                <a:lnTo>
                  <a:pt x="6618" y="4247"/>
                </a:lnTo>
                <a:lnTo>
                  <a:pt x="6619" y="4252"/>
                </a:lnTo>
                <a:lnTo>
                  <a:pt x="6619" y="4258"/>
                </a:lnTo>
                <a:lnTo>
                  <a:pt x="6620" y="4263"/>
                </a:lnTo>
                <a:lnTo>
                  <a:pt x="6619" y="4278"/>
                </a:lnTo>
                <a:lnTo>
                  <a:pt x="6618" y="4293"/>
                </a:lnTo>
                <a:lnTo>
                  <a:pt x="6615" y="4321"/>
                </a:lnTo>
                <a:lnTo>
                  <a:pt x="6556" y="4321"/>
                </a:lnTo>
                <a:close/>
                <a:moveTo>
                  <a:pt x="6255" y="4321"/>
                </a:moveTo>
                <a:lnTo>
                  <a:pt x="6257" y="4315"/>
                </a:lnTo>
                <a:lnTo>
                  <a:pt x="6260" y="4310"/>
                </a:lnTo>
                <a:lnTo>
                  <a:pt x="6266" y="4299"/>
                </a:lnTo>
                <a:lnTo>
                  <a:pt x="6273" y="4287"/>
                </a:lnTo>
                <a:lnTo>
                  <a:pt x="6280" y="4277"/>
                </a:lnTo>
                <a:lnTo>
                  <a:pt x="6287" y="4267"/>
                </a:lnTo>
                <a:lnTo>
                  <a:pt x="6296" y="4258"/>
                </a:lnTo>
                <a:lnTo>
                  <a:pt x="6300" y="4254"/>
                </a:lnTo>
                <a:lnTo>
                  <a:pt x="6304" y="4250"/>
                </a:lnTo>
                <a:lnTo>
                  <a:pt x="6313" y="4243"/>
                </a:lnTo>
                <a:lnTo>
                  <a:pt x="6318" y="4239"/>
                </a:lnTo>
                <a:lnTo>
                  <a:pt x="6322" y="4236"/>
                </a:lnTo>
                <a:lnTo>
                  <a:pt x="6333" y="4229"/>
                </a:lnTo>
                <a:lnTo>
                  <a:pt x="6338" y="4226"/>
                </a:lnTo>
                <a:lnTo>
                  <a:pt x="6343" y="4223"/>
                </a:lnTo>
                <a:lnTo>
                  <a:pt x="6354" y="4219"/>
                </a:lnTo>
                <a:lnTo>
                  <a:pt x="6365" y="4215"/>
                </a:lnTo>
                <a:lnTo>
                  <a:pt x="6376" y="4213"/>
                </a:lnTo>
                <a:lnTo>
                  <a:pt x="6382" y="4212"/>
                </a:lnTo>
                <a:lnTo>
                  <a:pt x="6387" y="4211"/>
                </a:lnTo>
                <a:lnTo>
                  <a:pt x="6400" y="4211"/>
                </a:lnTo>
                <a:lnTo>
                  <a:pt x="6410" y="4211"/>
                </a:lnTo>
                <a:lnTo>
                  <a:pt x="6415" y="4212"/>
                </a:lnTo>
                <a:lnTo>
                  <a:pt x="6420" y="4213"/>
                </a:lnTo>
                <a:lnTo>
                  <a:pt x="6424" y="4214"/>
                </a:lnTo>
                <a:lnTo>
                  <a:pt x="6429" y="4215"/>
                </a:lnTo>
                <a:lnTo>
                  <a:pt x="6437" y="4218"/>
                </a:lnTo>
                <a:lnTo>
                  <a:pt x="6445" y="4222"/>
                </a:lnTo>
                <a:lnTo>
                  <a:pt x="6454" y="4226"/>
                </a:lnTo>
                <a:lnTo>
                  <a:pt x="6460" y="4233"/>
                </a:lnTo>
                <a:lnTo>
                  <a:pt x="6466" y="4239"/>
                </a:lnTo>
                <a:lnTo>
                  <a:pt x="6469" y="4242"/>
                </a:lnTo>
                <a:lnTo>
                  <a:pt x="6472" y="4245"/>
                </a:lnTo>
                <a:lnTo>
                  <a:pt x="6476" y="4253"/>
                </a:lnTo>
                <a:lnTo>
                  <a:pt x="6480" y="4260"/>
                </a:lnTo>
                <a:lnTo>
                  <a:pt x="6484" y="4269"/>
                </a:lnTo>
                <a:lnTo>
                  <a:pt x="6486" y="4277"/>
                </a:lnTo>
                <a:lnTo>
                  <a:pt x="6488" y="4287"/>
                </a:lnTo>
                <a:lnTo>
                  <a:pt x="6489" y="4297"/>
                </a:lnTo>
                <a:lnTo>
                  <a:pt x="6490" y="4307"/>
                </a:lnTo>
                <a:lnTo>
                  <a:pt x="6490" y="4314"/>
                </a:lnTo>
                <a:lnTo>
                  <a:pt x="6489" y="4321"/>
                </a:lnTo>
                <a:lnTo>
                  <a:pt x="6432" y="4321"/>
                </a:lnTo>
                <a:lnTo>
                  <a:pt x="6434" y="4316"/>
                </a:lnTo>
                <a:lnTo>
                  <a:pt x="6435" y="4310"/>
                </a:lnTo>
                <a:lnTo>
                  <a:pt x="6436" y="4305"/>
                </a:lnTo>
                <a:lnTo>
                  <a:pt x="6436" y="4299"/>
                </a:lnTo>
                <a:lnTo>
                  <a:pt x="6436" y="4290"/>
                </a:lnTo>
                <a:lnTo>
                  <a:pt x="6434" y="4283"/>
                </a:lnTo>
                <a:lnTo>
                  <a:pt x="6432" y="4280"/>
                </a:lnTo>
                <a:lnTo>
                  <a:pt x="6430" y="4277"/>
                </a:lnTo>
                <a:lnTo>
                  <a:pt x="6428" y="4274"/>
                </a:lnTo>
                <a:lnTo>
                  <a:pt x="6426" y="4271"/>
                </a:lnTo>
                <a:lnTo>
                  <a:pt x="6420" y="4267"/>
                </a:lnTo>
                <a:lnTo>
                  <a:pt x="6417" y="4265"/>
                </a:lnTo>
                <a:lnTo>
                  <a:pt x="6413" y="4264"/>
                </a:lnTo>
                <a:lnTo>
                  <a:pt x="6405" y="4262"/>
                </a:lnTo>
                <a:lnTo>
                  <a:pt x="6401" y="4262"/>
                </a:lnTo>
                <a:lnTo>
                  <a:pt x="6396" y="4261"/>
                </a:lnTo>
                <a:lnTo>
                  <a:pt x="6391" y="4262"/>
                </a:lnTo>
                <a:lnTo>
                  <a:pt x="6384" y="4263"/>
                </a:lnTo>
                <a:lnTo>
                  <a:pt x="6374" y="4266"/>
                </a:lnTo>
                <a:lnTo>
                  <a:pt x="6368" y="4268"/>
                </a:lnTo>
                <a:lnTo>
                  <a:pt x="6363" y="4271"/>
                </a:lnTo>
                <a:lnTo>
                  <a:pt x="6353" y="4278"/>
                </a:lnTo>
                <a:lnTo>
                  <a:pt x="6348" y="4282"/>
                </a:lnTo>
                <a:lnTo>
                  <a:pt x="6343" y="4286"/>
                </a:lnTo>
                <a:lnTo>
                  <a:pt x="6338" y="4292"/>
                </a:lnTo>
                <a:lnTo>
                  <a:pt x="6333" y="4297"/>
                </a:lnTo>
                <a:lnTo>
                  <a:pt x="6323" y="4308"/>
                </a:lnTo>
                <a:lnTo>
                  <a:pt x="6315" y="4321"/>
                </a:lnTo>
                <a:lnTo>
                  <a:pt x="6255" y="4321"/>
                </a:lnTo>
                <a:close/>
                <a:moveTo>
                  <a:pt x="6677" y="4321"/>
                </a:moveTo>
                <a:lnTo>
                  <a:pt x="6721" y="4271"/>
                </a:lnTo>
                <a:lnTo>
                  <a:pt x="6745" y="4244"/>
                </a:lnTo>
                <a:lnTo>
                  <a:pt x="6770" y="4216"/>
                </a:lnTo>
                <a:lnTo>
                  <a:pt x="6771" y="4216"/>
                </a:lnTo>
                <a:lnTo>
                  <a:pt x="6774" y="4215"/>
                </a:lnTo>
                <a:lnTo>
                  <a:pt x="6778" y="4216"/>
                </a:lnTo>
                <a:lnTo>
                  <a:pt x="6782" y="4217"/>
                </a:lnTo>
                <a:lnTo>
                  <a:pt x="6786" y="4219"/>
                </a:lnTo>
                <a:lnTo>
                  <a:pt x="6790" y="4221"/>
                </a:lnTo>
                <a:lnTo>
                  <a:pt x="6795" y="4224"/>
                </a:lnTo>
                <a:lnTo>
                  <a:pt x="6798" y="4228"/>
                </a:lnTo>
                <a:lnTo>
                  <a:pt x="6802" y="4233"/>
                </a:lnTo>
                <a:lnTo>
                  <a:pt x="6805" y="4238"/>
                </a:lnTo>
                <a:lnTo>
                  <a:pt x="6806" y="4243"/>
                </a:lnTo>
                <a:lnTo>
                  <a:pt x="6807" y="4247"/>
                </a:lnTo>
                <a:lnTo>
                  <a:pt x="6806" y="4253"/>
                </a:lnTo>
                <a:lnTo>
                  <a:pt x="6804" y="4258"/>
                </a:lnTo>
                <a:lnTo>
                  <a:pt x="6801" y="4264"/>
                </a:lnTo>
                <a:lnTo>
                  <a:pt x="6798" y="4270"/>
                </a:lnTo>
                <a:lnTo>
                  <a:pt x="6790" y="4279"/>
                </a:lnTo>
                <a:lnTo>
                  <a:pt x="6780" y="4292"/>
                </a:lnTo>
                <a:lnTo>
                  <a:pt x="6754" y="4321"/>
                </a:lnTo>
                <a:lnTo>
                  <a:pt x="6677" y="4321"/>
                </a:lnTo>
                <a:close/>
                <a:moveTo>
                  <a:pt x="7160" y="3591"/>
                </a:moveTo>
                <a:lnTo>
                  <a:pt x="7152" y="3591"/>
                </a:lnTo>
                <a:lnTo>
                  <a:pt x="7144" y="3590"/>
                </a:lnTo>
                <a:lnTo>
                  <a:pt x="7137" y="3589"/>
                </a:lnTo>
                <a:lnTo>
                  <a:pt x="7130" y="3587"/>
                </a:lnTo>
                <a:lnTo>
                  <a:pt x="7122" y="3585"/>
                </a:lnTo>
                <a:lnTo>
                  <a:pt x="7115" y="3583"/>
                </a:lnTo>
                <a:lnTo>
                  <a:pt x="7101" y="3577"/>
                </a:lnTo>
                <a:lnTo>
                  <a:pt x="7087" y="3569"/>
                </a:lnTo>
                <a:lnTo>
                  <a:pt x="7081" y="3565"/>
                </a:lnTo>
                <a:lnTo>
                  <a:pt x="7075" y="3560"/>
                </a:lnTo>
                <a:lnTo>
                  <a:pt x="7069" y="3555"/>
                </a:lnTo>
                <a:lnTo>
                  <a:pt x="7064" y="3550"/>
                </a:lnTo>
                <a:lnTo>
                  <a:pt x="7058" y="3545"/>
                </a:lnTo>
                <a:lnTo>
                  <a:pt x="7053" y="3539"/>
                </a:lnTo>
                <a:lnTo>
                  <a:pt x="7047" y="3533"/>
                </a:lnTo>
                <a:lnTo>
                  <a:pt x="7042" y="3527"/>
                </a:lnTo>
                <a:lnTo>
                  <a:pt x="7038" y="3520"/>
                </a:lnTo>
                <a:lnTo>
                  <a:pt x="7034" y="3513"/>
                </a:lnTo>
                <a:lnTo>
                  <a:pt x="7030" y="3505"/>
                </a:lnTo>
                <a:lnTo>
                  <a:pt x="7026" y="3498"/>
                </a:lnTo>
                <a:lnTo>
                  <a:pt x="7023" y="3490"/>
                </a:lnTo>
                <a:lnTo>
                  <a:pt x="7020" y="3482"/>
                </a:lnTo>
                <a:lnTo>
                  <a:pt x="7017" y="3474"/>
                </a:lnTo>
                <a:lnTo>
                  <a:pt x="7015" y="3466"/>
                </a:lnTo>
                <a:lnTo>
                  <a:pt x="7013" y="3458"/>
                </a:lnTo>
                <a:lnTo>
                  <a:pt x="7011" y="3448"/>
                </a:lnTo>
                <a:lnTo>
                  <a:pt x="7010" y="3439"/>
                </a:lnTo>
                <a:lnTo>
                  <a:pt x="7009" y="3431"/>
                </a:lnTo>
                <a:lnTo>
                  <a:pt x="7008" y="3422"/>
                </a:lnTo>
                <a:lnTo>
                  <a:pt x="7008" y="3412"/>
                </a:lnTo>
                <a:lnTo>
                  <a:pt x="7009" y="3394"/>
                </a:lnTo>
                <a:lnTo>
                  <a:pt x="7010" y="3384"/>
                </a:lnTo>
                <a:lnTo>
                  <a:pt x="7011" y="3374"/>
                </a:lnTo>
                <a:lnTo>
                  <a:pt x="7013" y="3365"/>
                </a:lnTo>
                <a:lnTo>
                  <a:pt x="7015" y="3357"/>
                </a:lnTo>
                <a:lnTo>
                  <a:pt x="7018" y="3348"/>
                </a:lnTo>
                <a:lnTo>
                  <a:pt x="7021" y="3339"/>
                </a:lnTo>
                <a:lnTo>
                  <a:pt x="7024" y="3330"/>
                </a:lnTo>
                <a:lnTo>
                  <a:pt x="7027" y="3322"/>
                </a:lnTo>
                <a:lnTo>
                  <a:pt x="7031" y="3314"/>
                </a:lnTo>
                <a:lnTo>
                  <a:pt x="7035" y="3306"/>
                </a:lnTo>
                <a:lnTo>
                  <a:pt x="7039" y="3298"/>
                </a:lnTo>
                <a:lnTo>
                  <a:pt x="7044" y="3291"/>
                </a:lnTo>
                <a:lnTo>
                  <a:pt x="7055" y="3277"/>
                </a:lnTo>
                <a:lnTo>
                  <a:pt x="7061" y="3269"/>
                </a:lnTo>
                <a:lnTo>
                  <a:pt x="7067" y="3263"/>
                </a:lnTo>
                <a:lnTo>
                  <a:pt x="7079" y="3252"/>
                </a:lnTo>
                <a:lnTo>
                  <a:pt x="7085" y="3247"/>
                </a:lnTo>
                <a:lnTo>
                  <a:pt x="7092" y="3242"/>
                </a:lnTo>
                <a:lnTo>
                  <a:pt x="7099" y="3237"/>
                </a:lnTo>
                <a:lnTo>
                  <a:pt x="7106" y="3233"/>
                </a:lnTo>
                <a:lnTo>
                  <a:pt x="7114" y="3230"/>
                </a:lnTo>
                <a:lnTo>
                  <a:pt x="7122" y="3227"/>
                </a:lnTo>
                <a:lnTo>
                  <a:pt x="7129" y="3224"/>
                </a:lnTo>
                <a:lnTo>
                  <a:pt x="7137" y="3222"/>
                </a:lnTo>
                <a:lnTo>
                  <a:pt x="7145" y="3220"/>
                </a:lnTo>
                <a:lnTo>
                  <a:pt x="7153" y="3219"/>
                </a:lnTo>
                <a:lnTo>
                  <a:pt x="7161" y="3218"/>
                </a:lnTo>
                <a:lnTo>
                  <a:pt x="7169" y="3218"/>
                </a:lnTo>
                <a:lnTo>
                  <a:pt x="7180" y="3218"/>
                </a:lnTo>
                <a:lnTo>
                  <a:pt x="7185" y="3219"/>
                </a:lnTo>
                <a:lnTo>
                  <a:pt x="7190" y="3219"/>
                </a:lnTo>
                <a:lnTo>
                  <a:pt x="7195" y="3220"/>
                </a:lnTo>
                <a:lnTo>
                  <a:pt x="7199" y="3222"/>
                </a:lnTo>
                <a:lnTo>
                  <a:pt x="7208" y="3225"/>
                </a:lnTo>
                <a:lnTo>
                  <a:pt x="7215" y="3229"/>
                </a:lnTo>
                <a:lnTo>
                  <a:pt x="7223" y="3233"/>
                </a:lnTo>
                <a:lnTo>
                  <a:pt x="7229" y="3239"/>
                </a:lnTo>
                <a:lnTo>
                  <a:pt x="7236" y="3245"/>
                </a:lnTo>
                <a:lnTo>
                  <a:pt x="7239" y="3248"/>
                </a:lnTo>
                <a:lnTo>
                  <a:pt x="7242" y="3251"/>
                </a:lnTo>
                <a:lnTo>
                  <a:pt x="7247" y="3258"/>
                </a:lnTo>
                <a:lnTo>
                  <a:pt x="7251" y="3266"/>
                </a:lnTo>
                <a:lnTo>
                  <a:pt x="7254" y="3276"/>
                </a:lnTo>
                <a:lnTo>
                  <a:pt x="7257" y="3284"/>
                </a:lnTo>
                <a:lnTo>
                  <a:pt x="7258" y="3293"/>
                </a:lnTo>
                <a:lnTo>
                  <a:pt x="7260" y="3303"/>
                </a:lnTo>
                <a:lnTo>
                  <a:pt x="7260" y="3313"/>
                </a:lnTo>
                <a:lnTo>
                  <a:pt x="7259" y="3325"/>
                </a:lnTo>
                <a:lnTo>
                  <a:pt x="7258" y="3333"/>
                </a:lnTo>
                <a:lnTo>
                  <a:pt x="7257" y="3339"/>
                </a:lnTo>
                <a:lnTo>
                  <a:pt x="7253" y="3351"/>
                </a:lnTo>
                <a:lnTo>
                  <a:pt x="7248" y="3362"/>
                </a:lnTo>
                <a:lnTo>
                  <a:pt x="7242" y="3373"/>
                </a:lnTo>
                <a:lnTo>
                  <a:pt x="7235" y="3384"/>
                </a:lnTo>
                <a:lnTo>
                  <a:pt x="7231" y="3389"/>
                </a:lnTo>
                <a:lnTo>
                  <a:pt x="7225" y="3395"/>
                </a:lnTo>
                <a:lnTo>
                  <a:pt x="7216" y="3404"/>
                </a:lnTo>
                <a:lnTo>
                  <a:pt x="7206" y="3413"/>
                </a:lnTo>
                <a:lnTo>
                  <a:pt x="7201" y="3416"/>
                </a:lnTo>
                <a:lnTo>
                  <a:pt x="7195" y="3420"/>
                </a:lnTo>
                <a:lnTo>
                  <a:pt x="7184" y="3427"/>
                </a:lnTo>
                <a:lnTo>
                  <a:pt x="7172" y="3432"/>
                </a:lnTo>
                <a:lnTo>
                  <a:pt x="7159" y="3437"/>
                </a:lnTo>
                <a:lnTo>
                  <a:pt x="7153" y="3439"/>
                </a:lnTo>
                <a:lnTo>
                  <a:pt x="7147" y="3440"/>
                </a:lnTo>
                <a:lnTo>
                  <a:pt x="7141" y="3441"/>
                </a:lnTo>
                <a:lnTo>
                  <a:pt x="7135" y="3442"/>
                </a:lnTo>
                <a:lnTo>
                  <a:pt x="7122" y="3443"/>
                </a:lnTo>
                <a:lnTo>
                  <a:pt x="7117" y="3442"/>
                </a:lnTo>
                <a:lnTo>
                  <a:pt x="7112" y="3441"/>
                </a:lnTo>
                <a:lnTo>
                  <a:pt x="7106" y="3438"/>
                </a:lnTo>
                <a:lnTo>
                  <a:pt x="7104" y="3436"/>
                </a:lnTo>
                <a:lnTo>
                  <a:pt x="7102" y="3434"/>
                </a:lnTo>
                <a:lnTo>
                  <a:pt x="7099" y="3429"/>
                </a:lnTo>
                <a:lnTo>
                  <a:pt x="7097" y="3424"/>
                </a:lnTo>
                <a:lnTo>
                  <a:pt x="7096" y="3421"/>
                </a:lnTo>
                <a:lnTo>
                  <a:pt x="7095" y="3418"/>
                </a:lnTo>
                <a:lnTo>
                  <a:pt x="7095" y="3412"/>
                </a:lnTo>
                <a:lnTo>
                  <a:pt x="7095" y="3409"/>
                </a:lnTo>
                <a:lnTo>
                  <a:pt x="7095" y="3406"/>
                </a:lnTo>
                <a:lnTo>
                  <a:pt x="7096" y="3401"/>
                </a:lnTo>
                <a:lnTo>
                  <a:pt x="7097" y="3399"/>
                </a:lnTo>
                <a:lnTo>
                  <a:pt x="7099" y="3397"/>
                </a:lnTo>
                <a:lnTo>
                  <a:pt x="7100" y="3396"/>
                </a:lnTo>
                <a:lnTo>
                  <a:pt x="7102" y="3395"/>
                </a:lnTo>
                <a:lnTo>
                  <a:pt x="7114" y="3393"/>
                </a:lnTo>
                <a:lnTo>
                  <a:pt x="7124" y="3389"/>
                </a:lnTo>
                <a:lnTo>
                  <a:pt x="7134" y="3386"/>
                </a:lnTo>
                <a:lnTo>
                  <a:pt x="7144" y="3382"/>
                </a:lnTo>
                <a:lnTo>
                  <a:pt x="7153" y="3377"/>
                </a:lnTo>
                <a:lnTo>
                  <a:pt x="7161" y="3372"/>
                </a:lnTo>
                <a:lnTo>
                  <a:pt x="7169" y="3367"/>
                </a:lnTo>
                <a:lnTo>
                  <a:pt x="7174" y="3364"/>
                </a:lnTo>
                <a:lnTo>
                  <a:pt x="7177" y="3361"/>
                </a:lnTo>
                <a:lnTo>
                  <a:pt x="7184" y="3354"/>
                </a:lnTo>
                <a:lnTo>
                  <a:pt x="7190" y="3348"/>
                </a:lnTo>
                <a:lnTo>
                  <a:pt x="7195" y="3341"/>
                </a:lnTo>
                <a:lnTo>
                  <a:pt x="7199" y="3334"/>
                </a:lnTo>
                <a:lnTo>
                  <a:pt x="7202" y="3326"/>
                </a:lnTo>
                <a:lnTo>
                  <a:pt x="7205" y="3319"/>
                </a:lnTo>
                <a:lnTo>
                  <a:pt x="7206" y="3312"/>
                </a:lnTo>
                <a:lnTo>
                  <a:pt x="7207" y="3305"/>
                </a:lnTo>
                <a:lnTo>
                  <a:pt x="7206" y="3297"/>
                </a:lnTo>
                <a:lnTo>
                  <a:pt x="7204" y="3290"/>
                </a:lnTo>
                <a:lnTo>
                  <a:pt x="7202" y="3286"/>
                </a:lnTo>
                <a:lnTo>
                  <a:pt x="7200" y="3283"/>
                </a:lnTo>
                <a:lnTo>
                  <a:pt x="7198" y="3281"/>
                </a:lnTo>
                <a:lnTo>
                  <a:pt x="7196" y="3278"/>
                </a:lnTo>
                <a:lnTo>
                  <a:pt x="7190" y="3274"/>
                </a:lnTo>
                <a:lnTo>
                  <a:pt x="7187" y="3272"/>
                </a:lnTo>
                <a:lnTo>
                  <a:pt x="7183" y="3270"/>
                </a:lnTo>
                <a:lnTo>
                  <a:pt x="7175" y="3268"/>
                </a:lnTo>
                <a:lnTo>
                  <a:pt x="7171" y="3267"/>
                </a:lnTo>
                <a:lnTo>
                  <a:pt x="7165" y="3267"/>
                </a:lnTo>
                <a:lnTo>
                  <a:pt x="7157" y="3268"/>
                </a:lnTo>
                <a:lnTo>
                  <a:pt x="7152" y="3269"/>
                </a:lnTo>
                <a:lnTo>
                  <a:pt x="7148" y="3270"/>
                </a:lnTo>
                <a:lnTo>
                  <a:pt x="7143" y="3273"/>
                </a:lnTo>
                <a:lnTo>
                  <a:pt x="7139" y="3275"/>
                </a:lnTo>
                <a:lnTo>
                  <a:pt x="7134" y="3277"/>
                </a:lnTo>
                <a:lnTo>
                  <a:pt x="7130" y="3279"/>
                </a:lnTo>
                <a:lnTo>
                  <a:pt x="7126" y="3282"/>
                </a:lnTo>
                <a:lnTo>
                  <a:pt x="7122" y="3285"/>
                </a:lnTo>
                <a:lnTo>
                  <a:pt x="7113" y="3292"/>
                </a:lnTo>
                <a:lnTo>
                  <a:pt x="7104" y="3300"/>
                </a:lnTo>
                <a:lnTo>
                  <a:pt x="7097" y="3309"/>
                </a:lnTo>
                <a:lnTo>
                  <a:pt x="7094" y="3314"/>
                </a:lnTo>
                <a:lnTo>
                  <a:pt x="7090" y="3319"/>
                </a:lnTo>
                <a:lnTo>
                  <a:pt x="7084" y="3330"/>
                </a:lnTo>
                <a:lnTo>
                  <a:pt x="7078" y="3343"/>
                </a:lnTo>
                <a:lnTo>
                  <a:pt x="7074" y="3355"/>
                </a:lnTo>
                <a:lnTo>
                  <a:pt x="7070" y="3368"/>
                </a:lnTo>
                <a:lnTo>
                  <a:pt x="7067" y="3381"/>
                </a:lnTo>
                <a:lnTo>
                  <a:pt x="7065" y="3396"/>
                </a:lnTo>
                <a:lnTo>
                  <a:pt x="7065" y="3403"/>
                </a:lnTo>
                <a:lnTo>
                  <a:pt x="7065" y="3410"/>
                </a:lnTo>
                <a:lnTo>
                  <a:pt x="7065" y="3423"/>
                </a:lnTo>
                <a:lnTo>
                  <a:pt x="7066" y="3435"/>
                </a:lnTo>
                <a:lnTo>
                  <a:pt x="7069" y="3446"/>
                </a:lnTo>
                <a:lnTo>
                  <a:pt x="7070" y="3453"/>
                </a:lnTo>
                <a:lnTo>
                  <a:pt x="7072" y="3458"/>
                </a:lnTo>
                <a:lnTo>
                  <a:pt x="7075" y="3469"/>
                </a:lnTo>
                <a:lnTo>
                  <a:pt x="7077" y="3474"/>
                </a:lnTo>
                <a:lnTo>
                  <a:pt x="7080" y="3479"/>
                </a:lnTo>
                <a:lnTo>
                  <a:pt x="7082" y="3483"/>
                </a:lnTo>
                <a:lnTo>
                  <a:pt x="7085" y="3488"/>
                </a:lnTo>
                <a:lnTo>
                  <a:pt x="7088" y="3492"/>
                </a:lnTo>
                <a:lnTo>
                  <a:pt x="7091" y="3496"/>
                </a:lnTo>
                <a:lnTo>
                  <a:pt x="7094" y="3500"/>
                </a:lnTo>
                <a:lnTo>
                  <a:pt x="7097" y="3503"/>
                </a:lnTo>
                <a:lnTo>
                  <a:pt x="7105" y="3510"/>
                </a:lnTo>
                <a:lnTo>
                  <a:pt x="7114" y="3517"/>
                </a:lnTo>
                <a:lnTo>
                  <a:pt x="7122" y="3522"/>
                </a:lnTo>
                <a:lnTo>
                  <a:pt x="7131" y="3525"/>
                </a:lnTo>
                <a:lnTo>
                  <a:pt x="7141" y="3528"/>
                </a:lnTo>
                <a:lnTo>
                  <a:pt x="7151" y="3530"/>
                </a:lnTo>
                <a:lnTo>
                  <a:pt x="7156" y="3530"/>
                </a:lnTo>
                <a:lnTo>
                  <a:pt x="7162" y="3530"/>
                </a:lnTo>
                <a:lnTo>
                  <a:pt x="7173" y="3530"/>
                </a:lnTo>
                <a:lnTo>
                  <a:pt x="7183" y="3528"/>
                </a:lnTo>
                <a:lnTo>
                  <a:pt x="7193" y="3526"/>
                </a:lnTo>
                <a:lnTo>
                  <a:pt x="7203" y="3523"/>
                </a:lnTo>
                <a:lnTo>
                  <a:pt x="7212" y="3518"/>
                </a:lnTo>
                <a:lnTo>
                  <a:pt x="7221" y="3513"/>
                </a:lnTo>
                <a:lnTo>
                  <a:pt x="7231" y="3507"/>
                </a:lnTo>
                <a:lnTo>
                  <a:pt x="7239" y="3500"/>
                </a:lnTo>
                <a:lnTo>
                  <a:pt x="7247" y="3493"/>
                </a:lnTo>
                <a:lnTo>
                  <a:pt x="7254" y="3485"/>
                </a:lnTo>
                <a:lnTo>
                  <a:pt x="7262" y="3476"/>
                </a:lnTo>
                <a:lnTo>
                  <a:pt x="7269" y="3467"/>
                </a:lnTo>
                <a:lnTo>
                  <a:pt x="7282" y="3447"/>
                </a:lnTo>
                <a:lnTo>
                  <a:pt x="7288" y="3437"/>
                </a:lnTo>
                <a:lnTo>
                  <a:pt x="7294" y="3426"/>
                </a:lnTo>
                <a:lnTo>
                  <a:pt x="7299" y="3415"/>
                </a:lnTo>
                <a:lnTo>
                  <a:pt x="7304" y="3404"/>
                </a:lnTo>
                <a:lnTo>
                  <a:pt x="7309" y="3392"/>
                </a:lnTo>
                <a:lnTo>
                  <a:pt x="7313" y="3379"/>
                </a:lnTo>
                <a:lnTo>
                  <a:pt x="7317" y="3367"/>
                </a:lnTo>
                <a:lnTo>
                  <a:pt x="7320" y="3355"/>
                </a:lnTo>
                <a:lnTo>
                  <a:pt x="7323" y="3343"/>
                </a:lnTo>
                <a:lnTo>
                  <a:pt x="7326" y="3330"/>
                </a:lnTo>
                <a:lnTo>
                  <a:pt x="7328" y="3318"/>
                </a:lnTo>
                <a:lnTo>
                  <a:pt x="7330" y="3307"/>
                </a:lnTo>
                <a:lnTo>
                  <a:pt x="7331" y="3295"/>
                </a:lnTo>
                <a:lnTo>
                  <a:pt x="7332" y="3283"/>
                </a:lnTo>
                <a:lnTo>
                  <a:pt x="7333" y="3272"/>
                </a:lnTo>
                <a:lnTo>
                  <a:pt x="7333" y="3260"/>
                </a:lnTo>
                <a:lnTo>
                  <a:pt x="7333" y="3249"/>
                </a:lnTo>
                <a:lnTo>
                  <a:pt x="7333" y="3239"/>
                </a:lnTo>
                <a:lnTo>
                  <a:pt x="7334" y="3236"/>
                </a:lnTo>
                <a:lnTo>
                  <a:pt x="7335" y="3234"/>
                </a:lnTo>
                <a:lnTo>
                  <a:pt x="7337" y="3232"/>
                </a:lnTo>
                <a:lnTo>
                  <a:pt x="7340" y="3230"/>
                </a:lnTo>
                <a:lnTo>
                  <a:pt x="7347" y="3227"/>
                </a:lnTo>
                <a:lnTo>
                  <a:pt x="7352" y="3227"/>
                </a:lnTo>
                <a:lnTo>
                  <a:pt x="7356" y="3226"/>
                </a:lnTo>
                <a:lnTo>
                  <a:pt x="7363" y="3227"/>
                </a:lnTo>
                <a:lnTo>
                  <a:pt x="7366" y="3228"/>
                </a:lnTo>
                <a:lnTo>
                  <a:pt x="7370" y="3229"/>
                </a:lnTo>
                <a:lnTo>
                  <a:pt x="7375" y="3231"/>
                </a:lnTo>
                <a:lnTo>
                  <a:pt x="7378" y="3233"/>
                </a:lnTo>
                <a:lnTo>
                  <a:pt x="7380" y="3236"/>
                </a:lnTo>
                <a:lnTo>
                  <a:pt x="7384" y="3241"/>
                </a:lnTo>
                <a:lnTo>
                  <a:pt x="7386" y="3245"/>
                </a:lnTo>
                <a:lnTo>
                  <a:pt x="7387" y="3249"/>
                </a:lnTo>
                <a:lnTo>
                  <a:pt x="7388" y="3253"/>
                </a:lnTo>
                <a:lnTo>
                  <a:pt x="7389" y="3258"/>
                </a:lnTo>
                <a:lnTo>
                  <a:pt x="7390" y="3263"/>
                </a:lnTo>
                <a:lnTo>
                  <a:pt x="7390" y="3269"/>
                </a:lnTo>
                <a:lnTo>
                  <a:pt x="7389" y="3286"/>
                </a:lnTo>
                <a:lnTo>
                  <a:pt x="7388" y="3301"/>
                </a:lnTo>
                <a:lnTo>
                  <a:pt x="7387" y="3316"/>
                </a:lnTo>
                <a:lnTo>
                  <a:pt x="7385" y="3333"/>
                </a:lnTo>
                <a:lnTo>
                  <a:pt x="7382" y="3347"/>
                </a:lnTo>
                <a:lnTo>
                  <a:pt x="7379" y="3362"/>
                </a:lnTo>
                <a:lnTo>
                  <a:pt x="7376" y="3377"/>
                </a:lnTo>
                <a:lnTo>
                  <a:pt x="7372" y="3392"/>
                </a:lnTo>
                <a:lnTo>
                  <a:pt x="7367" y="3406"/>
                </a:lnTo>
                <a:lnTo>
                  <a:pt x="7363" y="3419"/>
                </a:lnTo>
                <a:lnTo>
                  <a:pt x="7357" y="3432"/>
                </a:lnTo>
                <a:lnTo>
                  <a:pt x="7352" y="3445"/>
                </a:lnTo>
                <a:lnTo>
                  <a:pt x="7345" y="3459"/>
                </a:lnTo>
                <a:lnTo>
                  <a:pt x="7338" y="3471"/>
                </a:lnTo>
                <a:lnTo>
                  <a:pt x="7331" y="3482"/>
                </a:lnTo>
                <a:lnTo>
                  <a:pt x="7324" y="3493"/>
                </a:lnTo>
                <a:lnTo>
                  <a:pt x="7316" y="3504"/>
                </a:lnTo>
                <a:lnTo>
                  <a:pt x="7308" y="3515"/>
                </a:lnTo>
                <a:lnTo>
                  <a:pt x="7300" y="3525"/>
                </a:lnTo>
                <a:lnTo>
                  <a:pt x="7291" y="3534"/>
                </a:lnTo>
                <a:lnTo>
                  <a:pt x="7281" y="3542"/>
                </a:lnTo>
                <a:lnTo>
                  <a:pt x="7272" y="3550"/>
                </a:lnTo>
                <a:lnTo>
                  <a:pt x="7262" y="3557"/>
                </a:lnTo>
                <a:lnTo>
                  <a:pt x="7252" y="3564"/>
                </a:lnTo>
                <a:lnTo>
                  <a:pt x="7242" y="3570"/>
                </a:lnTo>
                <a:lnTo>
                  <a:pt x="7231" y="3576"/>
                </a:lnTo>
                <a:lnTo>
                  <a:pt x="7219" y="3580"/>
                </a:lnTo>
                <a:lnTo>
                  <a:pt x="7208" y="3584"/>
                </a:lnTo>
                <a:lnTo>
                  <a:pt x="7196" y="3587"/>
                </a:lnTo>
                <a:lnTo>
                  <a:pt x="7185" y="3589"/>
                </a:lnTo>
                <a:lnTo>
                  <a:pt x="7173" y="3590"/>
                </a:lnTo>
                <a:lnTo>
                  <a:pt x="7160" y="3591"/>
                </a:lnTo>
                <a:close/>
                <a:moveTo>
                  <a:pt x="7547" y="3585"/>
                </a:moveTo>
                <a:lnTo>
                  <a:pt x="7546" y="3585"/>
                </a:lnTo>
                <a:lnTo>
                  <a:pt x="7543" y="3584"/>
                </a:lnTo>
                <a:lnTo>
                  <a:pt x="7538" y="3581"/>
                </a:lnTo>
                <a:lnTo>
                  <a:pt x="7532" y="3577"/>
                </a:lnTo>
                <a:lnTo>
                  <a:pt x="7523" y="3572"/>
                </a:lnTo>
                <a:lnTo>
                  <a:pt x="7511" y="3560"/>
                </a:lnTo>
                <a:lnTo>
                  <a:pt x="7496" y="3546"/>
                </a:lnTo>
                <a:lnTo>
                  <a:pt x="7479" y="3530"/>
                </a:lnTo>
                <a:lnTo>
                  <a:pt x="7462" y="3513"/>
                </a:lnTo>
                <a:lnTo>
                  <a:pt x="7446" y="3495"/>
                </a:lnTo>
                <a:lnTo>
                  <a:pt x="7432" y="3479"/>
                </a:lnTo>
                <a:lnTo>
                  <a:pt x="7420" y="3464"/>
                </a:lnTo>
                <a:lnTo>
                  <a:pt x="7416" y="3458"/>
                </a:lnTo>
                <a:lnTo>
                  <a:pt x="7413" y="3453"/>
                </a:lnTo>
                <a:lnTo>
                  <a:pt x="7406" y="3442"/>
                </a:lnTo>
                <a:lnTo>
                  <a:pt x="7403" y="3432"/>
                </a:lnTo>
                <a:lnTo>
                  <a:pt x="7400" y="3422"/>
                </a:lnTo>
                <a:lnTo>
                  <a:pt x="7399" y="3412"/>
                </a:lnTo>
                <a:lnTo>
                  <a:pt x="7400" y="3407"/>
                </a:lnTo>
                <a:lnTo>
                  <a:pt x="7400" y="3401"/>
                </a:lnTo>
                <a:lnTo>
                  <a:pt x="7402" y="3395"/>
                </a:lnTo>
                <a:lnTo>
                  <a:pt x="7404" y="3388"/>
                </a:lnTo>
                <a:lnTo>
                  <a:pt x="7406" y="3382"/>
                </a:lnTo>
                <a:lnTo>
                  <a:pt x="7411" y="3376"/>
                </a:lnTo>
                <a:lnTo>
                  <a:pt x="7414" y="3369"/>
                </a:lnTo>
                <a:lnTo>
                  <a:pt x="7419" y="3362"/>
                </a:lnTo>
                <a:lnTo>
                  <a:pt x="7427" y="3351"/>
                </a:lnTo>
                <a:lnTo>
                  <a:pt x="7438" y="3338"/>
                </a:lnTo>
                <a:lnTo>
                  <a:pt x="7468" y="3303"/>
                </a:lnTo>
                <a:lnTo>
                  <a:pt x="7504" y="3263"/>
                </a:lnTo>
                <a:lnTo>
                  <a:pt x="7540" y="3223"/>
                </a:lnTo>
                <a:lnTo>
                  <a:pt x="7541" y="3222"/>
                </a:lnTo>
                <a:lnTo>
                  <a:pt x="7544" y="3222"/>
                </a:lnTo>
                <a:lnTo>
                  <a:pt x="7548" y="3222"/>
                </a:lnTo>
                <a:lnTo>
                  <a:pt x="7552" y="3223"/>
                </a:lnTo>
                <a:lnTo>
                  <a:pt x="7556" y="3225"/>
                </a:lnTo>
                <a:lnTo>
                  <a:pt x="7560" y="3228"/>
                </a:lnTo>
                <a:lnTo>
                  <a:pt x="7565" y="3231"/>
                </a:lnTo>
                <a:lnTo>
                  <a:pt x="7569" y="3235"/>
                </a:lnTo>
                <a:lnTo>
                  <a:pt x="7572" y="3239"/>
                </a:lnTo>
                <a:lnTo>
                  <a:pt x="7575" y="3244"/>
                </a:lnTo>
                <a:lnTo>
                  <a:pt x="7576" y="3248"/>
                </a:lnTo>
                <a:lnTo>
                  <a:pt x="7577" y="3253"/>
                </a:lnTo>
                <a:lnTo>
                  <a:pt x="7576" y="3259"/>
                </a:lnTo>
                <a:lnTo>
                  <a:pt x="7574" y="3264"/>
                </a:lnTo>
                <a:lnTo>
                  <a:pt x="7572" y="3270"/>
                </a:lnTo>
                <a:lnTo>
                  <a:pt x="7568" y="3277"/>
                </a:lnTo>
                <a:lnTo>
                  <a:pt x="7560" y="3287"/>
                </a:lnTo>
                <a:lnTo>
                  <a:pt x="7548" y="3300"/>
                </a:lnTo>
                <a:lnTo>
                  <a:pt x="7518" y="3334"/>
                </a:lnTo>
                <a:lnTo>
                  <a:pt x="7488" y="3368"/>
                </a:lnTo>
                <a:lnTo>
                  <a:pt x="7476" y="3382"/>
                </a:lnTo>
                <a:lnTo>
                  <a:pt x="7466" y="3395"/>
                </a:lnTo>
                <a:lnTo>
                  <a:pt x="7464" y="3398"/>
                </a:lnTo>
                <a:lnTo>
                  <a:pt x="7462" y="3402"/>
                </a:lnTo>
                <a:lnTo>
                  <a:pt x="7461" y="3406"/>
                </a:lnTo>
                <a:lnTo>
                  <a:pt x="7460" y="3409"/>
                </a:lnTo>
                <a:lnTo>
                  <a:pt x="7461" y="3414"/>
                </a:lnTo>
                <a:lnTo>
                  <a:pt x="7462" y="3418"/>
                </a:lnTo>
                <a:lnTo>
                  <a:pt x="7464" y="3422"/>
                </a:lnTo>
                <a:lnTo>
                  <a:pt x="7467" y="3427"/>
                </a:lnTo>
                <a:lnTo>
                  <a:pt x="7476" y="3436"/>
                </a:lnTo>
                <a:lnTo>
                  <a:pt x="7486" y="3448"/>
                </a:lnTo>
                <a:lnTo>
                  <a:pt x="7514" y="3478"/>
                </a:lnTo>
                <a:lnTo>
                  <a:pt x="7546" y="3510"/>
                </a:lnTo>
                <a:lnTo>
                  <a:pt x="7577" y="3541"/>
                </a:lnTo>
                <a:lnTo>
                  <a:pt x="7579" y="3543"/>
                </a:lnTo>
                <a:lnTo>
                  <a:pt x="7581" y="3545"/>
                </a:lnTo>
                <a:lnTo>
                  <a:pt x="7582" y="3548"/>
                </a:lnTo>
                <a:lnTo>
                  <a:pt x="7582" y="3550"/>
                </a:lnTo>
                <a:lnTo>
                  <a:pt x="7581" y="3556"/>
                </a:lnTo>
                <a:lnTo>
                  <a:pt x="7580" y="3559"/>
                </a:lnTo>
                <a:lnTo>
                  <a:pt x="7579" y="3561"/>
                </a:lnTo>
                <a:lnTo>
                  <a:pt x="7575" y="3567"/>
                </a:lnTo>
                <a:lnTo>
                  <a:pt x="7573" y="3570"/>
                </a:lnTo>
                <a:lnTo>
                  <a:pt x="7570" y="3573"/>
                </a:lnTo>
                <a:lnTo>
                  <a:pt x="7565" y="3578"/>
                </a:lnTo>
                <a:lnTo>
                  <a:pt x="7562" y="3580"/>
                </a:lnTo>
                <a:lnTo>
                  <a:pt x="7559" y="3582"/>
                </a:lnTo>
                <a:lnTo>
                  <a:pt x="7553" y="3584"/>
                </a:lnTo>
                <a:lnTo>
                  <a:pt x="7550" y="3585"/>
                </a:lnTo>
                <a:lnTo>
                  <a:pt x="7547" y="3585"/>
                </a:lnTo>
                <a:close/>
                <a:moveTo>
                  <a:pt x="7326" y="4321"/>
                </a:moveTo>
                <a:lnTo>
                  <a:pt x="7330" y="4298"/>
                </a:lnTo>
                <a:lnTo>
                  <a:pt x="7332" y="4275"/>
                </a:lnTo>
                <a:lnTo>
                  <a:pt x="7333" y="4253"/>
                </a:lnTo>
                <a:lnTo>
                  <a:pt x="7333" y="4243"/>
                </a:lnTo>
                <a:lnTo>
                  <a:pt x="7333" y="4233"/>
                </a:lnTo>
                <a:lnTo>
                  <a:pt x="7334" y="4229"/>
                </a:lnTo>
                <a:lnTo>
                  <a:pt x="7335" y="4227"/>
                </a:lnTo>
                <a:lnTo>
                  <a:pt x="7337" y="4225"/>
                </a:lnTo>
                <a:lnTo>
                  <a:pt x="7340" y="4223"/>
                </a:lnTo>
                <a:lnTo>
                  <a:pt x="7347" y="4221"/>
                </a:lnTo>
                <a:lnTo>
                  <a:pt x="7352" y="4220"/>
                </a:lnTo>
                <a:lnTo>
                  <a:pt x="7356" y="4220"/>
                </a:lnTo>
                <a:lnTo>
                  <a:pt x="7363" y="4220"/>
                </a:lnTo>
                <a:lnTo>
                  <a:pt x="7366" y="4221"/>
                </a:lnTo>
                <a:lnTo>
                  <a:pt x="7370" y="4222"/>
                </a:lnTo>
                <a:lnTo>
                  <a:pt x="7375" y="4225"/>
                </a:lnTo>
                <a:lnTo>
                  <a:pt x="7378" y="4227"/>
                </a:lnTo>
                <a:lnTo>
                  <a:pt x="7380" y="4229"/>
                </a:lnTo>
                <a:lnTo>
                  <a:pt x="7384" y="4236"/>
                </a:lnTo>
                <a:lnTo>
                  <a:pt x="7386" y="4239"/>
                </a:lnTo>
                <a:lnTo>
                  <a:pt x="7387" y="4243"/>
                </a:lnTo>
                <a:lnTo>
                  <a:pt x="7388" y="4247"/>
                </a:lnTo>
                <a:lnTo>
                  <a:pt x="7389" y="4252"/>
                </a:lnTo>
                <a:lnTo>
                  <a:pt x="7390" y="4258"/>
                </a:lnTo>
                <a:lnTo>
                  <a:pt x="7390" y="4263"/>
                </a:lnTo>
                <a:lnTo>
                  <a:pt x="7389" y="4278"/>
                </a:lnTo>
                <a:lnTo>
                  <a:pt x="7388" y="4293"/>
                </a:lnTo>
                <a:lnTo>
                  <a:pt x="7385" y="4321"/>
                </a:lnTo>
                <a:lnTo>
                  <a:pt x="7326" y="4321"/>
                </a:lnTo>
                <a:close/>
                <a:moveTo>
                  <a:pt x="7025" y="4321"/>
                </a:moveTo>
                <a:lnTo>
                  <a:pt x="7027" y="4315"/>
                </a:lnTo>
                <a:lnTo>
                  <a:pt x="7030" y="4310"/>
                </a:lnTo>
                <a:lnTo>
                  <a:pt x="7036" y="4299"/>
                </a:lnTo>
                <a:lnTo>
                  <a:pt x="7042" y="4287"/>
                </a:lnTo>
                <a:lnTo>
                  <a:pt x="7049" y="4277"/>
                </a:lnTo>
                <a:lnTo>
                  <a:pt x="7058" y="4267"/>
                </a:lnTo>
                <a:lnTo>
                  <a:pt x="7066" y="4258"/>
                </a:lnTo>
                <a:lnTo>
                  <a:pt x="7070" y="4254"/>
                </a:lnTo>
                <a:lnTo>
                  <a:pt x="7074" y="4250"/>
                </a:lnTo>
                <a:lnTo>
                  <a:pt x="7083" y="4243"/>
                </a:lnTo>
                <a:lnTo>
                  <a:pt x="7088" y="4239"/>
                </a:lnTo>
                <a:lnTo>
                  <a:pt x="7093" y="4236"/>
                </a:lnTo>
                <a:lnTo>
                  <a:pt x="7102" y="4229"/>
                </a:lnTo>
                <a:lnTo>
                  <a:pt x="7107" y="4226"/>
                </a:lnTo>
                <a:lnTo>
                  <a:pt x="7114" y="4223"/>
                </a:lnTo>
                <a:lnTo>
                  <a:pt x="7124" y="4219"/>
                </a:lnTo>
                <a:lnTo>
                  <a:pt x="7135" y="4215"/>
                </a:lnTo>
                <a:lnTo>
                  <a:pt x="7146" y="4213"/>
                </a:lnTo>
                <a:lnTo>
                  <a:pt x="7152" y="4212"/>
                </a:lnTo>
                <a:lnTo>
                  <a:pt x="7158" y="4211"/>
                </a:lnTo>
                <a:lnTo>
                  <a:pt x="7169" y="4211"/>
                </a:lnTo>
                <a:lnTo>
                  <a:pt x="7180" y="4211"/>
                </a:lnTo>
                <a:lnTo>
                  <a:pt x="7185" y="4212"/>
                </a:lnTo>
                <a:lnTo>
                  <a:pt x="7190" y="4213"/>
                </a:lnTo>
                <a:lnTo>
                  <a:pt x="7195" y="4214"/>
                </a:lnTo>
                <a:lnTo>
                  <a:pt x="7199" y="4215"/>
                </a:lnTo>
                <a:lnTo>
                  <a:pt x="7208" y="4218"/>
                </a:lnTo>
                <a:lnTo>
                  <a:pt x="7215" y="4222"/>
                </a:lnTo>
                <a:lnTo>
                  <a:pt x="7223" y="4226"/>
                </a:lnTo>
                <a:lnTo>
                  <a:pt x="7229" y="4233"/>
                </a:lnTo>
                <a:lnTo>
                  <a:pt x="7236" y="4239"/>
                </a:lnTo>
                <a:lnTo>
                  <a:pt x="7239" y="4242"/>
                </a:lnTo>
                <a:lnTo>
                  <a:pt x="7242" y="4245"/>
                </a:lnTo>
                <a:lnTo>
                  <a:pt x="7247" y="4253"/>
                </a:lnTo>
                <a:lnTo>
                  <a:pt x="7251" y="4260"/>
                </a:lnTo>
                <a:lnTo>
                  <a:pt x="7254" y="4269"/>
                </a:lnTo>
                <a:lnTo>
                  <a:pt x="7257" y="4277"/>
                </a:lnTo>
                <a:lnTo>
                  <a:pt x="7258" y="4287"/>
                </a:lnTo>
                <a:lnTo>
                  <a:pt x="7260" y="4297"/>
                </a:lnTo>
                <a:lnTo>
                  <a:pt x="7260" y="4307"/>
                </a:lnTo>
                <a:lnTo>
                  <a:pt x="7260" y="4314"/>
                </a:lnTo>
                <a:lnTo>
                  <a:pt x="7259" y="4321"/>
                </a:lnTo>
                <a:lnTo>
                  <a:pt x="7202" y="4321"/>
                </a:lnTo>
                <a:lnTo>
                  <a:pt x="7204" y="4316"/>
                </a:lnTo>
                <a:lnTo>
                  <a:pt x="7205" y="4310"/>
                </a:lnTo>
                <a:lnTo>
                  <a:pt x="7206" y="4305"/>
                </a:lnTo>
                <a:lnTo>
                  <a:pt x="7207" y="4299"/>
                </a:lnTo>
                <a:lnTo>
                  <a:pt x="7206" y="4290"/>
                </a:lnTo>
                <a:lnTo>
                  <a:pt x="7204" y="4283"/>
                </a:lnTo>
                <a:lnTo>
                  <a:pt x="7202" y="4280"/>
                </a:lnTo>
                <a:lnTo>
                  <a:pt x="7200" y="4277"/>
                </a:lnTo>
                <a:lnTo>
                  <a:pt x="7198" y="4274"/>
                </a:lnTo>
                <a:lnTo>
                  <a:pt x="7196" y="4271"/>
                </a:lnTo>
                <a:lnTo>
                  <a:pt x="7190" y="4267"/>
                </a:lnTo>
                <a:lnTo>
                  <a:pt x="7187" y="4265"/>
                </a:lnTo>
                <a:lnTo>
                  <a:pt x="7183" y="4264"/>
                </a:lnTo>
                <a:lnTo>
                  <a:pt x="7175" y="4262"/>
                </a:lnTo>
                <a:lnTo>
                  <a:pt x="7171" y="4262"/>
                </a:lnTo>
                <a:lnTo>
                  <a:pt x="7165" y="4261"/>
                </a:lnTo>
                <a:lnTo>
                  <a:pt x="7160" y="4262"/>
                </a:lnTo>
                <a:lnTo>
                  <a:pt x="7155" y="4263"/>
                </a:lnTo>
                <a:lnTo>
                  <a:pt x="7144" y="4266"/>
                </a:lnTo>
                <a:lnTo>
                  <a:pt x="7139" y="4268"/>
                </a:lnTo>
                <a:lnTo>
                  <a:pt x="7133" y="4271"/>
                </a:lnTo>
                <a:lnTo>
                  <a:pt x="7123" y="4278"/>
                </a:lnTo>
                <a:lnTo>
                  <a:pt x="7118" y="4282"/>
                </a:lnTo>
                <a:lnTo>
                  <a:pt x="7113" y="4286"/>
                </a:lnTo>
                <a:lnTo>
                  <a:pt x="7107" y="4292"/>
                </a:lnTo>
                <a:lnTo>
                  <a:pt x="7102" y="4297"/>
                </a:lnTo>
                <a:lnTo>
                  <a:pt x="7094" y="4308"/>
                </a:lnTo>
                <a:lnTo>
                  <a:pt x="7086" y="4321"/>
                </a:lnTo>
                <a:lnTo>
                  <a:pt x="7025" y="4321"/>
                </a:lnTo>
                <a:close/>
                <a:moveTo>
                  <a:pt x="7447" y="4321"/>
                </a:moveTo>
                <a:lnTo>
                  <a:pt x="7492" y="4271"/>
                </a:lnTo>
                <a:lnTo>
                  <a:pt x="7515" y="4244"/>
                </a:lnTo>
                <a:lnTo>
                  <a:pt x="7540" y="4216"/>
                </a:lnTo>
                <a:lnTo>
                  <a:pt x="7541" y="4216"/>
                </a:lnTo>
                <a:lnTo>
                  <a:pt x="7544" y="4215"/>
                </a:lnTo>
                <a:lnTo>
                  <a:pt x="7548" y="4216"/>
                </a:lnTo>
                <a:lnTo>
                  <a:pt x="7552" y="4217"/>
                </a:lnTo>
                <a:lnTo>
                  <a:pt x="7556" y="4219"/>
                </a:lnTo>
                <a:lnTo>
                  <a:pt x="7560" y="4221"/>
                </a:lnTo>
                <a:lnTo>
                  <a:pt x="7565" y="4224"/>
                </a:lnTo>
                <a:lnTo>
                  <a:pt x="7569" y="4228"/>
                </a:lnTo>
                <a:lnTo>
                  <a:pt x="7572" y="4233"/>
                </a:lnTo>
                <a:lnTo>
                  <a:pt x="7575" y="4238"/>
                </a:lnTo>
                <a:lnTo>
                  <a:pt x="7576" y="4243"/>
                </a:lnTo>
                <a:lnTo>
                  <a:pt x="7577" y="4247"/>
                </a:lnTo>
                <a:lnTo>
                  <a:pt x="7576" y="4253"/>
                </a:lnTo>
                <a:lnTo>
                  <a:pt x="7574" y="4258"/>
                </a:lnTo>
                <a:lnTo>
                  <a:pt x="7572" y="4264"/>
                </a:lnTo>
                <a:lnTo>
                  <a:pt x="7568" y="4270"/>
                </a:lnTo>
                <a:lnTo>
                  <a:pt x="7560" y="4279"/>
                </a:lnTo>
                <a:lnTo>
                  <a:pt x="7550" y="4292"/>
                </a:lnTo>
                <a:lnTo>
                  <a:pt x="7523" y="4321"/>
                </a:lnTo>
                <a:lnTo>
                  <a:pt x="7447" y="432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9EE002-4AE0-4805-839E-2D96EDC76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2478C2-335E-41C7-93F6-3024A826A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A4564-3A5C-4211-839E-79C6DF433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9248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" type="titleOnly" preserve="1">
  <p:cSld name="slide_7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2B7123-6566-4518-A016-A0E599497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826B42-9DDE-452B-937C-403F41B2D7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F649C5-43C6-4C48-B3AD-424D059B0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1BCC26-6117-4173-9F8D-7B6692BAFC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9305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" type="blank" preserve="1">
  <p:cSld name="slide_7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9EE002-4AE0-4805-839E-2D96EDC76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2478C2-335E-41C7-93F6-3024A826A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A4564-3A5C-4211-839E-79C6DF433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1309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logan Orange" preserve="1" userDrawn="1">
  <p:cSld name="slide_7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9EE002-4AE0-4805-839E-2D96EDC76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2478C2-335E-41C7-93F6-3024A826A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A4564-3A5C-4211-839E-79C6DF433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58E2BBB-5CA7-4E70-BA16-3CB207A92F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83633" y="2708656"/>
            <a:ext cx="2330422" cy="1512432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CB8CFF4-CBC5-414F-BE9F-6D43BB26C7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75920" y="2708275"/>
            <a:ext cx="4680520" cy="1512888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accent4"/>
                </a:solidFill>
                <a:latin typeface="+mj-lt"/>
              </a:defRPr>
            </a:lvl1pPr>
            <a:lvl2pPr marL="0" indent="0">
              <a:buFontTx/>
              <a:buNone/>
              <a:defRPr sz="3200"/>
            </a:lvl2pPr>
            <a:lvl3pPr marL="0" indent="0">
              <a:buFontTx/>
              <a:buNone/>
              <a:defRPr sz="1200"/>
            </a:lvl3pPr>
            <a:lvl4pPr marL="0" indent="0">
              <a:buFontTx/>
              <a:buNone/>
              <a:defRPr sz="1200"/>
            </a:lvl4pPr>
            <a:lvl5pPr marL="0" indent="0">
              <a:buFontTx/>
              <a:buNone/>
              <a:defRPr sz="1200"/>
            </a:lvl5pPr>
            <a:lvl6pPr marL="0" indent="0">
              <a:buFontTx/>
              <a:buNone/>
              <a:defRPr sz="1200"/>
            </a:lvl6pPr>
            <a:lvl7pPr marL="0" indent="0">
              <a:buFontTx/>
              <a:buNone/>
              <a:defRPr sz="1200"/>
            </a:lvl7pPr>
            <a:lvl8pPr marL="0" indent="0">
              <a:buFontTx/>
              <a:buNone/>
              <a:defRPr sz="1200"/>
            </a:lvl8pPr>
            <a:lvl9pPr marL="0" indent="0">
              <a:buFontTx/>
              <a:buNone/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37474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go Special" type="blank" preserve="1">
  <p:cSld name="slide_82">
    <p:bg>
      <p:bgPr>
        <a:gradFill>
          <a:gsLst>
            <a:gs pos="0">
              <a:schemeClr val="accent1">
                <a:lumMod val="100000"/>
              </a:schemeClr>
            </a:gs>
            <a:gs pos="100000">
              <a:schemeClr val="accent1">
                <a:lumMod val="9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9EE002-4AE0-4805-839E-2D96EDC76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2478C2-335E-41C7-93F6-3024A826A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A4564-3A5C-4211-839E-79C6DF433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reeform 7"/>
          <p:cNvSpPr>
            <a:spLocks noChangeAspect="1" noEditPoints="1"/>
          </p:cNvSpPr>
          <p:nvPr userDrawn="1"/>
        </p:nvSpPr>
        <p:spPr bwMode="auto">
          <a:xfrm>
            <a:off x="3043240" y="2708920"/>
            <a:ext cx="6105520" cy="1440160"/>
          </a:xfrm>
          <a:custGeom>
            <a:avLst/>
            <a:gdLst>
              <a:gd name="T0" fmla="*/ 11392 w 14503"/>
              <a:gd name="T1" fmla="*/ 2705 h 3419"/>
              <a:gd name="T2" fmla="*/ 10843 w 14503"/>
              <a:gd name="T3" fmla="*/ 2592 h 3419"/>
              <a:gd name="T4" fmla="*/ 9707 w 14503"/>
              <a:gd name="T5" fmla="*/ 2691 h 3419"/>
              <a:gd name="T6" fmla="*/ 9202 w 14503"/>
              <a:gd name="T7" fmla="*/ 2718 h 3419"/>
              <a:gd name="T8" fmla="*/ 9399 w 14503"/>
              <a:gd name="T9" fmla="*/ 2534 h 3419"/>
              <a:gd name="T10" fmla="*/ 9385 w 14503"/>
              <a:gd name="T11" fmla="*/ 2134 h 3419"/>
              <a:gd name="T12" fmla="*/ 9247 w 14503"/>
              <a:gd name="T13" fmla="*/ 2352 h 3419"/>
              <a:gd name="T14" fmla="*/ 8533 w 14503"/>
              <a:gd name="T15" fmla="*/ 2712 h 3419"/>
              <a:gd name="T16" fmla="*/ 8908 w 14503"/>
              <a:gd name="T17" fmla="*/ 2713 h 3419"/>
              <a:gd name="T18" fmla="*/ 7197 w 14503"/>
              <a:gd name="T19" fmla="*/ 2618 h 3419"/>
              <a:gd name="T20" fmla="*/ 7359 w 14503"/>
              <a:gd name="T21" fmla="*/ 2469 h 3419"/>
              <a:gd name="T22" fmla="*/ 7656 w 14503"/>
              <a:gd name="T23" fmla="*/ 2305 h 3419"/>
              <a:gd name="T24" fmla="*/ 7633 w 14503"/>
              <a:gd name="T25" fmla="*/ 2433 h 3419"/>
              <a:gd name="T26" fmla="*/ 6915 w 14503"/>
              <a:gd name="T27" fmla="*/ 2263 h 3419"/>
              <a:gd name="T28" fmla="*/ 6831 w 14503"/>
              <a:gd name="T29" fmla="*/ 2727 h 3419"/>
              <a:gd name="T30" fmla="*/ 6860 w 14503"/>
              <a:gd name="T31" fmla="*/ 2119 h 3419"/>
              <a:gd name="T32" fmla="*/ 14342 w 14503"/>
              <a:gd name="T33" fmla="*/ 1111 h 3419"/>
              <a:gd name="T34" fmla="*/ 14370 w 14503"/>
              <a:gd name="T35" fmla="*/ 961 h 3419"/>
              <a:gd name="T36" fmla="*/ 13472 w 14503"/>
              <a:gd name="T37" fmla="*/ 1376 h 3419"/>
              <a:gd name="T38" fmla="*/ 13655 w 14503"/>
              <a:gd name="T39" fmla="*/ 1536 h 3419"/>
              <a:gd name="T40" fmla="*/ 13703 w 14503"/>
              <a:gd name="T41" fmla="*/ 1130 h 3419"/>
              <a:gd name="T42" fmla="*/ 13709 w 14503"/>
              <a:gd name="T43" fmla="*/ 966 h 3419"/>
              <a:gd name="T44" fmla="*/ 12952 w 14503"/>
              <a:gd name="T45" fmla="*/ 1081 h 3419"/>
              <a:gd name="T46" fmla="*/ 12525 w 14503"/>
              <a:gd name="T47" fmla="*/ 1043 h 3419"/>
              <a:gd name="T48" fmla="*/ 13193 w 14503"/>
              <a:gd name="T49" fmla="*/ 1038 h 3419"/>
              <a:gd name="T50" fmla="*/ 11928 w 14503"/>
              <a:gd name="T51" fmla="*/ 1448 h 3419"/>
              <a:gd name="T52" fmla="*/ 11865 w 14503"/>
              <a:gd name="T53" fmla="*/ 1553 h 3419"/>
              <a:gd name="T54" fmla="*/ 12022 w 14503"/>
              <a:gd name="T55" fmla="*/ 1060 h 3419"/>
              <a:gd name="T56" fmla="*/ 12198 w 14503"/>
              <a:gd name="T57" fmla="*/ 1040 h 3419"/>
              <a:gd name="T58" fmla="*/ 11580 w 14503"/>
              <a:gd name="T59" fmla="*/ 1397 h 3419"/>
              <a:gd name="T60" fmla="*/ 10924 w 14503"/>
              <a:gd name="T61" fmla="*/ 1300 h 3419"/>
              <a:gd name="T62" fmla="*/ 10999 w 14503"/>
              <a:gd name="T63" fmla="*/ 1557 h 3419"/>
              <a:gd name="T64" fmla="*/ 11144 w 14503"/>
              <a:gd name="T65" fmla="*/ 967 h 3419"/>
              <a:gd name="T66" fmla="*/ 10313 w 14503"/>
              <a:gd name="T67" fmla="*/ 1372 h 3419"/>
              <a:gd name="T68" fmla="*/ 10421 w 14503"/>
              <a:gd name="T69" fmla="*/ 1561 h 3419"/>
              <a:gd name="T70" fmla="*/ 10514 w 14503"/>
              <a:gd name="T71" fmla="*/ 967 h 3419"/>
              <a:gd name="T72" fmla="*/ 9776 w 14503"/>
              <a:gd name="T73" fmla="*/ 1082 h 3419"/>
              <a:gd name="T74" fmla="*/ 9989 w 14503"/>
              <a:gd name="T75" fmla="*/ 1025 h 3419"/>
              <a:gd name="T76" fmla="*/ 8701 w 14503"/>
              <a:gd name="T77" fmla="*/ 1199 h 3419"/>
              <a:gd name="T78" fmla="*/ 9009 w 14503"/>
              <a:gd name="T79" fmla="*/ 1500 h 3419"/>
              <a:gd name="T80" fmla="*/ 8681 w 14503"/>
              <a:gd name="T81" fmla="*/ 995 h 3419"/>
              <a:gd name="T82" fmla="*/ 7671 w 14503"/>
              <a:gd name="T83" fmla="*/ 1547 h 3419"/>
              <a:gd name="T84" fmla="*/ 7517 w 14503"/>
              <a:gd name="T85" fmla="*/ 974 h 3419"/>
              <a:gd name="T86" fmla="*/ 6773 w 14503"/>
              <a:gd name="T87" fmla="*/ 1549 h 3419"/>
              <a:gd name="T88" fmla="*/ 6490 w 14503"/>
              <a:gd name="T89" fmla="*/ 1200 h 3419"/>
              <a:gd name="T90" fmla="*/ 11483 w 14503"/>
              <a:gd name="T91" fmla="*/ 2275 h 3419"/>
              <a:gd name="T92" fmla="*/ 11930 w 14503"/>
              <a:gd name="T93" fmla="*/ 2637 h 3419"/>
              <a:gd name="T94" fmla="*/ 11807 w 14503"/>
              <a:gd name="T95" fmla="*/ 2576 h 3419"/>
              <a:gd name="T96" fmla="*/ 3702 w 14503"/>
              <a:gd name="T97" fmla="*/ 2179 h 3419"/>
              <a:gd name="T98" fmla="*/ 5043 w 14503"/>
              <a:gd name="T99" fmla="*/ 96 h 3419"/>
              <a:gd name="T100" fmla="*/ 4150 w 14503"/>
              <a:gd name="T101" fmla="*/ 1837 h 3419"/>
              <a:gd name="T102" fmla="*/ 1316 w 14503"/>
              <a:gd name="T103" fmla="*/ 3417 h 3419"/>
              <a:gd name="T104" fmla="*/ 16 w 14503"/>
              <a:gd name="T105" fmla="*/ 2039 h 3419"/>
              <a:gd name="T106" fmla="*/ 1177 w 14503"/>
              <a:gd name="T107" fmla="*/ 38 h 3419"/>
              <a:gd name="T108" fmla="*/ 2300 w 14503"/>
              <a:gd name="T109" fmla="*/ 878 h 3419"/>
              <a:gd name="T110" fmla="*/ 988 w 14503"/>
              <a:gd name="T111" fmla="*/ 2066 h 3419"/>
              <a:gd name="T112" fmla="*/ 1544 w 14503"/>
              <a:gd name="T113" fmla="*/ 1314 h 3419"/>
              <a:gd name="T114" fmla="*/ 1318 w 14503"/>
              <a:gd name="T115" fmla="*/ 478 h 3419"/>
              <a:gd name="T116" fmla="*/ 552 w 14503"/>
              <a:gd name="T117" fmla="*/ 2103 h 3419"/>
              <a:gd name="T118" fmla="*/ 1821 w 14503"/>
              <a:gd name="T119" fmla="*/ 2775 h 3419"/>
              <a:gd name="T120" fmla="*/ 2969 w 14503"/>
              <a:gd name="T121" fmla="*/ 185 h 3419"/>
              <a:gd name="T122" fmla="*/ 3355 w 14503"/>
              <a:gd name="T123" fmla="*/ 1462 h 3419"/>
              <a:gd name="T124" fmla="*/ 1720 w 14503"/>
              <a:gd name="T125" fmla="*/ 3383 h 34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503" h="3419">
                <a:moveTo>
                  <a:pt x="11272" y="2721"/>
                </a:moveTo>
                <a:lnTo>
                  <a:pt x="11231" y="2717"/>
                </a:lnTo>
                <a:lnTo>
                  <a:pt x="11196" y="2709"/>
                </a:lnTo>
                <a:lnTo>
                  <a:pt x="11180" y="2702"/>
                </a:lnTo>
                <a:lnTo>
                  <a:pt x="11166" y="2693"/>
                </a:lnTo>
                <a:lnTo>
                  <a:pt x="11153" y="2684"/>
                </a:lnTo>
                <a:lnTo>
                  <a:pt x="11141" y="2674"/>
                </a:lnTo>
                <a:lnTo>
                  <a:pt x="11131" y="2661"/>
                </a:lnTo>
                <a:lnTo>
                  <a:pt x="11122" y="2648"/>
                </a:lnTo>
                <a:lnTo>
                  <a:pt x="11108" y="2617"/>
                </a:lnTo>
                <a:lnTo>
                  <a:pt x="11100" y="2581"/>
                </a:lnTo>
                <a:lnTo>
                  <a:pt x="11098" y="2563"/>
                </a:lnTo>
                <a:lnTo>
                  <a:pt x="11097" y="2542"/>
                </a:lnTo>
                <a:lnTo>
                  <a:pt x="11097" y="2247"/>
                </a:lnTo>
                <a:lnTo>
                  <a:pt x="10992" y="2247"/>
                </a:lnTo>
                <a:lnTo>
                  <a:pt x="10992" y="2132"/>
                </a:lnTo>
                <a:lnTo>
                  <a:pt x="11097" y="2132"/>
                </a:lnTo>
                <a:lnTo>
                  <a:pt x="11097" y="1985"/>
                </a:lnTo>
                <a:lnTo>
                  <a:pt x="11236" y="1950"/>
                </a:lnTo>
                <a:lnTo>
                  <a:pt x="11236" y="2132"/>
                </a:lnTo>
                <a:lnTo>
                  <a:pt x="11383" y="2132"/>
                </a:lnTo>
                <a:lnTo>
                  <a:pt x="11383" y="2247"/>
                </a:lnTo>
                <a:lnTo>
                  <a:pt x="11236" y="2247"/>
                </a:lnTo>
                <a:lnTo>
                  <a:pt x="11236" y="2530"/>
                </a:lnTo>
                <a:lnTo>
                  <a:pt x="11237" y="2546"/>
                </a:lnTo>
                <a:lnTo>
                  <a:pt x="11241" y="2559"/>
                </a:lnTo>
                <a:lnTo>
                  <a:pt x="11245" y="2569"/>
                </a:lnTo>
                <a:lnTo>
                  <a:pt x="11253" y="2578"/>
                </a:lnTo>
                <a:lnTo>
                  <a:pt x="11261" y="2585"/>
                </a:lnTo>
                <a:lnTo>
                  <a:pt x="11272" y="2590"/>
                </a:lnTo>
                <a:lnTo>
                  <a:pt x="11286" y="2592"/>
                </a:lnTo>
                <a:lnTo>
                  <a:pt x="11302" y="2593"/>
                </a:lnTo>
                <a:lnTo>
                  <a:pt x="11343" y="2592"/>
                </a:lnTo>
                <a:lnTo>
                  <a:pt x="11392" y="2588"/>
                </a:lnTo>
                <a:lnTo>
                  <a:pt x="11392" y="2705"/>
                </a:lnTo>
                <a:lnTo>
                  <a:pt x="11362" y="2712"/>
                </a:lnTo>
                <a:lnTo>
                  <a:pt x="11333" y="2716"/>
                </a:lnTo>
                <a:lnTo>
                  <a:pt x="11303" y="2720"/>
                </a:lnTo>
                <a:lnTo>
                  <a:pt x="11272" y="2721"/>
                </a:lnTo>
                <a:close/>
                <a:moveTo>
                  <a:pt x="10830" y="2721"/>
                </a:moveTo>
                <a:lnTo>
                  <a:pt x="10789" y="2717"/>
                </a:lnTo>
                <a:lnTo>
                  <a:pt x="10753" y="2709"/>
                </a:lnTo>
                <a:lnTo>
                  <a:pt x="10738" y="2702"/>
                </a:lnTo>
                <a:lnTo>
                  <a:pt x="10722" y="2693"/>
                </a:lnTo>
                <a:lnTo>
                  <a:pt x="10710" y="2684"/>
                </a:lnTo>
                <a:lnTo>
                  <a:pt x="10698" y="2674"/>
                </a:lnTo>
                <a:lnTo>
                  <a:pt x="10688" y="2661"/>
                </a:lnTo>
                <a:lnTo>
                  <a:pt x="10679" y="2648"/>
                </a:lnTo>
                <a:lnTo>
                  <a:pt x="10666" y="2617"/>
                </a:lnTo>
                <a:lnTo>
                  <a:pt x="10657" y="2581"/>
                </a:lnTo>
                <a:lnTo>
                  <a:pt x="10655" y="2563"/>
                </a:lnTo>
                <a:lnTo>
                  <a:pt x="10655" y="2542"/>
                </a:lnTo>
                <a:lnTo>
                  <a:pt x="10655" y="2247"/>
                </a:lnTo>
                <a:lnTo>
                  <a:pt x="10549" y="2247"/>
                </a:lnTo>
                <a:lnTo>
                  <a:pt x="10549" y="2132"/>
                </a:lnTo>
                <a:lnTo>
                  <a:pt x="10655" y="2132"/>
                </a:lnTo>
                <a:lnTo>
                  <a:pt x="10655" y="1985"/>
                </a:lnTo>
                <a:lnTo>
                  <a:pt x="10794" y="1950"/>
                </a:lnTo>
                <a:lnTo>
                  <a:pt x="10794" y="2132"/>
                </a:lnTo>
                <a:lnTo>
                  <a:pt x="10940" y="2132"/>
                </a:lnTo>
                <a:lnTo>
                  <a:pt x="10940" y="2247"/>
                </a:lnTo>
                <a:lnTo>
                  <a:pt x="10794" y="2247"/>
                </a:lnTo>
                <a:lnTo>
                  <a:pt x="10794" y="2530"/>
                </a:lnTo>
                <a:lnTo>
                  <a:pt x="10795" y="2546"/>
                </a:lnTo>
                <a:lnTo>
                  <a:pt x="10798" y="2559"/>
                </a:lnTo>
                <a:lnTo>
                  <a:pt x="10803" y="2569"/>
                </a:lnTo>
                <a:lnTo>
                  <a:pt x="10809" y="2578"/>
                </a:lnTo>
                <a:lnTo>
                  <a:pt x="10819" y="2585"/>
                </a:lnTo>
                <a:lnTo>
                  <a:pt x="10830" y="2590"/>
                </a:lnTo>
                <a:lnTo>
                  <a:pt x="10843" y="2592"/>
                </a:lnTo>
                <a:lnTo>
                  <a:pt x="10859" y="2593"/>
                </a:lnTo>
                <a:lnTo>
                  <a:pt x="10901" y="2592"/>
                </a:lnTo>
                <a:lnTo>
                  <a:pt x="10949" y="2588"/>
                </a:lnTo>
                <a:lnTo>
                  <a:pt x="10949" y="2705"/>
                </a:lnTo>
                <a:lnTo>
                  <a:pt x="10920" y="2712"/>
                </a:lnTo>
                <a:lnTo>
                  <a:pt x="10891" y="2716"/>
                </a:lnTo>
                <a:lnTo>
                  <a:pt x="10860" y="2720"/>
                </a:lnTo>
                <a:lnTo>
                  <a:pt x="10830" y="2721"/>
                </a:lnTo>
                <a:close/>
                <a:moveTo>
                  <a:pt x="10307" y="2713"/>
                </a:moveTo>
                <a:lnTo>
                  <a:pt x="10307" y="2132"/>
                </a:lnTo>
                <a:lnTo>
                  <a:pt x="10450" y="2132"/>
                </a:lnTo>
                <a:lnTo>
                  <a:pt x="10450" y="2713"/>
                </a:lnTo>
                <a:lnTo>
                  <a:pt x="10307" y="2713"/>
                </a:lnTo>
                <a:close/>
                <a:moveTo>
                  <a:pt x="10303" y="2052"/>
                </a:moveTo>
                <a:lnTo>
                  <a:pt x="10303" y="1908"/>
                </a:lnTo>
                <a:lnTo>
                  <a:pt x="10453" y="1908"/>
                </a:lnTo>
                <a:lnTo>
                  <a:pt x="10453" y="2052"/>
                </a:lnTo>
                <a:lnTo>
                  <a:pt x="10303" y="2052"/>
                </a:lnTo>
                <a:close/>
                <a:moveTo>
                  <a:pt x="9992" y="2713"/>
                </a:moveTo>
                <a:lnTo>
                  <a:pt x="9992" y="2132"/>
                </a:lnTo>
                <a:lnTo>
                  <a:pt x="10133" y="2132"/>
                </a:lnTo>
                <a:lnTo>
                  <a:pt x="10133" y="2713"/>
                </a:lnTo>
                <a:lnTo>
                  <a:pt x="9992" y="2713"/>
                </a:lnTo>
                <a:close/>
                <a:moveTo>
                  <a:pt x="9988" y="2052"/>
                </a:moveTo>
                <a:lnTo>
                  <a:pt x="9988" y="1908"/>
                </a:lnTo>
                <a:lnTo>
                  <a:pt x="10137" y="1908"/>
                </a:lnTo>
                <a:lnTo>
                  <a:pt x="10137" y="2052"/>
                </a:lnTo>
                <a:lnTo>
                  <a:pt x="9988" y="2052"/>
                </a:lnTo>
                <a:close/>
                <a:moveTo>
                  <a:pt x="9812" y="2720"/>
                </a:moveTo>
                <a:lnTo>
                  <a:pt x="9777" y="2717"/>
                </a:lnTo>
                <a:lnTo>
                  <a:pt x="9762" y="2715"/>
                </a:lnTo>
                <a:lnTo>
                  <a:pt x="9747" y="2711"/>
                </a:lnTo>
                <a:lnTo>
                  <a:pt x="9732" y="2705"/>
                </a:lnTo>
                <a:lnTo>
                  <a:pt x="9719" y="2699"/>
                </a:lnTo>
                <a:lnTo>
                  <a:pt x="9707" y="2691"/>
                </a:lnTo>
                <a:lnTo>
                  <a:pt x="9697" y="2683"/>
                </a:lnTo>
                <a:lnTo>
                  <a:pt x="9687" y="2673"/>
                </a:lnTo>
                <a:lnTo>
                  <a:pt x="9678" y="2662"/>
                </a:lnTo>
                <a:lnTo>
                  <a:pt x="9671" y="2649"/>
                </a:lnTo>
                <a:lnTo>
                  <a:pt x="9665" y="2635"/>
                </a:lnTo>
                <a:lnTo>
                  <a:pt x="9656" y="2602"/>
                </a:lnTo>
                <a:lnTo>
                  <a:pt x="9654" y="2584"/>
                </a:lnTo>
                <a:lnTo>
                  <a:pt x="9653" y="2563"/>
                </a:lnTo>
                <a:lnTo>
                  <a:pt x="9653" y="1906"/>
                </a:lnTo>
                <a:lnTo>
                  <a:pt x="9793" y="1906"/>
                </a:lnTo>
                <a:lnTo>
                  <a:pt x="9793" y="2540"/>
                </a:lnTo>
                <a:lnTo>
                  <a:pt x="9794" y="2552"/>
                </a:lnTo>
                <a:lnTo>
                  <a:pt x="9796" y="2563"/>
                </a:lnTo>
                <a:lnTo>
                  <a:pt x="9799" y="2573"/>
                </a:lnTo>
                <a:lnTo>
                  <a:pt x="9803" y="2580"/>
                </a:lnTo>
                <a:lnTo>
                  <a:pt x="9811" y="2587"/>
                </a:lnTo>
                <a:lnTo>
                  <a:pt x="9820" y="2591"/>
                </a:lnTo>
                <a:lnTo>
                  <a:pt x="9834" y="2594"/>
                </a:lnTo>
                <a:lnTo>
                  <a:pt x="9850" y="2596"/>
                </a:lnTo>
                <a:lnTo>
                  <a:pt x="9873" y="2594"/>
                </a:lnTo>
                <a:lnTo>
                  <a:pt x="9873" y="2712"/>
                </a:lnTo>
                <a:lnTo>
                  <a:pt x="9842" y="2717"/>
                </a:lnTo>
                <a:lnTo>
                  <a:pt x="9812" y="2720"/>
                </a:lnTo>
                <a:close/>
                <a:moveTo>
                  <a:pt x="9479" y="2661"/>
                </a:moveTo>
                <a:lnTo>
                  <a:pt x="9461" y="2677"/>
                </a:lnTo>
                <a:lnTo>
                  <a:pt x="9439" y="2691"/>
                </a:lnTo>
                <a:lnTo>
                  <a:pt x="9416" y="2702"/>
                </a:lnTo>
                <a:lnTo>
                  <a:pt x="9392" y="2712"/>
                </a:lnTo>
                <a:lnTo>
                  <a:pt x="9366" y="2718"/>
                </a:lnTo>
                <a:lnTo>
                  <a:pt x="9338" y="2724"/>
                </a:lnTo>
                <a:lnTo>
                  <a:pt x="9310" y="2726"/>
                </a:lnTo>
                <a:lnTo>
                  <a:pt x="9280" y="2727"/>
                </a:lnTo>
                <a:lnTo>
                  <a:pt x="9253" y="2726"/>
                </a:lnTo>
                <a:lnTo>
                  <a:pt x="9227" y="2724"/>
                </a:lnTo>
                <a:lnTo>
                  <a:pt x="9202" y="2718"/>
                </a:lnTo>
                <a:lnTo>
                  <a:pt x="9177" y="2711"/>
                </a:lnTo>
                <a:lnTo>
                  <a:pt x="9154" y="2702"/>
                </a:lnTo>
                <a:lnTo>
                  <a:pt x="9133" y="2690"/>
                </a:lnTo>
                <a:lnTo>
                  <a:pt x="9112" y="2676"/>
                </a:lnTo>
                <a:lnTo>
                  <a:pt x="9102" y="2668"/>
                </a:lnTo>
                <a:lnTo>
                  <a:pt x="9094" y="2661"/>
                </a:lnTo>
                <a:lnTo>
                  <a:pt x="9082" y="2648"/>
                </a:lnTo>
                <a:lnTo>
                  <a:pt x="9070" y="2634"/>
                </a:lnTo>
                <a:lnTo>
                  <a:pt x="9059" y="2618"/>
                </a:lnTo>
                <a:lnTo>
                  <a:pt x="9050" y="2601"/>
                </a:lnTo>
                <a:lnTo>
                  <a:pt x="9037" y="2565"/>
                </a:lnTo>
                <a:lnTo>
                  <a:pt x="9033" y="2546"/>
                </a:lnTo>
                <a:lnTo>
                  <a:pt x="9032" y="2526"/>
                </a:lnTo>
                <a:lnTo>
                  <a:pt x="9162" y="2526"/>
                </a:lnTo>
                <a:lnTo>
                  <a:pt x="9165" y="2544"/>
                </a:lnTo>
                <a:lnTo>
                  <a:pt x="9167" y="2554"/>
                </a:lnTo>
                <a:lnTo>
                  <a:pt x="9172" y="2564"/>
                </a:lnTo>
                <a:lnTo>
                  <a:pt x="9182" y="2580"/>
                </a:lnTo>
                <a:lnTo>
                  <a:pt x="9187" y="2588"/>
                </a:lnTo>
                <a:lnTo>
                  <a:pt x="9194" y="2593"/>
                </a:lnTo>
                <a:lnTo>
                  <a:pt x="9211" y="2605"/>
                </a:lnTo>
                <a:lnTo>
                  <a:pt x="9232" y="2613"/>
                </a:lnTo>
                <a:lnTo>
                  <a:pt x="9254" y="2617"/>
                </a:lnTo>
                <a:lnTo>
                  <a:pt x="9282" y="2619"/>
                </a:lnTo>
                <a:lnTo>
                  <a:pt x="9320" y="2616"/>
                </a:lnTo>
                <a:lnTo>
                  <a:pt x="9340" y="2613"/>
                </a:lnTo>
                <a:lnTo>
                  <a:pt x="9359" y="2606"/>
                </a:lnTo>
                <a:lnTo>
                  <a:pt x="9367" y="2602"/>
                </a:lnTo>
                <a:lnTo>
                  <a:pt x="9375" y="2597"/>
                </a:lnTo>
                <a:lnTo>
                  <a:pt x="9382" y="2591"/>
                </a:lnTo>
                <a:lnTo>
                  <a:pt x="9388" y="2584"/>
                </a:lnTo>
                <a:lnTo>
                  <a:pt x="9397" y="2567"/>
                </a:lnTo>
                <a:lnTo>
                  <a:pt x="9399" y="2556"/>
                </a:lnTo>
                <a:lnTo>
                  <a:pt x="9400" y="2546"/>
                </a:lnTo>
                <a:lnTo>
                  <a:pt x="9399" y="2534"/>
                </a:lnTo>
                <a:lnTo>
                  <a:pt x="9396" y="2523"/>
                </a:lnTo>
                <a:lnTo>
                  <a:pt x="9391" y="2513"/>
                </a:lnTo>
                <a:lnTo>
                  <a:pt x="9385" y="2504"/>
                </a:lnTo>
                <a:lnTo>
                  <a:pt x="9376" y="2498"/>
                </a:lnTo>
                <a:lnTo>
                  <a:pt x="9366" y="2491"/>
                </a:lnTo>
                <a:lnTo>
                  <a:pt x="9342" y="2485"/>
                </a:lnTo>
                <a:lnTo>
                  <a:pt x="9302" y="2479"/>
                </a:lnTo>
                <a:lnTo>
                  <a:pt x="9262" y="2474"/>
                </a:lnTo>
                <a:lnTo>
                  <a:pt x="9221" y="2469"/>
                </a:lnTo>
                <a:lnTo>
                  <a:pt x="9182" y="2462"/>
                </a:lnTo>
                <a:lnTo>
                  <a:pt x="9153" y="2453"/>
                </a:lnTo>
                <a:lnTo>
                  <a:pt x="9127" y="2441"/>
                </a:lnTo>
                <a:lnTo>
                  <a:pt x="9104" y="2425"/>
                </a:lnTo>
                <a:lnTo>
                  <a:pt x="9085" y="2405"/>
                </a:lnTo>
                <a:lnTo>
                  <a:pt x="9070" y="2383"/>
                </a:lnTo>
                <a:lnTo>
                  <a:pt x="9059" y="2359"/>
                </a:lnTo>
                <a:lnTo>
                  <a:pt x="9051" y="2333"/>
                </a:lnTo>
                <a:lnTo>
                  <a:pt x="9049" y="2306"/>
                </a:lnTo>
                <a:lnTo>
                  <a:pt x="9050" y="2286"/>
                </a:lnTo>
                <a:lnTo>
                  <a:pt x="9053" y="2265"/>
                </a:lnTo>
                <a:lnTo>
                  <a:pt x="9059" y="2247"/>
                </a:lnTo>
                <a:lnTo>
                  <a:pt x="9065" y="2230"/>
                </a:lnTo>
                <a:lnTo>
                  <a:pt x="9084" y="2201"/>
                </a:lnTo>
                <a:lnTo>
                  <a:pt x="9108" y="2176"/>
                </a:lnTo>
                <a:lnTo>
                  <a:pt x="9144" y="2152"/>
                </a:lnTo>
                <a:lnTo>
                  <a:pt x="9163" y="2141"/>
                </a:lnTo>
                <a:lnTo>
                  <a:pt x="9185" y="2133"/>
                </a:lnTo>
                <a:lnTo>
                  <a:pt x="9208" y="2127"/>
                </a:lnTo>
                <a:lnTo>
                  <a:pt x="9232" y="2121"/>
                </a:lnTo>
                <a:lnTo>
                  <a:pt x="9258" y="2119"/>
                </a:lnTo>
                <a:lnTo>
                  <a:pt x="9284" y="2118"/>
                </a:lnTo>
                <a:lnTo>
                  <a:pt x="9310" y="2119"/>
                </a:lnTo>
                <a:lnTo>
                  <a:pt x="9336" y="2122"/>
                </a:lnTo>
                <a:lnTo>
                  <a:pt x="9361" y="2128"/>
                </a:lnTo>
                <a:lnTo>
                  <a:pt x="9385" y="2134"/>
                </a:lnTo>
                <a:lnTo>
                  <a:pt x="9408" y="2144"/>
                </a:lnTo>
                <a:lnTo>
                  <a:pt x="9429" y="2156"/>
                </a:lnTo>
                <a:lnTo>
                  <a:pt x="9449" y="2170"/>
                </a:lnTo>
                <a:lnTo>
                  <a:pt x="9466" y="2185"/>
                </a:lnTo>
                <a:lnTo>
                  <a:pt x="9477" y="2199"/>
                </a:lnTo>
                <a:lnTo>
                  <a:pt x="9487" y="2213"/>
                </a:lnTo>
                <a:lnTo>
                  <a:pt x="9503" y="2242"/>
                </a:lnTo>
                <a:lnTo>
                  <a:pt x="9514" y="2274"/>
                </a:lnTo>
                <a:lnTo>
                  <a:pt x="9517" y="2305"/>
                </a:lnTo>
                <a:lnTo>
                  <a:pt x="9385" y="2305"/>
                </a:lnTo>
                <a:lnTo>
                  <a:pt x="9383" y="2290"/>
                </a:lnTo>
                <a:lnTo>
                  <a:pt x="9378" y="2275"/>
                </a:lnTo>
                <a:lnTo>
                  <a:pt x="9371" y="2263"/>
                </a:lnTo>
                <a:lnTo>
                  <a:pt x="9361" y="2251"/>
                </a:lnTo>
                <a:lnTo>
                  <a:pt x="9346" y="2240"/>
                </a:lnTo>
                <a:lnTo>
                  <a:pt x="9327" y="2231"/>
                </a:lnTo>
                <a:lnTo>
                  <a:pt x="9307" y="2226"/>
                </a:lnTo>
                <a:lnTo>
                  <a:pt x="9285" y="2224"/>
                </a:lnTo>
                <a:lnTo>
                  <a:pt x="9255" y="2225"/>
                </a:lnTo>
                <a:lnTo>
                  <a:pt x="9240" y="2228"/>
                </a:lnTo>
                <a:lnTo>
                  <a:pt x="9225" y="2233"/>
                </a:lnTo>
                <a:lnTo>
                  <a:pt x="9216" y="2238"/>
                </a:lnTo>
                <a:lnTo>
                  <a:pt x="9208" y="2242"/>
                </a:lnTo>
                <a:lnTo>
                  <a:pt x="9194" y="2256"/>
                </a:lnTo>
                <a:lnTo>
                  <a:pt x="9188" y="2264"/>
                </a:lnTo>
                <a:lnTo>
                  <a:pt x="9184" y="2274"/>
                </a:lnTo>
                <a:lnTo>
                  <a:pt x="9182" y="2283"/>
                </a:lnTo>
                <a:lnTo>
                  <a:pt x="9181" y="2294"/>
                </a:lnTo>
                <a:lnTo>
                  <a:pt x="9182" y="2308"/>
                </a:lnTo>
                <a:lnTo>
                  <a:pt x="9186" y="2320"/>
                </a:lnTo>
                <a:lnTo>
                  <a:pt x="9194" y="2330"/>
                </a:lnTo>
                <a:lnTo>
                  <a:pt x="9202" y="2337"/>
                </a:lnTo>
                <a:lnTo>
                  <a:pt x="9212" y="2343"/>
                </a:lnTo>
                <a:lnTo>
                  <a:pt x="9224" y="2348"/>
                </a:lnTo>
                <a:lnTo>
                  <a:pt x="9247" y="2352"/>
                </a:lnTo>
                <a:lnTo>
                  <a:pt x="9308" y="2359"/>
                </a:lnTo>
                <a:lnTo>
                  <a:pt x="9371" y="2369"/>
                </a:lnTo>
                <a:lnTo>
                  <a:pt x="9404" y="2377"/>
                </a:lnTo>
                <a:lnTo>
                  <a:pt x="9420" y="2381"/>
                </a:lnTo>
                <a:lnTo>
                  <a:pt x="9435" y="2388"/>
                </a:lnTo>
                <a:lnTo>
                  <a:pt x="9461" y="2403"/>
                </a:lnTo>
                <a:lnTo>
                  <a:pt x="9474" y="2413"/>
                </a:lnTo>
                <a:lnTo>
                  <a:pt x="9485" y="2423"/>
                </a:lnTo>
                <a:lnTo>
                  <a:pt x="9495" y="2433"/>
                </a:lnTo>
                <a:lnTo>
                  <a:pt x="9503" y="2444"/>
                </a:lnTo>
                <a:lnTo>
                  <a:pt x="9517" y="2470"/>
                </a:lnTo>
                <a:lnTo>
                  <a:pt x="9523" y="2486"/>
                </a:lnTo>
                <a:lnTo>
                  <a:pt x="9526" y="2501"/>
                </a:lnTo>
                <a:lnTo>
                  <a:pt x="9529" y="2534"/>
                </a:lnTo>
                <a:lnTo>
                  <a:pt x="9528" y="2553"/>
                </a:lnTo>
                <a:lnTo>
                  <a:pt x="9526" y="2573"/>
                </a:lnTo>
                <a:lnTo>
                  <a:pt x="9522" y="2590"/>
                </a:lnTo>
                <a:lnTo>
                  <a:pt x="9515" y="2606"/>
                </a:lnTo>
                <a:lnTo>
                  <a:pt x="9509" y="2622"/>
                </a:lnTo>
                <a:lnTo>
                  <a:pt x="9500" y="2636"/>
                </a:lnTo>
                <a:lnTo>
                  <a:pt x="9479" y="2661"/>
                </a:lnTo>
                <a:close/>
                <a:moveTo>
                  <a:pt x="8793" y="2713"/>
                </a:moveTo>
                <a:lnTo>
                  <a:pt x="8782" y="2637"/>
                </a:lnTo>
                <a:lnTo>
                  <a:pt x="8770" y="2658"/>
                </a:lnTo>
                <a:lnTo>
                  <a:pt x="8755" y="2675"/>
                </a:lnTo>
                <a:lnTo>
                  <a:pt x="8737" y="2690"/>
                </a:lnTo>
                <a:lnTo>
                  <a:pt x="8717" y="2703"/>
                </a:lnTo>
                <a:lnTo>
                  <a:pt x="8694" y="2714"/>
                </a:lnTo>
                <a:lnTo>
                  <a:pt x="8669" y="2722"/>
                </a:lnTo>
                <a:lnTo>
                  <a:pt x="8643" y="2726"/>
                </a:lnTo>
                <a:lnTo>
                  <a:pt x="8615" y="2727"/>
                </a:lnTo>
                <a:lnTo>
                  <a:pt x="8594" y="2726"/>
                </a:lnTo>
                <a:lnTo>
                  <a:pt x="8572" y="2724"/>
                </a:lnTo>
                <a:lnTo>
                  <a:pt x="8551" y="2718"/>
                </a:lnTo>
                <a:lnTo>
                  <a:pt x="8533" y="2712"/>
                </a:lnTo>
                <a:lnTo>
                  <a:pt x="8514" y="2704"/>
                </a:lnTo>
                <a:lnTo>
                  <a:pt x="8498" y="2695"/>
                </a:lnTo>
                <a:lnTo>
                  <a:pt x="8483" y="2683"/>
                </a:lnTo>
                <a:lnTo>
                  <a:pt x="8469" y="2671"/>
                </a:lnTo>
                <a:lnTo>
                  <a:pt x="8457" y="2655"/>
                </a:lnTo>
                <a:lnTo>
                  <a:pt x="8446" y="2640"/>
                </a:lnTo>
                <a:lnTo>
                  <a:pt x="8430" y="2604"/>
                </a:lnTo>
                <a:lnTo>
                  <a:pt x="8419" y="2564"/>
                </a:lnTo>
                <a:lnTo>
                  <a:pt x="8417" y="2542"/>
                </a:lnTo>
                <a:lnTo>
                  <a:pt x="8416" y="2519"/>
                </a:lnTo>
                <a:lnTo>
                  <a:pt x="8416" y="2132"/>
                </a:lnTo>
                <a:lnTo>
                  <a:pt x="8555" y="2132"/>
                </a:lnTo>
                <a:lnTo>
                  <a:pt x="8555" y="2489"/>
                </a:lnTo>
                <a:lnTo>
                  <a:pt x="8556" y="2513"/>
                </a:lnTo>
                <a:lnTo>
                  <a:pt x="8560" y="2535"/>
                </a:lnTo>
                <a:lnTo>
                  <a:pt x="8567" y="2553"/>
                </a:lnTo>
                <a:lnTo>
                  <a:pt x="8577" y="2569"/>
                </a:lnTo>
                <a:lnTo>
                  <a:pt x="8590" y="2582"/>
                </a:lnTo>
                <a:lnTo>
                  <a:pt x="8608" y="2591"/>
                </a:lnTo>
                <a:lnTo>
                  <a:pt x="8630" y="2597"/>
                </a:lnTo>
                <a:lnTo>
                  <a:pt x="8655" y="2599"/>
                </a:lnTo>
                <a:lnTo>
                  <a:pt x="8677" y="2597"/>
                </a:lnTo>
                <a:lnTo>
                  <a:pt x="8697" y="2591"/>
                </a:lnTo>
                <a:lnTo>
                  <a:pt x="8713" y="2581"/>
                </a:lnTo>
                <a:lnTo>
                  <a:pt x="8726" y="2571"/>
                </a:lnTo>
                <a:lnTo>
                  <a:pt x="8738" y="2557"/>
                </a:lnTo>
                <a:lnTo>
                  <a:pt x="8747" y="2543"/>
                </a:lnTo>
                <a:lnTo>
                  <a:pt x="8755" y="2527"/>
                </a:lnTo>
                <a:lnTo>
                  <a:pt x="8760" y="2511"/>
                </a:lnTo>
                <a:lnTo>
                  <a:pt x="8764" y="2493"/>
                </a:lnTo>
                <a:lnTo>
                  <a:pt x="8767" y="2475"/>
                </a:lnTo>
                <a:lnTo>
                  <a:pt x="8769" y="2439"/>
                </a:lnTo>
                <a:lnTo>
                  <a:pt x="8769" y="2132"/>
                </a:lnTo>
                <a:lnTo>
                  <a:pt x="8908" y="2132"/>
                </a:lnTo>
                <a:lnTo>
                  <a:pt x="8908" y="2713"/>
                </a:lnTo>
                <a:lnTo>
                  <a:pt x="8793" y="2713"/>
                </a:lnTo>
                <a:close/>
                <a:moveTo>
                  <a:pt x="8190" y="2713"/>
                </a:moveTo>
                <a:lnTo>
                  <a:pt x="8028" y="2460"/>
                </a:lnTo>
                <a:lnTo>
                  <a:pt x="7934" y="2560"/>
                </a:lnTo>
                <a:lnTo>
                  <a:pt x="7934" y="2713"/>
                </a:lnTo>
                <a:lnTo>
                  <a:pt x="7795" y="2713"/>
                </a:lnTo>
                <a:lnTo>
                  <a:pt x="7795" y="1907"/>
                </a:lnTo>
                <a:lnTo>
                  <a:pt x="7934" y="1907"/>
                </a:lnTo>
                <a:lnTo>
                  <a:pt x="7934" y="2368"/>
                </a:lnTo>
                <a:lnTo>
                  <a:pt x="8155" y="2132"/>
                </a:lnTo>
                <a:lnTo>
                  <a:pt x="8330" y="2132"/>
                </a:lnTo>
                <a:lnTo>
                  <a:pt x="8122" y="2357"/>
                </a:lnTo>
                <a:lnTo>
                  <a:pt x="8351" y="2713"/>
                </a:lnTo>
                <a:lnTo>
                  <a:pt x="8190" y="2713"/>
                </a:lnTo>
                <a:close/>
                <a:moveTo>
                  <a:pt x="7618" y="2661"/>
                </a:moveTo>
                <a:lnTo>
                  <a:pt x="7600" y="2677"/>
                </a:lnTo>
                <a:lnTo>
                  <a:pt x="7578" y="2691"/>
                </a:lnTo>
                <a:lnTo>
                  <a:pt x="7555" y="2702"/>
                </a:lnTo>
                <a:lnTo>
                  <a:pt x="7531" y="2712"/>
                </a:lnTo>
                <a:lnTo>
                  <a:pt x="7505" y="2718"/>
                </a:lnTo>
                <a:lnTo>
                  <a:pt x="7477" y="2724"/>
                </a:lnTo>
                <a:lnTo>
                  <a:pt x="7448" y="2726"/>
                </a:lnTo>
                <a:lnTo>
                  <a:pt x="7419" y="2727"/>
                </a:lnTo>
                <a:lnTo>
                  <a:pt x="7392" y="2726"/>
                </a:lnTo>
                <a:lnTo>
                  <a:pt x="7366" y="2724"/>
                </a:lnTo>
                <a:lnTo>
                  <a:pt x="7340" y="2718"/>
                </a:lnTo>
                <a:lnTo>
                  <a:pt x="7316" y="2711"/>
                </a:lnTo>
                <a:lnTo>
                  <a:pt x="7293" y="2702"/>
                </a:lnTo>
                <a:lnTo>
                  <a:pt x="7271" y="2690"/>
                </a:lnTo>
                <a:lnTo>
                  <a:pt x="7251" y="2676"/>
                </a:lnTo>
                <a:lnTo>
                  <a:pt x="7241" y="2668"/>
                </a:lnTo>
                <a:lnTo>
                  <a:pt x="7232" y="2661"/>
                </a:lnTo>
                <a:lnTo>
                  <a:pt x="7219" y="2648"/>
                </a:lnTo>
                <a:lnTo>
                  <a:pt x="7208" y="2634"/>
                </a:lnTo>
                <a:lnTo>
                  <a:pt x="7197" y="2618"/>
                </a:lnTo>
                <a:lnTo>
                  <a:pt x="7189" y="2601"/>
                </a:lnTo>
                <a:lnTo>
                  <a:pt x="7176" y="2565"/>
                </a:lnTo>
                <a:lnTo>
                  <a:pt x="7171" y="2546"/>
                </a:lnTo>
                <a:lnTo>
                  <a:pt x="7170" y="2526"/>
                </a:lnTo>
                <a:lnTo>
                  <a:pt x="7301" y="2526"/>
                </a:lnTo>
                <a:lnTo>
                  <a:pt x="7304" y="2544"/>
                </a:lnTo>
                <a:lnTo>
                  <a:pt x="7306" y="2554"/>
                </a:lnTo>
                <a:lnTo>
                  <a:pt x="7311" y="2564"/>
                </a:lnTo>
                <a:lnTo>
                  <a:pt x="7320" y="2580"/>
                </a:lnTo>
                <a:lnTo>
                  <a:pt x="7326" y="2588"/>
                </a:lnTo>
                <a:lnTo>
                  <a:pt x="7332" y="2593"/>
                </a:lnTo>
                <a:lnTo>
                  <a:pt x="7350" y="2605"/>
                </a:lnTo>
                <a:lnTo>
                  <a:pt x="7370" y="2613"/>
                </a:lnTo>
                <a:lnTo>
                  <a:pt x="7393" y="2617"/>
                </a:lnTo>
                <a:lnTo>
                  <a:pt x="7420" y="2619"/>
                </a:lnTo>
                <a:lnTo>
                  <a:pt x="7458" y="2616"/>
                </a:lnTo>
                <a:lnTo>
                  <a:pt x="7479" y="2613"/>
                </a:lnTo>
                <a:lnTo>
                  <a:pt x="7497" y="2606"/>
                </a:lnTo>
                <a:lnTo>
                  <a:pt x="7506" y="2602"/>
                </a:lnTo>
                <a:lnTo>
                  <a:pt x="7514" y="2597"/>
                </a:lnTo>
                <a:lnTo>
                  <a:pt x="7520" y="2591"/>
                </a:lnTo>
                <a:lnTo>
                  <a:pt x="7527" y="2584"/>
                </a:lnTo>
                <a:lnTo>
                  <a:pt x="7535" y="2567"/>
                </a:lnTo>
                <a:lnTo>
                  <a:pt x="7538" y="2556"/>
                </a:lnTo>
                <a:lnTo>
                  <a:pt x="7539" y="2546"/>
                </a:lnTo>
                <a:lnTo>
                  <a:pt x="7538" y="2534"/>
                </a:lnTo>
                <a:lnTo>
                  <a:pt x="7534" y="2523"/>
                </a:lnTo>
                <a:lnTo>
                  <a:pt x="7530" y="2513"/>
                </a:lnTo>
                <a:lnTo>
                  <a:pt x="7523" y="2504"/>
                </a:lnTo>
                <a:lnTo>
                  <a:pt x="7515" y="2498"/>
                </a:lnTo>
                <a:lnTo>
                  <a:pt x="7505" y="2491"/>
                </a:lnTo>
                <a:lnTo>
                  <a:pt x="7481" y="2485"/>
                </a:lnTo>
                <a:lnTo>
                  <a:pt x="7441" y="2479"/>
                </a:lnTo>
                <a:lnTo>
                  <a:pt x="7401" y="2474"/>
                </a:lnTo>
                <a:lnTo>
                  <a:pt x="7359" y="2469"/>
                </a:lnTo>
                <a:lnTo>
                  <a:pt x="7320" y="2462"/>
                </a:lnTo>
                <a:lnTo>
                  <a:pt x="7292" y="2453"/>
                </a:lnTo>
                <a:lnTo>
                  <a:pt x="7266" y="2441"/>
                </a:lnTo>
                <a:lnTo>
                  <a:pt x="7243" y="2425"/>
                </a:lnTo>
                <a:lnTo>
                  <a:pt x="7224" y="2405"/>
                </a:lnTo>
                <a:lnTo>
                  <a:pt x="7208" y="2383"/>
                </a:lnTo>
                <a:lnTo>
                  <a:pt x="7197" y="2359"/>
                </a:lnTo>
                <a:lnTo>
                  <a:pt x="7190" y="2333"/>
                </a:lnTo>
                <a:lnTo>
                  <a:pt x="7188" y="2306"/>
                </a:lnTo>
                <a:lnTo>
                  <a:pt x="7189" y="2286"/>
                </a:lnTo>
                <a:lnTo>
                  <a:pt x="7192" y="2265"/>
                </a:lnTo>
                <a:lnTo>
                  <a:pt x="7197" y="2247"/>
                </a:lnTo>
                <a:lnTo>
                  <a:pt x="7204" y="2230"/>
                </a:lnTo>
                <a:lnTo>
                  <a:pt x="7222" y="2201"/>
                </a:lnTo>
                <a:lnTo>
                  <a:pt x="7246" y="2176"/>
                </a:lnTo>
                <a:lnTo>
                  <a:pt x="7281" y="2152"/>
                </a:lnTo>
                <a:lnTo>
                  <a:pt x="7302" y="2141"/>
                </a:lnTo>
                <a:lnTo>
                  <a:pt x="7324" y="2133"/>
                </a:lnTo>
                <a:lnTo>
                  <a:pt x="7346" y="2127"/>
                </a:lnTo>
                <a:lnTo>
                  <a:pt x="7370" y="2121"/>
                </a:lnTo>
                <a:lnTo>
                  <a:pt x="7396" y="2119"/>
                </a:lnTo>
                <a:lnTo>
                  <a:pt x="7422" y="2118"/>
                </a:lnTo>
                <a:lnTo>
                  <a:pt x="7448" y="2119"/>
                </a:lnTo>
                <a:lnTo>
                  <a:pt x="7475" y="2122"/>
                </a:lnTo>
                <a:lnTo>
                  <a:pt x="7500" y="2128"/>
                </a:lnTo>
                <a:lnTo>
                  <a:pt x="7523" y="2134"/>
                </a:lnTo>
                <a:lnTo>
                  <a:pt x="7546" y="2144"/>
                </a:lnTo>
                <a:lnTo>
                  <a:pt x="7568" y="2156"/>
                </a:lnTo>
                <a:lnTo>
                  <a:pt x="7588" y="2170"/>
                </a:lnTo>
                <a:lnTo>
                  <a:pt x="7605" y="2185"/>
                </a:lnTo>
                <a:lnTo>
                  <a:pt x="7626" y="2213"/>
                </a:lnTo>
                <a:lnTo>
                  <a:pt x="7642" y="2242"/>
                </a:lnTo>
                <a:lnTo>
                  <a:pt x="7647" y="2258"/>
                </a:lnTo>
                <a:lnTo>
                  <a:pt x="7652" y="2274"/>
                </a:lnTo>
                <a:lnTo>
                  <a:pt x="7656" y="2305"/>
                </a:lnTo>
                <a:lnTo>
                  <a:pt x="7523" y="2305"/>
                </a:lnTo>
                <a:lnTo>
                  <a:pt x="7521" y="2290"/>
                </a:lnTo>
                <a:lnTo>
                  <a:pt x="7516" y="2275"/>
                </a:lnTo>
                <a:lnTo>
                  <a:pt x="7509" y="2263"/>
                </a:lnTo>
                <a:lnTo>
                  <a:pt x="7500" y="2251"/>
                </a:lnTo>
                <a:lnTo>
                  <a:pt x="7484" y="2240"/>
                </a:lnTo>
                <a:lnTo>
                  <a:pt x="7466" y="2231"/>
                </a:lnTo>
                <a:lnTo>
                  <a:pt x="7445" y="2226"/>
                </a:lnTo>
                <a:lnTo>
                  <a:pt x="7424" y="2224"/>
                </a:lnTo>
                <a:lnTo>
                  <a:pt x="7394" y="2225"/>
                </a:lnTo>
                <a:lnTo>
                  <a:pt x="7379" y="2228"/>
                </a:lnTo>
                <a:lnTo>
                  <a:pt x="7364" y="2233"/>
                </a:lnTo>
                <a:lnTo>
                  <a:pt x="7355" y="2238"/>
                </a:lnTo>
                <a:lnTo>
                  <a:pt x="7346" y="2242"/>
                </a:lnTo>
                <a:lnTo>
                  <a:pt x="7332" y="2256"/>
                </a:lnTo>
                <a:lnTo>
                  <a:pt x="7327" y="2264"/>
                </a:lnTo>
                <a:lnTo>
                  <a:pt x="7322" y="2274"/>
                </a:lnTo>
                <a:lnTo>
                  <a:pt x="7320" y="2283"/>
                </a:lnTo>
                <a:lnTo>
                  <a:pt x="7319" y="2294"/>
                </a:lnTo>
                <a:lnTo>
                  <a:pt x="7320" y="2308"/>
                </a:lnTo>
                <a:lnTo>
                  <a:pt x="7325" y="2320"/>
                </a:lnTo>
                <a:lnTo>
                  <a:pt x="7332" y="2330"/>
                </a:lnTo>
                <a:lnTo>
                  <a:pt x="7341" y="2337"/>
                </a:lnTo>
                <a:lnTo>
                  <a:pt x="7351" y="2343"/>
                </a:lnTo>
                <a:lnTo>
                  <a:pt x="7363" y="2348"/>
                </a:lnTo>
                <a:lnTo>
                  <a:pt x="7385" y="2352"/>
                </a:lnTo>
                <a:lnTo>
                  <a:pt x="7446" y="2359"/>
                </a:lnTo>
                <a:lnTo>
                  <a:pt x="7509" y="2369"/>
                </a:lnTo>
                <a:lnTo>
                  <a:pt x="7543" y="2377"/>
                </a:lnTo>
                <a:lnTo>
                  <a:pt x="7558" y="2381"/>
                </a:lnTo>
                <a:lnTo>
                  <a:pt x="7573" y="2388"/>
                </a:lnTo>
                <a:lnTo>
                  <a:pt x="7600" y="2403"/>
                </a:lnTo>
                <a:lnTo>
                  <a:pt x="7613" y="2413"/>
                </a:lnTo>
                <a:lnTo>
                  <a:pt x="7623" y="2423"/>
                </a:lnTo>
                <a:lnTo>
                  <a:pt x="7633" y="2433"/>
                </a:lnTo>
                <a:lnTo>
                  <a:pt x="7642" y="2444"/>
                </a:lnTo>
                <a:lnTo>
                  <a:pt x="7656" y="2470"/>
                </a:lnTo>
                <a:lnTo>
                  <a:pt x="7661" y="2486"/>
                </a:lnTo>
                <a:lnTo>
                  <a:pt x="7665" y="2501"/>
                </a:lnTo>
                <a:lnTo>
                  <a:pt x="7668" y="2534"/>
                </a:lnTo>
                <a:lnTo>
                  <a:pt x="7667" y="2553"/>
                </a:lnTo>
                <a:lnTo>
                  <a:pt x="7665" y="2573"/>
                </a:lnTo>
                <a:lnTo>
                  <a:pt x="7660" y="2590"/>
                </a:lnTo>
                <a:lnTo>
                  <a:pt x="7654" y="2606"/>
                </a:lnTo>
                <a:lnTo>
                  <a:pt x="7647" y="2622"/>
                </a:lnTo>
                <a:lnTo>
                  <a:pt x="7639" y="2636"/>
                </a:lnTo>
                <a:lnTo>
                  <a:pt x="7618" y="2661"/>
                </a:lnTo>
                <a:close/>
                <a:moveTo>
                  <a:pt x="6915" y="2263"/>
                </a:moveTo>
                <a:lnTo>
                  <a:pt x="6907" y="2256"/>
                </a:lnTo>
                <a:lnTo>
                  <a:pt x="6899" y="2250"/>
                </a:lnTo>
                <a:lnTo>
                  <a:pt x="6879" y="2239"/>
                </a:lnTo>
                <a:lnTo>
                  <a:pt x="6867" y="2234"/>
                </a:lnTo>
                <a:lnTo>
                  <a:pt x="6855" y="2232"/>
                </a:lnTo>
                <a:lnTo>
                  <a:pt x="6827" y="2229"/>
                </a:lnTo>
                <a:lnTo>
                  <a:pt x="6797" y="2232"/>
                </a:lnTo>
                <a:lnTo>
                  <a:pt x="6770" y="2242"/>
                </a:lnTo>
                <a:lnTo>
                  <a:pt x="6748" y="2256"/>
                </a:lnTo>
                <a:lnTo>
                  <a:pt x="6738" y="2265"/>
                </a:lnTo>
                <a:lnTo>
                  <a:pt x="6730" y="2275"/>
                </a:lnTo>
                <a:lnTo>
                  <a:pt x="6717" y="2294"/>
                </a:lnTo>
                <a:lnTo>
                  <a:pt x="6707" y="2315"/>
                </a:lnTo>
                <a:lnTo>
                  <a:pt x="6702" y="2338"/>
                </a:lnTo>
                <a:lnTo>
                  <a:pt x="6700" y="2365"/>
                </a:lnTo>
                <a:lnTo>
                  <a:pt x="6951" y="2365"/>
                </a:lnTo>
                <a:lnTo>
                  <a:pt x="6950" y="2349"/>
                </a:lnTo>
                <a:lnTo>
                  <a:pt x="6948" y="2333"/>
                </a:lnTo>
                <a:lnTo>
                  <a:pt x="6941" y="2306"/>
                </a:lnTo>
                <a:lnTo>
                  <a:pt x="6930" y="2283"/>
                </a:lnTo>
                <a:lnTo>
                  <a:pt x="6924" y="2272"/>
                </a:lnTo>
                <a:lnTo>
                  <a:pt x="6915" y="2263"/>
                </a:lnTo>
                <a:close/>
                <a:moveTo>
                  <a:pt x="7089" y="2466"/>
                </a:moveTo>
                <a:lnTo>
                  <a:pt x="6701" y="2466"/>
                </a:lnTo>
                <a:lnTo>
                  <a:pt x="6702" y="2482"/>
                </a:lnTo>
                <a:lnTo>
                  <a:pt x="6703" y="2499"/>
                </a:lnTo>
                <a:lnTo>
                  <a:pt x="6712" y="2530"/>
                </a:lnTo>
                <a:lnTo>
                  <a:pt x="6717" y="2544"/>
                </a:lnTo>
                <a:lnTo>
                  <a:pt x="6725" y="2557"/>
                </a:lnTo>
                <a:lnTo>
                  <a:pt x="6734" y="2569"/>
                </a:lnTo>
                <a:lnTo>
                  <a:pt x="6743" y="2580"/>
                </a:lnTo>
                <a:lnTo>
                  <a:pt x="6760" y="2593"/>
                </a:lnTo>
                <a:lnTo>
                  <a:pt x="6780" y="2605"/>
                </a:lnTo>
                <a:lnTo>
                  <a:pt x="6803" y="2613"/>
                </a:lnTo>
                <a:lnTo>
                  <a:pt x="6829" y="2616"/>
                </a:lnTo>
                <a:lnTo>
                  <a:pt x="6856" y="2614"/>
                </a:lnTo>
                <a:lnTo>
                  <a:pt x="6879" y="2610"/>
                </a:lnTo>
                <a:lnTo>
                  <a:pt x="6898" y="2601"/>
                </a:lnTo>
                <a:lnTo>
                  <a:pt x="6914" y="2588"/>
                </a:lnTo>
                <a:lnTo>
                  <a:pt x="6923" y="2578"/>
                </a:lnTo>
                <a:lnTo>
                  <a:pt x="6930" y="2566"/>
                </a:lnTo>
                <a:lnTo>
                  <a:pt x="6937" y="2554"/>
                </a:lnTo>
                <a:lnTo>
                  <a:pt x="6942" y="2539"/>
                </a:lnTo>
                <a:lnTo>
                  <a:pt x="7076" y="2539"/>
                </a:lnTo>
                <a:lnTo>
                  <a:pt x="7070" y="2566"/>
                </a:lnTo>
                <a:lnTo>
                  <a:pt x="7065" y="2580"/>
                </a:lnTo>
                <a:lnTo>
                  <a:pt x="7058" y="2596"/>
                </a:lnTo>
                <a:lnTo>
                  <a:pt x="7043" y="2623"/>
                </a:lnTo>
                <a:lnTo>
                  <a:pt x="7027" y="2646"/>
                </a:lnTo>
                <a:lnTo>
                  <a:pt x="7007" y="2666"/>
                </a:lnTo>
                <a:lnTo>
                  <a:pt x="6986" y="2684"/>
                </a:lnTo>
                <a:lnTo>
                  <a:pt x="6963" y="2698"/>
                </a:lnTo>
                <a:lnTo>
                  <a:pt x="6939" y="2709"/>
                </a:lnTo>
                <a:lnTo>
                  <a:pt x="6913" y="2717"/>
                </a:lnTo>
                <a:lnTo>
                  <a:pt x="6887" y="2723"/>
                </a:lnTo>
                <a:lnTo>
                  <a:pt x="6860" y="2726"/>
                </a:lnTo>
                <a:lnTo>
                  <a:pt x="6831" y="2727"/>
                </a:lnTo>
                <a:lnTo>
                  <a:pt x="6803" y="2726"/>
                </a:lnTo>
                <a:lnTo>
                  <a:pt x="6776" y="2723"/>
                </a:lnTo>
                <a:lnTo>
                  <a:pt x="6763" y="2720"/>
                </a:lnTo>
                <a:lnTo>
                  <a:pt x="6751" y="2716"/>
                </a:lnTo>
                <a:lnTo>
                  <a:pt x="6728" y="2708"/>
                </a:lnTo>
                <a:lnTo>
                  <a:pt x="6705" y="2698"/>
                </a:lnTo>
                <a:lnTo>
                  <a:pt x="6686" y="2686"/>
                </a:lnTo>
                <a:lnTo>
                  <a:pt x="6666" y="2672"/>
                </a:lnTo>
                <a:lnTo>
                  <a:pt x="6649" y="2656"/>
                </a:lnTo>
                <a:lnTo>
                  <a:pt x="6628" y="2634"/>
                </a:lnTo>
                <a:lnTo>
                  <a:pt x="6611" y="2610"/>
                </a:lnTo>
                <a:lnTo>
                  <a:pt x="6596" y="2584"/>
                </a:lnTo>
                <a:lnTo>
                  <a:pt x="6582" y="2554"/>
                </a:lnTo>
                <a:lnTo>
                  <a:pt x="6577" y="2540"/>
                </a:lnTo>
                <a:lnTo>
                  <a:pt x="6573" y="2524"/>
                </a:lnTo>
                <a:lnTo>
                  <a:pt x="6565" y="2492"/>
                </a:lnTo>
                <a:lnTo>
                  <a:pt x="6561" y="2458"/>
                </a:lnTo>
                <a:lnTo>
                  <a:pt x="6560" y="2424"/>
                </a:lnTo>
                <a:lnTo>
                  <a:pt x="6561" y="2390"/>
                </a:lnTo>
                <a:lnTo>
                  <a:pt x="6565" y="2356"/>
                </a:lnTo>
                <a:lnTo>
                  <a:pt x="6572" y="2325"/>
                </a:lnTo>
                <a:lnTo>
                  <a:pt x="6580" y="2294"/>
                </a:lnTo>
                <a:lnTo>
                  <a:pt x="6592" y="2266"/>
                </a:lnTo>
                <a:lnTo>
                  <a:pt x="6606" y="2239"/>
                </a:lnTo>
                <a:lnTo>
                  <a:pt x="6624" y="2214"/>
                </a:lnTo>
                <a:lnTo>
                  <a:pt x="6643" y="2192"/>
                </a:lnTo>
                <a:lnTo>
                  <a:pt x="6661" y="2176"/>
                </a:lnTo>
                <a:lnTo>
                  <a:pt x="6679" y="2162"/>
                </a:lnTo>
                <a:lnTo>
                  <a:pt x="6700" y="2148"/>
                </a:lnTo>
                <a:lnTo>
                  <a:pt x="6723" y="2138"/>
                </a:lnTo>
                <a:lnTo>
                  <a:pt x="6747" y="2129"/>
                </a:lnTo>
                <a:lnTo>
                  <a:pt x="6772" y="2123"/>
                </a:lnTo>
                <a:lnTo>
                  <a:pt x="6800" y="2119"/>
                </a:lnTo>
                <a:lnTo>
                  <a:pt x="6828" y="2118"/>
                </a:lnTo>
                <a:lnTo>
                  <a:pt x="6860" y="2119"/>
                </a:lnTo>
                <a:lnTo>
                  <a:pt x="6891" y="2125"/>
                </a:lnTo>
                <a:lnTo>
                  <a:pt x="6920" y="2132"/>
                </a:lnTo>
                <a:lnTo>
                  <a:pt x="6949" y="2144"/>
                </a:lnTo>
                <a:lnTo>
                  <a:pt x="6975" y="2159"/>
                </a:lnTo>
                <a:lnTo>
                  <a:pt x="6999" y="2178"/>
                </a:lnTo>
                <a:lnTo>
                  <a:pt x="7020" y="2200"/>
                </a:lnTo>
                <a:lnTo>
                  <a:pt x="7040" y="2225"/>
                </a:lnTo>
                <a:lnTo>
                  <a:pt x="7055" y="2249"/>
                </a:lnTo>
                <a:lnTo>
                  <a:pt x="7066" y="2274"/>
                </a:lnTo>
                <a:lnTo>
                  <a:pt x="7082" y="2323"/>
                </a:lnTo>
                <a:lnTo>
                  <a:pt x="7087" y="2348"/>
                </a:lnTo>
                <a:lnTo>
                  <a:pt x="7090" y="2374"/>
                </a:lnTo>
                <a:lnTo>
                  <a:pt x="7090" y="2427"/>
                </a:lnTo>
                <a:lnTo>
                  <a:pt x="7089" y="2466"/>
                </a:lnTo>
                <a:close/>
                <a:moveTo>
                  <a:pt x="6372" y="2713"/>
                </a:moveTo>
                <a:lnTo>
                  <a:pt x="6209" y="2460"/>
                </a:lnTo>
                <a:lnTo>
                  <a:pt x="6116" y="2560"/>
                </a:lnTo>
                <a:lnTo>
                  <a:pt x="6116" y="2713"/>
                </a:lnTo>
                <a:lnTo>
                  <a:pt x="5977" y="2713"/>
                </a:lnTo>
                <a:lnTo>
                  <a:pt x="5977" y="1907"/>
                </a:lnTo>
                <a:lnTo>
                  <a:pt x="6116" y="1907"/>
                </a:lnTo>
                <a:lnTo>
                  <a:pt x="6116" y="2368"/>
                </a:lnTo>
                <a:lnTo>
                  <a:pt x="6336" y="2132"/>
                </a:lnTo>
                <a:lnTo>
                  <a:pt x="6511" y="2132"/>
                </a:lnTo>
                <a:lnTo>
                  <a:pt x="6303" y="2357"/>
                </a:lnTo>
                <a:lnTo>
                  <a:pt x="6534" y="2713"/>
                </a:lnTo>
                <a:lnTo>
                  <a:pt x="6372" y="2713"/>
                </a:lnTo>
                <a:close/>
                <a:moveTo>
                  <a:pt x="14362" y="1547"/>
                </a:moveTo>
                <a:lnTo>
                  <a:pt x="14362" y="1191"/>
                </a:lnTo>
                <a:lnTo>
                  <a:pt x="14361" y="1166"/>
                </a:lnTo>
                <a:lnTo>
                  <a:pt x="14358" y="1146"/>
                </a:lnTo>
                <a:lnTo>
                  <a:pt x="14355" y="1136"/>
                </a:lnTo>
                <a:lnTo>
                  <a:pt x="14352" y="1126"/>
                </a:lnTo>
                <a:lnTo>
                  <a:pt x="14347" y="1118"/>
                </a:lnTo>
                <a:lnTo>
                  <a:pt x="14342" y="1111"/>
                </a:lnTo>
                <a:lnTo>
                  <a:pt x="14336" y="1104"/>
                </a:lnTo>
                <a:lnTo>
                  <a:pt x="14330" y="1098"/>
                </a:lnTo>
                <a:lnTo>
                  <a:pt x="14312" y="1089"/>
                </a:lnTo>
                <a:lnTo>
                  <a:pt x="14292" y="1084"/>
                </a:lnTo>
                <a:lnTo>
                  <a:pt x="14267" y="1081"/>
                </a:lnTo>
                <a:lnTo>
                  <a:pt x="14249" y="1082"/>
                </a:lnTo>
                <a:lnTo>
                  <a:pt x="14233" y="1087"/>
                </a:lnTo>
                <a:lnTo>
                  <a:pt x="14218" y="1093"/>
                </a:lnTo>
                <a:lnTo>
                  <a:pt x="14205" y="1102"/>
                </a:lnTo>
                <a:lnTo>
                  <a:pt x="14194" y="1113"/>
                </a:lnTo>
                <a:lnTo>
                  <a:pt x="14183" y="1126"/>
                </a:lnTo>
                <a:lnTo>
                  <a:pt x="14174" y="1140"/>
                </a:lnTo>
                <a:lnTo>
                  <a:pt x="14167" y="1155"/>
                </a:lnTo>
                <a:lnTo>
                  <a:pt x="14159" y="1173"/>
                </a:lnTo>
                <a:lnTo>
                  <a:pt x="14155" y="1192"/>
                </a:lnTo>
                <a:lnTo>
                  <a:pt x="14152" y="1212"/>
                </a:lnTo>
                <a:lnTo>
                  <a:pt x="14149" y="1231"/>
                </a:lnTo>
                <a:lnTo>
                  <a:pt x="14147" y="1272"/>
                </a:lnTo>
                <a:lnTo>
                  <a:pt x="14147" y="1311"/>
                </a:lnTo>
                <a:lnTo>
                  <a:pt x="14147" y="1547"/>
                </a:lnTo>
                <a:lnTo>
                  <a:pt x="14008" y="1547"/>
                </a:lnTo>
                <a:lnTo>
                  <a:pt x="14008" y="966"/>
                </a:lnTo>
                <a:lnTo>
                  <a:pt x="14126" y="966"/>
                </a:lnTo>
                <a:lnTo>
                  <a:pt x="14135" y="1041"/>
                </a:lnTo>
                <a:lnTo>
                  <a:pt x="14149" y="1019"/>
                </a:lnTo>
                <a:lnTo>
                  <a:pt x="14167" y="1001"/>
                </a:lnTo>
                <a:lnTo>
                  <a:pt x="14186" y="986"/>
                </a:lnTo>
                <a:lnTo>
                  <a:pt x="14208" y="974"/>
                </a:lnTo>
                <a:lnTo>
                  <a:pt x="14231" y="964"/>
                </a:lnTo>
                <a:lnTo>
                  <a:pt x="14256" y="957"/>
                </a:lnTo>
                <a:lnTo>
                  <a:pt x="14281" y="953"/>
                </a:lnTo>
                <a:lnTo>
                  <a:pt x="14306" y="952"/>
                </a:lnTo>
                <a:lnTo>
                  <a:pt x="14329" y="953"/>
                </a:lnTo>
                <a:lnTo>
                  <a:pt x="14349" y="956"/>
                </a:lnTo>
                <a:lnTo>
                  <a:pt x="14370" y="961"/>
                </a:lnTo>
                <a:lnTo>
                  <a:pt x="14388" y="967"/>
                </a:lnTo>
                <a:lnTo>
                  <a:pt x="14406" y="976"/>
                </a:lnTo>
                <a:lnTo>
                  <a:pt x="14422" y="986"/>
                </a:lnTo>
                <a:lnTo>
                  <a:pt x="14437" y="998"/>
                </a:lnTo>
                <a:lnTo>
                  <a:pt x="14450" y="1011"/>
                </a:lnTo>
                <a:lnTo>
                  <a:pt x="14462" y="1025"/>
                </a:lnTo>
                <a:lnTo>
                  <a:pt x="14472" y="1041"/>
                </a:lnTo>
                <a:lnTo>
                  <a:pt x="14482" y="1059"/>
                </a:lnTo>
                <a:lnTo>
                  <a:pt x="14488" y="1076"/>
                </a:lnTo>
                <a:lnTo>
                  <a:pt x="14495" y="1095"/>
                </a:lnTo>
                <a:lnTo>
                  <a:pt x="14498" y="1116"/>
                </a:lnTo>
                <a:lnTo>
                  <a:pt x="14501" y="1138"/>
                </a:lnTo>
                <a:lnTo>
                  <a:pt x="14503" y="1160"/>
                </a:lnTo>
                <a:lnTo>
                  <a:pt x="14503" y="1547"/>
                </a:lnTo>
                <a:lnTo>
                  <a:pt x="14362" y="1547"/>
                </a:lnTo>
                <a:close/>
                <a:moveTo>
                  <a:pt x="13660" y="876"/>
                </a:moveTo>
                <a:lnTo>
                  <a:pt x="13660" y="741"/>
                </a:lnTo>
                <a:lnTo>
                  <a:pt x="13791" y="741"/>
                </a:lnTo>
                <a:lnTo>
                  <a:pt x="13791" y="876"/>
                </a:lnTo>
                <a:lnTo>
                  <a:pt x="13660" y="876"/>
                </a:lnTo>
                <a:close/>
                <a:moveTo>
                  <a:pt x="13430" y="876"/>
                </a:moveTo>
                <a:lnTo>
                  <a:pt x="13430" y="741"/>
                </a:lnTo>
                <a:lnTo>
                  <a:pt x="13561" y="741"/>
                </a:lnTo>
                <a:lnTo>
                  <a:pt x="13561" y="876"/>
                </a:lnTo>
                <a:lnTo>
                  <a:pt x="13430" y="876"/>
                </a:lnTo>
                <a:close/>
                <a:moveTo>
                  <a:pt x="13704" y="1289"/>
                </a:moveTo>
                <a:lnTo>
                  <a:pt x="13556" y="1300"/>
                </a:lnTo>
                <a:lnTo>
                  <a:pt x="13541" y="1302"/>
                </a:lnTo>
                <a:lnTo>
                  <a:pt x="13526" y="1307"/>
                </a:lnTo>
                <a:lnTo>
                  <a:pt x="13512" y="1313"/>
                </a:lnTo>
                <a:lnTo>
                  <a:pt x="13499" y="1322"/>
                </a:lnTo>
                <a:lnTo>
                  <a:pt x="13488" y="1333"/>
                </a:lnTo>
                <a:lnTo>
                  <a:pt x="13480" y="1345"/>
                </a:lnTo>
                <a:lnTo>
                  <a:pt x="13475" y="1360"/>
                </a:lnTo>
                <a:lnTo>
                  <a:pt x="13472" y="1376"/>
                </a:lnTo>
                <a:lnTo>
                  <a:pt x="13475" y="1392"/>
                </a:lnTo>
                <a:lnTo>
                  <a:pt x="13479" y="1407"/>
                </a:lnTo>
                <a:lnTo>
                  <a:pt x="13488" y="1419"/>
                </a:lnTo>
                <a:lnTo>
                  <a:pt x="13497" y="1429"/>
                </a:lnTo>
                <a:lnTo>
                  <a:pt x="13509" y="1438"/>
                </a:lnTo>
                <a:lnTo>
                  <a:pt x="13524" y="1444"/>
                </a:lnTo>
                <a:lnTo>
                  <a:pt x="13539" y="1448"/>
                </a:lnTo>
                <a:lnTo>
                  <a:pt x="13555" y="1449"/>
                </a:lnTo>
                <a:lnTo>
                  <a:pt x="13587" y="1447"/>
                </a:lnTo>
                <a:lnTo>
                  <a:pt x="13601" y="1444"/>
                </a:lnTo>
                <a:lnTo>
                  <a:pt x="13615" y="1440"/>
                </a:lnTo>
                <a:lnTo>
                  <a:pt x="13640" y="1429"/>
                </a:lnTo>
                <a:lnTo>
                  <a:pt x="13652" y="1423"/>
                </a:lnTo>
                <a:lnTo>
                  <a:pt x="13662" y="1414"/>
                </a:lnTo>
                <a:lnTo>
                  <a:pt x="13680" y="1396"/>
                </a:lnTo>
                <a:lnTo>
                  <a:pt x="13687" y="1385"/>
                </a:lnTo>
                <a:lnTo>
                  <a:pt x="13693" y="1373"/>
                </a:lnTo>
                <a:lnTo>
                  <a:pt x="13697" y="1360"/>
                </a:lnTo>
                <a:lnTo>
                  <a:pt x="13701" y="1347"/>
                </a:lnTo>
                <a:lnTo>
                  <a:pt x="13703" y="1332"/>
                </a:lnTo>
                <a:lnTo>
                  <a:pt x="13704" y="1316"/>
                </a:lnTo>
                <a:lnTo>
                  <a:pt x="13704" y="1289"/>
                </a:lnTo>
                <a:close/>
                <a:moveTo>
                  <a:pt x="13820" y="1556"/>
                </a:moveTo>
                <a:lnTo>
                  <a:pt x="13800" y="1555"/>
                </a:lnTo>
                <a:lnTo>
                  <a:pt x="13780" y="1549"/>
                </a:lnTo>
                <a:lnTo>
                  <a:pt x="13765" y="1541"/>
                </a:lnTo>
                <a:lnTo>
                  <a:pt x="13751" y="1532"/>
                </a:lnTo>
                <a:lnTo>
                  <a:pt x="13740" y="1520"/>
                </a:lnTo>
                <a:lnTo>
                  <a:pt x="13731" y="1506"/>
                </a:lnTo>
                <a:lnTo>
                  <a:pt x="13726" y="1490"/>
                </a:lnTo>
                <a:lnTo>
                  <a:pt x="13722" y="1474"/>
                </a:lnTo>
                <a:lnTo>
                  <a:pt x="13710" y="1491"/>
                </a:lnTo>
                <a:lnTo>
                  <a:pt x="13695" y="1508"/>
                </a:lnTo>
                <a:lnTo>
                  <a:pt x="13677" y="1523"/>
                </a:lnTo>
                <a:lnTo>
                  <a:pt x="13655" y="1536"/>
                </a:lnTo>
                <a:lnTo>
                  <a:pt x="13631" y="1547"/>
                </a:lnTo>
                <a:lnTo>
                  <a:pt x="13605" y="1555"/>
                </a:lnTo>
                <a:lnTo>
                  <a:pt x="13577" y="1560"/>
                </a:lnTo>
                <a:lnTo>
                  <a:pt x="13546" y="1561"/>
                </a:lnTo>
                <a:lnTo>
                  <a:pt x="13521" y="1561"/>
                </a:lnTo>
                <a:lnTo>
                  <a:pt x="13497" y="1558"/>
                </a:lnTo>
                <a:lnTo>
                  <a:pt x="13476" y="1553"/>
                </a:lnTo>
                <a:lnTo>
                  <a:pt x="13455" y="1547"/>
                </a:lnTo>
                <a:lnTo>
                  <a:pt x="13437" y="1538"/>
                </a:lnTo>
                <a:lnTo>
                  <a:pt x="13419" y="1530"/>
                </a:lnTo>
                <a:lnTo>
                  <a:pt x="13403" y="1519"/>
                </a:lnTo>
                <a:lnTo>
                  <a:pt x="13390" y="1507"/>
                </a:lnTo>
                <a:lnTo>
                  <a:pt x="13377" y="1493"/>
                </a:lnTo>
                <a:lnTo>
                  <a:pt x="13366" y="1478"/>
                </a:lnTo>
                <a:lnTo>
                  <a:pt x="13357" y="1464"/>
                </a:lnTo>
                <a:lnTo>
                  <a:pt x="13350" y="1448"/>
                </a:lnTo>
                <a:lnTo>
                  <a:pt x="13344" y="1432"/>
                </a:lnTo>
                <a:lnTo>
                  <a:pt x="13340" y="1414"/>
                </a:lnTo>
                <a:lnTo>
                  <a:pt x="13337" y="1379"/>
                </a:lnTo>
                <a:lnTo>
                  <a:pt x="13338" y="1360"/>
                </a:lnTo>
                <a:lnTo>
                  <a:pt x="13340" y="1340"/>
                </a:lnTo>
                <a:lnTo>
                  <a:pt x="13345" y="1323"/>
                </a:lnTo>
                <a:lnTo>
                  <a:pt x="13352" y="1305"/>
                </a:lnTo>
                <a:lnTo>
                  <a:pt x="13359" y="1290"/>
                </a:lnTo>
                <a:lnTo>
                  <a:pt x="13369" y="1275"/>
                </a:lnTo>
                <a:lnTo>
                  <a:pt x="13381" y="1262"/>
                </a:lnTo>
                <a:lnTo>
                  <a:pt x="13393" y="1250"/>
                </a:lnTo>
                <a:lnTo>
                  <a:pt x="13423" y="1229"/>
                </a:lnTo>
                <a:lnTo>
                  <a:pt x="13439" y="1221"/>
                </a:lnTo>
                <a:lnTo>
                  <a:pt x="13455" y="1214"/>
                </a:lnTo>
                <a:lnTo>
                  <a:pt x="13493" y="1203"/>
                </a:lnTo>
                <a:lnTo>
                  <a:pt x="13533" y="1198"/>
                </a:lnTo>
                <a:lnTo>
                  <a:pt x="13704" y="1186"/>
                </a:lnTo>
                <a:lnTo>
                  <a:pt x="13704" y="1150"/>
                </a:lnTo>
                <a:lnTo>
                  <a:pt x="13703" y="1130"/>
                </a:lnTo>
                <a:lnTo>
                  <a:pt x="13700" y="1112"/>
                </a:lnTo>
                <a:lnTo>
                  <a:pt x="13693" y="1097"/>
                </a:lnTo>
                <a:lnTo>
                  <a:pt x="13684" y="1084"/>
                </a:lnTo>
                <a:lnTo>
                  <a:pt x="13678" y="1078"/>
                </a:lnTo>
                <a:lnTo>
                  <a:pt x="13671" y="1073"/>
                </a:lnTo>
                <a:lnTo>
                  <a:pt x="13654" y="1065"/>
                </a:lnTo>
                <a:lnTo>
                  <a:pt x="13632" y="1060"/>
                </a:lnTo>
                <a:lnTo>
                  <a:pt x="13605" y="1059"/>
                </a:lnTo>
                <a:lnTo>
                  <a:pt x="13582" y="1060"/>
                </a:lnTo>
                <a:lnTo>
                  <a:pt x="13562" y="1063"/>
                </a:lnTo>
                <a:lnTo>
                  <a:pt x="13544" y="1070"/>
                </a:lnTo>
                <a:lnTo>
                  <a:pt x="13529" y="1079"/>
                </a:lnTo>
                <a:lnTo>
                  <a:pt x="13517" y="1091"/>
                </a:lnTo>
                <a:lnTo>
                  <a:pt x="13508" y="1105"/>
                </a:lnTo>
                <a:lnTo>
                  <a:pt x="13502" y="1122"/>
                </a:lnTo>
                <a:lnTo>
                  <a:pt x="13500" y="1140"/>
                </a:lnTo>
                <a:lnTo>
                  <a:pt x="13365" y="1140"/>
                </a:lnTo>
                <a:lnTo>
                  <a:pt x="13367" y="1117"/>
                </a:lnTo>
                <a:lnTo>
                  <a:pt x="13371" y="1095"/>
                </a:lnTo>
                <a:lnTo>
                  <a:pt x="13378" y="1075"/>
                </a:lnTo>
                <a:lnTo>
                  <a:pt x="13387" y="1056"/>
                </a:lnTo>
                <a:lnTo>
                  <a:pt x="13398" y="1039"/>
                </a:lnTo>
                <a:lnTo>
                  <a:pt x="13409" y="1024"/>
                </a:lnTo>
                <a:lnTo>
                  <a:pt x="13424" y="1010"/>
                </a:lnTo>
                <a:lnTo>
                  <a:pt x="13439" y="998"/>
                </a:lnTo>
                <a:lnTo>
                  <a:pt x="13456" y="987"/>
                </a:lnTo>
                <a:lnTo>
                  <a:pt x="13475" y="977"/>
                </a:lnTo>
                <a:lnTo>
                  <a:pt x="13494" y="969"/>
                </a:lnTo>
                <a:lnTo>
                  <a:pt x="13514" y="963"/>
                </a:lnTo>
                <a:lnTo>
                  <a:pt x="13558" y="955"/>
                </a:lnTo>
                <a:lnTo>
                  <a:pt x="13605" y="952"/>
                </a:lnTo>
                <a:lnTo>
                  <a:pt x="13642" y="953"/>
                </a:lnTo>
                <a:lnTo>
                  <a:pt x="13677" y="958"/>
                </a:lnTo>
                <a:lnTo>
                  <a:pt x="13693" y="962"/>
                </a:lnTo>
                <a:lnTo>
                  <a:pt x="13709" y="966"/>
                </a:lnTo>
                <a:lnTo>
                  <a:pt x="13739" y="978"/>
                </a:lnTo>
                <a:lnTo>
                  <a:pt x="13753" y="986"/>
                </a:lnTo>
                <a:lnTo>
                  <a:pt x="13766" y="994"/>
                </a:lnTo>
                <a:lnTo>
                  <a:pt x="13778" y="1004"/>
                </a:lnTo>
                <a:lnTo>
                  <a:pt x="13789" y="1015"/>
                </a:lnTo>
                <a:lnTo>
                  <a:pt x="13798" y="1027"/>
                </a:lnTo>
                <a:lnTo>
                  <a:pt x="13808" y="1040"/>
                </a:lnTo>
                <a:lnTo>
                  <a:pt x="13822" y="1070"/>
                </a:lnTo>
                <a:lnTo>
                  <a:pt x="13831" y="1099"/>
                </a:lnTo>
                <a:lnTo>
                  <a:pt x="13836" y="1128"/>
                </a:lnTo>
                <a:lnTo>
                  <a:pt x="13840" y="1188"/>
                </a:lnTo>
                <a:lnTo>
                  <a:pt x="13840" y="1403"/>
                </a:lnTo>
                <a:lnTo>
                  <a:pt x="13841" y="1420"/>
                </a:lnTo>
                <a:lnTo>
                  <a:pt x="13847" y="1432"/>
                </a:lnTo>
                <a:lnTo>
                  <a:pt x="13852" y="1435"/>
                </a:lnTo>
                <a:lnTo>
                  <a:pt x="13857" y="1438"/>
                </a:lnTo>
                <a:lnTo>
                  <a:pt x="13872" y="1440"/>
                </a:lnTo>
                <a:lnTo>
                  <a:pt x="13890" y="1438"/>
                </a:lnTo>
                <a:lnTo>
                  <a:pt x="13890" y="1540"/>
                </a:lnTo>
                <a:lnTo>
                  <a:pt x="13859" y="1552"/>
                </a:lnTo>
                <a:lnTo>
                  <a:pt x="13842" y="1555"/>
                </a:lnTo>
                <a:lnTo>
                  <a:pt x="13820" y="1556"/>
                </a:lnTo>
                <a:close/>
                <a:moveTo>
                  <a:pt x="13081" y="1547"/>
                </a:moveTo>
                <a:lnTo>
                  <a:pt x="13081" y="1187"/>
                </a:lnTo>
                <a:lnTo>
                  <a:pt x="13080" y="1161"/>
                </a:lnTo>
                <a:lnTo>
                  <a:pt x="13077" y="1139"/>
                </a:lnTo>
                <a:lnTo>
                  <a:pt x="13072" y="1119"/>
                </a:lnTo>
                <a:lnTo>
                  <a:pt x="13063" y="1103"/>
                </a:lnTo>
                <a:lnTo>
                  <a:pt x="13051" y="1090"/>
                </a:lnTo>
                <a:lnTo>
                  <a:pt x="13036" y="1081"/>
                </a:lnTo>
                <a:lnTo>
                  <a:pt x="13016" y="1076"/>
                </a:lnTo>
                <a:lnTo>
                  <a:pt x="12992" y="1074"/>
                </a:lnTo>
                <a:lnTo>
                  <a:pt x="12978" y="1075"/>
                </a:lnTo>
                <a:lnTo>
                  <a:pt x="12965" y="1077"/>
                </a:lnTo>
                <a:lnTo>
                  <a:pt x="12952" y="1081"/>
                </a:lnTo>
                <a:lnTo>
                  <a:pt x="12941" y="1088"/>
                </a:lnTo>
                <a:lnTo>
                  <a:pt x="12930" y="1095"/>
                </a:lnTo>
                <a:lnTo>
                  <a:pt x="12922" y="1104"/>
                </a:lnTo>
                <a:lnTo>
                  <a:pt x="12905" y="1125"/>
                </a:lnTo>
                <a:lnTo>
                  <a:pt x="12893" y="1149"/>
                </a:lnTo>
                <a:lnTo>
                  <a:pt x="12885" y="1175"/>
                </a:lnTo>
                <a:lnTo>
                  <a:pt x="12880" y="1202"/>
                </a:lnTo>
                <a:lnTo>
                  <a:pt x="12878" y="1230"/>
                </a:lnTo>
                <a:lnTo>
                  <a:pt x="12878" y="1547"/>
                </a:lnTo>
                <a:lnTo>
                  <a:pt x="12740" y="1547"/>
                </a:lnTo>
                <a:lnTo>
                  <a:pt x="12740" y="1187"/>
                </a:lnTo>
                <a:lnTo>
                  <a:pt x="12739" y="1161"/>
                </a:lnTo>
                <a:lnTo>
                  <a:pt x="12736" y="1139"/>
                </a:lnTo>
                <a:lnTo>
                  <a:pt x="12730" y="1119"/>
                </a:lnTo>
                <a:lnTo>
                  <a:pt x="12722" y="1103"/>
                </a:lnTo>
                <a:lnTo>
                  <a:pt x="12710" y="1090"/>
                </a:lnTo>
                <a:lnTo>
                  <a:pt x="12695" y="1081"/>
                </a:lnTo>
                <a:lnTo>
                  <a:pt x="12675" y="1076"/>
                </a:lnTo>
                <a:lnTo>
                  <a:pt x="12651" y="1074"/>
                </a:lnTo>
                <a:lnTo>
                  <a:pt x="12637" y="1075"/>
                </a:lnTo>
                <a:lnTo>
                  <a:pt x="12623" y="1077"/>
                </a:lnTo>
                <a:lnTo>
                  <a:pt x="12611" y="1081"/>
                </a:lnTo>
                <a:lnTo>
                  <a:pt x="12600" y="1088"/>
                </a:lnTo>
                <a:lnTo>
                  <a:pt x="12589" y="1095"/>
                </a:lnTo>
                <a:lnTo>
                  <a:pt x="12579" y="1104"/>
                </a:lnTo>
                <a:lnTo>
                  <a:pt x="12564" y="1125"/>
                </a:lnTo>
                <a:lnTo>
                  <a:pt x="12551" y="1149"/>
                </a:lnTo>
                <a:lnTo>
                  <a:pt x="12542" y="1175"/>
                </a:lnTo>
                <a:lnTo>
                  <a:pt x="12538" y="1202"/>
                </a:lnTo>
                <a:lnTo>
                  <a:pt x="12536" y="1230"/>
                </a:lnTo>
                <a:lnTo>
                  <a:pt x="12536" y="1547"/>
                </a:lnTo>
                <a:lnTo>
                  <a:pt x="12398" y="1547"/>
                </a:lnTo>
                <a:lnTo>
                  <a:pt x="12398" y="966"/>
                </a:lnTo>
                <a:lnTo>
                  <a:pt x="12514" y="966"/>
                </a:lnTo>
                <a:lnTo>
                  <a:pt x="12525" y="1043"/>
                </a:lnTo>
                <a:lnTo>
                  <a:pt x="12538" y="1024"/>
                </a:lnTo>
                <a:lnTo>
                  <a:pt x="12553" y="1006"/>
                </a:lnTo>
                <a:lnTo>
                  <a:pt x="12571" y="991"/>
                </a:lnTo>
                <a:lnTo>
                  <a:pt x="12590" y="978"/>
                </a:lnTo>
                <a:lnTo>
                  <a:pt x="12612" y="967"/>
                </a:lnTo>
                <a:lnTo>
                  <a:pt x="12636" y="958"/>
                </a:lnTo>
                <a:lnTo>
                  <a:pt x="12662" y="954"/>
                </a:lnTo>
                <a:lnTo>
                  <a:pt x="12690" y="952"/>
                </a:lnTo>
                <a:lnTo>
                  <a:pt x="12719" y="954"/>
                </a:lnTo>
                <a:lnTo>
                  <a:pt x="12747" y="958"/>
                </a:lnTo>
                <a:lnTo>
                  <a:pt x="12771" y="966"/>
                </a:lnTo>
                <a:lnTo>
                  <a:pt x="12792" y="977"/>
                </a:lnTo>
                <a:lnTo>
                  <a:pt x="12812" y="991"/>
                </a:lnTo>
                <a:lnTo>
                  <a:pt x="12829" y="1007"/>
                </a:lnTo>
                <a:lnTo>
                  <a:pt x="12844" y="1026"/>
                </a:lnTo>
                <a:lnTo>
                  <a:pt x="12856" y="1047"/>
                </a:lnTo>
                <a:lnTo>
                  <a:pt x="12871" y="1026"/>
                </a:lnTo>
                <a:lnTo>
                  <a:pt x="12887" y="1006"/>
                </a:lnTo>
                <a:lnTo>
                  <a:pt x="12906" y="990"/>
                </a:lnTo>
                <a:lnTo>
                  <a:pt x="12916" y="983"/>
                </a:lnTo>
                <a:lnTo>
                  <a:pt x="12927" y="977"/>
                </a:lnTo>
                <a:lnTo>
                  <a:pt x="12951" y="966"/>
                </a:lnTo>
                <a:lnTo>
                  <a:pt x="12976" y="958"/>
                </a:lnTo>
                <a:lnTo>
                  <a:pt x="13003" y="953"/>
                </a:lnTo>
                <a:lnTo>
                  <a:pt x="13031" y="952"/>
                </a:lnTo>
                <a:lnTo>
                  <a:pt x="13054" y="953"/>
                </a:lnTo>
                <a:lnTo>
                  <a:pt x="13075" y="955"/>
                </a:lnTo>
                <a:lnTo>
                  <a:pt x="13094" y="961"/>
                </a:lnTo>
                <a:lnTo>
                  <a:pt x="13113" y="967"/>
                </a:lnTo>
                <a:lnTo>
                  <a:pt x="13130" y="975"/>
                </a:lnTo>
                <a:lnTo>
                  <a:pt x="13145" y="985"/>
                </a:lnTo>
                <a:lnTo>
                  <a:pt x="13160" y="995"/>
                </a:lnTo>
                <a:lnTo>
                  <a:pt x="13172" y="1008"/>
                </a:lnTo>
                <a:lnTo>
                  <a:pt x="13183" y="1023"/>
                </a:lnTo>
                <a:lnTo>
                  <a:pt x="13193" y="1038"/>
                </a:lnTo>
                <a:lnTo>
                  <a:pt x="13207" y="1073"/>
                </a:lnTo>
                <a:lnTo>
                  <a:pt x="13213" y="1091"/>
                </a:lnTo>
                <a:lnTo>
                  <a:pt x="13215" y="1102"/>
                </a:lnTo>
                <a:lnTo>
                  <a:pt x="13217" y="1112"/>
                </a:lnTo>
                <a:lnTo>
                  <a:pt x="13219" y="1132"/>
                </a:lnTo>
                <a:lnTo>
                  <a:pt x="13219" y="1155"/>
                </a:lnTo>
                <a:lnTo>
                  <a:pt x="13219" y="1547"/>
                </a:lnTo>
                <a:lnTo>
                  <a:pt x="13081" y="1547"/>
                </a:lnTo>
                <a:close/>
                <a:moveTo>
                  <a:pt x="12050" y="876"/>
                </a:moveTo>
                <a:lnTo>
                  <a:pt x="12050" y="741"/>
                </a:lnTo>
                <a:lnTo>
                  <a:pt x="12181" y="741"/>
                </a:lnTo>
                <a:lnTo>
                  <a:pt x="12181" y="876"/>
                </a:lnTo>
                <a:lnTo>
                  <a:pt x="12050" y="876"/>
                </a:lnTo>
                <a:close/>
                <a:moveTo>
                  <a:pt x="11820" y="876"/>
                </a:moveTo>
                <a:lnTo>
                  <a:pt x="11820" y="741"/>
                </a:lnTo>
                <a:lnTo>
                  <a:pt x="11950" y="741"/>
                </a:lnTo>
                <a:lnTo>
                  <a:pt x="11950" y="876"/>
                </a:lnTo>
                <a:lnTo>
                  <a:pt x="11820" y="876"/>
                </a:lnTo>
                <a:close/>
                <a:moveTo>
                  <a:pt x="12094" y="1289"/>
                </a:moveTo>
                <a:lnTo>
                  <a:pt x="11946" y="1300"/>
                </a:lnTo>
                <a:lnTo>
                  <a:pt x="11931" y="1302"/>
                </a:lnTo>
                <a:lnTo>
                  <a:pt x="11915" y="1307"/>
                </a:lnTo>
                <a:lnTo>
                  <a:pt x="11901" y="1313"/>
                </a:lnTo>
                <a:lnTo>
                  <a:pt x="11888" y="1322"/>
                </a:lnTo>
                <a:lnTo>
                  <a:pt x="11877" y="1333"/>
                </a:lnTo>
                <a:lnTo>
                  <a:pt x="11870" y="1345"/>
                </a:lnTo>
                <a:lnTo>
                  <a:pt x="11864" y="1360"/>
                </a:lnTo>
                <a:lnTo>
                  <a:pt x="11862" y="1376"/>
                </a:lnTo>
                <a:lnTo>
                  <a:pt x="11864" y="1392"/>
                </a:lnTo>
                <a:lnTo>
                  <a:pt x="11869" y="1407"/>
                </a:lnTo>
                <a:lnTo>
                  <a:pt x="11877" y="1419"/>
                </a:lnTo>
                <a:lnTo>
                  <a:pt x="11887" y="1429"/>
                </a:lnTo>
                <a:lnTo>
                  <a:pt x="11900" y="1438"/>
                </a:lnTo>
                <a:lnTo>
                  <a:pt x="11913" y="1444"/>
                </a:lnTo>
                <a:lnTo>
                  <a:pt x="11928" y="1448"/>
                </a:lnTo>
                <a:lnTo>
                  <a:pt x="11945" y="1449"/>
                </a:lnTo>
                <a:lnTo>
                  <a:pt x="11976" y="1447"/>
                </a:lnTo>
                <a:lnTo>
                  <a:pt x="11990" y="1444"/>
                </a:lnTo>
                <a:lnTo>
                  <a:pt x="12005" y="1440"/>
                </a:lnTo>
                <a:lnTo>
                  <a:pt x="12031" y="1429"/>
                </a:lnTo>
                <a:lnTo>
                  <a:pt x="12041" y="1423"/>
                </a:lnTo>
                <a:lnTo>
                  <a:pt x="12051" y="1414"/>
                </a:lnTo>
                <a:lnTo>
                  <a:pt x="12070" y="1396"/>
                </a:lnTo>
                <a:lnTo>
                  <a:pt x="12076" y="1385"/>
                </a:lnTo>
                <a:lnTo>
                  <a:pt x="12083" y="1373"/>
                </a:lnTo>
                <a:lnTo>
                  <a:pt x="12087" y="1360"/>
                </a:lnTo>
                <a:lnTo>
                  <a:pt x="12090" y="1347"/>
                </a:lnTo>
                <a:lnTo>
                  <a:pt x="12093" y="1332"/>
                </a:lnTo>
                <a:lnTo>
                  <a:pt x="12094" y="1316"/>
                </a:lnTo>
                <a:lnTo>
                  <a:pt x="12094" y="1289"/>
                </a:lnTo>
                <a:close/>
                <a:moveTo>
                  <a:pt x="12210" y="1556"/>
                </a:moveTo>
                <a:lnTo>
                  <a:pt x="12189" y="1555"/>
                </a:lnTo>
                <a:lnTo>
                  <a:pt x="12171" y="1549"/>
                </a:lnTo>
                <a:lnTo>
                  <a:pt x="12154" y="1541"/>
                </a:lnTo>
                <a:lnTo>
                  <a:pt x="12140" y="1532"/>
                </a:lnTo>
                <a:lnTo>
                  <a:pt x="12129" y="1520"/>
                </a:lnTo>
                <a:lnTo>
                  <a:pt x="12121" y="1506"/>
                </a:lnTo>
                <a:lnTo>
                  <a:pt x="12115" y="1490"/>
                </a:lnTo>
                <a:lnTo>
                  <a:pt x="12112" y="1474"/>
                </a:lnTo>
                <a:lnTo>
                  <a:pt x="12100" y="1491"/>
                </a:lnTo>
                <a:lnTo>
                  <a:pt x="12085" y="1508"/>
                </a:lnTo>
                <a:lnTo>
                  <a:pt x="12066" y="1523"/>
                </a:lnTo>
                <a:lnTo>
                  <a:pt x="12045" y="1536"/>
                </a:lnTo>
                <a:lnTo>
                  <a:pt x="12021" y="1547"/>
                </a:lnTo>
                <a:lnTo>
                  <a:pt x="11995" y="1555"/>
                </a:lnTo>
                <a:lnTo>
                  <a:pt x="11966" y="1560"/>
                </a:lnTo>
                <a:lnTo>
                  <a:pt x="11936" y="1561"/>
                </a:lnTo>
                <a:lnTo>
                  <a:pt x="11911" y="1561"/>
                </a:lnTo>
                <a:lnTo>
                  <a:pt x="11887" y="1558"/>
                </a:lnTo>
                <a:lnTo>
                  <a:pt x="11865" y="1553"/>
                </a:lnTo>
                <a:lnTo>
                  <a:pt x="11845" y="1547"/>
                </a:lnTo>
                <a:lnTo>
                  <a:pt x="11826" y="1538"/>
                </a:lnTo>
                <a:lnTo>
                  <a:pt x="11809" y="1530"/>
                </a:lnTo>
                <a:lnTo>
                  <a:pt x="11794" y="1519"/>
                </a:lnTo>
                <a:lnTo>
                  <a:pt x="11780" y="1507"/>
                </a:lnTo>
                <a:lnTo>
                  <a:pt x="11767" y="1493"/>
                </a:lnTo>
                <a:lnTo>
                  <a:pt x="11756" y="1478"/>
                </a:lnTo>
                <a:lnTo>
                  <a:pt x="11747" y="1464"/>
                </a:lnTo>
                <a:lnTo>
                  <a:pt x="11739" y="1448"/>
                </a:lnTo>
                <a:lnTo>
                  <a:pt x="11734" y="1432"/>
                </a:lnTo>
                <a:lnTo>
                  <a:pt x="11730" y="1414"/>
                </a:lnTo>
                <a:lnTo>
                  <a:pt x="11726" y="1379"/>
                </a:lnTo>
                <a:lnTo>
                  <a:pt x="11727" y="1360"/>
                </a:lnTo>
                <a:lnTo>
                  <a:pt x="11731" y="1340"/>
                </a:lnTo>
                <a:lnTo>
                  <a:pt x="11735" y="1323"/>
                </a:lnTo>
                <a:lnTo>
                  <a:pt x="11742" y="1305"/>
                </a:lnTo>
                <a:lnTo>
                  <a:pt x="11749" y="1290"/>
                </a:lnTo>
                <a:lnTo>
                  <a:pt x="11759" y="1275"/>
                </a:lnTo>
                <a:lnTo>
                  <a:pt x="11771" y="1262"/>
                </a:lnTo>
                <a:lnTo>
                  <a:pt x="11783" y="1250"/>
                </a:lnTo>
                <a:lnTo>
                  <a:pt x="11812" y="1229"/>
                </a:lnTo>
                <a:lnTo>
                  <a:pt x="11828" y="1221"/>
                </a:lnTo>
                <a:lnTo>
                  <a:pt x="11846" y="1214"/>
                </a:lnTo>
                <a:lnTo>
                  <a:pt x="11883" y="1203"/>
                </a:lnTo>
                <a:lnTo>
                  <a:pt x="11923" y="1198"/>
                </a:lnTo>
                <a:lnTo>
                  <a:pt x="12094" y="1186"/>
                </a:lnTo>
                <a:lnTo>
                  <a:pt x="12094" y="1150"/>
                </a:lnTo>
                <a:lnTo>
                  <a:pt x="12093" y="1130"/>
                </a:lnTo>
                <a:lnTo>
                  <a:pt x="12089" y="1112"/>
                </a:lnTo>
                <a:lnTo>
                  <a:pt x="12083" y="1097"/>
                </a:lnTo>
                <a:lnTo>
                  <a:pt x="12074" y="1084"/>
                </a:lnTo>
                <a:lnTo>
                  <a:pt x="12068" y="1078"/>
                </a:lnTo>
                <a:lnTo>
                  <a:pt x="12061" y="1073"/>
                </a:lnTo>
                <a:lnTo>
                  <a:pt x="12044" y="1065"/>
                </a:lnTo>
                <a:lnTo>
                  <a:pt x="12022" y="1060"/>
                </a:lnTo>
                <a:lnTo>
                  <a:pt x="11995" y="1059"/>
                </a:lnTo>
                <a:lnTo>
                  <a:pt x="11972" y="1060"/>
                </a:lnTo>
                <a:lnTo>
                  <a:pt x="11951" y="1063"/>
                </a:lnTo>
                <a:lnTo>
                  <a:pt x="11934" y="1070"/>
                </a:lnTo>
                <a:lnTo>
                  <a:pt x="11919" y="1079"/>
                </a:lnTo>
                <a:lnTo>
                  <a:pt x="11907" y="1091"/>
                </a:lnTo>
                <a:lnTo>
                  <a:pt x="11898" y="1105"/>
                </a:lnTo>
                <a:lnTo>
                  <a:pt x="11892" y="1122"/>
                </a:lnTo>
                <a:lnTo>
                  <a:pt x="11889" y="1140"/>
                </a:lnTo>
                <a:lnTo>
                  <a:pt x="11755" y="1140"/>
                </a:lnTo>
                <a:lnTo>
                  <a:pt x="11757" y="1117"/>
                </a:lnTo>
                <a:lnTo>
                  <a:pt x="11761" y="1095"/>
                </a:lnTo>
                <a:lnTo>
                  <a:pt x="11769" y="1075"/>
                </a:lnTo>
                <a:lnTo>
                  <a:pt x="11777" y="1056"/>
                </a:lnTo>
                <a:lnTo>
                  <a:pt x="11787" y="1039"/>
                </a:lnTo>
                <a:lnTo>
                  <a:pt x="11800" y="1024"/>
                </a:lnTo>
                <a:lnTo>
                  <a:pt x="11813" y="1010"/>
                </a:lnTo>
                <a:lnTo>
                  <a:pt x="11830" y="998"/>
                </a:lnTo>
                <a:lnTo>
                  <a:pt x="11846" y="987"/>
                </a:lnTo>
                <a:lnTo>
                  <a:pt x="11864" y="977"/>
                </a:lnTo>
                <a:lnTo>
                  <a:pt x="11884" y="969"/>
                </a:lnTo>
                <a:lnTo>
                  <a:pt x="11903" y="963"/>
                </a:lnTo>
                <a:lnTo>
                  <a:pt x="11948" y="955"/>
                </a:lnTo>
                <a:lnTo>
                  <a:pt x="11995" y="952"/>
                </a:lnTo>
                <a:lnTo>
                  <a:pt x="12032" y="953"/>
                </a:lnTo>
                <a:lnTo>
                  <a:pt x="12066" y="958"/>
                </a:lnTo>
                <a:lnTo>
                  <a:pt x="12083" y="962"/>
                </a:lnTo>
                <a:lnTo>
                  <a:pt x="12099" y="966"/>
                </a:lnTo>
                <a:lnTo>
                  <a:pt x="12128" y="978"/>
                </a:lnTo>
                <a:lnTo>
                  <a:pt x="12143" y="986"/>
                </a:lnTo>
                <a:lnTo>
                  <a:pt x="12156" y="994"/>
                </a:lnTo>
                <a:lnTo>
                  <a:pt x="12168" y="1004"/>
                </a:lnTo>
                <a:lnTo>
                  <a:pt x="12178" y="1015"/>
                </a:lnTo>
                <a:lnTo>
                  <a:pt x="12188" y="1027"/>
                </a:lnTo>
                <a:lnTo>
                  <a:pt x="12198" y="1040"/>
                </a:lnTo>
                <a:lnTo>
                  <a:pt x="12213" y="1070"/>
                </a:lnTo>
                <a:lnTo>
                  <a:pt x="12222" y="1099"/>
                </a:lnTo>
                <a:lnTo>
                  <a:pt x="12226" y="1128"/>
                </a:lnTo>
                <a:lnTo>
                  <a:pt x="12229" y="1188"/>
                </a:lnTo>
                <a:lnTo>
                  <a:pt x="12229" y="1403"/>
                </a:lnTo>
                <a:lnTo>
                  <a:pt x="12232" y="1420"/>
                </a:lnTo>
                <a:lnTo>
                  <a:pt x="12237" y="1432"/>
                </a:lnTo>
                <a:lnTo>
                  <a:pt x="12241" y="1435"/>
                </a:lnTo>
                <a:lnTo>
                  <a:pt x="12247" y="1438"/>
                </a:lnTo>
                <a:lnTo>
                  <a:pt x="12262" y="1440"/>
                </a:lnTo>
                <a:lnTo>
                  <a:pt x="12279" y="1438"/>
                </a:lnTo>
                <a:lnTo>
                  <a:pt x="12279" y="1540"/>
                </a:lnTo>
                <a:lnTo>
                  <a:pt x="12249" y="1552"/>
                </a:lnTo>
                <a:lnTo>
                  <a:pt x="12232" y="1555"/>
                </a:lnTo>
                <a:lnTo>
                  <a:pt x="12210" y="1556"/>
                </a:lnTo>
                <a:close/>
                <a:moveTo>
                  <a:pt x="11596" y="1553"/>
                </a:moveTo>
                <a:lnTo>
                  <a:pt x="11562" y="1551"/>
                </a:lnTo>
                <a:lnTo>
                  <a:pt x="11546" y="1549"/>
                </a:lnTo>
                <a:lnTo>
                  <a:pt x="11531" y="1545"/>
                </a:lnTo>
                <a:lnTo>
                  <a:pt x="11517" y="1539"/>
                </a:lnTo>
                <a:lnTo>
                  <a:pt x="11504" y="1534"/>
                </a:lnTo>
                <a:lnTo>
                  <a:pt x="11492" y="1526"/>
                </a:lnTo>
                <a:lnTo>
                  <a:pt x="11481" y="1518"/>
                </a:lnTo>
                <a:lnTo>
                  <a:pt x="11471" y="1507"/>
                </a:lnTo>
                <a:lnTo>
                  <a:pt x="11462" y="1496"/>
                </a:lnTo>
                <a:lnTo>
                  <a:pt x="11455" y="1483"/>
                </a:lnTo>
                <a:lnTo>
                  <a:pt x="11449" y="1469"/>
                </a:lnTo>
                <a:lnTo>
                  <a:pt x="11441" y="1436"/>
                </a:lnTo>
                <a:lnTo>
                  <a:pt x="11438" y="1417"/>
                </a:lnTo>
                <a:lnTo>
                  <a:pt x="11437" y="1398"/>
                </a:lnTo>
                <a:lnTo>
                  <a:pt x="11437" y="740"/>
                </a:lnTo>
                <a:lnTo>
                  <a:pt x="11577" y="740"/>
                </a:lnTo>
                <a:lnTo>
                  <a:pt x="11577" y="1374"/>
                </a:lnTo>
                <a:lnTo>
                  <a:pt x="11579" y="1386"/>
                </a:lnTo>
                <a:lnTo>
                  <a:pt x="11580" y="1397"/>
                </a:lnTo>
                <a:lnTo>
                  <a:pt x="11583" y="1407"/>
                </a:lnTo>
                <a:lnTo>
                  <a:pt x="11588" y="1414"/>
                </a:lnTo>
                <a:lnTo>
                  <a:pt x="11595" y="1421"/>
                </a:lnTo>
                <a:lnTo>
                  <a:pt x="11605" y="1426"/>
                </a:lnTo>
                <a:lnTo>
                  <a:pt x="11618" y="1428"/>
                </a:lnTo>
                <a:lnTo>
                  <a:pt x="11634" y="1429"/>
                </a:lnTo>
                <a:lnTo>
                  <a:pt x="11657" y="1428"/>
                </a:lnTo>
                <a:lnTo>
                  <a:pt x="11657" y="1546"/>
                </a:lnTo>
                <a:lnTo>
                  <a:pt x="11626" y="1552"/>
                </a:lnTo>
                <a:lnTo>
                  <a:pt x="11596" y="1553"/>
                </a:lnTo>
                <a:close/>
                <a:moveTo>
                  <a:pt x="11139" y="1097"/>
                </a:moveTo>
                <a:lnTo>
                  <a:pt x="11131" y="1090"/>
                </a:lnTo>
                <a:lnTo>
                  <a:pt x="11122" y="1084"/>
                </a:lnTo>
                <a:lnTo>
                  <a:pt x="11103" y="1073"/>
                </a:lnTo>
                <a:lnTo>
                  <a:pt x="11091" y="1069"/>
                </a:lnTo>
                <a:lnTo>
                  <a:pt x="11079" y="1066"/>
                </a:lnTo>
                <a:lnTo>
                  <a:pt x="11051" y="1064"/>
                </a:lnTo>
                <a:lnTo>
                  <a:pt x="11020" y="1067"/>
                </a:lnTo>
                <a:lnTo>
                  <a:pt x="10994" y="1076"/>
                </a:lnTo>
                <a:lnTo>
                  <a:pt x="10971" y="1090"/>
                </a:lnTo>
                <a:lnTo>
                  <a:pt x="10961" y="1099"/>
                </a:lnTo>
                <a:lnTo>
                  <a:pt x="10954" y="1109"/>
                </a:lnTo>
                <a:lnTo>
                  <a:pt x="10941" y="1128"/>
                </a:lnTo>
                <a:lnTo>
                  <a:pt x="10931" y="1149"/>
                </a:lnTo>
                <a:lnTo>
                  <a:pt x="10926" y="1172"/>
                </a:lnTo>
                <a:lnTo>
                  <a:pt x="10923" y="1199"/>
                </a:lnTo>
                <a:lnTo>
                  <a:pt x="11174" y="1199"/>
                </a:lnTo>
                <a:lnTo>
                  <a:pt x="11173" y="1183"/>
                </a:lnTo>
                <a:lnTo>
                  <a:pt x="11171" y="1168"/>
                </a:lnTo>
                <a:lnTo>
                  <a:pt x="11165" y="1141"/>
                </a:lnTo>
                <a:lnTo>
                  <a:pt x="11154" y="1117"/>
                </a:lnTo>
                <a:lnTo>
                  <a:pt x="11146" y="1106"/>
                </a:lnTo>
                <a:lnTo>
                  <a:pt x="11139" y="1097"/>
                </a:lnTo>
                <a:close/>
                <a:moveTo>
                  <a:pt x="11312" y="1300"/>
                </a:moveTo>
                <a:lnTo>
                  <a:pt x="10924" y="1300"/>
                </a:lnTo>
                <a:lnTo>
                  <a:pt x="10924" y="1317"/>
                </a:lnTo>
                <a:lnTo>
                  <a:pt x="10927" y="1333"/>
                </a:lnTo>
                <a:lnTo>
                  <a:pt x="10935" y="1364"/>
                </a:lnTo>
                <a:lnTo>
                  <a:pt x="10941" y="1378"/>
                </a:lnTo>
                <a:lnTo>
                  <a:pt x="10948" y="1391"/>
                </a:lnTo>
                <a:lnTo>
                  <a:pt x="10957" y="1403"/>
                </a:lnTo>
                <a:lnTo>
                  <a:pt x="10967" y="1414"/>
                </a:lnTo>
                <a:lnTo>
                  <a:pt x="10983" y="1427"/>
                </a:lnTo>
                <a:lnTo>
                  <a:pt x="11003" y="1439"/>
                </a:lnTo>
                <a:lnTo>
                  <a:pt x="11027" y="1447"/>
                </a:lnTo>
                <a:lnTo>
                  <a:pt x="11053" y="1450"/>
                </a:lnTo>
                <a:lnTo>
                  <a:pt x="11080" y="1448"/>
                </a:lnTo>
                <a:lnTo>
                  <a:pt x="11103" y="1444"/>
                </a:lnTo>
                <a:lnTo>
                  <a:pt x="11121" y="1435"/>
                </a:lnTo>
                <a:lnTo>
                  <a:pt x="11137" y="1422"/>
                </a:lnTo>
                <a:lnTo>
                  <a:pt x="11146" y="1412"/>
                </a:lnTo>
                <a:lnTo>
                  <a:pt x="11154" y="1401"/>
                </a:lnTo>
                <a:lnTo>
                  <a:pt x="11160" y="1388"/>
                </a:lnTo>
                <a:lnTo>
                  <a:pt x="11166" y="1373"/>
                </a:lnTo>
                <a:lnTo>
                  <a:pt x="11299" y="1373"/>
                </a:lnTo>
                <a:lnTo>
                  <a:pt x="11293" y="1400"/>
                </a:lnTo>
                <a:lnTo>
                  <a:pt x="11288" y="1415"/>
                </a:lnTo>
                <a:lnTo>
                  <a:pt x="11282" y="1429"/>
                </a:lnTo>
                <a:lnTo>
                  <a:pt x="11267" y="1457"/>
                </a:lnTo>
                <a:lnTo>
                  <a:pt x="11250" y="1481"/>
                </a:lnTo>
                <a:lnTo>
                  <a:pt x="11231" y="1500"/>
                </a:lnTo>
                <a:lnTo>
                  <a:pt x="11209" y="1518"/>
                </a:lnTo>
                <a:lnTo>
                  <a:pt x="11186" y="1532"/>
                </a:lnTo>
                <a:lnTo>
                  <a:pt x="11161" y="1543"/>
                </a:lnTo>
                <a:lnTo>
                  <a:pt x="11136" y="1551"/>
                </a:lnTo>
                <a:lnTo>
                  <a:pt x="11109" y="1557"/>
                </a:lnTo>
                <a:lnTo>
                  <a:pt x="11082" y="1560"/>
                </a:lnTo>
                <a:lnTo>
                  <a:pt x="11055" y="1561"/>
                </a:lnTo>
                <a:lnTo>
                  <a:pt x="11027" y="1560"/>
                </a:lnTo>
                <a:lnTo>
                  <a:pt x="10999" y="1557"/>
                </a:lnTo>
                <a:lnTo>
                  <a:pt x="10986" y="1553"/>
                </a:lnTo>
                <a:lnTo>
                  <a:pt x="10974" y="1550"/>
                </a:lnTo>
                <a:lnTo>
                  <a:pt x="10951" y="1543"/>
                </a:lnTo>
                <a:lnTo>
                  <a:pt x="10929" y="1532"/>
                </a:lnTo>
                <a:lnTo>
                  <a:pt x="10909" y="1520"/>
                </a:lnTo>
                <a:lnTo>
                  <a:pt x="10890" y="1506"/>
                </a:lnTo>
                <a:lnTo>
                  <a:pt x="10872" y="1490"/>
                </a:lnTo>
                <a:lnTo>
                  <a:pt x="10852" y="1468"/>
                </a:lnTo>
                <a:lnTo>
                  <a:pt x="10833" y="1444"/>
                </a:lnTo>
                <a:lnTo>
                  <a:pt x="10818" y="1417"/>
                </a:lnTo>
                <a:lnTo>
                  <a:pt x="10806" y="1388"/>
                </a:lnTo>
                <a:lnTo>
                  <a:pt x="10801" y="1374"/>
                </a:lnTo>
                <a:lnTo>
                  <a:pt x="10796" y="1359"/>
                </a:lnTo>
                <a:lnTo>
                  <a:pt x="10789" y="1326"/>
                </a:lnTo>
                <a:lnTo>
                  <a:pt x="10784" y="1292"/>
                </a:lnTo>
                <a:lnTo>
                  <a:pt x="10783" y="1258"/>
                </a:lnTo>
                <a:lnTo>
                  <a:pt x="10784" y="1224"/>
                </a:lnTo>
                <a:lnTo>
                  <a:pt x="10788" y="1190"/>
                </a:lnTo>
                <a:lnTo>
                  <a:pt x="10794" y="1159"/>
                </a:lnTo>
                <a:lnTo>
                  <a:pt x="10804" y="1128"/>
                </a:lnTo>
                <a:lnTo>
                  <a:pt x="10816" y="1100"/>
                </a:lnTo>
                <a:lnTo>
                  <a:pt x="10830" y="1073"/>
                </a:lnTo>
                <a:lnTo>
                  <a:pt x="10847" y="1048"/>
                </a:lnTo>
                <a:lnTo>
                  <a:pt x="10867" y="1026"/>
                </a:lnTo>
                <a:lnTo>
                  <a:pt x="10883" y="1010"/>
                </a:lnTo>
                <a:lnTo>
                  <a:pt x="10903" y="995"/>
                </a:lnTo>
                <a:lnTo>
                  <a:pt x="10923" y="982"/>
                </a:lnTo>
                <a:lnTo>
                  <a:pt x="10946" y="971"/>
                </a:lnTo>
                <a:lnTo>
                  <a:pt x="10970" y="964"/>
                </a:lnTo>
                <a:lnTo>
                  <a:pt x="10995" y="957"/>
                </a:lnTo>
                <a:lnTo>
                  <a:pt x="11022" y="953"/>
                </a:lnTo>
                <a:lnTo>
                  <a:pt x="11052" y="952"/>
                </a:lnTo>
                <a:lnTo>
                  <a:pt x="11083" y="954"/>
                </a:lnTo>
                <a:lnTo>
                  <a:pt x="11115" y="958"/>
                </a:lnTo>
                <a:lnTo>
                  <a:pt x="11144" y="967"/>
                </a:lnTo>
                <a:lnTo>
                  <a:pt x="11172" y="978"/>
                </a:lnTo>
                <a:lnTo>
                  <a:pt x="11198" y="993"/>
                </a:lnTo>
                <a:lnTo>
                  <a:pt x="11222" y="1012"/>
                </a:lnTo>
                <a:lnTo>
                  <a:pt x="11244" y="1033"/>
                </a:lnTo>
                <a:lnTo>
                  <a:pt x="11263" y="1060"/>
                </a:lnTo>
                <a:lnTo>
                  <a:pt x="11278" y="1084"/>
                </a:lnTo>
                <a:lnTo>
                  <a:pt x="11290" y="1107"/>
                </a:lnTo>
                <a:lnTo>
                  <a:pt x="11306" y="1156"/>
                </a:lnTo>
                <a:lnTo>
                  <a:pt x="11310" y="1183"/>
                </a:lnTo>
                <a:lnTo>
                  <a:pt x="11312" y="1208"/>
                </a:lnTo>
                <a:lnTo>
                  <a:pt x="11313" y="1261"/>
                </a:lnTo>
                <a:lnTo>
                  <a:pt x="11312" y="1300"/>
                </a:lnTo>
                <a:close/>
                <a:moveTo>
                  <a:pt x="10509" y="1111"/>
                </a:moveTo>
                <a:lnTo>
                  <a:pt x="10502" y="1103"/>
                </a:lnTo>
                <a:lnTo>
                  <a:pt x="10493" y="1097"/>
                </a:lnTo>
                <a:lnTo>
                  <a:pt x="10472" y="1085"/>
                </a:lnTo>
                <a:lnTo>
                  <a:pt x="10462" y="1080"/>
                </a:lnTo>
                <a:lnTo>
                  <a:pt x="10449" y="1077"/>
                </a:lnTo>
                <a:lnTo>
                  <a:pt x="10421" y="1074"/>
                </a:lnTo>
                <a:lnTo>
                  <a:pt x="10394" y="1077"/>
                </a:lnTo>
                <a:lnTo>
                  <a:pt x="10370" y="1085"/>
                </a:lnTo>
                <a:lnTo>
                  <a:pt x="10350" y="1097"/>
                </a:lnTo>
                <a:lnTo>
                  <a:pt x="10341" y="1103"/>
                </a:lnTo>
                <a:lnTo>
                  <a:pt x="10333" y="1111"/>
                </a:lnTo>
                <a:lnTo>
                  <a:pt x="10322" y="1125"/>
                </a:lnTo>
                <a:lnTo>
                  <a:pt x="10313" y="1141"/>
                </a:lnTo>
                <a:lnTo>
                  <a:pt x="10306" y="1159"/>
                </a:lnTo>
                <a:lnTo>
                  <a:pt x="10301" y="1177"/>
                </a:lnTo>
                <a:lnTo>
                  <a:pt x="10294" y="1216"/>
                </a:lnTo>
                <a:lnTo>
                  <a:pt x="10292" y="1256"/>
                </a:lnTo>
                <a:lnTo>
                  <a:pt x="10292" y="1277"/>
                </a:lnTo>
                <a:lnTo>
                  <a:pt x="10294" y="1298"/>
                </a:lnTo>
                <a:lnTo>
                  <a:pt x="10301" y="1337"/>
                </a:lnTo>
                <a:lnTo>
                  <a:pt x="10306" y="1355"/>
                </a:lnTo>
                <a:lnTo>
                  <a:pt x="10313" y="1372"/>
                </a:lnTo>
                <a:lnTo>
                  <a:pt x="10322" y="1388"/>
                </a:lnTo>
                <a:lnTo>
                  <a:pt x="10333" y="1403"/>
                </a:lnTo>
                <a:lnTo>
                  <a:pt x="10341" y="1410"/>
                </a:lnTo>
                <a:lnTo>
                  <a:pt x="10350" y="1417"/>
                </a:lnTo>
                <a:lnTo>
                  <a:pt x="10370" y="1429"/>
                </a:lnTo>
                <a:lnTo>
                  <a:pt x="10382" y="1434"/>
                </a:lnTo>
                <a:lnTo>
                  <a:pt x="10394" y="1437"/>
                </a:lnTo>
                <a:lnTo>
                  <a:pt x="10421" y="1440"/>
                </a:lnTo>
                <a:lnTo>
                  <a:pt x="10449" y="1437"/>
                </a:lnTo>
                <a:lnTo>
                  <a:pt x="10472" y="1429"/>
                </a:lnTo>
                <a:lnTo>
                  <a:pt x="10493" y="1417"/>
                </a:lnTo>
                <a:lnTo>
                  <a:pt x="10502" y="1410"/>
                </a:lnTo>
                <a:lnTo>
                  <a:pt x="10509" y="1403"/>
                </a:lnTo>
                <a:lnTo>
                  <a:pt x="10521" y="1388"/>
                </a:lnTo>
                <a:lnTo>
                  <a:pt x="10530" y="1372"/>
                </a:lnTo>
                <a:lnTo>
                  <a:pt x="10538" y="1355"/>
                </a:lnTo>
                <a:lnTo>
                  <a:pt x="10543" y="1337"/>
                </a:lnTo>
                <a:lnTo>
                  <a:pt x="10550" y="1298"/>
                </a:lnTo>
                <a:lnTo>
                  <a:pt x="10551" y="1256"/>
                </a:lnTo>
                <a:lnTo>
                  <a:pt x="10551" y="1236"/>
                </a:lnTo>
                <a:lnTo>
                  <a:pt x="10550" y="1216"/>
                </a:lnTo>
                <a:lnTo>
                  <a:pt x="10543" y="1177"/>
                </a:lnTo>
                <a:lnTo>
                  <a:pt x="10538" y="1159"/>
                </a:lnTo>
                <a:lnTo>
                  <a:pt x="10530" y="1141"/>
                </a:lnTo>
                <a:lnTo>
                  <a:pt x="10521" y="1125"/>
                </a:lnTo>
                <a:lnTo>
                  <a:pt x="10509" y="1111"/>
                </a:lnTo>
                <a:close/>
                <a:moveTo>
                  <a:pt x="10625" y="1471"/>
                </a:moveTo>
                <a:lnTo>
                  <a:pt x="10608" y="1489"/>
                </a:lnTo>
                <a:lnTo>
                  <a:pt x="10589" y="1506"/>
                </a:lnTo>
                <a:lnTo>
                  <a:pt x="10566" y="1521"/>
                </a:lnTo>
                <a:lnTo>
                  <a:pt x="10541" y="1535"/>
                </a:lnTo>
                <a:lnTo>
                  <a:pt x="10514" y="1546"/>
                </a:lnTo>
                <a:lnTo>
                  <a:pt x="10484" y="1555"/>
                </a:lnTo>
                <a:lnTo>
                  <a:pt x="10454" y="1560"/>
                </a:lnTo>
                <a:lnTo>
                  <a:pt x="10421" y="1561"/>
                </a:lnTo>
                <a:lnTo>
                  <a:pt x="10389" y="1560"/>
                </a:lnTo>
                <a:lnTo>
                  <a:pt x="10358" y="1555"/>
                </a:lnTo>
                <a:lnTo>
                  <a:pt x="10329" y="1546"/>
                </a:lnTo>
                <a:lnTo>
                  <a:pt x="10302" y="1535"/>
                </a:lnTo>
                <a:lnTo>
                  <a:pt x="10277" y="1521"/>
                </a:lnTo>
                <a:lnTo>
                  <a:pt x="10255" y="1506"/>
                </a:lnTo>
                <a:lnTo>
                  <a:pt x="10236" y="1489"/>
                </a:lnTo>
                <a:lnTo>
                  <a:pt x="10227" y="1481"/>
                </a:lnTo>
                <a:lnTo>
                  <a:pt x="10218" y="1471"/>
                </a:lnTo>
                <a:lnTo>
                  <a:pt x="10190" y="1428"/>
                </a:lnTo>
                <a:lnTo>
                  <a:pt x="10178" y="1406"/>
                </a:lnTo>
                <a:lnTo>
                  <a:pt x="10168" y="1380"/>
                </a:lnTo>
                <a:lnTo>
                  <a:pt x="10161" y="1353"/>
                </a:lnTo>
                <a:lnTo>
                  <a:pt x="10155" y="1324"/>
                </a:lnTo>
                <a:lnTo>
                  <a:pt x="10152" y="1292"/>
                </a:lnTo>
                <a:lnTo>
                  <a:pt x="10151" y="1256"/>
                </a:lnTo>
                <a:lnTo>
                  <a:pt x="10152" y="1222"/>
                </a:lnTo>
                <a:lnTo>
                  <a:pt x="10155" y="1189"/>
                </a:lnTo>
                <a:lnTo>
                  <a:pt x="10161" y="1160"/>
                </a:lnTo>
                <a:lnTo>
                  <a:pt x="10168" y="1134"/>
                </a:lnTo>
                <a:lnTo>
                  <a:pt x="10178" y="1109"/>
                </a:lnTo>
                <a:lnTo>
                  <a:pt x="10190" y="1085"/>
                </a:lnTo>
                <a:lnTo>
                  <a:pt x="10203" y="1063"/>
                </a:lnTo>
                <a:lnTo>
                  <a:pt x="10218" y="1042"/>
                </a:lnTo>
                <a:lnTo>
                  <a:pt x="10236" y="1025"/>
                </a:lnTo>
                <a:lnTo>
                  <a:pt x="10255" y="1007"/>
                </a:lnTo>
                <a:lnTo>
                  <a:pt x="10277" y="992"/>
                </a:lnTo>
                <a:lnTo>
                  <a:pt x="10302" y="979"/>
                </a:lnTo>
                <a:lnTo>
                  <a:pt x="10329" y="967"/>
                </a:lnTo>
                <a:lnTo>
                  <a:pt x="10358" y="960"/>
                </a:lnTo>
                <a:lnTo>
                  <a:pt x="10389" y="954"/>
                </a:lnTo>
                <a:lnTo>
                  <a:pt x="10421" y="952"/>
                </a:lnTo>
                <a:lnTo>
                  <a:pt x="10454" y="954"/>
                </a:lnTo>
                <a:lnTo>
                  <a:pt x="10484" y="960"/>
                </a:lnTo>
                <a:lnTo>
                  <a:pt x="10514" y="967"/>
                </a:lnTo>
                <a:lnTo>
                  <a:pt x="10541" y="979"/>
                </a:lnTo>
                <a:lnTo>
                  <a:pt x="10566" y="992"/>
                </a:lnTo>
                <a:lnTo>
                  <a:pt x="10589" y="1007"/>
                </a:lnTo>
                <a:lnTo>
                  <a:pt x="10608" y="1025"/>
                </a:lnTo>
                <a:lnTo>
                  <a:pt x="10617" y="1033"/>
                </a:lnTo>
                <a:lnTo>
                  <a:pt x="10625" y="1042"/>
                </a:lnTo>
                <a:lnTo>
                  <a:pt x="10654" y="1085"/>
                </a:lnTo>
                <a:lnTo>
                  <a:pt x="10665" y="1109"/>
                </a:lnTo>
                <a:lnTo>
                  <a:pt x="10675" y="1134"/>
                </a:lnTo>
                <a:lnTo>
                  <a:pt x="10682" y="1160"/>
                </a:lnTo>
                <a:lnTo>
                  <a:pt x="10688" y="1189"/>
                </a:lnTo>
                <a:lnTo>
                  <a:pt x="10692" y="1222"/>
                </a:lnTo>
                <a:lnTo>
                  <a:pt x="10693" y="1256"/>
                </a:lnTo>
                <a:lnTo>
                  <a:pt x="10692" y="1292"/>
                </a:lnTo>
                <a:lnTo>
                  <a:pt x="10688" y="1324"/>
                </a:lnTo>
                <a:lnTo>
                  <a:pt x="10682" y="1353"/>
                </a:lnTo>
                <a:lnTo>
                  <a:pt x="10675" y="1380"/>
                </a:lnTo>
                <a:lnTo>
                  <a:pt x="10665" y="1406"/>
                </a:lnTo>
                <a:lnTo>
                  <a:pt x="10654" y="1428"/>
                </a:lnTo>
                <a:lnTo>
                  <a:pt x="10640" y="1450"/>
                </a:lnTo>
                <a:lnTo>
                  <a:pt x="10625" y="1471"/>
                </a:lnTo>
                <a:close/>
                <a:moveTo>
                  <a:pt x="9890" y="1547"/>
                </a:moveTo>
                <a:lnTo>
                  <a:pt x="9890" y="1191"/>
                </a:lnTo>
                <a:lnTo>
                  <a:pt x="9889" y="1166"/>
                </a:lnTo>
                <a:lnTo>
                  <a:pt x="9885" y="1146"/>
                </a:lnTo>
                <a:lnTo>
                  <a:pt x="9882" y="1136"/>
                </a:lnTo>
                <a:lnTo>
                  <a:pt x="9879" y="1126"/>
                </a:lnTo>
                <a:lnTo>
                  <a:pt x="9875" y="1118"/>
                </a:lnTo>
                <a:lnTo>
                  <a:pt x="9869" y="1111"/>
                </a:lnTo>
                <a:lnTo>
                  <a:pt x="9863" y="1104"/>
                </a:lnTo>
                <a:lnTo>
                  <a:pt x="9856" y="1098"/>
                </a:lnTo>
                <a:lnTo>
                  <a:pt x="9840" y="1089"/>
                </a:lnTo>
                <a:lnTo>
                  <a:pt x="9819" y="1084"/>
                </a:lnTo>
                <a:lnTo>
                  <a:pt x="9793" y="1081"/>
                </a:lnTo>
                <a:lnTo>
                  <a:pt x="9776" y="1082"/>
                </a:lnTo>
                <a:lnTo>
                  <a:pt x="9760" y="1087"/>
                </a:lnTo>
                <a:lnTo>
                  <a:pt x="9746" y="1093"/>
                </a:lnTo>
                <a:lnTo>
                  <a:pt x="9732" y="1102"/>
                </a:lnTo>
                <a:lnTo>
                  <a:pt x="9721" y="1113"/>
                </a:lnTo>
                <a:lnTo>
                  <a:pt x="9710" y="1126"/>
                </a:lnTo>
                <a:lnTo>
                  <a:pt x="9701" y="1140"/>
                </a:lnTo>
                <a:lnTo>
                  <a:pt x="9693" y="1155"/>
                </a:lnTo>
                <a:lnTo>
                  <a:pt x="9687" y="1173"/>
                </a:lnTo>
                <a:lnTo>
                  <a:pt x="9681" y="1192"/>
                </a:lnTo>
                <a:lnTo>
                  <a:pt x="9678" y="1212"/>
                </a:lnTo>
                <a:lnTo>
                  <a:pt x="9676" y="1231"/>
                </a:lnTo>
                <a:lnTo>
                  <a:pt x="9675" y="1272"/>
                </a:lnTo>
                <a:lnTo>
                  <a:pt x="9674" y="1311"/>
                </a:lnTo>
                <a:lnTo>
                  <a:pt x="9674" y="1547"/>
                </a:lnTo>
                <a:lnTo>
                  <a:pt x="9535" y="1547"/>
                </a:lnTo>
                <a:lnTo>
                  <a:pt x="9535" y="966"/>
                </a:lnTo>
                <a:lnTo>
                  <a:pt x="9652" y="966"/>
                </a:lnTo>
                <a:lnTo>
                  <a:pt x="9662" y="1041"/>
                </a:lnTo>
                <a:lnTo>
                  <a:pt x="9677" y="1019"/>
                </a:lnTo>
                <a:lnTo>
                  <a:pt x="9693" y="1001"/>
                </a:lnTo>
                <a:lnTo>
                  <a:pt x="9714" y="986"/>
                </a:lnTo>
                <a:lnTo>
                  <a:pt x="9736" y="974"/>
                </a:lnTo>
                <a:lnTo>
                  <a:pt x="9759" y="964"/>
                </a:lnTo>
                <a:lnTo>
                  <a:pt x="9782" y="957"/>
                </a:lnTo>
                <a:lnTo>
                  <a:pt x="9807" y="953"/>
                </a:lnTo>
                <a:lnTo>
                  <a:pt x="9832" y="952"/>
                </a:lnTo>
                <a:lnTo>
                  <a:pt x="9855" y="953"/>
                </a:lnTo>
                <a:lnTo>
                  <a:pt x="9877" y="956"/>
                </a:lnTo>
                <a:lnTo>
                  <a:pt x="9897" y="961"/>
                </a:lnTo>
                <a:lnTo>
                  <a:pt x="9916" y="967"/>
                </a:lnTo>
                <a:lnTo>
                  <a:pt x="9934" y="976"/>
                </a:lnTo>
                <a:lnTo>
                  <a:pt x="9949" y="986"/>
                </a:lnTo>
                <a:lnTo>
                  <a:pt x="9964" y="998"/>
                </a:lnTo>
                <a:lnTo>
                  <a:pt x="9977" y="1011"/>
                </a:lnTo>
                <a:lnTo>
                  <a:pt x="9989" y="1025"/>
                </a:lnTo>
                <a:lnTo>
                  <a:pt x="10000" y="1041"/>
                </a:lnTo>
                <a:lnTo>
                  <a:pt x="10008" y="1059"/>
                </a:lnTo>
                <a:lnTo>
                  <a:pt x="10016" y="1076"/>
                </a:lnTo>
                <a:lnTo>
                  <a:pt x="10022" y="1095"/>
                </a:lnTo>
                <a:lnTo>
                  <a:pt x="10026" y="1116"/>
                </a:lnTo>
                <a:lnTo>
                  <a:pt x="10028" y="1138"/>
                </a:lnTo>
                <a:lnTo>
                  <a:pt x="10029" y="1160"/>
                </a:lnTo>
                <a:lnTo>
                  <a:pt x="10029" y="1547"/>
                </a:lnTo>
                <a:lnTo>
                  <a:pt x="9890" y="1547"/>
                </a:lnTo>
                <a:close/>
                <a:moveTo>
                  <a:pt x="9222" y="1547"/>
                </a:moveTo>
                <a:lnTo>
                  <a:pt x="9222" y="966"/>
                </a:lnTo>
                <a:lnTo>
                  <a:pt x="9363" y="966"/>
                </a:lnTo>
                <a:lnTo>
                  <a:pt x="9363" y="1547"/>
                </a:lnTo>
                <a:lnTo>
                  <a:pt x="9222" y="1547"/>
                </a:lnTo>
                <a:close/>
                <a:moveTo>
                  <a:pt x="9217" y="886"/>
                </a:moveTo>
                <a:lnTo>
                  <a:pt x="9217" y="742"/>
                </a:lnTo>
                <a:lnTo>
                  <a:pt x="9366" y="742"/>
                </a:lnTo>
                <a:lnTo>
                  <a:pt x="9366" y="886"/>
                </a:lnTo>
                <a:lnTo>
                  <a:pt x="9217" y="886"/>
                </a:lnTo>
                <a:close/>
                <a:moveTo>
                  <a:pt x="8918" y="1097"/>
                </a:moveTo>
                <a:lnTo>
                  <a:pt x="8910" y="1090"/>
                </a:lnTo>
                <a:lnTo>
                  <a:pt x="8901" y="1084"/>
                </a:lnTo>
                <a:lnTo>
                  <a:pt x="8881" y="1073"/>
                </a:lnTo>
                <a:lnTo>
                  <a:pt x="8870" y="1069"/>
                </a:lnTo>
                <a:lnTo>
                  <a:pt x="8857" y="1066"/>
                </a:lnTo>
                <a:lnTo>
                  <a:pt x="8830" y="1064"/>
                </a:lnTo>
                <a:lnTo>
                  <a:pt x="8799" y="1067"/>
                </a:lnTo>
                <a:lnTo>
                  <a:pt x="8772" y="1076"/>
                </a:lnTo>
                <a:lnTo>
                  <a:pt x="8749" y="1090"/>
                </a:lnTo>
                <a:lnTo>
                  <a:pt x="8740" y="1099"/>
                </a:lnTo>
                <a:lnTo>
                  <a:pt x="8732" y="1109"/>
                </a:lnTo>
                <a:lnTo>
                  <a:pt x="8719" y="1128"/>
                </a:lnTo>
                <a:lnTo>
                  <a:pt x="8710" y="1149"/>
                </a:lnTo>
                <a:lnTo>
                  <a:pt x="8705" y="1172"/>
                </a:lnTo>
                <a:lnTo>
                  <a:pt x="8701" y="1199"/>
                </a:lnTo>
                <a:lnTo>
                  <a:pt x="8952" y="1199"/>
                </a:lnTo>
                <a:lnTo>
                  <a:pt x="8952" y="1183"/>
                </a:lnTo>
                <a:lnTo>
                  <a:pt x="8950" y="1168"/>
                </a:lnTo>
                <a:lnTo>
                  <a:pt x="8943" y="1141"/>
                </a:lnTo>
                <a:lnTo>
                  <a:pt x="8932" y="1117"/>
                </a:lnTo>
                <a:lnTo>
                  <a:pt x="8925" y="1106"/>
                </a:lnTo>
                <a:lnTo>
                  <a:pt x="8918" y="1097"/>
                </a:lnTo>
                <a:close/>
                <a:moveTo>
                  <a:pt x="9091" y="1300"/>
                </a:moveTo>
                <a:lnTo>
                  <a:pt x="8703" y="1300"/>
                </a:lnTo>
                <a:lnTo>
                  <a:pt x="8703" y="1317"/>
                </a:lnTo>
                <a:lnTo>
                  <a:pt x="8706" y="1333"/>
                </a:lnTo>
                <a:lnTo>
                  <a:pt x="8713" y="1364"/>
                </a:lnTo>
                <a:lnTo>
                  <a:pt x="8720" y="1378"/>
                </a:lnTo>
                <a:lnTo>
                  <a:pt x="8726" y="1391"/>
                </a:lnTo>
                <a:lnTo>
                  <a:pt x="8735" y="1403"/>
                </a:lnTo>
                <a:lnTo>
                  <a:pt x="8746" y="1414"/>
                </a:lnTo>
                <a:lnTo>
                  <a:pt x="8762" y="1427"/>
                </a:lnTo>
                <a:lnTo>
                  <a:pt x="8782" y="1439"/>
                </a:lnTo>
                <a:lnTo>
                  <a:pt x="8805" y="1447"/>
                </a:lnTo>
                <a:lnTo>
                  <a:pt x="8832" y="1450"/>
                </a:lnTo>
                <a:lnTo>
                  <a:pt x="8859" y="1448"/>
                </a:lnTo>
                <a:lnTo>
                  <a:pt x="8881" y="1444"/>
                </a:lnTo>
                <a:lnTo>
                  <a:pt x="8900" y="1435"/>
                </a:lnTo>
                <a:lnTo>
                  <a:pt x="8916" y="1422"/>
                </a:lnTo>
                <a:lnTo>
                  <a:pt x="8925" y="1412"/>
                </a:lnTo>
                <a:lnTo>
                  <a:pt x="8933" y="1401"/>
                </a:lnTo>
                <a:lnTo>
                  <a:pt x="8939" y="1388"/>
                </a:lnTo>
                <a:lnTo>
                  <a:pt x="8944" y="1373"/>
                </a:lnTo>
                <a:lnTo>
                  <a:pt x="9077" y="1373"/>
                </a:lnTo>
                <a:lnTo>
                  <a:pt x="9072" y="1400"/>
                </a:lnTo>
                <a:lnTo>
                  <a:pt x="9066" y="1415"/>
                </a:lnTo>
                <a:lnTo>
                  <a:pt x="9060" y="1429"/>
                </a:lnTo>
                <a:lnTo>
                  <a:pt x="9046" y="1457"/>
                </a:lnTo>
                <a:lnTo>
                  <a:pt x="9028" y="1481"/>
                </a:lnTo>
                <a:lnTo>
                  <a:pt x="9009" y="1500"/>
                </a:lnTo>
                <a:lnTo>
                  <a:pt x="8988" y="1518"/>
                </a:lnTo>
                <a:lnTo>
                  <a:pt x="8964" y="1532"/>
                </a:lnTo>
                <a:lnTo>
                  <a:pt x="8940" y="1543"/>
                </a:lnTo>
                <a:lnTo>
                  <a:pt x="8914" y="1551"/>
                </a:lnTo>
                <a:lnTo>
                  <a:pt x="8888" y="1557"/>
                </a:lnTo>
                <a:lnTo>
                  <a:pt x="8861" y="1560"/>
                </a:lnTo>
                <a:lnTo>
                  <a:pt x="8834" y="1561"/>
                </a:lnTo>
                <a:lnTo>
                  <a:pt x="8805" y="1560"/>
                </a:lnTo>
                <a:lnTo>
                  <a:pt x="8777" y="1557"/>
                </a:lnTo>
                <a:lnTo>
                  <a:pt x="8765" y="1553"/>
                </a:lnTo>
                <a:lnTo>
                  <a:pt x="8752" y="1550"/>
                </a:lnTo>
                <a:lnTo>
                  <a:pt x="8730" y="1543"/>
                </a:lnTo>
                <a:lnTo>
                  <a:pt x="8708" y="1532"/>
                </a:lnTo>
                <a:lnTo>
                  <a:pt x="8687" y="1520"/>
                </a:lnTo>
                <a:lnTo>
                  <a:pt x="8669" y="1506"/>
                </a:lnTo>
                <a:lnTo>
                  <a:pt x="8650" y="1490"/>
                </a:lnTo>
                <a:lnTo>
                  <a:pt x="8630" y="1468"/>
                </a:lnTo>
                <a:lnTo>
                  <a:pt x="8612" y="1444"/>
                </a:lnTo>
                <a:lnTo>
                  <a:pt x="8597" y="1417"/>
                </a:lnTo>
                <a:lnTo>
                  <a:pt x="8584" y="1388"/>
                </a:lnTo>
                <a:lnTo>
                  <a:pt x="8579" y="1374"/>
                </a:lnTo>
                <a:lnTo>
                  <a:pt x="8574" y="1359"/>
                </a:lnTo>
                <a:lnTo>
                  <a:pt x="8567" y="1326"/>
                </a:lnTo>
                <a:lnTo>
                  <a:pt x="8562" y="1292"/>
                </a:lnTo>
                <a:lnTo>
                  <a:pt x="8561" y="1258"/>
                </a:lnTo>
                <a:lnTo>
                  <a:pt x="8562" y="1224"/>
                </a:lnTo>
                <a:lnTo>
                  <a:pt x="8567" y="1190"/>
                </a:lnTo>
                <a:lnTo>
                  <a:pt x="8573" y="1159"/>
                </a:lnTo>
                <a:lnTo>
                  <a:pt x="8582" y="1128"/>
                </a:lnTo>
                <a:lnTo>
                  <a:pt x="8594" y="1100"/>
                </a:lnTo>
                <a:lnTo>
                  <a:pt x="8608" y="1073"/>
                </a:lnTo>
                <a:lnTo>
                  <a:pt x="8625" y="1048"/>
                </a:lnTo>
                <a:lnTo>
                  <a:pt x="8645" y="1026"/>
                </a:lnTo>
                <a:lnTo>
                  <a:pt x="8662" y="1010"/>
                </a:lnTo>
                <a:lnTo>
                  <a:pt x="8681" y="995"/>
                </a:lnTo>
                <a:lnTo>
                  <a:pt x="8701" y="982"/>
                </a:lnTo>
                <a:lnTo>
                  <a:pt x="8724" y="971"/>
                </a:lnTo>
                <a:lnTo>
                  <a:pt x="8748" y="964"/>
                </a:lnTo>
                <a:lnTo>
                  <a:pt x="8774" y="957"/>
                </a:lnTo>
                <a:lnTo>
                  <a:pt x="8801" y="953"/>
                </a:lnTo>
                <a:lnTo>
                  <a:pt x="8831" y="952"/>
                </a:lnTo>
                <a:lnTo>
                  <a:pt x="8862" y="954"/>
                </a:lnTo>
                <a:lnTo>
                  <a:pt x="8893" y="958"/>
                </a:lnTo>
                <a:lnTo>
                  <a:pt x="8922" y="967"/>
                </a:lnTo>
                <a:lnTo>
                  <a:pt x="8950" y="978"/>
                </a:lnTo>
                <a:lnTo>
                  <a:pt x="8976" y="993"/>
                </a:lnTo>
                <a:lnTo>
                  <a:pt x="9001" y="1012"/>
                </a:lnTo>
                <a:lnTo>
                  <a:pt x="9023" y="1033"/>
                </a:lnTo>
                <a:lnTo>
                  <a:pt x="9043" y="1060"/>
                </a:lnTo>
                <a:lnTo>
                  <a:pt x="9057" y="1084"/>
                </a:lnTo>
                <a:lnTo>
                  <a:pt x="9069" y="1107"/>
                </a:lnTo>
                <a:lnTo>
                  <a:pt x="9084" y="1156"/>
                </a:lnTo>
                <a:lnTo>
                  <a:pt x="9088" y="1183"/>
                </a:lnTo>
                <a:lnTo>
                  <a:pt x="9091" y="1208"/>
                </a:lnTo>
                <a:lnTo>
                  <a:pt x="9092" y="1261"/>
                </a:lnTo>
                <a:lnTo>
                  <a:pt x="9091" y="1300"/>
                </a:lnTo>
                <a:close/>
                <a:moveTo>
                  <a:pt x="8368" y="1547"/>
                </a:moveTo>
                <a:lnTo>
                  <a:pt x="8205" y="1293"/>
                </a:lnTo>
                <a:lnTo>
                  <a:pt x="8112" y="1395"/>
                </a:lnTo>
                <a:lnTo>
                  <a:pt x="8112" y="1547"/>
                </a:lnTo>
                <a:lnTo>
                  <a:pt x="7972" y="1547"/>
                </a:lnTo>
                <a:lnTo>
                  <a:pt x="7972" y="741"/>
                </a:lnTo>
                <a:lnTo>
                  <a:pt x="8112" y="741"/>
                </a:lnTo>
                <a:lnTo>
                  <a:pt x="8112" y="1202"/>
                </a:lnTo>
                <a:lnTo>
                  <a:pt x="8332" y="966"/>
                </a:lnTo>
                <a:lnTo>
                  <a:pt x="8507" y="966"/>
                </a:lnTo>
                <a:lnTo>
                  <a:pt x="8299" y="1191"/>
                </a:lnTo>
                <a:lnTo>
                  <a:pt x="8529" y="1547"/>
                </a:lnTo>
                <a:lnTo>
                  <a:pt x="8368" y="1547"/>
                </a:lnTo>
                <a:close/>
                <a:moveTo>
                  <a:pt x="7671" y="1547"/>
                </a:moveTo>
                <a:lnTo>
                  <a:pt x="7671" y="1191"/>
                </a:lnTo>
                <a:lnTo>
                  <a:pt x="7670" y="1166"/>
                </a:lnTo>
                <a:lnTo>
                  <a:pt x="7667" y="1146"/>
                </a:lnTo>
                <a:lnTo>
                  <a:pt x="7664" y="1136"/>
                </a:lnTo>
                <a:lnTo>
                  <a:pt x="7660" y="1126"/>
                </a:lnTo>
                <a:lnTo>
                  <a:pt x="7656" y="1118"/>
                </a:lnTo>
                <a:lnTo>
                  <a:pt x="7651" y="1111"/>
                </a:lnTo>
                <a:lnTo>
                  <a:pt x="7645" y="1104"/>
                </a:lnTo>
                <a:lnTo>
                  <a:pt x="7639" y="1098"/>
                </a:lnTo>
                <a:lnTo>
                  <a:pt x="7621" y="1089"/>
                </a:lnTo>
                <a:lnTo>
                  <a:pt x="7601" y="1084"/>
                </a:lnTo>
                <a:lnTo>
                  <a:pt x="7576" y="1081"/>
                </a:lnTo>
                <a:lnTo>
                  <a:pt x="7558" y="1082"/>
                </a:lnTo>
                <a:lnTo>
                  <a:pt x="7542" y="1087"/>
                </a:lnTo>
                <a:lnTo>
                  <a:pt x="7527" y="1093"/>
                </a:lnTo>
                <a:lnTo>
                  <a:pt x="7514" y="1102"/>
                </a:lnTo>
                <a:lnTo>
                  <a:pt x="7502" y="1113"/>
                </a:lnTo>
                <a:lnTo>
                  <a:pt x="7492" y="1126"/>
                </a:lnTo>
                <a:lnTo>
                  <a:pt x="7483" y="1140"/>
                </a:lnTo>
                <a:lnTo>
                  <a:pt x="7475" y="1155"/>
                </a:lnTo>
                <a:lnTo>
                  <a:pt x="7468" y="1173"/>
                </a:lnTo>
                <a:lnTo>
                  <a:pt x="7464" y="1192"/>
                </a:lnTo>
                <a:lnTo>
                  <a:pt x="7460" y="1212"/>
                </a:lnTo>
                <a:lnTo>
                  <a:pt x="7458" y="1231"/>
                </a:lnTo>
                <a:lnTo>
                  <a:pt x="7456" y="1272"/>
                </a:lnTo>
                <a:lnTo>
                  <a:pt x="7456" y="1311"/>
                </a:lnTo>
                <a:lnTo>
                  <a:pt x="7456" y="1547"/>
                </a:lnTo>
                <a:lnTo>
                  <a:pt x="7317" y="1547"/>
                </a:lnTo>
                <a:lnTo>
                  <a:pt x="7317" y="966"/>
                </a:lnTo>
                <a:lnTo>
                  <a:pt x="7434" y="966"/>
                </a:lnTo>
                <a:lnTo>
                  <a:pt x="7444" y="1041"/>
                </a:lnTo>
                <a:lnTo>
                  <a:pt x="7458" y="1019"/>
                </a:lnTo>
                <a:lnTo>
                  <a:pt x="7476" y="1001"/>
                </a:lnTo>
                <a:lnTo>
                  <a:pt x="7495" y="986"/>
                </a:lnTo>
                <a:lnTo>
                  <a:pt x="7517" y="974"/>
                </a:lnTo>
                <a:lnTo>
                  <a:pt x="7540" y="964"/>
                </a:lnTo>
                <a:lnTo>
                  <a:pt x="7565" y="957"/>
                </a:lnTo>
                <a:lnTo>
                  <a:pt x="7590" y="953"/>
                </a:lnTo>
                <a:lnTo>
                  <a:pt x="7615" y="952"/>
                </a:lnTo>
                <a:lnTo>
                  <a:pt x="7638" y="953"/>
                </a:lnTo>
                <a:lnTo>
                  <a:pt x="7658" y="956"/>
                </a:lnTo>
                <a:lnTo>
                  <a:pt x="7679" y="961"/>
                </a:lnTo>
                <a:lnTo>
                  <a:pt x="7697" y="967"/>
                </a:lnTo>
                <a:lnTo>
                  <a:pt x="7715" y="976"/>
                </a:lnTo>
                <a:lnTo>
                  <a:pt x="7731" y="986"/>
                </a:lnTo>
                <a:lnTo>
                  <a:pt x="7746" y="998"/>
                </a:lnTo>
                <a:lnTo>
                  <a:pt x="7759" y="1011"/>
                </a:lnTo>
                <a:lnTo>
                  <a:pt x="7771" y="1025"/>
                </a:lnTo>
                <a:lnTo>
                  <a:pt x="7781" y="1041"/>
                </a:lnTo>
                <a:lnTo>
                  <a:pt x="7790" y="1059"/>
                </a:lnTo>
                <a:lnTo>
                  <a:pt x="7797" y="1076"/>
                </a:lnTo>
                <a:lnTo>
                  <a:pt x="7804" y="1095"/>
                </a:lnTo>
                <a:lnTo>
                  <a:pt x="7807" y="1116"/>
                </a:lnTo>
                <a:lnTo>
                  <a:pt x="7810" y="1138"/>
                </a:lnTo>
                <a:lnTo>
                  <a:pt x="7810" y="1160"/>
                </a:lnTo>
                <a:lnTo>
                  <a:pt x="7810" y="1547"/>
                </a:lnTo>
                <a:lnTo>
                  <a:pt x="7671" y="1547"/>
                </a:lnTo>
                <a:close/>
                <a:moveTo>
                  <a:pt x="7012" y="1547"/>
                </a:moveTo>
                <a:lnTo>
                  <a:pt x="7012" y="966"/>
                </a:lnTo>
                <a:lnTo>
                  <a:pt x="7153" y="966"/>
                </a:lnTo>
                <a:lnTo>
                  <a:pt x="7153" y="1547"/>
                </a:lnTo>
                <a:lnTo>
                  <a:pt x="7012" y="1547"/>
                </a:lnTo>
                <a:close/>
                <a:moveTo>
                  <a:pt x="7006" y="886"/>
                </a:moveTo>
                <a:lnTo>
                  <a:pt x="7006" y="742"/>
                </a:lnTo>
                <a:lnTo>
                  <a:pt x="7156" y="742"/>
                </a:lnTo>
                <a:lnTo>
                  <a:pt x="7156" y="886"/>
                </a:lnTo>
                <a:lnTo>
                  <a:pt x="7006" y="886"/>
                </a:lnTo>
                <a:close/>
                <a:moveTo>
                  <a:pt x="6823" y="1553"/>
                </a:moveTo>
                <a:lnTo>
                  <a:pt x="6789" y="1551"/>
                </a:lnTo>
                <a:lnTo>
                  <a:pt x="6773" y="1549"/>
                </a:lnTo>
                <a:lnTo>
                  <a:pt x="6757" y="1545"/>
                </a:lnTo>
                <a:lnTo>
                  <a:pt x="6744" y="1539"/>
                </a:lnTo>
                <a:lnTo>
                  <a:pt x="6731" y="1534"/>
                </a:lnTo>
                <a:lnTo>
                  <a:pt x="6719" y="1526"/>
                </a:lnTo>
                <a:lnTo>
                  <a:pt x="6707" y="1518"/>
                </a:lnTo>
                <a:lnTo>
                  <a:pt x="6698" y="1507"/>
                </a:lnTo>
                <a:lnTo>
                  <a:pt x="6689" y="1496"/>
                </a:lnTo>
                <a:lnTo>
                  <a:pt x="6682" y="1483"/>
                </a:lnTo>
                <a:lnTo>
                  <a:pt x="6676" y="1469"/>
                </a:lnTo>
                <a:lnTo>
                  <a:pt x="6667" y="1436"/>
                </a:lnTo>
                <a:lnTo>
                  <a:pt x="6665" y="1417"/>
                </a:lnTo>
                <a:lnTo>
                  <a:pt x="6664" y="1398"/>
                </a:lnTo>
                <a:lnTo>
                  <a:pt x="6664" y="740"/>
                </a:lnTo>
                <a:lnTo>
                  <a:pt x="6805" y="740"/>
                </a:lnTo>
                <a:lnTo>
                  <a:pt x="6805" y="1374"/>
                </a:lnTo>
                <a:lnTo>
                  <a:pt x="6805" y="1386"/>
                </a:lnTo>
                <a:lnTo>
                  <a:pt x="6806" y="1397"/>
                </a:lnTo>
                <a:lnTo>
                  <a:pt x="6810" y="1407"/>
                </a:lnTo>
                <a:lnTo>
                  <a:pt x="6815" y="1414"/>
                </a:lnTo>
                <a:lnTo>
                  <a:pt x="6822" y="1421"/>
                </a:lnTo>
                <a:lnTo>
                  <a:pt x="6831" y="1426"/>
                </a:lnTo>
                <a:lnTo>
                  <a:pt x="6844" y="1428"/>
                </a:lnTo>
                <a:lnTo>
                  <a:pt x="6861" y="1429"/>
                </a:lnTo>
                <a:lnTo>
                  <a:pt x="6885" y="1428"/>
                </a:lnTo>
                <a:lnTo>
                  <a:pt x="6885" y="1546"/>
                </a:lnTo>
                <a:lnTo>
                  <a:pt x="6853" y="1552"/>
                </a:lnTo>
                <a:lnTo>
                  <a:pt x="6823" y="1553"/>
                </a:lnTo>
                <a:close/>
                <a:moveTo>
                  <a:pt x="5977" y="1547"/>
                </a:moveTo>
                <a:lnTo>
                  <a:pt x="5977" y="755"/>
                </a:lnTo>
                <a:lnTo>
                  <a:pt x="6540" y="755"/>
                </a:lnTo>
                <a:lnTo>
                  <a:pt x="6540" y="886"/>
                </a:lnTo>
                <a:lnTo>
                  <a:pt x="6121" y="886"/>
                </a:lnTo>
                <a:lnTo>
                  <a:pt x="6121" y="1070"/>
                </a:lnTo>
                <a:lnTo>
                  <a:pt x="6490" y="1070"/>
                </a:lnTo>
                <a:lnTo>
                  <a:pt x="6490" y="1200"/>
                </a:lnTo>
                <a:lnTo>
                  <a:pt x="6121" y="1200"/>
                </a:lnTo>
                <a:lnTo>
                  <a:pt x="6121" y="1416"/>
                </a:lnTo>
                <a:lnTo>
                  <a:pt x="6540" y="1416"/>
                </a:lnTo>
                <a:lnTo>
                  <a:pt x="6540" y="1547"/>
                </a:lnTo>
                <a:lnTo>
                  <a:pt x="5977" y="1547"/>
                </a:lnTo>
                <a:close/>
                <a:moveTo>
                  <a:pt x="11930" y="2637"/>
                </a:moveTo>
                <a:lnTo>
                  <a:pt x="11913" y="2655"/>
                </a:lnTo>
                <a:lnTo>
                  <a:pt x="11894" y="2672"/>
                </a:lnTo>
                <a:lnTo>
                  <a:pt x="11871" y="2687"/>
                </a:lnTo>
                <a:lnTo>
                  <a:pt x="11846" y="2701"/>
                </a:lnTo>
                <a:lnTo>
                  <a:pt x="11819" y="2712"/>
                </a:lnTo>
                <a:lnTo>
                  <a:pt x="11789" y="2721"/>
                </a:lnTo>
                <a:lnTo>
                  <a:pt x="11759" y="2726"/>
                </a:lnTo>
                <a:lnTo>
                  <a:pt x="11726" y="2727"/>
                </a:lnTo>
                <a:lnTo>
                  <a:pt x="11694" y="2726"/>
                </a:lnTo>
                <a:lnTo>
                  <a:pt x="11663" y="2721"/>
                </a:lnTo>
                <a:lnTo>
                  <a:pt x="11634" y="2712"/>
                </a:lnTo>
                <a:lnTo>
                  <a:pt x="11607" y="2701"/>
                </a:lnTo>
                <a:lnTo>
                  <a:pt x="11582" y="2687"/>
                </a:lnTo>
                <a:lnTo>
                  <a:pt x="11560" y="2672"/>
                </a:lnTo>
                <a:lnTo>
                  <a:pt x="11541" y="2655"/>
                </a:lnTo>
                <a:lnTo>
                  <a:pt x="11532" y="2647"/>
                </a:lnTo>
                <a:lnTo>
                  <a:pt x="11523" y="2637"/>
                </a:lnTo>
                <a:lnTo>
                  <a:pt x="11495" y="2594"/>
                </a:lnTo>
                <a:lnTo>
                  <a:pt x="11483" y="2572"/>
                </a:lnTo>
                <a:lnTo>
                  <a:pt x="11473" y="2547"/>
                </a:lnTo>
                <a:lnTo>
                  <a:pt x="11466" y="2519"/>
                </a:lnTo>
                <a:lnTo>
                  <a:pt x="11460" y="2490"/>
                </a:lnTo>
                <a:lnTo>
                  <a:pt x="11457" y="2457"/>
                </a:lnTo>
                <a:lnTo>
                  <a:pt x="11456" y="2423"/>
                </a:lnTo>
                <a:lnTo>
                  <a:pt x="11457" y="2388"/>
                </a:lnTo>
                <a:lnTo>
                  <a:pt x="11460" y="2355"/>
                </a:lnTo>
                <a:lnTo>
                  <a:pt x="11466" y="2326"/>
                </a:lnTo>
                <a:lnTo>
                  <a:pt x="11473" y="2300"/>
                </a:lnTo>
                <a:lnTo>
                  <a:pt x="11483" y="2275"/>
                </a:lnTo>
                <a:lnTo>
                  <a:pt x="11495" y="2251"/>
                </a:lnTo>
                <a:lnTo>
                  <a:pt x="11508" y="2229"/>
                </a:lnTo>
                <a:lnTo>
                  <a:pt x="11523" y="2208"/>
                </a:lnTo>
                <a:lnTo>
                  <a:pt x="11541" y="2190"/>
                </a:lnTo>
                <a:lnTo>
                  <a:pt x="11560" y="2173"/>
                </a:lnTo>
                <a:lnTo>
                  <a:pt x="11582" y="2158"/>
                </a:lnTo>
                <a:lnTo>
                  <a:pt x="11607" y="2144"/>
                </a:lnTo>
                <a:lnTo>
                  <a:pt x="11634" y="2133"/>
                </a:lnTo>
                <a:lnTo>
                  <a:pt x="11663" y="2125"/>
                </a:lnTo>
                <a:lnTo>
                  <a:pt x="11694" y="2120"/>
                </a:lnTo>
                <a:lnTo>
                  <a:pt x="11726" y="2118"/>
                </a:lnTo>
                <a:lnTo>
                  <a:pt x="11759" y="2120"/>
                </a:lnTo>
                <a:lnTo>
                  <a:pt x="11789" y="2125"/>
                </a:lnTo>
                <a:lnTo>
                  <a:pt x="11819" y="2133"/>
                </a:lnTo>
                <a:lnTo>
                  <a:pt x="11846" y="2144"/>
                </a:lnTo>
                <a:lnTo>
                  <a:pt x="11871" y="2158"/>
                </a:lnTo>
                <a:lnTo>
                  <a:pt x="11894" y="2173"/>
                </a:lnTo>
                <a:lnTo>
                  <a:pt x="11913" y="2190"/>
                </a:lnTo>
                <a:lnTo>
                  <a:pt x="11922" y="2200"/>
                </a:lnTo>
                <a:lnTo>
                  <a:pt x="11930" y="2208"/>
                </a:lnTo>
                <a:lnTo>
                  <a:pt x="11959" y="2251"/>
                </a:lnTo>
                <a:lnTo>
                  <a:pt x="11970" y="2275"/>
                </a:lnTo>
                <a:lnTo>
                  <a:pt x="11980" y="2300"/>
                </a:lnTo>
                <a:lnTo>
                  <a:pt x="11987" y="2326"/>
                </a:lnTo>
                <a:lnTo>
                  <a:pt x="11993" y="2355"/>
                </a:lnTo>
                <a:lnTo>
                  <a:pt x="11996" y="2388"/>
                </a:lnTo>
                <a:lnTo>
                  <a:pt x="11997" y="2423"/>
                </a:lnTo>
                <a:lnTo>
                  <a:pt x="11996" y="2457"/>
                </a:lnTo>
                <a:lnTo>
                  <a:pt x="11993" y="2490"/>
                </a:lnTo>
                <a:lnTo>
                  <a:pt x="11987" y="2519"/>
                </a:lnTo>
                <a:lnTo>
                  <a:pt x="11980" y="2547"/>
                </a:lnTo>
                <a:lnTo>
                  <a:pt x="11970" y="2572"/>
                </a:lnTo>
                <a:lnTo>
                  <a:pt x="11959" y="2594"/>
                </a:lnTo>
                <a:lnTo>
                  <a:pt x="11945" y="2616"/>
                </a:lnTo>
                <a:lnTo>
                  <a:pt x="11930" y="2637"/>
                </a:lnTo>
                <a:close/>
                <a:moveTo>
                  <a:pt x="11814" y="2277"/>
                </a:moveTo>
                <a:lnTo>
                  <a:pt x="11807" y="2269"/>
                </a:lnTo>
                <a:lnTo>
                  <a:pt x="11798" y="2263"/>
                </a:lnTo>
                <a:lnTo>
                  <a:pt x="11777" y="2251"/>
                </a:lnTo>
                <a:lnTo>
                  <a:pt x="11765" y="2246"/>
                </a:lnTo>
                <a:lnTo>
                  <a:pt x="11754" y="2242"/>
                </a:lnTo>
                <a:lnTo>
                  <a:pt x="11726" y="2240"/>
                </a:lnTo>
                <a:lnTo>
                  <a:pt x="11699" y="2242"/>
                </a:lnTo>
                <a:lnTo>
                  <a:pt x="11675" y="2251"/>
                </a:lnTo>
                <a:lnTo>
                  <a:pt x="11655" y="2263"/>
                </a:lnTo>
                <a:lnTo>
                  <a:pt x="11646" y="2269"/>
                </a:lnTo>
                <a:lnTo>
                  <a:pt x="11638" y="2277"/>
                </a:lnTo>
                <a:lnTo>
                  <a:pt x="11627" y="2291"/>
                </a:lnTo>
                <a:lnTo>
                  <a:pt x="11618" y="2307"/>
                </a:lnTo>
                <a:lnTo>
                  <a:pt x="11610" y="2325"/>
                </a:lnTo>
                <a:lnTo>
                  <a:pt x="11605" y="2343"/>
                </a:lnTo>
                <a:lnTo>
                  <a:pt x="11599" y="2382"/>
                </a:lnTo>
                <a:lnTo>
                  <a:pt x="11597" y="2423"/>
                </a:lnTo>
                <a:lnTo>
                  <a:pt x="11597" y="2443"/>
                </a:lnTo>
                <a:lnTo>
                  <a:pt x="11599" y="2464"/>
                </a:lnTo>
                <a:lnTo>
                  <a:pt x="11605" y="2502"/>
                </a:lnTo>
                <a:lnTo>
                  <a:pt x="11610" y="2520"/>
                </a:lnTo>
                <a:lnTo>
                  <a:pt x="11618" y="2538"/>
                </a:lnTo>
                <a:lnTo>
                  <a:pt x="11627" y="2554"/>
                </a:lnTo>
                <a:lnTo>
                  <a:pt x="11638" y="2569"/>
                </a:lnTo>
                <a:lnTo>
                  <a:pt x="11646" y="2576"/>
                </a:lnTo>
                <a:lnTo>
                  <a:pt x="11655" y="2584"/>
                </a:lnTo>
                <a:lnTo>
                  <a:pt x="11675" y="2594"/>
                </a:lnTo>
                <a:lnTo>
                  <a:pt x="11687" y="2600"/>
                </a:lnTo>
                <a:lnTo>
                  <a:pt x="11699" y="2603"/>
                </a:lnTo>
                <a:lnTo>
                  <a:pt x="11726" y="2605"/>
                </a:lnTo>
                <a:lnTo>
                  <a:pt x="11754" y="2603"/>
                </a:lnTo>
                <a:lnTo>
                  <a:pt x="11777" y="2594"/>
                </a:lnTo>
                <a:lnTo>
                  <a:pt x="11798" y="2584"/>
                </a:lnTo>
                <a:lnTo>
                  <a:pt x="11807" y="2576"/>
                </a:lnTo>
                <a:lnTo>
                  <a:pt x="11814" y="2569"/>
                </a:lnTo>
                <a:lnTo>
                  <a:pt x="11826" y="2554"/>
                </a:lnTo>
                <a:lnTo>
                  <a:pt x="11835" y="2538"/>
                </a:lnTo>
                <a:lnTo>
                  <a:pt x="11843" y="2520"/>
                </a:lnTo>
                <a:lnTo>
                  <a:pt x="11848" y="2502"/>
                </a:lnTo>
                <a:lnTo>
                  <a:pt x="11855" y="2464"/>
                </a:lnTo>
                <a:lnTo>
                  <a:pt x="11856" y="2423"/>
                </a:lnTo>
                <a:lnTo>
                  <a:pt x="11856" y="2402"/>
                </a:lnTo>
                <a:lnTo>
                  <a:pt x="11855" y="2382"/>
                </a:lnTo>
                <a:lnTo>
                  <a:pt x="11848" y="2343"/>
                </a:lnTo>
                <a:lnTo>
                  <a:pt x="11843" y="2325"/>
                </a:lnTo>
                <a:lnTo>
                  <a:pt x="11835" y="2307"/>
                </a:lnTo>
                <a:lnTo>
                  <a:pt x="11826" y="2291"/>
                </a:lnTo>
                <a:lnTo>
                  <a:pt x="11814" y="2277"/>
                </a:lnTo>
                <a:close/>
                <a:moveTo>
                  <a:pt x="4921" y="3366"/>
                </a:moveTo>
                <a:lnTo>
                  <a:pt x="4904" y="3364"/>
                </a:lnTo>
                <a:lnTo>
                  <a:pt x="4884" y="3357"/>
                </a:lnTo>
                <a:lnTo>
                  <a:pt x="4860" y="3346"/>
                </a:lnTo>
                <a:lnTo>
                  <a:pt x="4834" y="3332"/>
                </a:lnTo>
                <a:lnTo>
                  <a:pt x="4776" y="3293"/>
                </a:lnTo>
                <a:lnTo>
                  <a:pt x="4743" y="3269"/>
                </a:lnTo>
                <a:lnTo>
                  <a:pt x="4708" y="3241"/>
                </a:lnTo>
                <a:lnTo>
                  <a:pt x="4652" y="3194"/>
                </a:lnTo>
                <a:lnTo>
                  <a:pt x="4590" y="3139"/>
                </a:lnTo>
                <a:lnTo>
                  <a:pt x="4451" y="3010"/>
                </a:lnTo>
                <a:lnTo>
                  <a:pt x="4299" y="2862"/>
                </a:lnTo>
                <a:lnTo>
                  <a:pt x="4144" y="2704"/>
                </a:lnTo>
                <a:lnTo>
                  <a:pt x="3998" y="2546"/>
                </a:lnTo>
                <a:lnTo>
                  <a:pt x="3929" y="2469"/>
                </a:lnTo>
                <a:lnTo>
                  <a:pt x="3866" y="2395"/>
                </a:lnTo>
                <a:lnTo>
                  <a:pt x="3808" y="2326"/>
                </a:lnTo>
                <a:lnTo>
                  <a:pt x="3783" y="2293"/>
                </a:lnTo>
                <a:lnTo>
                  <a:pt x="3760" y="2262"/>
                </a:lnTo>
                <a:lnTo>
                  <a:pt x="3719" y="2204"/>
                </a:lnTo>
                <a:lnTo>
                  <a:pt x="3702" y="2179"/>
                </a:lnTo>
                <a:lnTo>
                  <a:pt x="3688" y="2155"/>
                </a:lnTo>
                <a:lnTo>
                  <a:pt x="3640" y="2059"/>
                </a:lnTo>
                <a:lnTo>
                  <a:pt x="3622" y="2014"/>
                </a:lnTo>
                <a:lnTo>
                  <a:pt x="3605" y="1968"/>
                </a:lnTo>
                <a:lnTo>
                  <a:pt x="3592" y="1923"/>
                </a:lnTo>
                <a:lnTo>
                  <a:pt x="3582" y="1879"/>
                </a:lnTo>
                <a:lnTo>
                  <a:pt x="3577" y="1833"/>
                </a:lnTo>
                <a:lnTo>
                  <a:pt x="3575" y="1786"/>
                </a:lnTo>
                <a:lnTo>
                  <a:pt x="3578" y="1735"/>
                </a:lnTo>
                <a:lnTo>
                  <a:pt x="3586" y="1682"/>
                </a:lnTo>
                <a:lnTo>
                  <a:pt x="3599" y="1627"/>
                </a:lnTo>
                <a:lnTo>
                  <a:pt x="3607" y="1599"/>
                </a:lnTo>
                <a:lnTo>
                  <a:pt x="3617" y="1572"/>
                </a:lnTo>
                <a:lnTo>
                  <a:pt x="3641" y="1514"/>
                </a:lnTo>
                <a:lnTo>
                  <a:pt x="3670" y="1454"/>
                </a:lnTo>
                <a:lnTo>
                  <a:pt x="3706" y="1394"/>
                </a:lnTo>
                <a:lnTo>
                  <a:pt x="3726" y="1362"/>
                </a:lnTo>
                <a:lnTo>
                  <a:pt x="3748" y="1329"/>
                </a:lnTo>
                <a:lnTo>
                  <a:pt x="3781" y="1283"/>
                </a:lnTo>
                <a:lnTo>
                  <a:pt x="3824" y="1228"/>
                </a:lnTo>
                <a:lnTo>
                  <a:pt x="3929" y="1101"/>
                </a:lnTo>
                <a:lnTo>
                  <a:pt x="4057" y="952"/>
                </a:lnTo>
                <a:lnTo>
                  <a:pt x="4203" y="787"/>
                </a:lnTo>
                <a:lnTo>
                  <a:pt x="4526" y="423"/>
                </a:lnTo>
                <a:lnTo>
                  <a:pt x="4690" y="234"/>
                </a:lnTo>
                <a:lnTo>
                  <a:pt x="4850" y="47"/>
                </a:lnTo>
                <a:lnTo>
                  <a:pt x="4860" y="45"/>
                </a:lnTo>
                <a:lnTo>
                  <a:pt x="4872" y="43"/>
                </a:lnTo>
                <a:lnTo>
                  <a:pt x="4892" y="41"/>
                </a:lnTo>
                <a:lnTo>
                  <a:pt x="4925" y="45"/>
                </a:lnTo>
                <a:lnTo>
                  <a:pt x="4944" y="49"/>
                </a:lnTo>
                <a:lnTo>
                  <a:pt x="4962" y="56"/>
                </a:lnTo>
                <a:lnTo>
                  <a:pt x="4983" y="63"/>
                </a:lnTo>
                <a:lnTo>
                  <a:pt x="5003" y="73"/>
                </a:lnTo>
                <a:lnTo>
                  <a:pt x="5043" y="96"/>
                </a:lnTo>
                <a:lnTo>
                  <a:pt x="5082" y="125"/>
                </a:lnTo>
                <a:lnTo>
                  <a:pt x="5100" y="142"/>
                </a:lnTo>
                <a:lnTo>
                  <a:pt x="5119" y="159"/>
                </a:lnTo>
                <a:lnTo>
                  <a:pt x="5135" y="178"/>
                </a:lnTo>
                <a:lnTo>
                  <a:pt x="5150" y="199"/>
                </a:lnTo>
                <a:lnTo>
                  <a:pt x="5165" y="221"/>
                </a:lnTo>
                <a:lnTo>
                  <a:pt x="5176" y="244"/>
                </a:lnTo>
                <a:lnTo>
                  <a:pt x="5184" y="266"/>
                </a:lnTo>
                <a:lnTo>
                  <a:pt x="5190" y="287"/>
                </a:lnTo>
                <a:lnTo>
                  <a:pt x="5193" y="310"/>
                </a:lnTo>
                <a:lnTo>
                  <a:pt x="5194" y="332"/>
                </a:lnTo>
                <a:lnTo>
                  <a:pt x="5193" y="357"/>
                </a:lnTo>
                <a:lnTo>
                  <a:pt x="5188" y="382"/>
                </a:lnTo>
                <a:lnTo>
                  <a:pt x="5182" y="407"/>
                </a:lnTo>
                <a:lnTo>
                  <a:pt x="5172" y="432"/>
                </a:lnTo>
                <a:lnTo>
                  <a:pt x="5161" y="458"/>
                </a:lnTo>
                <a:lnTo>
                  <a:pt x="5146" y="484"/>
                </a:lnTo>
                <a:lnTo>
                  <a:pt x="5130" y="511"/>
                </a:lnTo>
                <a:lnTo>
                  <a:pt x="5111" y="540"/>
                </a:lnTo>
                <a:lnTo>
                  <a:pt x="5078" y="584"/>
                </a:lnTo>
                <a:lnTo>
                  <a:pt x="5034" y="636"/>
                </a:lnTo>
                <a:lnTo>
                  <a:pt x="4927" y="763"/>
                </a:lnTo>
                <a:lnTo>
                  <a:pt x="4657" y="1067"/>
                </a:lnTo>
                <a:lnTo>
                  <a:pt x="4384" y="1378"/>
                </a:lnTo>
                <a:lnTo>
                  <a:pt x="4270" y="1512"/>
                </a:lnTo>
                <a:lnTo>
                  <a:pt x="4187" y="1621"/>
                </a:lnTo>
                <a:lnTo>
                  <a:pt x="4163" y="1655"/>
                </a:lnTo>
                <a:lnTo>
                  <a:pt x="4146" y="1688"/>
                </a:lnTo>
                <a:lnTo>
                  <a:pt x="4140" y="1706"/>
                </a:lnTo>
                <a:lnTo>
                  <a:pt x="4137" y="1722"/>
                </a:lnTo>
                <a:lnTo>
                  <a:pt x="4133" y="1739"/>
                </a:lnTo>
                <a:lnTo>
                  <a:pt x="4132" y="1757"/>
                </a:lnTo>
                <a:lnTo>
                  <a:pt x="4133" y="1778"/>
                </a:lnTo>
                <a:lnTo>
                  <a:pt x="4137" y="1797"/>
                </a:lnTo>
                <a:lnTo>
                  <a:pt x="4150" y="1837"/>
                </a:lnTo>
                <a:lnTo>
                  <a:pt x="4159" y="1858"/>
                </a:lnTo>
                <a:lnTo>
                  <a:pt x="4170" y="1880"/>
                </a:lnTo>
                <a:lnTo>
                  <a:pt x="4197" y="1923"/>
                </a:lnTo>
                <a:lnTo>
                  <a:pt x="4266" y="2007"/>
                </a:lnTo>
                <a:lnTo>
                  <a:pt x="4362" y="2117"/>
                </a:lnTo>
                <a:lnTo>
                  <a:pt x="4481" y="2245"/>
                </a:lnTo>
                <a:lnTo>
                  <a:pt x="4617" y="2388"/>
                </a:lnTo>
                <a:lnTo>
                  <a:pt x="4762" y="2537"/>
                </a:lnTo>
                <a:lnTo>
                  <a:pt x="4912" y="2688"/>
                </a:lnTo>
                <a:lnTo>
                  <a:pt x="5060" y="2834"/>
                </a:lnTo>
                <a:lnTo>
                  <a:pt x="5200" y="2968"/>
                </a:lnTo>
                <a:lnTo>
                  <a:pt x="5217" y="2986"/>
                </a:lnTo>
                <a:lnTo>
                  <a:pt x="5223" y="2995"/>
                </a:lnTo>
                <a:lnTo>
                  <a:pt x="5230" y="3005"/>
                </a:lnTo>
                <a:lnTo>
                  <a:pt x="5238" y="3026"/>
                </a:lnTo>
                <a:lnTo>
                  <a:pt x="5241" y="3038"/>
                </a:lnTo>
                <a:lnTo>
                  <a:pt x="5242" y="3051"/>
                </a:lnTo>
                <a:lnTo>
                  <a:pt x="5239" y="3076"/>
                </a:lnTo>
                <a:lnTo>
                  <a:pt x="5234" y="3102"/>
                </a:lnTo>
                <a:lnTo>
                  <a:pt x="5224" y="3129"/>
                </a:lnTo>
                <a:lnTo>
                  <a:pt x="5211" y="3156"/>
                </a:lnTo>
                <a:lnTo>
                  <a:pt x="5196" y="3182"/>
                </a:lnTo>
                <a:lnTo>
                  <a:pt x="5178" y="3208"/>
                </a:lnTo>
                <a:lnTo>
                  <a:pt x="5157" y="3233"/>
                </a:lnTo>
                <a:lnTo>
                  <a:pt x="5135" y="3257"/>
                </a:lnTo>
                <a:lnTo>
                  <a:pt x="5110" y="3280"/>
                </a:lnTo>
                <a:lnTo>
                  <a:pt x="5085" y="3300"/>
                </a:lnTo>
                <a:lnTo>
                  <a:pt x="5059" y="3319"/>
                </a:lnTo>
                <a:lnTo>
                  <a:pt x="5032" y="3335"/>
                </a:lnTo>
                <a:lnTo>
                  <a:pt x="5004" y="3347"/>
                </a:lnTo>
                <a:lnTo>
                  <a:pt x="4975" y="3357"/>
                </a:lnTo>
                <a:lnTo>
                  <a:pt x="4948" y="3364"/>
                </a:lnTo>
                <a:lnTo>
                  <a:pt x="4921" y="3366"/>
                </a:lnTo>
                <a:close/>
                <a:moveTo>
                  <a:pt x="1388" y="3419"/>
                </a:moveTo>
                <a:lnTo>
                  <a:pt x="1316" y="3417"/>
                </a:lnTo>
                <a:lnTo>
                  <a:pt x="1246" y="3410"/>
                </a:lnTo>
                <a:lnTo>
                  <a:pt x="1177" y="3401"/>
                </a:lnTo>
                <a:lnTo>
                  <a:pt x="1108" y="3386"/>
                </a:lnTo>
                <a:lnTo>
                  <a:pt x="1075" y="3378"/>
                </a:lnTo>
                <a:lnTo>
                  <a:pt x="1041" y="3368"/>
                </a:lnTo>
                <a:lnTo>
                  <a:pt x="976" y="3347"/>
                </a:lnTo>
                <a:lnTo>
                  <a:pt x="911" y="3321"/>
                </a:lnTo>
                <a:lnTo>
                  <a:pt x="879" y="3307"/>
                </a:lnTo>
                <a:lnTo>
                  <a:pt x="848" y="3293"/>
                </a:lnTo>
                <a:lnTo>
                  <a:pt x="787" y="3260"/>
                </a:lnTo>
                <a:lnTo>
                  <a:pt x="756" y="3243"/>
                </a:lnTo>
                <a:lnTo>
                  <a:pt x="727" y="3224"/>
                </a:lnTo>
                <a:lnTo>
                  <a:pt x="698" y="3206"/>
                </a:lnTo>
                <a:lnTo>
                  <a:pt x="668" y="3185"/>
                </a:lnTo>
                <a:lnTo>
                  <a:pt x="640" y="3164"/>
                </a:lnTo>
                <a:lnTo>
                  <a:pt x="613" y="3144"/>
                </a:lnTo>
                <a:lnTo>
                  <a:pt x="557" y="3098"/>
                </a:lnTo>
                <a:lnTo>
                  <a:pt x="505" y="3050"/>
                </a:lnTo>
                <a:lnTo>
                  <a:pt x="455" y="2999"/>
                </a:lnTo>
                <a:lnTo>
                  <a:pt x="406" y="2946"/>
                </a:lnTo>
                <a:lnTo>
                  <a:pt x="384" y="2918"/>
                </a:lnTo>
                <a:lnTo>
                  <a:pt x="361" y="2889"/>
                </a:lnTo>
                <a:lnTo>
                  <a:pt x="317" y="2831"/>
                </a:lnTo>
                <a:lnTo>
                  <a:pt x="276" y="2769"/>
                </a:lnTo>
                <a:lnTo>
                  <a:pt x="237" y="2704"/>
                </a:lnTo>
                <a:lnTo>
                  <a:pt x="218" y="2672"/>
                </a:lnTo>
                <a:lnTo>
                  <a:pt x="201" y="2639"/>
                </a:lnTo>
                <a:lnTo>
                  <a:pt x="167" y="2571"/>
                </a:lnTo>
                <a:lnTo>
                  <a:pt x="137" y="2500"/>
                </a:lnTo>
                <a:lnTo>
                  <a:pt x="110" y="2427"/>
                </a:lnTo>
                <a:lnTo>
                  <a:pt x="85" y="2353"/>
                </a:lnTo>
                <a:lnTo>
                  <a:pt x="63" y="2277"/>
                </a:lnTo>
                <a:lnTo>
                  <a:pt x="43" y="2199"/>
                </a:lnTo>
                <a:lnTo>
                  <a:pt x="28" y="2119"/>
                </a:lnTo>
                <a:lnTo>
                  <a:pt x="16" y="2039"/>
                </a:lnTo>
                <a:lnTo>
                  <a:pt x="8" y="1956"/>
                </a:lnTo>
                <a:lnTo>
                  <a:pt x="2" y="1872"/>
                </a:lnTo>
                <a:lnTo>
                  <a:pt x="0" y="1786"/>
                </a:lnTo>
                <a:lnTo>
                  <a:pt x="2" y="1699"/>
                </a:lnTo>
                <a:lnTo>
                  <a:pt x="8" y="1613"/>
                </a:lnTo>
                <a:lnTo>
                  <a:pt x="16" y="1527"/>
                </a:lnTo>
                <a:lnTo>
                  <a:pt x="29" y="1442"/>
                </a:lnTo>
                <a:lnTo>
                  <a:pt x="37" y="1400"/>
                </a:lnTo>
                <a:lnTo>
                  <a:pt x="46" y="1359"/>
                </a:lnTo>
                <a:lnTo>
                  <a:pt x="65" y="1276"/>
                </a:lnTo>
                <a:lnTo>
                  <a:pt x="89" y="1194"/>
                </a:lnTo>
                <a:lnTo>
                  <a:pt x="115" y="1114"/>
                </a:lnTo>
                <a:lnTo>
                  <a:pt x="145" y="1036"/>
                </a:lnTo>
                <a:lnTo>
                  <a:pt x="160" y="998"/>
                </a:lnTo>
                <a:lnTo>
                  <a:pt x="176" y="960"/>
                </a:lnTo>
                <a:lnTo>
                  <a:pt x="212" y="884"/>
                </a:lnTo>
                <a:lnTo>
                  <a:pt x="250" y="812"/>
                </a:lnTo>
                <a:lnTo>
                  <a:pt x="291" y="741"/>
                </a:lnTo>
                <a:lnTo>
                  <a:pt x="335" y="672"/>
                </a:lnTo>
                <a:lnTo>
                  <a:pt x="380" y="607"/>
                </a:lnTo>
                <a:lnTo>
                  <a:pt x="429" y="544"/>
                </a:lnTo>
                <a:lnTo>
                  <a:pt x="480" y="483"/>
                </a:lnTo>
                <a:lnTo>
                  <a:pt x="534" y="425"/>
                </a:lnTo>
                <a:lnTo>
                  <a:pt x="589" y="371"/>
                </a:lnTo>
                <a:lnTo>
                  <a:pt x="648" y="320"/>
                </a:lnTo>
                <a:lnTo>
                  <a:pt x="707" y="271"/>
                </a:lnTo>
                <a:lnTo>
                  <a:pt x="769" y="226"/>
                </a:lnTo>
                <a:lnTo>
                  <a:pt x="832" y="185"/>
                </a:lnTo>
                <a:lnTo>
                  <a:pt x="865" y="167"/>
                </a:lnTo>
                <a:lnTo>
                  <a:pt x="898" y="148"/>
                </a:lnTo>
                <a:lnTo>
                  <a:pt x="965" y="114"/>
                </a:lnTo>
                <a:lnTo>
                  <a:pt x="1034" y="85"/>
                </a:lnTo>
                <a:lnTo>
                  <a:pt x="1104" y="60"/>
                </a:lnTo>
                <a:lnTo>
                  <a:pt x="1140" y="48"/>
                </a:lnTo>
                <a:lnTo>
                  <a:pt x="1177" y="38"/>
                </a:lnTo>
                <a:lnTo>
                  <a:pt x="1250" y="22"/>
                </a:lnTo>
                <a:lnTo>
                  <a:pt x="1325" y="10"/>
                </a:lnTo>
                <a:lnTo>
                  <a:pt x="1400" y="2"/>
                </a:lnTo>
                <a:lnTo>
                  <a:pt x="1438" y="0"/>
                </a:lnTo>
                <a:lnTo>
                  <a:pt x="1477" y="0"/>
                </a:lnTo>
                <a:lnTo>
                  <a:pt x="1524" y="1"/>
                </a:lnTo>
                <a:lnTo>
                  <a:pt x="1571" y="4"/>
                </a:lnTo>
                <a:lnTo>
                  <a:pt x="1616" y="10"/>
                </a:lnTo>
                <a:lnTo>
                  <a:pt x="1660" y="17"/>
                </a:lnTo>
                <a:lnTo>
                  <a:pt x="1703" y="27"/>
                </a:lnTo>
                <a:lnTo>
                  <a:pt x="1744" y="38"/>
                </a:lnTo>
                <a:lnTo>
                  <a:pt x="1823" y="68"/>
                </a:lnTo>
                <a:lnTo>
                  <a:pt x="1860" y="84"/>
                </a:lnTo>
                <a:lnTo>
                  <a:pt x="1896" y="103"/>
                </a:lnTo>
                <a:lnTo>
                  <a:pt x="1931" y="124"/>
                </a:lnTo>
                <a:lnTo>
                  <a:pt x="1963" y="147"/>
                </a:lnTo>
                <a:lnTo>
                  <a:pt x="1996" y="171"/>
                </a:lnTo>
                <a:lnTo>
                  <a:pt x="2025" y="196"/>
                </a:lnTo>
                <a:lnTo>
                  <a:pt x="2055" y="223"/>
                </a:lnTo>
                <a:lnTo>
                  <a:pt x="2082" y="252"/>
                </a:lnTo>
                <a:lnTo>
                  <a:pt x="2108" y="283"/>
                </a:lnTo>
                <a:lnTo>
                  <a:pt x="2132" y="314"/>
                </a:lnTo>
                <a:lnTo>
                  <a:pt x="2155" y="347"/>
                </a:lnTo>
                <a:lnTo>
                  <a:pt x="2175" y="381"/>
                </a:lnTo>
                <a:lnTo>
                  <a:pt x="2213" y="454"/>
                </a:lnTo>
                <a:lnTo>
                  <a:pt x="2230" y="492"/>
                </a:lnTo>
                <a:lnTo>
                  <a:pt x="2245" y="531"/>
                </a:lnTo>
                <a:lnTo>
                  <a:pt x="2258" y="571"/>
                </a:lnTo>
                <a:lnTo>
                  <a:pt x="2269" y="613"/>
                </a:lnTo>
                <a:lnTo>
                  <a:pt x="2279" y="655"/>
                </a:lnTo>
                <a:lnTo>
                  <a:pt x="2286" y="697"/>
                </a:lnTo>
                <a:lnTo>
                  <a:pt x="2293" y="742"/>
                </a:lnTo>
                <a:lnTo>
                  <a:pt x="2297" y="787"/>
                </a:lnTo>
                <a:lnTo>
                  <a:pt x="2299" y="832"/>
                </a:lnTo>
                <a:lnTo>
                  <a:pt x="2300" y="878"/>
                </a:lnTo>
                <a:lnTo>
                  <a:pt x="2299" y="937"/>
                </a:lnTo>
                <a:lnTo>
                  <a:pt x="2294" y="994"/>
                </a:lnTo>
                <a:lnTo>
                  <a:pt x="2284" y="1052"/>
                </a:lnTo>
                <a:lnTo>
                  <a:pt x="2272" y="1109"/>
                </a:lnTo>
                <a:lnTo>
                  <a:pt x="2256" y="1165"/>
                </a:lnTo>
                <a:lnTo>
                  <a:pt x="2237" y="1219"/>
                </a:lnTo>
                <a:lnTo>
                  <a:pt x="2216" y="1274"/>
                </a:lnTo>
                <a:lnTo>
                  <a:pt x="2191" y="1328"/>
                </a:lnTo>
                <a:lnTo>
                  <a:pt x="2163" y="1380"/>
                </a:lnTo>
                <a:lnTo>
                  <a:pt x="2133" y="1432"/>
                </a:lnTo>
                <a:lnTo>
                  <a:pt x="2100" y="1482"/>
                </a:lnTo>
                <a:lnTo>
                  <a:pt x="2066" y="1530"/>
                </a:lnTo>
                <a:lnTo>
                  <a:pt x="2028" y="1577"/>
                </a:lnTo>
                <a:lnTo>
                  <a:pt x="1988" y="1623"/>
                </a:lnTo>
                <a:lnTo>
                  <a:pt x="1946" y="1667"/>
                </a:lnTo>
                <a:lnTo>
                  <a:pt x="1903" y="1709"/>
                </a:lnTo>
                <a:lnTo>
                  <a:pt x="1857" y="1749"/>
                </a:lnTo>
                <a:lnTo>
                  <a:pt x="1810" y="1787"/>
                </a:lnTo>
                <a:lnTo>
                  <a:pt x="1761" y="1824"/>
                </a:lnTo>
                <a:lnTo>
                  <a:pt x="1711" y="1858"/>
                </a:lnTo>
                <a:lnTo>
                  <a:pt x="1659" y="1891"/>
                </a:lnTo>
                <a:lnTo>
                  <a:pt x="1633" y="1906"/>
                </a:lnTo>
                <a:lnTo>
                  <a:pt x="1606" y="1920"/>
                </a:lnTo>
                <a:lnTo>
                  <a:pt x="1553" y="1948"/>
                </a:lnTo>
                <a:lnTo>
                  <a:pt x="1497" y="1972"/>
                </a:lnTo>
                <a:lnTo>
                  <a:pt x="1442" y="1995"/>
                </a:lnTo>
                <a:lnTo>
                  <a:pt x="1385" y="2015"/>
                </a:lnTo>
                <a:lnTo>
                  <a:pt x="1328" y="2032"/>
                </a:lnTo>
                <a:lnTo>
                  <a:pt x="1270" y="2046"/>
                </a:lnTo>
                <a:lnTo>
                  <a:pt x="1213" y="2057"/>
                </a:lnTo>
                <a:lnTo>
                  <a:pt x="1154" y="2065"/>
                </a:lnTo>
                <a:lnTo>
                  <a:pt x="1096" y="2070"/>
                </a:lnTo>
                <a:lnTo>
                  <a:pt x="1038" y="2071"/>
                </a:lnTo>
                <a:lnTo>
                  <a:pt x="1013" y="2070"/>
                </a:lnTo>
                <a:lnTo>
                  <a:pt x="988" y="2066"/>
                </a:lnTo>
                <a:lnTo>
                  <a:pt x="965" y="2058"/>
                </a:lnTo>
                <a:lnTo>
                  <a:pt x="942" y="2048"/>
                </a:lnTo>
                <a:lnTo>
                  <a:pt x="920" y="2036"/>
                </a:lnTo>
                <a:lnTo>
                  <a:pt x="901" y="2022"/>
                </a:lnTo>
                <a:lnTo>
                  <a:pt x="882" y="2005"/>
                </a:lnTo>
                <a:lnTo>
                  <a:pt x="865" y="1986"/>
                </a:lnTo>
                <a:lnTo>
                  <a:pt x="850" y="1966"/>
                </a:lnTo>
                <a:lnTo>
                  <a:pt x="836" y="1943"/>
                </a:lnTo>
                <a:lnTo>
                  <a:pt x="824" y="1919"/>
                </a:lnTo>
                <a:lnTo>
                  <a:pt x="814" y="1894"/>
                </a:lnTo>
                <a:lnTo>
                  <a:pt x="805" y="1867"/>
                </a:lnTo>
                <a:lnTo>
                  <a:pt x="800" y="1840"/>
                </a:lnTo>
                <a:lnTo>
                  <a:pt x="795" y="1810"/>
                </a:lnTo>
                <a:lnTo>
                  <a:pt x="794" y="1781"/>
                </a:lnTo>
                <a:lnTo>
                  <a:pt x="798" y="1729"/>
                </a:lnTo>
                <a:lnTo>
                  <a:pt x="803" y="1705"/>
                </a:lnTo>
                <a:lnTo>
                  <a:pt x="810" y="1683"/>
                </a:lnTo>
                <a:lnTo>
                  <a:pt x="818" y="1663"/>
                </a:lnTo>
                <a:lnTo>
                  <a:pt x="829" y="1646"/>
                </a:lnTo>
                <a:lnTo>
                  <a:pt x="843" y="1631"/>
                </a:lnTo>
                <a:lnTo>
                  <a:pt x="859" y="1621"/>
                </a:lnTo>
                <a:lnTo>
                  <a:pt x="911" y="1612"/>
                </a:lnTo>
                <a:lnTo>
                  <a:pt x="962" y="1602"/>
                </a:lnTo>
                <a:lnTo>
                  <a:pt x="1011" y="1590"/>
                </a:lnTo>
                <a:lnTo>
                  <a:pt x="1059" y="1577"/>
                </a:lnTo>
                <a:lnTo>
                  <a:pt x="1106" y="1562"/>
                </a:lnTo>
                <a:lnTo>
                  <a:pt x="1153" y="1546"/>
                </a:lnTo>
                <a:lnTo>
                  <a:pt x="1197" y="1528"/>
                </a:lnTo>
                <a:lnTo>
                  <a:pt x="1242" y="1509"/>
                </a:lnTo>
                <a:lnTo>
                  <a:pt x="1284" y="1488"/>
                </a:lnTo>
                <a:lnTo>
                  <a:pt x="1326" y="1466"/>
                </a:lnTo>
                <a:lnTo>
                  <a:pt x="1404" y="1420"/>
                </a:lnTo>
                <a:lnTo>
                  <a:pt x="1477" y="1369"/>
                </a:lnTo>
                <a:lnTo>
                  <a:pt x="1511" y="1341"/>
                </a:lnTo>
                <a:lnTo>
                  <a:pt x="1544" y="1314"/>
                </a:lnTo>
                <a:lnTo>
                  <a:pt x="1574" y="1286"/>
                </a:lnTo>
                <a:lnTo>
                  <a:pt x="1604" y="1256"/>
                </a:lnTo>
                <a:lnTo>
                  <a:pt x="1632" y="1226"/>
                </a:lnTo>
                <a:lnTo>
                  <a:pt x="1658" y="1196"/>
                </a:lnTo>
                <a:lnTo>
                  <a:pt x="1682" y="1164"/>
                </a:lnTo>
                <a:lnTo>
                  <a:pt x="1704" y="1132"/>
                </a:lnTo>
                <a:lnTo>
                  <a:pt x="1724" y="1101"/>
                </a:lnTo>
                <a:lnTo>
                  <a:pt x="1743" y="1068"/>
                </a:lnTo>
                <a:lnTo>
                  <a:pt x="1759" y="1036"/>
                </a:lnTo>
                <a:lnTo>
                  <a:pt x="1773" y="1003"/>
                </a:lnTo>
                <a:lnTo>
                  <a:pt x="1796" y="938"/>
                </a:lnTo>
                <a:lnTo>
                  <a:pt x="1804" y="905"/>
                </a:lnTo>
                <a:lnTo>
                  <a:pt x="1810" y="872"/>
                </a:lnTo>
                <a:lnTo>
                  <a:pt x="1814" y="840"/>
                </a:lnTo>
                <a:lnTo>
                  <a:pt x="1815" y="807"/>
                </a:lnTo>
                <a:lnTo>
                  <a:pt x="1812" y="768"/>
                </a:lnTo>
                <a:lnTo>
                  <a:pt x="1808" y="731"/>
                </a:lnTo>
                <a:lnTo>
                  <a:pt x="1799" y="696"/>
                </a:lnTo>
                <a:lnTo>
                  <a:pt x="1789" y="664"/>
                </a:lnTo>
                <a:lnTo>
                  <a:pt x="1774" y="633"/>
                </a:lnTo>
                <a:lnTo>
                  <a:pt x="1757" y="605"/>
                </a:lnTo>
                <a:lnTo>
                  <a:pt x="1737" y="579"/>
                </a:lnTo>
                <a:lnTo>
                  <a:pt x="1715" y="555"/>
                </a:lnTo>
                <a:lnTo>
                  <a:pt x="1689" y="534"/>
                </a:lnTo>
                <a:lnTo>
                  <a:pt x="1660" y="516"/>
                </a:lnTo>
                <a:lnTo>
                  <a:pt x="1630" y="499"/>
                </a:lnTo>
                <a:lnTo>
                  <a:pt x="1597" y="486"/>
                </a:lnTo>
                <a:lnTo>
                  <a:pt x="1579" y="481"/>
                </a:lnTo>
                <a:lnTo>
                  <a:pt x="1561" y="477"/>
                </a:lnTo>
                <a:lnTo>
                  <a:pt x="1523" y="469"/>
                </a:lnTo>
                <a:lnTo>
                  <a:pt x="1483" y="465"/>
                </a:lnTo>
                <a:lnTo>
                  <a:pt x="1441" y="462"/>
                </a:lnTo>
                <a:lnTo>
                  <a:pt x="1401" y="465"/>
                </a:lnTo>
                <a:lnTo>
                  <a:pt x="1359" y="470"/>
                </a:lnTo>
                <a:lnTo>
                  <a:pt x="1318" y="478"/>
                </a:lnTo>
                <a:lnTo>
                  <a:pt x="1277" y="490"/>
                </a:lnTo>
                <a:lnTo>
                  <a:pt x="1235" y="504"/>
                </a:lnTo>
                <a:lnTo>
                  <a:pt x="1195" y="522"/>
                </a:lnTo>
                <a:lnTo>
                  <a:pt x="1154" y="543"/>
                </a:lnTo>
                <a:lnTo>
                  <a:pt x="1114" y="566"/>
                </a:lnTo>
                <a:lnTo>
                  <a:pt x="1074" y="592"/>
                </a:lnTo>
                <a:lnTo>
                  <a:pt x="1034" y="621"/>
                </a:lnTo>
                <a:lnTo>
                  <a:pt x="995" y="653"/>
                </a:lnTo>
                <a:lnTo>
                  <a:pt x="958" y="686"/>
                </a:lnTo>
                <a:lnTo>
                  <a:pt x="921" y="722"/>
                </a:lnTo>
                <a:lnTo>
                  <a:pt x="884" y="762"/>
                </a:lnTo>
                <a:lnTo>
                  <a:pt x="850" y="803"/>
                </a:lnTo>
                <a:lnTo>
                  <a:pt x="816" y="845"/>
                </a:lnTo>
                <a:lnTo>
                  <a:pt x="752" y="939"/>
                </a:lnTo>
                <a:lnTo>
                  <a:pt x="723" y="988"/>
                </a:lnTo>
                <a:lnTo>
                  <a:pt x="694" y="1039"/>
                </a:lnTo>
                <a:lnTo>
                  <a:pt x="681" y="1065"/>
                </a:lnTo>
                <a:lnTo>
                  <a:pt x="668" y="1091"/>
                </a:lnTo>
                <a:lnTo>
                  <a:pt x="643" y="1146"/>
                </a:lnTo>
                <a:lnTo>
                  <a:pt x="620" y="1202"/>
                </a:lnTo>
                <a:lnTo>
                  <a:pt x="600" y="1260"/>
                </a:lnTo>
                <a:lnTo>
                  <a:pt x="580" y="1318"/>
                </a:lnTo>
                <a:lnTo>
                  <a:pt x="564" y="1378"/>
                </a:lnTo>
                <a:lnTo>
                  <a:pt x="550" y="1440"/>
                </a:lnTo>
                <a:lnTo>
                  <a:pt x="538" y="1502"/>
                </a:lnTo>
                <a:lnTo>
                  <a:pt x="528" y="1567"/>
                </a:lnTo>
                <a:lnTo>
                  <a:pt x="522" y="1631"/>
                </a:lnTo>
                <a:lnTo>
                  <a:pt x="517" y="1696"/>
                </a:lnTo>
                <a:lnTo>
                  <a:pt x="516" y="1763"/>
                </a:lnTo>
                <a:lnTo>
                  <a:pt x="517" y="1822"/>
                </a:lnTo>
                <a:lnTo>
                  <a:pt x="519" y="1881"/>
                </a:lnTo>
                <a:lnTo>
                  <a:pt x="525" y="1939"/>
                </a:lnTo>
                <a:lnTo>
                  <a:pt x="532" y="1994"/>
                </a:lnTo>
                <a:lnTo>
                  <a:pt x="541" y="2049"/>
                </a:lnTo>
                <a:lnTo>
                  <a:pt x="552" y="2103"/>
                </a:lnTo>
                <a:lnTo>
                  <a:pt x="564" y="2155"/>
                </a:lnTo>
                <a:lnTo>
                  <a:pt x="579" y="2206"/>
                </a:lnTo>
                <a:lnTo>
                  <a:pt x="595" y="2255"/>
                </a:lnTo>
                <a:lnTo>
                  <a:pt x="614" y="2303"/>
                </a:lnTo>
                <a:lnTo>
                  <a:pt x="633" y="2350"/>
                </a:lnTo>
                <a:lnTo>
                  <a:pt x="655" y="2394"/>
                </a:lnTo>
                <a:lnTo>
                  <a:pt x="678" y="2437"/>
                </a:lnTo>
                <a:lnTo>
                  <a:pt x="703" y="2478"/>
                </a:lnTo>
                <a:lnTo>
                  <a:pt x="730" y="2517"/>
                </a:lnTo>
                <a:lnTo>
                  <a:pt x="758" y="2555"/>
                </a:lnTo>
                <a:lnTo>
                  <a:pt x="788" y="2591"/>
                </a:lnTo>
                <a:lnTo>
                  <a:pt x="819" y="2625"/>
                </a:lnTo>
                <a:lnTo>
                  <a:pt x="852" y="2656"/>
                </a:lnTo>
                <a:lnTo>
                  <a:pt x="887" y="2687"/>
                </a:lnTo>
                <a:lnTo>
                  <a:pt x="923" y="2714"/>
                </a:lnTo>
                <a:lnTo>
                  <a:pt x="959" y="2740"/>
                </a:lnTo>
                <a:lnTo>
                  <a:pt x="999" y="2763"/>
                </a:lnTo>
                <a:lnTo>
                  <a:pt x="1039" y="2785"/>
                </a:lnTo>
                <a:lnTo>
                  <a:pt x="1080" y="2803"/>
                </a:lnTo>
                <a:lnTo>
                  <a:pt x="1122" y="2820"/>
                </a:lnTo>
                <a:lnTo>
                  <a:pt x="1167" y="2834"/>
                </a:lnTo>
                <a:lnTo>
                  <a:pt x="1213" y="2846"/>
                </a:lnTo>
                <a:lnTo>
                  <a:pt x="1258" y="2856"/>
                </a:lnTo>
                <a:lnTo>
                  <a:pt x="1306" y="2862"/>
                </a:lnTo>
                <a:lnTo>
                  <a:pt x="1355" y="2865"/>
                </a:lnTo>
                <a:lnTo>
                  <a:pt x="1405" y="2867"/>
                </a:lnTo>
                <a:lnTo>
                  <a:pt x="1454" y="2865"/>
                </a:lnTo>
                <a:lnTo>
                  <a:pt x="1503" y="2862"/>
                </a:lnTo>
                <a:lnTo>
                  <a:pt x="1551" y="2857"/>
                </a:lnTo>
                <a:lnTo>
                  <a:pt x="1597" y="2848"/>
                </a:lnTo>
                <a:lnTo>
                  <a:pt x="1644" y="2838"/>
                </a:lnTo>
                <a:lnTo>
                  <a:pt x="1690" y="2825"/>
                </a:lnTo>
                <a:lnTo>
                  <a:pt x="1734" y="2811"/>
                </a:lnTo>
                <a:lnTo>
                  <a:pt x="1779" y="2794"/>
                </a:lnTo>
                <a:lnTo>
                  <a:pt x="1821" y="2775"/>
                </a:lnTo>
                <a:lnTo>
                  <a:pt x="1865" y="2754"/>
                </a:lnTo>
                <a:lnTo>
                  <a:pt x="1906" y="2732"/>
                </a:lnTo>
                <a:lnTo>
                  <a:pt x="1947" y="2708"/>
                </a:lnTo>
                <a:lnTo>
                  <a:pt x="1987" y="2681"/>
                </a:lnTo>
                <a:lnTo>
                  <a:pt x="2028" y="2653"/>
                </a:lnTo>
                <a:lnTo>
                  <a:pt x="2066" y="2624"/>
                </a:lnTo>
                <a:lnTo>
                  <a:pt x="2105" y="2592"/>
                </a:lnTo>
                <a:lnTo>
                  <a:pt x="2142" y="2560"/>
                </a:lnTo>
                <a:lnTo>
                  <a:pt x="2179" y="2525"/>
                </a:lnTo>
                <a:lnTo>
                  <a:pt x="2249" y="2452"/>
                </a:lnTo>
                <a:lnTo>
                  <a:pt x="2283" y="2413"/>
                </a:lnTo>
                <a:lnTo>
                  <a:pt x="2317" y="2374"/>
                </a:lnTo>
                <a:lnTo>
                  <a:pt x="2381" y="2290"/>
                </a:lnTo>
                <a:lnTo>
                  <a:pt x="2443" y="2201"/>
                </a:lnTo>
                <a:lnTo>
                  <a:pt x="2501" y="2108"/>
                </a:lnTo>
                <a:lnTo>
                  <a:pt x="2556" y="2011"/>
                </a:lnTo>
                <a:lnTo>
                  <a:pt x="2608" y="1912"/>
                </a:lnTo>
                <a:lnTo>
                  <a:pt x="2656" y="1809"/>
                </a:lnTo>
                <a:lnTo>
                  <a:pt x="2701" y="1704"/>
                </a:lnTo>
                <a:lnTo>
                  <a:pt x="2743" y="1596"/>
                </a:lnTo>
                <a:lnTo>
                  <a:pt x="2781" y="1487"/>
                </a:lnTo>
                <a:lnTo>
                  <a:pt x="2815" y="1376"/>
                </a:lnTo>
                <a:lnTo>
                  <a:pt x="2847" y="1265"/>
                </a:lnTo>
                <a:lnTo>
                  <a:pt x="2875" y="1153"/>
                </a:lnTo>
                <a:lnTo>
                  <a:pt x="2888" y="1098"/>
                </a:lnTo>
                <a:lnTo>
                  <a:pt x="2899" y="1041"/>
                </a:lnTo>
                <a:lnTo>
                  <a:pt x="2921" y="930"/>
                </a:lnTo>
                <a:lnTo>
                  <a:pt x="2938" y="819"/>
                </a:lnTo>
                <a:lnTo>
                  <a:pt x="2951" y="709"/>
                </a:lnTo>
                <a:lnTo>
                  <a:pt x="2961" y="602"/>
                </a:lnTo>
                <a:lnTo>
                  <a:pt x="2967" y="496"/>
                </a:lnTo>
                <a:lnTo>
                  <a:pt x="2971" y="393"/>
                </a:lnTo>
                <a:lnTo>
                  <a:pt x="2970" y="293"/>
                </a:lnTo>
                <a:lnTo>
                  <a:pt x="2964" y="196"/>
                </a:lnTo>
                <a:lnTo>
                  <a:pt x="2969" y="185"/>
                </a:lnTo>
                <a:lnTo>
                  <a:pt x="2974" y="174"/>
                </a:lnTo>
                <a:lnTo>
                  <a:pt x="2989" y="153"/>
                </a:lnTo>
                <a:lnTo>
                  <a:pt x="3010" y="134"/>
                </a:lnTo>
                <a:lnTo>
                  <a:pt x="3035" y="118"/>
                </a:lnTo>
                <a:lnTo>
                  <a:pt x="3064" y="103"/>
                </a:lnTo>
                <a:lnTo>
                  <a:pt x="3097" y="93"/>
                </a:lnTo>
                <a:lnTo>
                  <a:pt x="3134" y="85"/>
                </a:lnTo>
                <a:lnTo>
                  <a:pt x="3172" y="83"/>
                </a:lnTo>
                <a:lnTo>
                  <a:pt x="3206" y="84"/>
                </a:lnTo>
                <a:lnTo>
                  <a:pt x="3238" y="88"/>
                </a:lnTo>
                <a:lnTo>
                  <a:pt x="3270" y="94"/>
                </a:lnTo>
                <a:lnTo>
                  <a:pt x="3299" y="102"/>
                </a:lnTo>
                <a:lnTo>
                  <a:pt x="3326" y="114"/>
                </a:lnTo>
                <a:lnTo>
                  <a:pt x="3352" y="130"/>
                </a:lnTo>
                <a:lnTo>
                  <a:pt x="3376" y="147"/>
                </a:lnTo>
                <a:lnTo>
                  <a:pt x="3398" y="169"/>
                </a:lnTo>
                <a:lnTo>
                  <a:pt x="3418" y="194"/>
                </a:lnTo>
                <a:lnTo>
                  <a:pt x="3436" y="222"/>
                </a:lnTo>
                <a:lnTo>
                  <a:pt x="3451" y="255"/>
                </a:lnTo>
                <a:lnTo>
                  <a:pt x="3463" y="291"/>
                </a:lnTo>
                <a:lnTo>
                  <a:pt x="3468" y="311"/>
                </a:lnTo>
                <a:lnTo>
                  <a:pt x="3473" y="332"/>
                </a:lnTo>
                <a:lnTo>
                  <a:pt x="3480" y="376"/>
                </a:lnTo>
                <a:lnTo>
                  <a:pt x="3485" y="427"/>
                </a:lnTo>
                <a:lnTo>
                  <a:pt x="3487" y="481"/>
                </a:lnTo>
                <a:lnTo>
                  <a:pt x="3481" y="626"/>
                </a:lnTo>
                <a:lnTo>
                  <a:pt x="3473" y="769"/>
                </a:lnTo>
                <a:lnTo>
                  <a:pt x="3459" y="912"/>
                </a:lnTo>
                <a:lnTo>
                  <a:pt x="3439" y="1052"/>
                </a:lnTo>
                <a:lnTo>
                  <a:pt x="3428" y="1122"/>
                </a:lnTo>
                <a:lnTo>
                  <a:pt x="3416" y="1190"/>
                </a:lnTo>
                <a:lnTo>
                  <a:pt x="3402" y="1259"/>
                </a:lnTo>
                <a:lnTo>
                  <a:pt x="3388" y="1327"/>
                </a:lnTo>
                <a:lnTo>
                  <a:pt x="3373" y="1395"/>
                </a:lnTo>
                <a:lnTo>
                  <a:pt x="3355" y="1462"/>
                </a:lnTo>
                <a:lnTo>
                  <a:pt x="3319" y="1594"/>
                </a:lnTo>
                <a:lnTo>
                  <a:pt x="3278" y="1722"/>
                </a:lnTo>
                <a:lnTo>
                  <a:pt x="3234" y="1848"/>
                </a:lnTo>
                <a:lnTo>
                  <a:pt x="3210" y="1910"/>
                </a:lnTo>
                <a:lnTo>
                  <a:pt x="3185" y="1971"/>
                </a:lnTo>
                <a:lnTo>
                  <a:pt x="3133" y="2091"/>
                </a:lnTo>
                <a:lnTo>
                  <a:pt x="3076" y="2207"/>
                </a:lnTo>
                <a:lnTo>
                  <a:pt x="3046" y="2264"/>
                </a:lnTo>
                <a:lnTo>
                  <a:pt x="3015" y="2319"/>
                </a:lnTo>
                <a:lnTo>
                  <a:pt x="2951" y="2427"/>
                </a:lnTo>
                <a:lnTo>
                  <a:pt x="2884" y="2531"/>
                </a:lnTo>
                <a:lnTo>
                  <a:pt x="2813" y="2630"/>
                </a:lnTo>
                <a:lnTo>
                  <a:pt x="2776" y="2678"/>
                </a:lnTo>
                <a:lnTo>
                  <a:pt x="2738" y="2724"/>
                </a:lnTo>
                <a:lnTo>
                  <a:pt x="2700" y="2770"/>
                </a:lnTo>
                <a:lnTo>
                  <a:pt x="2661" y="2814"/>
                </a:lnTo>
                <a:lnTo>
                  <a:pt x="2621" y="2857"/>
                </a:lnTo>
                <a:lnTo>
                  <a:pt x="2580" y="2898"/>
                </a:lnTo>
                <a:lnTo>
                  <a:pt x="2538" y="2938"/>
                </a:lnTo>
                <a:lnTo>
                  <a:pt x="2496" y="2976"/>
                </a:lnTo>
                <a:lnTo>
                  <a:pt x="2452" y="3013"/>
                </a:lnTo>
                <a:lnTo>
                  <a:pt x="2408" y="3049"/>
                </a:lnTo>
                <a:lnTo>
                  <a:pt x="2318" y="3117"/>
                </a:lnTo>
                <a:lnTo>
                  <a:pt x="2272" y="3148"/>
                </a:lnTo>
                <a:lnTo>
                  <a:pt x="2225" y="3178"/>
                </a:lnTo>
                <a:lnTo>
                  <a:pt x="2178" y="3206"/>
                </a:lnTo>
                <a:lnTo>
                  <a:pt x="2129" y="3233"/>
                </a:lnTo>
                <a:lnTo>
                  <a:pt x="2080" y="3257"/>
                </a:lnTo>
                <a:lnTo>
                  <a:pt x="2031" y="3281"/>
                </a:lnTo>
                <a:lnTo>
                  <a:pt x="1980" y="3303"/>
                </a:lnTo>
                <a:lnTo>
                  <a:pt x="1930" y="3322"/>
                </a:lnTo>
                <a:lnTo>
                  <a:pt x="1878" y="3340"/>
                </a:lnTo>
                <a:lnTo>
                  <a:pt x="1825" y="3356"/>
                </a:lnTo>
                <a:lnTo>
                  <a:pt x="1773" y="3371"/>
                </a:lnTo>
                <a:lnTo>
                  <a:pt x="1720" y="3383"/>
                </a:lnTo>
                <a:lnTo>
                  <a:pt x="1666" y="3394"/>
                </a:lnTo>
                <a:lnTo>
                  <a:pt x="1611" y="3403"/>
                </a:lnTo>
                <a:lnTo>
                  <a:pt x="1556" y="3410"/>
                </a:lnTo>
                <a:lnTo>
                  <a:pt x="1501" y="3415"/>
                </a:lnTo>
                <a:lnTo>
                  <a:pt x="1444" y="3418"/>
                </a:lnTo>
                <a:lnTo>
                  <a:pt x="1388" y="34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70588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go Back 3" preserve="1" userDrawn="1">
  <p:cSld name="slide_8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9EE002-4AE0-4805-839E-2D96EDC76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2478C2-335E-41C7-93F6-3024A826A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A4564-3A5C-4211-839E-79C6DF433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09E5A31-E67C-4A9A-9668-3D05EBE733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7408" y="2708275"/>
            <a:ext cx="10657184" cy="1512888"/>
          </a:xfrm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bg1"/>
                </a:solidFill>
                <a:latin typeface="+mj-lt"/>
              </a:defRPr>
            </a:lvl1pPr>
            <a:lvl2pPr marL="0" indent="0">
              <a:buFontTx/>
              <a:buNone/>
              <a:defRPr sz="3200"/>
            </a:lvl2pPr>
            <a:lvl3pPr marL="0" indent="0">
              <a:buFontTx/>
              <a:buNone/>
              <a:defRPr sz="1200"/>
            </a:lvl3pPr>
            <a:lvl4pPr marL="0" indent="0">
              <a:buFontTx/>
              <a:buNone/>
              <a:defRPr sz="1200"/>
            </a:lvl4pPr>
            <a:lvl5pPr marL="0" indent="0">
              <a:buFontTx/>
              <a:buNone/>
              <a:defRPr sz="1200"/>
            </a:lvl5pPr>
            <a:lvl6pPr marL="0" indent="0">
              <a:buFontTx/>
              <a:buNone/>
              <a:defRPr sz="1200"/>
            </a:lvl6pPr>
            <a:lvl7pPr marL="0" indent="0">
              <a:buFontTx/>
              <a:buNone/>
              <a:defRPr sz="1200"/>
            </a:lvl7pPr>
            <a:lvl8pPr marL="0" indent="0">
              <a:buFontTx/>
              <a:buNone/>
              <a:defRPr sz="1200"/>
            </a:lvl8pPr>
            <a:lvl9pPr marL="0" indent="0">
              <a:buFontTx/>
              <a:buNone/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0246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 5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20"/>
          </p:nvPr>
        </p:nvSpPr>
        <p:spPr>
          <a:xfrm>
            <a:off x="1" y="1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AE4CD2-FF2B-481A-BD1B-6461D82DC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4" y="836712"/>
            <a:ext cx="7993062" cy="2215991"/>
          </a:xfrm>
        </p:spPr>
        <p:txBody>
          <a:bodyPr anchor="t" anchorCtr="0">
            <a:spAutoFit/>
          </a:bodyPr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4FF0EC-24DB-4A3B-8AA6-004F9170BE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4" y="4221088"/>
            <a:ext cx="7993062" cy="86407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B46E24-653A-4FF9-9521-1C6FB86597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0D632E-720A-4E57-8F18-FB9A91500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479C78-A5F2-40DD-9834-030D8B177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2" name="Picture 11" descr="A picture containing tree, train, track, way&#10;&#10;Description automatically generated">
            <a:extLst>
              <a:ext uri="{FF2B5EF4-FFF2-40B4-BE49-F238E27FC236}">
                <a16:creationId xmlns:a16="http://schemas.microsoft.com/office/drawing/2014/main" id="{4DE53912-FDE0-4E59-920D-7C25F38D7E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0" r="7192" b="487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Graphic 29">
            <a:extLst>
              <a:ext uri="{FF2B5EF4-FFF2-40B4-BE49-F238E27FC236}">
                <a16:creationId xmlns:a16="http://schemas.microsoft.com/office/drawing/2014/main" id="{7F0E73C7-8123-4772-AB6C-AFFA55788D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76595" y="6307893"/>
            <a:ext cx="967656" cy="434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8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3670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Text Content" preserve="1" userDrawn="1">
  <p:cSld name="slide_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 noEditPoints="1"/>
          </p:cNvSpPr>
          <p:nvPr userDrawn="1"/>
        </p:nvSpPr>
        <p:spPr bwMode="auto">
          <a:xfrm>
            <a:off x="7608168" y="4587521"/>
            <a:ext cx="4583832" cy="2270479"/>
          </a:xfrm>
          <a:custGeom>
            <a:avLst/>
            <a:gdLst>
              <a:gd name="T0" fmla="*/ 3697 w 4811"/>
              <a:gd name="T1" fmla="*/ 2229 h 2383"/>
              <a:gd name="T2" fmla="*/ 4135 w 4811"/>
              <a:gd name="T3" fmla="*/ 2292 h 2383"/>
              <a:gd name="T4" fmla="*/ 4664 w 4811"/>
              <a:gd name="T5" fmla="*/ 925 h 2383"/>
              <a:gd name="T6" fmla="*/ 4243 w 4811"/>
              <a:gd name="T7" fmla="*/ 833 h 2383"/>
              <a:gd name="T8" fmla="*/ 3838 w 4811"/>
              <a:gd name="T9" fmla="*/ 694 h 2383"/>
              <a:gd name="T10" fmla="*/ 3455 w 4811"/>
              <a:gd name="T11" fmla="*/ 502 h 2383"/>
              <a:gd name="T12" fmla="*/ 3177 w 4811"/>
              <a:gd name="T13" fmla="*/ 365 h 2383"/>
              <a:gd name="T14" fmla="*/ 3047 w 4811"/>
              <a:gd name="T15" fmla="*/ 284 h 2383"/>
              <a:gd name="T16" fmla="*/ 444 w 4811"/>
              <a:gd name="T17" fmla="*/ 1728 h 2383"/>
              <a:gd name="T18" fmla="*/ 569 w 4811"/>
              <a:gd name="T19" fmla="*/ 1649 h 2383"/>
              <a:gd name="T20" fmla="*/ 2935 w 4811"/>
              <a:gd name="T21" fmla="*/ 245 h 2383"/>
              <a:gd name="T22" fmla="*/ 1360 w 4811"/>
              <a:gd name="T23" fmla="*/ 1024 h 2383"/>
              <a:gd name="T24" fmla="*/ 2672 w 4811"/>
              <a:gd name="T25" fmla="*/ 135 h 2383"/>
              <a:gd name="T26" fmla="*/ 1444 w 4811"/>
              <a:gd name="T27" fmla="*/ 614 h 2383"/>
              <a:gd name="T28" fmla="*/ 1457 w 4811"/>
              <a:gd name="T29" fmla="*/ 469 h 2383"/>
              <a:gd name="T30" fmla="*/ 1962 w 4811"/>
              <a:gd name="T31" fmla="*/ 44 h 2383"/>
              <a:gd name="T32" fmla="*/ 1697 w 4811"/>
              <a:gd name="T33" fmla="*/ 121 h 2383"/>
              <a:gd name="T34" fmla="*/ 4512 w 4811"/>
              <a:gd name="T35" fmla="*/ 1220 h 2383"/>
              <a:gd name="T36" fmla="*/ 4105 w 4811"/>
              <a:gd name="T37" fmla="*/ 1077 h 2383"/>
              <a:gd name="T38" fmla="*/ 3709 w 4811"/>
              <a:gd name="T39" fmla="*/ 878 h 2383"/>
              <a:gd name="T40" fmla="*/ 3339 w 4811"/>
              <a:gd name="T41" fmla="*/ 673 h 2383"/>
              <a:gd name="T42" fmla="*/ 733 w 4811"/>
              <a:gd name="T43" fmla="*/ 2077 h 2383"/>
              <a:gd name="T44" fmla="*/ 835 w 4811"/>
              <a:gd name="T45" fmla="*/ 1990 h 2383"/>
              <a:gd name="T46" fmla="*/ 1324 w 4811"/>
              <a:gd name="T47" fmla="*/ 1694 h 2383"/>
              <a:gd name="T48" fmla="*/ 1522 w 4811"/>
              <a:gd name="T49" fmla="*/ 1503 h 2383"/>
              <a:gd name="T50" fmla="*/ 1660 w 4811"/>
              <a:gd name="T51" fmla="*/ 1239 h 2383"/>
              <a:gd name="T52" fmla="*/ 2781 w 4811"/>
              <a:gd name="T53" fmla="*/ 439 h 2383"/>
              <a:gd name="T54" fmla="*/ 1718 w 4811"/>
              <a:gd name="T55" fmla="*/ 811 h 2383"/>
              <a:gd name="T56" fmla="*/ 2218 w 4811"/>
              <a:gd name="T57" fmla="*/ 385 h 2383"/>
              <a:gd name="T58" fmla="*/ 1945 w 4811"/>
              <a:gd name="T59" fmla="*/ 469 h 2383"/>
              <a:gd name="T60" fmla="*/ 4617 w 4811"/>
              <a:gd name="T61" fmla="*/ 1533 h 2383"/>
              <a:gd name="T62" fmla="*/ 4100 w 4811"/>
              <a:gd name="T63" fmla="*/ 1288 h 2383"/>
              <a:gd name="T64" fmla="*/ 3735 w 4811"/>
              <a:gd name="T65" fmla="*/ 1088 h 2383"/>
              <a:gd name="T66" fmla="*/ 1488 w 4811"/>
              <a:gd name="T67" fmla="*/ 2147 h 2383"/>
              <a:gd name="T68" fmla="*/ 1615 w 4811"/>
              <a:gd name="T69" fmla="*/ 2081 h 2383"/>
              <a:gd name="T70" fmla="*/ 1818 w 4811"/>
              <a:gd name="T71" fmla="*/ 1874 h 2383"/>
              <a:gd name="T72" fmla="*/ 1949 w 4811"/>
              <a:gd name="T73" fmla="*/ 1628 h 2383"/>
              <a:gd name="T74" fmla="*/ 3075 w 4811"/>
              <a:gd name="T75" fmla="*/ 825 h 2383"/>
              <a:gd name="T76" fmla="*/ 2789 w 4811"/>
              <a:gd name="T77" fmla="*/ 776 h 2383"/>
              <a:gd name="T78" fmla="*/ 2035 w 4811"/>
              <a:gd name="T79" fmla="*/ 1065 h 2383"/>
              <a:gd name="T80" fmla="*/ 2114 w 4811"/>
              <a:gd name="T81" fmla="*/ 937 h 2383"/>
              <a:gd name="T82" fmla="*/ 4637 w 4811"/>
              <a:gd name="T83" fmla="*/ 1805 h 2383"/>
              <a:gd name="T84" fmla="*/ 4260 w 4811"/>
              <a:gd name="T85" fmla="*/ 1606 h 2383"/>
              <a:gd name="T86" fmla="*/ 3874 w 4811"/>
              <a:gd name="T87" fmla="*/ 1413 h 2383"/>
              <a:gd name="T88" fmla="*/ 2085 w 4811"/>
              <a:gd name="T89" fmla="*/ 2254 h 2383"/>
              <a:gd name="T90" fmla="*/ 2215 w 4811"/>
              <a:gd name="T91" fmla="*/ 2003 h 2383"/>
              <a:gd name="T92" fmla="*/ 3342 w 4811"/>
              <a:gd name="T93" fmla="*/ 1195 h 2383"/>
              <a:gd name="T94" fmla="*/ 3056 w 4811"/>
              <a:gd name="T95" fmla="*/ 1147 h 2383"/>
              <a:gd name="T96" fmla="*/ 2302 w 4811"/>
              <a:gd name="T97" fmla="*/ 1435 h 2383"/>
              <a:gd name="T98" fmla="*/ 2381 w 4811"/>
              <a:gd name="T99" fmla="*/ 1308 h 2383"/>
              <a:gd name="T100" fmla="*/ 4653 w 4811"/>
              <a:gd name="T101" fmla="*/ 2048 h 2383"/>
              <a:gd name="T102" fmla="*/ 4272 w 4811"/>
              <a:gd name="T103" fmla="*/ 1845 h 2383"/>
              <a:gd name="T104" fmla="*/ 3878 w 4811"/>
              <a:gd name="T105" fmla="*/ 1665 h 2383"/>
              <a:gd name="T106" fmla="*/ 2513 w 4811"/>
              <a:gd name="T107" fmla="*/ 2232 h 2383"/>
              <a:gd name="T108" fmla="*/ 3462 w 4811"/>
              <a:gd name="T109" fmla="*/ 1541 h 2383"/>
              <a:gd name="T110" fmla="*/ 3181 w 4811"/>
              <a:gd name="T111" fmla="*/ 1508 h 2383"/>
              <a:gd name="T112" fmla="*/ 2893 w 4811"/>
              <a:gd name="T113" fmla="*/ 1559 h 2383"/>
              <a:gd name="T114" fmla="*/ 4793 w 4811"/>
              <a:gd name="T115" fmla="*/ 2346 h 2383"/>
              <a:gd name="T116" fmla="*/ 4402 w 4811"/>
              <a:gd name="T117" fmla="*/ 2133 h 2383"/>
              <a:gd name="T118" fmla="*/ 4008 w 4811"/>
              <a:gd name="T119" fmla="*/ 1967 h 2383"/>
              <a:gd name="T120" fmla="*/ 3592 w 4811"/>
              <a:gd name="T121" fmla="*/ 1871 h 2383"/>
              <a:gd name="T122" fmla="*/ 2838 w 4811"/>
              <a:gd name="T123" fmla="*/ 2167 h 2383"/>
              <a:gd name="T124" fmla="*/ 2915 w 4811"/>
              <a:gd name="T125" fmla="*/ 2051 h 2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11" h="2383">
                <a:moveTo>
                  <a:pt x="3277" y="2328"/>
                </a:moveTo>
                <a:lnTo>
                  <a:pt x="3280" y="2327"/>
                </a:lnTo>
                <a:lnTo>
                  <a:pt x="3283" y="2326"/>
                </a:lnTo>
                <a:lnTo>
                  <a:pt x="3286" y="2326"/>
                </a:lnTo>
                <a:lnTo>
                  <a:pt x="3289" y="2327"/>
                </a:lnTo>
                <a:lnTo>
                  <a:pt x="3292" y="2328"/>
                </a:lnTo>
                <a:lnTo>
                  <a:pt x="3294" y="2330"/>
                </a:lnTo>
                <a:lnTo>
                  <a:pt x="3295" y="2331"/>
                </a:lnTo>
                <a:lnTo>
                  <a:pt x="3296" y="2332"/>
                </a:lnTo>
                <a:lnTo>
                  <a:pt x="3298" y="2334"/>
                </a:lnTo>
                <a:lnTo>
                  <a:pt x="3299" y="2340"/>
                </a:lnTo>
                <a:lnTo>
                  <a:pt x="3299" y="2343"/>
                </a:lnTo>
                <a:lnTo>
                  <a:pt x="3299" y="2345"/>
                </a:lnTo>
                <a:lnTo>
                  <a:pt x="3298" y="2348"/>
                </a:lnTo>
                <a:lnTo>
                  <a:pt x="3296" y="2350"/>
                </a:lnTo>
                <a:lnTo>
                  <a:pt x="3294" y="2352"/>
                </a:lnTo>
                <a:lnTo>
                  <a:pt x="3292" y="2354"/>
                </a:lnTo>
                <a:lnTo>
                  <a:pt x="3289" y="2355"/>
                </a:lnTo>
                <a:lnTo>
                  <a:pt x="3286" y="2356"/>
                </a:lnTo>
                <a:lnTo>
                  <a:pt x="3282" y="2356"/>
                </a:lnTo>
                <a:lnTo>
                  <a:pt x="3280" y="2355"/>
                </a:lnTo>
                <a:lnTo>
                  <a:pt x="3277" y="2354"/>
                </a:lnTo>
                <a:lnTo>
                  <a:pt x="3274" y="2352"/>
                </a:lnTo>
                <a:lnTo>
                  <a:pt x="3273" y="2351"/>
                </a:lnTo>
                <a:lnTo>
                  <a:pt x="3272" y="2350"/>
                </a:lnTo>
                <a:lnTo>
                  <a:pt x="3271" y="2347"/>
                </a:lnTo>
                <a:lnTo>
                  <a:pt x="3269" y="2342"/>
                </a:lnTo>
                <a:lnTo>
                  <a:pt x="3269" y="2339"/>
                </a:lnTo>
                <a:lnTo>
                  <a:pt x="3270" y="2336"/>
                </a:lnTo>
                <a:lnTo>
                  <a:pt x="3271" y="2334"/>
                </a:lnTo>
                <a:lnTo>
                  <a:pt x="3273" y="2332"/>
                </a:lnTo>
                <a:lnTo>
                  <a:pt x="3274" y="2329"/>
                </a:lnTo>
                <a:lnTo>
                  <a:pt x="3277" y="2328"/>
                </a:lnTo>
                <a:close/>
                <a:moveTo>
                  <a:pt x="3411" y="2276"/>
                </a:moveTo>
                <a:lnTo>
                  <a:pt x="3414" y="2274"/>
                </a:lnTo>
                <a:lnTo>
                  <a:pt x="3417" y="2274"/>
                </a:lnTo>
                <a:lnTo>
                  <a:pt x="3420" y="2274"/>
                </a:lnTo>
                <a:lnTo>
                  <a:pt x="3423" y="2274"/>
                </a:lnTo>
                <a:lnTo>
                  <a:pt x="3425" y="2275"/>
                </a:lnTo>
                <a:lnTo>
                  <a:pt x="3428" y="2277"/>
                </a:lnTo>
                <a:lnTo>
                  <a:pt x="3430" y="2279"/>
                </a:lnTo>
                <a:lnTo>
                  <a:pt x="3431" y="2281"/>
                </a:lnTo>
                <a:lnTo>
                  <a:pt x="3433" y="2284"/>
                </a:lnTo>
                <a:lnTo>
                  <a:pt x="3433" y="2289"/>
                </a:lnTo>
                <a:lnTo>
                  <a:pt x="3433" y="2292"/>
                </a:lnTo>
                <a:lnTo>
                  <a:pt x="3432" y="2294"/>
                </a:lnTo>
                <a:lnTo>
                  <a:pt x="3431" y="2296"/>
                </a:lnTo>
                <a:lnTo>
                  <a:pt x="3430" y="2298"/>
                </a:lnTo>
                <a:lnTo>
                  <a:pt x="3428" y="2300"/>
                </a:lnTo>
                <a:lnTo>
                  <a:pt x="3426" y="2302"/>
                </a:lnTo>
                <a:lnTo>
                  <a:pt x="3423" y="2303"/>
                </a:lnTo>
                <a:lnTo>
                  <a:pt x="3420" y="2304"/>
                </a:lnTo>
                <a:lnTo>
                  <a:pt x="3417" y="2304"/>
                </a:lnTo>
                <a:lnTo>
                  <a:pt x="3414" y="2303"/>
                </a:lnTo>
                <a:lnTo>
                  <a:pt x="3411" y="2302"/>
                </a:lnTo>
                <a:lnTo>
                  <a:pt x="3409" y="2300"/>
                </a:lnTo>
                <a:lnTo>
                  <a:pt x="3407" y="2298"/>
                </a:lnTo>
                <a:lnTo>
                  <a:pt x="3405" y="2296"/>
                </a:lnTo>
                <a:lnTo>
                  <a:pt x="3404" y="2293"/>
                </a:lnTo>
                <a:lnTo>
                  <a:pt x="3403" y="2288"/>
                </a:lnTo>
                <a:lnTo>
                  <a:pt x="3404" y="2285"/>
                </a:lnTo>
                <a:lnTo>
                  <a:pt x="3404" y="2283"/>
                </a:lnTo>
                <a:lnTo>
                  <a:pt x="3405" y="2281"/>
                </a:lnTo>
                <a:lnTo>
                  <a:pt x="3407" y="2279"/>
                </a:lnTo>
                <a:lnTo>
                  <a:pt x="3409" y="2277"/>
                </a:lnTo>
                <a:lnTo>
                  <a:pt x="3411" y="2276"/>
                </a:lnTo>
                <a:close/>
                <a:moveTo>
                  <a:pt x="3551" y="2243"/>
                </a:moveTo>
                <a:lnTo>
                  <a:pt x="3553" y="2242"/>
                </a:lnTo>
                <a:lnTo>
                  <a:pt x="3556" y="2241"/>
                </a:lnTo>
                <a:lnTo>
                  <a:pt x="3559" y="2241"/>
                </a:lnTo>
                <a:lnTo>
                  <a:pt x="3562" y="2241"/>
                </a:lnTo>
                <a:lnTo>
                  <a:pt x="3565" y="2242"/>
                </a:lnTo>
                <a:lnTo>
                  <a:pt x="3567" y="2244"/>
                </a:lnTo>
                <a:lnTo>
                  <a:pt x="3569" y="2246"/>
                </a:lnTo>
                <a:lnTo>
                  <a:pt x="3571" y="2248"/>
                </a:lnTo>
                <a:lnTo>
                  <a:pt x="3572" y="2251"/>
                </a:lnTo>
                <a:lnTo>
                  <a:pt x="3573" y="2254"/>
                </a:lnTo>
                <a:lnTo>
                  <a:pt x="3573" y="2258"/>
                </a:lnTo>
                <a:lnTo>
                  <a:pt x="3572" y="2263"/>
                </a:lnTo>
                <a:lnTo>
                  <a:pt x="3569" y="2266"/>
                </a:lnTo>
                <a:lnTo>
                  <a:pt x="3566" y="2269"/>
                </a:lnTo>
                <a:lnTo>
                  <a:pt x="3563" y="2270"/>
                </a:lnTo>
                <a:lnTo>
                  <a:pt x="3561" y="2271"/>
                </a:lnTo>
                <a:lnTo>
                  <a:pt x="3557" y="2271"/>
                </a:lnTo>
                <a:lnTo>
                  <a:pt x="3555" y="2271"/>
                </a:lnTo>
                <a:lnTo>
                  <a:pt x="3552" y="2270"/>
                </a:lnTo>
                <a:lnTo>
                  <a:pt x="3549" y="2268"/>
                </a:lnTo>
                <a:lnTo>
                  <a:pt x="3547" y="2266"/>
                </a:lnTo>
                <a:lnTo>
                  <a:pt x="3545" y="2264"/>
                </a:lnTo>
                <a:lnTo>
                  <a:pt x="3544" y="2261"/>
                </a:lnTo>
                <a:lnTo>
                  <a:pt x="3543" y="2258"/>
                </a:lnTo>
                <a:lnTo>
                  <a:pt x="3543" y="2254"/>
                </a:lnTo>
                <a:lnTo>
                  <a:pt x="3545" y="2249"/>
                </a:lnTo>
                <a:lnTo>
                  <a:pt x="3547" y="2246"/>
                </a:lnTo>
                <a:lnTo>
                  <a:pt x="3551" y="2243"/>
                </a:lnTo>
                <a:close/>
                <a:moveTo>
                  <a:pt x="3694" y="2230"/>
                </a:moveTo>
                <a:lnTo>
                  <a:pt x="3697" y="2229"/>
                </a:lnTo>
                <a:lnTo>
                  <a:pt x="3701" y="2228"/>
                </a:lnTo>
                <a:lnTo>
                  <a:pt x="3704" y="2229"/>
                </a:lnTo>
                <a:lnTo>
                  <a:pt x="3707" y="2229"/>
                </a:lnTo>
                <a:lnTo>
                  <a:pt x="3710" y="2231"/>
                </a:lnTo>
                <a:lnTo>
                  <a:pt x="3712" y="2233"/>
                </a:lnTo>
                <a:lnTo>
                  <a:pt x="3714" y="2235"/>
                </a:lnTo>
                <a:lnTo>
                  <a:pt x="3715" y="2237"/>
                </a:lnTo>
                <a:lnTo>
                  <a:pt x="3716" y="2240"/>
                </a:lnTo>
                <a:lnTo>
                  <a:pt x="3716" y="2243"/>
                </a:lnTo>
                <a:lnTo>
                  <a:pt x="3716" y="2247"/>
                </a:lnTo>
                <a:lnTo>
                  <a:pt x="3714" y="2251"/>
                </a:lnTo>
                <a:lnTo>
                  <a:pt x="3712" y="2254"/>
                </a:lnTo>
                <a:lnTo>
                  <a:pt x="3709" y="2256"/>
                </a:lnTo>
                <a:lnTo>
                  <a:pt x="3705" y="2258"/>
                </a:lnTo>
                <a:lnTo>
                  <a:pt x="3702" y="2258"/>
                </a:lnTo>
                <a:lnTo>
                  <a:pt x="3699" y="2258"/>
                </a:lnTo>
                <a:lnTo>
                  <a:pt x="3696" y="2257"/>
                </a:lnTo>
                <a:lnTo>
                  <a:pt x="3693" y="2256"/>
                </a:lnTo>
                <a:lnTo>
                  <a:pt x="3691" y="2254"/>
                </a:lnTo>
                <a:lnTo>
                  <a:pt x="3689" y="2252"/>
                </a:lnTo>
                <a:lnTo>
                  <a:pt x="3688" y="2250"/>
                </a:lnTo>
                <a:lnTo>
                  <a:pt x="3687" y="2247"/>
                </a:lnTo>
                <a:lnTo>
                  <a:pt x="3686" y="2244"/>
                </a:lnTo>
                <a:lnTo>
                  <a:pt x="3687" y="2240"/>
                </a:lnTo>
                <a:lnTo>
                  <a:pt x="3688" y="2236"/>
                </a:lnTo>
                <a:lnTo>
                  <a:pt x="3691" y="2233"/>
                </a:lnTo>
                <a:lnTo>
                  <a:pt x="3694" y="2230"/>
                </a:lnTo>
                <a:close/>
                <a:moveTo>
                  <a:pt x="3838" y="2236"/>
                </a:moveTo>
                <a:lnTo>
                  <a:pt x="3842" y="2235"/>
                </a:lnTo>
                <a:lnTo>
                  <a:pt x="3844" y="2234"/>
                </a:lnTo>
                <a:lnTo>
                  <a:pt x="3847" y="2234"/>
                </a:lnTo>
                <a:lnTo>
                  <a:pt x="3850" y="2235"/>
                </a:lnTo>
                <a:lnTo>
                  <a:pt x="3852" y="2236"/>
                </a:lnTo>
                <a:lnTo>
                  <a:pt x="3855" y="2238"/>
                </a:lnTo>
                <a:lnTo>
                  <a:pt x="3857" y="2240"/>
                </a:lnTo>
                <a:lnTo>
                  <a:pt x="3858" y="2241"/>
                </a:lnTo>
                <a:lnTo>
                  <a:pt x="3858" y="2242"/>
                </a:lnTo>
                <a:lnTo>
                  <a:pt x="3859" y="2245"/>
                </a:lnTo>
                <a:lnTo>
                  <a:pt x="3860" y="2248"/>
                </a:lnTo>
                <a:lnTo>
                  <a:pt x="3860" y="2251"/>
                </a:lnTo>
                <a:lnTo>
                  <a:pt x="3859" y="2254"/>
                </a:lnTo>
                <a:lnTo>
                  <a:pt x="3858" y="2258"/>
                </a:lnTo>
                <a:lnTo>
                  <a:pt x="3855" y="2260"/>
                </a:lnTo>
                <a:lnTo>
                  <a:pt x="3853" y="2262"/>
                </a:lnTo>
                <a:lnTo>
                  <a:pt x="3848" y="2264"/>
                </a:lnTo>
                <a:lnTo>
                  <a:pt x="3846" y="2264"/>
                </a:lnTo>
                <a:lnTo>
                  <a:pt x="3844" y="2264"/>
                </a:lnTo>
                <a:lnTo>
                  <a:pt x="3841" y="2264"/>
                </a:lnTo>
                <a:lnTo>
                  <a:pt x="3838" y="2263"/>
                </a:lnTo>
                <a:lnTo>
                  <a:pt x="3835" y="2261"/>
                </a:lnTo>
                <a:lnTo>
                  <a:pt x="3833" y="2259"/>
                </a:lnTo>
                <a:lnTo>
                  <a:pt x="3833" y="2258"/>
                </a:lnTo>
                <a:lnTo>
                  <a:pt x="3832" y="2256"/>
                </a:lnTo>
                <a:lnTo>
                  <a:pt x="3831" y="2254"/>
                </a:lnTo>
                <a:lnTo>
                  <a:pt x="3830" y="2251"/>
                </a:lnTo>
                <a:lnTo>
                  <a:pt x="3830" y="2248"/>
                </a:lnTo>
                <a:lnTo>
                  <a:pt x="3831" y="2244"/>
                </a:lnTo>
                <a:lnTo>
                  <a:pt x="3832" y="2241"/>
                </a:lnTo>
                <a:lnTo>
                  <a:pt x="3835" y="2238"/>
                </a:lnTo>
                <a:lnTo>
                  <a:pt x="3838" y="2236"/>
                </a:lnTo>
                <a:close/>
                <a:moveTo>
                  <a:pt x="3980" y="2258"/>
                </a:moveTo>
                <a:lnTo>
                  <a:pt x="3982" y="2257"/>
                </a:lnTo>
                <a:lnTo>
                  <a:pt x="3985" y="2256"/>
                </a:lnTo>
                <a:lnTo>
                  <a:pt x="3990" y="2256"/>
                </a:lnTo>
                <a:lnTo>
                  <a:pt x="3993" y="2257"/>
                </a:lnTo>
                <a:lnTo>
                  <a:pt x="3996" y="2258"/>
                </a:lnTo>
                <a:lnTo>
                  <a:pt x="3998" y="2260"/>
                </a:lnTo>
                <a:lnTo>
                  <a:pt x="4000" y="2263"/>
                </a:lnTo>
                <a:lnTo>
                  <a:pt x="4001" y="2265"/>
                </a:lnTo>
                <a:lnTo>
                  <a:pt x="4002" y="2268"/>
                </a:lnTo>
                <a:lnTo>
                  <a:pt x="4002" y="2271"/>
                </a:lnTo>
                <a:lnTo>
                  <a:pt x="4002" y="2274"/>
                </a:lnTo>
                <a:lnTo>
                  <a:pt x="4001" y="2277"/>
                </a:lnTo>
                <a:lnTo>
                  <a:pt x="3999" y="2280"/>
                </a:lnTo>
                <a:lnTo>
                  <a:pt x="3997" y="2282"/>
                </a:lnTo>
                <a:lnTo>
                  <a:pt x="3995" y="2284"/>
                </a:lnTo>
                <a:lnTo>
                  <a:pt x="3992" y="2285"/>
                </a:lnTo>
                <a:lnTo>
                  <a:pt x="3990" y="2286"/>
                </a:lnTo>
                <a:lnTo>
                  <a:pt x="3984" y="2286"/>
                </a:lnTo>
                <a:lnTo>
                  <a:pt x="3981" y="2285"/>
                </a:lnTo>
                <a:lnTo>
                  <a:pt x="3979" y="2283"/>
                </a:lnTo>
                <a:lnTo>
                  <a:pt x="3977" y="2281"/>
                </a:lnTo>
                <a:lnTo>
                  <a:pt x="3975" y="2279"/>
                </a:lnTo>
                <a:lnTo>
                  <a:pt x="3973" y="2277"/>
                </a:lnTo>
                <a:lnTo>
                  <a:pt x="3972" y="2274"/>
                </a:lnTo>
                <a:lnTo>
                  <a:pt x="3972" y="2271"/>
                </a:lnTo>
                <a:lnTo>
                  <a:pt x="3972" y="2268"/>
                </a:lnTo>
                <a:lnTo>
                  <a:pt x="3973" y="2265"/>
                </a:lnTo>
                <a:lnTo>
                  <a:pt x="3975" y="2262"/>
                </a:lnTo>
                <a:lnTo>
                  <a:pt x="3977" y="2260"/>
                </a:lnTo>
                <a:lnTo>
                  <a:pt x="3980" y="2258"/>
                </a:lnTo>
                <a:close/>
                <a:moveTo>
                  <a:pt x="4121" y="2292"/>
                </a:moveTo>
                <a:lnTo>
                  <a:pt x="4123" y="2291"/>
                </a:lnTo>
                <a:lnTo>
                  <a:pt x="4126" y="2290"/>
                </a:lnTo>
                <a:lnTo>
                  <a:pt x="4129" y="2290"/>
                </a:lnTo>
                <a:lnTo>
                  <a:pt x="4132" y="2290"/>
                </a:lnTo>
                <a:lnTo>
                  <a:pt x="4135" y="2292"/>
                </a:lnTo>
                <a:lnTo>
                  <a:pt x="4137" y="2293"/>
                </a:lnTo>
                <a:lnTo>
                  <a:pt x="4140" y="2295"/>
                </a:lnTo>
                <a:lnTo>
                  <a:pt x="4141" y="2298"/>
                </a:lnTo>
                <a:lnTo>
                  <a:pt x="4142" y="2300"/>
                </a:lnTo>
                <a:lnTo>
                  <a:pt x="4143" y="2303"/>
                </a:lnTo>
                <a:lnTo>
                  <a:pt x="4143" y="2306"/>
                </a:lnTo>
                <a:lnTo>
                  <a:pt x="4143" y="2309"/>
                </a:lnTo>
                <a:lnTo>
                  <a:pt x="4141" y="2312"/>
                </a:lnTo>
                <a:lnTo>
                  <a:pt x="4140" y="2314"/>
                </a:lnTo>
                <a:lnTo>
                  <a:pt x="4138" y="2316"/>
                </a:lnTo>
                <a:lnTo>
                  <a:pt x="4136" y="2318"/>
                </a:lnTo>
                <a:lnTo>
                  <a:pt x="4133" y="2319"/>
                </a:lnTo>
                <a:lnTo>
                  <a:pt x="4130" y="2320"/>
                </a:lnTo>
                <a:lnTo>
                  <a:pt x="4127" y="2320"/>
                </a:lnTo>
                <a:lnTo>
                  <a:pt x="4124" y="2319"/>
                </a:lnTo>
                <a:lnTo>
                  <a:pt x="4121" y="2318"/>
                </a:lnTo>
                <a:lnTo>
                  <a:pt x="4119" y="2317"/>
                </a:lnTo>
                <a:lnTo>
                  <a:pt x="4117" y="2315"/>
                </a:lnTo>
                <a:lnTo>
                  <a:pt x="4115" y="2312"/>
                </a:lnTo>
                <a:lnTo>
                  <a:pt x="4114" y="2310"/>
                </a:lnTo>
                <a:lnTo>
                  <a:pt x="4113" y="2307"/>
                </a:lnTo>
                <a:lnTo>
                  <a:pt x="4113" y="2304"/>
                </a:lnTo>
                <a:lnTo>
                  <a:pt x="4114" y="2301"/>
                </a:lnTo>
                <a:lnTo>
                  <a:pt x="4115" y="2298"/>
                </a:lnTo>
                <a:lnTo>
                  <a:pt x="4116" y="2296"/>
                </a:lnTo>
                <a:lnTo>
                  <a:pt x="4118" y="2294"/>
                </a:lnTo>
                <a:lnTo>
                  <a:pt x="4121" y="2292"/>
                </a:lnTo>
                <a:close/>
                <a:moveTo>
                  <a:pt x="4258" y="2336"/>
                </a:moveTo>
                <a:lnTo>
                  <a:pt x="4261" y="2334"/>
                </a:lnTo>
                <a:lnTo>
                  <a:pt x="4264" y="2334"/>
                </a:lnTo>
                <a:lnTo>
                  <a:pt x="4267" y="2334"/>
                </a:lnTo>
                <a:lnTo>
                  <a:pt x="4270" y="2334"/>
                </a:lnTo>
                <a:lnTo>
                  <a:pt x="4273" y="2336"/>
                </a:lnTo>
                <a:lnTo>
                  <a:pt x="4275" y="2338"/>
                </a:lnTo>
                <a:lnTo>
                  <a:pt x="4277" y="2340"/>
                </a:lnTo>
                <a:lnTo>
                  <a:pt x="4279" y="2342"/>
                </a:lnTo>
                <a:lnTo>
                  <a:pt x="4280" y="2348"/>
                </a:lnTo>
                <a:lnTo>
                  <a:pt x="4279" y="2354"/>
                </a:lnTo>
                <a:lnTo>
                  <a:pt x="4278" y="2356"/>
                </a:lnTo>
                <a:lnTo>
                  <a:pt x="4277" y="2358"/>
                </a:lnTo>
                <a:lnTo>
                  <a:pt x="4275" y="2360"/>
                </a:lnTo>
                <a:lnTo>
                  <a:pt x="4273" y="2362"/>
                </a:lnTo>
                <a:lnTo>
                  <a:pt x="4270" y="2363"/>
                </a:lnTo>
                <a:lnTo>
                  <a:pt x="4267" y="2364"/>
                </a:lnTo>
                <a:lnTo>
                  <a:pt x="4263" y="2364"/>
                </a:lnTo>
                <a:lnTo>
                  <a:pt x="4260" y="2363"/>
                </a:lnTo>
                <a:lnTo>
                  <a:pt x="4257" y="2362"/>
                </a:lnTo>
                <a:lnTo>
                  <a:pt x="4255" y="2360"/>
                </a:lnTo>
                <a:lnTo>
                  <a:pt x="4253" y="2358"/>
                </a:lnTo>
                <a:lnTo>
                  <a:pt x="4252" y="2355"/>
                </a:lnTo>
                <a:lnTo>
                  <a:pt x="4250" y="2350"/>
                </a:lnTo>
                <a:lnTo>
                  <a:pt x="4251" y="2344"/>
                </a:lnTo>
                <a:lnTo>
                  <a:pt x="4252" y="2341"/>
                </a:lnTo>
                <a:lnTo>
                  <a:pt x="4254" y="2339"/>
                </a:lnTo>
                <a:lnTo>
                  <a:pt x="4255" y="2337"/>
                </a:lnTo>
                <a:lnTo>
                  <a:pt x="4258" y="2336"/>
                </a:lnTo>
                <a:close/>
                <a:moveTo>
                  <a:pt x="4787" y="946"/>
                </a:moveTo>
                <a:lnTo>
                  <a:pt x="4790" y="945"/>
                </a:lnTo>
                <a:lnTo>
                  <a:pt x="4792" y="944"/>
                </a:lnTo>
                <a:lnTo>
                  <a:pt x="4795" y="944"/>
                </a:lnTo>
                <a:lnTo>
                  <a:pt x="4798" y="944"/>
                </a:lnTo>
                <a:lnTo>
                  <a:pt x="4801" y="945"/>
                </a:lnTo>
                <a:lnTo>
                  <a:pt x="4804" y="946"/>
                </a:lnTo>
                <a:lnTo>
                  <a:pt x="4806" y="948"/>
                </a:lnTo>
                <a:lnTo>
                  <a:pt x="4808" y="950"/>
                </a:lnTo>
                <a:lnTo>
                  <a:pt x="4810" y="953"/>
                </a:lnTo>
                <a:lnTo>
                  <a:pt x="4811" y="956"/>
                </a:lnTo>
                <a:lnTo>
                  <a:pt x="4811" y="959"/>
                </a:lnTo>
                <a:lnTo>
                  <a:pt x="4811" y="962"/>
                </a:lnTo>
                <a:lnTo>
                  <a:pt x="4810" y="966"/>
                </a:lnTo>
                <a:lnTo>
                  <a:pt x="4808" y="969"/>
                </a:lnTo>
                <a:lnTo>
                  <a:pt x="4806" y="972"/>
                </a:lnTo>
                <a:lnTo>
                  <a:pt x="4803" y="974"/>
                </a:lnTo>
                <a:lnTo>
                  <a:pt x="4801" y="975"/>
                </a:lnTo>
                <a:lnTo>
                  <a:pt x="4798" y="976"/>
                </a:lnTo>
                <a:lnTo>
                  <a:pt x="4796" y="976"/>
                </a:lnTo>
                <a:lnTo>
                  <a:pt x="4793" y="976"/>
                </a:lnTo>
                <a:lnTo>
                  <a:pt x="4790" y="975"/>
                </a:lnTo>
                <a:lnTo>
                  <a:pt x="4787" y="974"/>
                </a:lnTo>
                <a:lnTo>
                  <a:pt x="4785" y="972"/>
                </a:lnTo>
                <a:lnTo>
                  <a:pt x="4782" y="969"/>
                </a:lnTo>
                <a:lnTo>
                  <a:pt x="4781" y="967"/>
                </a:lnTo>
                <a:lnTo>
                  <a:pt x="4780" y="964"/>
                </a:lnTo>
                <a:lnTo>
                  <a:pt x="4779" y="961"/>
                </a:lnTo>
                <a:lnTo>
                  <a:pt x="4780" y="958"/>
                </a:lnTo>
                <a:lnTo>
                  <a:pt x="4780" y="954"/>
                </a:lnTo>
                <a:lnTo>
                  <a:pt x="4782" y="951"/>
                </a:lnTo>
                <a:lnTo>
                  <a:pt x="4785" y="948"/>
                </a:lnTo>
                <a:lnTo>
                  <a:pt x="4787" y="946"/>
                </a:lnTo>
                <a:close/>
                <a:moveTo>
                  <a:pt x="4645" y="923"/>
                </a:moveTo>
                <a:lnTo>
                  <a:pt x="4648" y="922"/>
                </a:lnTo>
                <a:lnTo>
                  <a:pt x="4650" y="921"/>
                </a:lnTo>
                <a:lnTo>
                  <a:pt x="4656" y="921"/>
                </a:lnTo>
                <a:lnTo>
                  <a:pt x="4659" y="922"/>
                </a:lnTo>
                <a:lnTo>
                  <a:pt x="4660" y="923"/>
                </a:lnTo>
                <a:lnTo>
                  <a:pt x="4662" y="923"/>
                </a:lnTo>
                <a:lnTo>
                  <a:pt x="4664" y="925"/>
                </a:lnTo>
                <a:lnTo>
                  <a:pt x="4666" y="928"/>
                </a:lnTo>
                <a:lnTo>
                  <a:pt x="4668" y="930"/>
                </a:lnTo>
                <a:lnTo>
                  <a:pt x="4669" y="933"/>
                </a:lnTo>
                <a:lnTo>
                  <a:pt x="4669" y="936"/>
                </a:lnTo>
                <a:lnTo>
                  <a:pt x="4669" y="940"/>
                </a:lnTo>
                <a:lnTo>
                  <a:pt x="4668" y="943"/>
                </a:lnTo>
                <a:lnTo>
                  <a:pt x="4666" y="946"/>
                </a:lnTo>
                <a:lnTo>
                  <a:pt x="4664" y="949"/>
                </a:lnTo>
                <a:lnTo>
                  <a:pt x="4661" y="951"/>
                </a:lnTo>
                <a:lnTo>
                  <a:pt x="4659" y="952"/>
                </a:lnTo>
                <a:lnTo>
                  <a:pt x="4656" y="953"/>
                </a:lnTo>
                <a:lnTo>
                  <a:pt x="4650" y="953"/>
                </a:lnTo>
                <a:lnTo>
                  <a:pt x="4647" y="952"/>
                </a:lnTo>
                <a:lnTo>
                  <a:pt x="4646" y="951"/>
                </a:lnTo>
                <a:lnTo>
                  <a:pt x="4644" y="950"/>
                </a:lnTo>
                <a:lnTo>
                  <a:pt x="4642" y="948"/>
                </a:lnTo>
                <a:lnTo>
                  <a:pt x="4640" y="946"/>
                </a:lnTo>
                <a:lnTo>
                  <a:pt x="4638" y="943"/>
                </a:lnTo>
                <a:lnTo>
                  <a:pt x="4637" y="940"/>
                </a:lnTo>
                <a:lnTo>
                  <a:pt x="4637" y="937"/>
                </a:lnTo>
                <a:lnTo>
                  <a:pt x="4637" y="934"/>
                </a:lnTo>
                <a:lnTo>
                  <a:pt x="4638" y="931"/>
                </a:lnTo>
                <a:lnTo>
                  <a:pt x="4640" y="928"/>
                </a:lnTo>
                <a:lnTo>
                  <a:pt x="4642" y="925"/>
                </a:lnTo>
                <a:lnTo>
                  <a:pt x="4645" y="923"/>
                </a:lnTo>
                <a:close/>
                <a:moveTo>
                  <a:pt x="4503" y="896"/>
                </a:moveTo>
                <a:lnTo>
                  <a:pt x="4506" y="895"/>
                </a:lnTo>
                <a:lnTo>
                  <a:pt x="4509" y="894"/>
                </a:lnTo>
                <a:lnTo>
                  <a:pt x="4515" y="894"/>
                </a:lnTo>
                <a:lnTo>
                  <a:pt x="4518" y="895"/>
                </a:lnTo>
                <a:lnTo>
                  <a:pt x="4521" y="897"/>
                </a:lnTo>
                <a:lnTo>
                  <a:pt x="4523" y="899"/>
                </a:lnTo>
                <a:lnTo>
                  <a:pt x="4525" y="901"/>
                </a:lnTo>
                <a:lnTo>
                  <a:pt x="4526" y="904"/>
                </a:lnTo>
                <a:lnTo>
                  <a:pt x="4527" y="907"/>
                </a:lnTo>
                <a:lnTo>
                  <a:pt x="4527" y="910"/>
                </a:lnTo>
                <a:lnTo>
                  <a:pt x="4527" y="913"/>
                </a:lnTo>
                <a:lnTo>
                  <a:pt x="4526" y="916"/>
                </a:lnTo>
                <a:lnTo>
                  <a:pt x="4524" y="919"/>
                </a:lnTo>
                <a:lnTo>
                  <a:pt x="4522" y="922"/>
                </a:lnTo>
                <a:lnTo>
                  <a:pt x="4519" y="924"/>
                </a:lnTo>
                <a:lnTo>
                  <a:pt x="4517" y="925"/>
                </a:lnTo>
                <a:lnTo>
                  <a:pt x="4514" y="926"/>
                </a:lnTo>
                <a:lnTo>
                  <a:pt x="4508" y="926"/>
                </a:lnTo>
                <a:lnTo>
                  <a:pt x="4505" y="925"/>
                </a:lnTo>
                <a:lnTo>
                  <a:pt x="4502" y="923"/>
                </a:lnTo>
                <a:lnTo>
                  <a:pt x="4500" y="921"/>
                </a:lnTo>
                <a:lnTo>
                  <a:pt x="4498" y="919"/>
                </a:lnTo>
                <a:lnTo>
                  <a:pt x="4497" y="916"/>
                </a:lnTo>
                <a:lnTo>
                  <a:pt x="4496" y="913"/>
                </a:lnTo>
                <a:lnTo>
                  <a:pt x="4495" y="910"/>
                </a:lnTo>
                <a:lnTo>
                  <a:pt x="4496" y="907"/>
                </a:lnTo>
                <a:lnTo>
                  <a:pt x="4497" y="903"/>
                </a:lnTo>
                <a:lnTo>
                  <a:pt x="4499" y="900"/>
                </a:lnTo>
                <a:lnTo>
                  <a:pt x="4501" y="898"/>
                </a:lnTo>
                <a:lnTo>
                  <a:pt x="4503" y="896"/>
                </a:lnTo>
                <a:close/>
                <a:moveTo>
                  <a:pt x="4363" y="865"/>
                </a:moveTo>
                <a:lnTo>
                  <a:pt x="4365" y="864"/>
                </a:lnTo>
                <a:lnTo>
                  <a:pt x="4368" y="863"/>
                </a:lnTo>
                <a:lnTo>
                  <a:pt x="4371" y="863"/>
                </a:lnTo>
                <a:lnTo>
                  <a:pt x="4374" y="863"/>
                </a:lnTo>
                <a:lnTo>
                  <a:pt x="4377" y="864"/>
                </a:lnTo>
                <a:lnTo>
                  <a:pt x="4380" y="866"/>
                </a:lnTo>
                <a:lnTo>
                  <a:pt x="4382" y="868"/>
                </a:lnTo>
                <a:lnTo>
                  <a:pt x="4384" y="870"/>
                </a:lnTo>
                <a:lnTo>
                  <a:pt x="4386" y="873"/>
                </a:lnTo>
                <a:lnTo>
                  <a:pt x="4386" y="876"/>
                </a:lnTo>
                <a:lnTo>
                  <a:pt x="4387" y="879"/>
                </a:lnTo>
                <a:lnTo>
                  <a:pt x="4386" y="882"/>
                </a:lnTo>
                <a:lnTo>
                  <a:pt x="4385" y="886"/>
                </a:lnTo>
                <a:lnTo>
                  <a:pt x="4383" y="888"/>
                </a:lnTo>
                <a:lnTo>
                  <a:pt x="4381" y="891"/>
                </a:lnTo>
                <a:lnTo>
                  <a:pt x="4379" y="893"/>
                </a:lnTo>
                <a:lnTo>
                  <a:pt x="4376" y="894"/>
                </a:lnTo>
                <a:lnTo>
                  <a:pt x="4373" y="895"/>
                </a:lnTo>
                <a:lnTo>
                  <a:pt x="4370" y="895"/>
                </a:lnTo>
                <a:lnTo>
                  <a:pt x="4367" y="894"/>
                </a:lnTo>
                <a:lnTo>
                  <a:pt x="4364" y="893"/>
                </a:lnTo>
                <a:lnTo>
                  <a:pt x="4361" y="892"/>
                </a:lnTo>
                <a:lnTo>
                  <a:pt x="4359" y="890"/>
                </a:lnTo>
                <a:lnTo>
                  <a:pt x="4357" y="887"/>
                </a:lnTo>
                <a:lnTo>
                  <a:pt x="4356" y="884"/>
                </a:lnTo>
                <a:lnTo>
                  <a:pt x="4355" y="881"/>
                </a:lnTo>
                <a:lnTo>
                  <a:pt x="4355" y="878"/>
                </a:lnTo>
                <a:lnTo>
                  <a:pt x="4355" y="875"/>
                </a:lnTo>
                <a:lnTo>
                  <a:pt x="4356" y="872"/>
                </a:lnTo>
                <a:lnTo>
                  <a:pt x="4358" y="869"/>
                </a:lnTo>
                <a:lnTo>
                  <a:pt x="4360" y="867"/>
                </a:lnTo>
                <a:lnTo>
                  <a:pt x="4363" y="865"/>
                </a:lnTo>
                <a:close/>
                <a:moveTo>
                  <a:pt x="4223" y="829"/>
                </a:moveTo>
                <a:lnTo>
                  <a:pt x="4226" y="828"/>
                </a:lnTo>
                <a:lnTo>
                  <a:pt x="4229" y="827"/>
                </a:lnTo>
                <a:lnTo>
                  <a:pt x="4232" y="827"/>
                </a:lnTo>
                <a:lnTo>
                  <a:pt x="4235" y="828"/>
                </a:lnTo>
                <a:lnTo>
                  <a:pt x="4238" y="829"/>
                </a:lnTo>
                <a:lnTo>
                  <a:pt x="4241" y="831"/>
                </a:lnTo>
                <a:lnTo>
                  <a:pt x="4243" y="833"/>
                </a:lnTo>
                <a:lnTo>
                  <a:pt x="4245" y="835"/>
                </a:lnTo>
                <a:lnTo>
                  <a:pt x="4246" y="838"/>
                </a:lnTo>
                <a:lnTo>
                  <a:pt x="4247" y="841"/>
                </a:lnTo>
                <a:lnTo>
                  <a:pt x="4247" y="844"/>
                </a:lnTo>
                <a:lnTo>
                  <a:pt x="4246" y="847"/>
                </a:lnTo>
                <a:lnTo>
                  <a:pt x="4245" y="850"/>
                </a:lnTo>
                <a:lnTo>
                  <a:pt x="4244" y="853"/>
                </a:lnTo>
                <a:lnTo>
                  <a:pt x="4241" y="855"/>
                </a:lnTo>
                <a:lnTo>
                  <a:pt x="4239" y="857"/>
                </a:lnTo>
                <a:lnTo>
                  <a:pt x="4236" y="858"/>
                </a:lnTo>
                <a:lnTo>
                  <a:pt x="4233" y="859"/>
                </a:lnTo>
                <a:lnTo>
                  <a:pt x="4230" y="859"/>
                </a:lnTo>
                <a:lnTo>
                  <a:pt x="4227" y="859"/>
                </a:lnTo>
                <a:lnTo>
                  <a:pt x="4224" y="857"/>
                </a:lnTo>
                <a:lnTo>
                  <a:pt x="4221" y="856"/>
                </a:lnTo>
                <a:lnTo>
                  <a:pt x="4219" y="854"/>
                </a:lnTo>
                <a:lnTo>
                  <a:pt x="4217" y="851"/>
                </a:lnTo>
                <a:lnTo>
                  <a:pt x="4216" y="848"/>
                </a:lnTo>
                <a:lnTo>
                  <a:pt x="4215" y="845"/>
                </a:lnTo>
                <a:lnTo>
                  <a:pt x="4215" y="842"/>
                </a:lnTo>
                <a:lnTo>
                  <a:pt x="4216" y="839"/>
                </a:lnTo>
                <a:lnTo>
                  <a:pt x="4217" y="836"/>
                </a:lnTo>
                <a:lnTo>
                  <a:pt x="4218" y="833"/>
                </a:lnTo>
                <a:lnTo>
                  <a:pt x="4221" y="831"/>
                </a:lnTo>
                <a:lnTo>
                  <a:pt x="4223" y="829"/>
                </a:lnTo>
                <a:close/>
                <a:moveTo>
                  <a:pt x="4085" y="788"/>
                </a:moveTo>
                <a:lnTo>
                  <a:pt x="4088" y="787"/>
                </a:lnTo>
                <a:lnTo>
                  <a:pt x="4091" y="786"/>
                </a:lnTo>
                <a:lnTo>
                  <a:pt x="4094" y="786"/>
                </a:lnTo>
                <a:lnTo>
                  <a:pt x="4098" y="787"/>
                </a:lnTo>
                <a:lnTo>
                  <a:pt x="4101" y="788"/>
                </a:lnTo>
                <a:lnTo>
                  <a:pt x="4103" y="790"/>
                </a:lnTo>
                <a:lnTo>
                  <a:pt x="4105" y="792"/>
                </a:lnTo>
                <a:lnTo>
                  <a:pt x="4107" y="795"/>
                </a:lnTo>
                <a:lnTo>
                  <a:pt x="4108" y="798"/>
                </a:lnTo>
                <a:lnTo>
                  <a:pt x="4109" y="801"/>
                </a:lnTo>
                <a:lnTo>
                  <a:pt x="4109" y="804"/>
                </a:lnTo>
                <a:lnTo>
                  <a:pt x="4108" y="807"/>
                </a:lnTo>
                <a:lnTo>
                  <a:pt x="4107" y="810"/>
                </a:lnTo>
                <a:lnTo>
                  <a:pt x="4105" y="812"/>
                </a:lnTo>
                <a:lnTo>
                  <a:pt x="4103" y="814"/>
                </a:lnTo>
                <a:lnTo>
                  <a:pt x="4101" y="816"/>
                </a:lnTo>
                <a:lnTo>
                  <a:pt x="4098" y="817"/>
                </a:lnTo>
                <a:lnTo>
                  <a:pt x="4095" y="818"/>
                </a:lnTo>
                <a:lnTo>
                  <a:pt x="4091" y="818"/>
                </a:lnTo>
                <a:lnTo>
                  <a:pt x="4088" y="817"/>
                </a:lnTo>
                <a:lnTo>
                  <a:pt x="4085" y="816"/>
                </a:lnTo>
                <a:lnTo>
                  <a:pt x="4082" y="814"/>
                </a:lnTo>
                <a:lnTo>
                  <a:pt x="4080" y="812"/>
                </a:lnTo>
                <a:lnTo>
                  <a:pt x="4079" y="809"/>
                </a:lnTo>
                <a:lnTo>
                  <a:pt x="4077" y="807"/>
                </a:lnTo>
                <a:lnTo>
                  <a:pt x="4077" y="804"/>
                </a:lnTo>
                <a:lnTo>
                  <a:pt x="4077" y="800"/>
                </a:lnTo>
                <a:lnTo>
                  <a:pt x="4078" y="797"/>
                </a:lnTo>
                <a:lnTo>
                  <a:pt x="4079" y="794"/>
                </a:lnTo>
                <a:lnTo>
                  <a:pt x="4080" y="792"/>
                </a:lnTo>
                <a:lnTo>
                  <a:pt x="4082" y="790"/>
                </a:lnTo>
                <a:lnTo>
                  <a:pt x="4085" y="788"/>
                </a:lnTo>
                <a:close/>
                <a:moveTo>
                  <a:pt x="3948" y="741"/>
                </a:moveTo>
                <a:lnTo>
                  <a:pt x="3951" y="739"/>
                </a:lnTo>
                <a:lnTo>
                  <a:pt x="3954" y="739"/>
                </a:lnTo>
                <a:lnTo>
                  <a:pt x="3958" y="739"/>
                </a:lnTo>
                <a:lnTo>
                  <a:pt x="3961" y="740"/>
                </a:lnTo>
                <a:lnTo>
                  <a:pt x="3964" y="741"/>
                </a:lnTo>
                <a:lnTo>
                  <a:pt x="3967" y="743"/>
                </a:lnTo>
                <a:lnTo>
                  <a:pt x="3969" y="745"/>
                </a:lnTo>
                <a:lnTo>
                  <a:pt x="3970" y="748"/>
                </a:lnTo>
                <a:lnTo>
                  <a:pt x="3971" y="751"/>
                </a:lnTo>
                <a:lnTo>
                  <a:pt x="3972" y="754"/>
                </a:lnTo>
                <a:lnTo>
                  <a:pt x="3971" y="757"/>
                </a:lnTo>
                <a:lnTo>
                  <a:pt x="3971" y="760"/>
                </a:lnTo>
                <a:lnTo>
                  <a:pt x="3968" y="765"/>
                </a:lnTo>
                <a:lnTo>
                  <a:pt x="3964" y="769"/>
                </a:lnTo>
                <a:lnTo>
                  <a:pt x="3960" y="770"/>
                </a:lnTo>
                <a:lnTo>
                  <a:pt x="3957" y="771"/>
                </a:lnTo>
                <a:lnTo>
                  <a:pt x="3954" y="771"/>
                </a:lnTo>
                <a:lnTo>
                  <a:pt x="3950" y="770"/>
                </a:lnTo>
                <a:lnTo>
                  <a:pt x="3947" y="768"/>
                </a:lnTo>
                <a:lnTo>
                  <a:pt x="3945" y="766"/>
                </a:lnTo>
                <a:lnTo>
                  <a:pt x="3943" y="764"/>
                </a:lnTo>
                <a:lnTo>
                  <a:pt x="3941" y="761"/>
                </a:lnTo>
                <a:lnTo>
                  <a:pt x="3940" y="758"/>
                </a:lnTo>
                <a:lnTo>
                  <a:pt x="3940" y="755"/>
                </a:lnTo>
                <a:lnTo>
                  <a:pt x="3940" y="752"/>
                </a:lnTo>
                <a:lnTo>
                  <a:pt x="3941" y="749"/>
                </a:lnTo>
                <a:lnTo>
                  <a:pt x="3944" y="744"/>
                </a:lnTo>
                <a:lnTo>
                  <a:pt x="3948" y="741"/>
                </a:lnTo>
                <a:close/>
                <a:moveTo>
                  <a:pt x="3815" y="685"/>
                </a:moveTo>
                <a:lnTo>
                  <a:pt x="3816" y="684"/>
                </a:lnTo>
                <a:lnTo>
                  <a:pt x="3818" y="684"/>
                </a:lnTo>
                <a:lnTo>
                  <a:pt x="3822" y="683"/>
                </a:lnTo>
                <a:lnTo>
                  <a:pt x="3826" y="683"/>
                </a:lnTo>
                <a:lnTo>
                  <a:pt x="3829" y="685"/>
                </a:lnTo>
                <a:lnTo>
                  <a:pt x="3832" y="686"/>
                </a:lnTo>
                <a:lnTo>
                  <a:pt x="3834" y="688"/>
                </a:lnTo>
                <a:lnTo>
                  <a:pt x="3836" y="691"/>
                </a:lnTo>
                <a:lnTo>
                  <a:pt x="3838" y="694"/>
                </a:lnTo>
                <a:lnTo>
                  <a:pt x="3838" y="697"/>
                </a:lnTo>
                <a:lnTo>
                  <a:pt x="3839" y="700"/>
                </a:lnTo>
                <a:lnTo>
                  <a:pt x="3838" y="703"/>
                </a:lnTo>
                <a:lnTo>
                  <a:pt x="3837" y="706"/>
                </a:lnTo>
                <a:lnTo>
                  <a:pt x="3834" y="710"/>
                </a:lnTo>
                <a:lnTo>
                  <a:pt x="3833" y="712"/>
                </a:lnTo>
                <a:lnTo>
                  <a:pt x="3831" y="713"/>
                </a:lnTo>
                <a:lnTo>
                  <a:pt x="3829" y="714"/>
                </a:lnTo>
                <a:lnTo>
                  <a:pt x="3827" y="715"/>
                </a:lnTo>
                <a:lnTo>
                  <a:pt x="3823" y="715"/>
                </a:lnTo>
                <a:lnTo>
                  <a:pt x="3820" y="715"/>
                </a:lnTo>
                <a:lnTo>
                  <a:pt x="3816" y="714"/>
                </a:lnTo>
                <a:lnTo>
                  <a:pt x="3813" y="712"/>
                </a:lnTo>
                <a:lnTo>
                  <a:pt x="3811" y="710"/>
                </a:lnTo>
                <a:lnTo>
                  <a:pt x="3809" y="707"/>
                </a:lnTo>
                <a:lnTo>
                  <a:pt x="3808" y="705"/>
                </a:lnTo>
                <a:lnTo>
                  <a:pt x="3807" y="702"/>
                </a:lnTo>
                <a:lnTo>
                  <a:pt x="3807" y="699"/>
                </a:lnTo>
                <a:lnTo>
                  <a:pt x="3807" y="696"/>
                </a:lnTo>
                <a:lnTo>
                  <a:pt x="3808" y="692"/>
                </a:lnTo>
                <a:lnTo>
                  <a:pt x="3811" y="688"/>
                </a:lnTo>
                <a:lnTo>
                  <a:pt x="3813" y="687"/>
                </a:lnTo>
                <a:lnTo>
                  <a:pt x="3815" y="685"/>
                </a:lnTo>
                <a:close/>
                <a:moveTo>
                  <a:pt x="3687" y="619"/>
                </a:moveTo>
                <a:lnTo>
                  <a:pt x="3691" y="617"/>
                </a:lnTo>
                <a:lnTo>
                  <a:pt x="3695" y="617"/>
                </a:lnTo>
                <a:lnTo>
                  <a:pt x="3699" y="617"/>
                </a:lnTo>
                <a:lnTo>
                  <a:pt x="3703" y="619"/>
                </a:lnTo>
                <a:lnTo>
                  <a:pt x="3705" y="621"/>
                </a:lnTo>
                <a:lnTo>
                  <a:pt x="3707" y="623"/>
                </a:lnTo>
                <a:lnTo>
                  <a:pt x="3709" y="626"/>
                </a:lnTo>
                <a:lnTo>
                  <a:pt x="3710" y="629"/>
                </a:lnTo>
                <a:lnTo>
                  <a:pt x="3711" y="632"/>
                </a:lnTo>
                <a:lnTo>
                  <a:pt x="3711" y="635"/>
                </a:lnTo>
                <a:lnTo>
                  <a:pt x="3710" y="638"/>
                </a:lnTo>
                <a:lnTo>
                  <a:pt x="3709" y="641"/>
                </a:lnTo>
                <a:lnTo>
                  <a:pt x="3706" y="644"/>
                </a:lnTo>
                <a:lnTo>
                  <a:pt x="3703" y="647"/>
                </a:lnTo>
                <a:lnTo>
                  <a:pt x="3699" y="648"/>
                </a:lnTo>
                <a:lnTo>
                  <a:pt x="3695" y="649"/>
                </a:lnTo>
                <a:lnTo>
                  <a:pt x="3691" y="648"/>
                </a:lnTo>
                <a:lnTo>
                  <a:pt x="3687" y="647"/>
                </a:lnTo>
                <a:lnTo>
                  <a:pt x="3684" y="645"/>
                </a:lnTo>
                <a:lnTo>
                  <a:pt x="3682" y="643"/>
                </a:lnTo>
                <a:lnTo>
                  <a:pt x="3680" y="640"/>
                </a:lnTo>
                <a:lnTo>
                  <a:pt x="3679" y="637"/>
                </a:lnTo>
                <a:lnTo>
                  <a:pt x="3679" y="634"/>
                </a:lnTo>
                <a:lnTo>
                  <a:pt x="3679" y="631"/>
                </a:lnTo>
                <a:lnTo>
                  <a:pt x="3680" y="628"/>
                </a:lnTo>
                <a:lnTo>
                  <a:pt x="3681" y="625"/>
                </a:lnTo>
                <a:lnTo>
                  <a:pt x="3683" y="621"/>
                </a:lnTo>
                <a:lnTo>
                  <a:pt x="3687" y="619"/>
                </a:lnTo>
                <a:close/>
                <a:moveTo>
                  <a:pt x="3561" y="547"/>
                </a:moveTo>
                <a:lnTo>
                  <a:pt x="3565" y="545"/>
                </a:lnTo>
                <a:lnTo>
                  <a:pt x="3569" y="545"/>
                </a:lnTo>
                <a:lnTo>
                  <a:pt x="3573" y="545"/>
                </a:lnTo>
                <a:lnTo>
                  <a:pt x="3577" y="547"/>
                </a:lnTo>
                <a:lnTo>
                  <a:pt x="3580" y="549"/>
                </a:lnTo>
                <a:lnTo>
                  <a:pt x="3582" y="551"/>
                </a:lnTo>
                <a:lnTo>
                  <a:pt x="3584" y="554"/>
                </a:lnTo>
                <a:lnTo>
                  <a:pt x="3585" y="556"/>
                </a:lnTo>
                <a:lnTo>
                  <a:pt x="3585" y="560"/>
                </a:lnTo>
                <a:lnTo>
                  <a:pt x="3585" y="563"/>
                </a:lnTo>
                <a:lnTo>
                  <a:pt x="3585" y="566"/>
                </a:lnTo>
                <a:lnTo>
                  <a:pt x="3583" y="569"/>
                </a:lnTo>
                <a:lnTo>
                  <a:pt x="3581" y="572"/>
                </a:lnTo>
                <a:lnTo>
                  <a:pt x="3578" y="575"/>
                </a:lnTo>
                <a:lnTo>
                  <a:pt x="3574" y="576"/>
                </a:lnTo>
                <a:lnTo>
                  <a:pt x="3570" y="577"/>
                </a:lnTo>
                <a:lnTo>
                  <a:pt x="3566" y="576"/>
                </a:lnTo>
                <a:lnTo>
                  <a:pt x="3562" y="575"/>
                </a:lnTo>
                <a:lnTo>
                  <a:pt x="3559" y="573"/>
                </a:lnTo>
                <a:lnTo>
                  <a:pt x="3557" y="571"/>
                </a:lnTo>
                <a:lnTo>
                  <a:pt x="3555" y="568"/>
                </a:lnTo>
                <a:lnTo>
                  <a:pt x="3554" y="565"/>
                </a:lnTo>
                <a:lnTo>
                  <a:pt x="3554" y="562"/>
                </a:lnTo>
                <a:lnTo>
                  <a:pt x="3554" y="559"/>
                </a:lnTo>
                <a:lnTo>
                  <a:pt x="3554" y="556"/>
                </a:lnTo>
                <a:lnTo>
                  <a:pt x="3556" y="553"/>
                </a:lnTo>
                <a:lnTo>
                  <a:pt x="3558" y="550"/>
                </a:lnTo>
                <a:lnTo>
                  <a:pt x="3561" y="547"/>
                </a:lnTo>
                <a:close/>
                <a:moveTo>
                  <a:pt x="3436" y="477"/>
                </a:moveTo>
                <a:lnTo>
                  <a:pt x="3439" y="475"/>
                </a:lnTo>
                <a:lnTo>
                  <a:pt x="3443" y="475"/>
                </a:lnTo>
                <a:lnTo>
                  <a:pt x="3445" y="475"/>
                </a:lnTo>
                <a:lnTo>
                  <a:pt x="3447" y="475"/>
                </a:lnTo>
                <a:lnTo>
                  <a:pt x="3451" y="477"/>
                </a:lnTo>
                <a:lnTo>
                  <a:pt x="3454" y="479"/>
                </a:lnTo>
                <a:lnTo>
                  <a:pt x="3456" y="481"/>
                </a:lnTo>
                <a:lnTo>
                  <a:pt x="3458" y="483"/>
                </a:lnTo>
                <a:lnTo>
                  <a:pt x="3459" y="486"/>
                </a:lnTo>
                <a:lnTo>
                  <a:pt x="3460" y="489"/>
                </a:lnTo>
                <a:lnTo>
                  <a:pt x="3460" y="492"/>
                </a:lnTo>
                <a:lnTo>
                  <a:pt x="3459" y="495"/>
                </a:lnTo>
                <a:lnTo>
                  <a:pt x="3458" y="498"/>
                </a:lnTo>
                <a:lnTo>
                  <a:pt x="3457" y="500"/>
                </a:lnTo>
                <a:lnTo>
                  <a:pt x="3455" y="502"/>
                </a:lnTo>
                <a:lnTo>
                  <a:pt x="3452" y="505"/>
                </a:lnTo>
                <a:lnTo>
                  <a:pt x="3448" y="506"/>
                </a:lnTo>
                <a:lnTo>
                  <a:pt x="3444" y="507"/>
                </a:lnTo>
                <a:lnTo>
                  <a:pt x="3442" y="507"/>
                </a:lnTo>
                <a:lnTo>
                  <a:pt x="3440" y="506"/>
                </a:lnTo>
                <a:lnTo>
                  <a:pt x="3436" y="505"/>
                </a:lnTo>
                <a:lnTo>
                  <a:pt x="3433" y="503"/>
                </a:lnTo>
                <a:lnTo>
                  <a:pt x="3431" y="501"/>
                </a:lnTo>
                <a:lnTo>
                  <a:pt x="3429" y="498"/>
                </a:lnTo>
                <a:lnTo>
                  <a:pt x="3428" y="495"/>
                </a:lnTo>
                <a:lnTo>
                  <a:pt x="3428" y="492"/>
                </a:lnTo>
                <a:lnTo>
                  <a:pt x="3428" y="489"/>
                </a:lnTo>
                <a:lnTo>
                  <a:pt x="3428" y="486"/>
                </a:lnTo>
                <a:lnTo>
                  <a:pt x="3430" y="483"/>
                </a:lnTo>
                <a:lnTo>
                  <a:pt x="3431" y="481"/>
                </a:lnTo>
                <a:lnTo>
                  <a:pt x="3432" y="479"/>
                </a:lnTo>
                <a:lnTo>
                  <a:pt x="3436" y="477"/>
                </a:lnTo>
                <a:close/>
                <a:moveTo>
                  <a:pt x="3309" y="408"/>
                </a:moveTo>
                <a:lnTo>
                  <a:pt x="3313" y="407"/>
                </a:lnTo>
                <a:lnTo>
                  <a:pt x="3317" y="406"/>
                </a:lnTo>
                <a:lnTo>
                  <a:pt x="3319" y="406"/>
                </a:lnTo>
                <a:lnTo>
                  <a:pt x="3321" y="406"/>
                </a:lnTo>
                <a:lnTo>
                  <a:pt x="3325" y="408"/>
                </a:lnTo>
                <a:lnTo>
                  <a:pt x="3327" y="410"/>
                </a:lnTo>
                <a:lnTo>
                  <a:pt x="3330" y="412"/>
                </a:lnTo>
                <a:lnTo>
                  <a:pt x="3331" y="415"/>
                </a:lnTo>
                <a:lnTo>
                  <a:pt x="3332" y="417"/>
                </a:lnTo>
                <a:lnTo>
                  <a:pt x="3333" y="423"/>
                </a:lnTo>
                <a:lnTo>
                  <a:pt x="3333" y="427"/>
                </a:lnTo>
                <a:lnTo>
                  <a:pt x="3331" y="430"/>
                </a:lnTo>
                <a:lnTo>
                  <a:pt x="3329" y="433"/>
                </a:lnTo>
                <a:lnTo>
                  <a:pt x="3325" y="436"/>
                </a:lnTo>
                <a:lnTo>
                  <a:pt x="3322" y="437"/>
                </a:lnTo>
                <a:lnTo>
                  <a:pt x="3318" y="438"/>
                </a:lnTo>
                <a:lnTo>
                  <a:pt x="3316" y="438"/>
                </a:lnTo>
                <a:lnTo>
                  <a:pt x="3314" y="438"/>
                </a:lnTo>
                <a:lnTo>
                  <a:pt x="3310" y="436"/>
                </a:lnTo>
                <a:lnTo>
                  <a:pt x="3307" y="434"/>
                </a:lnTo>
                <a:lnTo>
                  <a:pt x="3305" y="432"/>
                </a:lnTo>
                <a:lnTo>
                  <a:pt x="3303" y="429"/>
                </a:lnTo>
                <a:lnTo>
                  <a:pt x="3302" y="427"/>
                </a:lnTo>
                <a:lnTo>
                  <a:pt x="3301" y="421"/>
                </a:lnTo>
                <a:lnTo>
                  <a:pt x="3302" y="417"/>
                </a:lnTo>
                <a:lnTo>
                  <a:pt x="3303" y="414"/>
                </a:lnTo>
                <a:lnTo>
                  <a:pt x="3306" y="411"/>
                </a:lnTo>
                <a:lnTo>
                  <a:pt x="3309" y="408"/>
                </a:lnTo>
                <a:close/>
                <a:moveTo>
                  <a:pt x="8" y="2264"/>
                </a:moveTo>
                <a:lnTo>
                  <a:pt x="11" y="2262"/>
                </a:lnTo>
                <a:lnTo>
                  <a:pt x="15" y="2262"/>
                </a:lnTo>
                <a:lnTo>
                  <a:pt x="19" y="2262"/>
                </a:lnTo>
                <a:lnTo>
                  <a:pt x="22" y="2263"/>
                </a:lnTo>
                <a:lnTo>
                  <a:pt x="25" y="2264"/>
                </a:lnTo>
                <a:lnTo>
                  <a:pt x="28" y="2266"/>
                </a:lnTo>
                <a:lnTo>
                  <a:pt x="30" y="2269"/>
                </a:lnTo>
                <a:lnTo>
                  <a:pt x="31" y="2272"/>
                </a:lnTo>
                <a:lnTo>
                  <a:pt x="32" y="2275"/>
                </a:lnTo>
                <a:lnTo>
                  <a:pt x="32" y="2278"/>
                </a:lnTo>
                <a:lnTo>
                  <a:pt x="32" y="2281"/>
                </a:lnTo>
                <a:lnTo>
                  <a:pt x="31" y="2284"/>
                </a:lnTo>
                <a:lnTo>
                  <a:pt x="28" y="2288"/>
                </a:lnTo>
                <a:lnTo>
                  <a:pt x="24" y="2291"/>
                </a:lnTo>
                <a:lnTo>
                  <a:pt x="21" y="2293"/>
                </a:lnTo>
                <a:lnTo>
                  <a:pt x="17" y="2293"/>
                </a:lnTo>
                <a:lnTo>
                  <a:pt x="14" y="2293"/>
                </a:lnTo>
                <a:lnTo>
                  <a:pt x="10" y="2292"/>
                </a:lnTo>
                <a:lnTo>
                  <a:pt x="7" y="2291"/>
                </a:lnTo>
                <a:lnTo>
                  <a:pt x="5" y="2289"/>
                </a:lnTo>
                <a:lnTo>
                  <a:pt x="3" y="2286"/>
                </a:lnTo>
                <a:lnTo>
                  <a:pt x="1" y="2283"/>
                </a:lnTo>
                <a:lnTo>
                  <a:pt x="0" y="2280"/>
                </a:lnTo>
                <a:lnTo>
                  <a:pt x="0" y="2277"/>
                </a:lnTo>
                <a:lnTo>
                  <a:pt x="0" y="2274"/>
                </a:lnTo>
                <a:lnTo>
                  <a:pt x="1" y="2271"/>
                </a:lnTo>
                <a:lnTo>
                  <a:pt x="4" y="2267"/>
                </a:lnTo>
                <a:lnTo>
                  <a:pt x="8" y="2264"/>
                </a:lnTo>
                <a:close/>
                <a:moveTo>
                  <a:pt x="3182" y="341"/>
                </a:moveTo>
                <a:lnTo>
                  <a:pt x="3185" y="340"/>
                </a:lnTo>
                <a:lnTo>
                  <a:pt x="3189" y="339"/>
                </a:lnTo>
                <a:lnTo>
                  <a:pt x="3193" y="339"/>
                </a:lnTo>
                <a:lnTo>
                  <a:pt x="3197" y="341"/>
                </a:lnTo>
                <a:lnTo>
                  <a:pt x="3200" y="343"/>
                </a:lnTo>
                <a:lnTo>
                  <a:pt x="3202" y="345"/>
                </a:lnTo>
                <a:lnTo>
                  <a:pt x="3204" y="347"/>
                </a:lnTo>
                <a:lnTo>
                  <a:pt x="3205" y="350"/>
                </a:lnTo>
                <a:lnTo>
                  <a:pt x="3206" y="353"/>
                </a:lnTo>
                <a:lnTo>
                  <a:pt x="3206" y="356"/>
                </a:lnTo>
                <a:lnTo>
                  <a:pt x="3205" y="359"/>
                </a:lnTo>
                <a:lnTo>
                  <a:pt x="3204" y="362"/>
                </a:lnTo>
                <a:lnTo>
                  <a:pt x="3203" y="364"/>
                </a:lnTo>
                <a:lnTo>
                  <a:pt x="3201" y="366"/>
                </a:lnTo>
                <a:lnTo>
                  <a:pt x="3198" y="369"/>
                </a:lnTo>
                <a:lnTo>
                  <a:pt x="3194" y="370"/>
                </a:lnTo>
                <a:lnTo>
                  <a:pt x="3190" y="371"/>
                </a:lnTo>
                <a:lnTo>
                  <a:pt x="3186" y="371"/>
                </a:lnTo>
                <a:lnTo>
                  <a:pt x="3182" y="369"/>
                </a:lnTo>
                <a:lnTo>
                  <a:pt x="3180" y="368"/>
                </a:lnTo>
                <a:lnTo>
                  <a:pt x="3177" y="365"/>
                </a:lnTo>
                <a:lnTo>
                  <a:pt x="3176" y="363"/>
                </a:lnTo>
                <a:lnTo>
                  <a:pt x="3174" y="360"/>
                </a:lnTo>
                <a:lnTo>
                  <a:pt x="3174" y="357"/>
                </a:lnTo>
                <a:lnTo>
                  <a:pt x="3174" y="354"/>
                </a:lnTo>
                <a:lnTo>
                  <a:pt x="3174" y="351"/>
                </a:lnTo>
                <a:lnTo>
                  <a:pt x="3175" y="348"/>
                </a:lnTo>
                <a:lnTo>
                  <a:pt x="3177" y="346"/>
                </a:lnTo>
                <a:lnTo>
                  <a:pt x="3178" y="344"/>
                </a:lnTo>
                <a:lnTo>
                  <a:pt x="3182" y="341"/>
                </a:lnTo>
                <a:close/>
                <a:moveTo>
                  <a:pt x="72" y="2135"/>
                </a:moveTo>
                <a:lnTo>
                  <a:pt x="76" y="2133"/>
                </a:lnTo>
                <a:lnTo>
                  <a:pt x="80" y="2133"/>
                </a:lnTo>
                <a:lnTo>
                  <a:pt x="84" y="2133"/>
                </a:lnTo>
                <a:lnTo>
                  <a:pt x="88" y="2135"/>
                </a:lnTo>
                <a:lnTo>
                  <a:pt x="90" y="2136"/>
                </a:lnTo>
                <a:lnTo>
                  <a:pt x="92" y="2139"/>
                </a:lnTo>
                <a:lnTo>
                  <a:pt x="94" y="2141"/>
                </a:lnTo>
                <a:lnTo>
                  <a:pt x="95" y="2144"/>
                </a:lnTo>
                <a:lnTo>
                  <a:pt x="96" y="2147"/>
                </a:lnTo>
                <a:lnTo>
                  <a:pt x="96" y="2150"/>
                </a:lnTo>
                <a:lnTo>
                  <a:pt x="95" y="2153"/>
                </a:lnTo>
                <a:lnTo>
                  <a:pt x="94" y="2156"/>
                </a:lnTo>
                <a:lnTo>
                  <a:pt x="91" y="2160"/>
                </a:lnTo>
                <a:lnTo>
                  <a:pt x="88" y="2162"/>
                </a:lnTo>
                <a:lnTo>
                  <a:pt x="84" y="2164"/>
                </a:lnTo>
                <a:lnTo>
                  <a:pt x="80" y="2165"/>
                </a:lnTo>
                <a:lnTo>
                  <a:pt x="76" y="2164"/>
                </a:lnTo>
                <a:lnTo>
                  <a:pt x="72" y="2162"/>
                </a:lnTo>
                <a:lnTo>
                  <a:pt x="69" y="2161"/>
                </a:lnTo>
                <a:lnTo>
                  <a:pt x="67" y="2158"/>
                </a:lnTo>
                <a:lnTo>
                  <a:pt x="66" y="2156"/>
                </a:lnTo>
                <a:lnTo>
                  <a:pt x="64" y="2153"/>
                </a:lnTo>
                <a:lnTo>
                  <a:pt x="64" y="2150"/>
                </a:lnTo>
                <a:lnTo>
                  <a:pt x="64" y="2147"/>
                </a:lnTo>
                <a:lnTo>
                  <a:pt x="65" y="2144"/>
                </a:lnTo>
                <a:lnTo>
                  <a:pt x="66" y="2141"/>
                </a:lnTo>
                <a:lnTo>
                  <a:pt x="68" y="2137"/>
                </a:lnTo>
                <a:lnTo>
                  <a:pt x="72" y="2135"/>
                </a:lnTo>
                <a:close/>
                <a:moveTo>
                  <a:pt x="149" y="2013"/>
                </a:moveTo>
                <a:lnTo>
                  <a:pt x="153" y="2012"/>
                </a:lnTo>
                <a:lnTo>
                  <a:pt x="157" y="2011"/>
                </a:lnTo>
                <a:lnTo>
                  <a:pt x="162" y="2012"/>
                </a:lnTo>
                <a:lnTo>
                  <a:pt x="166" y="2014"/>
                </a:lnTo>
                <a:lnTo>
                  <a:pt x="169" y="2016"/>
                </a:lnTo>
                <a:lnTo>
                  <a:pt x="170" y="2019"/>
                </a:lnTo>
                <a:lnTo>
                  <a:pt x="172" y="2022"/>
                </a:lnTo>
                <a:lnTo>
                  <a:pt x="173" y="2024"/>
                </a:lnTo>
                <a:lnTo>
                  <a:pt x="173" y="2028"/>
                </a:lnTo>
                <a:lnTo>
                  <a:pt x="172" y="2031"/>
                </a:lnTo>
                <a:lnTo>
                  <a:pt x="172" y="2034"/>
                </a:lnTo>
                <a:lnTo>
                  <a:pt x="170" y="2036"/>
                </a:lnTo>
                <a:lnTo>
                  <a:pt x="168" y="2039"/>
                </a:lnTo>
                <a:lnTo>
                  <a:pt x="165" y="2041"/>
                </a:lnTo>
                <a:lnTo>
                  <a:pt x="161" y="2043"/>
                </a:lnTo>
                <a:lnTo>
                  <a:pt x="156" y="2043"/>
                </a:lnTo>
                <a:lnTo>
                  <a:pt x="152" y="2042"/>
                </a:lnTo>
                <a:lnTo>
                  <a:pt x="148" y="2040"/>
                </a:lnTo>
                <a:lnTo>
                  <a:pt x="145" y="2038"/>
                </a:lnTo>
                <a:lnTo>
                  <a:pt x="143" y="2036"/>
                </a:lnTo>
                <a:lnTo>
                  <a:pt x="142" y="2033"/>
                </a:lnTo>
                <a:lnTo>
                  <a:pt x="141" y="2030"/>
                </a:lnTo>
                <a:lnTo>
                  <a:pt x="141" y="2027"/>
                </a:lnTo>
                <a:lnTo>
                  <a:pt x="141" y="2024"/>
                </a:lnTo>
                <a:lnTo>
                  <a:pt x="142" y="2021"/>
                </a:lnTo>
                <a:lnTo>
                  <a:pt x="144" y="2018"/>
                </a:lnTo>
                <a:lnTo>
                  <a:pt x="146" y="2015"/>
                </a:lnTo>
                <a:lnTo>
                  <a:pt x="149" y="2013"/>
                </a:lnTo>
                <a:close/>
                <a:moveTo>
                  <a:pt x="3053" y="277"/>
                </a:moveTo>
                <a:lnTo>
                  <a:pt x="3055" y="276"/>
                </a:lnTo>
                <a:lnTo>
                  <a:pt x="3056" y="275"/>
                </a:lnTo>
                <a:lnTo>
                  <a:pt x="3060" y="275"/>
                </a:lnTo>
                <a:lnTo>
                  <a:pt x="3064" y="275"/>
                </a:lnTo>
                <a:lnTo>
                  <a:pt x="3068" y="276"/>
                </a:lnTo>
                <a:lnTo>
                  <a:pt x="3071" y="278"/>
                </a:lnTo>
                <a:lnTo>
                  <a:pt x="3073" y="280"/>
                </a:lnTo>
                <a:lnTo>
                  <a:pt x="3075" y="283"/>
                </a:lnTo>
                <a:lnTo>
                  <a:pt x="3076" y="285"/>
                </a:lnTo>
                <a:lnTo>
                  <a:pt x="3077" y="288"/>
                </a:lnTo>
                <a:lnTo>
                  <a:pt x="3077" y="291"/>
                </a:lnTo>
                <a:lnTo>
                  <a:pt x="3076" y="295"/>
                </a:lnTo>
                <a:lnTo>
                  <a:pt x="3075" y="298"/>
                </a:lnTo>
                <a:lnTo>
                  <a:pt x="3073" y="302"/>
                </a:lnTo>
                <a:lnTo>
                  <a:pt x="3071" y="303"/>
                </a:lnTo>
                <a:lnTo>
                  <a:pt x="3069" y="304"/>
                </a:lnTo>
                <a:lnTo>
                  <a:pt x="3067" y="305"/>
                </a:lnTo>
                <a:lnTo>
                  <a:pt x="3065" y="306"/>
                </a:lnTo>
                <a:lnTo>
                  <a:pt x="3062" y="307"/>
                </a:lnTo>
                <a:lnTo>
                  <a:pt x="3058" y="306"/>
                </a:lnTo>
                <a:lnTo>
                  <a:pt x="3054" y="305"/>
                </a:lnTo>
                <a:lnTo>
                  <a:pt x="3051" y="303"/>
                </a:lnTo>
                <a:lnTo>
                  <a:pt x="3049" y="301"/>
                </a:lnTo>
                <a:lnTo>
                  <a:pt x="3047" y="299"/>
                </a:lnTo>
                <a:lnTo>
                  <a:pt x="3046" y="296"/>
                </a:lnTo>
                <a:lnTo>
                  <a:pt x="3045" y="293"/>
                </a:lnTo>
                <a:lnTo>
                  <a:pt x="3045" y="290"/>
                </a:lnTo>
                <a:lnTo>
                  <a:pt x="3045" y="287"/>
                </a:lnTo>
                <a:lnTo>
                  <a:pt x="3047" y="284"/>
                </a:lnTo>
                <a:lnTo>
                  <a:pt x="3049" y="280"/>
                </a:lnTo>
                <a:lnTo>
                  <a:pt x="3051" y="278"/>
                </a:lnTo>
                <a:lnTo>
                  <a:pt x="3053" y="277"/>
                </a:lnTo>
                <a:close/>
                <a:moveTo>
                  <a:pt x="238" y="1901"/>
                </a:moveTo>
                <a:lnTo>
                  <a:pt x="240" y="1900"/>
                </a:lnTo>
                <a:lnTo>
                  <a:pt x="243" y="1899"/>
                </a:lnTo>
                <a:lnTo>
                  <a:pt x="245" y="1899"/>
                </a:lnTo>
                <a:lnTo>
                  <a:pt x="248" y="1899"/>
                </a:lnTo>
                <a:lnTo>
                  <a:pt x="250" y="1899"/>
                </a:lnTo>
                <a:lnTo>
                  <a:pt x="252" y="1900"/>
                </a:lnTo>
                <a:lnTo>
                  <a:pt x="255" y="1901"/>
                </a:lnTo>
                <a:lnTo>
                  <a:pt x="257" y="1902"/>
                </a:lnTo>
                <a:lnTo>
                  <a:pt x="259" y="1905"/>
                </a:lnTo>
                <a:lnTo>
                  <a:pt x="261" y="1908"/>
                </a:lnTo>
                <a:lnTo>
                  <a:pt x="262" y="1910"/>
                </a:lnTo>
                <a:lnTo>
                  <a:pt x="262" y="1913"/>
                </a:lnTo>
                <a:lnTo>
                  <a:pt x="262" y="1917"/>
                </a:lnTo>
                <a:lnTo>
                  <a:pt x="261" y="1920"/>
                </a:lnTo>
                <a:lnTo>
                  <a:pt x="260" y="1922"/>
                </a:lnTo>
                <a:lnTo>
                  <a:pt x="258" y="1925"/>
                </a:lnTo>
                <a:lnTo>
                  <a:pt x="256" y="1927"/>
                </a:lnTo>
                <a:lnTo>
                  <a:pt x="254" y="1928"/>
                </a:lnTo>
                <a:lnTo>
                  <a:pt x="252" y="1929"/>
                </a:lnTo>
                <a:lnTo>
                  <a:pt x="250" y="1930"/>
                </a:lnTo>
                <a:lnTo>
                  <a:pt x="247" y="1930"/>
                </a:lnTo>
                <a:lnTo>
                  <a:pt x="245" y="1930"/>
                </a:lnTo>
                <a:lnTo>
                  <a:pt x="242" y="1930"/>
                </a:lnTo>
                <a:lnTo>
                  <a:pt x="240" y="1929"/>
                </a:lnTo>
                <a:lnTo>
                  <a:pt x="238" y="1928"/>
                </a:lnTo>
                <a:lnTo>
                  <a:pt x="236" y="1927"/>
                </a:lnTo>
                <a:lnTo>
                  <a:pt x="233" y="1924"/>
                </a:lnTo>
                <a:lnTo>
                  <a:pt x="232" y="1921"/>
                </a:lnTo>
                <a:lnTo>
                  <a:pt x="231" y="1919"/>
                </a:lnTo>
                <a:lnTo>
                  <a:pt x="230" y="1916"/>
                </a:lnTo>
                <a:lnTo>
                  <a:pt x="230" y="1912"/>
                </a:lnTo>
                <a:lnTo>
                  <a:pt x="231" y="1909"/>
                </a:lnTo>
                <a:lnTo>
                  <a:pt x="232" y="1907"/>
                </a:lnTo>
                <a:lnTo>
                  <a:pt x="234" y="1904"/>
                </a:lnTo>
                <a:lnTo>
                  <a:pt x="236" y="1902"/>
                </a:lnTo>
                <a:lnTo>
                  <a:pt x="238" y="1901"/>
                </a:lnTo>
                <a:close/>
                <a:moveTo>
                  <a:pt x="338" y="1797"/>
                </a:moveTo>
                <a:lnTo>
                  <a:pt x="341" y="1796"/>
                </a:lnTo>
                <a:lnTo>
                  <a:pt x="343" y="1796"/>
                </a:lnTo>
                <a:lnTo>
                  <a:pt x="349" y="1796"/>
                </a:lnTo>
                <a:lnTo>
                  <a:pt x="351" y="1796"/>
                </a:lnTo>
                <a:lnTo>
                  <a:pt x="354" y="1797"/>
                </a:lnTo>
                <a:lnTo>
                  <a:pt x="358" y="1800"/>
                </a:lnTo>
                <a:lnTo>
                  <a:pt x="360" y="1803"/>
                </a:lnTo>
                <a:lnTo>
                  <a:pt x="361" y="1806"/>
                </a:lnTo>
                <a:lnTo>
                  <a:pt x="362" y="1809"/>
                </a:lnTo>
                <a:lnTo>
                  <a:pt x="362" y="1812"/>
                </a:lnTo>
                <a:lnTo>
                  <a:pt x="362" y="1815"/>
                </a:lnTo>
                <a:lnTo>
                  <a:pt x="361" y="1818"/>
                </a:lnTo>
                <a:lnTo>
                  <a:pt x="359" y="1821"/>
                </a:lnTo>
                <a:lnTo>
                  <a:pt x="357" y="1823"/>
                </a:lnTo>
                <a:lnTo>
                  <a:pt x="354" y="1825"/>
                </a:lnTo>
                <a:lnTo>
                  <a:pt x="352" y="1826"/>
                </a:lnTo>
                <a:lnTo>
                  <a:pt x="349" y="1827"/>
                </a:lnTo>
                <a:lnTo>
                  <a:pt x="344" y="1827"/>
                </a:lnTo>
                <a:lnTo>
                  <a:pt x="341" y="1827"/>
                </a:lnTo>
                <a:lnTo>
                  <a:pt x="339" y="1826"/>
                </a:lnTo>
                <a:lnTo>
                  <a:pt x="337" y="1824"/>
                </a:lnTo>
                <a:lnTo>
                  <a:pt x="335" y="1822"/>
                </a:lnTo>
                <a:lnTo>
                  <a:pt x="333" y="1820"/>
                </a:lnTo>
                <a:lnTo>
                  <a:pt x="331" y="1817"/>
                </a:lnTo>
                <a:lnTo>
                  <a:pt x="331" y="1814"/>
                </a:lnTo>
                <a:lnTo>
                  <a:pt x="330" y="1811"/>
                </a:lnTo>
                <a:lnTo>
                  <a:pt x="331" y="1808"/>
                </a:lnTo>
                <a:lnTo>
                  <a:pt x="332" y="1805"/>
                </a:lnTo>
                <a:lnTo>
                  <a:pt x="333" y="1802"/>
                </a:lnTo>
                <a:lnTo>
                  <a:pt x="335" y="1800"/>
                </a:lnTo>
                <a:lnTo>
                  <a:pt x="338" y="1797"/>
                </a:lnTo>
                <a:close/>
                <a:moveTo>
                  <a:pt x="448" y="1703"/>
                </a:moveTo>
                <a:lnTo>
                  <a:pt x="450" y="1702"/>
                </a:lnTo>
                <a:lnTo>
                  <a:pt x="453" y="1701"/>
                </a:lnTo>
                <a:lnTo>
                  <a:pt x="459" y="1701"/>
                </a:lnTo>
                <a:lnTo>
                  <a:pt x="461" y="1702"/>
                </a:lnTo>
                <a:lnTo>
                  <a:pt x="464" y="1703"/>
                </a:lnTo>
                <a:lnTo>
                  <a:pt x="466" y="1705"/>
                </a:lnTo>
                <a:lnTo>
                  <a:pt x="467" y="1706"/>
                </a:lnTo>
                <a:lnTo>
                  <a:pt x="468" y="1707"/>
                </a:lnTo>
                <a:lnTo>
                  <a:pt x="470" y="1710"/>
                </a:lnTo>
                <a:lnTo>
                  <a:pt x="471" y="1713"/>
                </a:lnTo>
                <a:lnTo>
                  <a:pt x="472" y="1716"/>
                </a:lnTo>
                <a:lnTo>
                  <a:pt x="471" y="1719"/>
                </a:lnTo>
                <a:lnTo>
                  <a:pt x="471" y="1722"/>
                </a:lnTo>
                <a:lnTo>
                  <a:pt x="470" y="1725"/>
                </a:lnTo>
                <a:lnTo>
                  <a:pt x="468" y="1727"/>
                </a:lnTo>
                <a:lnTo>
                  <a:pt x="465" y="1730"/>
                </a:lnTo>
                <a:lnTo>
                  <a:pt x="464" y="1731"/>
                </a:lnTo>
                <a:lnTo>
                  <a:pt x="461" y="1732"/>
                </a:lnTo>
                <a:lnTo>
                  <a:pt x="458" y="1733"/>
                </a:lnTo>
                <a:lnTo>
                  <a:pt x="453" y="1733"/>
                </a:lnTo>
                <a:lnTo>
                  <a:pt x="450" y="1732"/>
                </a:lnTo>
                <a:lnTo>
                  <a:pt x="447" y="1731"/>
                </a:lnTo>
                <a:lnTo>
                  <a:pt x="445" y="1729"/>
                </a:lnTo>
                <a:lnTo>
                  <a:pt x="444" y="1728"/>
                </a:lnTo>
                <a:lnTo>
                  <a:pt x="443" y="1727"/>
                </a:lnTo>
                <a:lnTo>
                  <a:pt x="441" y="1724"/>
                </a:lnTo>
                <a:lnTo>
                  <a:pt x="440" y="1721"/>
                </a:lnTo>
                <a:lnTo>
                  <a:pt x="440" y="1718"/>
                </a:lnTo>
                <a:lnTo>
                  <a:pt x="440" y="1715"/>
                </a:lnTo>
                <a:lnTo>
                  <a:pt x="440" y="1712"/>
                </a:lnTo>
                <a:lnTo>
                  <a:pt x="442" y="1709"/>
                </a:lnTo>
                <a:lnTo>
                  <a:pt x="443" y="1707"/>
                </a:lnTo>
                <a:lnTo>
                  <a:pt x="446" y="1704"/>
                </a:lnTo>
                <a:lnTo>
                  <a:pt x="448" y="1703"/>
                </a:lnTo>
                <a:close/>
                <a:moveTo>
                  <a:pt x="816" y="1477"/>
                </a:moveTo>
                <a:lnTo>
                  <a:pt x="819" y="1476"/>
                </a:lnTo>
                <a:lnTo>
                  <a:pt x="822" y="1475"/>
                </a:lnTo>
                <a:lnTo>
                  <a:pt x="825" y="1475"/>
                </a:lnTo>
                <a:lnTo>
                  <a:pt x="828" y="1476"/>
                </a:lnTo>
                <a:lnTo>
                  <a:pt x="831" y="1477"/>
                </a:lnTo>
                <a:lnTo>
                  <a:pt x="834" y="1479"/>
                </a:lnTo>
                <a:lnTo>
                  <a:pt x="836" y="1481"/>
                </a:lnTo>
                <a:lnTo>
                  <a:pt x="838" y="1483"/>
                </a:lnTo>
                <a:lnTo>
                  <a:pt x="839" y="1486"/>
                </a:lnTo>
                <a:lnTo>
                  <a:pt x="840" y="1489"/>
                </a:lnTo>
                <a:lnTo>
                  <a:pt x="840" y="1492"/>
                </a:lnTo>
                <a:lnTo>
                  <a:pt x="839" y="1495"/>
                </a:lnTo>
                <a:lnTo>
                  <a:pt x="838" y="1498"/>
                </a:lnTo>
                <a:lnTo>
                  <a:pt x="836" y="1501"/>
                </a:lnTo>
                <a:lnTo>
                  <a:pt x="834" y="1503"/>
                </a:lnTo>
                <a:lnTo>
                  <a:pt x="832" y="1505"/>
                </a:lnTo>
                <a:lnTo>
                  <a:pt x="829" y="1506"/>
                </a:lnTo>
                <a:lnTo>
                  <a:pt x="825" y="1507"/>
                </a:lnTo>
                <a:lnTo>
                  <a:pt x="822" y="1507"/>
                </a:lnTo>
                <a:lnTo>
                  <a:pt x="819" y="1506"/>
                </a:lnTo>
                <a:lnTo>
                  <a:pt x="816" y="1505"/>
                </a:lnTo>
                <a:lnTo>
                  <a:pt x="814" y="1504"/>
                </a:lnTo>
                <a:lnTo>
                  <a:pt x="811" y="1501"/>
                </a:lnTo>
                <a:lnTo>
                  <a:pt x="810" y="1499"/>
                </a:lnTo>
                <a:lnTo>
                  <a:pt x="808" y="1496"/>
                </a:lnTo>
                <a:lnTo>
                  <a:pt x="808" y="1493"/>
                </a:lnTo>
                <a:lnTo>
                  <a:pt x="808" y="1490"/>
                </a:lnTo>
                <a:lnTo>
                  <a:pt x="808" y="1487"/>
                </a:lnTo>
                <a:lnTo>
                  <a:pt x="809" y="1484"/>
                </a:lnTo>
                <a:lnTo>
                  <a:pt x="811" y="1481"/>
                </a:lnTo>
                <a:lnTo>
                  <a:pt x="813" y="1479"/>
                </a:lnTo>
                <a:lnTo>
                  <a:pt x="816" y="1477"/>
                </a:lnTo>
                <a:close/>
                <a:moveTo>
                  <a:pt x="940" y="1405"/>
                </a:moveTo>
                <a:lnTo>
                  <a:pt x="943" y="1403"/>
                </a:lnTo>
                <a:lnTo>
                  <a:pt x="946" y="1403"/>
                </a:lnTo>
                <a:lnTo>
                  <a:pt x="949" y="1402"/>
                </a:lnTo>
                <a:lnTo>
                  <a:pt x="952" y="1403"/>
                </a:lnTo>
                <a:lnTo>
                  <a:pt x="954" y="1404"/>
                </a:lnTo>
                <a:lnTo>
                  <a:pt x="957" y="1405"/>
                </a:lnTo>
                <a:lnTo>
                  <a:pt x="959" y="1407"/>
                </a:lnTo>
                <a:lnTo>
                  <a:pt x="961" y="1410"/>
                </a:lnTo>
                <a:lnTo>
                  <a:pt x="963" y="1413"/>
                </a:lnTo>
                <a:lnTo>
                  <a:pt x="964" y="1416"/>
                </a:lnTo>
                <a:lnTo>
                  <a:pt x="964" y="1419"/>
                </a:lnTo>
                <a:lnTo>
                  <a:pt x="963" y="1422"/>
                </a:lnTo>
                <a:lnTo>
                  <a:pt x="962" y="1425"/>
                </a:lnTo>
                <a:lnTo>
                  <a:pt x="961" y="1428"/>
                </a:lnTo>
                <a:lnTo>
                  <a:pt x="959" y="1430"/>
                </a:lnTo>
                <a:lnTo>
                  <a:pt x="956" y="1432"/>
                </a:lnTo>
                <a:lnTo>
                  <a:pt x="953" y="1433"/>
                </a:lnTo>
                <a:lnTo>
                  <a:pt x="950" y="1434"/>
                </a:lnTo>
                <a:lnTo>
                  <a:pt x="947" y="1434"/>
                </a:lnTo>
                <a:lnTo>
                  <a:pt x="944" y="1434"/>
                </a:lnTo>
                <a:lnTo>
                  <a:pt x="941" y="1433"/>
                </a:lnTo>
                <a:lnTo>
                  <a:pt x="939" y="1431"/>
                </a:lnTo>
                <a:lnTo>
                  <a:pt x="936" y="1429"/>
                </a:lnTo>
                <a:lnTo>
                  <a:pt x="934" y="1427"/>
                </a:lnTo>
                <a:lnTo>
                  <a:pt x="933" y="1424"/>
                </a:lnTo>
                <a:lnTo>
                  <a:pt x="932" y="1421"/>
                </a:lnTo>
                <a:lnTo>
                  <a:pt x="932" y="1418"/>
                </a:lnTo>
                <a:lnTo>
                  <a:pt x="932" y="1415"/>
                </a:lnTo>
                <a:lnTo>
                  <a:pt x="933" y="1412"/>
                </a:lnTo>
                <a:lnTo>
                  <a:pt x="935" y="1409"/>
                </a:lnTo>
                <a:lnTo>
                  <a:pt x="937" y="1407"/>
                </a:lnTo>
                <a:lnTo>
                  <a:pt x="939" y="1405"/>
                </a:lnTo>
                <a:lnTo>
                  <a:pt x="940" y="1405"/>
                </a:lnTo>
                <a:close/>
                <a:moveTo>
                  <a:pt x="564" y="1619"/>
                </a:moveTo>
                <a:lnTo>
                  <a:pt x="567" y="1618"/>
                </a:lnTo>
                <a:lnTo>
                  <a:pt x="570" y="1617"/>
                </a:lnTo>
                <a:lnTo>
                  <a:pt x="573" y="1617"/>
                </a:lnTo>
                <a:lnTo>
                  <a:pt x="576" y="1618"/>
                </a:lnTo>
                <a:lnTo>
                  <a:pt x="579" y="1619"/>
                </a:lnTo>
                <a:lnTo>
                  <a:pt x="581" y="1620"/>
                </a:lnTo>
                <a:lnTo>
                  <a:pt x="584" y="1622"/>
                </a:lnTo>
                <a:lnTo>
                  <a:pt x="586" y="1624"/>
                </a:lnTo>
                <a:lnTo>
                  <a:pt x="587" y="1627"/>
                </a:lnTo>
                <a:lnTo>
                  <a:pt x="588" y="1630"/>
                </a:lnTo>
                <a:lnTo>
                  <a:pt x="588" y="1633"/>
                </a:lnTo>
                <a:lnTo>
                  <a:pt x="588" y="1636"/>
                </a:lnTo>
                <a:lnTo>
                  <a:pt x="587" y="1639"/>
                </a:lnTo>
                <a:lnTo>
                  <a:pt x="586" y="1642"/>
                </a:lnTo>
                <a:lnTo>
                  <a:pt x="584" y="1645"/>
                </a:lnTo>
                <a:lnTo>
                  <a:pt x="581" y="1647"/>
                </a:lnTo>
                <a:lnTo>
                  <a:pt x="578" y="1648"/>
                </a:lnTo>
                <a:lnTo>
                  <a:pt x="575" y="1649"/>
                </a:lnTo>
                <a:lnTo>
                  <a:pt x="569" y="1649"/>
                </a:lnTo>
                <a:lnTo>
                  <a:pt x="566" y="1648"/>
                </a:lnTo>
                <a:lnTo>
                  <a:pt x="563" y="1646"/>
                </a:lnTo>
                <a:lnTo>
                  <a:pt x="561" y="1644"/>
                </a:lnTo>
                <a:lnTo>
                  <a:pt x="559" y="1642"/>
                </a:lnTo>
                <a:lnTo>
                  <a:pt x="558" y="1639"/>
                </a:lnTo>
                <a:lnTo>
                  <a:pt x="557" y="1636"/>
                </a:lnTo>
                <a:lnTo>
                  <a:pt x="556" y="1633"/>
                </a:lnTo>
                <a:lnTo>
                  <a:pt x="557" y="1630"/>
                </a:lnTo>
                <a:lnTo>
                  <a:pt x="558" y="1627"/>
                </a:lnTo>
                <a:lnTo>
                  <a:pt x="559" y="1624"/>
                </a:lnTo>
                <a:lnTo>
                  <a:pt x="561" y="1622"/>
                </a:lnTo>
                <a:lnTo>
                  <a:pt x="564" y="1620"/>
                </a:lnTo>
                <a:lnTo>
                  <a:pt x="564" y="1619"/>
                </a:lnTo>
                <a:close/>
                <a:moveTo>
                  <a:pt x="687" y="1545"/>
                </a:moveTo>
                <a:lnTo>
                  <a:pt x="690" y="1543"/>
                </a:lnTo>
                <a:lnTo>
                  <a:pt x="694" y="1543"/>
                </a:lnTo>
                <a:lnTo>
                  <a:pt x="697" y="1543"/>
                </a:lnTo>
                <a:lnTo>
                  <a:pt x="700" y="1543"/>
                </a:lnTo>
                <a:lnTo>
                  <a:pt x="703" y="1544"/>
                </a:lnTo>
                <a:lnTo>
                  <a:pt x="705" y="1546"/>
                </a:lnTo>
                <a:lnTo>
                  <a:pt x="708" y="1548"/>
                </a:lnTo>
                <a:lnTo>
                  <a:pt x="709" y="1551"/>
                </a:lnTo>
                <a:lnTo>
                  <a:pt x="711" y="1554"/>
                </a:lnTo>
                <a:lnTo>
                  <a:pt x="711" y="1557"/>
                </a:lnTo>
                <a:lnTo>
                  <a:pt x="711" y="1560"/>
                </a:lnTo>
                <a:lnTo>
                  <a:pt x="711" y="1563"/>
                </a:lnTo>
                <a:lnTo>
                  <a:pt x="710" y="1566"/>
                </a:lnTo>
                <a:lnTo>
                  <a:pt x="708" y="1568"/>
                </a:lnTo>
                <a:lnTo>
                  <a:pt x="706" y="1571"/>
                </a:lnTo>
                <a:lnTo>
                  <a:pt x="703" y="1572"/>
                </a:lnTo>
                <a:lnTo>
                  <a:pt x="700" y="1574"/>
                </a:lnTo>
                <a:lnTo>
                  <a:pt x="697" y="1574"/>
                </a:lnTo>
                <a:lnTo>
                  <a:pt x="694" y="1574"/>
                </a:lnTo>
                <a:lnTo>
                  <a:pt x="691" y="1574"/>
                </a:lnTo>
                <a:lnTo>
                  <a:pt x="688" y="1573"/>
                </a:lnTo>
                <a:lnTo>
                  <a:pt x="686" y="1571"/>
                </a:lnTo>
                <a:lnTo>
                  <a:pt x="683" y="1569"/>
                </a:lnTo>
                <a:lnTo>
                  <a:pt x="681" y="1566"/>
                </a:lnTo>
                <a:lnTo>
                  <a:pt x="680" y="1563"/>
                </a:lnTo>
                <a:lnTo>
                  <a:pt x="680" y="1560"/>
                </a:lnTo>
                <a:lnTo>
                  <a:pt x="679" y="1557"/>
                </a:lnTo>
                <a:lnTo>
                  <a:pt x="680" y="1554"/>
                </a:lnTo>
                <a:lnTo>
                  <a:pt x="681" y="1551"/>
                </a:lnTo>
                <a:lnTo>
                  <a:pt x="683" y="1549"/>
                </a:lnTo>
                <a:lnTo>
                  <a:pt x="685" y="1547"/>
                </a:lnTo>
                <a:lnTo>
                  <a:pt x="687" y="1545"/>
                </a:lnTo>
                <a:close/>
                <a:moveTo>
                  <a:pt x="1058" y="1323"/>
                </a:moveTo>
                <a:lnTo>
                  <a:pt x="1060" y="1321"/>
                </a:lnTo>
                <a:lnTo>
                  <a:pt x="1063" y="1321"/>
                </a:lnTo>
                <a:lnTo>
                  <a:pt x="1069" y="1321"/>
                </a:lnTo>
                <a:lnTo>
                  <a:pt x="1071" y="1321"/>
                </a:lnTo>
                <a:lnTo>
                  <a:pt x="1074" y="1323"/>
                </a:lnTo>
                <a:lnTo>
                  <a:pt x="1076" y="1324"/>
                </a:lnTo>
                <a:lnTo>
                  <a:pt x="1078" y="1327"/>
                </a:lnTo>
                <a:lnTo>
                  <a:pt x="1080" y="1329"/>
                </a:lnTo>
                <a:lnTo>
                  <a:pt x="1081" y="1332"/>
                </a:lnTo>
                <a:lnTo>
                  <a:pt x="1082" y="1335"/>
                </a:lnTo>
                <a:lnTo>
                  <a:pt x="1081" y="1338"/>
                </a:lnTo>
                <a:lnTo>
                  <a:pt x="1081" y="1341"/>
                </a:lnTo>
                <a:lnTo>
                  <a:pt x="1080" y="1344"/>
                </a:lnTo>
                <a:lnTo>
                  <a:pt x="1078" y="1347"/>
                </a:lnTo>
                <a:lnTo>
                  <a:pt x="1075" y="1349"/>
                </a:lnTo>
                <a:lnTo>
                  <a:pt x="1074" y="1350"/>
                </a:lnTo>
                <a:lnTo>
                  <a:pt x="1071" y="1351"/>
                </a:lnTo>
                <a:lnTo>
                  <a:pt x="1068" y="1352"/>
                </a:lnTo>
                <a:lnTo>
                  <a:pt x="1063" y="1352"/>
                </a:lnTo>
                <a:lnTo>
                  <a:pt x="1060" y="1351"/>
                </a:lnTo>
                <a:lnTo>
                  <a:pt x="1057" y="1350"/>
                </a:lnTo>
                <a:lnTo>
                  <a:pt x="1055" y="1348"/>
                </a:lnTo>
                <a:lnTo>
                  <a:pt x="1053" y="1346"/>
                </a:lnTo>
                <a:lnTo>
                  <a:pt x="1051" y="1343"/>
                </a:lnTo>
                <a:lnTo>
                  <a:pt x="1050" y="1340"/>
                </a:lnTo>
                <a:lnTo>
                  <a:pt x="1050" y="1337"/>
                </a:lnTo>
                <a:lnTo>
                  <a:pt x="1050" y="1334"/>
                </a:lnTo>
                <a:lnTo>
                  <a:pt x="1050" y="1331"/>
                </a:lnTo>
                <a:lnTo>
                  <a:pt x="1052" y="1328"/>
                </a:lnTo>
                <a:lnTo>
                  <a:pt x="1054" y="1326"/>
                </a:lnTo>
                <a:lnTo>
                  <a:pt x="1056" y="1324"/>
                </a:lnTo>
                <a:lnTo>
                  <a:pt x="1058" y="1323"/>
                </a:lnTo>
                <a:close/>
                <a:moveTo>
                  <a:pt x="2923" y="216"/>
                </a:moveTo>
                <a:lnTo>
                  <a:pt x="2926" y="214"/>
                </a:lnTo>
                <a:lnTo>
                  <a:pt x="2930" y="213"/>
                </a:lnTo>
                <a:lnTo>
                  <a:pt x="2933" y="214"/>
                </a:lnTo>
                <a:lnTo>
                  <a:pt x="2935" y="214"/>
                </a:lnTo>
                <a:lnTo>
                  <a:pt x="2937" y="215"/>
                </a:lnTo>
                <a:lnTo>
                  <a:pt x="2940" y="216"/>
                </a:lnTo>
                <a:lnTo>
                  <a:pt x="2942" y="219"/>
                </a:lnTo>
                <a:lnTo>
                  <a:pt x="2944" y="221"/>
                </a:lnTo>
                <a:lnTo>
                  <a:pt x="2946" y="224"/>
                </a:lnTo>
                <a:lnTo>
                  <a:pt x="2946" y="227"/>
                </a:lnTo>
                <a:lnTo>
                  <a:pt x="2947" y="230"/>
                </a:lnTo>
                <a:lnTo>
                  <a:pt x="2946" y="233"/>
                </a:lnTo>
                <a:lnTo>
                  <a:pt x="2945" y="236"/>
                </a:lnTo>
                <a:lnTo>
                  <a:pt x="2942" y="240"/>
                </a:lnTo>
                <a:lnTo>
                  <a:pt x="2941" y="242"/>
                </a:lnTo>
                <a:lnTo>
                  <a:pt x="2939" y="243"/>
                </a:lnTo>
                <a:lnTo>
                  <a:pt x="2935" y="245"/>
                </a:lnTo>
                <a:lnTo>
                  <a:pt x="2932" y="245"/>
                </a:lnTo>
                <a:lnTo>
                  <a:pt x="2928" y="245"/>
                </a:lnTo>
                <a:lnTo>
                  <a:pt x="2926" y="245"/>
                </a:lnTo>
                <a:lnTo>
                  <a:pt x="2924" y="244"/>
                </a:lnTo>
                <a:lnTo>
                  <a:pt x="2921" y="242"/>
                </a:lnTo>
                <a:lnTo>
                  <a:pt x="2919" y="240"/>
                </a:lnTo>
                <a:lnTo>
                  <a:pt x="2917" y="238"/>
                </a:lnTo>
                <a:lnTo>
                  <a:pt x="2916" y="235"/>
                </a:lnTo>
                <a:lnTo>
                  <a:pt x="2915" y="232"/>
                </a:lnTo>
                <a:lnTo>
                  <a:pt x="2915" y="229"/>
                </a:lnTo>
                <a:lnTo>
                  <a:pt x="2915" y="226"/>
                </a:lnTo>
                <a:lnTo>
                  <a:pt x="2916" y="223"/>
                </a:lnTo>
                <a:lnTo>
                  <a:pt x="2919" y="219"/>
                </a:lnTo>
                <a:lnTo>
                  <a:pt x="2921" y="217"/>
                </a:lnTo>
                <a:lnTo>
                  <a:pt x="2923" y="216"/>
                </a:lnTo>
                <a:close/>
                <a:moveTo>
                  <a:pt x="1167" y="1229"/>
                </a:moveTo>
                <a:lnTo>
                  <a:pt x="1169" y="1228"/>
                </a:lnTo>
                <a:lnTo>
                  <a:pt x="1171" y="1227"/>
                </a:lnTo>
                <a:lnTo>
                  <a:pt x="1174" y="1227"/>
                </a:lnTo>
                <a:lnTo>
                  <a:pt x="1177" y="1227"/>
                </a:lnTo>
                <a:lnTo>
                  <a:pt x="1179" y="1228"/>
                </a:lnTo>
                <a:lnTo>
                  <a:pt x="1182" y="1229"/>
                </a:lnTo>
                <a:lnTo>
                  <a:pt x="1184" y="1230"/>
                </a:lnTo>
                <a:lnTo>
                  <a:pt x="1186" y="1232"/>
                </a:lnTo>
                <a:lnTo>
                  <a:pt x="1188" y="1234"/>
                </a:lnTo>
                <a:lnTo>
                  <a:pt x="1189" y="1237"/>
                </a:lnTo>
                <a:lnTo>
                  <a:pt x="1190" y="1240"/>
                </a:lnTo>
                <a:lnTo>
                  <a:pt x="1191" y="1243"/>
                </a:lnTo>
                <a:lnTo>
                  <a:pt x="1190" y="1246"/>
                </a:lnTo>
                <a:lnTo>
                  <a:pt x="1189" y="1249"/>
                </a:lnTo>
                <a:lnTo>
                  <a:pt x="1188" y="1252"/>
                </a:lnTo>
                <a:lnTo>
                  <a:pt x="1186" y="1254"/>
                </a:lnTo>
                <a:lnTo>
                  <a:pt x="1182" y="1257"/>
                </a:lnTo>
                <a:lnTo>
                  <a:pt x="1180" y="1258"/>
                </a:lnTo>
                <a:lnTo>
                  <a:pt x="1178" y="1259"/>
                </a:lnTo>
                <a:lnTo>
                  <a:pt x="1175" y="1259"/>
                </a:lnTo>
                <a:lnTo>
                  <a:pt x="1172" y="1259"/>
                </a:lnTo>
                <a:lnTo>
                  <a:pt x="1170" y="1258"/>
                </a:lnTo>
                <a:lnTo>
                  <a:pt x="1167" y="1257"/>
                </a:lnTo>
                <a:lnTo>
                  <a:pt x="1165" y="1256"/>
                </a:lnTo>
                <a:lnTo>
                  <a:pt x="1163" y="1254"/>
                </a:lnTo>
                <a:lnTo>
                  <a:pt x="1161" y="1251"/>
                </a:lnTo>
                <a:lnTo>
                  <a:pt x="1160" y="1249"/>
                </a:lnTo>
                <a:lnTo>
                  <a:pt x="1159" y="1246"/>
                </a:lnTo>
                <a:lnTo>
                  <a:pt x="1159" y="1243"/>
                </a:lnTo>
                <a:lnTo>
                  <a:pt x="1159" y="1240"/>
                </a:lnTo>
                <a:lnTo>
                  <a:pt x="1160" y="1237"/>
                </a:lnTo>
                <a:lnTo>
                  <a:pt x="1161" y="1234"/>
                </a:lnTo>
                <a:lnTo>
                  <a:pt x="1163" y="1231"/>
                </a:lnTo>
                <a:lnTo>
                  <a:pt x="1167" y="1229"/>
                </a:lnTo>
                <a:close/>
                <a:moveTo>
                  <a:pt x="1262" y="1122"/>
                </a:moveTo>
                <a:lnTo>
                  <a:pt x="1266" y="1120"/>
                </a:lnTo>
                <a:lnTo>
                  <a:pt x="1271" y="1120"/>
                </a:lnTo>
                <a:lnTo>
                  <a:pt x="1273" y="1120"/>
                </a:lnTo>
                <a:lnTo>
                  <a:pt x="1276" y="1121"/>
                </a:lnTo>
                <a:lnTo>
                  <a:pt x="1278" y="1122"/>
                </a:lnTo>
                <a:lnTo>
                  <a:pt x="1280" y="1123"/>
                </a:lnTo>
                <a:lnTo>
                  <a:pt x="1282" y="1125"/>
                </a:lnTo>
                <a:lnTo>
                  <a:pt x="1284" y="1128"/>
                </a:lnTo>
                <a:lnTo>
                  <a:pt x="1285" y="1131"/>
                </a:lnTo>
                <a:lnTo>
                  <a:pt x="1286" y="1134"/>
                </a:lnTo>
                <a:lnTo>
                  <a:pt x="1286" y="1137"/>
                </a:lnTo>
                <a:lnTo>
                  <a:pt x="1286" y="1140"/>
                </a:lnTo>
                <a:lnTo>
                  <a:pt x="1285" y="1143"/>
                </a:lnTo>
                <a:lnTo>
                  <a:pt x="1283" y="1146"/>
                </a:lnTo>
                <a:lnTo>
                  <a:pt x="1281" y="1148"/>
                </a:lnTo>
                <a:lnTo>
                  <a:pt x="1278" y="1150"/>
                </a:lnTo>
                <a:lnTo>
                  <a:pt x="1274" y="1151"/>
                </a:lnTo>
                <a:lnTo>
                  <a:pt x="1269" y="1152"/>
                </a:lnTo>
                <a:lnTo>
                  <a:pt x="1267" y="1152"/>
                </a:lnTo>
                <a:lnTo>
                  <a:pt x="1265" y="1151"/>
                </a:lnTo>
                <a:lnTo>
                  <a:pt x="1263" y="1150"/>
                </a:lnTo>
                <a:lnTo>
                  <a:pt x="1260" y="1149"/>
                </a:lnTo>
                <a:lnTo>
                  <a:pt x="1258" y="1146"/>
                </a:lnTo>
                <a:lnTo>
                  <a:pt x="1256" y="1144"/>
                </a:lnTo>
                <a:lnTo>
                  <a:pt x="1255" y="1141"/>
                </a:lnTo>
                <a:lnTo>
                  <a:pt x="1254" y="1138"/>
                </a:lnTo>
                <a:lnTo>
                  <a:pt x="1254" y="1135"/>
                </a:lnTo>
                <a:lnTo>
                  <a:pt x="1255" y="1132"/>
                </a:lnTo>
                <a:lnTo>
                  <a:pt x="1256" y="1129"/>
                </a:lnTo>
                <a:lnTo>
                  <a:pt x="1257" y="1126"/>
                </a:lnTo>
                <a:lnTo>
                  <a:pt x="1260" y="1124"/>
                </a:lnTo>
                <a:lnTo>
                  <a:pt x="1262" y="1122"/>
                </a:lnTo>
                <a:close/>
                <a:moveTo>
                  <a:pt x="1339" y="1001"/>
                </a:moveTo>
                <a:lnTo>
                  <a:pt x="1343" y="999"/>
                </a:lnTo>
                <a:lnTo>
                  <a:pt x="1347" y="999"/>
                </a:lnTo>
                <a:lnTo>
                  <a:pt x="1351" y="999"/>
                </a:lnTo>
                <a:lnTo>
                  <a:pt x="1354" y="1001"/>
                </a:lnTo>
                <a:lnTo>
                  <a:pt x="1357" y="1002"/>
                </a:lnTo>
                <a:lnTo>
                  <a:pt x="1359" y="1005"/>
                </a:lnTo>
                <a:lnTo>
                  <a:pt x="1361" y="1007"/>
                </a:lnTo>
                <a:lnTo>
                  <a:pt x="1362" y="1010"/>
                </a:lnTo>
                <a:lnTo>
                  <a:pt x="1363" y="1013"/>
                </a:lnTo>
                <a:lnTo>
                  <a:pt x="1363" y="1016"/>
                </a:lnTo>
                <a:lnTo>
                  <a:pt x="1363" y="1019"/>
                </a:lnTo>
                <a:lnTo>
                  <a:pt x="1361" y="1022"/>
                </a:lnTo>
                <a:lnTo>
                  <a:pt x="1360" y="1024"/>
                </a:lnTo>
                <a:lnTo>
                  <a:pt x="1359" y="1026"/>
                </a:lnTo>
                <a:lnTo>
                  <a:pt x="1355" y="1029"/>
                </a:lnTo>
                <a:lnTo>
                  <a:pt x="1352" y="1030"/>
                </a:lnTo>
                <a:lnTo>
                  <a:pt x="1348" y="1031"/>
                </a:lnTo>
                <a:lnTo>
                  <a:pt x="1344" y="1030"/>
                </a:lnTo>
                <a:lnTo>
                  <a:pt x="1340" y="1029"/>
                </a:lnTo>
                <a:lnTo>
                  <a:pt x="1337" y="1027"/>
                </a:lnTo>
                <a:lnTo>
                  <a:pt x="1335" y="1025"/>
                </a:lnTo>
                <a:lnTo>
                  <a:pt x="1333" y="1023"/>
                </a:lnTo>
                <a:lnTo>
                  <a:pt x="1332" y="1020"/>
                </a:lnTo>
                <a:lnTo>
                  <a:pt x="1331" y="1014"/>
                </a:lnTo>
                <a:lnTo>
                  <a:pt x="1332" y="1011"/>
                </a:lnTo>
                <a:lnTo>
                  <a:pt x="1333" y="1008"/>
                </a:lnTo>
                <a:lnTo>
                  <a:pt x="1334" y="1006"/>
                </a:lnTo>
                <a:lnTo>
                  <a:pt x="1336" y="1004"/>
                </a:lnTo>
                <a:lnTo>
                  <a:pt x="1339" y="1001"/>
                </a:lnTo>
                <a:close/>
                <a:moveTo>
                  <a:pt x="2790" y="159"/>
                </a:moveTo>
                <a:lnTo>
                  <a:pt x="2794" y="157"/>
                </a:lnTo>
                <a:lnTo>
                  <a:pt x="2797" y="157"/>
                </a:lnTo>
                <a:lnTo>
                  <a:pt x="2801" y="157"/>
                </a:lnTo>
                <a:lnTo>
                  <a:pt x="2804" y="158"/>
                </a:lnTo>
                <a:lnTo>
                  <a:pt x="2807" y="159"/>
                </a:lnTo>
                <a:lnTo>
                  <a:pt x="2810" y="161"/>
                </a:lnTo>
                <a:lnTo>
                  <a:pt x="2812" y="164"/>
                </a:lnTo>
                <a:lnTo>
                  <a:pt x="2813" y="166"/>
                </a:lnTo>
                <a:lnTo>
                  <a:pt x="2814" y="169"/>
                </a:lnTo>
                <a:lnTo>
                  <a:pt x="2814" y="172"/>
                </a:lnTo>
                <a:lnTo>
                  <a:pt x="2814" y="175"/>
                </a:lnTo>
                <a:lnTo>
                  <a:pt x="2813" y="179"/>
                </a:lnTo>
                <a:lnTo>
                  <a:pt x="2810" y="183"/>
                </a:lnTo>
                <a:lnTo>
                  <a:pt x="2808" y="185"/>
                </a:lnTo>
                <a:lnTo>
                  <a:pt x="2806" y="186"/>
                </a:lnTo>
                <a:lnTo>
                  <a:pt x="2803" y="188"/>
                </a:lnTo>
                <a:lnTo>
                  <a:pt x="2800" y="189"/>
                </a:lnTo>
                <a:lnTo>
                  <a:pt x="2796" y="188"/>
                </a:lnTo>
                <a:lnTo>
                  <a:pt x="2792" y="187"/>
                </a:lnTo>
                <a:lnTo>
                  <a:pt x="2789" y="186"/>
                </a:lnTo>
                <a:lnTo>
                  <a:pt x="2787" y="184"/>
                </a:lnTo>
                <a:lnTo>
                  <a:pt x="2785" y="181"/>
                </a:lnTo>
                <a:lnTo>
                  <a:pt x="2784" y="179"/>
                </a:lnTo>
                <a:lnTo>
                  <a:pt x="2783" y="176"/>
                </a:lnTo>
                <a:lnTo>
                  <a:pt x="2782" y="173"/>
                </a:lnTo>
                <a:lnTo>
                  <a:pt x="2783" y="170"/>
                </a:lnTo>
                <a:lnTo>
                  <a:pt x="2784" y="167"/>
                </a:lnTo>
                <a:lnTo>
                  <a:pt x="2786" y="162"/>
                </a:lnTo>
                <a:lnTo>
                  <a:pt x="2788" y="160"/>
                </a:lnTo>
                <a:lnTo>
                  <a:pt x="2790" y="159"/>
                </a:lnTo>
                <a:close/>
                <a:moveTo>
                  <a:pt x="1393" y="868"/>
                </a:moveTo>
                <a:lnTo>
                  <a:pt x="1396" y="867"/>
                </a:lnTo>
                <a:lnTo>
                  <a:pt x="1399" y="866"/>
                </a:lnTo>
                <a:lnTo>
                  <a:pt x="1402" y="866"/>
                </a:lnTo>
                <a:lnTo>
                  <a:pt x="1405" y="866"/>
                </a:lnTo>
                <a:lnTo>
                  <a:pt x="1408" y="868"/>
                </a:lnTo>
                <a:lnTo>
                  <a:pt x="1411" y="869"/>
                </a:lnTo>
                <a:lnTo>
                  <a:pt x="1413" y="872"/>
                </a:lnTo>
                <a:lnTo>
                  <a:pt x="1415" y="874"/>
                </a:lnTo>
                <a:lnTo>
                  <a:pt x="1416" y="877"/>
                </a:lnTo>
                <a:lnTo>
                  <a:pt x="1417" y="880"/>
                </a:lnTo>
                <a:lnTo>
                  <a:pt x="1417" y="883"/>
                </a:lnTo>
                <a:lnTo>
                  <a:pt x="1416" y="886"/>
                </a:lnTo>
                <a:lnTo>
                  <a:pt x="1415" y="889"/>
                </a:lnTo>
                <a:lnTo>
                  <a:pt x="1413" y="892"/>
                </a:lnTo>
                <a:lnTo>
                  <a:pt x="1411" y="894"/>
                </a:lnTo>
                <a:lnTo>
                  <a:pt x="1409" y="896"/>
                </a:lnTo>
                <a:lnTo>
                  <a:pt x="1406" y="897"/>
                </a:lnTo>
                <a:lnTo>
                  <a:pt x="1403" y="898"/>
                </a:lnTo>
                <a:lnTo>
                  <a:pt x="1399" y="898"/>
                </a:lnTo>
                <a:lnTo>
                  <a:pt x="1396" y="897"/>
                </a:lnTo>
                <a:lnTo>
                  <a:pt x="1393" y="896"/>
                </a:lnTo>
                <a:lnTo>
                  <a:pt x="1391" y="894"/>
                </a:lnTo>
                <a:lnTo>
                  <a:pt x="1388" y="892"/>
                </a:lnTo>
                <a:lnTo>
                  <a:pt x="1387" y="889"/>
                </a:lnTo>
                <a:lnTo>
                  <a:pt x="1385" y="886"/>
                </a:lnTo>
                <a:lnTo>
                  <a:pt x="1385" y="883"/>
                </a:lnTo>
                <a:lnTo>
                  <a:pt x="1385" y="880"/>
                </a:lnTo>
                <a:lnTo>
                  <a:pt x="1385" y="877"/>
                </a:lnTo>
                <a:lnTo>
                  <a:pt x="1387" y="874"/>
                </a:lnTo>
                <a:lnTo>
                  <a:pt x="1388" y="872"/>
                </a:lnTo>
                <a:lnTo>
                  <a:pt x="1390" y="870"/>
                </a:lnTo>
                <a:lnTo>
                  <a:pt x="1393" y="868"/>
                </a:lnTo>
                <a:close/>
                <a:moveTo>
                  <a:pt x="2656" y="107"/>
                </a:moveTo>
                <a:lnTo>
                  <a:pt x="2659" y="106"/>
                </a:lnTo>
                <a:lnTo>
                  <a:pt x="2662" y="105"/>
                </a:lnTo>
                <a:lnTo>
                  <a:pt x="2666" y="105"/>
                </a:lnTo>
                <a:lnTo>
                  <a:pt x="2669" y="106"/>
                </a:lnTo>
                <a:lnTo>
                  <a:pt x="2672" y="108"/>
                </a:lnTo>
                <a:lnTo>
                  <a:pt x="2675" y="109"/>
                </a:lnTo>
                <a:lnTo>
                  <a:pt x="2677" y="112"/>
                </a:lnTo>
                <a:lnTo>
                  <a:pt x="2678" y="114"/>
                </a:lnTo>
                <a:lnTo>
                  <a:pt x="2679" y="117"/>
                </a:lnTo>
                <a:lnTo>
                  <a:pt x="2680" y="120"/>
                </a:lnTo>
                <a:lnTo>
                  <a:pt x="2680" y="123"/>
                </a:lnTo>
                <a:lnTo>
                  <a:pt x="2679" y="127"/>
                </a:lnTo>
                <a:lnTo>
                  <a:pt x="2678" y="129"/>
                </a:lnTo>
                <a:lnTo>
                  <a:pt x="2676" y="132"/>
                </a:lnTo>
                <a:lnTo>
                  <a:pt x="2674" y="134"/>
                </a:lnTo>
                <a:lnTo>
                  <a:pt x="2672" y="135"/>
                </a:lnTo>
                <a:lnTo>
                  <a:pt x="2669" y="137"/>
                </a:lnTo>
                <a:lnTo>
                  <a:pt x="2665" y="137"/>
                </a:lnTo>
                <a:lnTo>
                  <a:pt x="2662" y="137"/>
                </a:lnTo>
                <a:lnTo>
                  <a:pt x="2659" y="136"/>
                </a:lnTo>
                <a:lnTo>
                  <a:pt x="2656" y="135"/>
                </a:lnTo>
                <a:lnTo>
                  <a:pt x="2653" y="133"/>
                </a:lnTo>
                <a:lnTo>
                  <a:pt x="2651" y="131"/>
                </a:lnTo>
                <a:lnTo>
                  <a:pt x="2649" y="128"/>
                </a:lnTo>
                <a:lnTo>
                  <a:pt x="2648" y="125"/>
                </a:lnTo>
                <a:lnTo>
                  <a:pt x="2648" y="122"/>
                </a:lnTo>
                <a:lnTo>
                  <a:pt x="2648" y="119"/>
                </a:lnTo>
                <a:lnTo>
                  <a:pt x="2649" y="116"/>
                </a:lnTo>
                <a:lnTo>
                  <a:pt x="2652" y="111"/>
                </a:lnTo>
                <a:lnTo>
                  <a:pt x="2654" y="109"/>
                </a:lnTo>
                <a:lnTo>
                  <a:pt x="2656" y="107"/>
                </a:lnTo>
                <a:close/>
                <a:moveTo>
                  <a:pt x="1423" y="727"/>
                </a:moveTo>
                <a:lnTo>
                  <a:pt x="1428" y="726"/>
                </a:lnTo>
                <a:lnTo>
                  <a:pt x="1431" y="725"/>
                </a:lnTo>
                <a:lnTo>
                  <a:pt x="1433" y="725"/>
                </a:lnTo>
                <a:lnTo>
                  <a:pt x="1436" y="726"/>
                </a:lnTo>
                <a:lnTo>
                  <a:pt x="1439" y="728"/>
                </a:lnTo>
                <a:lnTo>
                  <a:pt x="1442" y="729"/>
                </a:lnTo>
                <a:lnTo>
                  <a:pt x="1444" y="732"/>
                </a:lnTo>
                <a:lnTo>
                  <a:pt x="1445" y="734"/>
                </a:lnTo>
                <a:lnTo>
                  <a:pt x="1446" y="737"/>
                </a:lnTo>
                <a:lnTo>
                  <a:pt x="1447" y="740"/>
                </a:lnTo>
                <a:lnTo>
                  <a:pt x="1447" y="744"/>
                </a:lnTo>
                <a:lnTo>
                  <a:pt x="1446" y="747"/>
                </a:lnTo>
                <a:lnTo>
                  <a:pt x="1444" y="750"/>
                </a:lnTo>
                <a:lnTo>
                  <a:pt x="1442" y="753"/>
                </a:lnTo>
                <a:lnTo>
                  <a:pt x="1439" y="755"/>
                </a:lnTo>
                <a:lnTo>
                  <a:pt x="1434" y="757"/>
                </a:lnTo>
                <a:lnTo>
                  <a:pt x="1431" y="757"/>
                </a:lnTo>
                <a:lnTo>
                  <a:pt x="1429" y="757"/>
                </a:lnTo>
                <a:lnTo>
                  <a:pt x="1426" y="756"/>
                </a:lnTo>
                <a:lnTo>
                  <a:pt x="1423" y="755"/>
                </a:lnTo>
                <a:lnTo>
                  <a:pt x="1420" y="753"/>
                </a:lnTo>
                <a:lnTo>
                  <a:pt x="1418" y="751"/>
                </a:lnTo>
                <a:lnTo>
                  <a:pt x="1417" y="748"/>
                </a:lnTo>
                <a:lnTo>
                  <a:pt x="1416" y="745"/>
                </a:lnTo>
                <a:lnTo>
                  <a:pt x="1415" y="742"/>
                </a:lnTo>
                <a:lnTo>
                  <a:pt x="1415" y="739"/>
                </a:lnTo>
                <a:lnTo>
                  <a:pt x="1416" y="735"/>
                </a:lnTo>
                <a:lnTo>
                  <a:pt x="1418" y="732"/>
                </a:lnTo>
                <a:lnTo>
                  <a:pt x="1420" y="729"/>
                </a:lnTo>
                <a:lnTo>
                  <a:pt x="1423" y="727"/>
                </a:lnTo>
                <a:close/>
                <a:moveTo>
                  <a:pt x="2519" y="64"/>
                </a:moveTo>
                <a:lnTo>
                  <a:pt x="2522" y="62"/>
                </a:lnTo>
                <a:lnTo>
                  <a:pt x="2525" y="62"/>
                </a:lnTo>
                <a:lnTo>
                  <a:pt x="2528" y="62"/>
                </a:lnTo>
                <a:lnTo>
                  <a:pt x="2531" y="62"/>
                </a:lnTo>
                <a:lnTo>
                  <a:pt x="2534" y="63"/>
                </a:lnTo>
                <a:lnTo>
                  <a:pt x="2537" y="65"/>
                </a:lnTo>
                <a:lnTo>
                  <a:pt x="2539" y="67"/>
                </a:lnTo>
                <a:lnTo>
                  <a:pt x="2541" y="70"/>
                </a:lnTo>
                <a:lnTo>
                  <a:pt x="2542" y="73"/>
                </a:lnTo>
                <a:lnTo>
                  <a:pt x="2543" y="76"/>
                </a:lnTo>
                <a:lnTo>
                  <a:pt x="2543" y="79"/>
                </a:lnTo>
                <a:lnTo>
                  <a:pt x="2542" y="82"/>
                </a:lnTo>
                <a:lnTo>
                  <a:pt x="2541" y="85"/>
                </a:lnTo>
                <a:lnTo>
                  <a:pt x="2539" y="87"/>
                </a:lnTo>
                <a:lnTo>
                  <a:pt x="2537" y="90"/>
                </a:lnTo>
                <a:lnTo>
                  <a:pt x="2535" y="91"/>
                </a:lnTo>
                <a:lnTo>
                  <a:pt x="2532" y="93"/>
                </a:lnTo>
                <a:lnTo>
                  <a:pt x="2529" y="93"/>
                </a:lnTo>
                <a:lnTo>
                  <a:pt x="2526" y="93"/>
                </a:lnTo>
                <a:lnTo>
                  <a:pt x="2522" y="93"/>
                </a:lnTo>
                <a:lnTo>
                  <a:pt x="2519" y="92"/>
                </a:lnTo>
                <a:lnTo>
                  <a:pt x="2517" y="90"/>
                </a:lnTo>
                <a:lnTo>
                  <a:pt x="2514" y="88"/>
                </a:lnTo>
                <a:lnTo>
                  <a:pt x="2513" y="85"/>
                </a:lnTo>
                <a:lnTo>
                  <a:pt x="2512" y="83"/>
                </a:lnTo>
                <a:lnTo>
                  <a:pt x="2511" y="79"/>
                </a:lnTo>
                <a:lnTo>
                  <a:pt x="2511" y="76"/>
                </a:lnTo>
                <a:lnTo>
                  <a:pt x="2511" y="73"/>
                </a:lnTo>
                <a:lnTo>
                  <a:pt x="2513" y="70"/>
                </a:lnTo>
                <a:lnTo>
                  <a:pt x="2514" y="68"/>
                </a:lnTo>
                <a:lnTo>
                  <a:pt x="2516" y="65"/>
                </a:lnTo>
                <a:lnTo>
                  <a:pt x="2519" y="64"/>
                </a:lnTo>
                <a:close/>
                <a:moveTo>
                  <a:pt x="1437" y="583"/>
                </a:moveTo>
                <a:lnTo>
                  <a:pt x="1441" y="581"/>
                </a:lnTo>
                <a:lnTo>
                  <a:pt x="1446" y="581"/>
                </a:lnTo>
                <a:lnTo>
                  <a:pt x="1449" y="582"/>
                </a:lnTo>
                <a:lnTo>
                  <a:pt x="1452" y="583"/>
                </a:lnTo>
                <a:lnTo>
                  <a:pt x="1455" y="584"/>
                </a:lnTo>
                <a:lnTo>
                  <a:pt x="1457" y="586"/>
                </a:lnTo>
                <a:lnTo>
                  <a:pt x="1459" y="589"/>
                </a:lnTo>
                <a:lnTo>
                  <a:pt x="1460" y="592"/>
                </a:lnTo>
                <a:lnTo>
                  <a:pt x="1461" y="596"/>
                </a:lnTo>
                <a:lnTo>
                  <a:pt x="1461" y="599"/>
                </a:lnTo>
                <a:lnTo>
                  <a:pt x="1461" y="601"/>
                </a:lnTo>
                <a:lnTo>
                  <a:pt x="1460" y="603"/>
                </a:lnTo>
                <a:lnTo>
                  <a:pt x="1458" y="607"/>
                </a:lnTo>
                <a:lnTo>
                  <a:pt x="1456" y="610"/>
                </a:lnTo>
                <a:lnTo>
                  <a:pt x="1453" y="612"/>
                </a:lnTo>
                <a:lnTo>
                  <a:pt x="1449" y="614"/>
                </a:lnTo>
                <a:lnTo>
                  <a:pt x="1444" y="614"/>
                </a:lnTo>
                <a:lnTo>
                  <a:pt x="1441" y="613"/>
                </a:lnTo>
                <a:lnTo>
                  <a:pt x="1438" y="612"/>
                </a:lnTo>
                <a:lnTo>
                  <a:pt x="1435" y="611"/>
                </a:lnTo>
                <a:lnTo>
                  <a:pt x="1433" y="608"/>
                </a:lnTo>
                <a:lnTo>
                  <a:pt x="1431" y="606"/>
                </a:lnTo>
                <a:lnTo>
                  <a:pt x="1430" y="603"/>
                </a:lnTo>
                <a:lnTo>
                  <a:pt x="1429" y="600"/>
                </a:lnTo>
                <a:lnTo>
                  <a:pt x="1429" y="597"/>
                </a:lnTo>
                <a:lnTo>
                  <a:pt x="1429" y="595"/>
                </a:lnTo>
                <a:lnTo>
                  <a:pt x="1430" y="592"/>
                </a:lnTo>
                <a:lnTo>
                  <a:pt x="1431" y="588"/>
                </a:lnTo>
                <a:lnTo>
                  <a:pt x="1434" y="585"/>
                </a:lnTo>
                <a:lnTo>
                  <a:pt x="1437" y="583"/>
                </a:lnTo>
                <a:close/>
                <a:moveTo>
                  <a:pt x="2378" y="30"/>
                </a:moveTo>
                <a:lnTo>
                  <a:pt x="2380" y="28"/>
                </a:lnTo>
                <a:lnTo>
                  <a:pt x="2383" y="28"/>
                </a:lnTo>
                <a:lnTo>
                  <a:pt x="2389" y="28"/>
                </a:lnTo>
                <a:lnTo>
                  <a:pt x="2392" y="29"/>
                </a:lnTo>
                <a:lnTo>
                  <a:pt x="2395" y="30"/>
                </a:lnTo>
                <a:lnTo>
                  <a:pt x="2397" y="32"/>
                </a:lnTo>
                <a:lnTo>
                  <a:pt x="2399" y="35"/>
                </a:lnTo>
                <a:lnTo>
                  <a:pt x="2401" y="37"/>
                </a:lnTo>
                <a:lnTo>
                  <a:pt x="2402" y="40"/>
                </a:lnTo>
                <a:lnTo>
                  <a:pt x="2402" y="43"/>
                </a:lnTo>
                <a:lnTo>
                  <a:pt x="2402" y="47"/>
                </a:lnTo>
                <a:lnTo>
                  <a:pt x="2401" y="50"/>
                </a:lnTo>
                <a:lnTo>
                  <a:pt x="2399" y="53"/>
                </a:lnTo>
                <a:lnTo>
                  <a:pt x="2397" y="55"/>
                </a:lnTo>
                <a:lnTo>
                  <a:pt x="2394" y="57"/>
                </a:lnTo>
                <a:lnTo>
                  <a:pt x="2391" y="58"/>
                </a:lnTo>
                <a:lnTo>
                  <a:pt x="2389" y="59"/>
                </a:lnTo>
                <a:lnTo>
                  <a:pt x="2383" y="59"/>
                </a:lnTo>
                <a:lnTo>
                  <a:pt x="2380" y="58"/>
                </a:lnTo>
                <a:lnTo>
                  <a:pt x="2377" y="57"/>
                </a:lnTo>
                <a:lnTo>
                  <a:pt x="2375" y="55"/>
                </a:lnTo>
                <a:lnTo>
                  <a:pt x="2373" y="52"/>
                </a:lnTo>
                <a:lnTo>
                  <a:pt x="2371" y="50"/>
                </a:lnTo>
                <a:lnTo>
                  <a:pt x="2370" y="47"/>
                </a:lnTo>
                <a:lnTo>
                  <a:pt x="2370" y="44"/>
                </a:lnTo>
                <a:lnTo>
                  <a:pt x="2370" y="40"/>
                </a:lnTo>
                <a:lnTo>
                  <a:pt x="2371" y="37"/>
                </a:lnTo>
                <a:lnTo>
                  <a:pt x="2373" y="34"/>
                </a:lnTo>
                <a:lnTo>
                  <a:pt x="2375" y="32"/>
                </a:lnTo>
                <a:lnTo>
                  <a:pt x="2378" y="30"/>
                </a:lnTo>
                <a:close/>
                <a:moveTo>
                  <a:pt x="2236" y="8"/>
                </a:moveTo>
                <a:lnTo>
                  <a:pt x="2238" y="7"/>
                </a:lnTo>
                <a:lnTo>
                  <a:pt x="2240" y="6"/>
                </a:lnTo>
                <a:lnTo>
                  <a:pt x="2243" y="6"/>
                </a:lnTo>
                <a:lnTo>
                  <a:pt x="2245" y="6"/>
                </a:lnTo>
                <a:lnTo>
                  <a:pt x="2248" y="7"/>
                </a:lnTo>
                <a:lnTo>
                  <a:pt x="2251" y="8"/>
                </a:lnTo>
                <a:lnTo>
                  <a:pt x="2254" y="10"/>
                </a:lnTo>
                <a:lnTo>
                  <a:pt x="2256" y="12"/>
                </a:lnTo>
                <a:lnTo>
                  <a:pt x="2258" y="14"/>
                </a:lnTo>
                <a:lnTo>
                  <a:pt x="2259" y="17"/>
                </a:lnTo>
                <a:lnTo>
                  <a:pt x="2260" y="20"/>
                </a:lnTo>
                <a:lnTo>
                  <a:pt x="2260" y="23"/>
                </a:lnTo>
                <a:lnTo>
                  <a:pt x="2259" y="27"/>
                </a:lnTo>
                <a:lnTo>
                  <a:pt x="2257" y="31"/>
                </a:lnTo>
                <a:lnTo>
                  <a:pt x="2255" y="34"/>
                </a:lnTo>
                <a:lnTo>
                  <a:pt x="2252" y="36"/>
                </a:lnTo>
                <a:lnTo>
                  <a:pt x="2250" y="37"/>
                </a:lnTo>
                <a:lnTo>
                  <a:pt x="2247" y="38"/>
                </a:lnTo>
                <a:lnTo>
                  <a:pt x="2245" y="38"/>
                </a:lnTo>
                <a:lnTo>
                  <a:pt x="2242" y="38"/>
                </a:lnTo>
                <a:lnTo>
                  <a:pt x="2239" y="37"/>
                </a:lnTo>
                <a:lnTo>
                  <a:pt x="2236" y="36"/>
                </a:lnTo>
                <a:lnTo>
                  <a:pt x="2233" y="34"/>
                </a:lnTo>
                <a:lnTo>
                  <a:pt x="2231" y="32"/>
                </a:lnTo>
                <a:lnTo>
                  <a:pt x="2230" y="30"/>
                </a:lnTo>
                <a:lnTo>
                  <a:pt x="2228" y="27"/>
                </a:lnTo>
                <a:lnTo>
                  <a:pt x="2228" y="24"/>
                </a:lnTo>
                <a:lnTo>
                  <a:pt x="2228" y="20"/>
                </a:lnTo>
                <a:lnTo>
                  <a:pt x="2229" y="17"/>
                </a:lnTo>
                <a:lnTo>
                  <a:pt x="2230" y="13"/>
                </a:lnTo>
                <a:lnTo>
                  <a:pt x="2233" y="10"/>
                </a:lnTo>
                <a:lnTo>
                  <a:pt x="2236" y="8"/>
                </a:lnTo>
                <a:close/>
                <a:moveTo>
                  <a:pt x="1449" y="440"/>
                </a:moveTo>
                <a:lnTo>
                  <a:pt x="1451" y="439"/>
                </a:lnTo>
                <a:lnTo>
                  <a:pt x="1453" y="438"/>
                </a:lnTo>
                <a:lnTo>
                  <a:pt x="1456" y="437"/>
                </a:lnTo>
                <a:lnTo>
                  <a:pt x="1459" y="438"/>
                </a:lnTo>
                <a:lnTo>
                  <a:pt x="1462" y="438"/>
                </a:lnTo>
                <a:lnTo>
                  <a:pt x="1465" y="440"/>
                </a:lnTo>
                <a:lnTo>
                  <a:pt x="1467" y="441"/>
                </a:lnTo>
                <a:lnTo>
                  <a:pt x="1469" y="444"/>
                </a:lnTo>
                <a:lnTo>
                  <a:pt x="1471" y="446"/>
                </a:lnTo>
                <a:lnTo>
                  <a:pt x="1472" y="449"/>
                </a:lnTo>
                <a:lnTo>
                  <a:pt x="1473" y="452"/>
                </a:lnTo>
                <a:lnTo>
                  <a:pt x="1473" y="455"/>
                </a:lnTo>
                <a:lnTo>
                  <a:pt x="1472" y="459"/>
                </a:lnTo>
                <a:lnTo>
                  <a:pt x="1470" y="462"/>
                </a:lnTo>
                <a:lnTo>
                  <a:pt x="1468" y="465"/>
                </a:lnTo>
                <a:lnTo>
                  <a:pt x="1465" y="467"/>
                </a:lnTo>
                <a:lnTo>
                  <a:pt x="1462" y="468"/>
                </a:lnTo>
                <a:lnTo>
                  <a:pt x="1460" y="469"/>
                </a:lnTo>
                <a:lnTo>
                  <a:pt x="1457" y="469"/>
                </a:lnTo>
                <a:lnTo>
                  <a:pt x="1455" y="469"/>
                </a:lnTo>
                <a:lnTo>
                  <a:pt x="1452" y="469"/>
                </a:lnTo>
                <a:lnTo>
                  <a:pt x="1449" y="467"/>
                </a:lnTo>
                <a:lnTo>
                  <a:pt x="1446" y="466"/>
                </a:lnTo>
                <a:lnTo>
                  <a:pt x="1444" y="463"/>
                </a:lnTo>
                <a:lnTo>
                  <a:pt x="1442" y="461"/>
                </a:lnTo>
                <a:lnTo>
                  <a:pt x="1441" y="458"/>
                </a:lnTo>
                <a:lnTo>
                  <a:pt x="1441" y="455"/>
                </a:lnTo>
                <a:lnTo>
                  <a:pt x="1441" y="452"/>
                </a:lnTo>
                <a:lnTo>
                  <a:pt x="1442" y="448"/>
                </a:lnTo>
                <a:lnTo>
                  <a:pt x="1443" y="445"/>
                </a:lnTo>
                <a:lnTo>
                  <a:pt x="1446" y="442"/>
                </a:lnTo>
                <a:lnTo>
                  <a:pt x="1449" y="440"/>
                </a:lnTo>
                <a:close/>
                <a:moveTo>
                  <a:pt x="2092" y="2"/>
                </a:moveTo>
                <a:lnTo>
                  <a:pt x="2094" y="1"/>
                </a:lnTo>
                <a:lnTo>
                  <a:pt x="2096" y="1"/>
                </a:lnTo>
                <a:lnTo>
                  <a:pt x="2100" y="0"/>
                </a:lnTo>
                <a:lnTo>
                  <a:pt x="2103" y="0"/>
                </a:lnTo>
                <a:lnTo>
                  <a:pt x="2106" y="1"/>
                </a:lnTo>
                <a:lnTo>
                  <a:pt x="2107" y="2"/>
                </a:lnTo>
                <a:lnTo>
                  <a:pt x="2109" y="3"/>
                </a:lnTo>
                <a:lnTo>
                  <a:pt x="2111" y="4"/>
                </a:lnTo>
                <a:lnTo>
                  <a:pt x="2113" y="7"/>
                </a:lnTo>
                <a:lnTo>
                  <a:pt x="2115" y="9"/>
                </a:lnTo>
                <a:lnTo>
                  <a:pt x="2116" y="12"/>
                </a:lnTo>
                <a:lnTo>
                  <a:pt x="2116" y="16"/>
                </a:lnTo>
                <a:lnTo>
                  <a:pt x="2116" y="20"/>
                </a:lnTo>
                <a:lnTo>
                  <a:pt x="2115" y="22"/>
                </a:lnTo>
                <a:lnTo>
                  <a:pt x="2114" y="24"/>
                </a:lnTo>
                <a:lnTo>
                  <a:pt x="2111" y="27"/>
                </a:lnTo>
                <a:lnTo>
                  <a:pt x="2108" y="30"/>
                </a:lnTo>
                <a:lnTo>
                  <a:pt x="2106" y="31"/>
                </a:lnTo>
                <a:lnTo>
                  <a:pt x="2104" y="31"/>
                </a:lnTo>
                <a:lnTo>
                  <a:pt x="2100" y="32"/>
                </a:lnTo>
                <a:lnTo>
                  <a:pt x="2097" y="32"/>
                </a:lnTo>
                <a:lnTo>
                  <a:pt x="2094" y="31"/>
                </a:lnTo>
                <a:lnTo>
                  <a:pt x="2093" y="30"/>
                </a:lnTo>
                <a:lnTo>
                  <a:pt x="2091" y="29"/>
                </a:lnTo>
                <a:lnTo>
                  <a:pt x="2089" y="28"/>
                </a:lnTo>
                <a:lnTo>
                  <a:pt x="2087" y="25"/>
                </a:lnTo>
                <a:lnTo>
                  <a:pt x="2085" y="23"/>
                </a:lnTo>
                <a:lnTo>
                  <a:pt x="2084" y="20"/>
                </a:lnTo>
                <a:lnTo>
                  <a:pt x="2084" y="16"/>
                </a:lnTo>
                <a:lnTo>
                  <a:pt x="2085" y="12"/>
                </a:lnTo>
                <a:lnTo>
                  <a:pt x="2085" y="10"/>
                </a:lnTo>
                <a:lnTo>
                  <a:pt x="2086" y="8"/>
                </a:lnTo>
                <a:lnTo>
                  <a:pt x="2089" y="5"/>
                </a:lnTo>
                <a:lnTo>
                  <a:pt x="2092" y="2"/>
                </a:lnTo>
                <a:close/>
                <a:moveTo>
                  <a:pt x="1480" y="300"/>
                </a:moveTo>
                <a:lnTo>
                  <a:pt x="1483" y="298"/>
                </a:lnTo>
                <a:lnTo>
                  <a:pt x="1487" y="298"/>
                </a:lnTo>
                <a:lnTo>
                  <a:pt x="1490" y="298"/>
                </a:lnTo>
                <a:lnTo>
                  <a:pt x="1494" y="299"/>
                </a:lnTo>
                <a:lnTo>
                  <a:pt x="1497" y="300"/>
                </a:lnTo>
                <a:lnTo>
                  <a:pt x="1499" y="302"/>
                </a:lnTo>
                <a:lnTo>
                  <a:pt x="1501" y="304"/>
                </a:lnTo>
                <a:lnTo>
                  <a:pt x="1503" y="307"/>
                </a:lnTo>
                <a:lnTo>
                  <a:pt x="1504" y="310"/>
                </a:lnTo>
                <a:lnTo>
                  <a:pt x="1504" y="313"/>
                </a:lnTo>
                <a:lnTo>
                  <a:pt x="1504" y="316"/>
                </a:lnTo>
                <a:lnTo>
                  <a:pt x="1503" y="319"/>
                </a:lnTo>
                <a:lnTo>
                  <a:pt x="1500" y="324"/>
                </a:lnTo>
                <a:lnTo>
                  <a:pt x="1496" y="327"/>
                </a:lnTo>
                <a:lnTo>
                  <a:pt x="1493" y="329"/>
                </a:lnTo>
                <a:lnTo>
                  <a:pt x="1490" y="330"/>
                </a:lnTo>
                <a:lnTo>
                  <a:pt x="1486" y="329"/>
                </a:lnTo>
                <a:lnTo>
                  <a:pt x="1483" y="329"/>
                </a:lnTo>
                <a:lnTo>
                  <a:pt x="1480" y="327"/>
                </a:lnTo>
                <a:lnTo>
                  <a:pt x="1477" y="325"/>
                </a:lnTo>
                <a:lnTo>
                  <a:pt x="1475" y="323"/>
                </a:lnTo>
                <a:lnTo>
                  <a:pt x="1474" y="320"/>
                </a:lnTo>
                <a:lnTo>
                  <a:pt x="1473" y="317"/>
                </a:lnTo>
                <a:lnTo>
                  <a:pt x="1472" y="314"/>
                </a:lnTo>
                <a:lnTo>
                  <a:pt x="1472" y="311"/>
                </a:lnTo>
                <a:lnTo>
                  <a:pt x="1473" y="308"/>
                </a:lnTo>
                <a:lnTo>
                  <a:pt x="1476" y="303"/>
                </a:lnTo>
                <a:lnTo>
                  <a:pt x="1480" y="300"/>
                </a:lnTo>
                <a:close/>
                <a:moveTo>
                  <a:pt x="1949" y="15"/>
                </a:moveTo>
                <a:lnTo>
                  <a:pt x="1951" y="14"/>
                </a:lnTo>
                <a:lnTo>
                  <a:pt x="1954" y="13"/>
                </a:lnTo>
                <a:lnTo>
                  <a:pt x="1958" y="13"/>
                </a:lnTo>
                <a:lnTo>
                  <a:pt x="1961" y="13"/>
                </a:lnTo>
                <a:lnTo>
                  <a:pt x="1964" y="14"/>
                </a:lnTo>
                <a:lnTo>
                  <a:pt x="1966" y="16"/>
                </a:lnTo>
                <a:lnTo>
                  <a:pt x="1969" y="18"/>
                </a:lnTo>
                <a:lnTo>
                  <a:pt x="1970" y="20"/>
                </a:lnTo>
                <a:lnTo>
                  <a:pt x="1972" y="23"/>
                </a:lnTo>
                <a:lnTo>
                  <a:pt x="1972" y="25"/>
                </a:lnTo>
                <a:lnTo>
                  <a:pt x="1973" y="26"/>
                </a:lnTo>
                <a:lnTo>
                  <a:pt x="1973" y="31"/>
                </a:lnTo>
                <a:lnTo>
                  <a:pt x="1972" y="33"/>
                </a:lnTo>
                <a:lnTo>
                  <a:pt x="1971" y="36"/>
                </a:lnTo>
                <a:lnTo>
                  <a:pt x="1970" y="38"/>
                </a:lnTo>
                <a:lnTo>
                  <a:pt x="1969" y="40"/>
                </a:lnTo>
                <a:lnTo>
                  <a:pt x="1967" y="41"/>
                </a:lnTo>
                <a:lnTo>
                  <a:pt x="1965" y="42"/>
                </a:lnTo>
                <a:lnTo>
                  <a:pt x="1962" y="44"/>
                </a:lnTo>
                <a:lnTo>
                  <a:pt x="1959" y="44"/>
                </a:lnTo>
                <a:lnTo>
                  <a:pt x="1956" y="45"/>
                </a:lnTo>
                <a:lnTo>
                  <a:pt x="1953" y="44"/>
                </a:lnTo>
                <a:lnTo>
                  <a:pt x="1950" y="43"/>
                </a:lnTo>
                <a:lnTo>
                  <a:pt x="1947" y="42"/>
                </a:lnTo>
                <a:lnTo>
                  <a:pt x="1945" y="40"/>
                </a:lnTo>
                <a:lnTo>
                  <a:pt x="1943" y="37"/>
                </a:lnTo>
                <a:lnTo>
                  <a:pt x="1942" y="34"/>
                </a:lnTo>
                <a:lnTo>
                  <a:pt x="1941" y="33"/>
                </a:lnTo>
                <a:lnTo>
                  <a:pt x="1941" y="31"/>
                </a:lnTo>
                <a:lnTo>
                  <a:pt x="1941" y="26"/>
                </a:lnTo>
                <a:lnTo>
                  <a:pt x="1942" y="24"/>
                </a:lnTo>
                <a:lnTo>
                  <a:pt x="1942" y="22"/>
                </a:lnTo>
                <a:lnTo>
                  <a:pt x="1944" y="20"/>
                </a:lnTo>
                <a:lnTo>
                  <a:pt x="1945" y="18"/>
                </a:lnTo>
                <a:lnTo>
                  <a:pt x="1947" y="16"/>
                </a:lnTo>
                <a:lnTo>
                  <a:pt x="1949" y="15"/>
                </a:lnTo>
                <a:close/>
                <a:moveTo>
                  <a:pt x="1809" y="47"/>
                </a:moveTo>
                <a:lnTo>
                  <a:pt x="1812" y="46"/>
                </a:lnTo>
                <a:lnTo>
                  <a:pt x="1815" y="45"/>
                </a:lnTo>
                <a:lnTo>
                  <a:pt x="1819" y="45"/>
                </a:lnTo>
                <a:lnTo>
                  <a:pt x="1822" y="46"/>
                </a:lnTo>
                <a:lnTo>
                  <a:pt x="1824" y="47"/>
                </a:lnTo>
                <a:lnTo>
                  <a:pt x="1827" y="49"/>
                </a:lnTo>
                <a:lnTo>
                  <a:pt x="1829" y="51"/>
                </a:lnTo>
                <a:lnTo>
                  <a:pt x="1831" y="53"/>
                </a:lnTo>
                <a:lnTo>
                  <a:pt x="1832" y="56"/>
                </a:lnTo>
                <a:lnTo>
                  <a:pt x="1833" y="62"/>
                </a:lnTo>
                <a:lnTo>
                  <a:pt x="1833" y="65"/>
                </a:lnTo>
                <a:lnTo>
                  <a:pt x="1832" y="67"/>
                </a:lnTo>
                <a:lnTo>
                  <a:pt x="1831" y="69"/>
                </a:lnTo>
                <a:lnTo>
                  <a:pt x="1829" y="72"/>
                </a:lnTo>
                <a:lnTo>
                  <a:pt x="1825" y="75"/>
                </a:lnTo>
                <a:lnTo>
                  <a:pt x="1822" y="76"/>
                </a:lnTo>
                <a:lnTo>
                  <a:pt x="1819" y="77"/>
                </a:lnTo>
                <a:lnTo>
                  <a:pt x="1815" y="77"/>
                </a:lnTo>
                <a:lnTo>
                  <a:pt x="1812" y="77"/>
                </a:lnTo>
                <a:lnTo>
                  <a:pt x="1810" y="75"/>
                </a:lnTo>
                <a:lnTo>
                  <a:pt x="1807" y="74"/>
                </a:lnTo>
                <a:lnTo>
                  <a:pt x="1805" y="72"/>
                </a:lnTo>
                <a:lnTo>
                  <a:pt x="1803" y="69"/>
                </a:lnTo>
                <a:lnTo>
                  <a:pt x="1802" y="66"/>
                </a:lnTo>
                <a:lnTo>
                  <a:pt x="1801" y="60"/>
                </a:lnTo>
                <a:lnTo>
                  <a:pt x="1801" y="58"/>
                </a:lnTo>
                <a:lnTo>
                  <a:pt x="1802" y="55"/>
                </a:lnTo>
                <a:lnTo>
                  <a:pt x="1803" y="53"/>
                </a:lnTo>
                <a:lnTo>
                  <a:pt x="1805" y="51"/>
                </a:lnTo>
                <a:lnTo>
                  <a:pt x="1809" y="47"/>
                </a:lnTo>
                <a:close/>
                <a:moveTo>
                  <a:pt x="1557" y="180"/>
                </a:moveTo>
                <a:lnTo>
                  <a:pt x="1560" y="179"/>
                </a:lnTo>
                <a:lnTo>
                  <a:pt x="1562" y="179"/>
                </a:lnTo>
                <a:lnTo>
                  <a:pt x="1565" y="178"/>
                </a:lnTo>
                <a:lnTo>
                  <a:pt x="1567" y="178"/>
                </a:lnTo>
                <a:lnTo>
                  <a:pt x="1570" y="179"/>
                </a:lnTo>
                <a:lnTo>
                  <a:pt x="1572" y="180"/>
                </a:lnTo>
                <a:lnTo>
                  <a:pt x="1575" y="181"/>
                </a:lnTo>
                <a:lnTo>
                  <a:pt x="1577" y="183"/>
                </a:lnTo>
                <a:lnTo>
                  <a:pt x="1579" y="186"/>
                </a:lnTo>
                <a:lnTo>
                  <a:pt x="1580" y="188"/>
                </a:lnTo>
                <a:lnTo>
                  <a:pt x="1581" y="191"/>
                </a:lnTo>
                <a:lnTo>
                  <a:pt x="1581" y="194"/>
                </a:lnTo>
                <a:lnTo>
                  <a:pt x="1581" y="197"/>
                </a:lnTo>
                <a:lnTo>
                  <a:pt x="1580" y="200"/>
                </a:lnTo>
                <a:lnTo>
                  <a:pt x="1579" y="203"/>
                </a:lnTo>
                <a:lnTo>
                  <a:pt x="1577" y="206"/>
                </a:lnTo>
                <a:lnTo>
                  <a:pt x="1573" y="208"/>
                </a:lnTo>
                <a:lnTo>
                  <a:pt x="1571" y="209"/>
                </a:lnTo>
                <a:lnTo>
                  <a:pt x="1568" y="210"/>
                </a:lnTo>
                <a:lnTo>
                  <a:pt x="1566" y="210"/>
                </a:lnTo>
                <a:lnTo>
                  <a:pt x="1563" y="210"/>
                </a:lnTo>
                <a:lnTo>
                  <a:pt x="1561" y="210"/>
                </a:lnTo>
                <a:lnTo>
                  <a:pt x="1558" y="209"/>
                </a:lnTo>
                <a:lnTo>
                  <a:pt x="1556" y="207"/>
                </a:lnTo>
                <a:lnTo>
                  <a:pt x="1554" y="206"/>
                </a:lnTo>
                <a:lnTo>
                  <a:pt x="1552" y="203"/>
                </a:lnTo>
                <a:lnTo>
                  <a:pt x="1550" y="200"/>
                </a:lnTo>
                <a:lnTo>
                  <a:pt x="1550" y="197"/>
                </a:lnTo>
                <a:lnTo>
                  <a:pt x="1549" y="194"/>
                </a:lnTo>
                <a:lnTo>
                  <a:pt x="1550" y="191"/>
                </a:lnTo>
                <a:lnTo>
                  <a:pt x="1551" y="188"/>
                </a:lnTo>
                <a:lnTo>
                  <a:pt x="1552" y="185"/>
                </a:lnTo>
                <a:lnTo>
                  <a:pt x="1554" y="183"/>
                </a:lnTo>
                <a:lnTo>
                  <a:pt x="1557" y="180"/>
                </a:lnTo>
                <a:close/>
                <a:moveTo>
                  <a:pt x="1675" y="100"/>
                </a:moveTo>
                <a:lnTo>
                  <a:pt x="1678" y="98"/>
                </a:lnTo>
                <a:lnTo>
                  <a:pt x="1682" y="98"/>
                </a:lnTo>
                <a:lnTo>
                  <a:pt x="1685" y="98"/>
                </a:lnTo>
                <a:lnTo>
                  <a:pt x="1688" y="98"/>
                </a:lnTo>
                <a:lnTo>
                  <a:pt x="1691" y="100"/>
                </a:lnTo>
                <a:lnTo>
                  <a:pt x="1694" y="101"/>
                </a:lnTo>
                <a:lnTo>
                  <a:pt x="1696" y="104"/>
                </a:lnTo>
                <a:lnTo>
                  <a:pt x="1697" y="106"/>
                </a:lnTo>
                <a:lnTo>
                  <a:pt x="1699" y="109"/>
                </a:lnTo>
                <a:lnTo>
                  <a:pt x="1699" y="112"/>
                </a:lnTo>
                <a:lnTo>
                  <a:pt x="1699" y="115"/>
                </a:lnTo>
                <a:lnTo>
                  <a:pt x="1698" y="118"/>
                </a:lnTo>
                <a:lnTo>
                  <a:pt x="1697" y="121"/>
                </a:lnTo>
                <a:lnTo>
                  <a:pt x="1696" y="123"/>
                </a:lnTo>
                <a:lnTo>
                  <a:pt x="1694" y="126"/>
                </a:lnTo>
                <a:lnTo>
                  <a:pt x="1691" y="127"/>
                </a:lnTo>
                <a:lnTo>
                  <a:pt x="1688" y="129"/>
                </a:lnTo>
                <a:lnTo>
                  <a:pt x="1684" y="129"/>
                </a:lnTo>
                <a:lnTo>
                  <a:pt x="1681" y="129"/>
                </a:lnTo>
                <a:lnTo>
                  <a:pt x="1678" y="129"/>
                </a:lnTo>
                <a:lnTo>
                  <a:pt x="1675" y="127"/>
                </a:lnTo>
                <a:lnTo>
                  <a:pt x="1673" y="125"/>
                </a:lnTo>
                <a:lnTo>
                  <a:pt x="1670" y="123"/>
                </a:lnTo>
                <a:lnTo>
                  <a:pt x="1669" y="120"/>
                </a:lnTo>
                <a:lnTo>
                  <a:pt x="1668" y="118"/>
                </a:lnTo>
                <a:lnTo>
                  <a:pt x="1667" y="115"/>
                </a:lnTo>
                <a:lnTo>
                  <a:pt x="1667" y="112"/>
                </a:lnTo>
                <a:lnTo>
                  <a:pt x="1668" y="109"/>
                </a:lnTo>
                <a:lnTo>
                  <a:pt x="1669" y="106"/>
                </a:lnTo>
                <a:lnTo>
                  <a:pt x="1670" y="104"/>
                </a:lnTo>
                <a:lnTo>
                  <a:pt x="1673" y="101"/>
                </a:lnTo>
                <a:lnTo>
                  <a:pt x="1675" y="100"/>
                </a:lnTo>
                <a:close/>
                <a:moveTo>
                  <a:pt x="4769" y="1270"/>
                </a:moveTo>
                <a:lnTo>
                  <a:pt x="4772" y="1269"/>
                </a:lnTo>
                <a:lnTo>
                  <a:pt x="4775" y="1268"/>
                </a:lnTo>
                <a:lnTo>
                  <a:pt x="4780" y="1268"/>
                </a:lnTo>
                <a:lnTo>
                  <a:pt x="4783" y="1269"/>
                </a:lnTo>
                <a:lnTo>
                  <a:pt x="4786" y="1271"/>
                </a:lnTo>
                <a:lnTo>
                  <a:pt x="4789" y="1273"/>
                </a:lnTo>
                <a:lnTo>
                  <a:pt x="4790" y="1275"/>
                </a:lnTo>
                <a:lnTo>
                  <a:pt x="4792" y="1278"/>
                </a:lnTo>
                <a:lnTo>
                  <a:pt x="4793" y="1281"/>
                </a:lnTo>
                <a:lnTo>
                  <a:pt x="4793" y="1284"/>
                </a:lnTo>
                <a:lnTo>
                  <a:pt x="4793" y="1287"/>
                </a:lnTo>
                <a:lnTo>
                  <a:pt x="4792" y="1290"/>
                </a:lnTo>
                <a:lnTo>
                  <a:pt x="4790" y="1293"/>
                </a:lnTo>
                <a:lnTo>
                  <a:pt x="4788" y="1296"/>
                </a:lnTo>
                <a:lnTo>
                  <a:pt x="4785" y="1298"/>
                </a:lnTo>
                <a:lnTo>
                  <a:pt x="4783" y="1299"/>
                </a:lnTo>
                <a:lnTo>
                  <a:pt x="4780" y="1300"/>
                </a:lnTo>
                <a:lnTo>
                  <a:pt x="4777" y="1300"/>
                </a:lnTo>
                <a:lnTo>
                  <a:pt x="4774" y="1299"/>
                </a:lnTo>
                <a:lnTo>
                  <a:pt x="4771" y="1298"/>
                </a:lnTo>
                <a:lnTo>
                  <a:pt x="4768" y="1297"/>
                </a:lnTo>
                <a:lnTo>
                  <a:pt x="4766" y="1295"/>
                </a:lnTo>
                <a:lnTo>
                  <a:pt x="4764" y="1293"/>
                </a:lnTo>
                <a:lnTo>
                  <a:pt x="4762" y="1290"/>
                </a:lnTo>
                <a:lnTo>
                  <a:pt x="4762" y="1287"/>
                </a:lnTo>
                <a:lnTo>
                  <a:pt x="4761" y="1284"/>
                </a:lnTo>
                <a:lnTo>
                  <a:pt x="4762" y="1281"/>
                </a:lnTo>
                <a:lnTo>
                  <a:pt x="4763" y="1277"/>
                </a:lnTo>
                <a:lnTo>
                  <a:pt x="4764" y="1275"/>
                </a:lnTo>
                <a:lnTo>
                  <a:pt x="4767" y="1272"/>
                </a:lnTo>
                <a:lnTo>
                  <a:pt x="4769" y="1270"/>
                </a:lnTo>
                <a:close/>
                <a:moveTo>
                  <a:pt x="4629" y="1238"/>
                </a:moveTo>
                <a:lnTo>
                  <a:pt x="4631" y="1237"/>
                </a:lnTo>
                <a:lnTo>
                  <a:pt x="4634" y="1237"/>
                </a:lnTo>
                <a:lnTo>
                  <a:pt x="4637" y="1236"/>
                </a:lnTo>
                <a:lnTo>
                  <a:pt x="4640" y="1237"/>
                </a:lnTo>
                <a:lnTo>
                  <a:pt x="4643" y="1238"/>
                </a:lnTo>
                <a:lnTo>
                  <a:pt x="4646" y="1239"/>
                </a:lnTo>
                <a:lnTo>
                  <a:pt x="4648" y="1242"/>
                </a:lnTo>
                <a:lnTo>
                  <a:pt x="4650" y="1244"/>
                </a:lnTo>
                <a:lnTo>
                  <a:pt x="4651" y="1247"/>
                </a:lnTo>
                <a:lnTo>
                  <a:pt x="4652" y="1250"/>
                </a:lnTo>
                <a:lnTo>
                  <a:pt x="4652" y="1253"/>
                </a:lnTo>
                <a:lnTo>
                  <a:pt x="4652" y="1256"/>
                </a:lnTo>
                <a:lnTo>
                  <a:pt x="4651" y="1259"/>
                </a:lnTo>
                <a:lnTo>
                  <a:pt x="4649" y="1262"/>
                </a:lnTo>
                <a:lnTo>
                  <a:pt x="4647" y="1264"/>
                </a:lnTo>
                <a:lnTo>
                  <a:pt x="4644" y="1266"/>
                </a:lnTo>
                <a:lnTo>
                  <a:pt x="4642" y="1267"/>
                </a:lnTo>
                <a:lnTo>
                  <a:pt x="4639" y="1268"/>
                </a:lnTo>
                <a:lnTo>
                  <a:pt x="4636" y="1268"/>
                </a:lnTo>
                <a:lnTo>
                  <a:pt x="4633" y="1268"/>
                </a:lnTo>
                <a:lnTo>
                  <a:pt x="4630" y="1267"/>
                </a:lnTo>
                <a:lnTo>
                  <a:pt x="4627" y="1265"/>
                </a:lnTo>
                <a:lnTo>
                  <a:pt x="4625" y="1263"/>
                </a:lnTo>
                <a:lnTo>
                  <a:pt x="4623" y="1260"/>
                </a:lnTo>
                <a:lnTo>
                  <a:pt x="4622" y="1258"/>
                </a:lnTo>
                <a:lnTo>
                  <a:pt x="4621" y="1255"/>
                </a:lnTo>
                <a:lnTo>
                  <a:pt x="4621" y="1252"/>
                </a:lnTo>
                <a:lnTo>
                  <a:pt x="4621" y="1248"/>
                </a:lnTo>
                <a:lnTo>
                  <a:pt x="4622" y="1245"/>
                </a:lnTo>
                <a:lnTo>
                  <a:pt x="4624" y="1243"/>
                </a:lnTo>
                <a:lnTo>
                  <a:pt x="4626" y="1240"/>
                </a:lnTo>
                <a:lnTo>
                  <a:pt x="4629" y="1238"/>
                </a:lnTo>
                <a:close/>
                <a:moveTo>
                  <a:pt x="4489" y="1202"/>
                </a:moveTo>
                <a:lnTo>
                  <a:pt x="4492" y="1201"/>
                </a:lnTo>
                <a:lnTo>
                  <a:pt x="4495" y="1200"/>
                </a:lnTo>
                <a:lnTo>
                  <a:pt x="4498" y="1200"/>
                </a:lnTo>
                <a:lnTo>
                  <a:pt x="4501" y="1201"/>
                </a:lnTo>
                <a:lnTo>
                  <a:pt x="4504" y="1202"/>
                </a:lnTo>
                <a:lnTo>
                  <a:pt x="4507" y="1203"/>
                </a:lnTo>
                <a:lnTo>
                  <a:pt x="4509" y="1206"/>
                </a:lnTo>
                <a:lnTo>
                  <a:pt x="4511" y="1208"/>
                </a:lnTo>
                <a:lnTo>
                  <a:pt x="4512" y="1211"/>
                </a:lnTo>
                <a:lnTo>
                  <a:pt x="4513" y="1214"/>
                </a:lnTo>
                <a:lnTo>
                  <a:pt x="4513" y="1217"/>
                </a:lnTo>
                <a:lnTo>
                  <a:pt x="4512" y="1220"/>
                </a:lnTo>
                <a:lnTo>
                  <a:pt x="4511" y="1223"/>
                </a:lnTo>
                <a:lnTo>
                  <a:pt x="4509" y="1226"/>
                </a:lnTo>
                <a:lnTo>
                  <a:pt x="4507" y="1228"/>
                </a:lnTo>
                <a:lnTo>
                  <a:pt x="4505" y="1230"/>
                </a:lnTo>
                <a:lnTo>
                  <a:pt x="4502" y="1231"/>
                </a:lnTo>
                <a:lnTo>
                  <a:pt x="4499" y="1232"/>
                </a:lnTo>
                <a:lnTo>
                  <a:pt x="4496" y="1232"/>
                </a:lnTo>
                <a:lnTo>
                  <a:pt x="4493" y="1231"/>
                </a:lnTo>
                <a:lnTo>
                  <a:pt x="4490" y="1230"/>
                </a:lnTo>
                <a:lnTo>
                  <a:pt x="4487" y="1228"/>
                </a:lnTo>
                <a:lnTo>
                  <a:pt x="4485" y="1226"/>
                </a:lnTo>
                <a:lnTo>
                  <a:pt x="4483" y="1224"/>
                </a:lnTo>
                <a:lnTo>
                  <a:pt x="4482" y="1221"/>
                </a:lnTo>
                <a:lnTo>
                  <a:pt x="4481" y="1218"/>
                </a:lnTo>
                <a:lnTo>
                  <a:pt x="4481" y="1215"/>
                </a:lnTo>
                <a:lnTo>
                  <a:pt x="4482" y="1212"/>
                </a:lnTo>
                <a:lnTo>
                  <a:pt x="4483" y="1209"/>
                </a:lnTo>
                <a:lnTo>
                  <a:pt x="4485" y="1206"/>
                </a:lnTo>
                <a:lnTo>
                  <a:pt x="4487" y="1204"/>
                </a:lnTo>
                <a:lnTo>
                  <a:pt x="4489" y="1202"/>
                </a:lnTo>
                <a:close/>
                <a:moveTo>
                  <a:pt x="4351" y="1161"/>
                </a:moveTo>
                <a:lnTo>
                  <a:pt x="4354" y="1159"/>
                </a:lnTo>
                <a:lnTo>
                  <a:pt x="4357" y="1158"/>
                </a:lnTo>
                <a:lnTo>
                  <a:pt x="4361" y="1158"/>
                </a:lnTo>
                <a:lnTo>
                  <a:pt x="4364" y="1159"/>
                </a:lnTo>
                <a:lnTo>
                  <a:pt x="4367" y="1160"/>
                </a:lnTo>
                <a:lnTo>
                  <a:pt x="4369" y="1162"/>
                </a:lnTo>
                <a:lnTo>
                  <a:pt x="4372" y="1164"/>
                </a:lnTo>
                <a:lnTo>
                  <a:pt x="4373" y="1167"/>
                </a:lnTo>
                <a:lnTo>
                  <a:pt x="4374" y="1170"/>
                </a:lnTo>
                <a:lnTo>
                  <a:pt x="4375" y="1173"/>
                </a:lnTo>
                <a:lnTo>
                  <a:pt x="4375" y="1176"/>
                </a:lnTo>
                <a:lnTo>
                  <a:pt x="4374" y="1179"/>
                </a:lnTo>
                <a:lnTo>
                  <a:pt x="4373" y="1182"/>
                </a:lnTo>
                <a:lnTo>
                  <a:pt x="4371" y="1184"/>
                </a:lnTo>
                <a:lnTo>
                  <a:pt x="4369" y="1186"/>
                </a:lnTo>
                <a:lnTo>
                  <a:pt x="4367" y="1188"/>
                </a:lnTo>
                <a:lnTo>
                  <a:pt x="4364" y="1189"/>
                </a:lnTo>
                <a:lnTo>
                  <a:pt x="4361" y="1190"/>
                </a:lnTo>
                <a:lnTo>
                  <a:pt x="4357" y="1190"/>
                </a:lnTo>
                <a:lnTo>
                  <a:pt x="4354" y="1189"/>
                </a:lnTo>
                <a:lnTo>
                  <a:pt x="4351" y="1188"/>
                </a:lnTo>
                <a:lnTo>
                  <a:pt x="4349" y="1186"/>
                </a:lnTo>
                <a:lnTo>
                  <a:pt x="4347" y="1184"/>
                </a:lnTo>
                <a:lnTo>
                  <a:pt x="4345" y="1181"/>
                </a:lnTo>
                <a:lnTo>
                  <a:pt x="4344" y="1179"/>
                </a:lnTo>
                <a:lnTo>
                  <a:pt x="4343" y="1176"/>
                </a:lnTo>
                <a:lnTo>
                  <a:pt x="4343" y="1172"/>
                </a:lnTo>
                <a:lnTo>
                  <a:pt x="4344" y="1169"/>
                </a:lnTo>
                <a:lnTo>
                  <a:pt x="4345" y="1167"/>
                </a:lnTo>
                <a:lnTo>
                  <a:pt x="4347" y="1164"/>
                </a:lnTo>
                <a:lnTo>
                  <a:pt x="4349" y="1162"/>
                </a:lnTo>
                <a:lnTo>
                  <a:pt x="4351" y="1161"/>
                </a:lnTo>
                <a:close/>
                <a:moveTo>
                  <a:pt x="4215" y="1112"/>
                </a:moveTo>
                <a:lnTo>
                  <a:pt x="4218" y="1111"/>
                </a:lnTo>
                <a:lnTo>
                  <a:pt x="4222" y="1110"/>
                </a:lnTo>
                <a:lnTo>
                  <a:pt x="4225" y="1111"/>
                </a:lnTo>
                <a:lnTo>
                  <a:pt x="4229" y="1111"/>
                </a:lnTo>
                <a:lnTo>
                  <a:pt x="4232" y="1113"/>
                </a:lnTo>
                <a:lnTo>
                  <a:pt x="4234" y="1115"/>
                </a:lnTo>
                <a:lnTo>
                  <a:pt x="4236" y="1117"/>
                </a:lnTo>
                <a:lnTo>
                  <a:pt x="4238" y="1120"/>
                </a:lnTo>
                <a:lnTo>
                  <a:pt x="4239" y="1123"/>
                </a:lnTo>
                <a:lnTo>
                  <a:pt x="4239" y="1126"/>
                </a:lnTo>
                <a:lnTo>
                  <a:pt x="4239" y="1129"/>
                </a:lnTo>
                <a:lnTo>
                  <a:pt x="4238" y="1132"/>
                </a:lnTo>
                <a:lnTo>
                  <a:pt x="4235" y="1137"/>
                </a:lnTo>
                <a:lnTo>
                  <a:pt x="4233" y="1138"/>
                </a:lnTo>
                <a:lnTo>
                  <a:pt x="4231" y="1140"/>
                </a:lnTo>
                <a:lnTo>
                  <a:pt x="4228" y="1141"/>
                </a:lnTo>
                <a:lnTo>
                  <a:pt x="4224" y="1142"/>
                </a:lnTo>
                <a:lnTo>
                  <a:pt x="4221" y="1142"/>
                </a:lnTo>
                <a:lnTo>
                  <a:pt x="4217" y="1141"/>
                </a:lnTo>
                <a:lnTo>
                  <a:pt x="4215" y="1140"/>
                </a:lnTo>
                <a:lnTo>
                  <a:pt x="4212" y="1138"/>
                </a:lnTo>
                <a:lnTo>
                  <a:pt x="4210" y="1135"/>
                </a:lnTo>
                <a:lnTo>
                  <a:pt x="4209" y="1133"/>
                </a:lnTo>
                <a:lnTo>
                  <a:pt x="4208" y="1130"/>
                </a:lnTo>
                <a:lnTo>
                  <a:pt x="4207" y="1127"/>
                </a:lnTo>
                <a:lnTo>
                  <a:pt x="4207" y="1124"/>
                </a:lnTo>
                <a:lnTo>
                  <a:pt x="4208" y="1121"/>
                </a:lnTo>
                <a:lnTo>
                  <a:pt x="4211" y="1116"/>
                </a:lnTo>
                <a:lnTo>
                  <a:pt x="4213" y="1114"/>
                </a:lnTo>
                <a:lnTo>
                  <a:pt x="4215" y="1112"/>
                </a:lnTo>
                <a:close/>
                <a:moveTo>
                  <a:pt x="4082" y="1057"/>
                </a:moveTo>
                <a:lnTo>
                  <a:pt x="4086" y="1055"/>
                </a:lnTo>
                <a:lnTo>
                  <a:pt x="4089" y="1054"/>
                </a:lnTo>
                <a:lnTo>
                  <a:pt x="4093" y="1055"/>
                </a:lnTo>
                <a:lnTo>
                  <a:pt x="4097" y="1056"/>
                </a:lnTo>
                <a:lnTo>
                  <a:pt x="4100" y="1058"/>
                </a:lnTo>
                <a:lnTo>
                  <a:pt x="4102" y="1060"/>
                </a:lnTo>
                <a:lnTo>
                  <a:pt x="4104" y="1062"/>
                </a:lnTo>
                <a:lnTo>
                  <a:pt x="4105" y="1065"/>
                </a:lnTo>
                <a:lnTo>
                  <a:pt x="4106" y="1068"/>
                </a:lnTo>
                <a:lnTo>
                  <a:pt x="4106" y="1071"/>
                </a:lnTo>
                <a:lnTo>
                  <a:pt x="4106" y="1074"/>
                </a:lnTo>
                <a:lnTo>
                  <a:pt x="4105" y="1077"/>
                </a:lnTo>
                <a:lnTo>
                  <a:pt x="4102" y="1081"/>
                </a:lnTo>
                <a:lnTo>
                  <a:pt x="4100" y="1083"/>
                </a:lnTo>
                <a:lnTo>
                  <a:pt x="4098" y="1084"/>
                </a:lnTo>
                <a:lnTo>
                  <a:pt x="4095" y="1085"/>
                </a:lnTo>
                <a:lnTo>
                  <a:pt x="4091" y="1086"/>
                </a:lnTo>
                <a:lnTo>
                  <a:pt x="4087" y="1086"/>
                </a:lnTo>
                <a:lnTo>
                  <a:pt x="4084" y="1085"/>
                </a:lnTo>
                <a:lnTo>
                  <a:pt x="4081" y="1083"/>
                </a:lnTo>
                <a:lnTo>
                  <a:pt x="4079" y="1081"/>
                </a:lnTo>
                <a:lnTo>
                  <a:pt x="4077" y="1078"/>
                </a:lnTo>
                <a:lnTo>
                  <a:pt x="4075" y="1076"/>
                </a:lnTo>
                <a:lnTo>
                  <a:pt x="4075" y="1073"/>
                </a:lnTo>
                <a:lnTo>
                  <a:pt x="4074" y="1070"/>
                </a:lnTo>
                <a:lnTo>
                  <a:pt x="4075" y="1067"/>
                </a:lnTo>
                <a:lnTo>
                  <a:pt x="4076" y="1064"/>
                </a:lnTo>
                <a:lnTo>
                  <a:pt x="4079" y="1059"/>
                </a:lnTo>
                <a:lnTo>
                  <a:pt x="4080" y="1058"/>
                </a:lnTo>
                <a:lnTo>
                  <a:pt x="4082" y="1057"/>
                </a:lnTo>
                <a:close/>
                <a:moveTo>
                  <a:pt x="3954" y="990"/>
                </a:moveTo>
                <a:lnTo>
                  <a:pt x="3957" y="988"/>
                </a:lnTo>
                <a:lnTo>
                  <a:pt x="3961" y="988"/>
                </a:lnTo>
                <a:lnTo>
                  <a:pt x="3965" y="988"/>
                </a:lnTo>
                <a:lnTo>
                  <a:pt x="3969" y="990"/>
                </a:lnTo>
                <a:lnTo>
                  <a:pt x="3972" y="992"/>
                </a:lnTo>
                <a:lnTo>
                  <a:pt x="3974" y="994"/>
                </a:lnTo>
                <a:lnTo>
                  <a:pt x="3976" y="997"/>
                </a:lnTo>
                <a:lnTo>
                  <a:pt x="3977" y="1000"/>
                </a:lnTo>
                <a:lnTo>
                  <a:pt x="3977" y="1003"/>
                </a:lnTo>
                <a:lnTo>
                  <a:pt x="3977" y="1006"/>
                </a:lnTo>
                <a:lnTo>
                  <a:pt x="3977" y="1009"/>
                </a:lnTo>
                <a:lnTo>
                  <a:pt x="3975" y="1012"/>
                </a:lnTo>
                <a:lnTo>
                  <a:pt x="3974" y="1013"/>
                </a:lnTo>
                <a:lnTo>
                  <a:pt x="3973" y="1015"/>
                </a:lnTo>
                <a:lnTo>
                  <a:pt x="3969" y="1017"/>
                </a:lnTo>
                <a:lnTo>
                  <a:pt x="3966" y="1019"/>
                </a:lnTo>
                <a:lnTo>
                  <a:pt x="3962" y="1020"/>
                </a:lnTo>
                <a:lnTo>
                  <a:pt x="3958" y="1019"/>
                </a:lnTo>
                <a:lnTo>
                  <a:pt x="3954" y="1017"/>
                </a:lnTo>
                <a:lnTo>
                  <a:pt x="3951" y="1016"/>
                </a:lnTo>
                <a:lnTo>
                  <a:pt x="3949" y="1013"/>
                </a:lnTo>
                <a:lnTo>
                  <a:pt x="3947" y="1011"/>
                </a:lnTo>
                <a:lnTo>
                  <a:pt x="3946" y="1008"/>
                </a:lnTo>
                <a:lnTo>
                  <a:pt x="3946" y="1005"/>
                </a:lnTo>
                <a:lnTo>
                  <a:pt x="3946" y="1002"/>
                </a:lnTo>
                <a:lnTo>
                  <a:pt x="3946" y="999"/>
                </a:lnTo>
                <a:lnTo>
                  <a:pt x="3948" y="996"/>
                </a:lnTo>
                <a:lnTo>
                  <a:pt x="3949" y="994"/>
                </a:lnTo>
                <a:lnTo>
                  <a:pt x="3950" y="992"/>
                </a:lnTo>
                <a:lnTo>
                  <a:pt x="3954" y="990"/>
                </a:lnTo>
                <a:close/>
                <a:moveTo>
                  <a:pt x="3828" y="919"/>
                </a:moveTo>
                <a:lnTo>
                  <a:pt x="3832" y="917"/>
                </a:lnTo>
                <a:lnTo>
                  <a:pt x="3836" y="917"/>
                </a:lnTo>
                <a:lnTo>
                  <a:pt x="3840" y="917"/>
                </a:lnTo>
                <a:lnTo>
                  <a:pt x="3844" y="919"/>
                </a:lnTo>
                <a:lnTo>
                  <a:pt x="3847" y="921"/>
                </a:lnTo>
                <a:lnTo>
                  <a:pt x="3849" y="923"/>
                </a:lnTo>
                <a:lnTo>
                  <a:pt x="3850" y="926"/>
                </a:lnTo>
                <a:lnTo>
                  <a:pt x="3851" y="928"/>
                </a:lnTo>
                <a:lnTo>
                  <a:pt x="3852" y="931"/>
                </a:lnTo>
                <a:lnTo>
                  <a:pt x="3852" y="934"/>
                </a:lnTo>
                <a:lnTo>
                  <a:pt x="3851" y="938"/>
                </a:lnTo>
                <a:lnTo>
                  <a:pt x="3850" y="940"/>
                </a:lnTo>
                <a:lnTo>
                  <a:pt x="3847" y="944"/>
                </a:lnTo>
                <a:lnTo>
                  <a:pt x="3844" y="946"/>
                </a:lnTo>
                <a:lnTo>
                  <a:pt x="3840" y="948"/>
                </a:lnTo>
                <a:lnTo>
                  <a:pt x="3836" y="949"/>
                </a:lnTo>
                <a:lnTo>
                  <a:pt x="3832" y="948"/>
                </a:lnTo>
                <a:lnTo>
                  <a:pt x="3828" y="947"/>
                </a:lnTo>
                <a:lnTo>
                  <a:pt x="3826" y="945"/>
                </a:lnTo>
                <a:lnTo>
                  <a:pt x="3824" y="942"/>
                </a:lnTo>
                <a:lnTo>
                  <a:pt x="3822" y="940"/>
                </a:lnTo>
                <a:lnTo>
                  <a:pt x="3821" y="937"/>
                </a:lnTo>
                <a:lnTo>
                  <a:pt x="3820" y="934"/>
                </a:lnTo>
                <a:lnTo>
                  <a:pt x="3820" y="931"/>
                </a:lnTo>
                <a:lnTo>
                  <a:pt x="3821" y="928"/>
                </a:lnTo>
                <a:lnTo>
                  <a:pt x="3822" y="925"/>
                </a:lnTo>
                <a:lnTo>
                  <a:pt x="3825" y="922"/>
                </a:lnTo>
                <a:lnTo>
                  <a:pt x="3828" y="919"/>
                </a:lnTo>
                <a:close/>
                <a:moveTo>
                  <a:pt x="3702" y="849"/>
                </a:moveTo>
                <a:lnTo>
                  <a:pt x="3706" y="847"/>
                </a:lnTo>
                <a:lnTo>
                  <a:pt x="3710" y="847"/>
                </a:lnTo>
                <a:lnTo>
                  <a:pt x="3712" y="847"/>
                </a:lnTo>
                <a:lnTo>
                  <a:pt x="3714" y="847"/>
                </a:lnTo>
                <a:lnTo>
                  <a:pt x="3718" y="849"/>
                </a:lnTo>
                <a:lnTo>
                  <a:pt x="3721" y="851"/>
                </a:lnTo>
                <a:lnTo>
                  <a:pt x="3723" y="853"/>
                </a:lnTo>
                <a:lnTo>
                  <a:pt x="3725" y="855"/>
                </a:lnTo>
                <a:lnTo>
                  <a:pt x="3726" y="858"/>
                </a:lnTo>
                <a:lnTo>
                  <a:pt x="3726" y="861"/>
                </a:lnTo>
                <a:lnTo>
                  <a:pt x="3726" y="864"/>
                </a:lnTo>
                <a:lnTo>
                  <a:pt x="3726" y="867"/>
                </a:lnTo>
                <a:lnTo>
                  <a:pt x="3724" y="870"/>
                </a:lnTo>
                <a:lnTo>
                  <a:pt x="3722" y="874"/>
                </a:lnTo>
                <a:lnTo>
                  <a:pt x="3718" y="876"/>
                </a:lnTo>
                <a:lnTo>
                  <a:pt x="3715" y="878"/>
                </a:lnTo>
                <a:lnTo>
                  <a:pt x="3711" y="878"/>
                </a:lnTo>
                <a:lnTo>
                  <a:pt x="3709" y="878"/>
                </a:lnTo>
                <a:lnTo>
                  <a:pt x="3707" y="878"/>
                </a:lnTo>
                <a:lnTo>
                  <a:pt x="3703" y="877"/>
                </a:lnTo>
                <a:lnTo>
                  <a:pt x="3700" y="875"/>
                </a:lnTo>
                <a:lnTo>
                  <a:pt x="3698" y="872"/>
                </a:lnTo>
                <a:lnTo>
                  <a:pt x="3696" y="870"/>
                </a:lnTo>
                <a:lnTo>
                  <a:pt x="3695" y="867"/>
                </a:lnTo>
                <a:lnTo>
                  <a:pt x="3695" y="864"/>
                </a:lnTo>
                <a:lnTo>
                  <a:pt x="3695" y="861"/>
                </a:lnTo>
                <a:lnTo>
                  <a:pt x="3695" y="858"/>
                </a:lnTo>
                <a:lnTo>
                  <a:pt x="3697" y="855"/>
                </a:lnTo>
                <a:lnTo>
                  <a:pt x="3699" y="851"/>
                </a:lnTo>
                <a:lnTo>
                  <a:pt x="3702" y="849"/>
                </a:lnTo>
                <a:close/>
                <a:moveTo>
                  <a:pt x="3576" y="780"/>
                </a:moveTo>
                <a:lnTo>
                  <a:pt x="3578" y="779"/>
                </a:lnTo>
                <a:lnTo>
                  <a:pt x="3580" y="779"/>
                </a:lnTo>
                <a:lnTo>
                  <a:pt x="3584" y="778"/>
                </a:lnTo>
                <a:lnTo>
                  <a:pt x="3586" y="778"/>
                </a:lnTo>
                <a:lnTo>
                  <a:pt x="3588" y="778"/>
                </a:lnTo>
                <a:lnTo>
                  <a:pt x="3591" y="780"/>
                </a:lnTo>
                <a:lnTo>
                  <a:pt x="3594" y="782"/>
                </a:lnTo>
                <a:lnTo>
                  <a:pt x="3596" y="784"/>
                </a:lnTo>
                <a:lnTo>
                  <a:pt x="3598" y="786"/>
                </a:lnTo>
                <a:lnTo>
                  <a:pt x="3599" y="789"/>
                </a:lnTo>
                <a:lnTo>
                  <a:pt x="3600" y="792"/>
                </a:lnTo>
                <a:lnTo>
                  <a:pt x="3600" y="795"/>
                </a:lnTo>
                <a:lnTo>
                  <a:pt x="3599" y="798"/>
                </a:lnTo>
                <a:lnTo>
                  <a:pt x="3598" y="801"/>
                </a:lnTo>
                <a:lnTo>
                  <a:pt x="3597" y="803"/>
                </a:lnTo>
                <a:lnTo>
                  <a:pt x="3595" y="805"/>
                </a:lnTo>
                <a:lnTo>
                  <a:pt x="3592" y="808"/>
                </a:lnTo>
                <a:lnTo>
                  <a:pt x="3590" y="808"/>
                </a:lnTo>
                <a:lnTo>
                  <a:pt x="3588" y="809"/>
                </a:lnTo>
                <a:lnTo>
                  <a:pt x="3584" y="810"/>
                </a:lnTo>
                <a:lnTo>
                  <a:pt x="3582" y="810"/>
                </a:lnTo>
                <a:lnTo>
                  <a:pt x="3580" y="809"/>
                </a:lnTo>
                <a:lnTo>
                  <a:pt x="3576" y="808"/>
                </a:lnTo>
                <a:lnTo>
                  <a:pt x="3574" y="806"/>
                </a:lnTo>
                <a:lnTo>
                  <a:pt x="3572" y="804"/>
                </a:lnTo>
                <a:lnTo>
                  <a:pt x="3570" y="801"/>
                </a:lnTo>
                <a:lnTo>
                  <a:pt x="3569" y="798"/>
                </a:lnTo>
                <a:lnTo>
                  <a:pt x="3568" y="796"/>
                </a:lnTo>
                <a:lnTo>
                  <a:pt x="3568" y="792"/>
                </a:lnTo>
                <a:lnTo>
                  <a:pt x="3569" y="789"/>
                </a:lnTo>
                <a:lnTo>
                  <a:pt x="3570" y="786"/>
                </a:lnTo>
                <a:lnTo>
                  <a:pt x="3571" y="785"/>
                </a:lnTo>
                <a:lnTo>
                  <a:pt x="3573" y="783"/>
                </a:lnTo>
                <a:lnTo>
                  <a:pt x="3576" y="780"/>
                </a:lnTo>
                <a:close/>
                <a:moveTo>
                  <a:pt x="3448" y="713"/>
                </a:moveTo>
                <a:lnTo>
                  <a:pt x="3452" y="712"/>
                </a:lnTo>
                <a:lnTo>
                  <a:pt x="3456" y="711"/>
                </a:lnTo>
                <a:lnTo>
                  <a:pt x="3460" y="712"/>
                </a:lnTo>
                <a:lnTo>
                  <a:pt x="3464" y="713"/>
                </a:lnTo>
                <a:lnTo>
                  <a:pt x="3466" y="715"/>
                </a:lnTo>
                <a:lnTo>
                  <a:pt x="3469" y="717"/>
                </a:lnTo>
                <a:lnTo>
                  <a:pt x="3470" y="719"/>
                </a:lnTo>
                <a:lnTo>
                  <a:pt x="3472" y="722"/>
                </a:lnTo>
                <a:lnTo>
                  <a:pt x="3472" y="728"/>
                </a:lnTo>
                <a:lnTo>
                  <a:pt x="3472" y="731"/>
                </a:lnTo>
                <a:lnTo>
                  <a:pt x="3471" y="734"/>
                </a:lnTo>
                <a:lnTo>
                  <a:pt x="3469" y="736"/>
                </a:lnTo>
                <a:lnTo>
                  <a:pt x="3468" y="738"/>
                </a:lnTo>
                <a:lnTo>
                  <a:pt x="3464" y="741"/>
                </a:lnTo>
                <a:lnTo>
                  <a:pt x="3461" y="742"/>
                </a:lnTo>
                <a:lnTo>
                  <a:pt x="3457" y="743"/>
                </a:lnTo>
                <a:lnTo>
                  <a:pt x="3453" y="742"/>
                </a:lnTo>
                <a:lnTo>
                  <a:pt x="3449" y="741"/>
                </a:lnTo>
                <a:lnTo>
                  <a:pt x="3446" y="739"/>
                </a:lnTo>
                <a:lnTo>
                  <a:pt x="3444" y="737"/>
                </a:lnTo>
                <a:lnTo>
                  <a:pt x="3443" y="735"/>
                </a:lnTo>
                <a:lnTo>
                  <a:pt x="3441" y="732"/>
                </a:lnTo>
                <a:lnTo>
                  <a:pt x="3441" y="726"/>
                </a:lnTo>
                <a:lnTo>
                  <a:pt x="3441" y="723"/>
                </a:lnTo>
                <a:lnTo>
                  <a:pt x="3442" y="720"/>
                </a:lnTo>
                <a:lnTo>
                  <a:pt x="3444" y="718"/>
                </a:lnTo>
                <a:lnTo>
                  <a:pt x="3445" y="716"/>
                </a:lnTo>
                <a:lnTo>
                  <a:pt x="3448" y="713"/>
                </a:lnTo>
                <a:close/>
                <a:moveTo>
                  <a:pt x="418" y="2383"/>
                </a:moveTo>
                <a:lnTo>
                  <a:pt x="421" y="2382"/>
                </a:lnTo>
                <a:lnTo>
                  <a:pt x="424" y="2382"/>
                </a:lnTo>
                <a:lnTo>
                  <a:pt x="426" y="2382"/>
                </a:lnTo>
                <a:lnTo>
                  <a:pt x="429" y="2383"/>
                </a:lnTo>
                <a:lnTo>
                  <a:pt x="418" y="2383"/>
                </a:lnTo>
                <a:close/>
                <a:moveTo>
                  <a:pt x="3320" y="649"/>
                </a:moveTo>
                <a:lnTo>
                  <a:pt x="3321" y="648"/>
                </a:lnTo>
                <a:lnTo>
                  <a:pt x="3323" y="647"/>
                </a:lnTo>
                <a:lnTo>
                  <a:pt x="3327" y="647"/>
                </a:lnTo>
                <a:lnTo>
                  <a:pt x="3331" y="647"/>
                </a:lnTo>
                <a:lnTo>
                  <a:pt x="3335" y="648"/>
                </a:lnTo>
                <a:lnTo>
                  <a:pt x="3337" y="650"/>
                </a:lnTo>
                <a:lnTo>
                  <a:pt x="3340" y="652"/>
                </a:lnTo>
                <a:lnTo>
                  <a:pt x="3341" y="655"/>
                </a:lnTo>
                <a:lnTo>
                  <a:pt x="3343" y="657"/>
                </a:lnTo>
                <a:lnTo>
                  <a:pt x="3343" y="660"/>
                </a:lnTo>
                <a:lnTo>
                  <a:pt x="3343" y="663"/>
                </a:lnTo>
                <a:lnTo>
                  <a:pt x="3343" y="666"/>
                </a:lnTo>
                <a:lnTo>
                  <a:pt x="3342" y="669"/>
                </a:lnTo>
                <a:lnTo>
                  <a:pt x="3339" y="673"/>
                </a:lnTo>
                <a:lnTo>
                  <a:pt x="3338" y="675"/>
                </a:lnTo>
                <a:lnTo>
                  <a:pt x="3336" y="676"/>
                </a:lnTo>
                <a:lnTo>
                  <a:pt x="3334" y="677"/>
                </a:lnTo>
                <a:lnTo>
                  <a:pt x="3332" y="678"/>
                </a:lnTo>
                <a:lnTo>
                  <a:pt x="3328" y="678"/>
                </a:lnTo>
                <a:lnTo>
                  <a:pt x="3325" y="678"/>
                </a:lnTo>
                <a:lnTo>
                  <a:pt x="3321" y="677"/>
                </a:lnTo>
                <a:lnTo>
                  <a:pt x="3318" y="675"/>
                </a:lnTo>
                <a:lnTo>
                  <a:pt x="3316" y="673"/>
                </a:lnTo>
                <a:lnTo>
                  <a:pt x="3314" y="670"/>
                </a:lnTo>
                <a:lnTo>
                  <a:pt x="3313" y="668"/>
                </a:lnTo>
                <a:lnTo>
                  <a:pt x="3312" y="665"/>
                </a:lnTo>
                <a:lnTo>
                  <a:pt x="3312" y="662"/>
                </a:lnTo>
                <a:lnTo>
                  <a:pt x="3312" y="659"/>
                </a:lnTo>
                <a:lnTo>
                  <a:pt x="3313" y="656"/>
                </a:lnTo>
                <a:lnTo>
                  <a:pt x="3316" y="652"/>
                </a:lnTo>
                <a:lnTo>
                  <a:pt x="3318" y="650"/>
                </a:lnTo>
                <a:lnTo>
                  <a:pt x="3320" y="649"/>
                </a:lnTo>
                <a:close/>
                <a:moveTo>
                  <a:pt x="505" y="2272"/>
                </a:moveTo>
                <a:lnTo>
                  <a:pt x="507" y="2271"/>
                </a:lnTo>
                <a:lnTo>
                  <a:pt x="510" y="2270"/>
                </a:lnTo>
                <a:lnTo>
                  <a:pt x="512" y="2270"/>
                </a:lnTo>
                <a:lnTo>
                  <a:pt x="514" y="2270"/>
                </a:lnTo>
                <a:lnTo>
                  <a:pt x="517" y="2270"/>
                </a:lnTo>
                <a:lnTo>
                  <a:pt x="519" y="2271"/>
                </a:lnTo>
                <a:lnTo>
                  <a:pt x="521" y="2272"/>
                </a:lnTo>
                <a:lnTo>
                  <a:pt x="523" y="2273"/>
                </a:lnTo>
                <a:lnTo>
                  <a:pt x="526" y="2276"/>
                </a:lnTo>
                <a:lnTo>
                  <a:pt x="526" y="2277"/>
                </a:lnTo>
                <a:lnTo>
                  <a:pt x="527" y="2279"/>
                </a:lnTo>
                <a:lnTo>
                  <a:pt x="528" y="2281"/>
                </a:lnTo>
                <a:lnTo>
                  <a:pt x="529" y="2284"/>
                </a:lnTo>
                <a:lnTo>
                  <a:pt x="529" y="2287"/>
                </a:lnTo>
                <a:lnTo>
                  <a:pt x="528" y="2290"/>
                </a:lnTo>
                <a:lnTo>
                  <a:pt x="527" y="2293"/>
                </a:lnTo>
                <a:lnTo>
                  <a:pt x="525" y="2296"/>
                </a:lnTo>
                <a:lnTo>
                  <a:pt x="523" y="2298"/>
                </a:lnTo>
                <a:lnTo>
                  <a:pt x="521" y="2299"/>
                </a:lnTo>
                <a:lnTo>
                  <a:pt x="519" y="2300"/>
                </a:lnTo>
                <a:lnTo>
                  <a:pt x="516" y="2301"/>
                </a:lnTo>
                <a:lnTo>
                  <a:pt x="514" y="2301"/>
                </a:lnTo>
                <a:lnTo>
                  <a:pt x="511" y="2301"/>
                </a:lnTo>
                <a:lnTo>
                  <a:pt x="509" y="2301"/>
                </a:lnTo>
                <a:lnTo>
                  <a:pt x="507" y="2300"/>
                </a:lnTo>
                <a:lnTo>
                  <a:pt x="505" y="2299"/>
                </a:lnTo>
                <a:lnTo>
                  <a:pt x="502" y="2297"/>
                </a:lnTo>
                <a:lnTo>
                  <a:pt x="500" y="2295"/>
                </a:lnTo>
                <a:lnTo>
                  <a:pt x="499" y="2294"/>
                </a:lnTo>
                <a:lnTo>
                  <a:pt x="499" y="2292"/>
                </a:lnTo>
                <a:lnTo>
                  <a:pt x="498" y="2289"/>
                </a:lnTo>
                <a:lnTo>
                  <a:pt x="497" y="2286"/>
                </a:lnTo>
                <a:lnTo>
                  <a:pt x="497" y="2283"/>
                </a:lnTo>
                <a:lnTo>
                  <a:pt x="498" y="2280"/>
                </a:lnTo>
                <a:lnTo>
                  <a:pt x="499" y="2278"/>
                </a:lnTo>
                <a:lnTo>
                  <a:pt x="501" y="2275"/>
                </a:lnTo>
                <a:lnTo>
                  <a:pt x="503" y="2273"/>
                </a:lnTo>
                <a:lnTo>
                  <a:pt x="505" y="2272"/>
                </a:lnTo>
                <a:close/>
                <a:moveTo>
                  <a:pt x="605" y="2169"/>
                </a:moveTo>
                <a:lnTo>
                  <a:pt x="608" y="2167"/>
                </a:lnTo>
                <a:lnTo>
                  <a:pt x="610" y="2167"/>
                </a:lnTo>
                <a:lnTo>
                  <a:pt x="615" y="2167"/>
                </a:lnTo>
                <a:lnTo>
                  <a:pt x="618" y="2167"/>
                </a:lnTo>
                <a:lnTo>
                  <a:pt x="620" y="2168"/>
                </a:lnTo>
                <a:lnTo>
                  <a:pt x="623" y="2170"/>
                </a:lnTo>
                <a:lnTo>
                  <a:pt x="625" y="2171"/>
                </a:lnTo>
                <a:lnTo>
                  <a:pt x="627" y="2174"/>
                </a:lnTo>
                <a:lnTo>
                  <a:pt x="628" y="2177"/>
                </a:lnTo>
                <a:lnTo>
                  <a:pt x="629" y="2180"/>
                </a:lnTo>
                <a:lnTo>
                  <a:pt x="629" y="2183"/>
                </a:lnTo>
                <a:lnTo>
                  <a:pt x="628" y="2186"/>
                </a:lnTo>
                <a:lnTo>
                  <a:pt x="628" y="2189"/>
                </a:lnTo>
                <a:lnTo>
                  <a:pt x="626" y="2191"/>
                </a:lnTo>
                <a:lnTo>
                  <a:pt x="624" y="2194"/>
                </a:lnTo>
                <a:lnTo>
                  <a:pt x="621" y="2196"/>
                </a:lnTo>
                <a:lnTo>
                  <a:pt x="619" y="2197"/>
                </a:lnTo>
                <a:lnTo>
                  <a:pt x="616" y="2198"/>
                </a:lnTo>
                <a:lnTo>
                  <a:pt x="611" y="2198"/>
                </a:lnTo>
                <a:lnTo>
                  <a:pt x="608" y="2197"/>
                </a:lnTo>
                <a:lnTo>
                  <a:pt x="606" y="2196"/>
                </a:lnTo>
                <a:lnTo>
                  <a:pt x="604" y="2195"/>
                </a:lnTo>
                <a:lnTo>
                  <a:pt x="601" y="2193"/>
                </a:lnTo>
                <a:lnTo>
                  <a:pt x="600" y="2191"/>
                </a:lnTo>
                <a:lnTo>
                  <a:pt x="598" y="2188"/>
                </a:lnTo>
                <a:lnTo>
                  <a:pt x="597" y="2185"/>
                </a:lnTo>
                <a:lnTo>
                  <a:pt x="597" y="2182"/>
                </a:lnTo>
                <a:lnTo>
                  <a:pt x="598" y="2179"/>
                </a:lnTo>
                <a:lnTo>
                  <a:pt x="599" y="2176"/>
                </a:lnTo>
                <a:lnTo>
                  <a:pt x="600" y="2173"/>
                </a:lnTo>
                <a:lnTo>
                  <a:pt x="602" y="2171"/>
                </a:lnTo>
                <a:lnTo>
                  <a:pt x="605" y="2169"/>
                </a:lnTo>
                <a:close/>
                <a:moveTo>
                  <a:pt x="714" y="2075"/>
                </a:moveTo>
                <a:lnTo>
                  <a:pt x="717" y="2074"/>
                </a:lnTo>
                <a:lnTo>
                  <a:pt x="720" y="2073"/>
                </a:lnTo>
                <a:lnTo>
                  <a:pt x="725" y="2073"/>
                </a:lnTo>
                <a:lnTo>
                  <a:pt x="728" y="2074"/>
                </a:lnTo>
                <a:lnTo>
                  <a:pt x="730" y="2075"/>
                </a:lnTo>
                <a:lnTo>
                  <a:pt x="733" y="2077"/>
                </a:lnTo>
                <a:lnTo>
                  <a:pt x="734" y="2078"/>
                </a:lnTo>
                <a:lnTo>
                  <a:pt x="735" y="2079"/>
                </a:lnTo>
                <a:lnTo>
                  <a:pt x="737" y="2082"/>
                </a:lnTo>
                <a:lnTo>
                  <a:pt x="738" y="2085"/>
                </a:lnTo>
                <a:lnTo>
                  <a:pt x="738" y="2088"/>
                </a:lnTo>
                <a:lnTo>
                  <a:pt x="738" y="2091"/>
                </a:lnTo>
                <a:lnTo>
                  <a:pt x="737" y="2094"/>
                </a:lnTo>
                <a:lnTo>
                  <a:pt x="736" y="2097"/>
                </a:lnTo>
                <a:lnTo>
                  <a:pt x="734" y="2099"/>
                </a:lnTo>
                <a:lnTo>
                  <a:pt x="732" y="2101"/>
                </a:lnTo>
                <a:lnTo>
                  <a:pt x="730" y="2103"/>
                </a:lnTo>
                <a:lnTo>
                  <a:pt x="728" y="2104"/>
                </a:lnTo>
                <a:lnTo>
                  <a:pt x="725" y="2105"/>
                </a:lnTo>
                <a:lnTo>
                  <a:pt x="719" y="2104"/>
                </a:lnTo>
                <a:lnTo>
                  <a:pt x="717" y="2104"/>
                </a:lnTo>
                <a:lnTo>
                  <a:pt x="714" y="2102"/>
                </a:lnTo>
                <a:lnTo>
                  <a:pt x="712" y="2101"/>
                </a:lnTo>
                <a:lnTo>
                  <a:pt x="711" y="2100"/>
                </a:lnTo>
                <a:lnTo>
                  <a:pt x="710" y="2099"/>
                </a:lnTo>
                <a:lnTo>
                  <a:pt x="708" y="2096"/>
                </a:lnTo>
                <a:lnTo>
                  <a:pt x="707" y="2093"/>
                </a:lnTo>
                <a:lnTo>
                  <a:pt x="707" y="2090"/>
                </a:lnTo>
                <a:lnTo>
                  <a:pt x="707" y="2087"/>
                </a:lnTo>
                <a:lnTo>
                  <a:pt x="707" y="2084"/>
                </a:lnTo>
                <a:lnTo>
                  <a:pt x="708" y="2081"/>
                </a:lnTo>
                <a:lnTo>
                  <a:pt x="710" y="2079"/>
                </a:lnTo>
                <a:lnTo>
                  <a:pt x="713" y="2076"/>
                </a:lnTo>
                <a:lnTo>
                  <a:pt x="714" y="2075"/>
                </a:lnTo>
                <a:close/>
                <a:moveTo>
                  <a:pt x="1082" y="1849"/>
                </a:moveTo>
                <a:lnTo>
                  <a:pt x="1086" y="1848"/>
                </a:lnTo>
                <a:lnTo>
                  <a:pt x="1089" y="1847"/>
                </a:lnTo>
                <a:lnTo>
                  <a:pt x="1092" y="1847"/>
                </a:lnTo>
                <a:lnTo>
                  <a:pt x="1095" y="1848"/>
                </a:lnTo>
                <a:lnTo>
                  <a:pt x="1098" y="1849"/>
                </a:lnTo>
                <a:lnTo>
                  <a:pt x="1100" y="1851"/>
                </a:lnTo>
                <a:lnTo>
                  <a:pt x="1102" y="1853"/>
                </a:lnTo>
                <a:lnTo>
                  <a:pt x="1104" y="1855"/>
                </a:lnTo>
                <a:lnTo>
                  <a:pt x="1106" y="1858"/>
                </a:lnTo>
                <a:lnTo>
                  <a:pt x="1106" y="1861"/>
                </a:lnTo>
                <a:lnTo>
                  <a:pt x="1106" y="1864"/>
                </a:lnTo>
                <a:lnTo>
                  <a:pt x="1106" y="1867"/>
                </a:lnTo>
                <a:lnTo>
                  <a:pt x="1105" y="1870"/>
                </a:lnTo>
                <a:lnTo>
                  <a:pt x="1103" y="1873"/>
                </a:lnTo>
                <a:lnTo>
                  <a:pt x="1101" y="1875"/>
                </a:lnTo>
                <a:lnTo>
                  <a:pt x="1098" y="1877"/>
                </a:lnTo>
                <a:lnTo>
                  <a:pt x="1095" y="1878"/>
                </a:lnTo>
                <a:lnTo>
                  <a:pt x="1092" y="1879"/>
                </a:lnTo>
                <a:lnTo>
                  <a:pt x="1089" y="1879"/>
                </a:lnTo>
                <a:lnTo>
                  <a:pt x="1086" y="1878"/>
                </a:lnTo>
                <a:lnTo>
                  <a:pt x="1083" y="1877"/>
                </a:lnTo>
                <a:lnTo>
                  <a:pt x="1080" y="1875"/>
                </a:lnTo>
                <a:lnTo>
                  <a:pt x="1078" y="1873"/>
                </a:lnTo>
                <a:lnTo>
                  <a:pt x="1076" y="1870"/>
                </a:lnTo>
                <a:lnTo>
                  <a:pt x="1075" y="1868"/>
                </a:lnTo>
                <a:lnTo>
                  <a:pt x="1075" y="1865"/>
                </a:lnTo>
                <a:lnTo>
                  <a:pt x="1075" y="1862"/>
                </a:lnTo>
                <a:lnTo>
                  <a:pt x="1075" y="1859"/>
                </a:lnTo>
                <a:lnTo>
                  <a:pt x="1076" y="1856"/>
                </a:lnTo>
                <a:lnTo>
                  <a:pt x="1078" y="1853"/>
                </a:lnTo>
                <a:lnTo>
                  <a:pt x="1080" y="1851"/>
                </a:lnTo>
                <a:lnTo>
                  <a:pt x="1082" y="1849"/>
                </a:lnTo>
                <a:close/>
                <a:moveTo>
                  <a:pt x="1207" y="1776"/>
                </a:moveTo>
                <a:lnTo>
                  <a:pt x="1209" y="1774"/>
                </a:lnTo>
                <a:lnTo>
                  <a:pt x="1212" y="1774"/>
                </a:lnTo>
                <a:lnTo>
                  <a:pt x="1215" y="1773"/>
                </a:lnTo>
                <a:lnTo>
                  <a:pt x="1218" y="1774"/>
                </a:lnTo>
                <a:lnTo>
                  <a:pt x="1221" y="1775"/>
                </a:lnTo>
                <a:lnTo>
                  <a:pt x="1224" y="1776"/>
                </a:lnTo>
                <a:lnTo>
                  <a:pt x="1226" y="1778"/>
                </a:lnTo>
                <a:lnTo>
                  <a:pt x="1228" y="1781"/>
                </a:lnTo>
                <a:lnTo>
                  <a:pt x="1229" y="1784"/>
                </a:lnTo>
                <a:lnTo>
                  <a:pt x="1230" y="1788"/>
                </a:lnTo>
                <a:lnTo>
                  <a:pt x="1230" y="1791"/>
                </a:lnTo>
                <a:lnTo>
                  <a:pt x="1230" y="1794"/>
                </a:lnTo>
                <a:lnTo>
                  <a:pt x="1229" y="1797"/>
                </a:lnTo>
                <a:lnTo>
                  <a:pt x="1228" y="1799"/>
                </a:lnTo>
                <a:lnTo>
                  <a:pt x="1226" y="1802"/>
                </a:lnTo>
                <a:lnTo>
                  <a:pt x="1223" y="1804"/>
                </a:lnTo>
                <a:lnTo>
                  <a:pt x="1220" y="1805"/>
                </a:lnTo>
                <a:lnTo>
                  <a:pt x="1217" y="1806"/>
                </a:lnTo>
                <a:lnTo>
                  <a:pt x="1214" y="1806"/>
                </a:lnTo>
                <a:lnTo>
                  <a:pt x="1211" y="1806"/>
                </a:lnTo>
                <a:lnTo>
                  <a:pt x="1208" y="1805"/>
                </a:lnTo>
                <a:lnTo>
                  <a:pt x="1205" y="1803"/>
                </a:lnTo>
                <a:lnTo>
                  <a:pt x="1203" y="1801"/>
                </a:lnTo>
                <a:lnTo>
                  <a:pt x="1201" y="1799"/>
                </a:lnTo>
                <a:lnTo>
                  <a:pt x="1200" y="1796"/>
                </a:lnTo>
                <a:lnTo>
                  <a:pt x="1199" y="1793"/>
                </a:lnTo>
                <a:lnTo>
                  <a:pt x="1199" y="1790"/>
                </a:lnTo>
                <a:lnTo>
                  <a:pt x="1199" y="1787"/>
                </a:lnTo>
                <a:lnTo>
                  <a:pt x="1200" y="1783"/>
                </a:lnTo>
                <a:lnTo>
                  <a:pt x="1201" y="1780"/>
                </a:lnTo>
                <a:lnTo>
                  <a:pt x="1203" y="1778"/>
                </a:lnTo>
                <a:lnTo>
                  <a:pt x="1206" y="1776"/>
                </a:lnTo>
                <a:lnTo>
                  <a:pt x="1207" y="1776"/>
                </a:lnTo>
                <a:close/>
                <a:moveTo>
                  <a:pt x="832" y="1991"/>
                </a:moveTo>
                <a:lnTo>
                  <a:pt x="835" y="1990"/>
                </a:lnTo>
                <a:lnTo>
                  <a:pt x="838" y="1989"/>
                </a:lnTo>
                <a:lnTo>
                  <a:pt x="841" y="1989"/>
                </a:lnTo>
                <a:lnTo>
                  <a:pt x="844" y="1990"/>
                </a:lnTo>
                <a:lnTo>
                  <a:pt x="847" y="1991"/>
                </a:lnTo>
                <a:lnTo>
                  <a:pt x="849" y="1992"/>
                </a:lnTo>
                <a:lnTo>
                  <a:pt x="851" y="1994"/>
                </a:lnTo>
                <a:lnTo>
                  <a:pt x="853" y="1996"/>
                </a:lnTo>
                <a:lnTo>
                  <a:pt x="855" y="1999"/>
                </a:lnTo>
                <a:lnTo>
                  <a:pt x="856" y="2002"/>
                </a:lnTo>
                <a:lnTo>
                  <a:pt x="856" y="2008"/>
                </a:lnTo>
                <a:lnTo>
                  <a:pt x="855" y="2011"/>
                </a:lnTo>
                <a:lnTo>
                  <a:pt x="853" y="2014"/>
                </a:lnTo>
                <a:lnTo>
                  <a:pt x="851" y="2016"/>
                </a:lnTo>
                <a:lnTo>
                  <a:pt x="849" y="2018"/>
                </a:lnTo>
                <a:lnTo>
                  <a:pt x="846" y="2020"/>
                </a:lnTo>
                <a:lnTo>
                  <a:pt x="843" y="2021"/>
                </a:lnTo>
                <a:lnTo>
                  <a:pt x="837" y="2020"/>
                </a:lnTo>
                <a:lnTo>
                  <a:pt x="834" y="2020"/>
                </a:lnTo>
                <a:lnTo>
                  <a:pt x="831" y="2018"/>
                </a:lnTo>
                <a:lnTo>
                  <a:pt x="829" y="2016"/>
                </a:lnTo>
                <a:lnTo>
                  <a:pt x="827" y="2014"/>
                </a:lnTo>
                <a:lnTo>
                  <a:pt x="825" y="2011"/>
                </a:lnTo>
                <a:lnTo>
                  <a:pt x="825" y="2008"/>
                </a:lnTo>
                <a:lnTo>
                  <a:pt x="825" y="2002"/>
                </a:lnTo>
                <a:lnTo>
                  <a:pt x="826" y="1999"/>
                </a:lnTo>
                <a:lnTo>
                  <a:pt x="827" y="1996"/>
                </a:lnTo>
                <a:lnTo>
                  <a:pt x="829" y="1994"/>
                </a:lnTo>
                <a:lnTo>
                  <a:pt x="831" y="1992"/>
                </a:lnTo>
                <a:lnTo>
                  <a:pt x="832" y="1991"/>
                </a:lnTo>
                <a:close/>
                <a:moveTo>
                  <a:pt x="955" y="1917"/>
                </a:moveTo>
                <a:lnTo>
                  <a:pt x="958" y="1915"/>
                </a:lnTo>
                <a:lnTo>
                  <a:pt x="961" y="1915"/>
                </a:lnTo>
                <a:lnTo>
                  <a:pt x="964" y="1915"/>
                </a:lnTo>
                <a:lnTo>
                  <a:pt x="967" y="1915"/>
                </a:lnTo>
                <a:lnTo>
                  <a:pt x="970" y="1916"/>
                </a:lnTo>
                <a:lnTo>
                  <a:pt x="973" y="1918"/>
                </a:lnTo>
                <a:lnTo>
                  <a:pt x="975" y="1920"/>
                </a:lnTo>
                <a:lnTo>
                  <a:pt x="977" y="1923"/>
                </a:lnTo>
                <a:lnTo>
                  <a:pt x="978" y="1926"/>
                </a:lnTo>
                <a:lnTo>
                  <a:pt x="979" y="1929"/>
                </a:lnTo>
                <a:lnTo>
                  <a:pt x="979" y="1932"/>
                </a:lnTo>
                <a:lnTo>
                  <a:pt x="978" y="1935"/>
                </a:lnTo>
                <a:lnTo>
                  <a:pt x="977" y="1937"/>
                </a:lnTo>
                <a:lnTo>
                  <a:pt x="976" y="1940"/>
                </a:lnTo>
                <a:lnTo>
                  <a:pt x="974" y="1942"/>
                </a:lnTo>
                <a:lnTo>
                  <a:pt x="971" y="1944"/>
                </a:lnTo>
                <a:lnTo>
                  <a:pt x="968" y="1945"/>
                </a:lnTo>
                <a:lnTo>
                  <a:pt x="965" y="1946"/>
                </a:lnTo>
                <a:lnTo>
                  <a:pt x="962" y="1946"/>
                </a:lnTo>
                <a:lnTo>
                  <a:pt x="959" y="1946"/>
                </a:lnTo>
                <a:lnTo>
                  <a:pt x="956" y="1945"/>
                </a:lnTo>
                <a:lnTo>
                  <a:pt x="953" y="1943"/>
                </a:lnTo>
                <a:lnTo>
                  <a:pt x="951" y="1941"/>
                </a:lnTo>
                <a:lnTo>
                  <a:pt x="949" y="1938"/>
                </a:lnTo>
                <a:lnTo>
                  <a:pt x="948" y="1935"/>
                </a:lnTo>
                <a:lnTo>
                  <a:pt x="947" y="1932"/>
                </a:lnTo>
                <a:lnTo>
                  <a:pt x="947" y="1929"/>
                </a:lnTo>
                <a:lnTo>
                  <a:pt x="948" y="1926"/>
                </a:lnTo>
                <a:lnTo>
                  <a:pt x="949" y="1923"/>
                </a:lnTo>
                <a:lnTo>
                  <a:pt x="951" y="1921"/>
                </a:lnTo>
                <a:lnTo>
                  <a:pt x="953" y="1919"/>
                </a:lnTo>
                <a:lnTo>
                  <a:pt x="955" y="1917"/>
                </a:lnTo>
                <a:close/>
                <a:moveTo>
                  <a:pt x="1324" y="1694"/>
                </a:moveTo>
                <a:lnTo>
                  <a:pt x="1327" y="1692"/>
                </a:lnTo>
                <a:lnTo>
                  <a:pt x="1330" y="1692"/>
                </a:lnTo>
                <a:lnTo>
                  <a:pt x="1335" y="1692"/>
                </a:lnTo>
                <a:lnTo>
                  <a:pt x="1338" y="1693"/>
                </a:lnTo>
                <a:lnTo>
                  <a:pt x="1341" y="1694"/>
                </a:lnTo>
                <a:lnTo>
                  <a:pt x="1343" y="1695"/>
                </a:lnTo>
                <a:lnTo>
                  <a:pt x="1344" y="1696"/>
                </a:lnTo>
                <a:lnTo>
                  <a:pt x="1345" y="1698"/>
                </a:lnTo>
                <a:lnTo>
                  <a:pt x="1347" y="1700"/>
                </a:lnTo>
                <a:lnTo>
                  <a:pt x="1348" y="1703"/>
                </a:lnTo>
                <a:lnTo>
                  <a:pt x="1348" y="1706"/>
                </a:lnTo>
                <a:lnTo>
                  <a:pt x="1348" y="1709"/>
                </a:lnTo>
                <a:lnTo>
                  <a:pt x="1347" y="1712"/>
                </a:lnTo>
                <a:lnTo>
                  <a:pt x="1346" y="1715"/>
                </a:lnTo>
                <a:lnTo>
                  <a:pt x="1344" y="1718"/>
                </a:lnTo>
                <a:lnTo>
                  <a:pt x="1342" y="1720"/>
                </a:lnTo>
                <a:lnTo>
                  <a:pt x="1340" y="1721"/>
                </a:lnTo>
                <a:lnTo>
                  <a:pt x="1338" y="1722"/>
                </a:lnTo>
                <a:lnTo>
                  <a:pt x="1335" y="1723"/>
                </a:lnTo>
                <a:lnTo>
                  <a:pt x="1329" y="1723"/>
                </a:lnTo>
                <a:lnTo>
                  <a:pt x="1327" y="1722"/>
                </a:lnTo>
                <a:lnTo>
                  <a:pt x="1324" y="1721"/>
                </a:lnTo>
                <a:lnTo>
                  <a:pt x="1322" y="1719"/>
                </a:lnTo>
                <a:lnTo>
                  <a:pt x="1321" y="1718"/>
                </a:lnTo>
                <a:lnTo>
                  <a:pt x="1320" y="1717"/>
                </a:lnTo>
                <a:lnTo>
                  <a:pt x="1318" y="1714"/>
                </a:lnTo>
                <a:lnTo>
                  <a:pt x="1317" y="1711"/>
                </a:lnTo>
                <a:lnTo>
                  <a:pt x="1317" y="1708"/>
                </a:lnTo>
                <a:lnTo>
                  <a:pt x="1317" y="1705"/>
                </a:lnTo>
                <a:lnTo>
                  <a:pt x="1317" y="1702"/>
                </a:lnTo>
                <a:lnTo>
                  <a:pt x="1319" y="1699"/>
                </a:lnTo>
                <a:lnTo>
                  <a:pt x="1320" y="1697"/>
                </a:lnTo>
                <a:lnTo>
                  <a:pt x="1323" y="1695"/>
                </a:lnTo>
                <a:lnTo>
                  <a:pt x="1324" y="1694"/>
                </a:lnTo>
                <a:close/>
                <a:moveTo>
                  <a:pt x="3189" y="587"/>
                </a:moveTo>
                <a:lnTo>
                  <a:pt x="3193" y="585"/>
                </a:lnTo>
                <a:lnTo>
                  <a:pt x="3196" y="585"/>
                </a:lnTo>
                <a:lnTo>
                  <a:pt x="3200" y="585"/>
                </a:lnTo>
                <a:lnTo>
                  <a:pt x="3202" y="585"/>
                </a:lnTo>
                <a:lnTo>
                  <a:pt x="3204" y="586"/>
                </a:lnTo>
                <a:lnTo>
                  <a:pt x="3207" y="588"/>
                </a:lnTo>
                <a:lnTo>
                  <a:pt x="3209" y="590"/>
                </a:lnTo>
                <a:lnTo>
                  <a:pt x="3211" y="592"/>
                </a:lnTo>
                <a:lnTo>
                  <a:pt x="3212" y="596"/>
                </a:lnTo>
                <a:lnTo>
                  <a:pt x="3213" y="599"/>
                </a:lnTo>
                <a:lnTo>
                  <a:pt x="3213" y="602"/>
                </a:lnTo>
                <a:lnTo>
                  <a:pt x="3213" y="605"/>
                </a:lnTo>
                <a:lnTo>
                  <a:pt x="3212" y="608"/>
                </a:lnTo>
                <a:lnTo>
                  <a:pt x="3209" y="612"/>
                </a:lnTo>
                <a:lnTo>
                  <a:pt x="3207" y="614"/>
                </a:lnTo>
                <a:lnTo>
                  <a:pt x="3205" y="615"/>
                </a:lnTo>
                <a:lnTo>
                  <a:pt x="3202" y="617"/>
                </a:lnTo>
                <a:lnTo>
                  <a:pt x="3198" y="617"/>
                </a:lnTo>
                <a:lnTo>
                  <a:pt x="3195" y="617"/>
                </a:lnTo>
                <a:lnTo>
                  <a:pt x="3193" y="616"/>
                </a:lnTo>
                <a:lnTo>
                  <a:pt x="3191" y="616"/>
                </a:lnTo>
                <a:lnTo>
                  <a:pt x="3188" y="614"/>
                </a:lnTo>
                <a:lnTo>
                  <a:pt x="3186" y="612"/>
                </a:lnTo>
                <a:lnTo>
                  <a:pt x="3184" y="610"/>
                </a:lnTo>
                <a:lnTo>
                  <a:pt x="3183" y="607"/>
                </a:lnTo>
                <a:lnTo>
                  <a:pt x="3182" y="604"/>
                </a:lnTo>
                <a:lnTo>
                  <a:pt x="3181" y="601"/>
                </a:lnTo>
                <a:lnTo>
                  <a:pt x="3182" y="598"/>
                </a:lnTo>
                <a:lnTo>
                  <a:pt x="3183" y="595"/>
                </a:lnTo>
                <a:lnTo>
                  <a:pt x="3186" y="590"/>
                </a:lnTo>
                <a:lnTo>
                  <a:pt x="3187" y="588"/>
                </a:lnTo>
                <a:lnTo>
                  <a:pt x="3189" y="587"/>
                </a:lnTo>
                <a:close/>
                <a:moveTo>
                  <a:pt x="1433" y="1600"/>
                </a:moveTo>
                <a:lnTo>
                  <a:pt x="1436" y="1599"/>
                </a:lnTo>
                <a:lnTo>
                  <a:pt x="1438" y="1598"/>
                </a:lnTo>
                <a:lnTo>
                  <a:pt x="1441" y="1598"/>
                </a:lnTo>
                <a:lnTo>
                  <a:pt x="1443" y="1598"/>
                </a:lnTo>
                <a:lnTo>
                  <a:pt x="1446" y="1599"/>
                </a:lnTo>
                <a:lnTo>
                  <a:pt x="1448" y="1600"/>
                </a:lnTo>
                <a:lnTo>
                  <a:pt x="1451" y="1601"/>
                </a:lnTo>
                <a:lnTo>
                  <a:pt x="1453" y="1603"/>
                </a:lnTo>
                <a:lnTo>
                  <a:pt x="1455" y="1605"/>
                </a:lnTo>
                <a:lnTo>
                  <a:pt x="1456" y="1608"/>
                </a:lnTo>
                <a:lnTo>
                  <a:pt x="1457" y="1611"/>
                </a:lnTo>
                <a:lnTo>
                  <a:pt x="1457" y="1614"/>
                </a:lnTo>
                <a:lnTo>
                  <a:pt x="1457" y="1617"/>
                </a:lnTo>
                <a:lnTo>
                  <a:pt x="1456" y="1620"/>
                </a:lnTo>
                <a:lnTo>
                  <a:pt x="1454" y="1623"/>
                </a:lnTo>
                <a:lnTo>
                  <a:pt x="1452" y="1625"/>
                </a:lnTo>
                <a:lnTo>
                  <a:pt x="1449" y="1627"/>
                </a:lnTo>
                <a:lnTo>
                  <a:pt x="1447" y="1629"/>
                </a:lnTo>
                <a:lnTo>
                  <a:pt x="1444" y="1629"/>
                </a:lnTo>
                <a:lnTo>
                  <a:pt x="1442" y="1630"/>
                </a:lnTo>
                <a:lnTo>
                  <a:pt x="1439" y="1629"/>
                </a:lnTo>
                <a:lnTo>
                  <a:pt x="1437" y="1629"/>
                </a:lnTo>
                <a:lnTo>
                  <a:pt x="1434" y="1628"/>
                </a:lnTo>
                <a:lnTo>
                  <a:pt x="1432" y="1627"/>
                </a:lnTo>
                <a:lnTo>
                  <a:pt x="1430" y="1625"/>
                </a:lnTo>
                <a:lnTo>
                  <a:pt x="1428" y="1622"/>
                </a:lnTo>
                <a:lnTo>
                  <a:pt x="1426" y="1619"/>
                </a:lnTo>
                <a:lnTo>
                  <a:pt x="1426" y="1617"/>
                </a:lnTo>
                <a:lnTo>
                  <a:pt x="1425" y="1614"/>
                </a:lnTo>
                <a:lnTo>
                  <a:pt x="1426" y="1610"/>
                </a:lnTo>
                <a:lnTo>
                  <a:pt x="1427" y="1608"/>
                </a:lnTo>
                <a:lnTo>
                  <a:pt x="1428" y="1605"/>
                </a:lnTo>
                <a:lnTo>
                  <a:pt x="1430" y="1602"/>
                </a:lnTo>
                <a:lnTo>
                  <a:pt x="1433" y="1600"/>
                </a:lnTo>
                <a:close/>
                <a:moveTo>
                  <a:pt x="1529" y="1493"/>
                </a:moveTo>
                <a:lnTo>
                  <a:pt x="1533" y="1491"/>
                </a:lnTo>
                <a:lnTo>
                  <a:pt x="1538" y="1491"/>
                </a:lnTo>
                <a:lnTo>
                  <a:pt x="1540" y="1491"/>
                </a:lnTo>
                <a:lnTo>
                  <a:pt x="1542" y="1492"/>
                </a:lnTo>
                <a:lnTo>
                  <a:pt x="1544" y="1493"/>
                </a:lnTo>
                <a:lnTo>
                  <a:pt x="1547" y="1494"/>
                </a:lnTo>
                <a:lnTo>
                  <a:pt x="1549" y="1496"/>
                </a:lnTo>
                <a:lnTo>
                  <a:pt x="1551" y="1499"/>
                </a:lnTo>
                <a:lnTo>
                  <a:pt x="1552" y="1502"/>
                </a:lnTo>
                <a:lnTo>
                  <a:pt x="1553" y="1505"/>
                </a:lnTo>
                <a:lnTo>
                  <a:pt x="1553" y="1508"/>
                </a:lnTo>
                <a:lnTo>
                  <a:pt x="1552" y="1511"/>
                </a:lnTo>
                <a:lnTo>
                  <a:pt x="1551" y="1514"/>
                </a:lnTo>
                <a:lnTo>
                  <a:pt x="1549" y="1516"/>
                </a:lnTo>
                <a:lnTo>
                  <a:pt x="1547" y="1519"/>
                </a:lnTo>
                <a:lnTo>
                  <a:pt x="1545" y="1521"/>
                </a:lnTo>
                <a:lnTo>
                  <a:pt x="1541" y="1522"/>
                </a:lnTo>
                <a:lnTo>
                  <a:pt x="1536" y="1523"/>
                </a:lnTo>
                <a:lnTo>
                  <a:pt x="1534" y="1522"/>
                </a:lnTo>
                <a:lnTo>
                  <a:pt x="1531" y="1522"/>
                </a:lnTo>
                <a:lnTo>
                  <a:pt x="1529" y="1521"/>
                </a:lnTo>
                <a:lnTo>
                  <a:pt x="1527" y="1519"/>
                </a:lnTo>
                <a:lnTo>
                  <a:pt x="1525" y="1517"/>
                </a:lnTo>
                <a:lnTo>
                  <a:pt x="1523" y="1515"/>
                </a:lnTo>
                <a:lnTo>
                  <a:pt x="1522" y="1512"/>
                </a:lnTo>
                <a:lnTo>
                  <a:pt x="1521" y="1509"/>
                </a:lnTo>
                <a:lnTo>
                  <a:pt x="1521" y="1506"/>
                </a:lnTo>
                <a:lnTo>
                  <a:pt x="1522" y="1503"/>
                </a:lnTo>
                <a:lnTo>
                  <a:pt x="1523" y="1500"/>
                </a:lnTo>
                <a:lnTo>
                  <a:pt x="1524" y="1497"/>
                </a:lnTo>
                <a:lnTo>
                  <a:pt x="1526" y="1495"/>
                </a:lnTo>
                <a:lnTo>
                  <a:pt x="1529" y="1493"/>
                </a:lnTo>
                <a:close/>
                <a:moveTo>
                  <a:pt x="1606" y="1372"/>
                </a:moveTo>
                <a:lnTo>
                  <a:pt x="1609" y="1371"/>
                </a:lnTo>
                <a:lnTo>
                  <a:pt x="1613" y="1370"/>
                </a:lnTo>
                <a:lnTo>
                  <a:pt x="1617" y="1370"/>
                </a:lnTo>
                <a:lnTo>
                  <a:pt x="1621" y="1372"/>
                </a:lnTo>
                <a:lnTo>
                  <a:pt x="1624" y="1373"/>
                </a:lnTo>
                <a:lnTo>
                  <a:pt x="1626" y="1376"/>
                </a:lnTo>
                <a:lnTo>
                  <a:pt x="1628" y="1378"/>
                </a:lnTo>
                <a:lnTo>
                  <a:pt x="1629" y="1381"/>
                </a:lnTo>
                <a:lnTo>
                  <a:pt x="1630" y="1387"/>
                </a:lnTo>
                <a:lnTo>
                  <a:pt x="1629" y="1390"/>
                </a:lnTo>
                <a:lnTo>
                  <a:pt x="1628" y="1393"/>
                </a:lnTo>
                <a:lnTo>
                  <a:pt x="1627" y="1395"/>
                </a:lnTo>
                <a:lnTo>
                  <a:pt x="1625" y="1397"/>
                </a:lnTo>
                <a:lnTo>
                  <a:pt x="1622" y="1399"/>
                </a:lnTo>
                <a:lnTo>
                  <a:pt x="1618" y="1401"/>
                </a:lnTo>
                <a:lnTo>
                  <a:pt x="1614" y="1402"/>
                </a:lnTo>
                <a:lnTo>
                  <a:pt x="1610" y="1401"/>
                </a:lnTo>
                <a:lnTo>
                  <a:pt x="1607" y="1400"/>
                </a:lnTo>
                <a:lnTo>
                  <a:pt x="1604" y="1398"/>
                </a:lnTo>
                <a:lnTo>
                  <a:pt x="1602" y="1396"/>
                </a:lnTo>
                <a:lnTo>
                  <a:pt x="1600" y="1393"/>
                </a:lnTo>
                <a:lnTo>
                  <a:pt x="1599" y="1391"/>
                </a:lnTo>
                <a:lnTo>
                  <a:pt x="1598" y="1385"/>
                </a:lnTo>
                <a:lnTo>
                  <a:pt x="1599" y="1381"/>
                </a:lnTo>
                <a:lnTo>
                  <a:pt x="1600" y="1378"/>
                </a:lnTo>
                <a:lnTo>
                  <a:pt x="1601" y="1377"/>
                </a:lnTo>
                <a:lnTo>
                  <a:pt x="1602" y="1375"/>
                </a:lnTo>
                <a:lnTo>
                  <a:pt x="1606" y="1372"/>
                </a:lnTo>
                <a:close/>
                <a:moveTo>
                  <a:pt x="3057" y="530"/>
                </a:moveTo>
                <a:lnTo>
                  <a:pt x="3060" y="528"/>
                </a:lnTo>
                <a:lnTo>
                  <a:pt x="3064" y="528"/>
                </a:lnTo>
                <a:lnTo>
                  <a:pt x="3067" y="528"/>
                </a:lnTo>
                <a:lnTo>
                  <a:pt x="3071" y="529"/>
                </a:lnTo>
                <a:lnTo>
                  <a:pt x="3074" y="530"/>
                </a:lnTo>
                <a:lnTo>
                  <a:pt x="3076" y="532"/>
                </a:lnTo>
                <a:lnTo>
                  <a:pt x="3078" y="535"/>
                </a:lnTo>
                <a:lnTo>
                  <a:pt x="3080" y="537"/>
                </a:lnTo>
                <a:lnTo>
                  <a:pt x="3081" y="540"/>
                </a:lnTo>
                <a:lnTo>
                  <a:pt x="3081" y="543"/>
                </a:lnTo>
                <a:lnTo>
                  <a:pt x="3081" y="546"/>
                </a:lnTo>
                <a:lnTo>
                  <a:pt x="3080" y="549"/>
                </a:lnTo>
                <a:lnTo>
                  <a:pt x="3077" y="554"/>
                </a:lnTo>
                <a:lnTo>
                  <a:pt x="3075" y="556"/>
                </a:lnTo>
                <a:lnTo>
                  <a:pt x="3073" y="557"/>
                </a:lnTo>
                <a:lnTo>
                  <a:pt x="3070" y="559"/>
                </a:lnTo>
                <a:lnTo>
                  <a:pt x="3066" y="559"/>
                </a:lnTo>
                <a:lnTo>
                  <a:pt x="3063" y="559"/>
                </a:lnTo>
                <a:lnTo>
                  <a:pt x="3059" y="558"/>
                </a:lnTo>
                <a:lnTo>
                  <a:pt x="3056" y="557"/>
                </a:lnTo>
                <a:lnTo>
                  <a:pt x="3054" y="555"/>
                </a:lnTo>
                <a:lnTo>
                  <a:pt x="3052" y="552"/>
                </a:lnTo>
                <a:lnTo>
                  <a:pt x="3050" y="550"/>
                </a:lnTo>
                <a:lnTo>
                  <a:pt x="3050" y="547"/>
                </a:lnTo>
                <a:lnTo>
                  <a:pt x="3049" y="544"/>
                </a:lnTo>
                <a:lnTo>
                  <a:pt x="3050" y="541"/>
                </a:lnTo>
                <a:lnTo>
                  <a:pt x="3050" y="537"/>
                </a:lnTo>
                <a:lnTo>
                  <a:pt x="3053" y="533"/>
                </a:lnTo>
                <a:lnTo>
                  <a:pt x="3055" y="531"/>
                </a:lnTo>
                <a:lnTo>
                  <a:pt x="3057" y="530"/>
                </a:lnTo>
                <a:close/>
                <a:moveTo>
                  <a:pt x="1660" y="1239"/>
                </a:moveTo>
                <a:lnTo>
                  <a:pt x="1662" y="1238"/>
                </a:lnTo>
                <a:lnTo>
                  <a:pt x="1666" y="1237"/>
                </a:lnTo>
                <a:lnTo>
                  <a:pt x="1669" y="1237"/>
                </a:lnTo>
                <a:lnTo>
                  <a:pt x="1672" y="1237"/>
                </a:lnTo>
                <a:lnTo>
                  <a:pt x="1675" y="1239"/>
                </a:lnTo>
                <a:lnTo>
                  <a:pt x="1678" y="1240"/>
                </a:lnTo>
                <a:lnTo>
                  <a:pt x="1680" y="1243"/>
                </a:lnTo>
                <a:lnTo>
                  <a:pt x="1681" y="1245"/>
                </a:lnTo>
                <a:lnTo>
                  <a:pt x="1683" y="1248"/>
                </a:lnTo>
                <a:lnTo>
                  <a:pt x="1683" y="1251"/>
                </a:lnTo>
                <a:lnTo>
                  <a:pt x="1683" y="1254"/>
                </a:lnTo>
                <a:lnTo>
                  <a:pt x="1683" y="1257"/>
                </a:lnTo>
                <a:lnTo>
                  <a:pt x="1681" y="1260"/>
                </a:lnTo>
                <a:lnTo>
                  <a:pt x="1680" y="1263"/>
                </a:lnTo>
                <a:lnTo>
                  <a:pt x="1678" y="1265"/>
                </a:lnTo>
                <a:lnTo>
                  <a:pt x="1675" y="1266"/>
                </a:lnTo>
                <a:lnTo>
                  <a:pt x="1673" y="1268"/>
                </a:lnTo>
                <a:lnTo>
                  <a:pt x="1669" y="1268"/>
                </a:lnTo>
                <a:lnTo>
                  <a:pt x="1666" y="1268"/>
                </a:lnTo>
                <a:lnTo>
                  <a:pt x="1663" y="1268"/>
                </a:lnTo>
                <a:lnTo>
                  <a:pt x="1660" y="1267"/>
                </a:lnTo>
                <a:lnTo>
                  <a:pt x="1657" y="1265"/>
                </a:lnTo>
                <a:lnTo>
                  <a:pt x="1655" y="1263"/>
                </a:lnTo>
                <a:lnTo>
                  <a:pt x="1654" y="1260"/>
                </a:lnTo>
                <a:lnTo>
                  <a:pt x="1652" y="1257"/>
                </a:lnTo>
                <a:lnTo>
                  <a:pt x="1652" y="1254"/>
                </a:lnTo>
                <a:lnTo>
                  <a:pt x="1652" y="1251"/>
                </a:lnTo>
                <a:lnTo>
                  <a:pt x="1652" y="1248"/>
                </a:lnTo>
                <a:lnTo>
                  <a:pt x="1653" y="1245"/>
                </a:lnTo>
                <a:lnTo>
                  <a:pt x="1655" y="1243"/>
                </a:lnTo>
                <a:lnTo>
                  <a:pt x="1657" y="1241"/>
                </a:lnTo>
                <a:lnTo>
                  <a:pt x="1660" y="1239"/>
                </a:lnTo>
                <a:close/>
                <a:moveTo>
                  <a:pt x="2923" y="479"/>
                </a:moveTo>
                <a:lnTo>
                  <a:pt x="2926" y="477"/>
                </a:lnTo>
                <a:lnTo>
                  <a:pt x="2929" y="476"/>
                </a:lnTo>
                <a:lnTo>
                  <a:pt x="2932" y="476"/>
                </a:lnTo>
                <a:lnTo>
                  <a:pt x="2936" y="477"/>
                </a:lnTo>
                <a:lnTo>
                  <a:pt x="2939" y="479"/>
                </a:lnTo>
                <a:lnTo>
                  <a:pt x="2941" y="481"/>
                </a:lnTo>
                <a:lnTo>
                  <a:pt x="2943" y="483"/>
                </a:lnTo>
                <a:lnTo>
                  <a:pt x="2945" y="485"/>
                </a:lnTo>
                <a:lnTo>
                  <a:pt x="2946" y="488"/>
                </a:lnTo>
                <a:lnTo>
                  <a:pt x="2946" y="491"/>
                </a:lnTo>
                <a:lnTo>
                  <a:pt x="2946" y="494"/>
                </a:lnTo>
                <a:lnTo>
                  <a:pt x="2946" y="497"/>
                </a:lnTo>
                <a:lnTo>
                  <a:pt x="2944" y="500"/>
                </a:lnTo>
                <a:lnTo>
                  <a:pt x="2943" y="502"/>
                </a:lnTo>
                <a:lnTo>
                  <a:pt x="2941" y="504"/>
                </a:lnTo>
                <a:lnTo>
                  <a:pt x="2938" y="506"/>
                </a:lnTo>
                <a:lnTo>
                  <a:pt x="2935" y="507"/>
                </a:lnTo>
                <a:lnTo>
                  <a:pt x="2932" y="508"/>
                </a:lnTo>
                <a:lnTo>
                  <a:pt x="2929" y="508"/>
                </a:lnTo>
                <a:lnTo>
                  <a:pt x="2925" y="507"/>
                </a:lnTo>
                <a:lnTo>
                  <a:pt x="2922" y="506"/>
                </a:lnTo>
                <a:lnTo>
                  <a:pt x="2920" y="504"/>
                </a:lnTo>
                <a:lnTo>
                  <a:pt x="2918" y="502"/>
                </a:lnTo>
                <a:lnTo>
                  <a:pt x="2916" y="499"/>
                </a:lnTo>
                <a:lnTo>
                  <a:pt x="2915" y="496"/>
                </a:lnTo>
                <a:lnTo>
                  <a:pt x="2915" y="493"/>
                </a:lnTo>
                <a:lnTo>
                  <a:pt x="2915" y="490"/>
                </a:lnTo>
                <a:lnTo>
                  <a:pt x="2916" y="487"/>
                </a:lnTo>
                <a:lnTo>
                  <a:pt x="2917" y="484"/>
                </a:lnTo>
                <a:lnTo>
                  <a:pt x="2918" y="482"/>
                </a:lnTo>
                <a:lnTo>
                  <a:pt x="2920" y="480"/>
                </a:lnTo>
                <a:lnTo>
                  <a:pt x="2923" y="479"/>
                </a:lnTo>
                <a:close/>
                <a:moveTo>
                  <a:pt x="1690" y="1098"/>
                </a:moveTo>
                <a:lnTo>
                  <a:pt x="1692" y="1097"/>
                </a:lnTo>
                <a:lnTo>
                  <a:pt x="1695" y="1097"/>
                </a:lnTo>
                <a:lnTo>
                  <a:pt x="1697" y="1096"/>
                </a:lnTo>
                <a:lnTo>
                  <a:pt x="1700" y="1096"/>
                </a:lnTo>
                <a:lnTo>
                  <a:pt x="1703" y="1097"/>
                </a:lnTo>
                <a:lnTo>
                  <a:pt x="1706" y="1099"/>
                </a:lnTo>
                <a:lnTo>
                  <a:pt x="1708" y="1100"/>
                </a:lnTo>
                <a:lnTo>
                  <a:pt x="1710" y="1103"/>
                </a:lnTo>
                <a:lnTo>
                  <a:pt x="1712" y="1105"/>
                </a:lnTo>
                <a:lnTo>
                  <a:pt x="1713" y="1108"/>
                </a:lnTo>
                <a:lnTo>
                  <a:pt x="1714" y="1111"/>
                </a:lnTo>
                <a:lnTo>
                  <a:pt x="1713" y="1114"/>
                </a:lnTo>
                <a:lnTo>
                  <a:pt x="1712" y="1118"/>
                </a:lnTo>
                <a:lnTo>
                  <a:pt x="1711" y="1121"/>
                </a:lnTo>
                <a:lnTo>
                  <a:pt x="1708" y="1124"/>
                </a:lnTo>
                <a:lnTo>
                  <a:pt x="1706" y="1126"/>
                </a:lnTo>
                <a:lnTo>
                  <a:pt x="1703" y="1127"/>
                </a:lnTo>
                <a:lnTo>
                  <a:pt x="1701" y="1128"/>
                </a:lnTo>
                <a:lnTo>
                  <a:pt x="1698" y="1128"/>
                </a:lnTo>
                <a:lnTo>
                  <a:pt x="1695" y="1128"/>
                </a:lnTo>
                <a:lnTo>
                  <a:pt x="1692" y="1127"/>
                </a:lnTo>
                <a:lnTo>
                  <a:pt x="1690" y="1126"/>
                </a:lnTo>
                <a:lnTo>
                  <a:pt x="1687" y="1124"/>
                </a:lnTo>
                <a:lnTo>
                  <a:pt x="1685" y="1122"/>
                </a:lnTo>
                <a:lnTo>
                  <a:pt x="1683" y="1119"/>
                </a:lnTo>
                <a:lnTo>
                  <a:pt x="1682" y="1116"/>
                </a:lnTo>
                <a:lnTo>
                  <a:pt x="1682" y="1113"/>
                </a:lnTo>
                <a:lnTo>
                  <a:pt x="1682" y="1110"/>
                </a:lnTo>
                <a:lnTo>
                  <a:pt x="1683" y="1106"/>
                </a:lnTo>
                <a:lnTo>
                  <a:pt x="1685" y="1103"/>
                </a:lnTo>
                <a:lnTo>
                  <a:pt x="1687" y="1100"/>
                </a:lnTo>
                <a:lnTo>
                  <a:pt x="1690" y="1098"/>
                </a:lnTo>
                <a:close/>
                <a:moveTo>
                  <a:pt x="2786" y="435"/>
                </a:moveTo>
                <a:lnTo>
                  <a:pt x="2788" y="433"/>
                </a:lnTo>
                <a:lnTo>
                  <a:pt x="2791" y="433"/>
                </a:lnTo>
                <a:lnTo>
                  <a:pt x="2795" y="433"/>
                </a:lnTo>
                <a:lnTo>
                  <a:pt x="2798" y="433"/>
                </a:lnTo>
                <a:lnTo>
                  <a:pt x="2801" y="434"/>
                </a:lnTo>
                <a:lnTo>
                  <a:pt x="2803" y="436"/>
                </a:lnTo>
                <a:lnTo>
                  <a:pt x="2806" y="438"/>
                </a:lnTo>
                <a:lnTo>
                  <a:pt x="2807" y="441"/>
                </a:lnTo>
                <a:lnTo>
                  <a:pt x="2809" y="443"/>
                </a:lnTo>
                <a:lnTo>
                  <a:pt x="2809" y="446"/>
                </a:lnTo>
                <a:lnTo>
                  <a:pt x="2809" y="450"/>
                </a:lnTo>
                <a:lnTo>
                  <a:pt x="2809" y="453"/>
                </a:lnTo>
                <a:lnTo>
                  <a:pt x="2808" y="456"/>
                </a:lnTo>
                <a:lnTo>
                  <a:pt x="2806" y="458"/>
                </a:lnTo>
                <a:lnTo>
                  <a:pt x="2804" y="460"/>
                </a:lnTo>
                <a:lnTo>
                  <a:pt x="2801" y="462"/>
                </a:lnTo>
                <a:lnTo>
                  <a:pt x="2799" y="463"/>
                </a:lnTo>
                <a:lnTo>
                  <a:pt x="2796" y="464"/>
                </a:lnTo>
                <a:lnTo>
                  <a:pt x="2792" y="464"/>
                </a:lnTo>
                <a:lnTo>
                  <a:pt x="2789" y="464"/>
                </a:lnTo>
                <a:lnTo>
                  <a:pt x="2786" y="462"/>
                </a:lnTo>
                <a:lnTo>
                  <a:pt x="2784" y="461"/>
                </a:lnTo>
                <a:lnTo>
                  <a:pt x="2781" y="459"/>
                </a:lnTo>
                <a:lnTo>
                  <a:pt x="2780" y="456"/>
                </a:lnTo>
                <a:lnTo>
                  <a:pt x="2778" y="453"/>
                </a:lnTo>
                <a:lnTo>
                  <a:pt x="2778" y="450"/>
                </a:lnTo>
                <a:lnTo>
                  <a:pt x="2778" y="447"/>
                </a:lnTo>
                <a:lnTo>
                  <a:pt x="2778" y="444"/>
                </a:lnTo>
                <a:lnTo>
                  <a:pt x="2779" y="441"/>
                </a:lnTo>
                <a:lnTo>
                  <a:pt x="2781" y="439"/>
                </a:lnTo>
                <a:lnTo>
                  <a:pt x="2783" y="436"/>
                </a:lnTo>
                <a:lnTo>
                  <a:pt x="2786" y="435"/>
                </a:lnTo>
                <a:close/>
                <a:moveTo>
                  <a:pt x="1704" y="955"/>
                </a:moveTo>
                <a:lnTo>
                  <a:pt x="1708" y="953"/>
                </a:lnTo>
                <a:lnTo>
                  <a:pt x="1713" y="953"/>
                </a:lnTo>
                <a:lnTo>
                  <a:pt x="1716" y="954"/>
                </a:lnTo>
                <a:lnTo>
                  <a:pt x="1719" y="955"/>
                </a:lnTo>
                <a:lnTo>
                  <a:pt x="1721" y="956"/>
                </a:lnTo>
                <a:lnTo>
                  <a:pt x="1724" y="958"/>
                </a:lnTo>
                <a:lnTo>
                  <a:pt x="1725" y="961"/>
                </a:lnTo>
                <a:lnTo>
                  <a:pt x="1727" y="964"/>
                </a:lnTo>
                <a:lnTo>
                  <a:pt x="1727" y="967"/>
                </a:lnTo>
                <a:lnTo>
                  <a:pt x="1728" y="970"/>
                </a:lnTo>
                <a:lnTo>
                  <a:pt x="1727" y="974"/>
                </a:lnTo>
                <a:lnTo>
                  <a:pt x="1725" y="977"/>
                </a:lnTo>
                <a:lnTo>
                  <a:pt x="1723" y="980"/>
                </a:lnTo>
                <a:lnTo>
                  <a:pt x="1720" y="983"/>
                </a:lnTo>
                <a:lnTo>
                  <a:pt x="1715" y="984"/>
                </a:lnTo>
                <a:lnTo>
                  <a:pt x="1711" y="985"/>
                </a:lnTo>
                <a:lnTo>
                  <a:pt x="1707" y="984"/>
                </a:lnTo>
                <a:lnTo>
                  <a:pt x="1705" y="983"/>
                </a:lnTo>
                <a:lnTo>
                  <a:pt x="1702" y="981"/>
                </a:lnTo>
                <a:lnTo>
                  <a:pt x="1700" y="979"/>
                </a:lnTo>
                <a:lnTo>
                  <a:pt x="1698" y="977"/>
                </a:lnTo>
                <a:lnTo>
                  <a:pt x="1697" y="974"/>
                </a:lnTo>
                <a:lnTo>
                  <a:pt x="1696" y="971"/>
                </a:lnTo>
                <a:lnTo>
                  <a:pt x="1696" y="968"/>
                </a:lnTo>
                <a:lnTo>
                  <a:pt x="1697" y="964"/>
                </a:lnTo>
                <a:lnTo>
                  <a:pt x="1698" y="960"/>
                </a:lnTo>
                <a:lnTo>
                  <a:pt x="1701" y="957"/>
                </a:lnTo>
                <a:lnTo>
                  <a:pt x="1704" y="955"/>
                </a:lnTo>
                <a:close/>
                <a:moveTo>
                  <a:pt x="2646" y="401"/>
                </a:moveTo>
                <a:lnTo>
                  <a:pt x="2648" y="399"/>
                </a:lnTo>
                <a:lnTo>
                  <a:pt x="2651" y="399"/>
                </a:lnTo>
                <a:lnTo>
                  <a:pt x="2657" y="399"/>
                </a:lnTo>
                <a:lnTo>
                  <a:pt x="2660" y="400"/>
                </a:lnTo>
                <a:lnTo>
                  <a:pt x="2663" y="401"/>
                </a:lnTo>
                <a:lnTo>
                  <a:pt x="2665" y="403"/>
                </a:lnTo>
                <a:lnTo>
                  <a:pt x="2667" y="406"/>
                </a:lnTo>
                <a:lnTo>
                  <a:pt x="2668" y="408"/>
                </a:lnTo>
                <a:lnTo>
                  <a:pt x="2669" y="411"/>
                </a:lnTo>
                <a:lnTo>
                  <a:pt x="2670" y="414"/>
                </a:lnTo>
                <a:lnTo>
                  <a:pt x="2669" y="417"/>
                </a:lnTo>
                <a:lnTo>
                  <a:pt x="2668" y="421"/>
                </a:lnTo>
                <a:lnTo>
                  <a:pt x="2666" y="424"/>
                </a:lnTo>
                <a:lnTo>
                  <a:pt x="2664" y="426"/>
                </a:lnTo>
                <a:lnTo>
                  <a:pt x="2662" y="428"/>
                </a:lnTo>
                <a:lnTo>
                  <a:pt x="2659" y="429"/>
                </a:lnTo>
                <a:lnTo>
                  <a:pt x="2656" y="430"/>
                </a:lnTo>
                <a:lnTo>
                  <a:pt x="2651" y="430"/>
                </a:lnTo>
                <a:lnTo>
                  <a:pt x="2647" y="429"/>
                </a:lnTo>
                <a:lnTo>
                  <a:pt x="2645" y="427"/>
                </a:lnTo>
                <a:lnTo>
                  <a:pt x="2642" y="425"/>
                </a:lnTo>
                <a:lnTo>
                  <a:pt x="2640" y="423"/>
                </a:lnTo>
                <a:lnTo>
                  <a:pt x="2639" y="420"/>
                </a:lnTo>
                <a:lnTo>
                  <a:pt x="2638" y="418"/>
                </a:lnTo>
                <a:lnTo>
                  <a:pt x="2638" y="414"/>
                </a:lnTo>
                <a:lnTo>
                  <a:pt x="2638" y="411"/>
                </a:lnTo>
                <a:lnTo>
                  <a:pt x="2639" y="408"/>
                </a:lnTo>
                <a:lnTo>
                  <a:pt x="2641" y="405"/>
                </a:lnTo>
                <a:lnTo>
                  <a:pt x="2643" y="403"/>
                </a:lnTo>
                <a:lnTo>
                  <a:pt x="2646" y="401"/>
                </a:lnTo>
                <a:close/>
                <a:moveTo>
                  <a:pt x="2504" y="379"/>
                </a:moveTo>
                <a:lnTo>
                  <a:pt x="2506" y="378"/>
                </a:lnTo>
                <a:lnTo>
                  <a:pt x="2508" y="377"/>
                </a:lnTo>
                <a:lnTo>
                  <a:pt x="2510" y="377"/>
                </a:lnTo>
                <a:lnTo>
                  <a:pt x="2513" y="377"/>
                </a:lnTo>
                <a:lnTo>
                  <a:pt x="2516" y="378"/>
                </a:lnTo>
                <a:lnTo>
                  <a:pt x="2519" y="379"/>
                </a:lnTo>
                <a:lnTo>
                  <a:pt x="2522" y="381"/>
                </a:lnTo>
                <a:lnTo>
                  <a:pt x="2524" y="383"/>
                </a:lnTo>
                <a:lnTo>
                  <a:pt x="2525" y="385"/>
                </a:lnTo>
                <a:lnTo>
                  <a:pt x="2527" y="388"/>
                </a:lnTo>
                <a:lnTo>
                  <a:pt x="2527" y="391"/>
                </a:lnTo>
                <a:lnTo>
                  <a:pt x="2527" y="394"/>
                </a:lnTo>
                <a:lnTo>
                  <a:pt x="2526" y="398"/>
                </a:lnTo>
                <a:lnTo>
                  <a:pt x="2525" y="402"/>
                </a:lnTo>
                <a:lnTo>
                  <a:pt x="2522" y="404"/>
                </a:lnTo>
                <a:lnTo>
                  <a:pt x="2519" y="407"/>
                </a:lnTo>
                <a:lnTo>
                  <a:pt x="2517" y="408"/>
                </a:lnTo>
                <a:lnTo>
                  <a:pt x="2515" y="408"/>
                </a:lnTo>
                <a:lnTo>
                  <a:pt x="2512" y="409"/>
                </a:lnTo>
                <a:lnTo>
                  <a:pt x="2510" y="409"/>
                </a:lnTo>
                <a:lnTo>
                  <a:pt x="2507" y="408"/>
                </a:lnTo>
                <a:lnTo>
                  <a:pt x="2504" y="407"/>
                </a:lnTo>
                <a:lnTo>
                  <a:pt x="2501" y="405"/>
                </a:lnTo>
                <a:lnTo>
                  <a:pt x="2499" y="403"/>
                </a:lnTo>
                <a:lnTo>
                  <a:pt x="2497" y="400"/>
                </a:lnTo>
                <a:lnTo>
                  <a:pt x="2496" y="398"/>
                </a:lnTo>
                <a:lnTo>
                  <a:pt x="2496" y="394"/>
                </a:lnTo>
                <a:lnTo>
                  <a:pt x="2496" y="391"/>
                </a:lnTo>
                <a:lnTo>
                  <a:pt x="2497" y="387"/>
                </a:lnTo>
                <a:lnTo>
                  <a:pt x="2498" y="384"/>
                </a:lnTo>
                <a:lnTo>
                  <a:pt x="2501" y="381"/>
                </a:lnTo>
                <a:lnTo>
                  <a:pt x="2504" y="379"/>
                </a:lnTo>
                <a:close/>
                <a:moveTo>
                  <a:pt x="1715" y="812"/>
                </a:moveTo>
                <a:lnTo>
                  <a:pt x="1718" y="811"/>
                </a:lnTo>
                <a:lnTo>
                  <a:pt x="1720" y="810"/>
                </a:lnTo>
                <a:lnTo>
                  <a:pt x="1723" y="810"/>
                </a:lnTo>
                <a:lnTo>
                  <a:pt x="1725" y="810"/>
                </a:lnTo>
                <a:lnTo>
                  <a:pt x="1728" y="810"/>
                </a:lnTo>
                <a:lnTo>
                  <a:pt x="1731" y="812"/>
                </a:lnTo>
                <a:lnTo>
                  <a:pt x="1734" y="813"/>
                </a:lnTo>
                <a:lnTo>
                  <a:pt x="1736" y="816"/>
                </a:lnTo>
                <a:lnTo>
                  <a:pt x="1737" y="818"/>
                </a:lnTo>
                <a:lnTo>
                  <a:pt x="1739" y="821"/>
                </a:lnTo>
                <a:lnTo>
                  <a:pt x="1739" y="824"/>
                </a:lnTo>
                <a:lnTo>
                  <a:pt x="1739" y="827"/>
                </a:lnTo>
                <a:lnTo>
                  <a:pt x="1738" y="831"/>
                </a:lnTo>
                <a:lnTo>
                  <a:pt x="1737" y="834"/>
                </a:lnTo>
                <a:lnTo>
                  <a:pt x="1734" y="837"/>
                </a:lnTo>
                <a:lnTo>
                  <a:pt x="1731" y="839"/>
                </a:lnTo>
                <a:lnTo>
                  <a:pt x="1729" y="840"/>
                </a:lnTo>
                <a:lnTo>
                  <a:pt x="1727" y="841"/>
                </a:lnTo>
                <a:lnTo>
                  <a:pt x="1724" y="841"/>
                </a:lnTo>
                <a:lnTo>
                  <a:pt x="1721" y="841"/>
                </a:lnTo>
                <a:lnTo>
                  <a:pt x="1718" y="840"/>
                </a:lnTo>
                <a:lnTo>
                  <a:pt x="1716" y="839"/>
                </a:lnTo>
                <a:lnTo>
                  <a:pt x="1713" y="837"/>
                </a:lnTo>
                <a:lnTo>
                  <a:pt x="1711" y="835"/>
                </a:lnTo>
                <a:lnTo>
                  <a:pt x="1709" y="833"/>
                </a:lnTo>
                <a:lnTo>
                  <a:pt x="1708" y="830"/>
                </a:lnTo>
                <a:lnTo>
                  <a:pt x="1708" y="827"/>
                </a:lnTo>
                <a:lnTo>
                  <a:pt x="1708" y="823"/>
                </a:lnTo>
                <a:lnTo>
                  <a:pt x="1709" y="820"/>
                </a:lnTo>
                <a:lnTo>
                  <a:pt x="1710" y="817"/>
                </a:lnTo>
                <a:lnTo>
                  <a:pt x="1713" y="814"/>
                </a:lnTo>
                <a:lnTo>
                  <a:pt x="1715" y="812"/>
                </a:lnTo>
                <a:close/>
                <a:moveTo>
                  <a:pt x="2359" y="373"/>
                </a:moveTo>
                <a:lnTo>
                  <a:pt x="2361" y="372"/>
                </a:lnTo>
                <a:lnTo>
                  <a:pt x="2362" y="372"/>
                </a:lnTo>
                <a:lnTo>
                  <a:pt x="2366" y="371"/>
                </a:lnTo>
                <a:lnTo>
                  <a:pt x="2370" y="371"/>
                </a:lnTo>
                <a:lnTo>
                  <a:pt x="2373" y="372"/>
                </a:lnTo>
                <a:lnTo>
                  <a:pt x="2375" y="374"/>
                </a:lnTo>
                <a:lnTo>
                  <a:pt x="2378" y="375"/>
                </a:lnTo>
                <a:lnTo>
                  <a:pt x="2380" y="378"/>
                </a:lnTo>
                <a:lnTo>
                  <a:pt x="2381" y="380"/>
                </a:lnTo>
                <a:lnTo>
                  <a:pt x="2382" y="383"/>
                </a:lnTo>
                <a:lnTo>
                  <a:pt x="2383" y="387"/>
                </a:lnTo>
                <a:lnTo>
                  <a:pt x="2382" y="391"/>
                </a:lnTo>
                <a:lnTo>
                  <a:pt x="2381" y="393"/>
                </a:lnTo>
                <a:lnTo>
                  <a:pt x="2381" y="395"/>
                </a:lnTo>
                <a:lnTo>
                  <a:pt x="2378" y="398"/>
                </a:lnTo>
                <a:lnTo>
                  <a:pt x="2375" y="401"/>
                </a:lnTo>
                <a:lnTo>
                  <a:pt x="2373" y="402"/>
                </a:lnTo>
                <a:lnTo>
                  <a:pt x="2371" y="402"/>
                </a:lnTo>
                <a:lnTo>
                  <a:pt x="2367" y="403"/>
                </a:lnTo>
                <a:lnTo>
                  <a:pt x="2364" y="403"/>
                </a:lnTo>
                <a:lnTo>
                  <a:pt x="2361" y="402"/>
                </a:lnTo>
                <a:lnTo>
                  <a:pt x="2358" y="400"/>
                </a:lnTo>
                <a:lnTo>
                  <a:pt x="2356" y="398"/>
                </a:lnTo>
                <a:lnTo>
                  <a:pt x="2354" y="396"/>
                </a:lnTo>
                <a:lnTo>
                  <a:pt x="2352" y="393"/>
                </a:lnTo>
                <a:lnTo>
                  <a:pt x="2351" y="390"/>
                </a:lnTo>
                <a:lnTo>
                  <a:pt x="2351" y="387"/>
                </a:lnTo>
                <a:lnTo>
                  <a:pt x="2351" y="383"/>
                </a:lnTo>
                <a:lnTo>
                  <a:pt x="2352" y="381"/>
                </a:lnTo>
                <a:lnTo>
                  <a:pt x="2353" y="379"/>
                </a:lnTo>
                <a:lnTo>
                  <a:pt x="2356" y="376"/>
                </a:lnTo>
                <a:lnTo>
                  <a:pt x="2359" y="373"/>
                </a:lnTo>
                <a:close/>
                <a:moveTo>
                  <a:pt x="1747" y="672"/>
                </a:moveTo>
                <a:lnTo>
                  <a:pt x="1750" y="670"/>
                </a:lnTo>
                <a:lnTo>
                  <a:pt x="1754" y="670"/>
                </a:lnTo>
                <a:lnTo>
                  <a:pt x="1757" y="670"/>
                </a:lnTo>
                <a:lnTo>
                  <a:pt x="1761" y="671"/>
                </a:lnTo>
                <a:lnTo>
                  <a:pt x="1764" y="672"/>
                </a:lnTo>
                <a:lnTo>
                  <a:pt x="1766" y="674"/>
                </a:lnTo>
                <a:lnTo>
                  <a:pt x="1768" y="676"/>
                </a:lnTo>
                <a:lnTo>
                  <a:pt x="1769" y="679"/>
                </a:lnTo>
                <a:lnTo>
                  <a:pt x="1770" y="682"/>
                </a:lnTo>
                <a:lnTo>
                  <a:pt x="1771" y="685"/>
                </a:lnTo>
                <a:lnTo>
                  <a:pt x="1771" y="688"/>
                </a:lnTo>
                <a:lnTo>
                  <a:pt x="1770" y="691"/>
                </a:lnTo>
                <a:lnTo>
                  <a:pt x="1767" y="696"/>
                </a:lnTo>
                <a:lnTo>
                  <a:pt x="1765" y="698"/>
                </a:lnTo>
                <a:lnTo>
                  <a:pt x="1763" y="699"/>
                </a:lnTo>
                <a:lnTo>
                  <a:pt x="1760" y="701"/>
                </a:lnTo>
                <a:lnTo>
                  <a:pt x="1756" y="701"/>
                </a:lnTo>
                <a:lnTo>
                  <a:pt x="1753" y="701"/>
                </a:lnTo>
                <a:lnTo>
                  <a:pt x="1749" y="700"/>
                </a:lnTo>
                <a:lnTo>
                  <a:pt x="1746" y="699"/>
                </a:lnTo>
                <a:lnTo>
                  <a:pt x="1744" y="697"/>
                </a:lnTo>
                <a:lnTo>
                  <a:pt x="1742" y="695"/>
                </a:lnTo>
                <a:lnTo>
                  <a:pt x="1741" y="692"/>
                </a:lnTo>
                <a:lnTo>
                  <a:pt x="1740" y="689"/>
                </a:lnTo>
                <a:lnTo>
                  <a:pt x="1739" y="686"/>
                </a:lnTo>
                <a:lnTo>
                  <a:pt x="1739" y="683"/>
                </a:lnTo>
                <a:lnTo>
                  <a:pt x="1740" y="680"/>
                </a:lnTo>
                <a:lnTo>
                  <a:pt x="1743" y="675"/>
                </a:lnTo>
                <a:lnTo>
                  <a:pt x="1745" y="673"/>
                </a:lnTo>
                <a:lnTo>
                  <a:pt x="1747" y="672"/>
                </a:lnTo>
                <a:close/>
                <a:moveTo>
                  <a:pt x="2216" y="386"/>
                </a:moveTo>
                <a:lnTo>
                  <a:pt x="2218" y="385"/>
                </a:lnTo>
                <a:lnTo>
                  <a:pt x="2221" y="384"/>
                </a:lnTo>
                <a:lnTo>
                  <a:pt x="2224" y="384"/>
                </a:lnTo>
                <a:lnTo>
                  <a:pt x="2227" y="384"/>
                </a:lnTo>
                <a:lnTo>
                  <a:pt x="2230" y="385"/>
                </a:lnTo>
                <a:lnTo>
                  <a:pt x="2233" y="387"/>
                </a:lnTo>
                <a:lnTo>
                  <a:pt x="2235" y="389"/>
                </a:lnTo>
                <a:lnTo>
                  <a:pt x="2237" y="391"/>
                </a:lnTo>
                <a:lnTo>
                  <a:pt x="2238" y="394"/>
                </a:lnTo>
                <a:lnTo>
                  <a:pt x="2239" y="397"/>
                </a:lnTo>
                <a:lnTo>
                  <a:pt x="2239" y="402"/>
                </a:lnTo>
                <a:lnTo>
                  <a:pt x="2238" y="406"/>
                </a:lnTo>
                <a:lnTo>
                  <a:pt x="2237" y="408"/>
                </a:lnTo>
                <a:lnTo>
                  <a:pt x="2235" y="410"/>
                </a:lnTo>
                <a:lnTo>
                  <a:pt x="2233" y="412"/>
                </a:lnTo>
                <a:lnTo>
                  <a:pt x="2232" y="413"/>
                </a:lnTo>
                <a:lnTo>
                  <a:pt x="2229" y="414"/>
                </a:lnTo>
                <a:lnTo>
                  <a:pt x="2226" y="415"/>
                </a:lnTo>
                <a:lnTo>
                  <a:pt x="2223" y="415"/>
                </a:lnTo>
                <a:lnTo>
                  <a:pt x="2220" y="415"/>
                </a:lnTo>
                <a:lnTo>
                  <a:pt x="2217" y="414"/>
                </a:lnTo>
                <a:lnTo>
                  <a:pt x="2214" y="412"/>
                </a:lnTo>
                <a:lnTo>
                  <a:pt x="2212" y="410"/>
                </a:lnTo>
                <a:lnTo>
                  <a:pt x="2210" y="408"/>
                </a:lnTo>
                <a:lnTo>
                  <a:pt x="2209" y="405"/>
                </a:lnTo>
                <a:lnTo>
                  <a:pt x="2208" y="402"/>
                </a:lnTo>
                <a:lnTo>
                  <a:pt x="2208" y="397"/>
                </a:lnTo>
                <a:lnTo>
                  <a:pt x="2209" y="393"/>
                </a:lnTo>
                <a:lnTo>
                  <a:pt x="2211" y="391"/>
                </a:lnTo>
                <a:lnTo>
                  <a:pt x="2212" y="389"/>
                </a:lnTo>
                <a:lnTo>
                  <a:pt x="2214" y="387"/>
                </a:lnTo>
                <a:lnTo>
                  <a:pt x="2216" y="386"/>
                </a:lnTo>
                <a:close/>
                <a:moveTo>
                  <a:pt x="2076" y="418"/>
                </a:moveTo>
                <a:lnTo>
                  <a:pt x="2079" y="417"/>
                </a:lnTo>
                <a:lnTo>
                  <a:pt x="2082" y="416"/>
                </a:lnTo>
                <a:lnTo>
                  <a:pt x="2085" y="416"/>
                </a:lnTo>
                <a:lnTo>
                  <a:pt x="2088" y="417"/>
                </a:lnTo>
                <a:lnTo>
                  <a:pt x="2091" y="418"/>
                </a:lnTo>
                <a:lnTo>
                  <a:pt x="2094" y="420"/>
                </a:lnTo>
                <a:lnTo>
                  <a:pt x="2096" y="422"/>
                </a:lnTo>
                <a:lnTo>
                  <a:pt x="2098" y="424"/>
                </a:lnTo>
                <a:lnTo>
                  <a:pt x="2099" y="427"/>
                </a:lnTo>
                <a:lnTo>
                  <a:pt x="2100" y="433"/>
                </a:lnTo>
                <a:lnTo>
                  <a:pt x="2099" y="435"/>
                </a:lnTo>
                <a:lnTo>
                  <a:pt x="2098" y="438"/>
                </a:lnTo>
                <a:lnTo>
                  <a:pt x="2097" y="440"/>
                </a:lnTo>
                <a:lnTo>
                  <a:pt x="2096" y="442"/>
                </a:lnTo>
                <a:lnTo>
                  <a:pt x="2092" y="446"/>
                </a:lnTo>
                <a:lnTo>
                  <a:pt x="2088" y="447"/>
                </a:lnTo>
                <a:lnTo>
                  <a:pt x="2085" y="448"/>
                </a:lnTo>
                <a:lnTo>
                  <a:pt x="2082" y="448"/>
                </a:lnTo>
                <a:lnTo>
                  <a:pt x="2079" y="447"/>
                </a:lnTo>
                <a:lnTo>
                  <a:pt x="2076" y="446"/>
                </a:lnTo>
                <a:lnTo>
                  <a:pt x="2074" y="444"/>
                </a:lnTo>
                <a:lnTo>
                  <a:pt x="2072" y="442"/>
                </a:lnTo>
                <a:lnTo>
                  <a:pt x="2070" y="440"/>
                </a:lnTo>
                <a:lnTo>
                  <a:pt x="2069" y="437"/>
                </a:lnTo>
                <a:lnTo>
                  <a:pt x="2068" y="431"/>
                </a:lnTo>
                <a:lnTo>
                  <a:pt x="2068" y="429"/>
                </a:lnTo>
                <a:lnTo>
                  <a:pt x="2069" y="426"/>
                </a:lnTo>
                <a:lnTo>
                  <a:pt x="2070" y="424"/>
                </a:lnTo>
                <a:lnTo>
                  <a:pt x="2072" y="422"/>
                </a:lnTo>
                <a:lnTo>
                  <a:pt x="2076" y="418"/>
                </a:lnTo>
                <a:close/>
                <a:moveTo>
                  <a:pt x="1824" y="551"/>
                </a:moveTo>
                <a:lnTo>
                  <a:pt x="1827" y="550"/>
                </a:lnTo>
                <a:lnTo>
                  <a:pt x="1829" y="550"/>
                </a:lnTo>
                <a:lnTo>
                  <a:pt x="1832" y="549"/>
                </a:lnTo>
                <a:lnTo>
                  <a:pt x="1834" y="549"/>
                </a:lnTo>
                <a:lnTo>
                  <a:pt x="1839" y="551"/>
                </a:lnTo>
                <a:lnTo>
                  <a:pt x="1841" y="552"/>
                </a:lnTo>
                <a:lnTo>
                  <a:pt x="1843" y="554"/>
                </a:lnTo>
                <a:lnTo>
                  <a:pt x="1845" y="557"/>
                </a:lnTo>
                <a:lnTo>
                  <a:pt x="1847" y="559"/>
                </a:lnTo>
                <a:lnTo>
                  <a:pt x="1848" y="562"/>
                </a:lnTo>
                <a:lnTo>
                  <a:pt x="1848" y="565"/>
                </a:lnTo>
                <a:lnTo>
                  <a:pt x="1848" y="568"/>
                </a:lnTo>
                <a:lnTo>
                  <a:pt x="1847" y="571"/>
                </a:lnTo>
                <a:lnTo>
                  <a:pt x="1845" y="574"/>
                </a:lnTo>
                <a:lnTo>
                  <a:pt x="1843" y="576"/>
                </a:lnTo>
                <a:lnTo>
                  <a:pt x="1840" y="579"/>
                </a:lnTo>
                <a:lnTo>
                  <a:pt x="1838" y="580"/>
                </a:lnTo>
                <a:lnTo>
                  <a:pt x="1835" y="581"/>
                </a:lnTo>
                <a:lnTo>
                  <a:pt x="1833" y="581"/>
                </a:lnTo>
                <a:lnTo>
                  <a:pt x="1830" y="581"/>
                </a:lnTo>
                <a:lnTo>
                  <a:pt x="1825" y="579"/>
                </a:lnTo>
                <a:lnTo>
                  <a:pt x="1823" y="578"/>
                </a:lnTo>
                <a:lnTo>
                  <a:pt x="1821" y="576"/>
                </a:lnTo>
                <a:lnTo>
                  <a:pt x="1819" y="574"/>
                </a:lnTo>
                <a:lnTo>
                  <a:pt x="1817" y="571"/>
                </a:lnTo>
                <a:lnTo>
                  <a:pt x="1817" y="568"/>
                </a:lnTo>
                <a:lnTo>
                  <a:pt x="1816" y="565"/>
                </a:lnTo>
                <a:lnTo>
                  <a:pt x="1817" y="562"/>
                </a:lnTo>
                <a:lnTo>
                  <a:pt x="1817" y="559"/>
                </a:lnTo>
                <a:lnTo>
                  <a:pt x="1819" y="556"/>
                </a:lnTo>
                <a:lnTo>
                  <a:pt x="1821" y="554"/>
                </a:lnTo>
                <a:lnTo>
                  <a:pt x="1824" y="551"/>
                </a:lnTo>
                <a:close/>
                <a:moveTo>
                  <a:pt x="1942" y="471"/>
                </a:moveTo>
                <a:lnTo>
                  <a:pt x="1945" y="469"/>
                </a:lnTo>
                <a:lnTo>
                  <a:pt x="1949" y="469"/>
                </a:lnTo>
                <a:lnTo>
                  <a:pt x="1952" y="469"/>
                </a:lnTo>
                <a:lnTo>
                  <a:pt x="1955" y="469"/>
                </a:lnTo>
                <a:lnTo>
                  <a:pt x="1958" y="471"/>
                </a:lnTo>
                <a:lnTo>
                  <a:pt x="1960" y="472"/>
                </a:lnTo>
                <a:lnTo>
                  <a:pt x="1962" y="475"/>
                </a:lnTo>
                <a:lnTo>
                  <a:pt x="1964" y="477"/>
                </a:lnTo>
                <a:lnTo>
                  <a:pt x="1965" y="480"/>
                </a:lnTo>
                <a:lnTo>
                  <a:pt x="1966" y="483"/>
                </a:lnTo>
                <a:lnTo>
                  <a:pt x="1966" y="486"/>
                </a:lnTo>
                <a:lnTo>
                  <a:pt x="1965" y="489"/>
                </a:lnTo>
                <a:lnTo>
                  <a:pt x="1964" y="492"/>
                </a:lnTo>
                <a:lnTo>
                  <a:pt x="1962" y="494"/>
                </a:lnTo>
                <a:lnTo>
                  <a:pt x="1960" y="496"/>
                </a:lnTo>
                <a:lnTo>
                  <a:pt x="1958" y="498"/>
                </a:lnTo>
                <a:lnTo>
                  <a:pt x="1954" y="499"/>
                </a:lnTo>
                <a:lnTo>
                  <a:pt x="1951" y="500"/>
                </a:lnTo>
                <a:lnTo>
                  <a:pt x="1948" y="500"/>
                </a:lnTo>
                <a:lnTo>
                  <a:pt x="1945" y="499"/>
                </a:lnTo>
                <a:lnTo>
                  <a:pt x="1942" y="498"/>
                </a:lnTo>
                <a:lnTo>
                  <a:pt x="1939" y="496"/>
                </a:lnTo>
                <a:lnTo>
                  <a:pt x="1937" y="494"/>
                </a:lnTo>
                <a:lnTo>
                  <a:pt x="1936" y="491"/>
                </a:lnTo>
                <a:lnTo>
                  <a:pt x="1934" y="488"/>
                </a:lnTo>
                <a:lnTo>
                  <a:pt x="1934" y="485"/>
                </a:lnTo>
                <a:lnTo>
                  <a:pt x="1934" y="483"/>
                </a:lnTo>
                <a:lnTo>
                  <a:pt x="1935" y="480"/>
                </a:lnTo>
                <a:lnTo>
                  <a:pt x="1936" y="477"/>
                </a:lnTo>
                <a:lnTo>
                  <a:pt x="1937" y="475"/>
                </a:lnTo>
                <a:lnTo>
                  <a:pt x="1939" y="472"/>
                </a:lnTo>
                <a:lnTo>
                  <a:pt x="1942" y="471"/>
                </a:lnTo>
                <a:close/>
                <a:moveTo>
                  <a:pt x="4755" y="1575"/>
                </a:moveTo>
                <a:lnTo>
                  <a:pt x="4758" y="1574"/>
                </a:lnTo>
                <a:lnTo>
                  <a:pt x="4761" y="1573"/>
                </a:lnTo>
                <a:lnTo>
                  <a:pt x="4764" y="1573"/>
                </a:lnTo>
                <a:lnTo>
                  <a:pt x="4767" y="1574"/>
                </a:lnTo>
                <a:lnTo>
                  <a:pt x="4770" y="1575"/>
                </a:lnTo>
                <a:lnTo>
                  <a:pt x="4773" y="1576"/>
                </a:lnTo>
                <a:lnTo>
                  <a:pt x="4775" y="1579"/>
                </a:lnTo>
                <a:lnTo>
                  <a:pt x="4777" y="1581"/>
                </a:lnTo>
                <a:lnTo>
                  <a:pt x="4778" y="1584"/>
                </a:lnTo>
                <a:lnTo>
                  <a:pt x="4779" y="1587"/>
                </a:lnTo>
                <a:lnTo>
                  <a:pt x="4779" y="1590"/>
                </a:lnTo>
                <a:lnTo>
                  <a:pt x="4778" y="1593"/>
                </a:lnTo>
                <a:lnTo>
                  <a:pt x="4777" y="1596"/>
                </a:lnTo>
                <a:lnTo>
                  <a:pt x="4775" y="1598"/>
                </a:lnTo>
                <a:lnTo>
                  <a:pt x="4773" y="1601"/>
                </a:lnTo>
                <a:lnTo>
                  <a:pt x="4771" y="1602"/>
                </a:lnTo>
                <a:lnTo>
                  <a:pt x="4768" y="1604"/>
                </a:lnTo>
                <a:lnTo>
                  <a:pt x="4765" y="1604"/>
                </a:lnTo>
                <a:lnTo>
                  <a:pt x="4762" y="1604"/>
                </a:lnTo>
                <a:lnTo>
                  <a:pt x="4759" y="1604"/>
                </a:lnTo>
                <a:lnTo>
                  <a:pt x="4756" y="1603"/>
                </a:lnTo>
                <a:lnTo>
                  <a:pt x="4753" y="1601"/>
                </a:lnTo>
                <a:lnTo>
                  <a:pt x="4751" y="1599"/>
                </a:lnTo>
                <a:lnTo>
                  <a:pt x="4749" y="1596"/>
                </a:lnTo>
                <a:lnTo>
                  <a:pt x="4748" y="1594"/>
                </a:lnTo>
                <a:lnTo>
                  <a:pt x="4747" y="1591"/>
                </a:lnTo>
                <a:lnTo>
                  <a:pt x="4747" y="1588"/>
                </a:lnTo>
                <a:lnTo>
                  <a:pt x="4748" y="1584"/>
                </a:lnTo>
                <a:lnTo>
                  <a:pt x="4749" y="1581"/>
                </a:lnTo>
                <a:lnTo>
                  <a:pt x="4751" y="1579"/>
                </a:lnTo>
                <a:lnTo>
                  <a:pt x="4753" y="1577"/>
                </a:lnTo>
                <a:lnTo>
                  <a:pt x="4755" y="1575"/>
                </a:lnTo>
                <a:close/>
                <a:moveTo>
                  <a:pt x="4617" y="1533"/>
                </a:moveTo>
                <a:lnTo>
                  <a:pt x="4620" y="1531"/>
                </a:lnTo>
                <a:lnTo>
                  <a:pt x="4624" y="1531"/>
                </a:lnTo>
                <a:lnTo>
                  <a:pt x="4627" y="1531"/>
                </a:lnTo>
                <a:lnTo>
                  <a:pt x="4630" y="1531"/>
                </a:lnTo>
                <a:lnTo>
                  <a:pt x="4633" y="1533"/>
                </a:lnTo>
                <a:lnTo>
                  <a:pt x="4636" y="1535"/>
                </a:lnTo>
                <a:lnTo>
                  <a:pt x="4638" y="1537"/>
                </a:lnTo>
                <a:lnTo>
                  <a:pt x="4639" y="1539"/>
                </a:lnTo>
                <a:lnTo>
                  <a:pt x="4640" y="1542"/>
                </a:lnTo>
                <a:lnTo>
                  <a:pt x="4641" y="1545"/>
                </a:lnTo>
                <a:lnTo>
                  <a:pt x="4641" y="1548"/>
                </a:lnTo>
                <a:lnTo>
                  <a:pt x="4640" y="1551"/>
                </a:lnTo>
                <a:lnTo>
                  <a:pt x="4639" y="1554"/>
                </a:lnTo>
                <a:lnTo>
                  <a:pt x="4637" y="1556"/>
                </a:lnTo>
                <a:lnTo>
                  <a:pt x="4635" y="1558"/>
                </a:lnTo>
                <a:lnTo>
                  <a:pt x="4633" y="1560"/>
                </a:lnTo>
                <a:lnTo>
                  <a:pt x="4630" y="1561"/>
                </a:lnTo>
                <a:lnTo>
                  <a:pt x="4627" y="1562"/>
                </a:lnTo>
                <a:lnTo>
                  <a:pt x="4624" y="1562"/>
                </a:lnTo>
                <a:lnTo>
                  <a:pt x="4620" y="1561"/>
                </a:lnTo>
                <a:lnTo>
                  <a:pt x="4617" y="1560"/>
                </a:lnTo>
                <a:lnTo>
                  <a:pt x="4615" y="1558"/>
                </a:lnTo>
                <a:lnTo>
                  <a:pt x="4613" y="1556"/>
                </a:lnTo>
                <a:lnTo>
                  <a:pt x="4611" y="1553"/>
                </a:lnTo>
                <a:lnTo>
                  <a:pt x="4610" y="1551"/>
                </a:lnTo>
                <a:lnTo>
                  <a:pt x="4610" y="1548"/>
                </a:lnTo>
                <a:lnTo>
                  <a:pt x="4610" y="1545"/>
                </a:lnTo>
                <a:lnTo>
                  <a:pt x="4610" y="1541"/>
                </a:lnTo>
                <a:lnTo>
                  <a:pt x="4612" y="1539"/>
                </a:lnTo>
                <a:lnTo>
                  <a:pt x="4613" y="1536"/>
                </a:lnTo>
                <a:lnTo>
                  <a:pt x="4615" y="1534"/>
                </a:lnTo>
                <a:lnTo>
                  <a:pt x="4617" y="1533"/>
                </a:lnTo>
                <a:close/>
                <a:moveTo>
                  <a:pt x="4482" y="1484"/>
                </a:moveTo>
                <a:lnTo>
                  <a:pt x="4485" y="1483"/>
                </a:lnTo>
                <a:lnTo>
                  <a:pt x="4488" y="1482"/>
                </a:lnTo>
                <a:lnTo>
                  <a:pt x="4492" y="1482"/>
                </a:lnTo>
                <a:lnTo>
                  <a:pt x="4495" y="1483"/>
                </a:lnTo>
                <a:lnTo>
                  <a:pt x="4498" y="1485"/>
                </a:lnTo>
                <a:lnTo>
                  <a:pt x="4500" y="1486"/>
                </a:lnTo>
                <a:lnTo>
                  <a:pt x="4502" y="1489"/>
                </a:lnTo>
                <a:lnTo>
                  <a:pt x="4504" y="1491"/>
                </a:lnTo>
                <a:lnTo>
                  <a:pt x="4505" y="1494"/>
                </a:lnTo>
                <a:lnTo>
                  <a:pt x="4505" y="1497"/>
                </a:lnTo>
                <a:lnTo>
                  <a:pt x="4505" y="1500"/>
                </a:lnTo>
                <a:lnTo>
                  <a:pt x="4504" y="1503"/>
                </a:lnTo>
                <a:lnTo>
                  <a:pt x="4503" y="1506"/>
                </a:lnTo>
                <a:lnTo>
                  <a:pt x="4501" y="1508"/>
                </a:lnTo>
                <a:lnTo>
                  <a:pt x="4500" y="1510"/>
                </a:lnTo>
                <a:lnTo>
                  <a:pt x="4497" y="1511"/>
                </a:lnTo>
                <a:lnTo>
                  <a:pt x="4494" y="1513"/>
                </a:lnTo>
                <a:lnTo>
                  <a:pt x="4491" y="1513"/>
                </a:lnTo>
                <a:lnTo>
                  <a:pt x="4487" y="1513"/>
                </a:lnTo>
                <a:lnTo>
                  <a:pt x="4484" y="1512"/>
                </a:lnTo>
                <a:lnTo>
                  <a:pt x="4481" y="1511"/>
                </a:lnTo>
                <a:lnTo>
                  <a:pt x="4479" y="1509"/>
                </a:lnTo>
                <a:lnTo>
                  <a:pt x="4477" y="1507"/>
                </a:lnTo>
                <a:lnTo>
                  <a:pt x="4475" y="1504"/>
                </a:lnTo>
                <a:lnTo>
                  <a:pt x="4474" y="1501"/>
                </a:lnTo>
                <a:lnTo>
                  <a:pt x="4474" y="1498"/>
                </a:lnTo>
                <a:lnTo>
                  <a:pt x="4474" y="1495"/>
                </a:lnTo>
                <a:lnTo>
                  <a:pt x="4475" y="1492"/>
                </a:lnTo>
                <a:lnTo>
                  <a:pt x="4476" y="1490"/>
                </a:lnTo>
                <a:lnTo>
                  <a:pt x="4478" y="1487"/>
                </a:lnTo>
                <a:lnTo>
                  <a:pt x="4480" y="1486"/>
                </a:lnTo>
                <a:lnTo>
                  <a:pt x="4482" y="1484"/>
                </a:lnTo>
                <a:close/>
                <a:moveTo>
                  <a:pt x="4349" y="1428"/>
                </a:moveTo>
                <a:lnTo>
                  <a:pt x="4352" y="1426"/>
                </a:lnTo>
                <a:lnTo>
                  <a:pt x="4356" y="1426"/>
                </a:lnTo>
                <a:lnTo>
                  <a:pt x="4360" y="1426"/>
                </a:lnTo>
                <a:lnTo>
                  <a:pt x="4364" y="1427"/>
                </a:lnTo>
                <a:lnTo>
                  <a:pt x="4366" y="1429"/>
                </a:lnTo>
                <a:lnTo>
                  <a:pt x="4369" y="1431"/>
                </a:lnTo>
                <a:lnTo>
                  <a:pt x="4370" y="1433"/>
                </a:lnTo>
                <a:lnTo>
                  <a:pt x="4372" y="1436"/>
                </a:lnTo>
                <a:lnTo>
                  <a:pt x="4372" y="1439"/>
                </a:lnTo>
                <a:lnTo>
                  <a:pt x="4373" y="1442"/>
                </a:lnTo>
                <a:lnTo>
                  <a:pt x="4372" y="1445"/>
                </a:lnTo>
                <a:lnTo>
                  <a:pt x="4371" y="1448"/>
                </a:lnTo>
                <a:lnTo>
                  <a:pt x="4370" y="1450"/>
                </a:lnTo>
                <a:lnTo>
                  <a:pt x="4368" y="1452"/>
                </a:lnTo>
                <a:lnTo>
                  <a:pt x="4367" y="1454"/>
                </a:lnTo>
                <a:lnTo>
                  <a:pt x="4365" y="1455"/>
                </a:lnTo>
                <a:lnTo>
                  <a:pt x="4361" y="1456"/>
                </a:lnTo>
                <a:lnTo>
                  <a:pt x="4358" y="1457"/>
                </a:lnTo>
                <a:lnTo>
                  <a:pt x="4354" y="1457"/>
                </a:lnTo>
                <a:lnTo>
                  <a:pt x="4350" y="1456"/>
                </a:lnTo>
                <a:lnTo>
                  <a:pt x="4348" y="1454"/>
                </a:lnTo>
                <a:lnTo>
                  <a:pt x="4345" y="1452"/>
                </a:lnTo>
                <a:lnTo>
                  <a:pt x="4343" y="1449"/>
                </a:lnTo>
                <a:lnTo>
                  <a:pt x="4342" y="1447"/>
                </a:lnTo>
                <a:lnTo>
                  <a:pt x="4341" y="1444"/>
                </a:lnTo>
                <a:lnTo>
                  <a:pt x="4341" y="1441"/>
                </a:lnTo>
                <a:lnTo>
                  <a:pt x="4342" y="1438"/>
                </a:lnTo>
                <a:lnTo>
                  <a:pt x="4343" y="1435"/>
                </a:lnTo>
                <a:lnTo>
                  <a:pt x="4344" y="1433"/>
                </a:lnTo>
                <a:lnTo>
                  <a:pt x="4345" y="1431"/>
                </a:lnTo>
                <a:lnTo>
                  <a:pt x="4347" y="1429"/>
                </a:lnTo>
                <a:lnTo>
                  <a:pt x="4349" y="1428"/>
                </a:lnTo>
                <a:close/>
                <a:moveTo>
                  <a:pt x="4221" y="1361"/>
                </a:moveTo>
                <a:lnTo>
                  <a:pt x="4225" y="1359"/>
                </a:lnTo>
                <a:lnTo>
                  <a:pt x="4229" y="1359"/>
                </a:lnTo>
                <a:lnTo>
                  <a:pt x="4233" y="1359"/>
                </a:lnTo>
                <a:lnTo>
                  <a:pt x="4237" y="1361"/>
                </a:lnTo>
                <a:lnTo>
                  <a:pt x="4240" y="1363"/>
                </a:lnTo>
                <a:lnTo>
                  <a:pt x="4242" y="1365"/>
                </a:lnTo>
                <a:lnTo>
                  <a:pt x="4243" y="1368"/>
                </a:lnTo>
                <a:lnTo>
                  <a:pt x="4244" y="1370"/>
                </a:lnTo>
                <a:lnTo>
                  <a:pt x="4245" y="1373"/>
                </a:lnTo>
                <a:lnTo>
                  <a:pt x="4245" y="1376"/>
                </a:lnTo>
                <a:lnTo>
                  <a:pt x="4244" y="1379"/>
                </a:lnTo>
                <a:lnTo>
                  <a:pt x="4243" y="1382"/>
                </a:lnTo>
                <a:lnTo>
                  <a:pt x="4240" y="1386"/>
                </a:lnTo>
                <a:lnTo>
                  <a:pt x="4237" y="1388"/>
                </a:lnTo>
                <a:lnTo>
                  <a:pt x="4233" y="1390"/>
                </a:lnTo>
                <a:lnTo>
                  <a:pt x="4229" y="1390"/>
                </a:lnTo>
                <a:lnTo>
                  <a:pt x="4225" y="1390"/>
                </a:lnTo>
                <a:lnTo>
                  <a:pt x="4221" y="1388"/>
                </a:lnTo>
                <a:lnTo>
                  <a:pt x="4219" y="1386"/>
                </a:lnTo>
                <a:lnTo>
                  <a:pt x="4217" y="1384"/>
                </a:lnTo>
                <a:lnTo>
                  <a:pt x="4215" y="1382"/>
                </a:lnTo>
                <a:lnTo>
                  <a:pt x="4214" y="1379"/>
                </a:lnTo>
                <a:lnTo>
                  <a:pt x="4214" y="1376"/>
                </a:lnTo>
                <a:lnTo>
                  <a:pt x="4214" y="1373"/>
                </a:lnTo>
                <a:lnTo>
                  <a:pt x="4214" y="1370"/>
                </a:lnTo>
                <a:lnTo>
                  <a:pt x="4216" y="1367"/>
                </a:lnTo>
                <a:lnTo>
                  <a:pt x="4218" y="1363"/>
                </a:lnTo>
                <a:lnTo>
                  <a:pt x="4221" y="1361"/>
                </a:lnTo>
                <a:close/>
                <a:moveTo>
                  <a:pt x="4096" y="1290"/>
                </a:moveTo>
                <a:lnTo>
                  <a:pt x="4100" y="1288"/>
                </a:lnTo>
                <a:lnTo>
                  <a:pt x="4104" y="1288"/>
                </a:lnTo>
                <a:lnTo>
                  <a:pt x="4108" y="1288"/>
                </a:lnTo>
                <a:lnTo>
                  <a:pt x="4112" y="1290"/>
                </a:lnTo>
                <a:lnTo>
                  <a:pt x="4114" y="1292"/>
                </a:lnTo>
                <a:lnTo>
                  <a:pt x="4116" y="1294"/>
                </a:lnTo>
                <a:lnTo>
                  <a:pt x="4118" y="1297"/>
                </a:lnTo>
                <a:lnTo>
                  <a:pt x="4119" y="1299"/>
                </a:lnTo>
                <a:lnTo>
                  <a:pt x="4120" y="1302"/>
                </a:lnTo>
                <a:lnTo>
                  <a:pt x="4120" y="1305"/>
                </a:lnTo>
                <a:lnTo>
                  <a:pt x="4119" y="1308"/>
                </a:lnTo>
                <a:lnTo>
                  <a:pt x="4118" y="1311"/>
                </a:lnTo>
                <a:lnTo>
                  <a:pt x="4115" y="1315"/>
                </a:lnTo>
                <a:lnTo>
                  <a:pt x="4112" y="1317"/>
                </a:lnTo>
                <a:lnTo>
                  <a:pt x="4108" y="1319"/>
                </a:lnTo>
                <a:lnTo>
                  <a:pt x="4104" y="1319"/>
                </a:lnTo>
                <a:lnTo>
                  <a:pt x="4100" y="1319"/>
                </a:lnTo>
                <a:lnTo>
                  <a:pt x="4096" y="1317"/>
                </a:lnTo>
                <a:lnTo>
                  <a:pt x="4094" y="1315"/>
                </a:lnTo>
                <a:lnTo>
                  <a:pt x="4092" y="1313"/>
                </a:lnTo>
                <a:lnTo>
                  <a:pt x="4090" y="1311"/>
                </a:lnTo>
                <a:lnTo>
                  <a:pt x="4089" y="1308"/>
                </a:lnTo>
                <a:lnTo>
                  <a:pt x="4088" y="1305"/>
                </a:lnTo>
                <a:lnTo>
                  <a:pt x="4088" y="1302"/>
                </a:lnTo>
                <a:lnTo>
                  <a:pt x="4089" y="1299"/>
                </a:lnTo>
                <a:lnTo>
                  <a:pt x="4090" y="1296"/>
                </a:lnTo>
                <a:lnTo>
                  <a:pt x="4093" y="1293"/>
                </a:lnTo>
                <a:lnTo>
                  <a:pt x="4096" y="1290"/>
                </a:lnTo>
                <a:close/>
                <a:moveTo>
                  <a:pt x="3969" y="1220"/>
                </a:moveTo>
                <a:lnTo>
                  <a:pt x="3973" y="1218"/>
                </a:lnTo>
                <a:lnTo>
                  <a:pt x="3977" y="1218"/>
                </a:lnTo>
                <a:lnTo>
                  <a:pt x="3979" y="1218"/>
                </a:lnTo>
                <a:lnTo>
                  <a:pt x="3981" y="1218"/>
                </a:lnTo>
                <a:lnTo>
                  <a:pt x="3985" y="1220"/>
                </a:lnTo>
                <a:lnTo>
                  <a:pt x="3987" y="1222"/>
                </a:lnTo>
                <a:lnTo>
                  <a:pt x="3989" y="1224"/>
                </a:lnTo>
                <a:lnTo>
                  <a:pt x="3991" y="1226"/>
                </a:lnTo>
                <a:lnTo>
                  <a:pt x="3992" y="1229"/>
                </a:lnTo>
                <a:lnTo>
                  <a:pt x="3993" y="1232"/>
                </a:lnTo>
                <a:lnTo>
                  <a:pt x="3993" y="1235"/>
                </a:lnTo>
                <a:lnTo>
                  <a:pt x="3992" y="1238"/>
                </a:lnTo>
                <a:lnTo>
                  <a:pt x="3991" y="1241"/>
                </a:lnTo>
                <a:lnTo>
                  <a:pt x="3988" y="1245"/>
                </a:lnTo>
                <a:lnTo>
                  <a:pt x="3985" y="1247"/>
                </a:lnTo>
                <a:lnTo>
                  <a:pt x="3981" y="1249"/>
                </a:lnTo>
                <a:lnTo>
                  <a:pt x="3977" y="1249"/>
                </a:lnTo>
                <a:lnTo>
                  <a:pt x="3975" y="1249"/>
                </a:lnTo>
                <a:lnTo>
                  <a:pt x="3973" y="1249"/>
                </a:lnTo>
                <a:lnTo>
                  <a:pt x="3970" y="1247"/>
                </a:lnTo>
                <a:lnTo>
                  <a:pt x="3967" y="1245"/>
                </a:lnTo>
                <a:lnTo>
                  <a:pt x="3965" y="1243"/>
                </a:lnTo>
                <a:lnTo>
                  <a:pt x="3963" y="1241"/>
                </a:lnTo>
                <a:lnTo>
                  <a:pt x="3962" y="1238"/>
                </a:lnTo>
                <a:lnTo>
                  <a:pt x="3962" y="1235"/>
                </a:lnTo>
                <a:lnTo>
                  <a:pt x="3962" y="1232"/>
                </a:lnTo>
                <a:lnTo>
                  <a:pt x="3962" y="1229"/>
                </a:lnTo>
                <a:lnTo>
                  <a:pt x="3963" y="1226"/>
                </a:lnTo>
                <a:lnTo>
                  <a:pt x="3966" y="1223"/>
                </a:lnTo>
                <a:lnTo>
                  <a:pt x="3969" y="1220"/>
                </a:lnTo>
                <a:close/>
                <a:moveTo>
                  <a:pt x="3843" y="1151"/>
                </a:moveTo>
                <a:lnTo>
                  <a:pt x="3846" y="1150"/>
                </a:lnTo>
                <a:lnTo>
                  <a:pt x="3850" y="1149"/>
                </a:lnTo>
                <a:lnTo>
                  <a:pt x="3852" y="1149"/>
                </a:lnTo>
                <a:lnTo>
                  <a:pt x="3854" y="1150"/>
                </a:lnTo>
                <a:lnTo>
                  <a:pt x="3858" y="1151"/>
                </a:lnTo>
                <a:lnTo>
                  <a:pt x="3861" y="1153"/>
                </a:lnTo>
                <a:lnTo>
                  <a:pt x="3863" y="1155"/>
                </a:lnTo>
                <a:lnTo>
                  <a:pt x="3864" y="1157"/>
                </a:lnTo>
                <a:lnTo>
                  <a:pt x="3866" y="1160"/>
                </a:lnTo>
                <a:lnTo>
                  <a:pt x="3866" y="1163"/>
                </a:lnTo>
                <a:lnTo>
                  <a:pt x="3866" y="1166"/>
                </a:lnTo>
                <a:lnTo>
                  <a:pt x="3866" y="1169"/>
                </a:lnTo>
                <a:lnTo>
                  <a:pt x="3864" y="1172"/>
                </a:lnTo>
                <a:lnTo>
                  <a:pt x="3862" y="1176"/>
                </a:lnTo>
                <a:lnTo>
                  <a:pt x="3858" y="1178"/>
                </a:lnTo>
                <a:lnTo>
                  <a:pt x="3855" y="1180"/>
                </a:lnTo>
                <a:lnTo>
                  <a:pt x="3851" y="1180"/>
                </a:lnTo>
                <a:lnTo>
                  <a:pt x="3849" y="1180"/>
                </a:lnTo>
                <a:lnTo>
                  <a:pt x="3847" y="1180"/>
                </a:lnTo>
                <a:lnTo>
                  <a:pt x="3843" y="1179"/>
                </a:lnTo>
                <a:lnTo>
                  <a:pt x="3841" y="1177"/>
                </a:lnTo>
                <a:lnTo>
                  <a:pt x="3838" y="1175"/>
                </a:lnTo>
                <a:lnTo>
                  <a:pt x="3837" y="1172"/>
                </a:lnTo>
                <a:lnTo>
                  <a:pt x="3836" y="1169"/>
                </a:lnTo>
                <a:lnTo>
                  <a:pt x="3835" y="1166"/>
                </a:lnTo>
                <a:lnTo>
                  <a:pt x="3835" y="1163"/>
                </a:lnTo>
                <a:lnTo>
                  <a:pt x="3836" y="1160"/>
                </a:lnTo>
                <a:lnTo>
                  <a:pt x="3837" y="1157"/>
                </a:lnTo>
                <a:lnTo>
                  <a:pt x="3839" y="1154"/>
                </a:lnTo>
                <a:lnTo>
                  <a:pt x="3843" y="1151"/>
                </a:lnTo>
                <a:close/>
                <a:moveTo>
                  <a:pt x="3715" y="1084"/>
                </a:moveTo>
                <a:lnTo>
                  <a:pt x="3717" y="1083"/>
                </a:lnTo>
                <a:lnTo>
                  <a:pt x="3719" y="1083"/>
                </a:lnTo>
                <a:lnTo>
                  <a:pt x="3723" y="1082"/>
                </a:lnTo>
                <a:lnTo>
                  <a:pt x="3726" y="1083"/>
                </a:lnTo>
                <a:lnTo>
                  <a:pt x="3730" y="1084"/>
                </a:lnTo>
                <a:lnTo>
                  <a:pt x="3733" y="1086"/>
                </a:lnTo>
                <a:lnTo>
                  <a:pt x="3735" y="1088"/>
                </a:lnTo>
                <a:lnTo>
                  <a:pt x="3737" y="1090"/>
                </a:lnTo>
                <a:lnTo>
                  <a:pt x="3738" y="1093"/>
                </a:lnTo>
                <a:lnTo>
                  <a:pt x="3739" y="1099"/>
                </a:lnTo>
                <a:lnTo>
                  <a:pt x="3738" y="1102"/>
                </a:lnTo>
                <a:lnTo>
                  <a:pt x="3737" y="1105"/>
                </a:lnTo>
                <a:lnTo>
                  <a:pt x="3736" y="1107"/>
                </a:lnTo>
                <a:lnTo>
                  <a:pt x="3734" y="1109"/>
                </a:lnTo>
                <a:lnTo>
                  <a:pt x="3731" y="1111"/>
                </a:lnTo>
                <a:lnTo>
                  <a:pt x="3729" y="1112"/>
                </a:lnTo>
                <a:lnTo>
                  <a:pt x="3727" y="1113"/>
                </a:lnTo>
                <a:lnTo>
                  <a:pt x="3724" y="1114"/>
                </a:lnTo>
                <a:lnTo>
                  <a:pt x="3720" y="1113"/>
                </a:lnTo>
                <a:lnTo>
                  <a:pt x="3716" y="1112"/>
                </a:lnTo>
                <a:lnTo>
                  <a:pt x="3713" y="1110"/>
                </a:lnTo>
                <a:lnTo>
                  <a:pt x="3711" y="1108"/>
                </a:lnTo>
                <a:lnTo>
                  <a:pt x="3709" y="1105"/>
                </a:lnTo>
                <a:lnTo>
                  <a:pt x="3708" y="1103"/>
                </a:lnTo>
                <a:lnTo>
                  <a:pt x="3707" y="1097"/>
                </a:lnTo>
                <a:lnTo>
                  <a:pt x="3708" y="1094"/>
                </a:lnTo>
                <a:lnTo>
                  <a:pt x="3709" y="1091"/>
                </a:lnTo>
                <a:lnTo>
                  <a:pt x="3710" y="1089"/>
                </a:lnTo>
                <a:lnTo>
                  <a:pt x="3712" y="1087"/>
                </a:lnTo>
                <a:lnTo>
                  <a:pt x="3715" y="1084"/>
                </a:lnTo>
                <a:close/>
                <a:moveTo>
                  <a:pt x="3587" y="1020"/>
                </a:moveTo>
                <a:lnTo>
                  <a:pt x="3588" y="1019"/>
                </a:lnTo>
                <a:lnTo>
                  <a:pt x="3590" y="1018"/>
                </a:lnTo>
                <a:lnTo>
                  <a:pt x="3594" y="1018"/>
                </a:lnTo>
                <a:lnTo>
                  <a:pt x="3597" y="1018"/>
                </a:lnTo>
                <a:lnTo>
                  <a:pt x="3601" y="1019"/>
                </a:lnTo>
                <a:lnTo>
                  <a:pt x="3604" y="1021"/>
                </a:lnTo>
                <a:lnTo>
                  <a:pt x="3606" y="1023"/>
                </a:lnTo>
                <a:lnTo>
                  <a:pt x="3608" y="1026"/>
                </a:lnTo>
                <a:lnTo>
                  <a:pt x="3609" y="1028"/>
                </a:lnTo>
                <a:lnTo>
                  <a:pt x="3610" y="1031"/>
                </a:lnTo>
                <a:lnTo>
                  <a:pt x="3610" y="1034"/>
                </a:lnTo>
                <a:lnTo>
                  <a:pt x="3610" y="1037"/>
                </a:lnTo>
                <a:lnTo>
                  <a:pt x="3608" y="1040"/>
                </a:lnTo>
                <a:lnTo>
                  <a:pt x="3607" y="1042"/>
                </a:lnTo>
                <a:lnTo>
                  <a:pt x="3606" y="1044"/>
                </a:lnTo>
                <a:lnTo>
                  <a:pt x="3604" y="1046"/>
                </a:lnTo>
                <a:lnTo>
                  <a:pt x="3602" y="1047"/>
                </a:lnTo>
                <a:lnTo>
                  <a:pt x="3601" y="1048"/>
                </a:lnTo>
                <a:lnTo>
                  <a:pt x="3599" y="1049"/>
                </a:lnTo>
                <a:lnTo>
                  <a:pt x="3595" y="1049"/>
                </a:lnTo>
                <a:lnTo>
                  <a:pt x="3591" y="1049"/>
                </a:lnTo>
                <a:lnTo>
                  <a:pt x="3588" y="1048"/>
                </a:lnTo>
                <a:lnTo>
                  <a:pt x="3585" y="1046"/>
                </a:lnTo>
                <a:lnTo>
                  <a:pt x="3583" y="1044"/>
                </a:lnTo>
                <a:lnTo>
                  <a:pt x="3581" y="1041"/>
                </a:lnTo>
                <a:lnTo>
                  <a:pt x="3580" y="1039"/>
                </a:lnTo>
                <a:lnTo>
                  <a:pt x="3579" y="1036"/>
                </a:lnTo>
                <a:lnTo>
                  <a:pt x="3579" y="1033"/>
                </a:lnTo>
                <a:lnTo>
                  <a:pt x="3579" y="1030"/>
                </a:lnTo>
                <a:lnTo>
                  <a:pt x="3580" y="1027"/>
                </a:lnTo>
                <a:lnTo>
                  <a:pt x="3581" y="1025"/>
                </a:lnTo>
                <a:lnTo>
                  <a:pt x="3583" y="1023"/>
                </a:lnTo>
                <a:lnTo>
                  <a:pt x="3585" y="1021"/>
                </a:lnTo>
                <a:lnTo>
                  <a:pt x="3587" y="1020"/>
                </a:lnTo>
                <a:close/>
                <a:moveTo>
                  <a:pt x="1349" y="2220"/>
                </a:moveTo>
                <a:lnTo>
                  <a:pt x="1352" y="2219"/>
                </a:lnTo>
                <a:lnTo>
                  <a:pt x="1355" y="2218"/>
                </a:lnTo>
                <a:lnTo>
                  <a:pt x="1359" y="2218"/>
                </a:lnTo>
                <a:lnTo>
                  <a:pt x="1362" y="2219"/>
                </a:lnTo>
                <a:lnTo>
                  <a:pt x="1364" y="2220"/>
                </a:lnTo>
                <a:lnTo>
                  <a:pt x="1367" y="2222"/>
                </a:lnTo>
                <a:lnTo>
                  <a:pt x="1369" y="2224"/>
                </a:lnTo>
                <a:lnTo>
                  <a:pt x="1371" y="2226"/>
                </a:lnTo>
                <a:lnTo>
                  <a:pt x="1372" y="2229"/>
                </a:lnTo>
                <a:lnTo>
                  <a:pt x="1373" y="2232"/>
                </a:lnTo>
                <a:lnTo>
                  <a:pt x="1373" y="2235"/>
                </a:lnTo>
                <a:lnTo>
                  <a:pt x="1372" y="2238"/>
                </a:lnTo>
                <a:lnTo>
                  <a:pt x="1371" y="2241"/>
                </a:lnTo>
                <a:lnTo>
                  <a:pt x="1370" y="2243"/>
                </a:lnTo>
                <a:lnTo>
                  <a:pt x="1367" y="2246"/>
                </a:lnTo>
                <a:lnTo>
                  <a:pt x="1365" y="2247"/>
                </a:lnTo>
                <a:lnTo>
                  <a:pt x="1362" y="2249"/>
                </a:lnTo>
                <a:lnTo>
                  <a:pt x="1359" y="2249"/>
                </a:lnTo>
                <a:lnTo>
                  <a:pt x="1356" y="2249"/>
                </a:lnTo>
                <a:lnTo>
                  <a:pt x="1353" y="2249"/>
                </a:lnTo>
                <a:lnTo>
                  <a:pt x="1350" y="2248"/>
                </a:lnTo>
                <a:lnTo>
                  <a:pt x="1347" y="2246"/>
                </a:lnTo>
                <a:lnTo>
                  <a:pt x="1345" y="2244"/>
                </a:lnTo>
                <a:lnTo>
                  <a:pt x="1343" y="2241"/>
                </a:lnTo>
                <a:lnTo>
                  <a:pt x="1342" y="2238"/>
                </a:lnTo>
                <a:lnTo>
                  <a:pt x="1341" y="2235"/>
                </a:lnTo>
                <a:lnTo>
                  <a:pt x="1341" y="2232"/>
                </a:lnTo>
                <a:lnTo>
                  <a:pt x="1342" y="2230"/>
                </a:lnTo>
                <a:lnTo>
                  <a:pt x="1343" y="2227"/>
                </a:lnTo>
                <a:lnTo>
                  <a:pt x="1345" y="2224"/>
                </a:lnTo>
                <a:lnTo>
                  <a:pt x="1347" y="2222"/>
                </a:lnTo>
                <a:lnTo>
                  <a:pt x="1349" y="2220"/>
                </a:lnTo>
                <a:close/>
                <a:moveTo>
                  <a:pt x="1473" y="2148"/>
                </a:moveTo>
                <a:lnTo>
                  <a:pt x="1476" y="2146"/>
                </a:lnTo>
                <a:lnTo>
                  <a:pt x="1479" y="2146"/>
                </a:lnTo>
                <a:lnTo>
                  <a:pt x="1482" y="2146"/>
                </a:lnTo>
                <a:lnTo>
                  <a:pt x="1485" y="2146"/>
                </a:lnTo>
                <a:lnTo>
                  <a:pt x="1488" y="2147"/>
                </a:lnTo>
                <a:lnTo>
                  <a:pt x="1490" y="2148"/>
                </a:lnTo>
                <a:lnTo>
                  <a:pt x="1493" y="2150"/>
                </a:lnTo>
                <a:lnTo>
                  <a:pt x="1494" y="2153"/>
                </a:lnTo>
                <a:lnTo>
                  <a:pt x="1496" y="2156"/>
                </a:lnTo>
                <a:lnTo>
                  <a:pt x="1497" y="2159"/>
                </a:lnTo>
                <a:lnTo>
                  <a:pt x="1497" y="2162"/>
                </a:lnTo>
                <a:lnTo>
                  <a:pt x="1497" y="2165"/>
                </a:lnTo>
                <a:lnTo>
                  <a:pt x="1496" y="2168"/>
                </a:lnTo>
                <a:lnTo>
                  <a:pt x="1494" y="2170"/>
                </a:lnTo>
                <a:lnTo>
                  <a:pt x="1492" y="2173"/>
                </a:lnTo>
                <a:lnTo>
                  <a:pt x="1490" y="2174"/>
                </a:lnTo>
                <a:lnTo>
                  <a:pt x="1487" y="2176"/>
                </a:lnTo>
                <a:lnTo>
                  <a:pt x="1484" y="2177"/>
                </a:lnTo>
                <a:lnTo>
                  <a:pt x="1481" y="2177"/>
                </a:lnTo>
                <a:lnTo>
                  <a:pt x="1478" y="2176"/>
                </a:lnTo>
                <a:lnTo>
                  <a:pt x="1475" y="2175"/>
                </a:lnTo>
                <a:lnTo>
                  <a:pt x="1472" y="2174"/>
                </a:lnTo>
                <a:lnTo>
                  <a:pt x="1470" y="2172"/>
                </a:lnTo>
                <a:lnTo>
                  <a:pt x="1468" y="2170"/>
                </a:lnTo>
                <a:lnTo>
                  <a:pt x="1467" y="2167"/>
                </a:lnTo>
                <a:lnTo>
                  <a:pt x="1466" y="2164"/>
                </a:lnTo>
                <a:lnTo>
                  <a:pt x="1466" y="2161"/>
                </a:lnTo>
                <a:lnTo>
                  <a:pt x="1466" y="2158"/>
                </a:lnTo>
                <a:lnTo>
                  <a:pt x="1467" y="2155"/>
                </a:lnTo>
                <a:lnTo>
                  <a:pt x="1468" y="2152"/>
                </a:lnTo>
                <a:lnTo>
                  <a:pt x="1470" y="2150"/>
                </a:lnTo>
                <a:lnTo>
                  <a:pt x="1473" y="2148"/>
                </a:lnTo>
                <a:close/>
                <a:moveTo>
                  <a:pt x="1099" y="2362"/>
                </a:moveTo>
                <a:lnTo>
                  <a:pt x="1102" y="2361"/>
                </a:lnTo>
                <a:lnTo>
                  <a:pt x="1105" y="2360"/>
                </a:lnTo>
                <a:lnTo>
                  <a:pt x="1108" y="2360"/>
                </a:lnTo>
                <a:lnTo>
                  <a:pt x="1110" y="2361"/>
                </a:lnTo>
                <a:lnTo>
                  <a:pt x="1113" y="2362"/>
                </a:lnTo>
                <a:lnTo>
                  <a:pt x="1116" y="2363"/>
                </a:lnTo>
                <a:lnTo>
                  <a:pt x="1118" y="2365"/>
                </a:lnTo>
                <a:lnTo>
                  <a:pt x="1120" y="2367"/>
                </a:lnTo>
                <a:lnTo>
                  <a:pt x="1121" y="2369"/>
                </a:lnTo>
                <a:lnTo>
                  <a:pt x="1122" y="2371"/>
                </a:lnTo>
                <a:lnTo>
                  <a:pt x="1123" y="2375"/>
                </a:lnTo>
                <a:lnTo>
                  <a:pt x="1122" y="2379"/>
                </a:lnTo>
                <a:lnTo>
                  <a:pt x="1121" y="2383"/>
                </a:lnTo>
                <a:lnTo>
                  <a:pt x="1093" y="2383"/>
                </a:lnTo>
                <a:lnTo>
                  <a:pt x="1092" y="2380"/>
                </a:lnTo>
                <a:lnTo>
                  <a:pt x="1091" y="2378"/>
                </a:lnTo>
                <a:lnTo>
                  <a:pt x="1091" y="2375"/>
                </a:lnTo>
                <a:lnTo>
                  <a:pt x="1092" y="2372"/>
                </a:lnTo>
                <a:lnTo>
                  <a:pt x="1093" y="2369"/>
                </a:lnTo>
                <a:lnTo>
                  <a:pt x="1094" y="2367"/>
                </a:lnTo>
                <a:lnTo>
                  <a:pt x="1096" y="2365"/>
                </a:lnTo>
                <a:lnTo>
                  <a:pt x="1098" y="2363"/>
                </a:lnTo>
                <a:lnTo>
                  <a:pt x="1099" y="2362"/>
                </a:lnTo>
                <a:close/>
                <a:moveTo>
                  <a:pt x="1222" y="2288"/>
                </a:moveTo>
                <a:lnTo>
                  <a:pt x="1225" y="2286"/>
                </a:lnTo>
                <a:lnTo>
                  <a:pt x="1228" y="2286"/>
                </a:lnTo>
                <a:lnTo>
                  <a:pt x="1231" y="2286"/>
                </a:lnTo>
                <a:lnTo>
                  <a:pt x="1234" y="2286"/>
                </a:lnTo>
                <a:lnTo>
                  <a:pt x="1237" y="2287"/>
                </a:lnTo>
                <a:lnTo>
                  <a:pt x="1240" y="2289"/>
                </a:lnTo>
                <a:lnTo>
                  <a:pt x="1242" y="2291"/>
                </a:lnTo>
                <a:lnTo>
                  <a:pt x="1244" y="2294"/>
                </a:lnTo>
                <a:lnTo>
                  <a:pt x="1245" y="2297"/>
                </a:lnTo>
                <a:lnTo>
                  <a:pt x="1245" y="2300"/>
                </a:lnTo>
                <a:lnTo>
                  <a:pt x="1246" y="2303"/>
                </a:lnTo>
                <a:lnTo>
                  <a:pt x="1245" y="2305"/>
                </a:lnTo>
                <a:lnTo>
                  <a:pt x="1244" y="2308"/>
                </a:lnTo>
                <a:lnTo>
                  <a:pt x="1242" y="2311"/>
                </a:lnTo>
                <a:lnTo>
                  <a:pt x="1240" y="2313"/>
                </a:lnTo>
                <a:lnTo>
                  <a:pt x="1238" y="2315"/>
                </a:lnTo>
                <a:lnTo>
                  <a:pt x="1235" y="2316"/>
                </a:lnTo>
                <a:lnTo>
                  <a:pt x="1232" y="2317"/>
                </a:lnTo>
                <a:lnTo>
                  <a:pt x="1229" y="2317"/>
                </a:lnTo>
                <a:lnTo>
                  <a:pt x="1226" y="2316"/>
                </a:lnTo>
                <a:lnTo>
                  <a:pt x="1223" y="2315"/>
                </a:lnTo>
                <a:lnTo>
                  <a:pt x="1220" y="2314"/>
                </a:lnTo>
                <a:lnTo>
                  <a:pt x="1218" y="2312"/>
                </a:lnTo>
                <a:lnTo>
                  <a:pt x="1216" y="2309"/>
                </a:lnTo>
                <a:lnTo>
                  <a:pt x="1215" y="2306"/>
                </a:lnTo>
                <a:lnTo>
                  <a:pt x="1214" y="2303"/>
                </a:lnTo>
                <a:lnTo>
                  <a:pt x="1214" y="2300"/>
                </a:lnTo>
                <a:lnTo>
                  <a:pt x="1215" y="2297"/>
                </a:lnTo>
                <a:lnTo>
                  <a:pt x="1216" y="2294"/>
                </a:lnTo>
                <a:lnTo>
                  <a:pt x="1217" y="2292"/>
                </a:lnTo>
                <a:lnTo>
                  <a:pt x="1219" y="2290"/>
                </a:lnTo>
                <a:lnTo>
                  <a:pt x="1222" y="2288"/>
                </a:lnTo>
                <a:close/>
                <a:moveTo>
                  <a:pt x="1591" y="2066"/>
                </a:moveTo>
                <a:lnTo>
                  <a:pt x="1594" y="2064"/>
                </a:lnTo>
                <a:lnTo>
                  <a:pt x="1597" y="2064"/>
                </a:lnTo>
                <a:lnTo>
                  <a:pt x="1602" y="2064"/>
                </a:lnTo>
                <a:lnTo>
                  <a:pt x="1605" y="2065"/>
                </a:lnTo>
                <a:lnTo>
                  <a:pt x="1607" y="2066"/>
                </a:lnTo>
                <a:lnTo>
                  <a:pt x="1610" y="2067"/>
                </a:lnTo>
                <a:lnTo>
                  <a:pt x="1611" y="2069"/>
                </a:lnTo>
                <a:lnTo>
                  <a:pt x="1612" y="2070"/>
                </a:lnTo>
                <a:lnTo>
                  <a:pt x="1613" y="2072"/>
                </a:lnTo>
                <a:lnTo>
                  <a:pt x="1614" y="2075"/>
                </a:lnTo>
                <a:lnTo>
                  <a:pt x="1615" y="2078"/>
                </a:lnTo>
                <a:lnTo>
                  <a:pt x="1615" y="2081"/>
                </a:lnTo>
                <a:lnTo>
                  <a:pt x="1614" y="2084"/>
                </a:lnTo>
                <a:lnTo>
                  <a:pt x="1613" y="2087"/>
                </a:lnTo>
                <a:lnTo>
                  <a:pt x="1611" y="2089"/>
                </a:lnTo>
                <a:lnTo>
                  <a:pt x="1609" y="2092"/>
                </a:lnTo>
                <a:lnTo>
                  <a:pt x="1607" y="2093"/>
                </a:lnTo>
                <a:lnTo>
                  <a:pt x="1604" y="2094"/>
                </a:lnTo>
                <a:lnTo>
                  <a:pt x="1602" y="2095"/>
                </a:lnTo>
                <a:lnTo>
                  <a:pt x="1596" y="2095"/>
                </a:lnTo>
                <a:lnTo>
                  <a:pt x="1593" y="2094"/>
                </a:lnTo>
                <a:lnTo>
                  <a:pt x="1591" y="2093"/>
                </a:lnTo>
                <a:lnTo>
                  <a:pt x="1589" y="2091"/>
                </a:lnTo>
                <a:lnTo>
                  <a:pt x="1588" y="2090"/>
                </a:lnTo>
                <a:lnTo>
                  <a:pt x="1587" y="2089"/>
                </a:lnTo>
                <a:lnTo>
                  <a:pt x="1585" y="2086"/>
                </a:lnTo>
                <a:lnTo>
                  <a:pt x="1584" y="2083"/>
                </a:lnTo>
                <a:lnTo>
                  <a:pt x="1583" y="2080"/>
                </a:lnTo>
                <a:lnTo>
                  <a:pt x="1584" y="2077"/>
                </a:lnTo>
                <a:lnTo>
                  <a:pt x="1584" y="2074"/>
                </a:lnTo>
                <a:lnTo>
                  <a:pt x="1585" y="2071"/>
                </a:lnTo>
                <a:lnTo>
                  <a:pt x="1587" y="2069"/>
                </a:lnTo>
                <a:lnTo>
                  <a:pt x="1590" y="2067"/>
                </a:lnTo>
                <a:lnTo>
                  <a:pt x="1591" y="2066"/>
                </a:lnTo>
                <a:close/>
                <a:moveTo>
                  <a:pt x="3456" y="959"/>
                </a:moveTo>
                <a:lnTo>
                  <a:pt x="3460" y="957"/>
                </a:lnTo>
                <a:lnTo>
                  <a:pt x="3463" y="957"/>
                </a:lnTo>
                <a:lnTo>
                  <a:pt x="3467" y="957"/>
                </a:lnTo>
                <a:lnTo>
                  <a:pt x="3469" y="957"/>
                </a:lnTo>
                <a:lnTo>
                  <a:pt x="3471" y="958"/>
                </a:lnTo>
                <a:lnTo>
                  <a:pt x="3473" y="960"/>
                </a:lnTo>
                <a:lnTo>
                  <a:pt x="3476" y="962"/>
                </a:lnTo>
                <a:lnTo>
                  <a:pt x="3477" y="964"/>
                </a:lnTo>
                <a:lnTo>
                  <a:pt x="3479" y="967"/>
                </a:lnTo>
                <a:lnTo>
                  <a:pt x="3480" y="970"/>
                </a:lnTo>
                <a:lnTo>
                  <a:pt x="3480" y="973"/>
                </a:lnTo>
                <a:lnTo>
                  <a:pt x="3479" y="976"/>
                </a:lnTo>
                <a:lnTo>
                  <a:pt x="3478" y="979"/>
                </a:lnTo>
                <a:lnTo>
                  <a:pt x="3476" y="983"/>
                </a:lnTo>
                <a:lnTo>
                  <a:pt x="3474" y="984"/>
                </a:lnTo>
                <a:lnTo>
                  <a:pt x="3472" y="986"/>
                </a:lnTo>
                <a:lnTo>
                  <a:pt x="3469" y="987"/>
                </a:lnTo>
                <a:lnTo>
                  <a:pt x="3465" y="988"/>
                </a:lnTo>
                <a:lnTo>
                  <a:pt x="3461" y="988"/>
                </a:lnTo>
                <a:lnTo>
                  <a:pt x="3459" y="987"/>
                </a:lnTo>
                <a:lnTo>
                  <a:pt x="3458" y="987"/>
                </a:lnTo>
                <a:lnTo>
                  <a:pt x="3455" y="985"/>
                </a:lnTo>
                <a:lnTo>
                  <a:pt x="3453" y="983"/>
                </a:lnTo>
                <a:lnTo>
                  <a:pt x="3451" y="980"/>
                </a:lnTo>
                <a:lnTo>
                  <a:pt x="3449" y="978"/>
                </a:lnTo>
                <a:lnTo>
                  <a:pt x="3449" y="975"/>
                </a:lnTo>
                <a:lnTo>
                  <a:pt x="3448" y="972"/>
                </a:lnTo>
                <a:lnTo>
                  <a:pt x="3449" y="969"/>
                </a:lnTo>
                <a:lnTo>
                  <a:pt x="3450" y="966"/>
                </a:lnTo>
                <a:lnTo>
                  <a:pt x="3452" y="962"/>
                </a:lnTo>
                <a:lnTo>
                  <a:pt x="3454" y="960"/>
                </a:lnTo>
                <a:lnTo>
                  <a:pt x="3456" y="959"/>
                </a:lnTo>
                <a:close/>
                <a:moveTo>
                  <a:pt x="1700" y="1972"/>
                </a:moveTo>
                <a:lnTo>
                  <a:pt x="1702" y="1971"/>
                </a:lnTo>
                <a:lnTo>
                  <a:pt x="1705" y="1970"/>
                </a:lnTo>
                <a:lnTo>
                  <a:pt x="1707" y="1970"/>
                </a:lnTo>
                <a:lnTo>
                  <a:pt x="1710" y="1970"/>
                </a:lnTo>
                <a:lnTo>
                  <a:pt x="1715" y="1972"/>
                </a:lnTo>
                <a:lnTo>
                  <a:pt x="1717" y="1973"/>
                </a:lnTo>
                <a:lnTo>
                  <a:pt x="1719" y="1975"/>
                </a:lnTo>
                <a:lnTo>
                  <a:pt x="1721" y="1977"/>
                </a:lnTo>
                <a:lnTo>
                  <a:pt x="1723" y="1980"/>
                </a:lnTo>
                <a:lnTo>
                  <a:pt x="1723" y="1983"/>
                </a:lnTo>
                <a:lnTo>
                  <a:pt x="1724" y="1986"/>
                </a:lnTo>
                <a:lnTo>
                  <a:pt x="1723" y="1989"/>
                </a:lnTo>
                <a:lnTo>
                  <a:pt x="1722" y="1992"/>
                </a:lnTo>
                <a:lnTo>
                  <a:pt x="1721" y="1994"/>
                </a:lnTo>
                <a:lnTo>
                  <a:pt x="1719" y="1997"/>
                </a:lnTo>
                <a:lnTo>
                  <a:pt x="1716" y="1999"/>
                </a:lnTo>
                <a:lnTo>
                  <a:pt x="1713" y="2000"/>
                </a:lnTo>
                <a:lnTo>
                  <a:pt x="1711" y="2001"/>
                </a:lnTo>
                <a:lnTo>
                  <a:pt x="1708" y="2001"/>
                </a:lnTo>
                <a:lnTo>
                  <a:pt x="1706" y="2001"/>
                </a:lnTo>
                <a:lnTo>
                  <a:pt x="1701" y="2000"/>
                </a:lnTo>
                <a:lnTo>
                  <a:pt x="1699" y="1998"/>
                </a:lnTo>
                <a:lnTo>
                  <a:pt x="1697" y="1997"/>
                </a:lnTo>
                <a:lnTo>
                  <a:pt x="1695" y="1994"/>
                </a:lnTo>
                <a:lnTo>
                  <a:pt x="1693" y="1991"/>
                </a:lnTo>
                <a:lnTo>
                  <a:pt x="1692" y="1988"/>
                </a:lnTo>
                <a:lnTo>
                  <a:pt x="1692" y="1985"/>
                </a:lnTo>
                <a:lnTo>
                  <a:pt x="1693" y="1982"/>
                </a:lnTo>
                <a:lnTo>
                  <a:pt x="1694" y="1980"/>
                </a:lnTo>
                <a:lnTo>
                  <a:pt x="1695" y="1977"/>
                </a:lnTo>
                <a:lnTo>
                  <a:pt x="1697" y="1974"/>
                </a:lnTo>
                <a:lnTo>
                  <a:pt x="1700" y="1972"/>
                </a:lnTo>
                <a:close/>
                <a:moveTo>
                  <a:pt x="1796" y="1865"/>
                </a:moveTo>
                <a:lnTo>
                  <a:pt x="1800" y="1863"/>
                </a:lnTo>
                <a:lnTo>
                  <a:pt x="1805" y="1863"/>
                </a:lnTo>
                <a:lnTo>
                  <a:pt x="1807" y="1863"/>
                </a:lnTo>
                <a:lnTo>
                  <a:pt x="1809" y="1864"/>
                </a:lnTo>
                <a:lnTo>
                  <a:pt x="1813" y="1866"/>
                </a:lnTo>
                <a:lnTo>
                  <a:pt x="1815" y="1868"/>
                </a:lnTo>
                <a:lnTo>
                  <a:pt x="1817" y="1871"/>
                </a:lnTo>
                <a:lnTo>
                  <a:pt x="1818" y="1874"/>
                </a:lnTo>
                <a:lnTo>
                  <a:pt x="1819" y="1877"/>
                </a:lnTo>
                <a:lnTo>
                  <a:pt x="1819" y="1880"/>
                </a:lnTo>
                <a:lnTo>
                  <a:pt x="1819" y="1883"/>
                </a:lnTo>
                <a:lnTo>
                  <a:pt x="1818" y="1886"/>
                </a:lnTo>
                <a:lnTo>
                  <a:pt x="1816" y="1888"/>
                </a:lnTo>
                <a:lnTo>
                  <a:pt x="1814" y="1891"/>
                </a:lnTo>
                <a:lnTo>
                  <a:pt x="1811" y="1892"/>
                </a:lnTo>
                <a:lnTo>
                  <a:pt x="1807" y="1894"/>
                </a:lnTo>
                <a:lnTo>
                  <a:pt x="1803" y="1894"/>
                </a:lnTo>
                <a:lnTo>
                  <a:pt x="1800" y="1894"/>
                </a:lnTo>
                <a:lnTo>
                  <a:pt x="1798" y="1893"/>
                </a:lnTo>
                <a:lnTo>
                  <a:pt x="1794" y="1891"/>
                </a:lnTo>
                <a:lnTo>
                  <a:pt x="1792" y="1889"/>
                </a:lnTo>
                <a:lnTo>
                  <a:pt x="1790" y="1886"/>
                </a:lnTo>
                <a:lnTo>
                  <a:pt x="1789" y="1884"/>
                </a:lnTo>
                <a:lnTo>
                  <a:pt x="1788" y="1881"/>
                </a:lnTo>
                <a:lnTo>
                  <a:pt x="1788" y="1878"/>
                </a:lnTo>
                <a:lnTo>
                  <a:pt x="1788" y="1875"/>
                </a:lnTo>
                <a:lnTo>
                  <a:pt x="1789" y="1872"/>
                </a:lnTo>
                <a:lnTo>
                  <a:pt x="1791" y="1869"/>
                </a:lnTo>
                <a:lnTo>
                  <a:pt x="1793" y="1867"/>
                </a:lnTo>
                <a:lnTo>
                  <a:pt x="1796" y="1865"/>
                </a:lnTo>
                <a:close/>
                <a:moveTo>
                  <a:pt x="1873" y="1743"/>
                </a:moveTo>
                <a:lnTo>
                  <a:pt x="1874" y="1742"/>
                </a:lnTo>
                <a:lnTo>
                  <a:pt x="1876" y="1742"/>
                </a:lnTo>
                <a:lnTo>
                  <a:pt x="1880" y="1741"/>
                </a:lnTo>
                <a:lnTo>
                  <a:pt x="1884" y="1741"/>
                </a:lnTo>
                <a:lnTo>
                  <a:pt x="1888" y="1743"/>
                </a:lnTo>
                <a:lnTo>
                  <a:pt x="1890" y="1744"/>
                </a:lnTo>
                <a:lnTo>
                  <a:pt x="1893" y="1747"/>
                </a:lnTo>
                <a:lnTo>
                  <a:pt x="1894" y="1749"/>
                </a:lnTo>
                <a:lnTo>
                  <a:pt x="1896" y="1752"/>
                </a:lnTo>
                <a:lnTo>
                  <a:pt x="1896" y="1758"/>
                </a:lnTo>
                <a:lnTo>
                  <a:pt x="1896" y="1761"/>
                </a:lnTo>
                <a:lnTo>
                  <a:pt x="1895" y="1764"/>
                </a:lnTo>
                <a:lnTo>
                  <a:pt x="1893" y="1766"/>
                </a:lnTo>
                <a:lnTo>
                  <a:pt x="1892" y="1768"/>
                </a:lnTo>
                <a:lnTo>
                  <a:pt x="1888" y="1770"/>
                </a:lnTo>
                <a:lnTo>
                  <a:pt x="1887" y="1771"/>
                </a:lnTo>
                <a:lnTo>
                  <a:pt x="1885" y="1772"/>
                </a:lnTo>
                <a:lnTo>
                  <a:pt x="1881" y="1772"/>
                </a:lnTo>
                <a:lnTo>
                  <a:pt x="1877" y="1772"/>
                </a:lnTo>
                <a:lnTo>
                  <a:pt x="1873" y="1771"/>
                </a:lnTo>
                <a:lnTo>
                  <a:pt x="1871" y="1769"/>
                </a:lnTo>
                <a:lnTo>
                  <a:pt x="1869" y="1767"/>
                </a:lnTo>
                <a:lnTo>
                  <a:pt x="1867" y="1764"/>
                </a:lnTo>
                <a:lnTo>
                  <a:pt x="1866" y="1761"/>
                </a:lnTo>
                <a:lnTo>
                  <a:pt x="1865" y="1755"/>
                </a:lnTo>
                <a:lnTo>
                  <a:pt x="1865" y="1752"/>
                </a:lnTo>
                <a:lnTo>
                  <a:pt x="1867" y="1749"/>
                </a:lnTo>
                <a:lnTo>
                  <a:pt x="1868" y="1748"/>
                </a:lnTo>
                <a:lnTo>
                  <a:pt x="1869" y="1746"/>
                </a:lnTo>
                <a:lnTo>
                  <a:pt x="1873" y="1743"/>
                </a:lnTo>
                <a:close/>
                <a:moveTo>
                  <a:pt x="3324" y="902"/>
                </a:moveTo>
                <a:lnTo>
                  <a:pt x="3327" y="900"/>
                </a:lnTo>
                <a:lnTo>
                  <a:pt x="3331" y="900"/>
                </a:lnTo>
                <a:lnTo>
                  <a:pt x="3334" y="900"/>
                </a:lnTo>
                <a:lnTo>
                  <a:pt x="3338" y="901"/>
                </a:lnTo>
                <a:lnTo>
                  <a:pt x="3341" y="902"/>
                </a:lnTo>
                <a:lnTo>
                  <a:pt x="3343" y="904"/>
                </a:lnTo>
                <a:lnTo>
                  <a:pt x="3345" y="907"/>
                </a:lnTo>
                <a:lnTo>
                  <a:pt x="3346" y="909"/>
                </a:lnTo>
                <a:lnTo>
                  <a:pt x="3347" y="912"/>
                </a:lnTo>
                <a:lnTo>
                  <a:pt x="3347" y="915"/>
                </a:lnTo>
                <a:lnTo>
                  <a:pt x="3347" y="918"/>
                </a:lnTo>
                <a:lnTo>
                  <a:pt x="3346" y="921"/>
                </a:lnTo>
                <a:lnTo>
                  <a:pt x="3345" y="924"/>
                </a:lnTo>
                <a:lnTo>
                  <a:pt x="3344" y="926"/>
                </a:lnTo>
                <a:lnTo>
                  <a:pt x="3340" y="929"/>
                </a:lnTo>
                <a:lnTo>
                  <a:pt x="3336" y="930"/>
                </a:lnTo>
                <a:lnTo>
                  <a:pt x="3333" y="931"/>
                </a:lnTo>
                <a:lnTo>
                  <a:pt x="3329" y="931"/>
                </a:lnTo>
                <a:lnTo>
                  <a:pt x="3326" y="930"/>
                </a:lnTo>
                <a:lnTo>
                  <a:pt x="3323" y="928"/>
                </a:lnTo>
                <a:lnTo>
                  <a:pt x="3321" y="926"/>
                </a:lnTo>
                <a:lnTo>
                  <a:pt x="3319" y="924"/>
                </a:lnTo>
                <a:lnTo>
                  <a:pt x="3317" y="921"/>
                </a:lnTo>
                <a:lnTo>
                  <a:pt x="3316" y="919"/>
                </a:lnTo>
                <a:lnTo>
                  <a:pt x="3316" y="916"/>
                </a:lnTo>
                <a:lnTo>
                  <a:pt x="3316" y="912"/>
                </a:lnTo>
                <a:lnTo>
                  <a:pt x="3317" y="909"/>
                </a:lnTo>
                <a:lnTo>
                  <a:pt x="3318" y="907"/>
                </a:lnTo>
                <a:lnTo>
                  <a:pt x="3320" y="905"/>
                </a:lnTo>
                <a:lnTo>
                  <a:pt x="3324" y="902"/>
                </a:lnTo>
                <a:close/>
                <a:moveTo>
                  <a:pt x="1926" y="1610"/>
                </a:moveTo>
                <a:lnTo>
                  <a:pt x="1929" y="1609"/>
                </a:lnTo>
                <a:lnTo>
                  <a:pt x="1932" y="1608"/>
                </a:lnTo>
                <a:lnTo>
                  <a:pt x="1935" y="1608"/>
                </a:lnTo>
                <a:lnTo>
                  <a:pt x="1939" y="1609"/>
                </a:lnTo>
                <a:lnTo>
                  <a:pt x="1942" y="1610"/>
                </a:lnTo>
                <a:lnTo>
                  <a:pt x="1944" y="1611"/>
                </a:lnTo>
                <a:lnTo>
                  <a:pt x="1946" y="1614"/>
                </a:lnTo>
                <a:lnTo>
                  <a:pt x="1948" y="1616"/>
                </a:lnTo>
                <a:lnTo>
                  <a:pt x="1949" y="1619"/>
                </a:lnTo>
                <a:lnTo>
                  <a:pt x="1950" y="1622"/>
                </a:lnTo>
                <a:lnTo>
                  <a:pt x="1950" y="1625"/>
                </a:lnTo>
                <a:lnTo>
                  <a:pt x="1949" y="1628"/>
                </a:lnTo>
                <a:lnTo>
                  <a:pt x="1948" y="1631"/>
                </a:lnTo>
                <a:lnTo>
                  <a:pt x="1946" y="1633"/>
                </a:lnTo>
                <a:lnTo>
                  <a:pt x="1944" y="1635"/>
                </a:lnTo>
                <a:lnTo>
                  <a:pt x="1942" y="1637"/>
                </a:lnTo>
                <a:lnTo>
                  <a:pt x="1939" y="1638"/>
                </a:lnTo>
                <a:lnTo>
                  <a:pt x="1936" y="1639"/>
                </a:lnTo>
                <a:lnTo>
                  <a:pt x="1933" y="1639"/>
                </a:lnTo>
                <a:lnTo>
                  <a:pt x="1930" y="1639"/>
                </a:lnTo>
                <a:lnTo>
                  <a:pt x="1927" y="1637"/>
                </a:lnTo>
                <a:lnTo>
                  <a:pt x="1924" y="1636"/>
                </a:lnTo>
                <a:lnTo>
                  <a:pt x="1922" y="1633"/>
                </a:lnTo>
                <a:lnTo>
                  <a:pt x="1920" y="1631"/>
                </a:lnTo>
                <a:lnTo>
                  <a:pt x="1919" y="1628"/>
                </a:lnTo>
                <a:lnTo>
                  <a:pt x="1919" y="1625"/>
                </a:lnTo>
                <a:lnTo>
                  <a:pt x="1919" y="1622"/>
                </a:lnTo>
                <a:lnTo>
                  <a:pt x="1919" y="1619"/>
                </a:lnTo>
                <a:lnTo>
                  <a:pt x="1920" y="1616"/>
                </a:lnTo>
                <a:lnTo>
                  <a:pt x="1922" y="1614"/>
                </a:lnTo>
                <a:lnTo>
                  <a:pt x="1924" y="1612"/>
                </a:lnTo>
                <a:lnTo>
                  <a:pt x="1926" y="1610"/>
                </a:lnTo>
                <a:close/>
                <a:moveTo>
                  <a:pt x="3189" y="851"/>
                </a:moveTo>
                <a:lnTo>
                  <a:pt x="3192" y="849"/>
                </a:lnTo>
                <a:lnTo>
                  <a:pt x="3196" y="849"/>
                </a:lnTo>
                <a:lnTo>
                  <a:pt x="3199" y="849"/>
                </a:lnTo>
                <a:lnTo>
                  <a:pt x="3202" y="849"/>
                </a:lnTo>
                <a:lnTo>
                  <a:pt x="3205" y="851"/>
                </a:lnTo>
                <a:lnTo>
                  <a:pt x="3208" y="853"/>
                </a:lnTo>
                <a:lnTo>
                  <a:pt x="3210" y="855"/>
                </a:lnTo>
                <a:lnTo>
                  <a:pt x="3211" y="857"/>
                </a:lnTo>
                <a:lnTo>
                  <a:pt x="3212" y="860"/>
                </a:lnTo>
                <a:lnTo>
                  <a:pt x="3213" y="863"/>
                </a:lnTo>
                <a:lnTo>
                  <a:pt x="3212" y="869"/>
                </a:lnTo>
                <a:lnTo>
                  <a:pt x="3211" y="872"/>
                </a:lnTo>
                <a:lnTo>
                  <a:pt x="3209" y="874"/>
                </a:lnTo>
                <a:lnTo>
                  <a:pt x="3207" y="876"/>
                </a:lnTo>
                <a:lnTo>
                  <a:pt x="3205" y="878"/>
                </a:lnTo>
                <a:lnTo>
                  <a:pt x="3202" y="879"/>
                </a:lnTo>
                <a:lnTo>
                  <a:pt x="3199" y="880"/>
                </a:lnTo>
                <a:lnTo>
                  <a:pt x="3195" y="880"/>
                </a:lnTo>
                <a:lnTo>
                  <a:pt x="3192" y="879"/>
                </a:lnTo>
                <a:lnTo>
                  <a:pt x="3189" y="878"/>
                </a:lnTo>
                <a:lnTo>
                  <a:pt x="3187" y="876"/>
                </a:lnTo>
                <a:lnTo>
                  <a:pt x="3185" y="873"/>
                </a:lnTo>
                <a:lnTo>
                  <a:pt x="3183" y="871"/>
                </a:lnTo>
                <a:lnTo>
                  <a:pt x="3182" y="868"/>
                </a:lnTo>
                <a:lnTo>
                  <a:pt x="3182" y="865"/>
                </a:lnTo>
                <a:lnTo>
                  <a:pt x="3182" y="859"/>
                </a:lnTo>
                <a:lnTo>
                  <a:pt x="3184" y="856"/>
                </a:lnTo>
                <a:lnTo>
                  <a:pt x="3185" y="854"/>
                </a:lnTo>
                <a:lnTo>
                  <a:pt x="3187" y="852"/>
                </a:lnTo>
                <a:lnTo>
                  <a:pt x="3189" y="851"/>
                </a:lnTo>
                <a:close/>
                <a:moveTo>
                  <a:pt x="1957" y="1469"/>
                </a:moveTo>
                <a:lnTo>
                  <a:pt x="1959" y="1468"/>
                </a:lnTo>
                <a:lnTo>
                  <a:pt x="1961" y="1468"/>
                </a:lnTo>
                <a:lnTo>
                  <a:pt x="1964" y="1467"/>
                </a:lnTo>
                <a:lnTo>
                  <a:pt x="1967" y="1468"/>
                </a:lnTo>
                <a:lnTo>
                  <a:pt x="1970" y="1468"/>
                </a:lnTo>
                <a:lnTo>
                  <a:pt x="1973" y="1470"/>
                </a:lnTo>
                <a:lnTo>
                  <a:pt x="1975" y="1471"/>
                </a:lnTo>
                <a:lnTo>
                  <a:pt x="1977" y="1474"/>
                </a:lnTo>
                <a:lnTo>
                  <a:pt x="1979" y="1476"/>
                </a:lnTo>
                <a:lnTo>
                  <a:pt x="1980" y="1479"/>
                </a:lnTo>
                <a:lnTo>
                  <a:pt x="1980" y="1482"/>
                </a:lnTo>
                <a:lnTo>
                  <a:pt x="1980" y="1485"/>
                </a:lnTo>
                <a:lnTo>
                  <a:pt x="1979" y="1489"/>
                </a:lnTo>
                <a:lnTo>
                  <a:pt x="1977" y="1492"/>
                </a:lnTo>
                <a:lnTo>
                  <a:pt x="1975" y="1495"/>
                </a:lnTo>
                <a:lnTo>
                  <a:pt x="1972" y="1497"/>
                </a:lnTo>
                <a:lnTo>
                  <a:pt x="1970" y="1498"/>
                </a:lnTo>
                <a:lnTo>
                  <a:pt x="1967" y="1498"/>
                </a:lnTo>
                <a:lnTo>
                  <a:pt x="1965" y="1499"/>
                </a:lnTo>
                <a:lnTo>
                  <a:pt x="1962" y="1499"/>
                </a:lnTo>
                <a:lnTo>
                  <a:pt x="1959" y="1498"/>
                </a:lnTo>
                <a:lnTo>
                  <a:pt x="1956" y="1496"/>
                </a:lnTo>
                <a:lnTo>
                  <a:pt x="1954" y="1495"/>
                </a:lnTo>
                <a:lnTo>
                  <a:pt x="1952" y="1492"/>
                </a:lnTo>
                <a:lnTo>
                  <a:pt x="1950" y="1490"/>
                </a:lnTo>
                <a:lnTo>
                  <a:pt x="1949" y="1487"/>
                </a:lnTo>
                <a:lnTo>
                  <a:pt x="1949" y="1484"/>
                </a:lnTo>
                <a:lnTo>
                  <a:pt x="1949" y="1481"/>
                </a:lnTo>
                <a:lnTo>
                  <a:pt x="1950" y="1477"/>
                </a:lnTo>
                <a:lnTo>
                  <a:pt x="1952" y="1474"/>
                </a:lnTo>
                <a:lnTo>
                  <a:pt x="1954" y="1472"/>
                </a:lnTo>
                <a:lnTo>
                  <a:pt x="1957" y="1469"/>
                </a:lnTo>
                <a:close/>
                <a:moveTo>
                  <a:pt x="3052" y="807"/>
                </a:moveTo>
                <a:lnTo>
                  <a:pt x="3055" y="805"/>
                </a:lnTo>
                <a:lnTo>
                  <a:pt x="3058" y="805"/>
                </a:lnTo>
                <a:lnTo>
                  <a:pt x="3061" y="805"/>
                </a:lnTo>
                <a:lnTo>
                  <a:pt x="3064" y="805"/>
                </a:lnTo>
                <a:lnTo>
                  <a:pt x="3067" y="806"/>
                </a:lnTo>
                <a:lnTo>
                  <a:pt x="3070" y="808"/>
                </a:lnTo>
                <a:lnTo>
                  <a:pt x="3072" y="810"/>
                </a:lnTo>
                <a:lnTo>
                  <a:pt x="3074" y="813"/>
                </a:lnTo>
                <a:lnTo>
                  <a:pt x="3075" y="815"/>
                </a:lnTo>
                <a:lnTo>
                  <a:pt x="3076" y="818"/>
                </a:lnTo>
                <a:lnTo>
                  <a:pt x="3076" y="821"/>
                </a:lnTo>
                <a:lnTo>
                  <a:pt x="3075" y="825"/>
                </a:lnTo>
                <a:lnTo>
                  <a:pt x="3074" y="828"/>
                </a:lnTo>
                <a:lnTo>
                  <a:pt x="3072" y="830"/>
                </a:lnTo>
                <a:lnTo>
                  <a:pt x="3070" y="832"/>
                </a:lnTo>
                <a:lnTo>
                  <a:pt x="3068" y="834"/>
                </a:lnTo>
                <a:lnTo>
                  <a:pt x="3065" y="835"/>
                </a:lnTo>
                <a:lnTo>
                  <a:pt x="3062" y="836"/>
                </a:lnTo>
                <a:lnTo>
                  <a:pt x="3059" y="836"/>
                </a:lnTo>
                <a:lnTo>
                  <a:pt x="3056" y="835"/>
                </a:lnTo>
                <a:lnTo>
                  <a:pt x="3053" y="834"/>
                </a:lnTo>
                <a:lnTo>
                  <a:pt x="3050" y="833"/>
                </a:lnTo>
                <a:lnTo>
                  <a:pt x="3048" y="830"/>
                </a:lnTo>
                <a:lnTo>
                  <a:pt x="3046" y="828"/>
                </a:lnTo>
                <a:lnTo>
                  <a:pt x="3045" y="825"/>
                </a:lnTo>
                <a:lnTo>
                  <a:pt x="3045" y="822"/>
                </a:lnTo>
                <a:lnTo>
                  <a:pt x="3045" y="819"/>
                </a:lnTo>
                <a:lnTo>
                  <a:pt x="3045" y="816"/>
                </a:lnTo>
                <a:lnTo>
                  <a:pt x="3046" y="813"/>
                </a:lnTo>
                <a:lnTo>
                  <a:pt x="3048" y="811"/>
                </a:lnTo>
                <a:lnTo>
                  <a:pt x="3050" y="808"/>
                </a:lnTo>
                <a:lnTo>
                  <a:pt x="3052" y="807"/>
                </a:lnTo>
                <a:close/>
                <a:moveTo>
                  <a:pt x="1971" y="1326"/>
                </a:moveTo>
                <a:lnTo>
                  <a:pt x="1975" y="1324"/>
                </a:lnTo>
                <a:lnTo>
                  <a:pt x="1980" y="1324"/>
                </a:lnTo>
                <a:lnTo>
                  <a:pt x="1983" y="1325"/>
                </a:lnTo>
                <a:lnTo>
                  <a:pt x="1986" y="1326"/>
                </a:lnTo>
                <a:lnTo>
                  <a:pt x="1988" y="1327"/>
                </a:lnTo>
                <a:lnTo>
                  <a:pt x="1990" y="1329"/>
                </a:lnTo>
                <a:lnTo>
                  <a:pt x="1992" y="1332"/>
                </a:lnTo>
                <a:lnTo>
                  <a:pt x="1993" y="1335"/>
                </a:lnTo>
                <a:lnTo>
                  <a:pt x="1994" y="1338"/>
                </a:lnTo>
                <a:lnTo>
                  <a:pt x="1994" y="1341"/>
                </a:lnTo>
                <a:lnTo>
                  <a:pt x="1993" y="1345"/>
                </a:lnTo>
                <a:lnTo>
                  <a:pt x="1992" y="1348"/>
                </a:lnTo>
                <a:lnTo>
                  <a:pt x="1989" y="1351"/>
                </a:lnTo>
                <a:lnTo>
                  <a:pt x="1986" y="1353"/>
                </a:lnTo>
                <a:lnTo>
                  <a:pt x="1982" y="1355"/>
                </a:lnTo>
                <a:lnTo>
                  <a:pt x="1977" y="1355"/>
                </a:lnTo>
                <a:lnTo>
                  <a:pt x="1974" y="1355"/>
                </a:lnTo>
                <a:lnTo>
                  <a:pt x="1971" y="1354"/>
                </a:lnTo>
                <a:lnTo>
                  <a:pt x="1969" y="1352"/>
                </a:lnTo>
                <a:lnTo>
                  <a:pt x="1967" y="1350"/>
                </a:lnTo>
                <a:lnTo>
                  <a:pt x="1965" y="1348"/>
                </a:lnTo>
                <a:lnTo>
                  <a:pt x="1964" y="1345"/>
                </a:lnTo>
                <a:lnTo>
                  <a:pt x="1963" y="1342"/>
                </a:lnTo>
                <a:lnTo>
                  <a:pt x="1963" y="1339"/>
                </a:lnTo>
                <a:lnTo>
                  <a:pt x="1964" y="1335"/>
                </a:lnTo>
                <a:lnTo>
                  <a:pt x="1965" y="1331"/>
                </a:lnTo>
                <a:lnTo>
                  <a:pt x="1968" y="1328"/>
                </a:lnTo>
                <a:lnTo>
                  <a:pt x="1971" y="1326"/>
                </a:lnTo>
                <a:close/>
                <a:moveTo>
                  <a:pt x="2913" y="773"/>
                </a:moveTo>
                <a:lnTo>
                  <a:pt x="2915" y="771"/>
                </a:lnTo>
                <a:lnTo>
                  <a:pt x="2918" y="771"/>
                </a:lnTo>
                <a:lnTo>
                  <a:pt x="2923" y="771"/>
                </a:lnTo>
                <a:lnTo>
                  <a:pt x="2926" y="772"/>
                </a:lnTo>
                <a:lnTo>
                  <a:pt x="2929" y="773"/>
                </a:lnTo>
                <a:lnTo>
                  <a:pt x="2932" y="775"/>
                </a:lnTo>
                <a:lnTo>
                  <a:pt x="2933" y="778"/>
                </a:lnTo>
                <a:lnTo>
                  <a:pt x="2935" y="780"/>
                </a:lnTo>
                <a:lnTo>
                  <a:pt x="2936" y="783"/>
                </a:lnTo>
                <a:lnTo>
                  <a:pt x="2936" y="786"/>
                </a:lnTo>
                <a:lnTo>
                  <a:pt x="2936" y="789"/>
                </a:lnTo>
                <a:lnTo>
                  <a:pt x="2935" y="793"/>
                </a:lnTo>
                <a:lnTo>
                  <a:pt x="2933" y="795"/>
                </a:lnTo>
                <a:lnTo>
                  <a:pt x="2931" y="798"/>
                </a:lnTo>
                <a:lnTo>
                  <a:pt x="2928" y="800"/>
                </a:lnTo>
                <a:lnTo>
                  <a:pt x="2926" y="801"/>
                </a:lnTo>
                <a:lnTo>
                  <a:pt x="2923" y="802"/>
                </a:lnTo>
                <a:lnTo>
                  <a:pt x="2917" y="802"/>
                </a:lnTo>
                <a:lnTo>
                  <a:pt x="2914" y="801"/>
                </a:lnTo>
                <a:lnTo>
                  <a:pt x="2912" y="799"/>
                </a:lnTo>
                <a:lnTo>
                  <a:pt x="2909" y="797"/>
                </a:lnTo>
                <a:lnTo>
                  <a:pt x="2907" y="795"/>
                </a:lnTo>
                <a:lnTo>
                  <a:pt x="2906" y="792"/>
                </a:lnTo>
                <a:lnTo>
                  <a:pt x="2905" y="789"/>
                </a:lnTo>
                <a:lnTo>
                  <a:pt x="2905" y="786"/>
                </a:lnTo>
                <a:lnTo>
                  <a:pt x="2905" y="783"/>
                </a:lnTo>
                <a:lnTo>
                  <a:pt x="2906" y="780"/>
                </a:lnTo>
                <a:lnTo>
                  <a:pt x="2908" y="777"/>
                </a:lnTo>
                <a:lnTo>
                  <a:pt x="2910" y="775"/>
                </a:lnTo>
                <a:lnTo>
                  <a:pt x="2913" y="773"/>
                </a:lnTo>
                <a:close/>
                <a:moveTo>
                  <a:pt x="2770" y="751"/>
                </a:moveTo>
                <a:lnTo>
                  <a:pt x="2772" y="750"/>
                </a:lnTo>
                <a:lnTo>
                  <a:pt x="2775" y="749"/>
                </a:lnTo>
                <a:lnTo>
                  <a:pt x="2777" y="749"/>
                </a:lnTo>
                <a:lnTo>
                  <a:pt x="2780" y="749"/>
                </a:lnTo>
                <a:lnTo>
                  <a:pt x="2783" y="750"/>
                </a:lnTo>
                <a:lnTo>
                  <a:pt x="2786" y="751"/>
                </a:lnTo>
                <a:lnTo>
                  <a:pt x="2788" y="753"/>
                </a:lnTo>
                <a:lnTo>
                  <a:pt x="2789" y="754"/>
                </a:lnTo>
                <a:lnTo>
                  <a:pt x="2790" y="755"/>
                </a:lnTo>
                <a:lnTo>
                  <a:pt x="2792" y="757"/>
                </a:lnTo>
                <a:lnTo>
                  <a:pt x="2793" y="760"/>
                </a:lnTo>
                <a:lnTo>
                  <a:pt x="2794" y="763"/>
                </a:lnTo>
                <a:lnTo>
                  <a:pt x="2794" y="766"/>
                </a:lnTo>
                <a:lnTo>
                  <a:pt x="2793" y="770"/>
                </a:lnTo>
                <a:lnTo>
                  <a:pt x="2791" y="773"/>
                </a:lnTo>
                <a:lnTo>
                  <a:pt x="2789" y="776"/>
                </a:lnTo>
                <a:lnTo>
                  <a:pt x="2786" y="778"/>
                </a:lnTo>
                <a:lnTo>
                  <a:pt x="2784" y="779"/>
                </a:lnTo>
                <a:lnTo>
                  <a:pt x="2782" y="780"/>
                </a:lnTo>
                <a:lnTo>
                  <a:pt x="2779" y="780"/>
                </a:lnTo>
                <a:lnTo>
                  <a:pt x="2777" y="780"/>
                </a:lnTo>
                <a:lnTo>
                  <a:pt x="2773" y="780"/>
                </a:lnTo>
                <a:lnTo>
                  <a:pt x="2771" y="778"/>
                </a:lnTo>
                <a:lnTo>
                  <a:pt x="2768" y="777"/>
                </a:lnTo>
                <a:lnTo>
                  <a:pt x="2767" y="776"/>
                </a:lnTo>
                <a:lnTo>
                  <a:pt x="2766" y="775"/>
                </a:lnTo>
                <a:lnTo>
                  <a:pt x="2764" y="772"/>
                </a:lnTo>
                <a:lnTo>
                  <a:pt x="2763" y="769"/>
                </a:lnTo>
                <a:lnTo>
                  <a:pt x="2763" y="766"/>
                </a:lnTo>
                <a:lnTo>
                  <a:pt x="2763" y="763"/>
                </a:lnTo>
                <a:lnTo>
                  <a:pt x="2763" y="759"/>
                </a:lnTo>
                <a:lnTo>
                  <a:pt x="2765" y="756"/>
                </a:lnTo>
                <a:lnTo>
                  <a:pt x="2767" y="753"/>
                </a:lnTo>
                <a:lnTo>
                  <a:pt x="2770" y="751"/>
                </a:lnTo>
                <a:close/>
                <a:moveTo>
                  <a:pt x="1982" y="1183"/>
                </a:moveTo>
                <a:lnTo>
                  <a:pt x="1984" y="1182"/>
                </a:lnTo>
                <a:lnTo>
                  <a:pt x="1987" y="1181"/>
                </a:lnTo>
                <a:lnTo>
                  <a:pt x="1989" y="1181"/>
                </a:lnTo>
                <a:lnTo>
                  <a:pt x="1992" y="1181"/>
                </a:lnTo>
                <a:lnTo>
                  <a:pt x="1995" y="1181"/>
                </a:lnTo>
                <a:lnTo>
                  <a:pt x="1998" y="1183"/>
                </a:lnTo>
                <a:lnTo>
                  <a:pt x="2000" y="1184"/>
                </a:lnTo>
                <a:lnTo>
                  <a:pt x="2002" y="1187"/>
                </a:lnTo>
                <a:lnTo>
                  <a:pt x="2004" y="1189"/>
                </a:lnTo>
                <a:lnTo>
                  <a:pt x="2005" y="1192"/>
                </a:lnTo>
                <a:lnTo>
                  <a:pt x="2006" y="1195"/>
                </a:lnTo>
                <a:lnTo>
                  <a:pt x="2006" y="1198"/>
                </a:lnTo>
                <a:lnTo>
                  <a:pt x="2005" y="1202"/>
                </a:lnTo>
                <a:lnTo>
                  <a:pt x="2003" y="1205"/>
                </a:lnTo>
                <a:lnTo>
                  <a:pt x="2001" y="1208"/>
                </a:lnTo>
                <a:lnTo>
                  <a:pt x="1998" y="1210"/>
                </a:lnTo>
                <a:lnTo>
                  <a:pt x="1996" y="1211"/>
                </a:lnTo>
                <a:lnTo>
                  <a:pt x="1993" y="1212"/>
                </a:lnTo>
                <a:lnTo>
                  <a:pt x="1991" y="1212"/>
                </a:lnTo>
                <a:lnTo>
                  <a:pt x="1988" y="1212"/>
                </a:lnTo>
                <a:lnTo>
                  <a:pt x="1985" y="1211"/>
                </a:lnTo>
                <a:lnTo>
                  <a:pt x="1982" y="1210"/>
                </a:lnTo>
                <a:lnTo>
                  <a:pt x="1980" y="1208"/>
                </a:lnTo>
                <a:lnTo>
                  <a:pt x="1978" y="1206"/>
                </a:lnTo>
                <a:lnTo>
                  <a:pt x="1976" y="1203"/>
                </a:lnTo>
                <a:lnTo>
                  <a:pt x="1975" y="1201"/>
                </a:lnTo>
                <a:lnTo>
                  <a:pt x="1974" y="1198"/>
                </a:lnTo>
                <a:lnTo>
                  <a:pt x="1975" y="1194"/>
                </a:lnTo>
                <a:lnTo>
                  <a:pt x="1975" y="1191"/>
                </a:lnTo>
                <a:lnTo>
                  <a:pt x="1977" y="1188"/>
                </a:lnTo>
                <a:lnTo>
                  <a:pt x="1979" y="1185"/>
                </a:lnTo>
                <a:lnTo>
                  <a:pt x="1982" y="1183"/>
                </a:lnTo>
                <a:close/>
                <a:moveTo>
                  <a:pt x="2627" y="745"/>
                </a:moveTo>
                <a:lnTo>
                  <a:pt x="2628" y="744"/>
                </a:lnTo>
                <a:lnTo>
                  <a:pt x="2630" y="744"/>
                </a:lnTo>
                <a:lnTo>
                  <a:pt x="2634" y="743"/>
                </a:lnTo>
                <a:lnTo>
                  <a:pt x="2637" y="743"/>
                </a:lnTo>
                <a:lnTo>
                  <a:pt x="2640" y="744"/>
                </a:lnTo>
                <a:lnTo>
                  <a:pt x="2643" y="746"/>
                </a:lnTo>
                <a:lnTo>
                  <a:pt x="2645" y="748"/>
                </a:lnTo>
                <a:lnTo>
                  <a:pt x="2647" y="750"/>
                </a:lnTo>
                <a:lnTo>
                  <a:pt x="2649" y="752"/>
                </a:lnTo>
                <a:lnTo>
                  <a:pt x="2650" y="755"/>
                </a:lnTo>
                <a:lnTo>
                  <a:pt x="2650" y="758"/>
                </a:lnTo>
                <a:lnTo>
                  <a:pt x="2650" y="763"/>
                </a:lnTo>
                <a:lnTo>
                  <a:pt x="2648" y="767"/>
                </a:lnTo>
                <a:lnTo>
                  <a:pt x="2646" y="770"/>
                </a:lnTo>
                <a:lnTo>
                  <a:pt x="2642" y="772"/>
                </a:lnTo>
                <a:lnTo>
                  <a:pt x="2641" y="773"/>
                </a:lnTo>
                <a:lnTo>
                  <a:pt x="2639" y="774"/>
                </a:lnTo>
                <a:lnTo>
                  <a:pt x="2635" y="775"/>
                </a:lnTo>
                <a:lnTo>
                  <a:pt x="2632" y="774"/>
                </a:lnTo>
                <a:lnTo>
                  <a:pt x="2629" y="773"/>
                </a:lnTo>
                <a:lnTo>
                  <a:pt x="2626" y="772"/>
                </a:lnTo>
                <a:lnTo>
                  <a:pt x="2624" y="770"/>
                </a:lnTo>
                <a:lnTo>
                  <a:pt x="2622" y="768"/>
                </a:lnTo>
                <a:lnTo>
                  <a:pt x="2620" y="765"/>
                </a:lnTo>
                <a:lnTo>
                  <a:pt x="2619" y="762"/>
                </a:lnTo>
                <a:lnTo>
                  <a:pt x="2619" y="759"/>
                </a:lnTo>
                <a:lnTo>
                  <a:pt x="2619" y="755"/>
                </a:lnTo>
                <a:lnTo>
                  <a:pt x="2621" y="751"/>
                </a:lnTo>
                <a:lnTo>
                  <a:pt x="2623" y="748"/>
                </a:lnTo>
                <a:lnTo>
                  <a:pt x="2627" y="745"/>
                </a:lnTo>
                <a:close/>
                <a:moveTo>
                  <a:pt x="2014" y="1043"/>
                </a:moveTo>
                <a:lnTo>
                  <a:pt x="2017" y="1041"/>
                </a:lnTo>
                <a:lnTo>
                  <a:pt x="2020" y="1041"/>
                </a:lnTo>
                <a:lnTo>
                  <a:pt x="2024" y="1041"/>
                </a:lnTo>
                <a:lnTo>
                  <a:pt x="2027" y="1042"/>
                </a:lnTo>
                <a:lnTo>
                  <a:pt x="2029" y="1042"/>
                </a:lnTo>
                <a:lnTo>
                  <a:pt x="2030" y="1043"/>
                </a:lnTo>
                <a:lnTo>
                  <a:pt x="2033" y="1045"/>
                </a:lnTo>
                <a:lnTo>
                  <a:pt x="2035" y="1047"/>
                </a:lnTo>
                <a:lnTo>
                  <a:pt x="2036" y="1050"/>
                </a:lnTo>
                <a:lnTo>
                  <a:pt x="2037" y="1053"/>
                </a:lnTo>
                <a:lnTo>
                  <a:pt x="2037" y="1056"/>
                </a:lnTo>
                <a:lnTo>
                  <a:pt x="2037" y="1059"/>
                </a:lnTo>
                <a:lnTo>
                  <a:pt x="2036" y="1062"/>
                </a:lnTo>
                <a:lnTo>
                  <a:pt x="2035" y="1065"/>
                </a:lnTo>
                <a:lnTo>
                  <a:pt x="2034" y="1067"/>
                </a:lnTo>
                <a:lnTo>
                  <a:pt x="2032" y="1069"/>
                </a:lnTo>
                <a:lnTo>
                  <a:pt x="2030" y="1070"/>
                </a:lnTo>
                <a:lnTo>
                  <a:pt x="2026" y="1071"/>
                </a:lnTo>
                <a:lnTo>
                  <a:pt x="2023" y="1072"/>
                </a:lnTo>
                <a:lnTo>
                  <a:pt x="2020" y="1072"/>
                </a:lnTo>
                <a:lnTo>
                  <a:pt x="2016" y="1071"/>
                </a:lnTo>
                <a:lnTo>
                  <a:pt x="2015" y="1070"/>
                </a:lnTo>
                <a:lnTo>
                  <a:pt x="2013" y="1070"/>
                </a:lnTo>
                <a:lnTo>
                  <a:pt x="2011" y="1068"/>
                </a:lnTo>
                <a:lnTo>
                  <a:pt x="2009" y="1065"/>
                </a:lnTo>
                <a:lnTo>
                  <a:pt x="2007" y="1063"/>
                </a:lnTo>
                <a:lnTo>
                  <a:pt x="2006" y="1060"/>
                </a:lnTo>
                <a:lnTo>
                  <a:pt x="2006" y="1057"/>
                </a:lnTo>
                <a:lnTo>
                  <a:pt x="2006" y="1054"/>
                </a:lnTo>
                <a:lnTo>
                  <a:pt x="2007" y="1051"/>
                </a:lnTo>
                <a:lnTo>
                  <a:pt x="2008" y="1048"/>
                </a:lnTo>
                <a:lnTo>
                  <a:pt x="2010" y="1046"/>
                </a:lnTo>
                <a:lnTo>
                  <a:pt x="2012" y="1044"/>
                </a:lnTo>
                <a:lnTo>
                  <a:pt x="2014" y="1043"/>
                </a:lnTo>
                <a:close/>
                <a:moveTo>
                  <a:pt x="2483" y="758"/>
                </a:moveTo>
                <a:lnTo>
                  <a:pt x="2486" y="757"/>
                </a:lnTo>
                <a:lnTo>
                  <a:pt x="2489" y="756"/>
                </a:lnTo>
                <a:lnTo>
                  <a:pt x="2492" y="756"/>
                </a:lnTo>
                <a:lnTo>
                  <a:pt x="2495" y="756"/>
                </a:lnTo>
                <a:lnTo>
                  <a:pt x="2498" y="757"/>
                </a:lnTo>
                <a:lnTo>
                  <a:pt x="2501" y="759"/>
                </a:lnTo>
                <a:lnTo>
                  <a:pt x="2503" y="761"/>
                </a:lnTo>
                <a:lnTo>
                  <a:pt x="2505" y="763"/>
                </a:lnTo>
                <a:lnTo>
                  <a:pt x="2506" y="766"/>
                </a:lnTo>
                <a:lnTo>
                  <a:pt x="2507" y="769"/>
                </a:lnTo>
                <a:lnTo>
                  <a:pt x="2507" y="774"/>
                </a:lnTo>
                <a:lnTo>
                  <a:pt x="2505" y="778"/>
                </a:lnTo>
                <a:lnTo>
                  <a:pt x="2503" y="782"/>
                </a:lnTo>
                <a:lnTo>
                  <a:pt x="2501" y="784"/>
                </a:lnTo>
                <a:lnTo>
                  <a:pt x="2499" y="785"/>
                </a:lnTo>
                <a:lnTo>
                  <a:pt x="2497" y="786"/>
                </a:lnTo>
                <a:lnTo>
                  <a:pt x="2494" y="787"/>
                </a:lnTo>
                <a:lnTo>
                  <a:pt x="2491" y="787"/>
                </a:lnTo>
                <a:lnTo>
                  <a:pt x="2488" y="787"/>
                </a:lnTo>
                <a:lnTo>
                  <a:pt x="2485" y="786"/>
                </a:lnTo>
                <a:lnTo>
                  <a:pt x="2482" y="784"/>
                </a:lnTo>
                <a:lnTo>
                  <a:pt x="2480" y="782"/>
                </a:lnTo>
                <a:lnTo>
                  <a:pt x="2478" y="780"/>
                </a:lnTo>
                <a:lnTo>
                  <a:pt x="2477" y="777"/>
                </a:lnTo>
                <a:lnTo>
                  <a:pt x="2476" y="774"/>
                </a:lnTo>
                <a:lnTo>
                  <a:pt x="2476" y="769"/>
                </a:lnTo>
                <a:lnTo>
                  <a:pt x="2477" y="765"/>
                </a:lnTo>
                <a:lnTo>
                  <a:pt x="2480" y="761"/>
                </a:lnTo>
                <a:lnTo>
                  <a:pt x="2482" y="759"/>
                </a:lnTo>
                <a:lnTo>
                  <a:pt x="2483" y="758"/>
                </a:lnTo>
                <a:close/>
                <a:moveTo>
                  <a:pt x="2343" y="790"/>
                </a:moveTo>
                <a:lnTo>
                  <a:pt x="2346" y="789"/>
                </a:lnTo>
                <a:lnTo>
                  <a:pt x="2349" y="788"/>
                </a:lnTo>
                <a:lnTo>
                  <a:pt x="2352" y="788"/>
                </a:lnTo>
                <a:lnTo>
                  <a:pt x="2355" y="789"/>
                </a:lnTo>
                <a:lnTo>
                  <a:pt x="2358" y="790"/>
                </a:lnTo>
                <a:lnTo>
                  <a:pt x="2360" y="792"/>
                </a:lnTo>
                <a:lnTo>
                  <a:pt x="2362" y="794"/>
                </a:lnTo>
                <a:lnTo>
                  <a:pt x="2364" y="796"/>
                </a:lnTo>
                <a:lnTo>
                  <a:pt x="2365" y="799"/>
                </a:lnTo>
                <a:lnTo>
                  <a:pt x="2366" y="805"/>
                </a:lnTo>
                <a:lnTo>
                  <a:pt x="2366" y="807"/>
                </a:lnTo>
                <a:lnTo>
                  <a:pt x="2365" y="810"/>
                </a:lnTo>
                <a:lnTo>
                  <a:pt x="2364" y="812"/>
                </a:lnTo>
                <a:lnTo>
                  <a:pt x="2362" y="814"/>
                </a:lnTo>
                <a:lnTo>
                  <a:pt x="2360" y="816"/>
                </a:lnTo>
                <a:lnTo>
                  <a:pt x="2358" y="818"/>
                </a:lnTo>
                <a:lnTo>
                  <a:pt x="2355" y="819"/>
                </a:lnTo>
                <a:lnTo>
                  <a:pt x="2352" y="820"/>
                </a:lnTo>
                <a:lnTo>
                  <a:pt x="2349" y="820"/>
                </a:lnTo>
                <a:lnTo>
                  <a:pt x="2346" y="819"/>
                </a:lnTo>
                <a:lnTo>
                  <a:pt x="2343" y="818"/>
                </a:lnTo>
                <a:lnTo>
                  <a:pt x="2341" y="816"/>
                </a:lnTo>
                <a:lnTo>
                  <a:pt x="2338" y="814"/>
                </a:lnTo>
                <a:lnTo>
                  <a:pt x="2337" y="812"/>
                </a:lnTo>
                <a:lnTo>
                  <a:pt x="2335" y="809"/>
                </a:lnTo>
                <a:lnTo>
                  <a:pt x="2335" y="803"/>
                </a:lnTo>
                <a:lnTo>
                  <a:pt x="2335" y="801"/>
                </a:lnTo>
                <a:lnTo>
                  <a:pt x="2336" y="798"/>
                </a:lnTo>
                <a:lnTo>
                  <a:pt x="2337" y="796"/>
                </a:lnTo>
                <a:lnTo>
                  <a:pt x="2338" y="794"/>
                </a:lnTo>
                <a:lnTo>
                  <a:pt x="2340" y="792"/>
                </a:lnTo>
                <a:lnTo>
                  <a:pt x="2343" y="790"/>
                </a:lnTo>
                <a:close/>
                <a:moveTo>
                  <a:pt x="2091" y="923"/>
                </a:moveTo>
                <a:lnTo>
                  <a:pt x="2093" y="922"/>
                </a:lnTo>
                <a:lnTo>
                  <a:pt x="2096" y="922"/>
                </a:lnTo>
                <a:lnTo>
                  <a:pt x="2098" y="921"/>
                </a:lnTo>
                <a:lnTo>
                  <a:pt x="2101" y="922"/>
                </a:lnTo>
                <a:lnTo>
                  <a:pt x="2103" y="922"/>
                </a:lnTo>
                <a:lnTo>
                  <a:pt x="2106" y="923"/>
                </a:lnTo>
                <a:lnTo>
                  <a:pt x="2108" y="924"/>
                </a:lnTo>
                <a:lnTo>
                  <a:pt x="2110" y="926"/>
                </a:lnTo>
                <a:lnTo>
                  <a:pt x="2112" y="928"/>
                </a:lnTo>
                <a:lnTo>
                  <a:pt x="2113" y="931"/>
                </a:lnTo>
                <a:lnTo>
                  <a:pt x="2114" y="934"/>
                </a:lnTo>
                <a:lnTo>
                  <a:pt x="2114" y="937"/>
                </a:lnTo>
                <a:lnTo>
                  <a:pt x="2114" y="940"/>
                </a:lnTo>
                <a:lnTo>
                  <a:pt x="2113" y="943"/>
                </a:lnTo>
                <a:lnTo>
                  <a:pt x="2112" y="946"/>
                </a:lnTo>
                <a:lnTo>
                  <a:pt x="2110" y="948"/>
                </a:lnTo>
                <a:lnTo>
                  <a:pt x="2107" y="951"/>
                </a:lnTo>
                <a:lnTo>
                  <a:pt x="2104" y="952"/>
                </a:lnTo>
                <a:lnTo>
                  <a:pt x="2102" y="952"/>
                </a:lnTo>
                <a:lnTo>
                  <a:pt x="2099" y="953"/>
                </a:lnTo>
                <a:lnTo>
                  <a:pt x="2097" y="953"/>
                </a:lnTo>
                <a:lnTo>
                  <a:pt x="2094" y="952"/>
                </a:lnTo>
                <a:lnTo>
                  <a:pt x="2092" y="951"/>
                </a:lnTo>
                <a:lnTo>
                  <a:pt x="2090" y="950"/>
                </a:lnTo>
                <a:lnTo>
                  <a:pt x="2088" y="948"/>
                </a:lnTo>
                <a:lnTo>
                  <a:pt x="2086" y="946"/>
                </a:lnTo>
                <a:lnTo>
                  <a:pt x="2084" y="943"/>
                </a:lnTo>
                <a:lnTo>
                  <a:pt x="2083" y="940"/>
                </a:lnTo>
                <a:lnTo>
                  <a:pt x="2083" y="937"/>
                </a:lnTo>
                <a:lnTo>
                  <a:pt x="2083" y="934"/>
                </a:lnTo>
                <a:lnTo>
                  <a:pt x="2084" y="931"/>
                </a:lnTo>
                <a:lnTo>
                  <a:pt x="2086" y="928"/>
                </a:lnTo>
                <a:lnTo>
                  <a:pt x="2088" y="926"/>
                </a:lnTo>
                <a:lnTo>
                  <a:pt x="2091" y="923"/>
                </a:lnTo>
                <a:close/>
                <a:moveTo>
                  <a:pt x="2209" y="843"/>
                </a:moveTo>
                <a:lnTo>
                  <a:pt x="2212" y="841"/>
                </a:lnTo>
                <a:lnTo>
                  <a:pt x="2215" y="841"/>
                </a:lnTo>
                <a:lnTo>
                  <a:pt x="2218" y="841"/>
                </a:lnTo>
                <a:lnTo>
                  <a:pt x="2222" y="841"/>
                </a:lnTo>
                <a:lnTo>
                  <a:pt x="2224" y="843"/>
                </a:lnTo>
                <a:lnTo>
                  <a:pt x="2227" y="844"/>
                </a:lnTo>
                <a:lnTo>
                  <a:pt x="2229" y="847"/>
                </a:lnTo>
                <a:lnTo>
                  <a:pt x="2231" y="849"/>
                </a:lnTo>
                <a:lnTo>
                  <a:pt x="2232" y="852"/>
                </a:lnTo>
                <a:lnTo>
                  <a:pt x="2232" y="855"/>
                </a:lnTo>
                <a:lnTo>
                  <a:pt x="2232" y="858"/>
                </a:lnTo>
                <a:lnTo>
                  <a:pt x="2231" y="861"/>
                </a:lnTo>
                <a:lnTo>
                  <a:pt x="2230" y="864"/>
                </a:lnTo>
                <a:lnTo>
                  <a:pt x="2229" y="866"/>
                </a:lnTo>
                <a:lnTo>
                  <a:pt x="2227" y="868"/>
                </a:lnTo>
                <a:lnTo>
                  <a:pt x="2224" y="870"/>
                </a:lnTo>
                <a:lnTo>
                  <a:pt x="2221" y="871"/>
                </a:lnTo>
                <a:lnTo>
                  <a:pt x="2218" y="872"/>
                </a:lnTo>
                <a:lnTo>
                  <a:pt x="2215" y="872"/>
                </a:lnTo>
                <a:lnTo>
                  <a:pt x="2211" y="871"/>
                </a:lnTo>
                <a:lnTo>
                  <a:pt x="2209" y="870"/>
                </a:lnTo>
                <a:lnTo>
                  <a:pt x="2206" y="868"/>
                </a:lnTo>
                <a:lnTo>
                  <a:pt x="2204" y="866"/>
                </a:lnTo>
                <a:lnTo>
                  <a:pt x="2202" y="863"/>
                </a:lnTo>
                <a:lnTo>
                  <a:pt x="2201" y="860"/>
                </a:lnTo>
                <a:lnTo>
                  <a:pt x="2201" y="857"/>
                </a:lnTo>
                <a:lnTo>
                  <a:pt x="2201" y="854"/>
                </a:lnTo>
                <a:lnTo>
                  <a:pt x="2202" y="852"/>
                </a:lnTo>
                <a:lnTo>
                  <a:pt x="2203" y="849"/>
                </a:lnTo>
                <a:lnTo>
                  <a:pt x="2204" y="847"/>
                </a:lnTo>
                <a:lnTo>
                  <a:pt x="2206" y="844"/>
                </a:lnTo>
                <a:lnTo>
                  <a:pt x="2209" y="843"/>
                </a:lnTo>
                <a:close/>
                <a:moveTo>
                  <a:pt x="4748" y="1857"/>
                </a:moveTo>
                <a:lnTo>
                  <a:pt x="4751" y="1855"/>
                </a:lnTo>
                <a:lnTo>
                  <a:pt x="4755" y="1855"/>
                </a:lnTo>
                <a:lnTo>
                  <a:pt x="4758" y="1855"/>
                </a:lnTo>
                <a:lnTo>
                  <a:pt x="4762" y="1856"/>
                </a:lnTo>
                <a:lnTo>
                  <a:pt x="4764" y="1857"/>
                </a:lnTo>
                <a:lnTo>
                  <a:pt x="4767" y="1859"/>
                </a:lnTo>
                <a:lnTo>
                  <a:pt x="4769" y="1861"/>
                </a:lnTo>
                <a:lnTo>
                  <a:pt x="4770" y="1864"/>
                </a:lnTo>
                <a:lnTo>
                  <a:pt x="4771" y="1867"/>
                </a:lnTo>
                <a:lnTo>
                  <a:pt x="4772" y="1870"/>
                </a:lnTo>
                <a:lnTo>
                  <a:pt x="4771" y="1873"/>
                </a:lnTo>
                <a:lnTo>
                  <a:pt x="4770" y="1876"/>
                </a:lnTo>
                <a:lnTo>
                  <a:pt x="4769" y="1878"/>
                </a:lnTo>
                <a:lnTo>
                  <a:pt x="4768" y="1880"/>
                </a:lnTo>
                <a:lnTo>
                  <a:pt x="4766" y="1882"/>
                </a:lnTo>
                <a:lnTo>
                  <a:pt x="4764" y="1884"/>
                </a:lnTo>
                <a:lnTo>
                  <a:pt x="4761" y="1885"/>
                </a:lnTo>
                <a:lnTo>
                  <a:pt x="4757" y="1886"/>
                </a:lnTo>
                <a:lnTo>
                  <a:pt x="4754" y="1886"/>
                </a:lnTo>
                <a:lnTo>
                  <a:pt x="4750" y="1885"/>
                </a:lnTo>
                <a:lnTo>
                  <a:pt x="4749" y="1884"/>
                </a:lnTo>
                <a:lnTo>
                  <a:pt x="4747" y="1883"/>
                </a:lnTo>
                <a:lnTo>
                  <a:pt x="4745" y="1881"/>
                </a:lnTo>
                <a:lnTo>
                  <a:pt x="4743" y="1879"/>
                </a:lnTo>
                <a:lnTo>
                  <a:pt x="4742" y="1876"/>
                </a:lnTo>
                <a:lnTo>
                  <a:pt x="4741" y="1874"/>
                </a:lnTo>
                <a:lnTo>
                  <a:pt x="4740" y="1871"/>
                </a:lnTo>
                <a:lnTo>
                  <a:pt x="4741" y="1868"/>
                </a:lnTo>
                <a:lnTo>
                  <a:pt x="4742" y="1865"/>
                </a:lnTo>
                <a:lnTo>
                  <a:pt x="4743" y="1862"/>
                </a:lnTo>
                <a:lnTo>
                  <a:pt x="4744" y="1860"/>
                </a:lnTo>
                <a:lnTo>
                  <a:pt x="4746" y="1858"/>
                </a:lnTo>
                <a:lnTo>
                  <a:pt x="4748" y="1857"/>
                </a:lnTo>
                <a:close/>
                <a:moveTo>
                  <a:pt x="4616" y="1800"/>
                </a:moveTo>
                <a:lnTo>
                  <a:pt x="4619" y="1798"/>
                </a:lnTo>
                <a:lnTo>
                  <a:pt x="4623" y="1798"/>
                </a:lnTo>
                <a:lnTo>
                  <a:pt x="4627" y="1798"/>
                </a:lnTo>
                <a:lnTo>
                  <a:pt x="4630" y="1799"/>
                </a:lnTo>
                <a:lnTo>
                  <a:pt x="4633" y="1801"/>
                </a:lnTo>
                <a:lnTo>
                  <a:pt x="4635" y="1803"/>
                </a:lnTo>
                <a:lnTo>
                  <a:pt x="4637" y="1805"/>
                </a:lnTo>
                <a:lnTo>
                  <a:pt x="4638" y="1808"/>
                </a:lnTo>
                <a:lnTo>
                  <a:pt x="4639" y="1811"/>
                </a:lnTo>
                <a:lnTo>
                  <a:pt x="4639" y="1814"/>
                </a:lnTo>
                <a:lnTo>
                  <a:pt x="4639" y="1817"/>
                </a:lnTo>
                <a:lnTo>
                  <a:pt x="4638" y="1820"/>
                </a:lnTo>
                <a:lnTo>
                  <a:pt x="4636" y="1822"/>
                </a:lnTo>
                <a:lnTo>
                  <a:pt x="4635" y="1824"/>
                </a:lnTo>
                <a:lnTo>
                  <a:pt x="4633" y="1826"/>
                </a:lnTo>
                <a:lnTo>
                  <a:pt x="4631" y="1827"/>
                </a:lnTo>
                <a:lnTo>
                  <a:pt x="4628" y="1828"/>
                </a:lnTo>
                <a:lnTo>
                  <a:pt x="4624" y="1829"/>
                </a:lnTo>
                <a:lnTo>
                  <a:pt x="4621" y="1829"/>
                </a:lnTo>
                <a:lnTo>
                  <a:pt x="4617" y="1827"/>
                </a:lnTo>
                <a:lnTo>
                  <a:pt x="4614" y="1826"/>
                </a:lnTo>
                <a:lnTo>
                  <a:pt x="4612" y="1824"/>
                </a:lnTo>
                <a:lnTo>
                  <a:pt x="4610" y="1821"/>
                </a:lnTo>
                <a:lnTo>
                  <a:pt x="4609" y="1819"/>
                </a:lnTo>
                <a:lnTo>
                  <a:pt x="4608" y="1816"/>
                </a:lnTo>
                <a:lnTo>
                  <a:pt x="4608" y="1813"/>
                </a:lnTo>
                <a:lnTo>
                  <a:pt x="4608" y="1810"/>
                </a:lnTo>
                <a:lnTo>
                  <a:pt x="4609" y="1807"/>
                </a:lnTo>
                <a:lnTo>
                  <a:pt x="4611" y="1805"/>
                </a:lnTo>
                <a:lnTo>
                  <a:pt x="4612" y="1803"/>
                </a:lnTo>
                <a:lnTo>
                  <a:pt x="4614" y="1801"/>
                </a:lnTo>
                <a:lnTo>
                  <a:pt x="4616" y="1800"/>
                </a:lnTo>
                <a:close/>
                <a:moveTo>
                  <a:pt x="4488" y="1732"/>
                </a:moveTo>
                <a:lnTo>
                  <a:pt x="4492" y="1731"/>
                </a:lnTo>
                <a:lnTo>
                  <a:pt x="4496" y="1730"/>
                </a:lnTo>
                <a:lnTo>
                  <a:pt x="4500" y="1730"/>
                </a:lnTo>
                <a:lnTo>
                  <a:pt x="4504" y="1732"/>
                </a:lnTo>
                <a:lnTo>
                  <a:pt x="4506" y="1734"/>
                </a:lnTo>
                <a:lnTo>
                  <a:pt x="4508" y="1736"/>
                </a:lnTo>
                <a:lnTo>
                  <a:pt x="4510" y="1739"/>
                </a:lnTo>
                <a:lnTo>
                  <a:pt x="4511" y="1741"/>
                </a:lnTo>
                <a:lnTo>
                  <a:pt x="4511" y="1744"/>
                </a:lnTo>
                <a:lnTo>
                  <a:pt x="4511" y="1747"/>
                </a:lnTo>
                <a:lnTo>
                  <a:pt x="4511" y="1750"/>
                </a:lnTo>
                <a:lnTo>
                  <a:pt x="4509" y="1753"/>
                </a:lnTo>
                <a:lnTo>
                  <a:pt x="4507" y="1757"/>
                </a:lnTo>
                <a:lnTo>
                  <a:pt x="4504" y="1759"/>
                </a:lnTo>
                <a:lnTo>
                  <a:pt x="4500" y="1760"/>
                </a:lnTo>
                <a:lnTo>
                  <a:pt x="4496" y="1761"/>
                </a:lnTo>
                <a:lnTo>
                  <a:pt x="4492" y="1761"/>
                </a:lnTo>
                <a:lnTo>
                  <a:pt x="4488" y="1759"/>
                </a:lnTo>
                <a:lnTo>
                  <a:pt x="4486" y="1757"/>
                </a:lnTo>
                <a:lnTo>
                  <a:pt x="4484" y="1755"/>
                </a:lnTo>
                <a:lnTo>
                  <a:pt x="4482" y="1752"/>
                </a:lnTo>
                <a:lnTo>
                  <a:pt x="4481" y="1750"/>
                </a:lnTo>
                <a:lnTo>
                  <a:pt x="4480" y="1747"/>
                </a:lnTo>
                <a:lnTo>
                  <a:pt x="4481" y="1744"/>
                </a:lnTo>
                <a:lnTo>
                  <a:pt x="4481" y="1741"/>
                </a:lnTo>
                <a:lnTo>
                  <a:pt x="4482" y="1738"/>
                </a:lnTo>
                <a:lnTo>
                  <a:pt x="4485" y="1735"/>
                </a:lnTo>
                <a:lnTo>
                  <a:pt x="4488" y="1732"/>
                </a:lnTo>
                <a:close/>
                <a:moveTo>
                  <a:pt x="4363" y="1661"/>
                </a:moveTo>
                <a:lnTo>
                  <a:pt x="4367" y="1660"/>
                </a:lnTo>
                <a:lnTo>
                  <a:pt x="4370" y="1659"/>
                </a:lnTo>
                <a:lnTo>
                  <a:pt x="4374" y="1659"/>
                </a:lnTo>
                <a:lnTo>
                  <a:pt x="4378" y="1661"/>
                </a:lnTo>
                <a:lnTo>
                  <a:pt x="4381" y="1663"/>
                </a:lnTo>
                <a:lnTo>
                  <a:pt x="4383" y="1665"/>
                </a:lnTo>
                <a:lnTo>
                  <a:pt x="4385" y="1668"/>
                </a:lnTo>
                <a:lnTo>
                  <a:pt x="4386" y="1670"/>
                </a:lnTo>
                <a:lnTo>
                  <a:pt x="4386" y="1673"/>
                </a:lnTo>
                <a:lnTo>
                  <a:pt x="4386" y="1676"/>
                </a:lnTo>
                <a:lnTo>
                  <a:pt x="4385" y="1679"/>
                </a:lnTo>
                <a:lnTo>
                  <a:pt x="4384" y="1682"/>
                </a:lnTo>
                <a:lnTo>
                  <a:pt x="4383" y="1684"/>
                </a:lnTo>
                <a:lnTo>
                  <a:pt x="4382" y="1685"/>
                </a:lnTo>
                <a:lnTo>
                  <a:pt x="4378" y="1688"/>
                </a:lnTo>
                <a:lnTo>
                  <a:pt x="4375" y="1689"/>
                </a:lnTo>
                <a:lnTo>
                  <a:pt x="4371" y="1690"/>
                </a:lnTo>
                <a:lnTo>
                  <a:pt x="4367" y="1690"/>
                </a:lnTo>
                <a:lnTo>
                  <a:pt x="4363" y="1688"/>
                </a:lnTo>
                <a:lnTo>
                  <a:pt x="4360" y="1686"/>
                </a:lnTo>
                <a:lnTo>
                  <a:pt x="4358" y="1684"/>
                </a:lnTo>
                <a:lnTo>
                  <a:pt x="4357" y="1681"/>
                </a:lnTo>
                <a:lnTo>
                  <a:pt x="4356" y="1679"/>
                </a:lnTo>
                <a:lnTo>
                  <a:pt x="4355" y="1676"/>
                </a:lnTo>
                <a:lnTo>
                  <a:pt x="4355" y="1673"/>
                </a:lnTo>
                <a:lnTo>
                  <a:pt x="4356" y="1670"/>
                </a:lnTo>
                <a:lnTo>
                  <a:pt x="4357" y="1667"/>
                </a:lnTo>
                <a:lnTo>
                  <a:pt x="4358" y="1665"/>
                </a:lnTo>
                <a:lnTo>
                  <a:pt x="4360" y="1664"/>
                </a:lnTo>
                <a:lnTo>
                  <a:pt x="4363" y="1661"/>
                </a:lnTo>
                <a:close/>
                <a:moveTo>
                  <a:pt x="4237" y="1591"/>
                </a:moveTo>
                <a:lnTo>
                  <a:pt x="4241" y="1589"/>
                </a:lnTo>
                <a:lnTo>
                  <a:pt x="4245" y="1589"/>
                </a:lnTo>
                <a:lnTo>
                  <a:pt x="4247" y="1589"/>
                </a:lnTo>
                <a:lnTo>
                  <a:pt x="4249" y="1589"/>
                </a:lnTo>
                <a:lnTo>
                  <a:pt x="4252" y="1591"/>
                </a:lnTo>
                <a:lnTo>
                  <a:pt x="4255" y="1593"/>
                </a:lnTo>
                <a:lnTo>
                  <a:pt x="4257" y="1595"/>
                </a:lnTo>
                <a:lnTo>
                  <a:pt x="4259" y="1597"/>
                </a:lnTo>
                <a:lnTo>
                  <a:pt x="4260" y="1600"/>
                </a:lnTo>
                <a:lnTo>
                  <a:pt x="4260" y="1603"/>
                </a:lnTo>
                <a:lnTo>
                  <a:pt x="4260" y="1606"/>
                </a:lnTo>
                <a:lnTo>
                  <a:pt x="4260" y="1609"/>
                </a:lnTo>
                <a:lnTo>
                  <a:pt x="4258" y="1612"/>
                </a:lnTo>
                <a:lnTo>
                  <a:pt x="4256" y="1615"/>
                </a:lnTo>
                <a:lnTo>
                  <a:pt x="4253" y="1618"/>
                </a:lnTo>
                <a:lnTo>
                  <a:pt x="4249" y="1619"/>
                </a:lnTo>
                <a:lnTo>
                  <a:pt x="4245" y="1620"/>
                </a:lnTo>
                <a:lnTo>
                  <a:pt x="4243" y="1620"/>
                </a:lnTo>
                <a:lnTo>
                  <a:pt x="4241" y="1620"/>
                </a:lnTo>
                <a:lnTo>
                  <a:pt x="4237" y="1618"/>
                </a:lnTo>
                <a:lnTo>
                  <a:pt x="4235" y="1616"/>
                </a:lnTo>
                <a:lnTo>
                  <a:pt x="4233" y="1614"/>
                </a:lnTo>
                <a:lnTo>
                  <a:pt x="4231" y="1612"/>
                </a:lnTo>
                <a:lnTo>
                  <a:pt x="4230" y="1609"/>
                </a:lnTo>
                <a:lnTo>
                  <a:pt x="4229" y="1606"/>
                </a:lnTo>
                <a:lnTo>
                  <a:pt x="4229" y="1603"/>
                </a:lnTo>
                <a:lnTo>
                  <a:pt x="4230" y="1600"/>
                </a:lnTo>
                <a:lnTo>
                  <a:pt x="4231" y="1597"/>
                </a:lnTo>
                <a:lnTo>
                  <a:pt x="4234" y="1594"/>
                </a:lnTo>
                <a:lnTo>
                  <a:pt x="4237" y="1591"/>
                </a:lnTo>
                <a:close/>
                <a:moveTo>
                  <a:pt x="4111" y="1522"/>
                </a:moveTo>
                <a:lnTo>
                  <a:pt x="4112" y="1521"/>
                </a:lnTo>
                <a:lnTo>
                  <a:pt x="4114" y="1521"/>
                </a:lnTo>
                <a:lnTo>
                  <a:pt x="4118" y="1520"/>
                </a:lnTo>
                <a:lnTo>
                  <a:pt x="4120" y="1520"/>
                </a:lnTo>
                <a:lnTo>
                  <a:pt x="4122" y="1521"/>
                </a:lnTo>
                <a:lnTo>
                  <a:pt x="4126" y="1522"/>
                </a:lnTo>
                <a:lnTo>
                  <a:pt x="4128" y="1524"/>
                </a:lnTo>
                <a:lnTo>
                  <a:pt x="4130" y="1526"/>
                </a:lnTo>
                <a:lnTo>
                  <a:pt x="4132" y="1528"/>
                </a:lnTo>
                <a:lnTo>
                  <a:pt x="4133" y="1531"/>
                </a:lnTo>
                <a:lnTo>
                  <a:pt x="4134" y="1534"/>
                </a:lnTo>
                <a:lnTo>
                  <a:pt x="4134" y="1537"/>
                </a:lnTo>
                <a:lnTo>
                  <a:pt x="4133" y="1540"/>
                </a:lnTo>
                <a:lnTo>
                  <a:pt x="4132" y="1543"/>
                </a:lnTo>
                <a:lnTo>
                  <a:pt x="4129" y="1547"/>
                </a:lnTo>
                <a:lnTo>
                  <a:pt x="4128" y="1548"/>
                </a:lnTo>
                <a:lnTo>
                  <a:pt x="4126" y="1549"/>
                </a:lnTo>
                <a:lnTo>
                  <a:pt x="4124" y="1550"/>
                </a:lnTo>
                <a:lnTo>
                  <a:pt x="4123" y="1551"/>
                </a:lnTo>
                <a:lnTo>
                  <a:pt x="4119" y="1551"/>
                </a:lnTo>
                <a:lnTo>
                  <a:pt x="4117" y="1551"/>
                </a:lnTo>
                <a:lnTo>
                  <a:pt x="4115" y="1551"/>
                </a:lnTo>
                <a:lnTo>
                  <a:pt x="4111" y="1549"/>
                </a:lnTo>
                <a:lnTo>
                  <a:pt x="4108" y="1548"/>
                </a:lnTo>
                <a:lnTo>
                  <a:pt x="4106" y="1545"/>
                </a:lnTo>
                <a:lnTo>
                  <a:pt x="4105" y="1543"/>
                </a:lnTo>
                <a:lnTo>
                  <a:pt x="4103" y="1540"/>
                </a:lnTo>
                <a:lnTo>
                  <a:pt x="4103" y="1537"/>
                </a:lnTo>
                <a:lnTo>
                  <a:pt x="4103" y="1534"/>
                </a:lnTo>
                <a:lnTo>
                  <a:pt x="4103" y="1531"/>
                </a:lnTo>
                <a:lnTo>
                  <a:pt x="4105" y="1528"/>
                </a:lnTo>
                <a:lnTo>
                  <a:pt x="4107" y="1525"/>
                </a:lnTo>
                <a:lnTo>
                  <a:pt x="4109" y="1523"/>
                </a:lnTo>
                <a:lnTo>
                  <a:pt x="4111" y="1522"/>
                </a:lnTo>
                <a:close/>
                <a:moveTo>
                  <a:pt x="3982" y="1455"/>
                </a:moveTo>
                <a:lnTo>
                  <a:pt x="3984" y="1454"/>
                </a:lnTo>
                <a:lnTo>
                  <a:pt x="3986" y="1454"/>
                </a:lnTo>
                <a:lnTo>
                  <a:pt x="3989" y="1453"/>
                </a:lnTo>
                <a:lnTo>
                  <a:pt x="3993" y="1454"/>
                </a:lnTo>
                <a:lnTo>
                  <a:pt x="3997" y="1455"/>
                </a:lnTo>
                <a:lnTo>
                  <a:pt x="4000" y="1457"/>
                </a:lnTo>
                <a:lnTo>
                  <a:pt x="4002" y="1459"/>
                </a:lnTo>
                <a:lnTo>
                  <a:pt x="4003" y="1461"/>
                </a:lnTo>
                <a:lnTo>
                  <a:pt x="4005" y="1464"/>
                </a:lnTo>
                <a:lnTo>
                  <a:pt x="4005" y="1470"/>
                </a:lnTo>
                <a:lnTo>
                  <a:pt x="4005" y="1473"/>
                </a:lnTo>
                <a:lnTo>
                  <a:pt x="4004" y="1476"/>
                </a:lnTo>
                <a:lnTo>
                  <a:pt x="4001" y="1480"/>
                </a:lnTo>
                <a:lnTo>
                  <a:pt x="3998" y="1482"/>
                </a:lnTo>
                <a:lnTo>
                  <a:pt x="3996" y="1483"/>
                </a:lnTo>
                <a:lnTo>
                  <a:pt x="3994" y="1484"/>
                </a:lnTo>
                <a:lnTo>
                  <a:pt x="3990" y="1484"/>
                </a:lnTo>
                <a:lnTo>
                  <a:pt x="3987" y="1484"/>
                </a:lnTo>
                <a:lnTo>
                  <a:pt x="3983" y="1483"/>
                </a:lnTo>
                <a:lnTo>
                  <a:pt x="3980" y="1481"/>
                </a:lnTo>
                <a:lnTo>
                  <a:pt x="3978" y="1479"/>
                </a:lnTo>
                <a:lnTo>
                  <a:pt x="3976" y="1476"/>
                </a:lnTo>
                <a:lnTo>
                  <a:pt x="3975" y="1474"/>
                </a:lnTo>
                <a:lnTo>
                  <a:pt x="3974" y="1468"/>
                </a:lnTo>
                <a:lnTo>
                  <a:pt x="3975" y="1465"/>
                </a:lnTo>
                <a:lnTo>
                  <a:pt x="3976" y="1462"/>
                </a:lnTo>
                <a:lnTo>
                  <a:pt x="3979" y="1458"/>
                </a:lnTo>
                <a:lnTo>
                  <a:pt x="3982" y="1455"/>
                </a:lnTo>
                <a:close/>
                <a:moveTo>
                  <a:pt x="3853" y="1391"/>
                </a:moveTo>
                <a:lnTo>
                  <a:pt x="3857" y="1389"/>
                </a:lnTo>
                <a:lnTo>
                  <a:pt x="3860" y="1389"/>
                </a:lnTo>
                <a:lnTo>
                  <a:pt x="3864" y="1389"/>
                </a:lnTo>
                <a:lnTo>
                  <a:pt x="3868" y="1390"/>
                </a:lnTo>
                <a:lnTo>
                  <a:pt x="3871" y="1392"/>
                </a:lnTo>
                <a:lnTo>
                  <a:pt x="3873" y="1394"/>
                </a:lnTo>
                <a:lnTo>
                  <a:pt x="3875" y="1397"/>
                </a:lnTo>
                <a:lnTo>
                  <a:pt x="3876" y="1399"/>
                </a:lnTo>
                <a:lnTo>
                  <a:pt x="3876" y="1402"/>
                </a:lnTo>
                <a:lnTo>
                  <a:pt x="3877" y="1405"/>
                </a:lnTo>
                <a:lnTo>
                  <a:pt x="3876" y="1408"/>
                </a:lnTo>
                <a:lnTo>
                  <a:pt x="3875" y="1411"/>
                </a:lnTo>
                <a:lnTo>
                  <a:pt x="3874" y="1413"/>
                </a:lnTo>
                <a:lnTo>
                  <a:pt x="3872" y="1415"/>
                </a:lnTo>
                <a:lnTo>
                  <a:pt x="3869" y="1418"/>
                </a:lnTo>
                <a:lnTo>
                  <a:pt x="3865" y="1419"/>
                </a:lnTo>
                <a:lnTo>
                  <a:pt x="3862" y="1420"/>
                </a:lnTo>
                <a:lnTo>
                  <a:pt x="3858" y="1420"/>
                </a:lnTo>
                <a:lnTo>
                  <a:pt x="3854" y="1418"/>
                </a:lnTo>
                <a:lnTo>
                  <a:pt x="3852" y="1417"/>
                </a:lnTo>
                <a:lnTo>
                  <a:pt x="3849" y="1415"/>
                </a:lnTo>
                <a:lnTo>
                  <a:pt x="3848" y="1412"/>
                </a:lnTo>
                <a:lnTo>
                  <a:pt x="3846" y="1409"/>
                </a:lnTo>
                <a:lnTo>
                  <a:pt x="3846" y="1407"/>
                </a:lnTo>
                <a:lnTo>
                  <a:pt x="3846" y="1404"/>
                </a:lnTo>
                <a:lnTo>
                  <a:pt x="3846" y="1400"/>
                </a:lnTo>
                <a:lnTo>
                  <a:pt x="3847" y="1398"/>
                </a:lnTo>
                <a:lnTo>
                  <a:pt x="3848" y="1395"/>
                </a:lnTo>
                <a:lnTo>
                  <a:pt x="3850" y="1394"/>
                </a:lnTo>
                <a:lnTo>
                  <a:pt x="3853" y="1391"/>
                </a:lnTo>
                <a:close/>
                <a:moveTo>
                  <a:pt x="3723" y="1330"/>
                </a:moveTo>
                <a:lnTo>
                  <a:pt x="3726" y="1328"/>
                </a:lnTo>
                <a:lnTo>
                  <a:pt x="3730" y="1328"/>
                </a:lnTo>
                <a:lnTo>
                  <a:pt x="3734" y="1328"/>
                </a:lnTo>
                <a:lnTo>
                  <a:pt x="3735" y="1328"/>
                </a:lnTo>
                <a:lnTo>
                  <a:pt x="3737" y="1329"/>
                </a:lnTo>
                <a:lnTo>
                  <a:pt x="3740" y="1331"/>
                </a:lnTo>
                <a:lnTo>
                  <a:pt x="3742" y="1333"/>
                </a:lnTo>
                <a:lnTo>
                  <a:pt x="3744" y="1335"/>
                </a:lnTo>
                <a:lnTo>
                  <a:pt x="3745" y="1338"/>
                </a:lnTo>
                <a:lnTo>
                  <a:pt x="3746" y="1341"/>
                </a:lnTo>
                <a:lnTo>
                  <a:pt x="3746" y="1344"/>
                </a:lnTo>
                <a:lnTo>
                  <a:pt x="3746" y="1347"/>
                </a:lnTo>
                <a:lnTo>
                  <a:pt x="3745" y="1350"/>
                </a:lnTo>
                <a:lnTo>
                  <a:pt x="3744" y="1352"/>
                </a:lnTo>
                <a:lnTo>
                  <a:pt x="3742" y="1354"/>
                </a:lnTo>
                <a:lnTo>
                  <a:pt x="3741" y="1355"/>
                </a:lnTo>
                <a:lnTo>
                  <a:pt x="3739" y="1357"/>
                </a:lnTo>
                <a:lnTo>
                  <a:pt x="3735" y="1358"/>
                </a:lnTo>
                <a:lnTo>
                  <a:pt x="3732" y="1359"/>
                </a:lnTo>
                <a:lnTo>
                  <a:pt x="3728" y="1358"/>
                </a:lnTo>
                <a:lnTo>
                  <a:pt x="3726" y="1358"/>
                </a:lnTo>
                <a:lnTo>
                  <a:pt x="3724" y="1357"/>
                </a:lnTo>
                <a:lnTo>
                  <a:pt x="3722" y="1356"/>
                </a:lnTo>
                <a:lnTo>
                  <a:pt x="3719" y="1354"/>
                </a:lnTo>
                <a:lnTo>
                  <a:pt x="3718" y="1351"/>
                </a:lnTo>
                <a:lnTo>
                  <a:pt x="3716" y="1349"/>
                </a:lnTo>
                <a:lnTo>
                  <a:pt x="3715" y="1346"/>
                </a:lnTo>
                <a:lnTo>
                  <a:pt x="3715" y="1343"/>
                </a:lnTo>
                <a:lnTo>
                  <a:pt x="3716" y="1340"/>
                </a:lnTo>
                <a:lnTo>
                  <a:pt x="3717" y="1337"/>
                </a:lnTo>
                <a:lnTo>
                  <a:pt x="3718" y="1335"/>
                </a:lnTo>
                <a:lnTo>
                  <a:pt x="3719" y="1333"/>
                </a:lnTo>
                <a:lnTo>
                  <a:pt x="3721" y="1331"/>
                </a:lnTo>
                <a:lnTo>
                  <a:pt x="3723" y="1330"/>
                </a:lnTo>
                <a:close/>
                <a:moveTo>
                  <a:pt x="1967" y="2343"/>
                </a:moveTo>
                <a:lnTo>
                  <a:pt x="1969" y="2342"/>
                </a:lnTo>
                <a:lnTo>
                  <a:pt x="1972" y="2341"/>
                </a:lnTo>
                <a:lnTo>
                  <a:pt x="1977" y="2341"/>
                </a:lnTo>
                <a:lnTo>
                  <a:pt x="1979" y="2342"/>
                </a:lnTo>
                <a:lnTo>
                  <a:pt x="1982" y="2343"/>
                </a:lnTo>
                <a:lnTo>
                  <a:pt x="1984" y="2344"/>
                </a:lnTo>
                <a:lnTo>
                  <a:pt x="1986" y="2346"/>
                </a:lnTo>
                <a:lnTo>
                  <a:pt x="1988" y="2348"/>
                </a:lnTo>
                <a:lnTo>
                  <a:pt x="1989" y="2351"/>
                </a:lnTo>
                <a:lnTo>
                  <a:pt x="1990" y="2354"/>
                </a:lnTo>
                <a:lnTo>
                  <a:pt x="1990" y="2357"/>
                </a:lnTo>
                <a:lnTo>
                  <a:pt x="1990" y="2360"/>
                </a:lnTo>
                <a:lnTo>
                  <a:pt x="1989" y="2363"/>
                </a:lnTo>
                <a:lnTo>
                  <a:pt x="1988" y="2365"/>
                </a:lnTo>
                <a:lnTo>
                  <a:pt x="1986" y="2368"/>
                </a:lnTo>
                <a:lnTo>
                  <a:pt x="1982" y="2370"/>
                </a:lnTo>
                <a:lnTo>
                  <a:pt x="1978" y="2372"/>
                </a:lnTo>
                <a:lnTo>
                  <a:pt x="1973" y="2372"/>
                </a:lnTo>
                <a:lnTo>
                  <a:pt x="1970" y="2371"/>
                </a:lnTo>
                <a:lnTo>
                  <a:pt x="1968" y="2370"/>
                </a:lnTo>
                <a:lnTo>
                  <a:pt x="1966" y="2369"/>
                </a:lnTo>
                <a:lnTo>
                  <a:pt x="1964" y="2367"/>
                </a:lnTo>
                <a:lnTo>
                  <a:pt x="1962" y="2365"/>
                </a:lnTo>
                <a:lnTo>
                  <a:pt x="1960" y="2362"/>
                </a:lnTo>
                <a:lnTo>
                  <a:pt x="1959" y="2359"/>
                </a:lnTo>
                <a:lnTo>
                  <a:pt x="1959" y="2356"/>
                </a:lnTo>
                <a:lnTo>
                  <a:pt x="1959" y="2353"/>
                </a:lnTo>
                <a:lnTo>
                  <a:pt x="1960" y="2350"/>
                </a:lnTo>
                <a:lnTo>
                  <a:pt x="1962" y="2348"/>
                </a:lnTo>
                <a:lnTo>
                  <a:pt x="1964" y="2345"/>
                </a:lnTo>
                <a:lnTo>
                  <a:pt x="1967" y="2343"/>
                </a:lnTo>
                <a:close/>
                <a:moveTo>
                  <a:pt x="2063" y="2236"/>
                </a:moveTo>
                <a:lnTo>
                  <a:pt x="2067" y="2234"/>
                </a:lnTo>
                <a:lnTo>
                  <a:pt x="2071" y="2234"/>
                </a:lnTo>
                <a:lnTo>
                  <a:pt x="2073" y="2234"/>
                </a:lnTo>
                <a:lnTo>
                  <a:pt x="2076" y="2235"/>
                </a:lnTo>
                <a:lnTo>
                  <a:pt x="2078" y="2236"/>
                </a:lnTo>
                <a:lnTo>
                  <a:pt x="2080" y="2237"/>
                </a:lnTo>
                <a:lnTo>
                  <a:pt x="2082" y="2239"/>
                </a:lnTo>
                <a:lnTo>
                  <a:pt x="2084" y="2242"/>
                </a:lnTo>
                <a:lnTo>
                  <a:pt x="2085" y="2245"/>
                </a:lnTo>
                <a:lnTo>
                  <a:pt x="2086" y="2248"/>
                </a:lnTo>
                <a:lnTo>
                  <a:pt x="2086" y="2251"/>
                </a:lnTo>
                <a:lnTo>
                  <a:pt x="2085" y="2254"/>
                </a:lnTo>
                <a:lnTo>
                  <a:pt x="2084" y="2256"/>
                </a:lnTo>
                <a:lnTo>
                  <a:pt x="2083" y="2259"/>
                </a:lnTo>
                <a:lnTo>
                  <a:pt x="2081" y="2261"/>
                </a:lnTo>
                <a:lnTo>
                  <a:pt x="2078" y="2263"/>
                </a:lnTo>
                <a:lnTo>
                  <a:pt x="2074" y="2265"/>
                </a:lnTo>
                <a:lnTo>
                  <a:pt x="2069" y="2265"/>
                </a:lnTo>
                <a:lnTo>
                  <a:pt x="2067" y="2265"/>
                </a:lnTo>
                <a:lnTo>
                  <a:pt x="2065" y="2264"/>
                </a:lnTo>
                <a:lnTo>
                  <a:pt x="2063" y="2263"/>
                </a:lnTo>
                <a:lnTo>
                  <a:pt x="2061" y="2262"/>
                </a:lnTo>
                <a:lnTo>
                  <a:pt x="2059" y="2260"/>
                </a:lnTo>
                <a:lnTo>
                  <a:pt x="2057" y="2257"/>
                </a:lnTo>
                <a:lnTo>
                  <a:pt x="2056" y="2255"/>
                </a:lnTo>
                <a:lnTo>
                  <a:pt x="2055" y="2252"/>
                </a:lnTo>
                <a:lnTo>
                  <a:pt x="2055" y="2249"/>
                </a:lnTo>
                <a:lnTo>
                  <a:pt x="2055" y="2246"/>
                </a:lnTo>
                <a:lnTo>
                  <a:pt x="2056" y="2243"/>
                </a:lnTo>
                <a:lnTo>
                  <a:pt x="2058" y="2240"/>
                </a:lnTo>
                <a:lnTo>
                  <a:pt x="2060" y="2238"/>
                </a:lnTo>
                <a:lnTo>
                  <a:pt x="2063" y="2236"/>
                </a:lnTo>
                <a:close/>
                <a:moveTo>
                  <a:pt x="2140" y="2115"/>
                </a:moveTo>
                <a:lnTo>
                  <a:pt x="2141" y="2114"/>
                </a:lnTo>
                <a:lnTo>
                  <a:pt x="2143" y="2114"/>
                </a:lnTo>
                <a:lnTo>
                  <a:pt x="2147" y="2113"/>
                </a:lnTo>
                <a:lnTo>
                  <a:pt x="2151" y="2113"/>
                </a:lnTo>
                <a:lnTo>
                  <a:pt x="2154" y="2115"/>
                </a:lnTo>
                <a:lnTo>
                  <a:pt x="2157" y="2116"/>
                </a:lnTo>
                <a:lnTo>
                  <a:pt x="2159" y="2119"/>
                </a:lnTo>
                <a:lnTo>
                  <a:pt x="2161" y="2121"/>
                </a:lnTo>
                <a:lnTo>
                  <a:pt x="2162" y="2124"/>
                </a:lnTo>
                <a:lnTo>
                  <a:pt x="2163" y="2130"/>
                </a:lnTo>
                <a:lnTo>
                  <a:pt x="2162" y="2133"/>
                </a:lnTo>
                <a:lnTo>
                  <a:pt x="2161" y="2136"/>
                </a:lnTo>
                <a:lnTo>
                  <a:pt x="2159" y="2139"/>
                </a:lnTo>
                <a:lnTo>
                  <a:pt x="2155" y="2142"/>
                </a:lnTo>
                <a:lnTo>
                  <a:pt x="2153" y="2143"/>
                </a:lnTo>
                <a:lnTo>
                  <a:pt x="2152" y="2143"/>
                </a:lnTo>
                <a:lnTo>
                  <a:pt x="2148" y="2144"/>
                </a:lnTo>
                <a:lnTo>
                  <a:pt x="2144" y="2144"/>
                </a:lnTo>
                <a:lnTo>
                  <a:pt x="2140" y="2142"/>
                </a:lnTo>
                <a:lnTo>
                  <a:pt x="2138" y="2141"/>
                </a:lnTo>
                <a:lnTo>
                  <a:pt x="2135" y="2139"/>
                </a:lnTo>
                <a:lnTo>
                  <a:pt x="2134" y="2136"/>
                </a:lnTo>
                <a:lnTo>
                  <a:pt x="2133" y="2133"/>
                </a:lnTo>
                <a:lnTo>
                  <a:pt x="2132" y="2127"/>
                </a:lnTo>
                <a:lnTo>
                  <a:pt x="2132" y="2124"/>
                </a:lnTo>
                <a:lnTo>
                  <a:pt x="2133" y="2121"/>
                </a:lnTo>
                <a:lnTo>
                  <a:pt x="2136" y="2118"/>
                </a:lnTo>
                <a:lnTo>
                  <a:pt x="2140" y="2115"/>
                </a:lnTo>
                <a:close/>
                <a:moveTo>
                  <a:pt x="3591" y="1273"/>
                </a:moveTo>
                <a:lnTo>
                  <a:pt x="3594" y="1271"/>
                </a:lnTo>
                <a:lnTo>
                  <a:pt x="3597" y="1271"/>
                </a:lnTo>
                <a:lnTo>
                  <a:pt x="3601" y="1271"/>
                </a:lnTo>
                <a:lnTo>
                  <a:pt x="3604" y="1272"/>
                </a:lnTo>
                <a:lnTo>
                  <a:pt x="3607" y="1273"/>
                </a:lnTo>
                <a:lnTo>
                  <a:pt x="3610" y="1275"/>
                </a:lnTo>
                <a:lnTo>
                  <a:pt x="3611" y="1278"/>
                </a:lnTo>
                <a:lnTo>
                  <a:pt x="3613" y="1280"/>
                </a:lnTo>
                <a:lnTo>
                  <a:pt x="3614" y="1283"/>
                </a:lnTo>
                <a:lnTo>
                  <a:pt x="3614" y="1286"/>
                </a:lnTo>
                <a:lnTo>
                  <a:pt x="3614" y="1289"/>
                </a:lnTo>
                <a:lnTo>
                  <a:pt x="3613" y="1292"/>
                </a:lnTo>
                <a:lnTo>
                  <a:pt x="3612" y="1294"/>
                </a:lnTo>
                <a:lnTo>
                  <a:pt x="3610" y="1297"/>
                </a:lnTo>
                <a:lnTo>
                  <a:pt x="3608" y="1298"/>
                </a:lnTo>
                <a:lnTo>
                  <a:pt x="3606" y="1300"/>
                </a:lnTo>
                <a:lnTo>
                  <a:pt x="3603" y="1301"/>
                </a:lnTo>
                <a:lnTo>
                  <a:pt x="3600" y="1302"/>
                </a:lnTo>
                <a:lnTo>
                  <a:pt x="3596" y="1302"/>
                </a:lnTo>
                <a:lnTo>
                  <a:pt x="3593" y="1301"/>
                </a:lnTo>
                <a:lnTo>
                  <a:pt x="3590" y="1299"/>
                </a:lnTo>
                <a:lnTo>
                  <a:pt x="3588" y="1297"/>
                </a:lnTo>
                <a:lnTo>
                  <a:pt x="3586" y="1295"/>
                </a:lnTo>
                <a:lnTo>
                  <a:pt x="3584" y="1292"/>
                </a:lnTo>
                <a:lnTo>
                  <a:pt x="3583" y="1289"/>
                </a:lnTo>
                <a:lnTo>
                  <a:pt x="3583" y="1286"/>
                </a:lnTo>
                <a:lnTo>
                  <a:pt x="3583" y="1283"/>
                </a:lnTo>
                <a:lnTo>
                  <a:pt x="3584" y="1280"/>
                </a:lnTo>
                <a:lnTo>
                  <a:pt x="3585" y="1278"/>
                </a:lnTo>
                <a:lnTo>
                  <a:pt x="3587" y="1276"/>
                </a:lnTo>
                <a:lnTo>
                  <a:pt x="3589" y="1274"/>
                </a:lnTo>
                <a:lnTo>
                  <a:pt x="3591" y="1273"/>
                </a:lnTo>
                <a:close/>
                <a:moveTo>
                  <a:pt x="2193" y="1982"/>
                </a:moveTo>
                <a:lnTo>
                  <a:pt x="2196" y="1981"/>
                </a:lnTo>
                <a:lnTo>
                  <a:pt x="2199" y="1980"/>
                </a:lnTo>
                <a:lnTo>
                  <a:pt x="2202" y="1980"/>
                </a:lnTo>
                <a:lnTo>
                  <a:pt x="2205" y="1981"/>
                </a:lnTo>
                <a:lnTo>
                  <a:pt x="2208" y="1982"/>
                </a:lnTo>
                <a:lnTo>
                  <a:pt x="2211" y="1983"/>
                </a:lnTo>
                <a:lnTo>
                  <a:pt x="2212" y="1984"/>
                </a:lnTo>
                <a:lnTo>
                  <a:pt x="2213" y="1986"/>
                </a:lnTo>
                <a:lnTo>
                  <a:pt x="2215" y="1988"/>
                </a:lnTo>
                <a:lnTo>
                  <a:pt x="2216" y="1991"/>
                </a:lnTo>
                <a:lnTo>
                  <a:pt x="2216" y="1994"/>
                </a:lnTo>
                <a:lnTo>
                  <a:pt x="2216" y="1997"/>
                </a:lnTo>
                <a:lnTo>
                  <a:pt x="2216" y="2000"/>
                </a:lnTo>
                <a:lnTo>
                  <a:pt x="2215" y="2003"/>
                </a:lnTo>
                <a:lnTo>
                  <a:pt x="2213" y="2005"/>
                </a:lnTo>
                <a:lnTo>
                  <a:pt x="2211" y="2007"/>
                </a:lnTo>
                <a:lnTo>
                  <a:pt x="2209" y="2009"/>
                </a:lnTo>
                <a:lnTo>
                  <a:pt x="2206" y="2010"/>
                </a:lnTo>
                <a:lnTo>
                  <a:pt x="2203" y="2011"/>
                </a:lnTo>
                <a:lnTo>
                  <a:pt x="2200" y="2011"/>
                </a:lnTo>
                <a:lnTo>
                  <a:pt x="2196" y="2010"/>
                </a:lnTo>
                <a:lnTo>
                  <a:pt x="2194" y="2009"/>
                </a:lnTo>
                <a:lnTo>
                  <a:pt x="2191" y="2007"/>
                </a:lnTo>
                <a:lnTo>
                  <a:pt x="2190" y="2006"/>
                </a:lnTo>
                <a:lnTo>
                  <a:pt x="2189" y="2005"/>
                </a:lnTo>
                <a:lnTo>
                  <a:pt x="2187" y="2003"/>
                </a:lnTo>
                <a:lnTo>
                  <a:pt x="2186" y="2000"/>
                </a:lnTo>
                <a:lnTo>
                  <a:pt x="2185" y="1997"/>
                </a:lnTo>
                <a:lnTo>
                  <a:pt x="2185" y="1994"/>
                </a:lnTo>
                <a:lnTo>
                  <a:pt x="2186" y="1991"/>
                </a:lnTo>
                <a:lnTo>
                  <a:pt x="2187" y="1988"/>
                </a:lnTo>
                <a:lnTo>
                  <a:pt x="2189" y="1986"/>
                </a:lnTo>
                <a:lnTo>
                  <a:pt x="2191" y="1984"/>
                </a:lnTo>
                <a:lnTo>
                  <a:pt x="2193" y="1982"/>
                </a:lnTo>
                <a:close/>
                <a:moveTo>
                  <a:pt x="3456" y="1222"/>
                </a:moveTo>
                <a:lnTo>
                  <a:pt x="3459" y="1220"/>
                </a:lnTo>
                <a:lnTo>
                  <a:pt x="3462" y="1220"/>
                </a:lnTo>
                <a:lnTo>
                  <a:pt x="3466" y="1220"/>
                </a:lnTo>
                <a:lnTo>
                  <a:pt x="3469" y="1220"/>
                </a:lnTo>
                <a:lnTo>
                  <a:pt x="3472" y="1222"/>
                </a:lnTo>
                <a:lnTo>
                  <a:pt x="3474" y="1224"/>
                </a:lnTo>
                <a:lnTo>
                  <a:pt x="3476" y="1226"/>
                </a:lnTo>
                <a:lnTo>
                  <a:pt x="3478" y="1228"/>
                </a:lnTo>
                <a:lnTo>
                  <a:pt x="3479" y="1231"/>
                </a:lnTo>
                <a:lnTo>
                  <a:pt x="3480" y="1234"/>
                </a:lnTo>
                <a:lnTo>
                  <a:pt x="3479" y="1240"/>
                </a:lnTo>
                <a:lnTo>
                  <a:pt x="3477" y="1243"/>
                </a:lnTo>
                <a:lnTo>
                  <a:pt x="3476" y="1245"/>
                </a:lnTo>
                <a:lnTo>
                  <a:pt x="3474" y="1247"/>
                </a:lnTo>
                <a:lnTo>
                  <a:pt x="3472" y="1248"/>
                </a:lnTo>
                <a:lnTo>
                  <a:pt x="3469" y="1250"/>
                </a:lnTo>
                <a:lnTo>
                  <a:pt x="3466" y="1250"/>
                </a:lnTo>
                <a:lnTo>
                  <a:pt x="3462" y="1250"/>
                </a:lnTo>
                <a:lnTo>
                  <a:pt x="3459" y="1250"/>
                </a:lnTo>
                <a:lnTo>
                  <a:pt x="3456" y="1248"/>
                </a:lnTo>
                <a:lnTo>
                  <a:pt x="3454" y="1247"/>
                </a:lnTo>
                <a:lnTo>
                  <a:pt x="3452" y="1244"/>
                </a:lnTo>
                <a:lnTo>
                  <a:pt x="3450" y="1242"/>
                </a:lnTo>
                <a:lnTo>
                  <a:pt x="3449" y="1239"/>
                </a:lnTo>
                <a:lnTo>
                  <a:pt x="3448" y="1236"/>
                </a:lnTo>
                <a:lnTo>
                  <a:pt x="3449" y="1230"/>
                </a:lnTo>
                <a:lnTo>
                  <a:pt x="3451" y="1227"/>
                </a:lnTo>
                <a:lnTo>
                  <a:pt x="3452" y="1225"/>
                </a:lnTo>
                <a:lnTo>
                  <a:pt x="3454" y="1223"/>
                </a:lnTo>
                <a:lnTo>
                  <a:pt x="3456" y="1222"/>
                </a:lnTo>
                <a:close/>
                <a:moveTo>
                  <a:pt x="2223" y="1841"/>
                </a:moveTo>
                <a:lnTo>
                  <a:pt x="2226" y="1840"/>
                </a:lnTo>
                <a:lnTo>
                  <a:pt x="2228" y="1840"/>
                </a:lnTo>
                <a:lnTo>
                  <a:pt x="2231" y="1839"/>
                </a:lnTo>
                <a:lnTo>
                  <a:pt x="2233" y="1840"/>
                </a:lnTo>
                <a:lnTo>
                  <a:pt x="2236" y="1840"/>
                </a:lnTo>
                <a:lnTo>
                  <a:pt x="2239" y="1842"/>
                </a:lnTo>
                <a:lnTo>
                  <a:pt x="2242" y="1843"/>
                </a:lnTo>
                <a:lnTo>
                  <a:pt x="2244" y="1846"/>
                </a:lnTo>
                <a:lnTo>
                  <a:pt x="2245" y="1848"/>
                </a:lnTo>
                <a:lnTo>
                  <a:pt x="2246" y="1851"/>
                </a:lnTo>
                <a:lnTo>
                  <a:pt x="2247" y="1854"/>
                </a:lnTo>
                <a:lnTo>
                  <a:pt x="2247" y="1857"/>
                </a:lnTo>
                <a:lnTo>
                  <a:pt x="2246" y="1861"/>
                </a:lnTo>
                <a:lnTo>
                  <a:pt x="2244" y="1864"/>
                </a:lnTo>
                <a:lnTo>
                  <a:pt x="2242" y="1866"/>
                </a:lnTo>
                <a:lnTo>
                  <a:pt x="2239" y="1868"/>
                </a:lnTo>
                <a:lnTo>
                  <a:pt x="2237" y="1869"/>
                </a:lnTo>
                <a:lnTo>
                  <a:pt x="2234" y="1870"/>
                </a:lnTo>
                <a:lnTo>
                  <a:pt x="2232" y="1870"/>
                </a:lnTo>
                <a:lnTo>
                  <a:pt x="2229" y="1870"/>
                </a:lnTo>
                <a:lnTo>
                  <a:pt x="2226" y="1870"/>
                </a:lnTo>
                <a:lnTo>
                  <a:pt x="2223" y="1868"/>
                </a:lnTo>
                <a:lnTo>
                  <a:pt x="2221" y="1866"/>
                </a:lnTo>
                <a:lnTo>
                  <a:pt x="2219" y="1864"/>
                </a:lnTo>
                <a:lnTo>
                  <a:pt x="2217" y="1862"/>
                </a:lnTo>
                <a:lnTo>
                  <a:pt x="2216" y="1859"/>
                </a:lnTo>
                <a:lnTo>
                  <a:pt x="2216" y="1856"/>
                </a:lnTo>
                <a:lnTo>
                  <a:pt x="2216" y="1853"/>
                </a:lnTo>
                <a:lnTo>
                  <a:pt x="2217" y="1849"/>
                </a:lnTo>
                <a:lnTo>
                  <a:pt x="2218" y="1846"/>
                </a:lnTo>
                <a:lnTo>
                  <a:pt x="2221" y="1844"/>
                </a:lnTo>
                <a:lnTo>
                  <a:pt x="2223" y="1841"/>
                </a:lnTo>
                <a:close/>
                <a:moveTo>
                  <a:pt x="3319" y="1178"/>
                </a:moveTo>
                <a:lnTo>
                  <a:pt x="3322" y="1177"/>
                </a:lnTo>
                <a:lnTo>
                  <a:pt x="3325" y="1176"/>
                </a:lnTo>
                <a:lnTo>
                  <a:pt x="3328" y="1176"/>
                </a:lnTo>
                <a:lnTo>
                  <a:pt x="3331" y="1176"/>
                </a:lnTo>
                <a:lnTo>
                  <a:pt x="3334" y="1177"/>
                </a:lnTo>
                <a:lnTo>
                  <a:pt x="3337" y="1179"/>
                </a:lnTo>
                <a:lnTo>
                  <a:pt x="3339" y="1181"/>
                </a:lnTo>
                <a:lnTo>
                  <a:pt x="3340" y="1184"/>
                </a:lnTo>
                <a:lnTo>
                  <a:pt x="3342" y="1186"/>
                </a:lnTo>
                <a:lnTo>
                  <a:pt x="3342" y="1189"/>
                </a:lnTo>
                <a:lnTo>
                  <a:pt x="3342" y="1192"/>
                </a:lnTo>
                <a:lnTo>
                  <a:pt x="3342" y="1195"/>
                </a:lnTo>
                <a:lnTo>
                  <a:pt x="3341" y="1198"/>
                </a:lnTo>
                <a:lnTo>
                  <a:pt x="3339" y="1201"/>
                </a:lnTo>
                <a:lnTo>
                  <a:pt x="3337" y="1203"/>
                </a:lnTo>
                <a:lnTo>
                  <a:pt x="3335" y="1205"/>
                </a:lnTo>
                <a:lnTo>
                  <a:pt x="3332" y="1206"/>
                </a:lnTo>
                <a:lnTo>
                  <a:pt x="3329" y="1207"/>
                </a:lnTo>
                <a:lnTo>
                  <a:pt x="3326" y="1207"/>
                </a:lnTo>
                <a:lnTo>
                  <a:pt x="3323" y="1206"/>
                </a:lnTo>
                <a:lnTo>
                  <a:pt x="3320" y="1205"/>
                </a:lnTo>
                <a:lnTo>
                  <a:pt x="3317" y="1203"/>
                </a:lnTo>
                <a:lnTo>
                  <a:pt x="3315" y="1201"/>
                </a:lnTo>
                <a:lnTo>
                  <a:pt x="3313" y="1199"/>
                </a:lnTo>
                <a:lnTo>
                  <a:pt x="3312" y="1196"/>
                </a:lnTo>
                <a:lnTo>
                  <a:pt x="3311" y="1193"/>
                </a:lnTo>
                <a:lnTo>
                  <a:pt x="3311" y="1190"/>
                </a:lnTo>
                <a:lnTo>
                  <a:pt x="3312" y="1187"/>
                </a:lnTo>
                <a:lnTo>
                  <a:pt x="3313" y="1184"/>
                </a:lnTo>
                <a:lnTo>
                  <a:pt x="3315" y="1182"/>
                </a:lnTo>
                <a:lnTo>
                  <a:pt x="3317" y="1179"/>
                </a:lnTo>
                <a:lnTo>
                  <a:pt x="3319" y="1178"/>
                </a:lnTo>
                <a:close/>
                <a:moveTo>
                  <a:pt x="2237" y="1697"/>
                </a:moveTo>
                <a:lnTo>
                  <a:pt x="2242" y="1696"/>
                </a:lnTo>
                <a:lnTo>
                  <a:pt x="2246" y="1695"/>
                </a:lnTo>
                <a:lnTo>
                  <a:pt x="2249" y="1696"/>
                </a:lnTo>
                <a:lnTo>
                  <a:pt x="2252" y="1697"/>
                </a:lnTo>
                <a:lnTo>
                  <a:pt x="2255" y="1698"/>
                </a:lnTo>
                <a:lnTo>
                  <a:pt x="2257" y="1700"/>
                </a:lnTo>
                <a:lnTo>
                  <a:pt x="2259" y="1703"/>
                </a:lnTo>
                <a:lnTo>
                  <a:pt x="2260" y="1706"/>
                </a:lnTo>
                <a:lnTo>
                  <a:pt x="2261" y="1709"/>
                </a:lnTo>
                <a:lnTo>
                  <a:pt x="2261" y="1712"/>
                </a:lnTo>
                <a:lnTo>
                  <a:pt x="2260" y="1714"/>
                </a:lnTo>
                <a:lnTo>
                  <a:pt x="2260" y="1716"/>
                </a:lnTo>
                <a:lnTo>
                  <a:pt x="2258" y="1719"/>
                </a:lnTo>
                <a:lnTo>
                  <a:pt x="2256" y="1722"/>
                </a:lnTo>
                <a:lnTo>
                  <a:pt x="2253" y="1724"/>
                </a:lnTo>
                <a:lnTo>
                  <a:pt x="2249" y="1726"/>
                </a:lnTo>
                <a:lnTo>
                  <a:pt x="2244" y="1726"/>
                </a:lnTo>
                <a:lnTo>
                  <a:pt x="2241" y="1726"/>
                </a:lnTo>
                <a:lnTo>
                  <a:pt x="2238" y="1725"/>
                </a:lnTo>
                <a:lnTo>
                  <a:pt x="2236" y="1723"/>
                </a:lnTo>
                <a:lnTo>
                  <a:pt x="2233" y="1721"/>
                </a:lnTo>
                <a:lnTo>
                  <a:pt x="2232" y="1718"/>
                </a:lnTo>
                <a:lnTo>
                  <a:pt x="2230" y="1716"/>
                </a:lnTo>
                <a:lnTo>
                  <a:pt x="2230" y="1713"/>
                </a:lnTo>
                <a:lnTo>
                  <a:pt x="2230" y="1710"/>
                </a:lnTo>
                <a:lnTo>
                  <a:pt x="2230" y="1708"/>
                </a:lnTo>
                <a:lnTo>
                  <a:pt x="2230" y="1706"/>
                </a:lnTo>
                <a:lnTo>
                  <a:pt x="2232" y="1702"/>
                </a:lnTo>
                <a:lnTo>
                  <a:pt x="2234" y="1699"/>
                </a:lnTo>
                <a:lnTo>
                  <a:pt x="2237" y="1697"/>
                </a:lnTo>
                <a:close/>
                <a:moveTo>
                  <a:pt x="3179" y="1144"/>
                </a:moveTo>
                <a:lnTo>
                  <a:pt x="3182" y="1143"/>
                </a:lnTo>
                <a:lnTo>
                  <a:pt x="3184" y="1142"/>
                </a:lnTo>
                <a:lnTo>
                  <a:pt x="3190" y="1142"/>
                </a:lnTo>
                <a:lnTo>
                  <a:pt x="3193" y="1143"/>
                </a:lnTo>
                <a:lnTo>
                  <a:pt x="3196" y="1144"/>
                </a:lnTo>
                <a:lnTo>
                  <a:pt x="3198" y="1146"/>
                </a:lnTo>
                <a:lnTo>
                  <a:pt x="3200" y="1149"/>
                </a:lnTo>
                <a:lnTo>
                  <a:pt x="3201" y="1151"/>
                </a:lnTo>
                <a:lnTo>
                  <a:pt x="3202" y="1154"/>
                </a:lnTo>
                <a:lnTo>
                  <a:pt x="3203" y="1157"/>
                </a:lnTo>
                <a:lnTo>
                  <a:pt x="3202" y="1160"/>
                </a:lnTo>
                <a:lnTo>
                  <a:pt x="3201" y="1163"/>
                </a:lnTo>
                <a:lnTo>
                  <a:pt x="3200" y="1166"/>
                </a:lnTo>
                <a:lnTo>
                  <a:pt x="3197" y="1169"/>
                </a:lnTo>
                <a:lnTo>
                  <a:pt x="3195" y="1171"/>
                </a:lnTo>
                <a:lnTo>
                  <a:pt x="3192" y="1172"/>
                </a:lnTo>
                <a:lnTo>
                  <a:pt x="3190" y="1172"/>
                </a:lnTo>
                <a:lnTo>
                  <a:pt x="3184" y="1172"/>
                </a:lnTo>
                <a:lnTo>
                  <a:pt x="3181" y="1171"/>
                </a:lnTo>
                <a:lnTo>
                  <a:pt x="3178" y="1170"/>
                </a:lnTo>
                <a:lnTo>
                  <a:pt x="3176" y="1168"/>
                </a:lnTo>
                <a:lnTo>
                  <a:pt x="3174" y="1166"/>
                </a:lnTo>
                <a:lnTo>
                  <a:pt x="3173" y="1163"/>
                </a:lnTo>
                <a:lnTo>
                  <a:pt x="3172" y="1160"/>
                </a:lnTo>
                <a:lnTo>
                  <a:pt x="3172" y="1157"/>
                </a:lnTo>
                <a:lnTo>
                  <a:pt x="3172" y="1154"/>
                </a:lnTo>
                <a:lnTo>
                  <a:pt x="3173" y="1151"/>
                </a:lnTo>
                <a:lnTo>
                  <a:pt x="3175" y="1148"/>
                </a:lnTo>
                <a:lnTo>
                  <a:pt x="3177" y="1146"/>
                </a:lnTo>
                <a:lnTo>
                  <a:pt x="3179" y="1144"/>
                </a:lnTo>
                <a:close/>
                <a:moveTo>
                  <a:pt x="3037" y="1122"/>
                </a:moveTo>
                <a:lnTo>
                  <a:pt x="3042" y="1120"/>
                </a:lnTo>
                <a:lnTo>
                  <a:pt x="3044" y="1120"/>
                </a:lnTo>
                <a:lnTo>
                  <a:pt x="3046" y="1120"/>
                </a:lnTo>
                <a:lnTo>
                  <a:pt x="3050" y="1121"/>
                </a:lnTo>
                <a:lnTo>
                  <a:pt x="3052" y="1122"/>
                </a:lnTo>
                <a:lnTo>
                  <a:pt x="3055" y="1124"/>
                </a:lnTo>
                <a:lnTo>
                  <a:pt x="3057" y="1126"/>
                </a:lnTo>
                <a:lnTo>
                  <a:pt x="3059" y="1128"/>
                </a:lnTo>
                <a:lnTo>
                  <a:pt x="3060" y="1131"/>
                </a:lnTo>
                <a:lnTo>
                  <a:pt x="3060" y="1134"/>
                </a:lnTo>
                <a:lnTo>
                  <a:pt x="3060" y="1137"/>
                </a:lnTo>
                <a:lnTo>
                  <a:pt x="3060" y="1141"/>
                </a:lnTo>
                <a:lnTo>
                  <a:pt x="3058" y="1144"/>
                </a:lnTo>
                <a:lnTo>
                  <a:pt x="3056" y="1147"/>
                </a:lnTo>
                <a:lnTo>
                  <a:pt x="3053" y="1149"/>
                </a:lnTo>
                <a:lnTo>
                  <a:pt x="3048" y="1151"/>
                </a:lnTo>
                <a:lnTo>
                  <a:pt x="3046" y="1151"/>
                </a:lnTo>
                <a:lnTo>
                  <a:pt x="3043" y="1151"/>
                </a:lnTo>
                <a:lnTo>
                  <a:pt x="3040" y="1150"/>
                </a:lnTo>
                <a:lnTo>
                  <a:pt x="3037" y="1149"/>
                </a:lnTo>
                <a:lnTo>
                  <a:pt x="3035" y="1148"/>
                </a:lnTo>
                <a:lnTo>
                  <a:pt x="3033" y="1145"/>
                </a:lnTo>
                <a:lnTo>
                  <a:pt x="3031" y="1143"/>
                </a:lnTo>
                <a:lnTo>
                  <a:pt x="3030" y="1140"/>
                </a:lnTo>
                <a:lnTo>
                  <a:pt x="3029" y="1137"/>
                </a:lnTo>
                <a:lnTo>
                  <a:pt x="3029" y="1134"/>
                </a:lnTo>
                <a:lnTo>
                  <a:pt x="3030" y="1130"/>
                </a:lnTo>
                <a:lnTo>
                  <a:pt x="3032" y="1127"/>
                </a:lnTo>
                <a:lnTo>
                  <a:pt x="3034" y="1124"/>
                </a:lnTo>
                <a:lnTo>
                  <a:pt x="3037" y="1122"/>
                </a:lnTo>
                <a:close/>
                <a:moveTo>
                  <a:pt x="2249" y="1554"/>
                </a:moveTo>
                <a:lnTo>
                  <a:pt x="2251" y="1553"/>
                </a:lnTo>
                <a:lnTo>
                  <a:pt x="2254" y="1552"/>
                </a:lnTo>
                <a:lnTo>
                  <a:pt x="2256" y="1552"/>
                </a:lnTo>
                <a:lnTo>
                  <a:pt x="2259" y="1552"/>
                </a:lnTo>
                <a:lnTo>
                  <a:pt x="2262" y="1552"/>
                </a:lnTo>
                <a:lnTo>
                  <a:pt x="2265" y="1554"/>
                </a:lnTo>
                <a:lnTo>
                  <a:pt x="2267" y="1555"/>
                </a:lnTo>
                <a:lnTo>
                  <a:pt x="2269" y="1558"/>
                </a:lnTo>
                <a:lnTo>
                  <a:pt x="2270" y="1559"/>
                </a:lnTo>
                <a:lnTo>
                  <a:pt x="2271" y="1560"/>
                </a:lnTo>
                <a:lnTo>
                  <a:pt x="2272" y="1563"/>
                </a:lnTo>
                <a:lnTo>
                  <a:pt x="2272" y="1566"/>
                </a:lnTo>
                <a:lnTo>
                  <a:pt x="2272" y="1569"/>
                </a:lnTo>
                <a:lnTo>
                  <a:pt x="2271" y="1573"/>
                </a:lnTo>
                <a:lnTo>
                  <a:pt x="2270" y="1576"/>
                </a:lnTo>
                <a:lnTo>
                  <a:pt x="2267" y="1579"/>
                </a:lnTo>
                <a:lnTo>
                  <a:pt x="2265" y="1581"/>
                </a:lnTo>
                <a:lnTo>
                  <a:pt x="2262" y="1582"/>
                </a:lnTo>
                <a:lnTo>
                  <a:pt x="2260" y="1582"/>
                </a:lnTo>
                <a:lnTo>
                  <a:pt x="2258" y="1583"/>
                </a:lnTo>
                <a:lnTo>
                  <a:pt x="2255" y="1583"/>
                </a:lnTo>
                <a:lnTo>
                  <a:pt x="2252" y="1582"/>
                </a:lnTo>
                <a:lnTo>
                  <a:pt x="2249" y="1581"/>
                </a:lnTo>
                <a:lnTo>
                  <a:pt x="2247" y="1579"/>
                </a:lnTo>
                <a:lnTo>
                  <a:pt x="2245" y="1577"/>
                </a:lnTo>
                <a:lnTo>
                  <a:pt x="2244" y="1576"/>
                </a:lnTo>
                <a:lnTo>
                  <a:pt x="2243" y="1574"/>
                </a:lnTo>
                <a:lnTo>
                  <a:pt x="2242" y="1571"/>
                </a:lnTo>
                <a:lnTo>
                  <a:pt x="2241" y="1568"/>
                </a:lnTo>
                <a:lnTo>
                  <a:pt x="2241" y="1565"/>
                </a:lnTo>
                <a:lnTo>
                  <a:pt x="2242" y="1562"/>
                </a:lnTo>
                <a:lnTo>
                  <a:pt x="2244" y="1558"/>
                </a:lnTo>
                <a:lnTo>
                  <a:pt x="2246" y="1556"/>
                </a:lnTo>
                <a:lnTo>
                  <a:pt x="2249" y="1554"/>
                </a:lnTo>
                <a:close/>
                <a:moveTo>
                  <a:pt x="2893" y="1116"/>
                </a:moveTo>
                <a:lnTo>
                  <a:pt x="2895" y="1115"/>
                </a:lnTo>
                <a:lnTo>
                  <a:pt x="2897" y="1115"/>
                </a:lnTo>
                <a:lnTo>
                  <a:pt x="2901" y="1114"/>
                </a:lnTo>
                <a:lnTo>
                  <a:pt x="2904" y="1114"/>
                </a:lnTo>
                <a:lnTo>
                  <a:pt x="2907" y="1115"/>
                </a:lnTo>
                <a:lnTo>
                  <a:pt x="2910" y="1117"/>
                </a:lnTo>
                <a:lnTo>
                  <a:pt x="2912" y="1119"/>
                </a:lnTo>
                <a:lnTo>
                  <a:pt x="2914" y="1121"/>
                </a:lnTo>
                <a:lnTo>
                  <a:pt x="2915" y="1123"/>
                </a:lnTo>
                <a:lnTo>
                  <a:pt x="2916" y="1126"/>
                </a:lnTo>
                <a:lnTo>
                  <a:pt x="2917" y="1129"/>
                </a:lnTo>
                <a:lnTo>
                  <a:pt x="2916" y="1134"/>
                </a:lnTo>
                <a:lnTo>
                  <a:pt x="2915" y="1137"/>
                </a:lnTo>
                <a:lnTo>
                  <a:pt x="2912" y="1141"/>
                </a:lnTo>
                <a:lnTo>
                  <a:pt x="2909" y="1143"/>
                </a:lnTo>
                <a:lnTo>
                  <a:pt x="2907" y="1144"/>
                </a:lnTo>
                <a:lnTo>
                  <a:pt x="2905" y="1145"/>
                </a:lnTo>
                <a:lnTo>
                  <a:pt x="2902" y="1145"/>
                </a:lnTo>
                <a:lnTo>
                  <a:pt x="2898" y="1145"/>
                </a:lnTo>
                <a:lnTo>
                  <a:pt x="2895" y="1144"/>
                </a:lnTo>
                <a:lnTo>
                  <a:pt x="2893" y="1143"/>
                </a:lnTo>
                <a:lnTo>
                  <a:pt x="2890" y="1141"/>
                </a:lnTo>
                <a:lnTo>
                  <a:pt x="2888" y="1139"/>
                </a:lnTo>
                <a:lnTo>
                  <a:pt x="2887" y="1136"/>
                </a:lnTo>
                <a:lnTo>
                  <a:pt x="2886" y="1133"/>
                </a:lnTo>
                <a:lnTo>
                  <a:pt x="2886" y="1130"/>
                </a:lnTo>
                <a:lnTo>
                  <a:pt x="2886" y="1126"/>
                </a:lnTo>
                <a:lnTo>
                  <a:pt x="2888" y="1122"/>
                </a:lnTo>
                <a:lnTo>
                  <a:pt x="2890" y="1119"/>
                </a:lnTo>
                <a:lnTo>
                  <a:pt x="2893" y="1116"/>
                </a:lnTo>
                <a:close/>
                <a:moveTo>
                  <a:pt x="2281" y="1414"/>
                </a:moveTo>
                <a:lnTo>
                  <a:pt x="2284" y="1412"/>
                </a:lnTo>
                <a:lnTo>
                  <a:pt x="2287" y="1412"/>
                </a:lnTo>
                <a:lnTo>
                  <a:pt x="2291" y="1412"/>
                </a:lnTo>
                <a:lnTo>
                  <a:pt x="2294" y="1413"/>
                </a:lnTo>
                <a:lnTo>
                  <a:pt x="2295" y="1413"/>
                </a:lnTo>
                <a:lnTo>
                  <a:pt x="2297" y="1414"/>
                </a:lnTo>
                <a:lnTo>
                  <a:pt x="2299" y="1416"/>
                </a:lnTo>
                <a:lnTo>
                  <a:pt x="2301" y="1418"/>
                </a:lnTo>
                <a:lnTo>
                  <a:pt x="2303" y="1421"/>
                </a:lnTo>
                <a:lnTo>
                  <a:pt x="2304" y="1424"/>
                </a:lnTo>
                <a:lnTo>
                  <a:pt x="2304" y="1427"/>
                </a:lnTo>
                <a:lnTo>
                  <a:pt x="2304" y="1430"/>
                </a:lnTo>
                <a:lnTo>
                  <a:pt x="2303" y="1433"/>
                </a:lnTo>
                <a:lnTo>
                  <a:pt x="2302" y="1435"/>
                </a:lnTo>
                <a:lnTo>
                  <a:pt x="2300" y="1437"/>
                </a:lnTo>
                <a:lnTo>
                  <a:pt x="2298" y="1439"/>
                </a:lnTo>
                <a:lnTo>
                  <a:pt x="2296" y="1441"/>
                </a:lnTo>
                <a:lnTo>
                  <a:pt x="2293" y="1442"/>
                </a:lnTo>
                <a:lnTo>
                  <a:pt x="2290" y="1443"/>
                </a:lnTo>
                <a:lnTo>
                  <a:pt x="2286" y="1443"/>
                </a:lnTo>
                <a:lnTo>
                  <a:pt x="2283" y="1442"/>
                </a:lnTo>
                <a:lnTo>
                  <a:pt x="2281" y="1441"/>
                </a:lnTo>
                <a:lnTo>
                  <a:pt x="2280" y="1440"/>
                </a:lnTo>
                <a:lnTo>
                  <a:pt x="2278" y="1439"/>
                </a:lnTo>
                <a:lnTo>
                  <a:pt x="2276" y="1436"/>
                </a:lnTo>
                <a:lnTo>
                  <a:pt x="2274" y="1434"/>
                </a:lnTo>
                <a:lnTo>
                  <a:pt x="2273" y="1431"/>
                </a:lnTo>
                <a:lnTo>
                  <a:pt x="2273" y="1428"/>
                </a:lnTo>
                <a:lnTo>
                  <a:pt x="2273" y="1425"/>
                </a:lnTo>
                <a:lnTo>
                  <a:pt x="2274" y="1422"/>
                </a:lnTo>
                <a:lnTo>
                  <a:pt x="2275" y="1419"/>
                </a:lnTo>
                <a:lnTo>
                  <a:pt x="2277" y="1417"/>
                </a:lnTo>
                <a:lnTo>
                  <a:pt x="2279" y="1415"/>
                </a:lnTo>
                <a:lnTo>
                  <a:pt x="2281" y="1414"/>
                </a:lnTo>
                <a:close/>
                <a:moveTo>
                  <a:pt x="2750" y="1129"/>
                </a:moveTo>
                <a:lnTo>
                  <a:pt x="2753" y="1128"/>
                </a:lnTo>
                <a:lnTo>
                  <a:pt x="2756" y="1127"/>
                </a:lnTo>
                <a:lnTo>
                  <a:pt x="2759" y="1127"/>
                </a:lnTo>
                <a:lnTo>
                  <a:pt x="2762" y="1127"/>
                </a:lnTo>
                <a:lnTo>
                  <a:pt x="2765" y="1128"/>
                </a:lnTo>
                <a:lnTo>
                  <a:pt x="2767" y="1130"/>
                </a:lnTo>
                <a:lnTo>
                  <a:pt x="2769" y="1132"/>
                </a:lnTo>
                <a:lnTo>
                  <a:pt x="2771" y="1134"/>
                </a:lnTo>
                <a:lnTo>
                  <a:pt x="2773" y="1137"/>
                </a:lnTo>
                <a:lnTo>
                  <a:pt x="2773" y="1140"/>
                </a:lnTo>
                <a:lnTo>
                  <a:pt x="2773" y="1145"/>
                </a:lnTo>
                <a:lnTo>
                  <a:pt x="2772" y="1149"/>
                </a:lnTo>
                <a:lnTo>
                  <a:pt x="2769" y="1153"/>
                </a:lnTo>
                <a:lnTo>
                  <a:pt x="2768" y="1154"/>
                </a:lnTo>
                <a:lnTo>
                  <a:pt x="2766" y="1156"/>
                </a:lnTo>
                <a:lnTo>
                  <a:pt x="2763" y="1157"/>
                </a:lnTo>
                <a:lnTo>
                  <a:pt x="2760" y="1158"/>
                </a:lnTo>
                <a:lnTo>
                  <a:pt x="2757" y="1158"/>
                </a:lnTo>
                <a:lnTo>
                  <a:pt x="2754" y="1157"/>
                </a:lnTo>
                <a:lnTo>
                  <a:pt x="2751" y="1156"/>
                </a:lnTo>
                <a:lnTo>
                  <a:pt x="2749" y="1155"/>
                </a:lnTo>
                <a:lnTo>
                  <a:pt x="2747" y="1153"/>
                </a:lnTo>
                <a:lnTo>
                  <a:pt x="2745" y="1151"/>
                </a:lnTo>
                <a:lnTo>
                  <a:pt x="2743" y="1148"/>
                </a:lnTo>
                <a:lnTo>
                  <a:pt x="2743" y="1145"/>
                </a:lnTo>
                <a:lnTo>
                  <a:pt x="2743" y="1140"/>
                </a:lnTo>
                <a:lnTo>
                  <a:pt x="2744" y="1136"/>
                </a:lnTo>
                <a:lnTo>
                  <a:pt x="2747" y="1132"/>
                </a:lnTo>
                <a:lnTo>
                  <a:pt x="2748" y="1130"/>
                </a:lnTo>
                <a:lnTo>
                  <a:pt x="2750" y="1129"/>
                </a:lnTo>
                <a:close/>
                <a:moveTo>
                  <a:pt x="2610" y="1161"/>
                </a:moveTo>
                <a:lnTo>
                  <a:pt x="2614" y="1160"/>
                </a:lnTo>
                <a:lnTo>
                  <a:pt x="2617" y="1159"/>
                </a:lnTo>
                <a:lnTo>
                  <a:pt x="2620" y="1159"/>
                </a:lnTo>
                <a:lnTo>
                  <a:pt x="2623" y="1160"/>
                </a:lnTo>
                <a:lnTo>
                  <a:pt x="2625" y="1161"/>
                </a:lnTo>
                <a:lnTo>
                  <a:pt x="2628" y="1163"/>
                </a:lnTo>
                <a:lnTo>
                  <a:pt x="2630" y="1165"/>
                </a:lnTo>
                <a:lnTo>
                  <a:pt x="2632" y="1167"/>
                </a:lnTo>
                <a:lnTo>
                  <a:pt x="2633" y="1170"/>
                </a:lnTo>
                <a:lnTo>
                  <a:pt x="2634" y="1176"/>
                </a:lnTo>
                <a:lnTo>
                  <a:pt x="2633" y="1178"/>
                </a:lnTo>
                <a:lnTo>
                  <a:pt x="2633" y="1181"/>
                </a:lnTo>
                <a:lnTo>
                  <a:pt x="2631" y="1183"/>
                </a:lnTo>
                <a:lnTo>
                  <a:pt x="2630" y="1185"/>
                </a:lnTo>
                <a:lnTo>
                  <a:pt x="2628" y="1187"/>
                </a:lnTo>
                <a:lnTo>
                  <a:pt x="2626" y="1188"/>
                </a:lnTo>
                <a:lnTo>
                  <a:pt x="2623" y="1190"/>
                </a:lnTo>
                <a:lnTo>
                  <a:pt x="2620" y="1190"/>
                </a:lnTo>
                <a:lnTo>
                  <a:pt x="2617" y="1190"/>
                </a:lnTo>
                <a:lnTo>
                  <a:pt x="2614" y="1190"/>
                </a:lnTo>
                <a:lnTo>
                  <a:pt x="2611" y="1189"/>
                </a:lnTo>
                <a:lnTo>
                  <a:pt x="2608" y="1187"/>
                </a:lnTo>
                <a:lnTo>
                  <a:pt x="2606" y="1185"/>
                </a:lnTo>
                <a:lnTo>
                  <a:pt x="2605" y="1182"/>
                </a:lnTo>
                <a:lnTo>
                  <a:pt x="2603" y="1180"/>
                </a:lnTo>
                <a:lnTo>
                  <a:pt x="2603" y="1174"/>
                </a:lnTo>
                <a:lnTo>
                  <a:pt x="2603" y="1172"/>
                </a:lnTo>
                <a:lnTo>
                  <a:pt x="2604" y="1169"/>
                </a:lnTo>
                <a:lnTo>
                  <a:pt x="2605" y="1167"/>
                </a:lnTo>
                <a:lnTo>
                  <a:pt x="2606" y="1165"/>
                </a:lnTo>
                <a:lnTo>
                  <a:pt x="2608" y="1163"/>
                </a:lnTo>
                <a:lnTo>
                  <a:pt x="2610" y="1161"/>
                </a:lnTo>
                <a:close/>
                <a:moveTo>
                  <a:pt x="2358" y="1295"/>
                </a:moveTo>
                <a:lnTo>
                  <a:pt x="2360" y="1293"/>
                </a:lnTo>
                <a:lnTo>
                  <a:pt x="2362" y="1293"/>
                </a:lnTo>
                <a:lnTo>
                  <a:pt x="2365" y="1292"/>
                </a:lnTo>
                <a:lnTo>
                  <a:pt x="2367" y="1293"/>
                </a:lnTo>
                <a:lnTo>
                  <a:pt x="2370" y="1293"/>
                </a:lnTo>
                <a:lnTo>
                  <a:pt x="2372" y="1294"/>
                </a:lnTo>
                <a:lnTo>
                  <a:pt x="2375" y="1295"/>
                </a:lnTo>
                <a:lnTo>
                  <a:pt x="2377" y="1297"/>
                </a:lnTo>
                <a:lnTo>
                  <a:pt x="2379" y="1299"/>
                </a:lnTo>
                <a:lnTo>
                  <a:pt x="2380" y="1302"/>
                </a:lnTo>
                <a:lnTo>
                  <a:pt x="2381" y="1305"/>
                </a:lnTo>
                <a:lnTo>
                  <a:pt x="2381" y="1308"/>
                </a:lnTo>
                <a:lnTo>
                  <a:pt x="2381" y="1311"/>
                </a:lnTo>
                <a:lnTo>
                  <a:pt x="2380" y="1314"/>
                </a:lnTo>
                <a:lnTo>
                  <a:pt x="2378" y="1317"/>
                </a:lnTo>
                <a:lnTo>
                  <a:pt x="2376" y="1319"/>
                </a:lnTo>
                <a:lnTo>
                  <a:pt x="2373" y="1321"/>
                </a:lnTo>
                <a:lnTo>
                  <a:pt x="2371" y="1323"/>
                </a:lnTo>
                <a:lnTo>
                  <a:pt x="2369" y="1323"/>
                </a:lnTo>
                <a:lnTo>
                  <a:pt x="2366" y="1324"/>
                </a:lnTo>
                <a:lnTo>
                  <a:pt x="2364" y="1323"/>
                </a:lnTo>
                <a:lnTo>
                  <a:pt x="2361" y="1323"/>
                </a:lnTo>
                <a:lnTo>
                  <a:pt x="2359" y="1322"/>
                </a:lnTo>
                <a:lnTo>
                  <a:pt x="2357" y="1321"/>
                </a:lnTo>
                <a:lnTo>
                  <a:pt x="2354" y="1319"/>
                </a:lnTo>
                <a:lnTo>
                  <a:pt x="2352" y="1316"/>
                </a:lnTo>
                <a:lnTo>
                  <a:pt x="2351" y="1314"/>
                </a:lnTo>
                <a:lnTo>
                  <a:pt x="2350" y="1311"/>
                </a:lnTo>
                <a:lnTo>
                  <a:pt x="2350" y="1308"/>
                </a:lnTo>
                <a:lnTo>
                  <a:pt x="2350" y="1305"/>
                </a:lnTo>
                <a:lnTo>
                  <a:pt x="2351" y="1302"/>
                </a:lnTo>
                <a:lnTo>
                  <a:pt x="2353" y="1299"/>
                </a:lnTo>
                <a:lnTo>
                  <a:pt x="2355" y="1297"/>
                </a:lnTo>
                <a:lnTo>
                  <a:pt x="2358" y="1295"/>
                </a:lnTo>
                <a:close/>
                <a:moveTo>
                  <a:pt x="2476" y="1214"/>
                </a:moveTo>
                <a:lnTo>
                  <a:pt x="2480" y="1212"/>
                </a:lnTo>
                <a:lnTo>
                  <a:pt x="2483" y="1212"/>
                </a:lnTo>
                <a:lnTo>
                  <a:pt x="2486" y="1212"/>
                </a:lnTo>
                <a:lnTo>
                  <a:pt x="2489" y="1213"/>
                </a:lnTo>
                <a:lnTo>
                  <a:pt x="2492" y="1214"/>
                </a:lnTo>
                <a:lnTo>
                  <a:pt x="2494" y="1215"/>
                </a:lnTo>
                <a:lnTo>
                  <a:pt x="2497" y="1218"/>
                </a:lnTo>
                <a:lnTo>
                  <a:pt x="2498" y="1220"/>
                </a:lnTo>
                <a:lnTo>
                  <a:pt x="2499" y="1223"/>
                </a:lnTo>
                <a:lnTo>
                  <a:pt x="2500" y="1226"/>
                </a:lnTo>
                <a:lnTo>
                  <a:pt x="2500" y="1229"/>
                </a:lnTo>
                <a:lnTo>
                  <a:pt x="2499" y="1232"/>
                </a:lnTo>
                <a:lnTo>
                  <a:pt x="2498" y="1234"/>
                </a:lnTo>
                <a:lnTo>
                  <a:pt x="2496" y="1237"/>
                </a:lnTo>
                <a:lnTo>
                  <a:pt x="2494" y="1239"/>
                </a:lnTo>
                <a:lnTo>
                  <a:pt x="2492" y="1241"/>
                </a:lnTo>
                <a:lnTo>
                  <a:pt x="2489" y="1242"/>
                </a:lnTo>
                <a:lnTo>
                  <a:pt x="2485" y="1242"/>
                </a:lnTo>
                <a:lnTo>
                  <a:pt x="2482" y="1242"/>
                </a:lnTo>
                <a:lnTo>
                  <a:pt x="2479" y="1242"/>
                </a:lnTo>
                <a:lnTo>
                  <a:pt x="2476" y="1241"/>
                </a:lnTo>
                <a:lnTo>
                  <a:pt x="2474" y="1239"/>
                </a:lnTo>
                <a:lnTo>
                  <a:pt x="2472" y="1237"/>
                </a:lnTo>
                <a:lnTo>
                  <a:pt x="2470" y="1234"/>
                </a:lnTo>
                <a:lnTo>
                  <a:pt x="2469" y="1231"/>
                </a:lnTo>
                <a:lnTo>
                  <a:pt x="2469" y="1228"/>
                </a:lnTo>
                <a:lnTo>
                  <a:pt x="2469" y="1225"/>
                </a:lnTo>
                <a:lnTo>
                  <a:pt x="2469" y="1223"/>
                </a:lnTo>
                <a:lnTo>
                  <a:pt x="2470" y="1220"/>
                </a:lnTo>
                <a:lnTo>
                  <a:pt x="2472" y="1218"/>
                </a:lnTo>
                <a:lnTo>
                  <a:pt x="2474" y="1215"/>
                </a:lnTo>
                <a:lnTo>
                  <a:pt x="2476" y="1214"/>
                </a:lnTo>
                <a:close/>
                <a:moveTo>
                  <a:pt x="4755" y="2104"/>
                </a:moveTo>
                <a:lnTo>
                  <a:pt x="4757" y="2103"/>
                </a:lnTo>
                <a:lnTo>
                  <a:pt x="4759" y="2103"/>
                </a:lnTo>
                <a:lnTo>
                  <a:pt x="4762" y="2102"/>
                </a:lnTo>
                <a:lnTo>
                  <a:pt x="4766" y="2102"/>
                </a:lnTo>
                <a:lnTo>
                  <a:pt x="4770" y="2104"/>
                </a:lnTo>
                <a:lnTo>
                  <a:pt x="4773" y="2106"/>
                </a:lnTo>
                <a:lnTo>
                  <a:pt x="4775" y="2108"/>
                </a:lnTo>
                <a:lnTo>
                  <a:pt x="4776" y="2111"/>
                </a:lnTo>
                <a:lnTo>
                  <a:pt x="4778" y="2113"/>
                </a:lnTo>
                <a:lnTo>
                  <a:pt x="4778" y="2116"/>
                </a:lnTo>
                <a:lnTo>
                  <a:pt x="4778" y="2119"/>
                </a:lnTo>
                <a:lnTo>
                  <a:pt x="4777" y="2122"/>
                </a:lnTo>
                <a:lnTo>
                  <a:pt x="4776" y="2125"/>
                </a:lnTo>
                <a:lnTo>
                  <a:pt x="4774" y="2128"/>
                </a:lnTo>
                <a:lnTo>
                  <a:pt x="4770" y="2131"/>
                </a:lnTo>
                <a:lnTo>
                  <a:pt x="4769" y="2132"/>
                </a:lnTo>
                <a:lnTo>
                  <a:pt x="4767" y="2132"/>
                </a:lnTo>
                <a:lnTo>
                  <a:pt x="4763" y="2133"/>
                </a:lnTo>
                <a:lnTo>
                  <a:pt x="4759" y="2132"/>
                </a:lnTo>
                <a:lnTo>
                  <a:pt x="4755" y="2131"/>
                </a:lnTo>
                <a:lnTo>
                  <a:pt x="4752" y="2129"/>
                </a:lnTo>
                <a:lnTo>
                  <a:pt x="4750" y="2127"/>
                </a:lnTo>
                <a:lnTo>
                  <a:pt x="4749" y="2124"/>
                </a:lnTo>
                <a:lnTo>
                  <a:pt x="4748" y="2121"/>
                </a:lnTo>
                <a:lnTo>
                  <a:pt x="4747" y="2119"/>
                </a:lnTo>
                <a:lnTo>
                  <a:pt x="4747" y="2116"/>
                </a:lnTo>
                <a:lnTo>
                  <a:pt x="4748" y="2113"/>
                </a:lnTo>
                <a:lnTo>
                  <a:pt x="4749" y="2110"/>
                </a:lnTo>
                <a:lnTo>
                  <a:pt x="4752" y="2107"/>
                </a:lnTo>
                <a:lnTo>
                  <a:pt x="4755" y="2104"/>
                </a:lnTo>
                <a:close/>
                <a:moveTo>
                  <a:pt x="4630" y="2033"/>
                </a:moveTo>
                <a:lnTo>
                  <a:pt x="4633" y="2032"/>
                </a:lnTo>
                <a:lnTo>
                  <a:pt x="4637" y="2031"/>
                </a:lnTo>
                <a:lnTo>
                  <a:pt x="4641" y="2031"/>
                </a:lnTo>
                <a:lnTo>
                  <a:pt x="4645" y="2033"/>
                </a:lnTo>
                <a:lnTo>
                  <a:pt x="4647" y="2035"/>
                </a:lnTo>
                <a:lnTo>
                  <a:pt x="4650" y="2037"/>
                </a:lnTo>
                <a:lnTo>
                  <a:pt x="4651" y="2040"/>
                </a:lnTo>
                <a:lnTo>
                  <a:pt x="4652" y="2042"/>
                </a:lnTo>
                <a:lnTo>
                  <a:pt x="4653" y="2045"/>
                </a:lnTo>
                <a:lnTo>
                  <a:pt x="4653" y="2048"/>
                </a:lnTo>
                <a:lnTo>
                  <a:pt x="4652" y="2051"/>
                </a:lnTo>
                <a:lnTo>
                  <a:pt x="4651" y="2054"/>
                </a:lnTo>
                <a:lnTo>
                  <a:pt x="4648" y="2057"/>
                </a:lnTo>
                <a:lnTo>
                  <a:pt x="4645" y="2060"/>
                </a:lnTo>
                <a:lnTo>
                  <a:pt x="4641" y="2061"/>
                </a:lnTo>
                <a:lnTo>
                  <a:pt x="4638" y="2062"/>
                </a:lnTo>
                <a:lnTo>
                  <a:pt x="4634" y="2061"/>
                </a:lnTo>
                <a:lnTo>
                  <a:pt x="4630" y="2060"/>
                </a:lnTo>
                <a:lnTo>
                  <a:pt x="4627" y="2058"/>
                </a:lnTo>
                <a:lnTo>
                  <a:pt x="4625" y="2056"/>
                </a:lnTo>
                <a:lnTo>
                  <a:pt x="4624" y="2053"/>
                </a:lnTo>
                <a:lnTo>
                  <a:pt x="4623" y="2051"/>
                </a:lnTo>
                <a:lnTo>
                  <a:pt x="4622" y="2048"/>
                </a:lnTo>
                <a:lnTo>
                  <a:pt x="4622" y="2045"/>
                </a:lnTo>
                <a:lnTo>
                  <a:pt x="4623" y="2042"/>
                </a:lnTo>
                <a:lnTo>
                  <a:pt x="4624" y="2039"/>
                </a:lnTo>
                <a:lnTo>
                  <a:pt x="4626" y="2036"/>
                </a:lnTo>
                <a:lnTo>
                  <a:pt x="4630" y="2033"/>
                </a:lnTo>
                <a:close/>
                <a:moveTo>
                  <a:pt x="4504" y="1963"/>
                </a:moveTo>
                <a:lnTo>
                  <a:pt x="4507" y="1962"/>
                </a:lnTo>
                <a:lnTo>
                  <a:pt x="4511" y="1961"/>
                </a:lnTo>
                <a:lnTo>
                  <a:pt x="4513" y="1961"/>
                </a:lnTo>
                <a:lnTo>
                  <a:pt x="4515" y="1961"/>
                </a:lnTo>
                <a:lnTo>
                  <a:pt x="4519" y="1963"/>
                </a:lnTo>
                <a:lnTo>
                  <a:pt x="4522" y="1965"/>
                </a:lnTo>
                <a:lnTo>
                  <a:pt x="4524" y="1967"/>
                </a:lnTo>
                <a:lnTo>
                  <a:pt x="4525" y="1968"/>
                </a:lnTo>
                <a:lnTo>
                  <a:pt x="4525" y="1969"/>
                </a:lnTo>
                <a:lnTo>
                  <a:pt x="4526" y="1972"/>
                </a:lnTo>
                <a:lnTo>
                  <a:pt x="4527" y="1975"/>
                </a:lnTo>
                <a:lnTo>
                  <a:pt x="4527" y="1978"/>
                </a:lnTo>
                <a:lnTo>
                  <a:pt x="4526" y="1981"/>
                </a:lnTo>
                <a:lnTo>
                  <a:pt x="4525" y="1984"/>
                </a:lnTo>
                <a:lnTo>
                  <a:pt x="4523" y="1987"/>
                </a:lnTo>
                <a:lnTo>
                  <a:pt x="4519" y="1990"/>
                </a:lnTo>
                <a:lnTo>
                  <a:pt x="4516" y="1991"/>
                </a:lnTo>
                <a:lnTo>
                  <a:pt x="4512" y="1992"/>
                </a:lnTo>
                <a:lnTo>
                  <a:pt x="4510" y="1992"/>
                </a:lnTo>
                <a:lnTo>
                  <a:pt x="4508" y="1991"/>
                </a:lnTo>
                <a:lnTo>
                  <a:pt x="4504" y="1990"/>
                </a:lnTo>
                <a:lnTo>
                  <a:pt x="4502" y="1988"/>
                </a:lnTo>
                <a:lnTo>
                  <a:pt x="4500" y="1986"/>
                </a:lnTo>
                <a:lnTo>
                  <a:pt x="4499" y="1985"/>
                </a:lnTo>
                <a:lnTo>
                  <a:pt x="4498" y="1983"/>
                </a:lnTo>
                <a:lnTo>
                  <a:pt x="4497" y="1981"/>
                </a:lnTo>
                <a:lnTo>
                  <a:pt x="4496" y="1978"/>
                </a:lnTo>
                <a:lnTo>
                  <a:pt x="4496" y="1975"/>
                </a:lnTo>
                <a:lnTo>
                  <a:pt x="4497" y="1972"/>
                </a:lnTo>
                <a:lnTo>
                  <a:pt x="4498" y="1969"/>
                </a:lnTo>
                <a:lnTo>
                  <a:pt x="4501" y="1966"/>
                </a:lnTo>
                <a:lnTo>
                  <a:pt x="4504" y="1963"/>
                </a:lnTo>
                <a:close/>
                <a:moveTo>
                  <a:pt x="4377" y="1894"/>
                </a:moveTo>
                <a:lnTo>
                  <a:pt x="4379" y="1893"/>
                </a:lnTo>
                <a:lnTo>
                  <a:pt x="4381" y="1893"/>
                </a:lnTo>
                <a:lnTo>
                  <a:pt x="4385" y="1892"/>
                </a:lnTo>
                <a:lnTo>
                  <a:pt x="4387" y="1892"/>
                </a:lnTo>
                <a:lnTo>
                  <a:pt x="4389" y="1893"/>
                </a:lnTo>
                <a:lnTo>
                  <a:pt x="4392" y="1894"/>
                </a:lnTo>
                <a:lnTo>
                  <a:pt x="4395" y="1896"/>
                </a:lnTo>
                <a:lnTo>
                  <a:pt x="4397" y="1898"/>
                </a:lnTo>
                <a:lnTo>
                  <a:pt x="4399" y="1900"/>
                </a:lnTo>
                <a:lnTo>
                  <a:pt x="4400" y="1903"/>
                </a:lnTo>
                <a:lnTo>
                  <a:pt x="4400" y="1906"/>
                </a:lnTo>
                <a:lnTo>
                  <a:pt x="4400" y="1909"/>
                </a:lnTo>
                <a:lnTo>
                  <a:pt x="4400" y="1912"/>
                </a:lnTo>
                <a:lnTo>
                  <a:pt x="4399" y="1915"/>
                </a:lnTo>
                <a:lnTo>
                  <a:pt x="4396" y="1918"/>
                </a:lnTo>
                <a:lnTo>
                  <a:pt x="4393" y="1921"/>
                </a:lnTo>
                <a:lnTo>
                  <a:pt x="4391" y="1922"/>
                </a:lnTo>
                <a:lnTo>
                  <a:pt x="4389" y="1922"/>
                </a:lnTo>
                <a:lnTo>
                  <a:pt x="4385" y="1923"/>
                </a:lnTo>
                <a:lnTo>
                  <a:pt x="4384" y="1923"/>
                </a:lnTo>
                <a:lnTo>
                  <a:pt x="4382" y="1923"/>
                </a:lnTo>
                <a:lnTo>
                  <a:pt x="4378" y="1921"/>
                </a:lnTo>
                <a:lnTo>
                  <a:pt x="4375" y="1919"/>
                </a:lnTo>
                <a:lnTo>
                  <a:pt x="4373" y="1917"/>
                </a:lnTo>
                <a:lnTo>
                  <a:pt x="4371" y="1915"/>
                </a:lnTo>
                <a:lnTo>
                  <a:pt x="4370" y="1912"/>
                </a:lnTo>
                <a:lnTo>
                  <a:pt x="4370" y="1909"/>
                </a:lnTo>
                <a:lnTo>
                  <a:pt x="4370" y="1906"/>
                </a:lnTo>
                <a:lnTo>
                  <a:pt x="4370" y="1903"/>
                </a:lnTo>
                <a:lnTo>
                  <a:pt x="4372" y="1900"/>
                </a:lnTo>
                <a:lnTo>
                  <a:pt x="4374" y="1897"/>
                </a:lnTo>
                <a:lnTo>
                  <a:pt x="4377" y="1894"/>
                </a:lnTo>
                <a:close/>
                <a:moveTo>
                  <a:pt x="4250" y="1827"/>
                </a:moveTo>
                <a:lnTo>
                  <a:pt x="4252" y="1827"/>
                </a:lnTo>
                <a:lnTo>
                  <a:pt x="4253" y="1826"/>
                </a:lnTo>
                <a:lnTo>
                  <a:pt x="4257" y="1825"/>
                </a:lnTo>
                <a:lnTo>
                  <a:pt x="4261" y="1826"/>
                </a:lnTo>
                <a:lnTo>
                  <a:pt x="4265" y="1827"/>
                </a:lnTo>
                <a:lnTo>
                  <a:pt x="4267" y="1829"/>
                </a:lnTo>
                <a:lnTo>
                  <a:pt x="4269" y="1831"/>
                </a:lnTo>
                <a:lnTo>
                  <a:pt x="4271" y="1833"/>
                </a:lnTo>
                <a:lnTo>
                  <a:pt x="4272" y="1836"/>
                </a:lnTo>
                <a:lnTo>
                  <a:pt x="4273" y="1839"/>
                </a:lnTo>
                <a:lnTo>
                  <a:pt x="4273" y="1842"/>
                </a:lnTo>
                <a:lnTo>
                  <a:pt x="4272" y="1845"/>
                </a:lnTo>
                <a:lnTo>
                  <a:pt x="4271" y="1848"/>
                </a:lnTo>
                <a:lnTo>
                  <a:pt x="4269" y="1851"/>
                </a:lnTo>
                <a:lnTo>
                  <a:pt x="4265" y="1854"/>
                </a:lnTo>
                <a:lnTo>
                  <a:pt x="4264" y="1855"/>
                </a:lnTo>
                <a:lnTo>
                  <a:pt x="4262" y="1855"/>
                </a:lnTo>
                <a:lnTo>
                  <a:pt x="4258" y="1856"/>
                </a:lnTo>
                <a:lnTo>
                  <a:pt x="4254" y="1856"/>
                </a:lnTo>
                <a:lnTo>
                  <a:pt x="4251" y="1854"/>
                </a:lnTo>
                <a:lnTo>
                  <a:pt x="4248" y="1853"/>
                </a:lnTo>
                <a:lnTo>
                  <a:pt x="4246" y="1851"/>
                </a:lnTo>
                <a:lnTo>
                  <a:pt x="4244" y="1848"/>
                </a:lnTo>
                <a:lnTo>
                  <a:pt x="4243" y="1845"/>
                </a:lnTo>
                <a:lnTo>
                  <a:pt x="4242" y="1840"/>
                </a:lnTo>
                <a:lnTo>
                  <a:pt x="4243" y="1837"/>
                </a:lnTo>
                <a:lnTo>
                  <a:pt x="4244" y="1834"/>
                </a:lnTo>
                <a:lnTo>
                  <a:pt x="4246" y="1830"/>
                </a:lnTo>
                <a:lnTo>
                  <a:pt x="4250" y="1827"/>
                </a:lnTo>
                <a:close/>
                <a:moveTo>
                  <a:pt x="4121" y="1762"/>
                </a:moveTo>
                <a:lnTo>
                  <a:pt x="4125" y="1760"/>
                </a:lnTo>
                <a:lnTo>
                  <a:pt x="4128" y="1760"/>
                </a:lnTo>
                <a:lnTo>
                  <a:pt x="4132" y="1760"/>
                </a:lnTo>
                <a:lnTo>
                  <a:pt x="4136" y="1761"/>
                </a:lnTo>
                <a:lnTo>
                  <a:pt x="4138" y="1763"/>
                </a:lnTo>
                <a:lnTo>
                  <a:pt x="4140" y="1765"/>
                </a:lnTo>
                <a:lnTo>
                  <a:pt x="4142" y="1768"/>
                </a:lnTo>
                <a:lnTo>
                  <a:pt x="4143" y="1770"/>
                </a:lnTo>
                <a:lnTo>
                  <a:pt x="4144" y="1773"/>
                </a:lnTo>
                <a:lnTo>
                  <a:pt x="4144" y="1776"/>
                </a:lnTo>
                <a:lnTo>
                  <a:pt x="4144" y="1779"/>
                </a:lnTo>
                <a:lnTo>
                  <a:pt x="4143" y="1782"/>
                </a:lnTo>
                <a:lnTo>
                  <a:pt x="4141" y="1784"/>
                </a:lnTo>
                <a:lnTo>
                  <a:pt x="4140" y="1787"/>
                </a:lnTo>
                <a:lnTo>
                  <a:pt x="4137" y="1790"/>
                </a:lnTo>
                <a:lnTo>
                  <a:pt x="4133" y="1791"/>
                </a:lnTo>
                <a:lnTo>
                  <a:pt x="4129" y="1792"/>
                </a:lnTo>
                <a:lnTo>
                  <a:pt x="4126" y="1791"/>
                </a:lnTo>
                <a:lnTo>
                  <a:pt x="4122" y="1790"/>
                </a:lnTo>
                <a:lnTo>
                  <a:pt x="4119" y="1788"/>
                </a:lnTo>
                <a:lnTo>
                  <a:pt x="4117" y="1785"/>
                </a:lnTo>
                <a:lnTo>
                  <a:pt x="4116" y="1783"/>
                </a:lnTo>
                <a:lnTo>
                  <a:pt x="4114" y="1780"/>
                </a:lnTo>
                <a:lnTo>
                  <a:pt x="4114" y="1777"/>
                </a:lnTo>
                <a:lnTo>
                  <a:pt x="4113" y="1774"/>
                </a:lnTo>
                <a:lnTo>
                  <a:pt x="4114" y="1771"/>
                </a:lnTo>
                <a:lnTo>
                  <a:pt x="4115" y="1769"/>
                </a:lnTo>
                <a:lnTo>
                  <a:pt x="4116" y="1766"/>
                </a:lnTo>
                <a:lnTo>
                  <a:pt x="4118" y="1765"/>
                </a:lnTo>
                <a:lnTo>
                  <a:pt x="4121" y="1762"/>
                </a:lnTo>
                <a:close/>
                <a:moveTo>
                  <a:pt x="3990" y="1701"/>
                </a:moveTo>
                <a:lnTo>
                  <a:pt x="3993" y="1699"/>
                </a:lnTo>
                <a:lnTo>
                  <a:pt x="3997" y="1699"/>
                </a:lnTo>
                <a:lnTo>
                  <a:pt x="4000" y="1699"/>
                </a:lnTo>
                <a:lnTo>
                  <a:pt x="4004" y="1700"/>
                </a:lnTo>
                <a:lnTo>
                  <a:pt x="4007" y="1702"/>
                </a:lnTo>
                <a:lnTo>
                  <a:pt x="4010" y="1704"/>
                </a:lnTo>
                <a:lnTo>
                  <a:pt x="4012" y="1706"/>
                </a:lnTo>
                <a:lnTo>
                  <a:pt x="4013" y="1709"/>
                </a:lnTo>
                <a:lnTo>
                  <a:pt x="4014" y="1711"/>
                </a:lnTo>
                <a:lnTo>
                  <a:pt x="4014" y="1714"/>
                </a:lnTo>
                <a:lnTo>
                  <a:pt x="4014" y="1717"/>
                </a:lnTo>
                <a:lnTo>
                  <a:pt x="4013" y="1720"/>
                </a:lnTo>
                <a:lnTo>
                  <a:pt x="4011" y="1723"/>
                </a:lnTo>
                <a:lnTo>
                  <a:pt x="4010" y="1724"/>
                </a:lnTo>
                <a:lnTo>
                  <a:pt x="4008" y="1725"/>
                </a:lnTo>
                <a:lnTo>
                  <a:pt x="4007" y="1726"/>
                </a:lnTo>
                <a:lnTo>
                  <a:pt x="4005" y="1727"/>
                </a:lnTo>
                <a:lnTo>
                  <a:pt x="4002" y="1729"/>
                </a:lnTo>
                <a:lnTo>
                  <a:pt x="3998" y="1729"/>
                </a:lnTo>
                <a:lnTo>
                  <a:pt x="3995" y="1729"/>
                </a:lnTo>
                <a:lnTo>
                  <a:pt x="3991" y="1728"/>
                </a:lnTo>
                <a:lnTo>
                  <a:pt x="3988" y="1727"/>
                </a:lnTo>
                <a:lnTo>
                  <a:pt x="3986" y="1725"/>
                </a:lnTo>
                <a:lnTo>
                  <a:pt x="3984" y="1722"/>
                </a:lnTo>
                <a:lnTo>
                  <a:pt x="3983" y="1719"/>
                </a:lnTo>
                <a:lnTo>
                  <a:pt x="3982" y="1717"/>
                </a:lnTo>
                <a:lnTo>
                  <a:pt x="3982" y="1714"/>
                </a:lnTo>
                <a:lnTo>
                  <a:pt x="3982" y="1711"/>
                </a:lnTo>
                <a:lnTo>
                  <a:pt x="3983" y="1708"/>
                </a:lnTo>
                <a:lnTo>
                  <a:pt x="3985" y="1706"/>
                </a:lnTo>
                <a:lnTo>
                  <a:pt x="3986" y="1704"/>
                </a:lnTo>
                <a:lnTo>
                  <a:pt x="3987" y="1703"/>
                </a:lnTo>
                <a:lnTo>
                  <a:pt x="3988" y="1702"/>
                </a:lnTo>
                <a:lnTo>
                  <a:pt x="3990" y="1701"/>
                </a:lnTo>
                <a:close/>
                <a:moveTo>
                  <a:pt x="3858" y="1644"/>
                </a:moveTo>
                <a:lnTo>
                  <a:pt x="3861" y="1642"/>
                </a:lnTo>
                <a:lnTo>
                  <a:pt x="3864" y="1642"/>
                </a:lnTo>
                <a:lnTo>
                  <a:pt x="3868" y="1642"/>
                </a:lnTo>
                <a:lnTo>
                  <a:pt x="3871" y="1643"/>
                </a:lnTo>
                <a:lnTo>
                  <a:pt x="3874" y="1644"/>
                </a:lnTo>
                <a:lnTo>
                  <a:pt x="3876" y="1646"/>
                </a:lnTo>
                <a:lnTo>
                  <a:pt x="3878" y="1649"/>
                </a:lnTo>
                <a:lnTo>
                  <a:pt x="3879" y="1651"/>
                </a:lnTo>
                <a:lnTo>
                  <a:pt x="3880" y="1654"/>
                </a:lnTo>
                <a:lnTo>
                  <a:pt x="3881" y="1657"/>
                </a:lnTo>
                <a:lnTo>
                  <a:pt x="3880" y="1660"/>
                </a:lnTo>
                <a:lnTo>
                  <a:pt x="3879" y="1663"/>
                </a:lnTo>
                <a:lnTo>
                  <a:pt x="3878" y="1665"/>
                </a:lnTo>
                <a:lnTo>
                  <a:pt x="3877" y="1667"/>
                </a:lnTo>
                <a:lnTo>
                  <a:pt x="3875" y="1669"/>
                </a:lnTo>
                <a:lnTo>
                  <a:pt x="3873" y="1670"/>
                </a:lnTo>
                <a:lnTo>
                  <a:pt x="3870" y="1672"/>
                </a:lnTo>
                <a:lnTo>
                  <a:pt x="3866" y="1672"/>
                </a:lnTo>
                <a:lnTo>
                  <a:pt x="3863" y="1672"/>
                </a:lnTo>
                <a:lnTo>
                  <a:pt x="3859" y="1671"/>
                </a:lnTo>
                <a:lnTo>
                  <a:pt x="3857" y="1670"/>
                </a:lnTo>
                <a:lnTo>
                  <a:pt x="3854" y="1668"/>
                </a:lnTo>
                <a:lnTo>
                  <a:pt x="3852" y="1666"/>
                </a:lnTo>
                <a:lnTo>
                  <a:pt x="3851" y="1663"/>
                </a:lnTo>
                <a:lnTo>
                  <a:pt x="3850" y="1660"/>
                </a:lnTo>
                <a:lnTo>
                  <a:pt x="3850" y="1657"/>
                </a:lnTo>
                <a:lnTo>
                  <a:pt x="3850" y="1654"/>
                </a:lnTo>
                <a:lnTo>
                  <a:pt x="3851" y="1651"/>
                </a:lnTo>
                <a:lnTo>
                  <a:pt x="3852" y="1649"/>
                </a:lnTo>
                <a:lnTo>
                  <a:pt x="3854" y="1647"/>
                </a:lnTo>
                <a:lnTo>
                  <a:pt x="3856" y="1645"/>
                </a:lnTo>
                <a:lnTo>
                  <a:pt x="3858" y="1644"/>
                </a:lnTo>
                <a:close/>
                <a:moveTo>
                  <a:pt x="2461" y="2353"/>
                </a:moveTo>
                <a:lnTo>
                  <a:pt x="2464" y="2352"/>
                </a:lnTo>
                <a:lnTo>
                  <a:pt x="2467" y="2351"/>
                </a:lnTo>
                <a:lnTo>
                  <a:pt x="2470" y="2351"/>
                </a:lnTo>
                <a:lnTo>
                  <a:pt x="2473" y="2352"/>
                </a:lnTo>
                <a:lnTo>
                  <a:pt x="2476" y="2353"/>
                </a:lnTo>
                <a:lnTo>
                  <a:pt x="2478" y="2354"/>
                </a:lnTo>
                <a:lnTo>
                  <a:pt x="2481" y="2357"/>
                </a:lnTo>
                <a:lnTo>
                  <a:pt x="2482" y="2359"/>
                </a:lnTo>
                <a:lnTo>
                  <a:pt x="2483" y="2362"/>
                </a:lnTo>
                <a:lnTo>
                  <a:pt x="2484" y="2365"/>
                </a:lnTo>
                <a:lnTo>
                  <a:pt x="2484" y="2368"/>
                </a:lnTo>
                <a:lnTo>
                  <a:pt x="2483" y="2371"/>
                </a:lnTo>
                <a:lnTo>
                  <a:pt x="2482" y="2374"/>
                </a:lnTo>
                <a:lnTo>
                  <a:pt x="2481" y="2376"/>
                </a:lnTo>
                <a:lnTo>
                  <a:pt x="2479" y="2378"/>
                </a:lnTo>
                <a:lnTo>
                  <a:pt x="2476" y="2380"/>
                </a:lnTo>
                <a:lnTo>
                  <a:pt x="2474" y="2381"/>
                </a:lnTo>
                <a:lnTo>
                  <a:pt x="2471" y="2382"/>
                </a:lnTo>
                <a:lnTo>
                  <a:pt x="2467" y="2382"/>
                </a:lnTo>
                <a:lnTo>
                  <a:pt x="2464" y="2381"/>
                </a:lnTo>
                <a:lnTo>
                  <a:pt x="2461" y="2380"/>
                </a:lnTo>
                <a:lnTo>
                  <a:pt x="2459" y="2378"/>
                </a:lnTo>
                <a:lnTo>
                  <a:pt x="2457" y="2376"/>
                </a:lnTo>
                <a:lnTo>
                  <a:pt x="2455" y="2374"/>
                </a:lnTo>
                <a:lnTo>
                  <a:pt x="2454" y="2371"/>
                </a:lnTo>
                <a:lnTo>
                  <a:pt x="2453" y="2368"/>
                </a:lnTo>
                <a:lnTo>
                  <a:pt x="2453" y="2365"/>
                </a:lnTo>
                <a:lnTo>
                  <a:pt x="2454" y="2362"/>
                </a:lnTo>
                <a:lnTo>
                  <a:pt x="2455" y="2359"/>
                </a:lnTo>
                <a:lnTo>
                  <a:pt x="2457" y="2357"/>
                </a:lnTo>
                <a:lnTo>
                  <a:pt x="2459" y="2355"/>
                </a:lnTo>
                <a:lnTo>
                  <a:pt x="2461" y="2353"/>
                </a:lnTo>
                <a:close/>
                <a:moveTo>
                  <a:pt x="3723" y="1593"/>
                </a:moveTo>
                <a:lnTo>
                  <a:pt x="3726" y="1591"/>
                </a:lnTo>
                <a:lnTo>
                  <a:pt x="3729" y="1591"/>
                </a:lnTo>
                <a:lnTo>
                  <a:pt x="3733" y="1591"/>
                </a:lnTo>
                <a:lnTo>
                  <a:pt x="3736" y="1591"/>
                </a:lnTo>
                <a:lnTo>
                  <a:pt x="3739" y="1593"/>
                </a:lnTo>
                <a:lnTo>
                  <a:pt x="3741" y="1595"/>
                </a:lnTo>
                <a:lnTo>
                  <a:pt x="3743" y="1597"/>
                </a:lnTo>
                <a:lnTo>
                  <a:pt x="3745" y="1599"/>
                </a:lnTo>
                <a:lnTo>
                  <a:pt x="3746" y="1602"/>
                </a:lnTo>
                <a:lnTo>
                  <a:pt x="3746" y="1605"/>
                </a:lnTo>
                <a:lnTo>
                  <a:pt x="3745" y="1611"/>
                </a:lnTo>
                <a:lnTo>
                  <a:pt x="3744" y="1614"/>
                </a:lnTo>
                <a:lnTo>
                  <a:pt x="3742" y="1616"/>
                </a:lnTo>
                <a:lnTo>
                  <a:pt x="3741" y="1618"/>
                </a:lnTo>
                <a:lnTo>
                  <a:pt x="3738" y="1619"/>
                </a:lnTo>
                <a:lnTo>
                  <a:pt x="3735" y="1621"/>
                </a:lnTo>
                <a:lnTo>
                  <a:pt x="3732" y="1621"/>
                </a:lnTo>
                <a:lnTo>
                  <a:pt x="3729" y="1621"/>
                </a:lnTo>
                <a:lnTo>
                  <a:pt x="3726" y="1620"/>
                </a:lnTo>
                <a:lnTo>
                  <a:pt x="3723" y="1619"/>
                </a:lnTo>
                <a:lnTo>
                  <a:pt x="3720" y="1617"/>
                </a:lnTo>
                <a:lnTo>
                  <a:pt x="3718" y="1615"/>
                </a:lnTo>
                <a:lnTo>
                  <a:pt x="3717" y="1613"/>
                </a:lnTo>
                <a:lnTo>
                  <a:pt x="3716" y="1610"/>
                </a:lnTo>
                <a:lnTo>
                  <a:pt x="3715" y="1607"/>
                </a:lnTo>
                <a:lnTo>
                  <a:pt x="3716" y="1601"/>
                </a:lnTo>
                <a:lnTo>
                  <a:pt x="3717" y="1598"/>
                </a:lnTo>
                <a:lnTo>
                  <a:pt x="3719" y="1596"/>
                </a:lnTo>
                <a:lnTo>
                  <a:pt x="3721" y="1594"/>
                </a:lnTo>
                <a:lnTo>
                  <a:pt x="3723" y="1593"/>
                </a:lnTo>
                <a:close/>
                <a:moveTo>
                  <a:pt x="2491" y="2213"/>
                </a:moveTo>
                <a:lnTo>
                  <a:pt x="2493" y="2211"/>
                </a:lnTo>
                <a:lnTo>
                  <a:pt x="2496" y="2211"/>
                </a:lnTo>
                <a:lnTo>
                  <a:pt x="2498" y="2210"/>
                </a:lnTo>
                <a:lnTo>
                  <a:pt x="2501" y="2211"/>
                </a:lnTo>
                <a:lnTo>
                  <a:pt x="2504" y="2211"/>
                </a:lnTo>
                <a:lnTo>
                  <a:pt x="2507" y="2213"/>
                </a:lnTo>
                <a:lnTo>
                  <a:pt x="2509" y="2214"/>
                </a:lnTo>
                <a:lnTo>
                  <a:pt x="2511" y="2217"/>
                </a:lnTo>
                <a:lnTo>
                  <a:pt x="2513" y="2219"/>
                </a:lnTo>
                <a:lnTo>
                  <a:pt x="2514" y="2222"/>
                </a:lnTo>
                <a:lnTo>
                  <a:pt x="2514" y="2225"/>
                </a:lnTo>
                <a:lnTo>
                  <a:pt x="2514" y="2228"/>
                </a:lnTo>
                <a:lnTo>
                  <a:pt x="2513" y="2232"/>
                </a:lnTo>
                <a:lnTo>
                  <a:pt x="2512" y="2235"/>
                </a:lnTo>
                <a:lnTo>
                  <a:pt x="2509" y="2237"/>
                </a:lnTo>
                <a:lnTo>
                  <a:pt x="2507" y="2239"/>
                </a:lnTo>
                <a:lnTo>
                  <a:pt x="2504" y="2240"/>
                </a:lnTo>
                <a:lnTo>
                  <a:pt x="2502" y="2241"/>
                </a:lnTo>
                <a:lnTo>
                  <a:pt x="2499" y="2241"/>
                </a:lnTo>
                <a:lnTo>
                  <a:pt x="2497" y="2241"/>
                </a:lnTo>
                <a:lnTo>
                  <a:pt x="2494" y="2240"/>
                </a:lnTo>
                <a:lnTo>
                  <a:pt x="2491" y="2239"/>
                </a:lnTo>
                <a:lnTo>
                  <a:pt x="2489" y="2237"/>
                </a:lnTo>
                <a:lnTo>
                  <a:pt x="2487" y="2235"/>
                </a:lnTo>
                <a:lnTo>
                  <a:pt x="2485" y="2233"/>
                </a:lnTo>
                <a:lnTo>
                  <a:pt x="2484" y="2230"/>
                </a:lnTo>
                <a:lnTo>
                  <a:pt x="2484" y="2227"/>
                </a:lnTo>
                <a:lnTo>
                  <a:pt x="2484" y="2224"/>
                </a:lnTo>
                <a:lnTo>
                  <a:pt x="2485" y="2220"/>
                </a:lnTo>
                <a:lnTo>
                  <a:pt x="2486" y="2217"/>
                </a:lnTo>
                <a:lnTo>
                  <a:pt x="2488" y="2215"/>
                </a:lnTo>
                <a:lnTo>
                  <a:pt x="2491" y="2213"/>
                </a:lnTo>
                <a:close/>
                <a:moveTo>
                  <a:pt x="3586" y="1549"/>
                </a:moveTo>
                <a:lnTo>
                  <a:pt x="3589" y="1548"/>
                </a:lnTo>
                <a:lnTo>
                  <a:pt x="3592" y="1547"/>
                </a:lnTo>
                <a:lnTo>
                  <a:pt x="3595" y="1547"/>
                </a:lnTo>
                <a:lnTo>
                  <a:pt x="3598" y="1547"/>
                </a:lnTo>
                <a:lnTo>
                  <a:pt x="3601" y="1548"/>
                </a:lnTo>
                <a:lnTo>
                  <a:pt x="3603" y="1550"/>
                </a:lnTo>
                <a:lnTo>
                  <a:pt x="3605" y="1552"/>
                </a:lnTo>
                <a:lnTo>
                  <a:pt x="3607" y="1555"/>
                </a:lnTo>
                <a:lnTo>
                  <a:pt x="3608" y="1557"/>
                </a:lnTo>
                <a:lnTo>
                  <a:pt x="3609" y="1560"/>
                </a:lnTo>
                <a:lnTo>
                  <a:pt x="3609" y="1563"/>
                </a:lnTo>
                <a:lnTo>
                  <a:pt x="3608" y="1566"/>
                </a:lnTo>
                <a:lnTo>
                  <a:pt x="3607" y="1569"/>
                </a:lnTo>
                <a:lnTo>
                  <a:pt x="3606" y="1572"/>
                </a:lnTo>
                <a:lnTo>
                  <a:pt x="3604" y="1574"/>
                </a:lnTo>
                <a:lnTo>
                  <a:pt x="3601" y="1575"/>
                </a:lnTo>
                <a:lnTo>
                  <a:pt x="3599" y="1577"/>
                </a:lnTo>
                <a:lnTo>
                  <a:pt x="3596" y="1577"/>
                </a:lnTo>
                <a:lnTo>
                  <a:pt x="3593" y="1577"/>
                </a:lnTo>
                <a:lnTo>
                  <a:pt x="3589" y="1577"/>
                </a:lnTo>
                <a:lnTo>
                  <a:pt x="3587" y="1576"/>
                </a:lnTo>
                <a:lnTo>
                  <a:pt x="3584" y="1574"/>
                </a:lnTo>
                <a:lnTo>
                  <a:pt x="3582" y="1572"/>
                </a:lnTo>
                <a:lnTo>
                  <a:pt x="3580" y="1570"/>
                </a:lnTo>
                <a:lnTo>
                  <a:pt x="3579" y="1567"/>
                </a:lnTo>
                <a:lnTo>
                  <a:pt x="3578" y="1564"/>
                </a:lnTo>
                <a:lnTo>
                  <a:pt x="3578" y="1561"/>
                </a:lnTo>
                <a:lnTo>
                  <a:pt x="3579" y="1558"/>
                </a:lnTo>
                <a:lnTo>
                  <a:pt x="3580" y="1555"/>
                </a:lnTo>
                <a:lnTo>
                  <a:pt x="3582" y="1553"/>
                </a:lnTo>
                <a:lnTo>
                  <a:pt x="3584" y="1550"/>
                </a:lnTo>
                <a:lnTo>
                  <a:pt x="3586" y="1549"/>
                </a:lnTo>
                <a:close/>
                <a:moveTo>
                  <a:pt x="2505" y="2069"/>
                </a:moveTo>
                <a:lnTo>
                  <a:pt x="2509" y="2068"/>
                </a:lnTo>
                <a:lnTo>
                  <a:pt x="2512" y="2067"/>
                </a:lnTo>
                <a:lnTo>
                  <a:pt x="2514" y="2067"/>
                </a:lnTo>
                <a:lnTo>
                  <a:pt x="2520" y="2069"/>
                </a:lnTo>
                <a:lnTo>
                  <a:pt x="2522" y="2070"/>
                </a:lnTo>
                <a:lnTo>
                  <a:pt x="2524" y="2072"/>
                </a:lnTo>
                <a:lnTo>
                  <a:pt x="2526" y="2075"/>
                </a:lnTo>
                <a:lnTo>
                  <a:pt x="2527" y="2078"/>
                </a:lnTo>
                <a:lnTo>
                  <a:pt x="2528" y="2081"/>
                </a:lnTo>
                <a:lnTo>
                  <a:pt x="2528" y="2084"/>
                </a:lnTo>
                <a:lnTo>
                  <a:pt x="2527" y="2087"/>
                </a:lnTo>
                <a:lnTo>
                  <a:pt x="2526" y="2091"/>
                </a:lnTo>
                <a:lnTo>
                  <a:pt x="2524" y="2094"/>
                </a:lnTo>
                <a:lnTo>
                  <a:pt x="2521" y="2096"/>
                </a:lnTo>
                <a:lnTo>
                  <a:pt x="2516" y="2098"/>
                </a:lnTo>
                <a:lnTo>
                  <a:pt x="2514" y="2098"/>
                </a:lnTo>
                <a:lnTo>
                  <a:pt x="2512" y="2098"/>
                </a:lnTo>
                <a:lnTo>
                  <a:pt x="2506" y="2096"/>
                </a:lnTo>
                <a:lnTo>
                  <a:pt x="2503" y="2095"/>
                </a:lnTo>
                <a:lnTo>
                  <a:pt x="2501" y="2093"/>
                </a:lnTo>
                <a:lnTo>
                  <a:pt x="2500" y="2090"/>
                </a:lnTo>
                <a:lnTo>
                  <a:pt x="2498" y="2088"/>
                </a:lnTo>
                <a:lnTo>
                  <a:pt x="2498" y="2085"/>
                </a:lnTo>
                <a:lnTo>
                  <a:pt x="2498" y="2082"/>
                </a:lnTo>
                <a:lnTo>
                  <a:pt x="2498" y="2078"/>
                </a:lnTo>
                <a:lnTo>
                  <a:pt x="2500" y="2074"/>
                </a:lnTo>
                <a:lnTo>
                  <a:pt x="2502" y="2071"/>
                </a:lnTo>
                <a:lnTo>
                  <a:pt x="2505" y="2069"/>
                </a:lnTo>
                <a:close/>
                <a:moveTo>
                  <a:pt x="3446" y="1515"/>
                </a:moveTo>
                <a:lnTo>
                  <a:pt x="3449" y="1514"/>
                </a:lnTo>
                <a:lnTo>
                  <a:pt x="3451" y="1513"/>
                </a:lnTo>
                <a:lnTo>
                  <a:pt x="3457" y="1513"/>
                </a:lnTo>
                <a:lnTo>
                  <a:pt x="3460" y="1514"/>
                </a:lnTo>
                <a:lnTo>
                  <a:pt x="3462" y="1515"/>
                </a:lnTo>
                <a:lnTo>
                  <a:pt x="3465" y="1517"/>
                </a:lnTo>
                <a:lnTo>
                  <a:pt x="3467" y="1520"/>
                </a:lnTo>
                <a:lnTo>
                  <a:pt x="3468" y="1522"/>
                </a:lnTo>
                <a:lnTo>
                  <a:pt x="3469" y="1525"/>
                </a:lnTo>
                <a:lnTo>
                  <a:pt x="3469" y="1528"/>
                </a:lnTo>
                <a:lnTo>
                  <a:pt x="3469" y="1531"/>
                </a:lnTo>
                <a:lnTo>
                  <a:pt x="3468" y="1534"/>
                </a:lnTo>
                <a:lnTo>
                  <a:pt x="3466" y="1537"/>
                </a:lnTo>
                <a:lnTo>
                  <a:pt x="3464" y="1540"/>
                </a:lnTo>
                <a:lnTo>
                  <a:pt x="3462" y="1541"/>
                </a:lnTo>
                <a:lnTo>
                  <a:pt x="3459" y="1543"/>
                </a:lnTo>
                <a:lnTo>
                  <a:pt x="3456" y="1543"/>
                </a:lnTo>
                <a:lnTo>
                  <a:pt x="3451" y="1543"/>
                </a:lnTo>
                <a:lnTo>
                  <a:pt x="3448" y="1542"/>
                </a:lnTo>
                <a:lnTo>
                  <a:pt x="3445" y="1541"/>
                </a:lnTo>
                <a:lnTo>
                  <a:pt x="3443" y="1539"/>
                </a:lnTo>
                <a:lnTo>
                  <a:pt x="3441" y="1537"/>
                </a:lnTo>
                <a:lnTo>
                  <a:pt x="3440" y="1534"/>
                </a:lnTo>
                <a:lnTo>
                  <a:pt x="3439" y="1531"/>
                </a:lnTo>
                <a:lnTo>
                  <a:pt x="3438" y="1528"/>
                </a:lnTo>
                <a:lnTo>
                  <a:pt x="3439" y="1525"/>
                </a:lnTo>
                <a:lnTo>
                  <a:pt x="3440" y="1522"/>
                </a:lnTo>
                <a:lnTo>
                  <a:pt x="3441" y="1519"/>
                </a:lnTo>
                <a:lnTo>
                  <a:pt x="3444" y="1517"/>
                </a:lnTo>
                <a:lnTo>
                  <a:pt x="3446" y="1515"/>
                </a:lnTo>
                <a:close/>
                <a:moveTo>
                  <a:pt x="3304" y="1493"/>
                </a:moveTo>
                <a:lnTo>
                  <a:pt x="3308" y="1491"/>
                </a:lnTo>
                <a:lnTo>
                  <a:pt x="3311" y="1491"/>
                </a:lnTo>
                <a:lnTo>
                  <a:pt x="3313" y="1491"/>
                </a:lnTo>
                <a:lnTo>
                  <a:pt x="3316" y="1492"/>
                </a:lnTo>
                <a:lnTo>
                  <a:pt x="3319" y="1493"/>
                </a:lnTo>
                <a:lnTo>
                  <a:pt x="3321" y="1495"/>
                </a:lnTo>
                <a:lnTo>
                  <a:pt x="3323" y="1497"/>
                </a:lnTo>
                <a:lnTo>
                  <a:pt x="3325" y="1499"/>
                </a:lnTo>
                <a:lnTo>
                  <a:pt x="3326" y="1502"/>
                </a:lnTo>
                <a:lnTo>
                  <a:pt x="3327" y="1505"/>
                </a:lnTo>
                <a:lnTo>
                  <a:pt x="3327" y="1508"/>
                </a:lnTo>
                <a:lnTo>
                  <a:pt x="3326" y="1512"/>
                </a:lnTo>
                <a:lnTo>
                  <a:pt x="3324" y="1515"/>
                </a:lnTo>
                <a:lnTo>
                  <a:pt x="3322" y="1518"/>
                </a:lnTo>
                <a:lnTo>
                  <a:pt x="3319" y="1520"/>
                </a:lnTo>
                <a:lnTo>
                  <a:pt x="3315" y="1522"/>
                </a:lnTo>
                <a:lnTo>
                  <a:pt x="3313" y="1522"/>
                </a:lnTo>
                <a:lnTo>
                  <a:pt x="3310" y="1522"/>
                </a:lnTo>
                <a:lnTo>
                  <a:pt x="3307" y="1521"/>
                </a:lnTo>
                <a:lnTo>
                  <a:pt x="3304" y="1520"/>
                </a:lnTo>
                <a:lnTo>
                  <a:pt x="3302" y="1518"/>
                </a:lnTo>
                <a:lnTo>
                  <a:pt x="3300" y="1516"/>
                </a:lnTo>
                <a:lnTo>
                  <a:pt x="3298" y="1514"/>
                </a:lnTo>
                <a:lnTo>
                  <a:pt x="3297" y="1511"/>
                </a:lnTo>
                <a:lnTo>
                  <a:pt x="3296" y="1508"/>
                </a:lnTo>
                <a:lnTo>
                  <a:pt x="3296" y="1505"/>
                </a:lnTo>
                <a:lnTo>
                  <a:pt x="3297" y="1501"/>
                </a:lnTo>
                <a:lnTo>
                  <a:pt x="3299" y="1498"/>
                </a:lnTo>
                <a:lnTo>
                  <a:pt x="3301" y="1495"/>
                </a:lnTo>
                <a:lnTo>
                  <a:pt x="3304" y="1493"/>
                </a:lnTo>
                <a:close/>
                <a:moveTo>
                  <a:pt x="2517" y="1926"/>
                </a:moveTo>
                <a:lnTo>
                  <a:pt x="2519" y="1925"/>
                </a:lnTo>
                <a:lnTo>
                  <a:pt x="2521" y="1924"/>
                </a:lnTo>
                <a:lnTo>
                  <a:pt x="2524" y="1924"/>
                </a:lnTo>
                <a:lnTo>
                  <a:pt x="2526" y="1924"/>
                </a:lnTo>
                <a:lnTo>
                  <a:pt x="2529" y="1924"/>
                </a:lnTo>
                <a:lnTo>
                  <a:pt x="2532" y="1926"/>
                </a:lnTo>
                <a:lnTo>
                  <a:pt x="2535" y="1927"/>
                </a:lnTo>
                <a:lnTo>
                  <a:pt x="2536" y="1928"/>
                </a:lnTo>
                <a:lnTo>
                  <a:pt x="2537" y="1930"/>
                </a:lnTo>
                <a:lnTo>
                  <a:pt x="2537" y="1931"/>
                </a:lnTo>
                <a:lnTo>
                  <a:pt x="2538" y="1932"/>
                </a:lnTo>
                <a:lnTo>
                  <a:pt x="2539" y="1935"/>
                </a:lnTo>
                <a:lnTo>
                  <a:pt x="2540" y="1938"/>
                </a:lnTo>
                <a:lnTo>
                  <a:pt x="2540" y="1941"/>
                </a:lnTo>
                <a:lnTo>
                  <a:pt x="2539" y="1944"/>
                </a:lnTo>
                <a:lnTo>
                  <a:pt x="2537" y="1948"/>
                </a:lnTo>
                <a:lnTo>
                  <a:pt x="2535" y="1950"/>
                </a:lnTo>
                <a:lnTo>
                  <a:pt x="2532" y="1952"/>
                </a:lnTo>
                <a:lnTo>
                  <a:pt x="2530" y="1953"/>
                </a:lnTo>
                <a:lnTo>
                  <a:pt x="2528" y="1954"/>
                </a:lnTo>
                <a:lnTo>
                  <a:pt x="2525" y="1954"/>
                </a:lnTo>
                <a:lnTo>
                  <a:pt x="2523" y="1954"/>
                </a:lnTo>
                <a:lnTo>
                  <a:pt x="2520" y="1954"/>
                </a:lnTo>
                <a:lnTo>
                  <a:pt x="2517" y="1952"/>
                </a:lnTo>
                <a:lnTo>
                  <a:pt x="2514" y="1951"/>
                </a:lnTo>
                <a:lnTo>
                  <a:pt x="2513" y="1950"/>
                </a:lnTo>
                <a:lnTo>
                  <a:pt x="2512" y="1949"/>
                </a:lnTo>
                <a:lnTo>
                  <a:pt x="2512" y="1947"/>
                </a:lnTo>
                <a:lnTo>
                  <a:pt x="2511" y="1946"/>
                </a:lnTo>
                <a:lnTo>
                  <a:pt x="2510" y="1943"/>
                </a:lnTo>
                <a:lnTo>
                  <a:pt x="2509" y="1940"/>
                </a:lnTo>
                <a:lnTo>
                  <a:pt x="2509" y="1937"/>
                </a:lnTo>
                <a:lnTo>
                  <a:pt x="2510" y="1934"/>
                </a:lnTo>
                <a:lnTo>
                  <a:pt x="2512" y="1930"/>
                </a:lnTo>
                <a:lnTo>
                  <a:pt x="2514" y="1928"/>
                </a:lnTo>
                <a:lnTo>
                  <a:pt x="2517" y="1926"/>
                </a:lnTo>
                <a:close/>
                <a:moveTo>
                  <a:pt x="3160" y="1487"/>
                </a:moveTo>
                <a:lnTo>
                  <a:pt x="3162" y="1486"/>
                </a:lnTo>
                <a:lnTo>
                  <a:pt x="3164" y="1486"/>
                </a:lnTo>
                <a:lnTo>
                  <a:pt x="3168" y="1485"/>
                </a:lnTo>
                <a:lnTo>
                  <a:pt x="3171" y="1485"/>
                </a:lnTo>
                <a:lnTo>
                  <a:pt x="3174" y="1486"/>
                </a:lnTo>
                <a:lnTo>
                  <a:pt x="3176" y="1488"/>
                </a:lnTo>
                <a:lnTo>
                  <a:pt x="3179" y="1490"/>
                </a:lnTo>
                <a:lnTo>
                  <a:pt x="3181" y="1492"/>
                </a:lnTo>
                <a:lnTo>
                  <a:pt x="3182" y="1494"/>
                </a:lnTo>
                <a:lnTo>
                  <a:pt x="3183" y="1497"/>
                </a:lnTo>
                <a:lnTo>
                  <a:pt x="3183" y="1500"/>
                </a:lnTo>
                <a:lnTo>
                  <a:pt x="3183" y="1505"/>
                </a:lnTo>
                <a:lnTo>
                  <a:pt x="3181" y="1508"/>
                </a:lnTo>
                <a:lnTo>
                  <a:pt x="3179" y="1511"/>
                </a:lnTo>
                <a:lnTo>
                  <a:pt x="3176" y="1514"/>
                </a:lnTo>
                <a:lnTo>
                  <a:pt x="3174" y="1515"/>
                </a:lnTo>
                <a:lnTo>
                  <a:pt x="3172" y="1515"/>
                </a:lnTo>
                <a:lnTo>
                  <a:pt x="3168" y="1516"/>
                </a:lnTo>
                <a:lnTo>
                  <a:pt x="3165" y="1516"/>
                </a:lnTo>
                <a:lnTo>
                  <a:pt x="3162" y="1515"/>
                </a:lnTo>
                <a:lnTo>
                  <a:pt x="3160" y="1514"/>
                </a:lnTo>
                <a:lnTo>
                  <a:pt x="3157" y="1512"/>
                </a:lnTo>
                <a:lnTo>
                  <a:pt x="3155" y="1509"/>
                </a:lnTo>
                <a:lnTo>
                  <a:pt x="3154" y="1507"/>
                </a:lnTo>
                <a:lnTo>
                  <a:pt x="3153" y="1504"/>
                </a:lnTo>
                <a:lnTo>
                  <a:pt x="3153" y="1501"/>
                </a:lnTo>
                <a:lnTo>
                  <a:pt x="3153" y="1497"/>
                </a:lnTo>
                <a:lnTo>
                  <a:pt x="3155" y="1493"/>
                </a:lnTo>
                <a:lnTo>
                  <a:pt x="3157" y="1490"/>
                </a:lnTo>
                <a:lnTo>
                  <a:pt x="3160" y="1487"/>
                </a:lnTo>
                <a:close/>
                <a:moveTo>
                  <a:pt x="2548" y="1785"/>
                </a:moveTo>
                <a:lnTo>
                  <a:pt x="2552" y="1784"/>
                </a:lnTo>
                <a:lnTo>
                  <a:pt x="2555" y="1783"/>
                </a:lnTo>
                <a:lnTo>
                  <a:pt x="2558" y="1783"/>
                </a:lnTo>
                <a:lnTo>
                  <a:pt x="2562" y="1784"/>
                </a:lnTo>
                <a:lnTo>
                  <a:pt x="2563" y="1785"/>
                </a:lnTo>
                <a:lnTo>
                  <a:pt x="2564" y="1785"/>
                </a:lnTo>
                <a:lnTo>
                  <a:pt x="2567" y="1788"/>
                </a:lnTo>
                <a:lnTo>
                  <a:pt x="2569" y="1790"/>
                </a:lnTo>
                <a:lnTo>
                  <a:pt x="2570" y="1793"/>
                </a:lnTo>
                <a:lnTo>
                  <a:pt x="2571" y="1796"/>
                </a:lnTo>
                <a:lnTo>
                  <a:pt x="2572" y="1799"/>
                </a:lnTo>
                <a:lnTo>
                  <a:pt x="2571" y="1802"/>
                </a:lnTo>
                <a:lnTo>
                  <a:pt x="2571" y="1805"/>
                </a:lnTo>
                <a:lnTo>
                  <a:pt x="2569" y="1807"/>
                </a:lnTo>
                <a:lnTo>
                  <a:pt x="2568" y="1809"/>
                </a:lnTo>
                <a:lnTo>
                  <a:pt x="2566" y="1811"/>
                </a:lnTo>
                <a:lnTo>
                  <a:pt x="2564" y="1813"/>
                </a:lnTo>
                <a:lnTo>
                  <a:pt x="2561" y="1814"/>
                </a:lnTo>
                <a:lnTo>
                  <a:pt x="2558" y="1815"/>
                </a:lnTo>
                <a:lnTo>
                  <a:pt x="2554" y="1814"/>
                </a:lnTo>
                <a:lnTo>
                  <a:pt x="2551" y="1814"/>
                </a:lnTo>
                <a:lnTo>
                  <a:pt x="2549" y="1813"/>
                </a:lnTo>
                <a:lnTo>
                  <a:pt x="2548" y="1812"/>
                </a:lnTo>
                <a:lnTo>
                  <a:pt x="2546" y="1810"/>
                </a:lnTo>
                <a:lnTo>
                  <a:pt x="2544" y="1808"/>
                </a:lnTo>
                <a:lnTo>
                  <a:pt x="2542" y="1805"/>
                </a:lnTo>
                <a:lnTo>
                  <a:pt x="2541" y="1803"/>
                </a:lnTo>
                <a:lnTo>
                  <a:pt x="2541" y="1800"/>
                </a:lnTo>
                <a:lnTo>
                  <a:pt x="2541" y="1797"/>
                </a:lnTo>
                <a:lnTo>
                  <a:pt x="2542" y="1794"/>
                </a:lnTo>
                <a:lnTo>
                  <a:pt x="2543" y="1791"/>
                </a:lnTo>
                <a:lnTo>
                  <a:pt x="2545" y="1789"/>
                </a:lnTo>
                <a:lnTo>
                  <a:pt x="2546" y="1787"/>
                </a:lnTo>
                <a:lnTo>
                  <a:pt x="2548" y="1785"/>
                </a:lnTo>
                <a:close/>
                <a:moveTo>
                  <a:pt x="3017" y="1500"/>
                </a:moveTo>
                <a:lnTo>
                  <a:pt x="3020" y="1499"/>
                </a:lnTo>
                <a:lnTo>
                  <a:pt x="3022" y="1498"/>
                </a:lnTo>
                <a:lnTo>
                  <a:pt x="3025" y="1498"/>
                </a:lnTo>
                <a:lnTo>
                  <a:pt x="3028" y="1498"/>
                </a:lnTo>
                <a:lnTo>
                  <a:pt x="3031" y="1499"/>
                </a:lnTo>
                <a:lnTo>
                  <a:pt x="3034" y="1501"/>
                </a:lnTo>
                <a:lnTo>
                  <a:pt x="3036" y="1503"/>
                </a:lnTo>
                <a:lnTo>
                  <a:pt x="3038" y="1505"/>
                </a:lnTo>
                <a:lnTo>
                  <a:pt x="3039" y="1508"/>
                </a:lnTo>
                <a:lnTo>
                  <a:pt x="3040" y="1511"/>
                </a:lnTo>
                <a:lnTo>
                  <a:pt x="3040" y="1516"/>
                </a:lnTo>
                <a:lnTo>
                  <a:pt x="3039" y="1520"/>
                </a:lnTo>
                <a:lnTo>
                  <a:pt x="3036" y="1524"/>
                </a:lnTo>
                <a:lnTo>
                  <a:pt x="3032" y="1527"/>
                </a:lnTo>
                <a:lnTo>
                  <a:pt x="3030" y="1528"/>
                </a:lnTo>
                <a:lnTo>
                  <a:pt x="3027" y="1528"/>
                </a:lnTo>
                <a:lnTo>
                  <a:pt x="3024" y="1529"/>
                </a:lnTo>
                <a:lnTo>
                  <a:pt x="3021" y="1528"/>
                </a:lnTo>
                <a:lnTo>
                  <a:pt x="3018" y="1527"/>
                </a:lnTo>
                <a:lnTo>
                  <a:pt x="3016" y="1526"/>
                </a:lnTo>
                <a:lnTo>
                  <a:pt x="3013" y="1524"/>
                </a:lnTo>
                <a:lnTo>
                  <a:pt x="3012" y="1521"/>
                </a:lnTo>
                <a:lnTo>
                  <a:pt x="3010" y="1519"/>
                </a:lnTo>
                <a:lnTo>
                  <a:pt x="3010" y="1516"/>
                </a:lnTo>
                <a:lnTo>
                  <a:pt x="3010" y="1511"/>
                </a:lnTo>
                <a:lnTo>
                  <a:pt x="3011" y="1506"/>
                </a:lnTo>
                <a:lnTo>
                  <a:pt x="3013" y="1503"/>
                </a:lnTo>
                <a:lnTo>
                  <a:pt x="3017" y="1500"/>
                </a:lnTo>
                <a:close/>
                <a:moveTo>
                  <a:pt x="2877" y="1532"/>
                </a:moveTo>
                <a:lnTo>
                  <a:pt x="2880" y="1531"/>
                </a:lnTo>
                <a:lnTo>
                  <a:pt x="2883" y="1530"/>
                </a:lnTo>
                <a:lnTo>
                  <a:pt x="2886" y="1530"/>
                </a:lnTo>
                <a:lnTo>
                  <a:pt x="2889" y="1531"/>
                </a:lnTo>
                <a:lnTo>
                  <a:pt x="2892" y="1532"/>
                </a:lnTo>
                <a:lnTo>
                  <a:pt x="2894" y="1534"/>
                </a:lnTo>
                <a:lnTo>
                  <a:pt x="2897" y="1536"/>
                </a:lnTo>
                <a:lnTo>
                  <a:pt x="2898" y="1538"/>
                </a:lnTo>
                <a:lnTo>
                  <a:pt x="2900" y="1541"/>
                </a:lnTo>
                <a:lnTo>
                  <a:pt x="2900" y="1546"/>
                </a:lnTo>
                <a:lnTo>
                  <a:pt x="2900" y="1549"/>
                </a:lnTo>
                <a:lnTo>
                  <a:pt x="2899" y="1551"/>
                </a:lnTo>
                <a:lnTo>
                  <a:pt x="2897" y="1556"/>
                </a:lnTo>
                <a:lnTo>
                  <a:pt x="2895" y="1558"/>
                </a:lnTo>
                <a:lnTo>
                  <a:pt x="2893" y="1559"/>
                </a:lnTo>
                <a:lnTo>
                  <a:pt x="2889" y="1560"/>
                </a:lnTo>
                <a:lnTo>
                  <a:pt x="2886" y="1561"/>
                </a:lnTo>
                <a:lnTo>
                  <a:pt x="2883" y="1561"/>
                </a:lnTo>
                <a:lnTo>
                  <a:pt x="2880" y="1561"/>
                </a:lnTo>
                <a:lnTo>
                  <a:pt x="2878" y="1559"/>
                </a:lnTo>
                <a:lnTo>
                  <a:pt x="2875" y="1558"/>
                </a:lnTo>
                <a:lnTo>
                  <a:pt x="2873" y="1556"/>
                </a:lnTo>
                <a:lnTo>
                  <a:pt x="2871" y="1553"/>
                </a:lnTo>
                <a:lnTo>
                  <a:pt x="2870" y="1550"/>
                </a:lnTo>
                <a:lnTo>
                  <a:pt x="2869" y="1545"/>
                </a:lnTo>
                <a:lnTo>
                  <a:pt x="2870" y="1543"/>
                </a:lnTo>
                <a:lnTo>
                  <a:pt x="2871" y="1540"/>
                </a:lnTo>
                <a:lnTo>
                  <a:pt x="2872" y="1538"/>
                </a:lnTo>
                <a:lnTo>
                  <a:pt x="2873" y="1536"/>
                </a:lnTo>
                <a:lnTo>
                  <a:pt x="2875" y="1534"/>
                </a:lnTo>
                <a:lnTo>
                  <a:pt x="2877" y="1532"/>
                </a:lnTo>
                <a:close/>
                <a:moveTo>
                  <a:pt x="2626" y="1666"/>
                </a:moveTo>
                <a:lnTo>
                  <a:pt x="2628" y="1664"/>
                </a:lnTo>
                <a:lnTo>
                  <a:pt x="2630" y="1664"/>
                </a:lnTo>
                <a:lnTo>
                  <a:pt x="2633" y="1664"/>
                </a:lnTo>
                <a:lnTo>
                  <a:pt x="2635" y="1664"/>
                </a:lnTo>
                <a:lnTo>
                  <a:pt x="2638" y="1664"/>
                </a:lnTo>
                <a:lnTo>
                  <a:pt x="2640" y="1665"/>
                </a:lnTo>
                <a:lnTo>
                  <a:pt x="2642" y="1666"/>
                </a:lnTo>
                <a:lnTo>
                  <a:pt x="2644" y="1668"/>
                </a:lnTo>
                <a:lnTo>
                  <a:pt x="2646" y="1670"/>
                </a:lnTo>
                <a:lnTo>
                  <a:pt x="2648" y="1673"/>
                </a:lnTo>
                <a:lnTo>
                  <a:pt x="2648" y="1676"/>
                </a:lnTo>
                <a:lnTo>
                  <a:pt x="2649" y="1679"/>
                </a:lnTo>
                <a:lnTo>
                  <a:pt x="2648" y="1682"/>
                </a:lnTo>
                <a:lnTo>
                  <a:pt x="2647" y="1685"/>
                </a:lnTo>
                <a:lnTo>
                  <a:pt x="2646" y="1687"/>
                </a:lnTo>
                <a:lnTo>
                  <a:pt x="2644" y="1690"/>
                </a:lnTo>
                <a:lnTo>
                  <a:pt x="2641" y="1692"/>
                </a:lnTo>
                <a:lnTo>
                  <a:pt x="2639" y="1693"/>
                </a:lnTo>
                <a:lnTo>
                  <a:pt x="2636" y="1694"/>
                </a:lnTo>
                <a:lnTo>
                  <a:pt x="2634" y="1694"/>
                </a:lnTo>
                <a:lnTo>
                  <a:pt x="2631" y="1694"/>
                </a:lnTo>
                <a:lnTo>
                  <a:pt x="2629" y="1694"/>
                </a:lnTo>
                <a:lnTo>
                  <a:pt x="2627" y="1693"/>
                </a:lnTo>
                <a:lnTo>
                  <a:pt x="2624" y="1691"/>
                </a:lnTo>
                <a:lnTo>
                  <a:pt x="2622" y="1690"/>
                </a:lnTo>
                <a:lnTo>
                  <a:pt x="2620" y="1687"/>
                </a:lnTo>
                <a:lnTo>
                  <a:pt x="2619" y="1685"/>
                </a:lnTo>
                <a:lnTo>
                  <a:pt x="2618" y="1682"/>
                </a:lnTo>
                <a:lnTo>
                  <a:pt x="2618" y="1679"/>
                </a:lnTo>
                <a:lnTo>
                  <a:pt x="2618" y="1676"/>
                </a:lnTo>
                <a:lnTo>
                  <a:pt x="2619" y="1673"/>
                </a:lnTo>
                <a:lnTo>
                  <a:pt x="2620" y="1670"/>
                </a:lnTo>
                <a:lnTo>
                  <a:pt x="2622" y="1668"/>
                </a:lnTo>
                <a:lnTo>
                  <a:pt x="2626" y="1666"/>
                </a:lnTo>
                <a:close/>
                <a:moveTo>
                  <a:pt x="2743" y="1585"/>
                </a:moveTo>
                <a:lnTo>
                  <a:pt x="2746" y="1583"/>
                </a:lnTo>
                <a:lnTo>
                  <a:pt x="2750" y="1583"/>
                </a:lnTo>
                <a:lnTo>
                  <a:pt x="2753" y="1583"/>
                </a:lnTo>
                <a:lnTo>
                  <a:pt x="2756" y="1584"/>
                </a:lnTo>
                <a:lnTo>
                  <a:pt x="2759" y="1585"/>
                </a:lnTo>
                <a:lnTo>
                  <a:pt x="2761" y="1586"/>
                </a:lnTo>
                <a:lnTo>
                  <a:pt x="2763" y="1589"/>
                </a:lnTo>
                <a:lnTo>
                  <a:pt x="2765" y="1591"/>
                </a:lnTo>
                <a:lnTo>
                  <a:pt x="2766" y="1594"/>
                </a:lnTo>
                <a:lnTo>
                  <a:pt x="2766" y="1597"/>
                </a:lnTo>
                <a:lnTo>
                  <a:pt x="2766" y="1600"/>
                </a:lnTo>
                <a:lnTo>
                  <a:pt x="2766" y="1603"/>
                </a:lnTo>
                <a:lnTo>
                  <a:pt x="2765" y="1605"/>
                </a:lnTo>
                <a:lnTo>
                  <a:pt x="2763" y="1608"/>
                </a:lnTo>
                <a:lnTo>
                  <a:pt x="2761" y="1610"/>
                </a:lnTo>
                <a:lnTo>
                  <a:pt x="2759" y="1611"/>
                </a:lnTo>
                <a:lnTo>
                  <a:pt x="2755" y="1613"/>
                </a:lnTo>
                <a:lnTo>
                  <a:pt x="2752" y="1613"/>
                </a:lnTo>
                <a:lnTo>
                  <a:pt x="2749" y="1613"/>
                </a:lnTo>
                <a:lnTo>
                  <a:pt x="2746" y="1613"/>
                </a:lnTo>
                <a:lnTo>
                  <a:pt x="2743" y="1611"/>
                </a:lnTo>
                <a:lnTo>
                  <a:pt x="2741" y="1610"/>
                </a:lnTo>
                <a:lnTo>
                  <a:pt x="2739" y="1607"/>
                </a:lnTo>
                <a:lnTo>
                  <a:pt x="2737" y="1605"/>
                </a:lnTo>
                <a:lnTo>
                  <a:pt x="2736" y="1602"/>
                </a:lnTo>
                <a:lnTo>
                  <a:pt x="2736" y="1599"/>
                </a:lnTo>
                <a:lnTo>
                  <a:pt x="2736" y="1596"/>
                </a:lnTo>
                <a:lnTo>
                  <a:pt x="2736" y="1594"/>
                </a:lnTo>
                <a:lnTo>
                  <a:pt x="2737" y="1591"/>
                </a:lnTo>
                <a:lnTo>
                  <a:pt x="2739" y="1589"/>
                </a:lnTo>
                <a:lnTo>
                  <a:pt x="2741" y="1586"/>
                </a:lnTo>
                <a:lnTo>
                  <a:pt x="2743" y="1585"/>
                </a:lnTo>
                <a:close/>
                <a:moveTo>
                  <a:pt x="4771" y="2334"/>
                </a:moveTo>
                <a:lnTo>
                  <a:pt x="4772" y="2333"/>
                </a:lnTo>
                <a:lnTo>
                  <a:pt x="4774" y="2333"/>
                </a:lnTo>
                <a:lnTo>
                  <a:pt x="4778" y="2332"/>
                </a:lnTo>
                <a:lnTo>
                  <a:pt x="4780" y="2332"/>
                </a:lnTo>
                <a:lnTo>
                  <a:pt x="4782" y="2332"/>
                </a:lnTo>
                <a:lnTo>
                  <a:pt x="4786" y="2334"/>
                </a:lnTo>
                <a:lnTo>
                  <a:pt x="4788" y="2336"/>
                </a:lnTo>
                <a:lnTo>
                  <a:pt x="4790" y="2338"/>
                </a:lnTo>
                <a:lnTo>
                  <a:pt x="4791" y="2339"/>
                </a:lnTo>
                <a:lnTo>
                  <a:pt x="4792" y="2340"/>
                </a:lnTo>
                <a:lnTo>
                  <a:pt x="4793" y="2343"/>
                </a:lnTo>
                <a:lnTo>
                  <a:pt x="4793" y="2346"/>
                </a:lnTo>
                <a:lnTo>
                  <a:pt x="4793" y="2349"/>
                </a:lnTo>
                <a:lnTo>
                  <a:pt x="4793" y="2352"/>
                </a:lnTo>
                <a:lnTo>
                  <a:pt x="4792" y="2355"/>
                </a:lnTo>
                <a:lnTo>
                  <a:pt x="4791" y="2356"/>
                </a:lnTo>
                <a:lnTo>
                  <a:pt x="4789" y="2358"/>
                </a:lnTo>
                <a:lnTo>
                  <a:pt x="4786" y="2360"/>
                </a:lnTo>
                <a:lnTo>
                  <a:pt x="4784" y="2361"/>
                </a:lnTo>
                <a:lnTo>
                  <a:pt x="4782" y="2362"/>
                </a:lnTo>
                <a:lnTo>
                  <a:pt x="4779" y="2362"/>
                </a:lnTo>
                <a:lnTo>
                  <a:pt x="4777" y="2362"/>
                </a:lnTo>
                <a:lnTo>
                  <a:pt x="4775" y="2362"/>
                </a:lnTo>
                <a:lnTo>
                  <a:pt x="4771" y="2361"/>
                </a:lnTo>
                <a:lnTo>
                  <a:pt x="4768" y="2359"/>
                </a:lnTo>
                <a:lnTo>
                  <a:pt x="4766" y="2357"/>
                </a:lnTo>
                <a:lnTo>
                  <a:pt x="4766" y="2355"/>
                </a:lnTo>
                <a:lnTo>
                  <a:pt x="4765" y="2354"/>
                </a:lnTo>
                <a:lnTo>
                  <a:pt x="4764" y="2351"/>
                </a:lnTo>
                <a:lnTo>
                  <a:pt x="4763" y="2349"/>
                </a:lnTo>
                <a:lnTo>
                  <a:pt x="4763" y="2346"/>
                </a:lnTo>
                <a:lnTo>
                  <a:pt x="4764" y="2343"/>
                </a:lnTo>
                <a:lnTo>
                  <a:pt x="4765" y="2340"/>
                </a:lnTo>
                <a:lnTo>
                  <a:pt x="4766" y="2338"/>
                </a:lnTo>
                <a:lnTo>
                  <a:pt x="4767" y="2337"/>
                </a:lnTo>
                <a:lnTo>
                  <a:pt x="4771" y="2334"/>
                </a:lnTo>
                <a:close/>
                <a:moveTo>
                  <a:pt x="4644" y="2265"/>
                </a:moveTo>
                <a:lnTo>
                  <a:pt x="4646" y="2264"/>
                </a:lnTo>
                <a:lnTo>
                  <a:pt x="4648" y="2264"/>
                </a:lnTo>
                <a:lnTo>
                  <a:pt x="4651" y="2263"/>
                </a:lnTo>
                <a:lnTo>
                  <a:pt x="4653" y="2263"/>
                </a:lnTo>
                <a:lnTo>
                  <a:pt x="4655" y="2264"/>
                </a:lnTo>
                <a:lnTo>
                  <a:pt x="4659" y="2265"/>
                </a:lnTo>
                <a:lnTo>
                  <a:pt x="4662" y="2267"/>
                </a:lnTo>
                <a:lnTo>
                  <a:pt x="4663" y="2268"/>
                </a:lnTo>
                <a:lnTo>
                  <a:pt x="4664" y="2269"/>
                </a:lnTo>
                <a:lnTo>
                  <a:pt x="4665" y="2270"/>
                </a:lnTo>
                <a:lnTo>
                  <a:pt x="4665" y="2271"/>
                </a:lnTo>
                <a:lnTo>
                  <a:pt x="4666" y="2274"/>
                </a:lnTo>
                <a:lnTo>
                  <a:pt x="4667" y="2277"/>
                </a:lnTo>
                <a:lnTo>
                  <a:pt x="4667" y="2280"/>
                </a:lnTo>
                <a:lnTo>
                  <a:pt x="4666" y="2283"/>
                </a:lnTo>
                <a:lnTo>
                  <a:pt x="4665" y="2286"/>
                </a:lnTo>
                <a:lnTo>
                  <a:pt x="4663" y="2289"/>
                </a:lnTo>
                <a:lnTo>
                  <a:pt x="4659" y="2292"/>
                </a:lnTo>
                <a:lnTo>
                  <a:pt x="4658" y="2293"/>
                </a:lnTo>
                <a:lnTo>
                  <a:pt x="4656" y="2293"/>
                </a:lnTo>
                <a:lnTo>
                  <a:pt x="4652" y="2294"/>
                </a:lnTo>
                <a:lnTo>
                  <a:pt x="4650" y="2294"/>
                </a:lnTo>
                <a:lnTo>
                  <a:pt x="4648" y="2293"/>
                </a:lnTo>
                <a:lnTo>
                  <a:pt x="4645" y="2292"/>
                </a:lnTo>
                <a:lnTo>
                  <a:pt x="4642" y="2290"/>
                </a:lnTo>
                <a:lnTo>
                  <a:pt x="4641" y="2289"/>
                </a:lnTo>
                <a:lnTo>
                  <a:pt x="4640" y="2288"/>
                </a:lnTo>
                <a:lnTo>
                  <a:pt x="4639" y="2287"/>
                </a:lnTo>
                <a:lnTo>
                  <a:pt x="4638" y="2286"/>
                </a:lnTo>
                <a:lnTo>
                  <a:pt x="4637" y="2283"/>
                </a:lnTo>
                <a:lnTo>
                  <a:pt x="4637" y="2280"/>
                </a:lnTo>
                <a:lnTo>
                  <a:pt x="4637" y="2277"/>
                </a:lnTo>
                <a:lnTo>
                  <a:pt x="4637" y="2274"/>
                </a:lnTo>
                <a:lnTo>
                  <a:pt x="4638" y="2271"/>
                </a:lnTo>
                <a:lnTo>
                  <a:pt x="4641" y="2268"/>
                </a:lnTo>
                <a:lnTo>
                  <a:pt x="4644" y="2265"/>
                </a:lnTo>
                <a:close/>
                <a:moveTo>
                  <a:pt x="4517" y="2198"/>
                </a:moveTo>
                <a:lnTo>
                  <a:pt x="4518" y="2198"/>
                </a:lnTo>
                <a:lnTo>
                  <a:pt x="4520" y="2197"/>
                </a:lnTo>
                <a:lnTo>
                  <a:pt x="4524" y="2196"/>
                </a:lnTo>
                <a:lnTo>
                  <a:pt x="4528" y="2197"/>
                </a:lnTo>
                <a:lnTo>
                  <a:pt x="4531" y="2198"/>
                </a:lnTo>
                <a:lnTo>
                  <a:pt x="4534" y="2200"/>
                </a:lnTo>
                <a:lnTo>
                  <a:pt x="4536" y="2202"/>
                </a:lnTo>
                <a:lnTo>
                  <a:pt x="4538" y="2204"/>
                </a:lnTo>
                <a:lnTo>
                  <a:pt x="4539" y="2207"/>
                </a:lnTo>
                <a:lnTo>
                  <a:pt x="4539" y="2210"/>
                </a:lnTo>
                <a:lnTo>
                  <a:pt x="4539" y="2213"/>
                </a:lnTo>
                <a:lnTo>
                  <a:pt x="4539" y="2216"/>
                </a:lnTo>
                <a:lnTo>
                  <a:pt x="4538" y="2219"/>
                </a:lnTo>
                <a:lnTo>
                  <a:pt x="4535" y="2222"/>
                </a:lnTo>
                <a:lnTo>
                  <a:pt x="4532" y="2225"/>
                </a:lnTo>
                <a:lnTo>
                  <a:pt x="4530" y="2226"/>
                </a:lnTo>
                <a:lnTo>
                  <a:pt x="4528" y="2226"/>
                </a:lnTo>
                <a:lnTo>
                  <a:pt x="4525" y="2227"/>
                </a:lnTo>
                <a:lnTo>
                  <a:pt x="4521" y="2226"/>
                </a:lnTo>
                <a:lnTo>
                  <a:pt x="4517" y="2225"/>
                </a:lnTo>
                <a:lnTo>
                  <a:pt x="4515" y="2223"/>
                </a:lnTo>
                <a:lnTo>
                  <a:pt x="4513" y="2221"/>
                </a:lnTo>
                <a:lnTo>
                  <a:pt x="4511" y="2219"/>
                </a:lnTo>
                <a:lnTo>
                  <a:pt x="4510" y="2216"/>
                </a:lnTo>
                <a:lnTo>
                  <a:pt x="4509" y="2213"/>
                </a:lnTo>
                <a:lnTo>
                  <a:pt x="4509" y="2210"/>
                </a:lnTo>
                <a:lnTo>
                  <a:pt x="4510" y="2207"/>
                </a:lnTo>
                <a:lnTo>
                  <a:pt x="4511" y="2205"/>
                </a:lnTo>
                <a:lnTo>
                  <a:pt x="4513" y="2201"/>
                </a:lnTo>
                <a:lnTo>
                  <a:pt x="4517" y="2198"/>
                </a:lnTo>
                <a:close/>
                <a:moveTo>
                  <a:pt x="4388" y="2134"/>
                </a:moveTo>
                <a:lnTo>
                  <a:pt x="4391" y="2133"/>
                </a:lnTo>
                <a:lnTo>
                  <a:pt x="4395" y="2132"/>
                </a:lnTo>
                <a:lnTo>
                  <a:pt x="4399" y="2132"/>
                </a:lnTo>
                <a:lnTo>
                  <a:pt x="4402" y="2133"/>
                </a:lnTo>
                <a:lnTo>
                  <a:pt x="4405" y="2135"/>
                </a:lnTo>
                <a:lnTo>
                  <a:pt x="4407" y="2137"/>
                </a:lnTo>
                <a:lnTo>
                  <a:pt x="4409" y="2140"/>
                </a:lnTo>
                <a:lnTo>
                  <a:pt x="4410" y="2142"/>
                </a:lnTo>
                <a:lnTo>
                  <a:pt x="4411" y="2145"/>
                </a:lnTo>
                <a:lnTo>
                  <a:pt x="4411" y="2148"/>
                </a:lnTo>
                <a:lnTo>
                  <a:pt x="4410" y="2151"/>
                </a:lnTo>
                <a:lnTo>
                  <a:pt x="4409" y="2154"/>
                </a:lnTo>
                <a:lnTo>
                  <a:pt x="4407" y="2158"/>
                </a:lnTo>
                <a:lnTo>
                  <a:pt x="4403" y="2160"/>
                </a:lnTo>
                <a:lnTo>
                  <a:pt x="4400" y="2162"/>
                </a:lnTo>
                <a:lnTo>
                  <a:pt x="4396" y="2162"/>
                </a:lnTo>
                <a:lnTo>
                  <a:pt x="4393" y="2162"/>
                </a:lnTo>
                <a:lnTo>
                  <a:pt x="4389" y="2161"/>
                </a:lnTo>
                <a:lnTo>
                  <a:pt x="4386" y="2159"/>
                </a:lnTo>
                <a:lnTo>
                  <a:pt x="4384" y="2157"/>
                </a:lnTo>
                <a:lnTo>
                  <a:pt x="4382" y="2155"/>
                </a:lnTo>
                <a:lnTo>
                  <a:pt x="4381" y="2152"/>
                </a:lnTo>
                <a:lnTo>
                  <a:pt x="4380" y="2149"/>
                </a:lnTo>
                <a:lnTo>
                  <a:pt x="4380" y="2146"/>
                </a:lnTo>
                <a:lnTo>
                  <a:pt x="4381" y="2143"/>
                </a:lnTo>
                <a:lnTo>
                  <a:pt x="4382" y="2140"/>
                </a:lnTo>
                <a:lnTo>
                  <a:pt x="4384" y="2137"/>
                </a:lnTo>
                <a:lnTo>
                  <a:pt x="4388" y="2134"/>
                </a:lnTo>
                <a:close/>
                <a:moveTo>
                  <a:pt x="4258" y="2073"/>
                </a:moveTo>
                <a:lnTo>
                  <a:pt x="4261" y="2071"/>
                </a:lnTo>
                <a:lnTo>
                  <a:pt x="4264" y="2071"/>
                </a:lnTo>
                <a:lnTo>
                  <a:pt x="4268" y="2071"/>
                </a:lnTo>
                <a:lnTo>
                  <a:pt x="4271" y="2072"/>
                </a:lnTo>
                <a:lnTo>
                  <a:pt x="4274" y="2074"/>
                </a:lnTo>
                <a:lnTo>
                  <a:pt x="4276" y="2076"/>
                </a:lnTo>
                <a:lnTo>
                  <a:pt x="4278" y="2078"/>
                </a:lnTo>
                <a:lnTo>
                  <a:pt x="4279" y="2081"/>
                </a:lnTo>
                <a:lnTo>
                  <a:pt x="4280" y="2083"/>
                </a:lnTo>
                <a:lnTo>
                  <a:pt x="4280" y="2086"/>
                </a:lnTo>
                <a:lnTo>
                  <a:pt x="4280" y="2089"/>
                </a:lnTo>
                <a:lnTo>
                  <a:pt x="4279" y="2092"/>
                </a:lnTo>
                <a:lnTo>
                  <a:pt x="4278" y="2094"/>
                </a:lnTo>
                <a:lnTo>
                  <a:pt x="4276" y="2096"/>
                </a:lnTo>
                <a:lnTo>
                  <a:pt x="4275" y="2098"/>
                </a:lnTo>
                <a:lnTo>
                  <a:pt x="4273" y="2099"/>
                </a:lnTo>
                <a:lnTo>
                  <a:pt x="4270" y="2101"/>
                </a:lnTo>
                <a:lnTo>
                  <a:pt x="4266" y="2101"/>
                </a:lnTo>
                <a:lnTo>
                  <a:pt x="4263" y="2101"/>
                </a:lnTo>
                <a:lnTo>
                  <a:pt x="4259" y="2100"/>
                </a:lnTo>
                <a:lnTo>
                  <a:pt x="4256" y="2098"/>
                </a:lnTo>
                <a:lnTo>
                  <a:pt x="4254" y="2096"/>
                </a:lnTo>
                <a:lnTo>
                  <a:pt x="4252" y="2094"/>
                </a:lnTo>
                <a:lnTo>
                  <a:pt x="4251" y="2091"/>
                </a:lnTo>
                <a:lnTo>
                  <a:pt x="4250" y="2089"/>
                </a:lnTo>
                <a:lnTo>
                  <a:pt x="4250" y="2086"/>
                </a:lnTo>
                <a:lnTo>
                  <a:pt x="4250" y="2083"/>
                </a:lnTo>
                <a:lnTo>
                  <a:pt x="4251" y="2080"/>
                </a:lnTo>
                <a:lnTo>
                  <a:pt x="4253" y="2078"/>
                </a:lnTo>
                <a:lnTo>
                  <a:pt x="4254" y="2076"/>
                </a:lnTo>
                <a:lnTo>
                  <a:pt x="4256" y="2074"/>
                </a:lnTo>
                <a:lnTo>
                  <a:pt x="4258" y="2073"/>
                </a:lnTo>
                <a:close/>
                <a:moveTo>
                  <a:pt x="4125" y="2016"/>
                </a:moveTo>
                <a:lnTo>
                  <a:pt x="4128" y="2015"/>
                </a:lnTo>
                <a:lnTo>
                  <a:pt x="4132" y="2014"/>
                </a:lnTo>
                <a:lnTo>
                  <a:pt x="4135" y="2014"/>
                </a:lnTo>
                <a:lnTo>
                  <a:pt x="4139" y="2015"/>
                </a:lnTo>
                <a:lnTo>
                  <a:pt x="4141" y="2016"/>
                </a:lnTo>
                <a:lnTo>
                  <a:pt x="4144" y="2018"/>
                </a:lnTo>
                <a:lnTo>
                  <a:pt x="4146" y="2021"/>
                </a:lnTo>
                <a:lnTo>
                  <a:pt x="4147" y="2023"/>
                </a:lnTo>
                <a:lnTo>
                  <a:pt x="4148" y="2026"/>
                </a:lnTo>
                <a:lnTo>
                  <a:pt x="4148" y="2029"/>
                </a:lnTo>
                <a:lnTo>
                  <a:pt x="4148" y="2032"/>
                </a:lnTo>
                <a:lnTo>
                  <a:pt x="4147" y="2035"/>
                </a:lnTo>
                <a:lnTo>
                  <a:pt x="4146" y="2037"/>
                </a:lnTo>
                <a:lnTo>
                  <a:pt x="4144" y="2039"/>
                </a:lnTo>
                <a:lnTo>
                  <a:pt x="4143" y="2041"/>
                </a:lnTo>
                <a:lnTo>
                  <a:pt x="4141" y="2042"/>
                </a:lnTo>
                <a:lnTo>
                  <a:pt x="4137" y="2044"/>
                </a:lnTo>
                <a:lnTo>
                  <a:pt x="4134" y="2044"/>
                </a:lnTo>
                <a:lnTo>
                  <a:pt x="4131" y="2044"/>
                </a:lnTo>
                <a:lnTo>
                  <a:pt x="4127" y="2043"/>
                </a:lnTo>
                <a:lnTo>
                  <a:pt x="4125" y="2042"/>
                </a:lnTo>
                <a:lnTo>
                  <a:pt x="4122" y="2040"/>
                </a:lnTo>
                <a:lnTo>
                  <a:pt x="4120" y="2038"/>
                </a:lnTo>
                <a:lnTo>
                  <a:pt x="4119" y="2035"/>
                </a:lnTo>
                <a:lnTo>
                  <a:pt x="4118" y="2032"/>
                </a:lnTo>
                <a:lnTo>
                  <a:pt x="4118" y="2029"/>
                </a:lnTo>
                <a:lnTo>
                  <a:pt x="4118" y="2026"/>
                </a:lnTo>
                <a:lnTo>
                  <a:pt x="4119" y="2023"/>
                </a:lnTo>
                <a:lnTo>
                  <a:pt x="4120" y="2021"/>
                </a:lnTo>
                <a:lnTo>
                  <a:pt x="4122" y="2019"/>
                </a:lnTo>
                <a:lnTo>
                  <a:pt x="4123" y="2017"/>
                </a:lnTo>
                <a:lnTo>
                  <a:pt x="4125" y="2016"/>
                </a:lnTo>
                <a:close/>
                <a:moveTo>
                  <a:pt x="3990" y="1965"/>
                </a:moveTo>
                <a:lnTo>
                  <a:pt x="3993" y="1963"/>
                </a:lnTo>
                <a:lnTo>
                  <a:pt x="3996" y="1963"/>
                </a:lnTo>
                <a:lnTo>
                  <a:pt x="3999" y="1963"/>
                </a:lnTo>
                <a:lnTo>
                  <a:pt x="4003" y="1963"/>
                </a:lnTo>
                <a:lnTo>
                  <a:pt x="4005" y="1965"/>
                </a:lnTo>
                <a:lnTo>
                  <a:pt x="4008" y="1967"/>
                </a:lnTo>
                <a:lnTo>
                  <a:pt x="4011" y="1969"/>
                </a:lnTo>
                <a:lnTo>
                  <a:pt x="4012" y="1971"/>
                </a:lnTo>
                <a:lnTo>
                  <a:pt x="4013" y="1974"/>
                </a:lnTo>
                <a:lnTo>
                  <a:pt x="4014" y="1977"/>
                </a:lnTo>
                <a:lnTo>
                  <a:pt x="4013" y="1983"/>
                </a:lnTo>
                <a:lnTo>
                  <a:pt x="4012" y="1985"/>
                </a:lnTo>
                <a:lnTo>
                  <a:pt x="4010" y="1988"/>
                </a:lnTo>
                <a:lnTo>
                  <a:pt x="4005" y="1991"/>
                </a:lnTo>
                <a:lnTo>
                  <a:pt x="4002" y="1992"/>
                </a:lnTo>
                <a:lnTo>
                  <a:pt x="3999" y="1993"/>
                </a:lnTo>
                <a:lnTo>
                  <a:pt x="3996" y="1993"/>
                </a:lnTo>
                <a:lnTo>
                  <a:pt x="3992" y="1992"/>
                </a:lnTo>
                <a:lnTo>
                  <a:pt x="3990" y="1991"/>
                </a:lnTo>
                <a:lnTo>
                  <a:pt x="3987" y="1989"/>
                </a:lnTo>
                <a:lnTo>
                  <a:pt x="3985" y="1987"/>
                </a:lnTo>
                <a:lnTo>
                  <a:pt x="3984" y="1984"/>
                </a:lnTo>
                <a:lnTo>
                  <a:pt x="3983" y="1982"/>
                </a:lnTo>
                <a:lnTo>
                  <a:pt x="3982" y="1979"/>
                </a:lnTo>
                <a:lnTo>
                  <a:pt x="3983" y="1973"/>
                </a:lnTo>
                <a:lnTo>
                  <a:pt x="3984" y="1970"/>
                </a:lnTo>
                <a:lnTo>
                  <a:pt x="3986" y="1968"/>
                </a:lnTo>
                <a:lnTo>
                  <a:pt x="3990" y="1965"/>
                </a:lnTo>
                <a:close/>
                <a:moveTo>
                  <a:pt x="3853" y="1921"/>
                </a:moveTo>
                <a:lnTo>
                  <a:pt x="3855" y="1920"/>
                </a:lnTo>
                <a:lnTo>
                  <a:pt x="3858" y="1919"/>
                </a:lnTo>
                <a:lnTo>
                  <a:pt x="3861" y="1919"/>
                </a:lnTo>
                <a:lnTo>
                  <a:pt x="3865" y="1919"/>
                </a:lnTo>
                <a:lnTo>
                  <a:pt x="3867" y="1921"/>
                </a:lnTo>
                <a:lnTo>
                  <a:pt x="3870" y="1922"/>
                </a:lnTo>
                <a:lnTo>
                  <a:pt x="3872" y="1924"/>
                </a:lnTo>
                <a:lnTo>
                  <a:pt x="3874" y="1927"/>
                </a:lnTo>
                <a:lnTo>
                  <a:pt x="3875" y="1929"/>
                </a:lnTo>
                <a:lnTo>
                  <a:pt x="3875" y="1932"/>
                </a:lnTo>
                <a:lnTo>
                  <a:pt x="3876" y="1935"/>
                </a:lnTo>
                <a:lnTo>
                  <a:pt x="3875" y="1938"/>
                </a:lnTo>
                <a:lnTo>
                  <a:pt x="3874" y="1941"/>
                </a:lnTo>
                <a:lnTo>
                  <a:pt x="3872" y="1943"/>
                </a:lnTo>
                <a:lnTo>
                  <a:pt x="3870" y="1946"/>
                </a:lnTo>
                <a:lnTo>
                  <a:pt x="3868" y="1947"/>
                </a:lnTo>
                <a:lnTo>
                  <a:pt x="3865" y="1948"/>
                </a:lnTo>
                <a:lnTo>
                  <a:pt x="3862" y="1949"/>
                </a:lnTo>
                <a:lnTo>
                  <a:pt x="3859" y="1949"/>
                </a:lnTo>
                <a:lnTo>
                  <a:pt x="3856" y="1949"/>
                </a:lnTo>
                <a:lnTo>
                  <a:pt x="3853" y="1948"/>
                </a:lnTo>
                <a:lnTo>
                  <a:pt x="3851" y="1946"/>
                </a:lnTo>
                <a:lnTo>
                  <a:pt x="3849" y="1944"/>
                </a:lnTo>
                <a:lnTo>
                  <a:pt x="3847" y="1941"/>
                </a:lnTo>
                <a:lnTo>
                  <a:pt x="3846" y="1939"/>
                </a:lnTo>
                <a:lnTo>
                  <a:pt x="3845" y="1936"/>
                </a:lnTo>
                <a:lnTo>
                  <a:pt x="3845" y="1933"/>
                </a:lnTo>
                <a:lnTo>
                  <a:pt x="3846" y="1930"/>
                </a:lnTo>
                <a:lnTo>
                  <a:pt x="3847" y="1927"/>
                </a:lnTo>
                <a:lnTo>
                  <a:pt x="3848" y="1925"/>
                </a:lnTo>
                <a:lnTo>
                  <a:pt x="3850" y="1922"/>
                </a:lnTo>
                <a:lnTo>
                  <a:pt x="3853" y="1921"/>
                </a:lnTo>
                <a:close/>
                <a:moveTo>
                  <a:pt x="3713" y="1887"/>
                </a:moveTo>
                <a:lnTo>
                  <a:pt x="3715" y="1886"/>
                </a:lnTo>
                <a:lnTo>
                  <a:pt x="3718" y="1885"/>
                </a:lnTo>
                <a:lnTo>
                  <a:pt x="3724" y="1885"/>
                </a:lnTo>
                <a:lnTo>
                  <a:pt x="3726" y="1886"/>
                </a:lnTo>
                <a:lnTo>
                  <a:pt x="3729" y="1887"/>
                </a:lnTo>
                <a:lnTo>
                  <a:pt x="3731" y="1889"/>
                </a:lnTo>
                <a:lnTo>
                  <a:pt x="3733" y="1892"/>
                </a:lnTo>
                <a:lnTo>
                  <a:pt x="3735" y="1894"/>
                </a:lnTo>
                <a:lnTo>
                  <a:pt x="3735" y="1897"/>
                </a:lnTo>
                <a:lnTo>
                  <a:pt x="3736" y="1900"/>
                </a:lnTo>
                <a:lnTo>
                  <a:pt x="3735" y="1903"/>
                </a:lnTo>
                <a:lnTo>
                  <a:pt x="3734" y="1906"/>
                </a:lnTo>
                <a:lnTo>
                  <a:pt x="3733" y="1909"/>
                </a:lnTo>
                <a:lnTo>
                  <a:pt x="3732" y="1910"/>
                </a:lnTo>
                <a:lnTo>
                  <a:pt x="3731" y="1911"/>
                </a:lnTo>
                <a:lnTo>
                  <a:pt x="3728" y="1913"/>
                </a:lnTo>
                <a:lnTo>
                  <a:pt x="3726" y="1914"/>
                </a:lnTo>
                <a:lnTo>
                  <a:pt x="3723" y="1915"/>
                </a:lnTo>
                <a:lnTo>
                  <a:pt x="3718" y="1915"/>
                </a:lnTo>
                <a:lnTo>
                  <a:pt x="3715" y="1914"/>
                </a:lnTo>
                <a:lnTo>
                  <a:pt x="3712" y="1913"/>
                </a:lnTo>
                <a:lnTo>
                  <a:pt x="3710" y="1911"/>
                </a:lnTo>
                <a:lnTo>
                  <a:pt x="3708" y="1908"/>
                </a:lnTo>
                <a:lnTo>
                  <a:pt x="3706" y="1906"/>
                </a:lnTo>
                <a:lnTo>
                  <a:pt x="3706" y="1903"/>
                </a:lnTo>
                <a:lnTo>
                  <a:pt x="3705" y="1900"/>
                </a:lnTo>
                <a:lnTo>
                  <a:pt x="3706" y="1897"/>
                </a:lnTo>
                <a:lnTo>
                  <a:pt x="3707" y="1894"/>
                </a:lnTo>
                <a:lnTo>
                  <a:pt x="3708" y="1891"/>
                </a:lnTo>
                <a:lnTo>
                  <a:pt x="3709" y="1890"/>
                </a:lnTo>
                <a:lnTo>
                  <a:pt x="3710" y="1889"/>
                </a:lnTo>
                <a:lnTo>
                  <a:pt x="3713" y="1887"/>
                </a:lnTo>
                <a:close/>
                <a:moveTo>
                  <a:pt x="3571" y="1865"/>
                </a:moveTo>
                <a:lnTo>
                  <a:pt x="3575" y="1864"/>
                </a:lnTo>
                <a:lnTo>
                  <a:pt x="3577" y="1863"/>
                </a:lnTo>
                <a:lnTo>
                  <a:pt x="3580" y="1863"/>
                </a:lnTo>
                <a:lnTo>
                  <a:pt x="3583" y="1864"/>
                </a:lnTo>
                <a:lnTo>
                  <a:pt x="3586" y="1865"/>
                </a:lnTo>
                <a:lnTo>
                  <a:pt x="3588" y="1867"/>
                </a:lnTo>
                <a:lnTo>
                  <a:pt x="3590" y="1869"/>
                </a:lnTo>
                <a:lnTo>
                  <a:pt x="3592" y="1871"/>
                </a:lnTo>
                <a:lnTo>
                  <a:pt x="3593" y="1874"/>
                </a:lnTo>
                <a:lnTo>
                  <a:pt x="3593" y="1877"/>
                </a:lnTo>
                <a:lnTo>
                  <a:pt x="3593" y="1880"/>
                </a:lnTo>
                <a:lnTo>
                  <a:pt x="3593" y="1884"/>
                </a:lnTo>
                <a:lnTo>
                  <a:pt x="3591" y="1887"/>
                </a:lnTo>
                <a:lnTo>
                  <a:pt x="3589" y="1889"/>
                </a:lnTo>
                <a:lnTo>
                  <a:pt x="3586" y="1892"/>
                </a:lnTo>
                <a:lnTo>
                  <a:pt x="3582" y="1893"/>
                </a:lnTo>
                <a:lnTo>
                  <a:pt x="3579" y="1894"/>
                </a:lnTo>
                <a:lnTo>
                  <a:pt x="3577" y="1894"/>
                </a:lnTo>
                <a:lnTo>
                  <a:pt x="3574" y="1893"/>
                </a:lnTo>
                <a:lnTo>
                  <a:pt x="3571" y="1892"/>
                </a:lnTo>
                <a:lnTo>
                  <a:pt x="3569" y="1890"/>
                </a:lnTo>
                <a:lnTo>
                  <a:pt x="3567" y="1888"/>
                </a:lnTo>
                <a:lnTo>
                  <a:pt x="3565" y="1886"/>
                </a:lnTo>
                <a:lnTo>
                  <a:pt x="3564" y="1883"/>
                </a:lnTo>
                <a:lnTo>
                  <a:pt x="3563" y="1880"/>
                </a:lnTo>
                <a:lnTo>
                  <a:pt x="3563" y="1877"/>
                </a:lnTo>
                <a:lnTo>
                  <a:pt x="3564" y="1873"/>
                </a:lnTo>
                <a:lnTo>
                  <a:pt x="3566" y="1870"/>
                </a:lnTo>
                <a:lnTo>
                  <a:pt x="3568" y="1867"/>
                </a:lnTo>
                <a:lnTo>
                  <a:pt x="3571" y="1865"/>
                </a:lnTo>
                <a:close/>
                <a:moveTo>
                  <a:pt x="2784" y="2297"/>
                </a:moveTo>
                <a:lnTo>
                  <a:pt x="2786" y="2296"/>
                </a:lnTo>
                <a:lnTo>
                  <a:pt x="2788" y="2295"/>
                </a:lnTo>
                <a:lnTo>
                  <a:pt x="2791" y="2295"/>
                </a:lnTo>
                <a:lnTo>
                  <a:pt x="2793" y="2295"/>
                </a:lnTo>
                <a:lnTo>
                  <a:pt x="2796" y="2295"/>
                </a:lnTo>
                <a:lnTo>
                  <a:pt x="2799" y="2297"/>
                </a:lnTo>
                <a:lnTo>
                  <a:pt x="2801" y="2298"/>
                </a:lnTo>
                <a:lnTo>
                  <a:pt x="2803" y="2301"/>
                </a:lnTo>
                <a:lnTo>
                  <a:pt x="2804" y="2302"/>
                </a:lnTo>
                <a:lnTo>
                  <a:pt x="2805" y="2303"/>
                </a:lnTo>
                <a:lnTo>
                  <a:pt x="2806" y="2306"/>
                </a:lnTo>
                <a:lnTo>
                  <a:pt x="2806" y="2309"/>
                </a:lnTo>
                <a:lnTo>
                  <a:pt x="2806" y="2312"/>
                </a:lnTo>
                <a:lnTo>
                  <a:pt x="2806" y="2315"/>
                </a:lnTo>
                <a:lnTo>
                  <a:pt x="2804" y="2318"/>
                </a:lnTo>
                <a:lnTo>
                  <a:pt x="2802" y="2321"/>
                </a:lnTo>
                <a:lnTo>
                  <a:pt x="2799" y="2323"/>
                </a:lnTo>
                <a:lnTo>
                  <a:pt x="2797" y="2324"/>
                </a:lnTo>
                <a:lnTo>
                  <a:pt x="2794" y="2325"/>
                </a:lnTo>
                <a:lnTo>
                  <a:pt x="2792" y="2325"/>
                </a:lnTo>
                <a:lnTo>
                  <a:pt x="2789" y="2325"/>
                </a:lnTo>
                <a:lnTo>
                  <a:pt x="2786" y="2324"/>
                </a:lnTo>
                <a:lnTo>
                  <a:pt x="2784" y="2323"/>
                </a:lnTo>
                <a:lnTo>
                  <a:pt x="2781" y="2321"/>
                </a:lnTo>
                <a:lnTo>
                  <a:pt x="2779" y="2319"/>
                </a:lnTo>
                <a:lnTo>
                  <a:pt x="2778" y="2318"/>
                </a:lnTo>
                <a:lnTo>
                  <a:pt x="2778" y="2317"/>
                </a:lnTo>
                <a:lnTo>
                  <a:pt x="2777" y="2314"/>
                </a:lnTo>
                <a:lnTo>
                  <a:pt x="2776" y="2311"/>
                </a:lnTo>
                <a:lnTo>
                  <a:pt x="2776" y="2308"/>
                </a:lnTo>
                <a:lnTo>
                  <a:pt x="2777" y="2305"/>
                </a:lnTo>
                <a:lnTo>
                  <a:pt x="2779" y="2301"/>
                </a:lnTo>
                <a:lnTo>
                  <a:pt x="2781" y="2299"/>
                </a:lnTo>
                <a:lnTo>
                  <a:pt x="2784" y="2297"/>
                </a:lnTo>
                <a:close/>
                <a:moveTo>
                  <a:pt x="3427" y="1859"/>
                </a:moveTo>
                <a:lnTo>
                  <a:pt x="3431" y="1858"/>
                </a:lnTo>
                <a:lnTo>
                  <a:pt x="3434" y="1857"/>
                </a:lnTo>
                <a:lnTo>
                  <a:pt x="3437" y="1858"/>
                </a:lnTo>
                <a:lnTo>
                  <a:pt x="3440" y="1858"/>
                </a:lnTo>
                <a:lnTo>
                  <a:pt x="3443" y="1860"/>
                </a:lnTo>
                <a:lnTo>
                  <a:pt x="3445" y="1862"/>
                </a:lnTo>
                <a:lnTo>
                  <a:pt x="3447" y="1864"/>
                </a:lnTo>
                <a:lnTo>
                  <a:pt x="3449" y="1866"/>
                </a:lnTo>
                <a:lnTo>
                  <a:pt x="3450" y="1869"/>
                </a:lnTo>
                <a:lnTo>
                  <a:pt x="3450" y="1872"/>
                </a:lnTo>
                <a:lnTo>
                  <a:pt x="3449" y="1876"/>
                </a:lnTo>
                <a:lnTo>
                  <a:pt x="3448" y="1880"/>
                </a:lnTo>
                <a:lnTo>
                  <a:pt x="3445" y="1883"/>
                </a:lnTo>
                <a:lnTo>
                  <a:pt x="3442" y="1886"/>
                </a:lnTo>
                <a:lnTo>
                  <a:pt x="3439" y="1887"/>
                </a:lnTo>
                <a:lnTo>
                  <a:pt x="3435" y="1888"/>
                </a:lnTo>
                <a:lnTo>
                  <a:pt x="3432" y="1888"/>
                </a:lnTo>
                <a:lnTo>
                  <a:pt x="3429" y="1887"/>
                </a:lnTo>
                <a:lnTo>
                  <a:pt x="3426" y="1885"/>
                </a:lnTo>
                <a:lnTo>
                  <a:pt x="3424" y="1884"/>
                </a:lnTo>
                <a:lnTo>
                  <a:pt x="3422" y="1881"/>
                </a:lnTo>
                <a:lnTo>
                  <a:pt x="3421" y="1879"/>
                </a:lnTo>
                <a:lnTo>
                  <a:pt x="3420" y="1876"/>
                </a:lnTo>
                <a:lnTo>
                  <a:pt x="3419" y="1873"/>
                </a:lnTo>
                <a:lnTo>
                  <a:pt x="3420" y="1869"/>
                </a:lnTo>
                <a:lnTo>
                  <a:pt x="3421" y="1865"/>
                </a:lnTo>
                <a:lnTo>
                  <a:pt x="3424" y="1862"/>
                </a:lnTo>
                <a:lnTo>
                  <a:pt x="3427" y="1859"/>
                </a:lnTo>
                <a:close/>
                <a:moveTo>
                  <a:pt x="2815" y="2157"/>
                </a:moveTo>
                <a:lnTo>
                  <a:pt x="2818" y="2156"/>
                </a:lnTo>
                <a:lnTo>
                  <a:pt x="2822" y="2155"/>
                </a:lnTo>
                <a:lnTo>
                  <a:pt x="2825" y="2155"/>
                </a:lnTo>
                <a:lnTo>
                  <a:pt x="2828" y="2156"/>
                </a:lnTo>
                <a:lnTo>
                  <a:pt x="2830" y="2157"/>
                </a:lnTo>
                <a:lnTo>
                  <a:pt x="2831" y="2157"/>
                </a:lnTo>
                <a:lnTo>
                  <a:pt x="2833" y="2159"/>
                </a:lnTo>
                <a:lnTo>
                  <a:pt x="2835" y="2161"/>
                </a:lnTo>
                <a:lnTo>
                  <a:pt x="2837" y="2164"/>
                </a:lnTo>
                <a:lnTo>
                  <a:pt x="2838" y="2167"/>
                </a:lnTo>
                <a:lnTo>
                  <a:pt x="2838" y="2170"/>
                </a:lnTo>
                <a:lnTo>
                  <a:pt x="2838" y="2173"/>
                </a:lnTo>
                <a:lnTo>
                  <a:pt x="2837" y="2176"/>
                </a:lnTo>
                <a:lnTo>
                  <a:pt x="2836" y="2178"/>
                </a:lnTo>
                <a:lnTo>
                  <a:pt x="2834" y="2180"/>
                </a:lnTo>
                <a:lnTo>
                  <a:pt x="2833" y="2182"/>
                </a:lnTo>
                <a:lnTo>
                  <a:pt x="2831" y="2183"/>
                </a:lnTo>
                <a:lnTo>
                  <a:pt x="2827" y="2185"/>
                </a:lnTo>
                <a:lnTo>
                  <a:pt x="2824" y="2185"/>
                </a:lnTo>
                <a:lnTo>
                  <a:pt x="2821" y="2185"/>
                </a:lnTo>
                <a:lnTo>
                  <a:pt x="2817" y="2184"/>
                </a:lnTo>
                <a:lnTo>
                  <a:pt x="2816" y="2184"/>
                </a:lnTo>
                <a:lnTo>
                  <a:pt x="2815" y="2183"/>
                </a:lnTo>
                <a:lnTo>
                  <a:pt x="2812" y="2181"/>
                </a:lnTo>
                <a:lnTo>
                  <a:pt x="2810" y="2179"/>
                </a:lnTo>
                <a:lnTo>
                  <a:pt x="2809" y="2176"/>
                </a:lnTo>
                <a:lnTo>
                  <a:pt x="2808" y="2174"/>
                </a:lnTo>
                <a:lnTo>
                  <a:pt x="2808" y="2171"/>
                </a:lnTo>
                <a:lnTo>
                  <a:pt x="2808" y="2168"/>
                </a:lnTo>
                <a:lnTo>
                  <a:pt x="2809" y="2165"/>
                </a:lnTo>
                <a:lnTo>
                  <a:pt x="2810" y="2162"/>
                </a:lnTo>
                <a:lnTo>
                  <a:pt x="2811" y="2160"/>
                </a:lnTo>
                <a:lnTo>
                  <a:pt x="2813" y="2158"/>
                </a:lnTo>
                <a:lnTo>
                  <a:pt x="2815" y="2157"/>
                </a:lnTo>
                <a:close/>
                <a:moveTo>
                  <a:pt x="3284" y="1872"/>
                </a:moveTo>
                <a:lnTo>
                  <a:pt x="3286" y="1871"/>
                </a:lnTo>
                <a:lnTo>
                  <a:pt x="3289" y="1870"/>
                </a:lnTo>
                <a:lnTo>
                  <a:pt x="3292" y="1870"/>
                </a:lnTo>
                <a:lnTo>
                  <a:pt x="3295" y="1870"/>
                </a:lnTo>
                <a:lnTo>
                  <a:pt x="3298" y="1871"/>
                </a:lnTo>
                <a:lnTo>
                  <a:pt x="3300" y="1873"/>
                </a:lnTo>
                <a:lnTo>
                  <a:pt x="3303" y="1875"/>
                </a:lnTo>
                <a:lnTo>
                  <a:pt x="3304" y="1877"/>
                </a:lnTo>
                <a:lnTo>
                  <a:pt x="3306" y="1880"/>
                </a:lnTo>
                <a:lnTo>
                  <a:pt x="3307" y="1883"/>
                </a:lnTo>
                <a:lnTo>
                  <a:pt x="3307" y="1887"/>
                </a:lnTo>
                <a:lnTo>
                  <a:pt x="3305" y="1892"/>
                </a:lnTo>
                <a:lnTo>
                  <a:pt x="3303" y="1895"/>
                </a:lnTo>
                <a:lnTo>
                  <a:pt x="3299" y="1898"/>
                </a:lnTo>
                <a:lnTo>
                  <a:pt x="3297" y="1899"/>
                </a:lnTo>
                <a:lnTo>
                  <a:pt x="3294" y="1900"/>
                </a:lnTo>
                <a:lnTo>
                  <a:pt x="3291" y="1900"/>
                </a:lnTo>
                <a:lnTo>
                  <a:pt x="3288" y="1900"/>
                </a:lnTo>
                <a:lnTo>
                  <a:pt x="3285" y="1899"/>
                </a:lnTo>
                <a:lnTo>
                  <a:pt x="3283" y="1897"/>
                </a:lnTo>
                <a:lnTo>
                  <a:pt x="3280" y="1895"/>
                </a:lnTo>
                <a:lnTo>
                  <a:pt x="3279" y="1893"/>
                </a:lnTo>
                <a:lnTo>
                  <a:pt x="3277" y="1890"/>
                </a:lnTo>
                <a:lnTo>
                  <a:pt x="3276" y="1887"/>
                </a:lnTo>
                <a:lnTo>
                  <a:pt x="3276" y="1883"/>
                </a:lnTo>
                <a:lnTo>
                  <a:pt x="3278" y="1878"/>
                </a:lnTo>
                <a:lnTo>
                  <a:pt x="3280" y="1875"/>
                </a:lnTo>
                <a:lnTo>
                  <a:pt x="3284" y="1872"/>
                </a:lnTo>
                <a:close/>
                <a:moveTo>
                  <a:pt x="3144" y="1905"/>
                </a:moveTo>
                <a:lnTo>
                  <a:pt x="3147" y="1903"/>
                </a:lnTo>
                <a:lnTo>
                  <a:pt x="3150" y="1903"/>
                </a:lnTo>
                <a:lnTo>
                  <a:pt x="3153" y="1903"/>
                </a:lnTo>
                <a:lnTo>
                  <a:pt x="3156" y="1903"/>
                </a:lnTo>
                <a:lnTo>
                  <a:pt x="3159" y="1904"/>
                </a:lnTo>
                <a:lnTo>
                  <a:pt x="3161" y="1906"/>
                </a:lnTo>
                <a:lnTo>
                  <a:pt x="3163" y="1908"/>
                </a:lnTo>
                <a:lnTo>
                  <a:pt x="3165" y="1910"/>
                </a:lnTo>
                <a:lnTo>
                  <a:pt x="3166" y="1913"/>
                </a:lnTo>
                <a:lnTo>
                  <a:pt x="3167" y="1918"/>
                </a:lnTo>
                <a:lnTo>
                  <a:pt x="3166" y="1921"/>
                </a:lnTo>
                <a:lnTo>
                  <a:pt x="3166" y="1923"/>
                </a:lnTo>
                <a:lnTo>
                  <a:pt x="3165" y="1926"/>
                </a:lnTo>
                <a:lnTo>
                  <a:pt x="3163" y="1928"/>
                </a:lnTo>
                <a:lnTo>
                  <a:pt x="3161" y="1929"/>
                </a:lnTo>
                <a:lnTo>
                  <a:pt x="3159" y="1931"/>
                </a:lnTo>
                <a:lnTo>
                  <a:pt x="3156" y="1932"/>
                </a:lnTo>
                <a:lnTo>
                  <a:pt x="3153" y="1933"/>
                </a:lnTo>
                <a:lnTo>
                  <a:pt x="3150" y="1933"/>
                </a:lnTo>
                <a:lnTo>
                  <a:pt x="3147" y="1932"/>
                </a:lnTo>
                <a:lnTo>
                  <a:pt x="3144" y="1931"/>
                </a:lnTo>
                <a:lnTo>
                  <a:pt x="3142" y="1930"/>
                </a:lnTo>
                <a:lnTo>
                  <a:pt x="3140" y="1928"/>
                </a:lnTo>
                <a:lnTo>
                  <a:pt x="3138" y="1925"/>
                </a:lnTo>
                <a:lnTo>
                  <a:pt x="3137" y="1922"/>
                </a:lnTo>
                <a:lnTo>
                  <a:pt x="3136" y="1917"/>
                </a:lnTo>
                <a:lnTo>
                  <a:pt x="3137" y="1914"/>
                </a:lnTo>
                <a:lnTo>
                  <a:pt x="3137" y="1912"/>
                </a:lnTo>
                <a:lnTo>
                  <a:pt x="3139" y="1910"/>
                </a:lnTo>
                <a:lnTo>
                  <a:pt x="3140" y="1908"/>
                </a:lnTo>
                <a:lnTo>
                  <a:pt x="3142" y="1906"/>
                </a:lnTo>
                <a:lnTo>
                  <a:pt x="3144" y="1905"/>
                </a:lnTo>
                <a:close/>
                <a:moveTo>
                  <a:pt x="2892" y="2038"/>
                </a:moveTo>
                <a:lnTo>
                  <a:pt x="2895" y="2037"/>
                </a:lnTo>
                <a:lnTo>
                  <a:pt x="2897" y="2036"/>
                </a:lnTo>
                <a:lnTo>
                  <a:pt x="2902" y="2036"/>
                </a:lnTo>
                <a:lnTo>
                  <a:pt x="2907" y="2037"/>
                </a:lnTo>
                <a:lnTo>
                  <a:pt x="2909" y="2038"/>
                </a:lnTo>
                <a:lnTo>
                  <a:pt x="2911" y="2040"/>
                </a:lnTo>
                <a:lnTo>
                  <a:pt x="2913" y="2042"/>
                </a:lnTo>
                <a:lnTo>
                  <a:pt x="2914" y="2045"/>
                </a:lnTo>
                <a:lnTo>
                  <a:pt x="2915" y="2048"/>
                </a:lnTo>
                <a:lnTo>
                  <a:pt x="2915" y="2051"/>
                </a:lnTo>
                <a:lnTo>
                  <a:pt x="2915" y="2054"/>
                </a:lnTo>
                <a:lnTo>
                  <a:pt x="2914" y="2057"/>
                </a:lnTo>
                <a:lnTo>
                  <a:pt x="2913" y="2059"/>
                </a:lnTo>
                <a:lnTo>
                  <a:pt x="2911" y="2062"/>
                </a:lnTo>
                <a:lnTo>
                  <a:pt x="2908" y="2064"/>
                </a:lnTo>
                <a:lnTo>
                  <a:pt x="2905" y="2065"/>
                </a:lnTo>
                <a:lnTo>
                  <a:pt x="2903" y="2066"/>
                </a:lnTo>
                <a:lnTo>
                  <a:pt x="2898" y="2066"/>
                </a:lnTo>
                <a:lnTo>
                  <a:pt x="2896" y="2065"/>
                </a:lnTo>
                <a:lnTo>
                  <a:pt x="2893" y="2064"/>
                </a:lnTo>
                <a:lnTo>
                  <a:pt x="2891" y="2063"/>
                </a:lnTo>
                <a:lnTo>
                  <a:pt x="2889" y="2062"/>
                </a:lnTo>
                <a:lnTo>
                  <a:pt x="2887" y="2059"/>
                </a:lnTo>
                <a:lnTo>
                  <a:pt x="2886" y="2056"/>
                </a:lnTo>
                <a:lnTo>
                  <a:pt x="2885" y="2054"/>
                </a:lnTo>
                <a:lnTo>
                  <a:pt x="2885" y="2051"/>
                </a:lnTo>
                <a:lnTo>
                  <a:pt x="2885" y="2048"/>
                </a:lnTo>
                <a:lnTo>
                  <a:pt x="2886" y="2045"/>
                </a:lnTo>
                <a:lnTo>
                  <a:pt x="2887" y="2042"/>
                </a:lnTo>
                <a:lnTo>
                  <a:pt x="2889" y="2040"/>
                </a:lnTo>
                <a:lnTo>
                  <a:pt x="2892" y="2038"/>
                </a:lnTo>
                <a:close/>
                <a:moveTo>
                  <a:pt x="3010" y="1957"/>
                </a:moveTo>
                <a:lnTo>
                  <a:pt x="3013" y="1956"/>
                </a:lnTo>
                <a:lnTo>
                  <a:pt x="3016" y="1955"/>
                </a:lnTo>
                <a:lnTo>
                  <a:pt x="3020" y="1955"/>
                </a:lnTo>
                <a:lnTo>
                  <a:pt x="3023" y="1956"/>
                </a:lnTo>
                <a:lnTo>
                  <a:pt x="3025" y="1957"/>
                </a:lnTo>
                <a:lnTo>
                  <a:pt x="3028" y="1958"/>
                </a:lnTo>
                <a:lnTo>
                  <a:pt x="3029" y="1960"/>
                </a:lnTo>
                <a:lnTo>
                  <a:pt x="3030" y="1961"/>
                </a:lnTo>
                <a:lnTo>
                  <a:pt x="3031" y="1963"/>
                </a:lnTo>
                <a:lnTo>
                  <a:pt x="3032" y="1966"/>
                </a:lnTo>
                <a:lnTo>
                  <a:pt x="3033" y="1969"/>
                </a:lnTo>
                <a:lnTo>
                  <a:pt x="3033" y="1972"/>
                </a:lnTo>
                <a:lnTo>
                  <a:pt x="3032" y="1974"/>
                </a:lnTo>
                <a:lnTo>
                  <a:pt x="3031" y="1977"/>
                </a:lnTo>
                <a:lnTo>
                  <a:pt x="3030" y="1979"/>
                </a:lnTo>
                <a:lnTo>
                  <a:pt x="3028" y="1981"/>
                </a:lnTo>
                <a:lnTo>
                  <a:pt x="3025" y="1983"/>
                </a:lnTo>
                <a:lnTo>
                  <a:pt x="3022" y="1984"/>
                </a:lnTo>
                <a:lnTo>
                  <a:pt x="3019" y="1985"/>
                </a:lnTo>
                <a:lnTo>
                  <a:pt x="3016" y="1985"/>
                </a:lnTo>
                <a:lnTo>
                  <a:pt x="3013" y="1984"/>
                </a:lnTo>
                <a:lnTo>
                  <a:pt x="3010" y="1983"/>
                </a:lnTo>
                <a:lnTo>
                  <a:pt x="3008" y="1981"/>
                </a:lnTo>
                <a:lnTo>
                  <a:pt x="3006" y="1979"/>
                </a:lnTo>
                <a:lnTo>
                  <a:pt x="3004" y="1977"/>
                </a:lnTo>
                <a:lnTo>
                  <a:pt x="3003" y="1974"/>
                </a:lnTo>
                <a:lnTo>
                  <a:pt x="3002" y="1971"/>
                </a:lnTo>
                <a:lnTo>
                  <a:pt x="3003" y="1968"/>
                </a:lnTo>
                <a:lnTo>
                  <a:pt x="3003" y="1965"/>
                </a:lnTo>
                <a:lnTo>
                  <a:pt x="3004" y="1963"/>
                </a:lnTo>
                <a:lnTo>
                  <a:pt x="3006" y="1961"/>
                </a:lnTo>
                <a:lnTo>
                  <a:pt x="3008" y="1958"/>
                </a:lnTo>
                <a:lnTo>
                  <a:pt x="3010" y="1957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9" name="Freeform 8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530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pic>
        <p:nvPicPr>
          <p:cNvPr id="7" name="Graphic 16">
            <a:extLst>
              <a:ext uri="{FF2B5EF4-FFF2-40B4-BE49-F238E27FC236}">
                <a16:creationId xmlns:a16="http://schemas.microsoft.com/office/drawing/2014/main" id="{03EAE80C-F45E-42D5-9241-422FCC39AC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11096582" y="5762582"/>
            <a:ext cx="817216" cy="1373620"/>
          </a:xfrm>
          <a:prstGeom prst="rect">
            <a:avLst/>
          </a:prstGeom>
        </p:spPr>
      </p:pic>
      <p:pic>
        <p:nvPicPr>
          <p:cNvPr id="9" name="Graphic 29">
            <a:extLst>
              <a:ext uri="{FF2B5EF4-FFF2-40B4-BE49-F238E27FC236}">
                <a16:creationId xmlns:a16="http://schemas.microsoft.com/office/drawing/2014/main" id="{ECFBBF20-CCFC-4FCB-A1D0-A285CC01AD0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76595" y="6307893"/>
            <a:ext cx="967656" cy="434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326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Pictur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5760" y="620713"/>
            <a:ext cx="7489478" cy="1080095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35760" y="1916113"/>
            <a:ext cx="7489478" cy="432117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3575720" cy="6021388"/>
          </a:xfrm>
          <a:custGeom>
            <a:avLst/>
            <a:gdLst/>
            <a:ahLst/>
            <a:cxnLst/>
            <a:rect l="l" t="t" r="r" b="b"/>
            <a:pathLst>
              <a:path w="3575720" h="6021388">
                <a:moveTo>
                  <a:pt x="0" y="0"/>
                </a:moveTo>
                <a:lnTo>
                  <a:pt x="3575720" y="0"/>
                </a:lnTo>
                <a:lnTo>
                  <a:pt x="3506108" y="475076"/>
                </a:lnTo>
                <a:lnTo>
                  <a:pt x="3436497" y="951177"/>
                </a:lnTo>
                <a:lnTo>
                  <a:pt x="3365862" y="1426253"/>
                </a:lnTo>
                <a:lnTo>
                  <a:pt x="3295227" y="1902353"/>
                </a:lnTo>
                <a:lnTo>
                  <a:pt x="3225615" y="2377430"/>
                </a:lnTo>
                <a:lnTo>
                  <a:pt x="3156004" y="2853530"/>
                </a:lnTo>
                <a:lnTo>
                  <a:pt x="3085369" y="3328606"/>
                </a:lnTo>
                <a:lnTo>
                  <a:pt x="3014734" y="3803683"/>
                </a:lnTo>
                <a:lnTo>
                  <a:pt x="2974809" y="4003338"/>
                </a:lnTo>
                <a:lnTo>
                  <a:pt x="2934885" y="4175348"/>
                </a:lnTo>
                <a:lnTo>
                  <a:pt x="2895985" y="4323809"/>
                </a:lnTo>
                <a:lnTo>
                  <a:pt x="2858108" y="4451793"/>
                </a:lnTo>
                <a:lnTo>
                  <a:pt x="2838658" y="4509130"/>
                </a:lnTo>
                <a:lnTo>
                  <a:pt x="2818184" y="4564419"/>
                </a:lnTo>
                <a:lnTo>
                  <a:pt x="2797710" y="4615613"/>
                </a:lnTo>
                <a:lnTo>
                  <a:pt x="2776212" y="4664759"/>
                </a:lnTo>
                <a:lnTo>
                  <a:pt x="2730146" y="4759979"/>
                </a:lnTo>
                <a:lnTo>
                  <a:pt x="2705577" y="4805029"/>
                </a:lnTo>
                <a:lnTo>
                  <a:pt x="2679985" y="4851103"/>
                </a:lnTo>
                <a:lnTo>
                  <a:pt x="2599112" y="4980111"/>
                </a:lnTo>
                <a:lnTo>
                  <a:pt x="2552022" y="5050758"/>
                </a:lnTo>
                <a:lnTo>
                  <a:pt x="2499814" y="5123453"/>
                </a:lnTo>
                <a:lnTo>
                  <a:pt x="2440439" y="5199220"/>
                </a:lnTo>
                <a:lnTo>
                  <a:pt x="2373899" y="5279081"/>
                </a:lnTo>
                <a:lnTo>
                  <a:pt x="2300193" y="5363039"/>
                </a:lnTo>
                <a:lnTo>
                  <a:pt x="2217273" y="5450068"/>
                </a:lnTo>
                <a:lnTo>
                  <a:pt x="2188610" y="5479760"/>
                </a:lnTo>
                <a:lnTo>
                  <a:pt x="2156875" y="5508429"/>
                </a:lnTo>
                <a:lnTo>
                  <a:pt x="2096477" y="5564742"/>
                </a:lnTo>
                <a:lnTo>
                  <a:pt x="2033008" y="5614911"/>
                </a:lnTo>
                <a:lnTo>
                  <a:pt x="1967491" y="5662009"/>
                </a:lnTo>
                <a:lnTo>
                  <a:pt x="1901975" y="5706036"/>
                </a:lnTo>
                <a:lnTo>
                  <a:pt x="1835434" y="5746991"/>
                </a:lnTo>
                <a:lnTo>
                  <a:pt x="1765823" y="5783850"/>
                </a:lnTo>
                <a:lnTo>
                  <a:pt x="1696211" y="5818662"/>
                </a:lnTo>
                <a:lnTo>
                  <a:pt x="1626600" y="5848354"/>
                </a:lnTo>
                <a:lnTo>
                  <a:pt x="1554941" y="5875999"/>
                </a:lnTo>
                <a:lnTo>
                  <a:pt x="1482259" y="5901595"/>
                </a:lnTo>
                <a:lnTo>
                  <a:pt x="1409576" y="5923097"/>
                </a:lnTo>
                <a:lnTo>
                  <a:pt x="1334846" y="5942550"/>
                </a:lnTo>
                <a:lnTo>
                  <a:pt x="1260116" y="5958932"/>
                </a:lnTo>
                <a:lnTo>
                  <a:pt x="1185386" y="5974290"/>
                </a:lnTo>
                <a:lnTo>
                  <a:pt x="1110657" y="5986577"/>
                </a:lnTo>
                <a:lnTo>
                  <a:pt x="1007263" y="5999887"/>
                </a:lnTo>
                <a:lnTo>
                  <a:pt x="904893" y="6010126"/>
                </a:lnTo>
                <a:lnTo>
                  <a:pt x="800476" y="6015245"/>
                </a:lnTo>
                <a:lnTo>
                  <a:pt x="698107" y="6019341"/>
                </a:lnTo>
                <a:lnTo>
                  <a:pt x="595737" y="6021388"/>
                </a:lnTo>
                <a:lnTo>
                  <a:pt x="495414" y="6021388"/>
                </a:lnTo>
                <a:lnTo>
                  <a:pt x="298865" y="6019341"/>
                </a:lnTo>
                <a:lnTo>
                  <a:pt x="0" y="601934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pic>
        <p:nvPicPr>
          <p:cNvPr id="9" name="Graphic 16">
            <a:extLst>
              <a:ext uri="{FF2B5EF4-FFF2-40B4-BE49-F238E27FC236}">
                <a16:creationId xmlns:a16="http://schemas.microsoft.com/office/drawing/2014/main" id="{7D7C9FD3-319E-4613-AFB2-0C46C810E7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11096582" y="5762582"/>
            <a:ext cx="817216" cy="1373620"/>
          </a:xfrm>
          <a:prstGeom prst="rect">
            <a:avLst/>
          </a:prstGeom>
        </p:spPr>
      </p:pic>
      <p:pic>
        <p:nvPicPr>
          <p:cNvPr id="10" name="Graphic 29">
            <a:extLst>
              <a:ext uri="{FF2B5EF4-FFF2-40B4-BE49-F238E27FC236}">
                <a16:creationId xmlns:a16="http://schemas.microsoft.com/office/drawing/2014/main" id="{D83D7658-A08B-42D3-8A79-8C5A332E987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76595" y="6307893"/>
            <a:ext cx="967656" cy="434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489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933056"/>
            <a:ext cx="3385021" cy="2304232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9816" y="3933056"/>
            <a:ext cx="6378564" cy="230423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1405557" cy="3428999"/>
          </a:xfrm>
          <a:custGeom>
            <a:avLst/>
            <a:gdLst/>
            <a:ahLst/>
            <a:cxnLst/>
            <a:rect l="l" t="t" r="r" b="b"/>
            <a:pathLst>
              <a:path w="11405557" h="3428999">
                <a:moveTo>
                  <a:pt x="0" y="0"/>
                </a:moveTo>
                <a:lnTo>
                  <a:pt x="11405557" y="0"/>
                </a:lnTo>
                <a:lnTo>
                  <a:pt x="11365915" y="270541"/>
                </a:lnTo>
                <a:lnTo>
                  <a:pt x="11326274" y="541666"/>
                </a:lnTo>
                <a:lnTo>
                  <a:pt x="11286049" y="812207"/>
                </a:lnTo>
                <a:lnTo>
                  <a:pt x="11245825" y="1083332"/>
                </a:lnTo>
                <a:lnTo>
                  <a:pt x="11206183" y="1353874"/>
                </a:lnTo>
                <a:lnTo>
                  <a:pt x="11166541" y="1624999"/>
                </a:lnTo>
                <a:lnTo>
                  <a:pt x="11126317" y="1895540"/>
                </a:lnTo>
                <a:lnTo>
                  <a:pt x="11086092" y="2166082"/>
                </a:lnTo>
                <a:lnTo>
                  <a:pt x="11063357" y="2279780"/>
                </a:lnTo>
                <a:lnTo>
                  <a:pt x="11040621" y="2377734"/>
                </a:lnTo>
                <a:lnTo>
                  <a:pt x="11018468" y="2462279"/>
                </a:lnTo>
                <a:lnTo>
                  <a:pt x="10996899" y="2535162"/>
                </a:lnTo>
                <a:lnTo>
                  <a:pt x="10985822" y="2567813"/>
                </a:lnTo>
                <a:lnTo>
                  <a:pt x="10974163" y="2599299"/>
                </a:lnTo>
                <a:lnTo>
                  <a:pt x="10962504" y="2628452"/>
                </a:lnTo>
                <a:lnTo>
                  <a:pt x="10950261" y="2656439"/>
                </a:lnTo>
                <a:lnTo>
                  <a:pt x="10924028" y="2710664"/>
                </a:lnTo>
                <a:lnTo>
                  <a:pt x="10910037" y="2736319"/>
                </a:lnTo>
                <a:lnTo>
                  <a:pt x="10895463" y="2762557"/>
                </a:lnTo>
                <a:lnTo>
                  <a:pt x="10849408" y="2836023"/>
                </a:lnTo>
                <a:lnTo>
                  <a:pt x="10822592" y="2876254"/>
                </a:lnTo>
                <a:lnTo>
                  <a:pt x="10792861" y="2917652"/>
                </a:lnTo>
                <a:lnTo>
                  <a:pt x="10759049" y="2960799"/>
                </a:lnTo>
                <a:lnTo>
                  <a:pt x="10721156" y="3006278"/>
                </a:lnTo>
                <a:lnTo>
                  <a:pt x="10679183" y="3054089"/>
                </a:lnTo>
                <a:lnTo>
                  <a:pt x="10631962" y="3103649"/>
                </a:lnTo>
                <a:lnTo>
                  <a:pt x="10615640" y="3120558"/>
                </a:lnTo>
                <a:lnTo>
                  <a:pt x="10597568" y="3136884"/>
                </a:lnTo>
                <a:lnTo>
                  <a:pt x="10563173" y="3168952"/>
                </a:lnTo>
                <a:lnTo>
                  <a:pt x="10527029" y="3197523"/>
                </a:lnTo>
                <a:lnTo>
                  <a:pt x="10489719" y="3224344"/>
                </a:lnTo>
                <a:lnTo>
                  <a:pt x="10452409" y="3249415"/>
                </a:lnTo>
                <a:lnTo>
                  <a:pt x="10414517" y="3272738"/>
                </a:lnTo>
                <a:lnTo>
                  <a:pt x="10374875" y="3293728"/>
                </a:lnTo>
                <a:lnTo>
                  <a:pt x="10335233" y="3313552"/>
                </a:lnTo>
                <a:lnTo>
                  <a:pt x="10295592" y="3330461"/>
                </a:lnTo>
                <a:lnTo>
                  <a:pt x="10254784" y="3346204"/>
                </a:lnTo>
                <a:lnTo>
                  <a:pt x="10213394" y="3360781"/>
                </a:lnTo>
                <a:lnTo>
                  <a:pt x="10172003" y="3373025"/>
                </a:lnTo>
                <a:lnTo>
                  <a:pt x="10129447" y="3384103"/>
                </a:lnTo>
                <a:lnTo>
                  <a:pt x="10086890" y="3393432"/>
                </a:lnTo>
                <a:lnTo>
                  <a:pt x="10044334" y="3402178"/>
                </a:lnTo>
                <a:lnTo>
                  <a:pt x="10001777" y="3409175"/>
                </a:lnTo>
                <a:lnTo>
                  <a:pt x="9942898" y="3416755"/>
                </a:lnTo>
                <a:lnTo>
                  <a:pt x="9884601" y="3422585"/>
                </a:lnTo>
                <a:lnTo>
                  <a:pt x="9825139" y="3425501"/>
                </a:lnTo>
                <a:lnTo>
                  <a:pt x="9766842" y="3427833"/>
                </a:lnTo>
                <a:lnTo>
                  <a:pt x="9708546" y="3428999"/>
                </a:lnTo>
                <a:lnTo>
                  <a:pt x="9651415" y="3428999"/>
                </a:lnTo>
                <a:lnTo>
                  <a:pt x="9539486" y="3427833"/>
                </a:lnTo>
                <a:lnTo>
                  <a:pt x="9053876" y="3427833"/>
                </a:lnTo>
                <a:lnTo>
                  <a:pt x="8568266" y="3427833"/>
                </a:lnTo>
                <a:lnTo>
                  <a:pt x="8082074" y="3427833"/>
                </a:lnTo>
                <a:lnTo>
                  <a:pt x="7596464" y="3427833"/>
                </a:lnTo>
                <a:lnTo>
                  <a:pt x="7110854" y="3427833"/>
                </a:lnTo>
                <a:lnTo>
                  <a:pt x="6625245" y="3427833"/>
                </a:lnTo>
                <a:lnTo>
                  <a:pt x="6456363" y="3427833"/>
                </a:lnTo>
                <a:lnTo>
                  <a:pt x="6456363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pic>
        <p:nvPicPr>
          <p:cNvPr id="8" name="Graphic 16">
            <a:extLst>
              <a:ext uri="{FF2B5EF4-FFF2-40B4-BE49-F238E27FC236}">
                <a16:creationId xmlns:a16="http://schemas.microsoft.com/office/drawing/2014/main" id="{F00E24E6-7F2A-4EF7-AB26-3183CE780A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11096582" y="5762582"/>
            <a:ext cx="817216" cy="1373620"/>
          </a:xfrm>
          <a:prstGeom prst="rect">
            <a:avLst/>
          </a:prstGeom>
        </p:spPr>
      </p:pic>
      <p:pic>
        <p:nvPicPr>
          <p:cNvPr id="9" name="Graphic 29">
            <a:extLst>
              <a:ext uri="{FF2B5EF4-FFF2-40B4-BE49-F238E27FC236}">
                <a16:creationId xmlns:a16="http://schemas.microsoft.com/office/drawing/2014/main" id="{373EA64A-B031-4168-9324-B3794675E54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76595" y="6307893"/>
            <a:ext cx="967656" cy="434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829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5F704C-10DE-4AED-A14D-ABB6130AE4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1BAF1D-3EDA-49AD-A421-3CB24B7FE5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6763" y="1916112"/>
            <a:ext cx="5185221" cy="43211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0AE588-E075-4CD5-8E19-82779BE61C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0016" y="1916112"/>
            <a:ext cx="5185222" cy="43211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B7A4CC-C829-497A-987A-FFF939D257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CFD274-627C-4647-8AA7-B44437219E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F40165-81FB-4C4D-A006-CC2B26D018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6659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20DEED-EAB8-426F-889C-7C6756447A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4" y="1916112"/>
            <a:ext cx="5185220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CC0235-AC07-4386-A461-A44FCC73A2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6764" y="2564904"/>
            <a:ext cx="5185220" cy="367238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DB2B8F-08C6-4B45-8AFD-B0B3D921FA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0016" y="1916112"/>
            <a:ext cx="5185222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53E308-0B00-4786-879A-D318C963DBD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40016" y="2564903"/>
            <a:ext cx="5185222" cy="367238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59620D-52FD-455E-9032-D1FBA76E6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74B0A51-BEB2-4F22-8EF3-352F4DD9AB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65C751-1946-4019-A5F4-49D9F2A29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2844659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2B7123-6566-4518-A016-A0E599497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7826B42-9DDE-452B-937C-403F41B2D7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F649C5-43C6-4C48-B3AD-424D059B0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1BCC26-6117-4173-9F8D-7B6692BAFC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4028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9EE002-4AE0-4805-839E-2D96EDC766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2478C2-335E-41C7-93F6-3024A826A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A4564-3A5C-4211-839E-79C6DF433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6361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Picture 5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20"/>
          </p:nvPr>
        </p:nvSpPr>
        <p:spPr>
          <a:xfrm>
            <a:off x="1" y="1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AE4CD2-FF2B-481A-BD1B-6461D82DC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4" y="836712"/>
            <a:ext cx="7993062" cy="2215991"/>
          </a:xfrm>
        </p:spPr>
        <p:txBody>
          <a:bodyPr anchor="t" anchorCtr="0">
            <a:spAutoFit/>
          </a:bodyPr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4FF0EC-24DB-4A3B-8AA6-004F9170BE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4" y="4221088"/>
            <a:ext cx="7993062" cy="86407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B46E24-653A-4FF9-9521-1C6FB86597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0D632E-720A-4E57-8F18-FB9A91500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479C78-A5F2-40DD-9834-030D8B177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767408" y="5589762"/>
            <a:ext cx="1832400" cy="432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571320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7A83393-13F8-4BDE-8493-A58A26E214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9325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7A83393-13F8-4BDE-8493-A58A26E214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E02855E-724C-448A-A785-F9D5151C39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20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6" name="Indicator">
            <a:extLst>
              <a:ext uri="{FF2B5EF4-FFF2-40B4-BE49-F238E27FC236}">
                <a16:creationId xmlns:a16="http://schemas.microsoft.com/office/drawing/2014/main" id="{895D8BAF-C903-7640-A4DD-89C178A0C2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463594"/>
            <a:ext cx="10658475" cy="42540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b="0" i="0" cap="all" spc="60" baseline="0">
                <a:solidFill>
                  <a:schemeClr val="tx1"/>
                </a:solidFill>
              </a:defRPr>
            </a:lvl1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indicator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818B430D-C850-D246-B5B3-4C584CF0E8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958740"/>
            <a:ext cx="10658475" cy="584775"/>
          </a:xfrm>
        </p:spPr>
        <p:txBody>
          <a:bodyPr>
            <a:spAutoFit/>
          </a:bodyPr>
          <a:lstStyle/>
          <a:p>
            <a:r>
              <a:rPr lang="en-GB" noProof="0"/>
              <a:t>Click here to add a headline </a:t>
            </a:r>
            <a:br>
              <a:rPr lang="en-GB" noProof="0"/>
            </a:br>
            <a:r>
              <a:rPr lang="en-GB" noProof="0"/>
              <a:t>of maximum two line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EF30730-2214-4B35-A1B8-4D7772F0413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i-FI" noProof="0"/>
              <a:t>27.10.2022</a:t>
            </a:r>
            <a:endParaRPr lang="en-GB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F25D044-63F9-403A-979A-497B3341E52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Janne Peljo</a:t>
            </a:r>
            <a:endParaRPr lang="en-GB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8118089-CBB1-4800-9F44-1D238608DF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B1617BE-BA58-4B59-88D5-A8C7B239E91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2" name="Source / Footnote Placeholder">
            <a:extLst>
              <a:ext uri="{FF2B5EF4-FFF2-40B4-BE49-F238E27FC236}">
                <a16:creationId xmlns:a16="http://schemas.microsoft.com/office/drawing/2014/main" id="{59368D16-CAA2-4C19-9EF1-47069BC1B9C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6763" y="6278992"/>
            <a:ext cx="8852438" cy="10233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>
                <a:solidFill>
                  <a:schemeClr val="tx2"/>
                </a:solidFill>
              </a:defRPr>
            </a:lvl1pPr>
            <a:lvl2pPr marL="180000" indent="0">
              <a:buNone/>
              <a:defRPr/>
            </a:lvl2pPr>
            <a:lvl3pPr marL="360000" indent="0">
              <a:buNone/>
              <a:defRPr/>
            </a:lvl3pPr>
            <a:lvl4pPr marL="540000" indent="0">
              <a:buNone/>
              <a:defRPr/>
            </a:lvl4pPr>
            <a:lvl5pPr marL="720000" indent="0">
              <a:buNone/>
              <a:defRPr/>
            </a:lvl5pPr>
          </a:lstStyle>
          <a:p>
            <a:pPr lvl="0"/>
            <a:r>
              <a:rPr lang="en-US"/>
              <a:t>Placeholder for sources and footnotes: footnotes are numbered (no *)  |  Single-line </a:t>
            </a:r>
          </a:p>
        </p:txBody>
      </p:sp>
      <p:grpSp>
        <p:nvGrpSpPr>
          <p:cNvPr id="17" name="Grupp 2">
            <a:extLst>
              <a:ext uri="{FF2B5EF4-FFF2-40B4-BE49-F238E27FC236}">
                <a16:creationId xmlns:a16="http://schemas.microsoft.com/office/drawing/2014/main" id="{F426BF6D-09F9-4BEA-A140-02484636A06F}"/>
              </a:ext>
            </a:extLst>
          </p:cNvPr>
          <p:cNvGrpSpPr/>
          <p:nvPr userDrawn="1"/>
        </p:nvGrpSpPr>
        <p:grpSpPr>
          <a:xfrm>
            <a:off x="10666502" y="6334963"/>
            <a:ext cx="1232056" cy="351426"/>
            <a:chOff x="10666502" y="6334963"/>
            <a:chExt cx="1232056" cy="351426"/>
          </a:xfrm>
        </p:grpSpPr>
        <p:grpSp>
          <p:nvGrpSpPr>
            <p:cNvPr id="18" name="Grupp 17">
              <a:extLst>
                <a:ext uri="{FF2B5EF4-FFF2-40B4-BE49-F238E27FC236}">
                  <a16:creationId xmlns:a16="http://schemas.microsoft.com/office/drawing/2014/main" id="{2BBE90CA-94F8-46E3-A094-B67195591733}"/>
                </a:ext>
              </a:extLst>
            </p:cNvPr>
            <p:cNvGrpSpPr/>
            <p:nvPr userDrawn="1"/>
          </p:nvGrpSpPr>
          <p:grpSpPr>
            <a:xfrm>
              <a:off x="10666502" y="6334963"/>
              <a:ext cx="1232056" cy="349818"/>
              <a:chOff x="2157473" y="2311143"/>
              <a:chExt cx="7872351" cy="2235200"/>
            </a:xfrm>
          </p:grpSpPr>
          <p:sp>
            <p:nvSpPr>
              <p:cNvPr id="28" name="Frihandsfigur 18">
                <a:extLst>
                  <a:ext uri="{FF2B5EF4-FFF2-40B4-BE49-F238E27FC236}">
                    <a16:creationId xmlns:a16="http://schemas.microsoft.com/office/drawing/2014/main" id="{182DF12C-C351-4030-A288-308638455699}"/>
                  </a:ext>
                </a:extLst>
              </p:cNvPr>
              <p:cNvSpPr/>
              <p:nvPr userDrawn="1"/>
            </p:nvSpPr>
            <p:spPr>
              <a:xfrm>
                <a:off x="6510021" y="2878457"/>
                <a:ext cx="857249" cy="1104897"/>
              </a:xfrm>
              <a:custGeom>
                <a:avLst/>
                <a:gdLst>
                  <a:gd name="connsiteX0" fmla="*/ 0 w 857250"/>
                  <a:gd name="connsiteY0" fmla="*/ 1106170 h 1104900"/>
                  <a:gd name="connsiteX1" fmla="*/ 0 w 857250"/>
                  <a:gd name="connsiteY1" fmla="*/ 0 h 1104900"/>
                  <a:gd name="connsiteX2" fmla="*/ 862330 w 857250"/>
                  <a:gd name="connsiteY2" fmla="*/ 0 h 1104900"/>
                  <a:gd name="connsiteX3" fmla="*/ 862330 w 857250"/>
                  <a:gd name="connsiteY3" fmla="*/ 128270 h 1104900"/>
                  <a:gd name="connsiteX4" fmla="*/ 161290 w 857250"/>
                  <a:gd name="connsiteY4" fmla="*/ 128270 h 1104900"/>
                  <a:gd name="connsiteX5" fmla="*/ 135890 w 857250"/>
                  <a:gd name="connsiteY5" fmla="*/ 153670 h 1104900"/>
                  <a:gd name="connsiteX6" fmla="*/ 135890 w 857250"/>
                  <a:gd name="connsiteY6" fmla="*/ 499110 h 1104900"/>
                  <a:gd name="connsiteX7" fmla="*/ 161290 w 857250"/>
                  <a:gd name="connsiteY7" fmla="*/ 524510 h 1104900"/>
                  <a:gd name="connsiteX8" fmla="*/ 728345 w 857250"/>
                  <a:gd name="connsiteY8" fmla="*/ 524510 h 1104900"/>
                  <a:gd name="connsiteX9" fmla="*/ 728345 w 857250"/>
                  <a:gd name="connsiteY9" fmla="*/ 643255 h 1104900"/>
                  <a:gd name="connsiteX10" fmla="*/ 161290 w 857250"/>
                  <a:gd name="connsiteY10" fmla="*/ 643255 h 1104900"/>
                  <a:gd name="connsiteX11" fmla="*/ 135890 w 857250"/>
                  <a:gd name="connsiteY11" fmla="*/ 668655 h 1104900"/>
                  <a:gd name="connsiteX12" fmla="*/ 135890 w 857250"/>
                  <a:gd name="connsiteY12" fmla="*/ 1106170 h 1104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57250" h="1104900">
                    <a:moveTo>
                      <a:pt x="0" y="1106170"/>
                    </a:moveTo>
                    <a:lnTo>
                      <a:pt x="0" y="0"/>
                    </a:lnTo>
                    <a:lnTo>
                      <a:pt x="862330" y="0"/>
                    </a:lnTo>
                    <a:lnTo>
                      <a:pt x="862330" y="128270"/>
                    </a:lnTo>
                    <a:lnTo>
                      <a:pt x="161290" y="128270"/>
                    </a:lnTo>
                    <a:lnTo>
                      <a:pt x="135890" y="153670"/>
                    </a:lnTo>
                    <a:lnTo>
                      <a:pt x="135890" y="499110"/>
                    </a:lnTo>
                    <a:lnTo>
                      <a:pt x="161290" y="524510"/>
                    </a:lnTo>
                    <a:lnTo>
                      <a:pt x="728345" y="524510"/>
                    </a:lnTo>
                    <a:lnTo>
                      <a:pt x="728345" y="643255"/>
                    </a:lnTo>
                    <a:lnTo>
                      <a:pt x="161290" y="643255"/>
                    </a:lnTo>
                    <a:lnTo>
                      <a:pt x="135890" y="668655"/>
                    </a:lnTo>
                    <a:lnTo>
                      <a:pt x="135890" y="1106170"/>
                    </a:lnTo>
                    <a:close/>
                  </a:path>
                </a:pathLst>
              </a:custGeom>
              <a:solidFill>
                <a:srgbClr val="000100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9" name="Frihandsfigur 19">
                <a:extLst>
                  <a:ext uri="{FF2B5EF4-FFF2-40B4-BE49-F238E27FC236}">
                    <a16:creationId xmlns:a16="http://schemas.microsoft.com/office/drawing/2014/main" id="{A08DC69F-C106-48DB-B296-23848D51C243}"/>
                  </a:ext>
                </a:extLst>
              </p:cNvPr>
              <p:cNvSpPr/>
              <p:nvPr userDrawn="1"/>
            </p:nvSpPr>
            <p:spPr>
              <a:xfrm>
                <a:off x="5033645" y="2878457"/>
                <a:ext cx="1149349" cy="1104897"/>
              </a:xfrm>
              <a:custGeom>
                <a:avLst/>
                <a:gdLst>
                  <a:gd name="connsiteX0" fmla="*/ 1001395 w 1149350"/>
                  <a:gd name="connsiteY0" fmla="*/ 1106170 h 1104900"/>
                  <a:gd name="connsiteX1" fmla="*/ 854710 w 1149350"/>
                  <a:gd name="connsiteY1" fmla="*/ 774065 h 1104900"/>
                  <a:gd name="connsiteX2" fmla="*/ 417830 w 1149350"/>
                  <a:gd name="connsiteY2" fmla="*/ 774065 h 1104900"/>
                  <a:gd name="connsiteX3" fmla="*/ 470535 w 1149350"/>
                  <a:gd name="connsiteY3" fmla="*/ 655320 h 1104900"/>
                  <a:gd name="connsiteX4" fmla="*/ 802640 w 1149350"/>
                  <a:gd name="connsiteY4" fmla="*/ 655320 h 1104900"/>
                  <a:gd name="connsiteX5" fmla="*/ 588645 w 1149350"/>
                  <a:gd name="connsiteY5" fmla="*/ 182880 h 1104900"/>
                  <a:gd name="connsiteX6" fmla="*/ 551180 w 1149350"/>
                  <a:gd name="connsiteY6" fmla="*/ 182880 h 1104900"/>
                  <a:gd name="connsiteX7" fmla="*/ 139700 w 1149350"/>
                  <a:gd name="connsiteY7" fmla="*/ 1106170 h 1104900"/>
                  <a:gd name="connsiteX8" fmla="*/ 0 w 1149350"/>
                  <a:gd name="connsiteY8" fmla="*/ 1106170 h 1104900"/>
                  <a:gd name="connsiteX9" fmla="*/ 509270 w 1149350"/>
                  <a:gd name="connsiteY9" fmla="*/ 0 h 1104900"/>
                  <a:gd name="connsiteX10" fmla="*/ 640715 w 1149350"/>
                  <a:gd name="connsiteY10" fmla="*/ 0 h 1104900"/>
                  <a:gd name="connsiteX11" fmla="*/ 1149350 w 1149350"/>
                  <a:gd name="connsiteY11" fmla="*/ 1106170 h 1104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49350" h="1104900">
                    <a:moveTo>
                      <a:pt x="1001395" y="1106170"/>
                    </a:moveTo>
                    <a:lnTo>
                      <a:pt x="854710" y="774065"/>
                    </a:lnTo>
                    <a:lnTo>
                      <a:pt x="417830" y="774065"/>
                    </a:lnTo>
                    <a:lnTo>
                      <a:pt x="470535" y="655320"/>
                    </a:lnTo>
                    <a:lnTo>
                      <a:pt x="802640" y="655320"/>
                    </a:lnTo>
                    <a:lnTo>
                      <a:pt x="588645" y="182880"/>
                    </a:lnTo>
                    <a:lnTo>
                      <a:pt x="551180" y="182880"/>
                    </a:lnTo>
                    <a:lnTo>
                      <a:pt x="139700" y="1106170"/>
                    </a:lnTo>
                    <a:lnTo>
                      <a:pt x="0" y="1106170"/>
                    </a:lnTo>
                    <a:lnTo>
                      <a:pt x="509270" y="0"/>
                    </a:lnTo>
                    <a:lnTo>
                      <a:pt x="640715" y="0"/>
                    </a:lnTo>
                    <a:lnTo>
                      <a:pt x="1149350" y="1106170"/>
                    </a:lnTo>
                    <a:close/>
                  </a:path>
                </a:pathLst>
              </a:custGeom>
              <a:solidFill>
                <a:srgbClr val="000100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0" name="Frihandsfigur 20">
                <a:extLst>
                  <a:ext uri="{FF2B5EF4-FFF2-40B4-BE49-F238E27FC236}">
                    <a16:creationId xmlns:a16="http://schemas.microsoft.com/office/drawing/2014/main" id="{4B58B889-4BDD-4BA0-BDF0-C6601131E62A}"/>
                  </a:ext>
                </a:extLst>
              </p:cNvPr>
              <p:cNvSpPr/>
              <p:nvPr userDrawn="1"/>
            </p:nvSpPr>
            <p:spPr>
              <a:xfrm>
                <a:off x="7737477" y="2878457"/>
                <a:ext cx="1028701" cy="1104897"/>
              </a:xfrm>
              <a:custGeom>
                <a:avLst/>
                <a:gdLst>
                  <a:gd name="connsiteX0" fmla="*/ 875665 w 1028700"/>
                  <a:gd name="connsiteY0" fmla="*/ 1106170 h 1104900"/>
                  <a:gd name="connsiteX1" fmla="*/ 559435 w 1028700"/>
                  <a:gd name="connsiteY1" fmla="*/ 643890 h 1104900"/>
                  <a:gd name="connsiteX2" fmla="*/ 254000 w 1028700"/>
                  <a:gd name="connsiteY2" fmla="*/ 643890 h 1104900"/>
                  <a:gd name="connsiteX3" fmla="*/ 254000 w 1028700"/>
                  <a:gd name="connsiteY3" fmla="*/ 525145 h 1104900"/>
                  <a:gd name="connsiteX4" fmla="*/ 640715 w 1028700"/>
                  <a:gd name="connsiteY4" fmla="*/ 525145 h 1104900"/>
                  <a:gd name="connsiteX5" fmla="*/ 858520 w 1028700"/>
                  <a:gd name="connsiteY5" fmla="*/ 321310 h 1104900"/>
                  <a:gd name="connsiteX6" fmla="*/ 804545 w 1028700"/>
                  <a:gd name="connsiteY6" fmla="*/ 188595 h 1104900"/>
                  <a:gd name="connsiteX7" fmla="*/ 603885 w 1028700"/>
                  <a:gd name="connsiteY7" fmla="*/ 118745 h 1104900"/>
                  <a:gd name="connsiteX8" fmla="*/ 161290 w 1028700"/>
                  <a:gd name="connsiteY8" fmla="*/ 118745 h 1104900"/>
                  <a:gd name="connsiteX9" fmla="*/ 135890 w 1028700"/>
                  <a:gd name="connsiteY9" fmla="*/ 144145 h 1104900"/>
                  <a:gd name="connsiteX10" fmla="*/ 135890 w 1028700"/>
                  <a:gd name="connsiteY10" fmla="*/ 1106170 h 1104900"/>
                  <a:gd name="connsiteX11" fmla="*/ 0 w 1028700"/>
                  <a:gd name="connsiteY11" fmla="*/ 1106170 h 1104900"/>
                  <a:gd name="connsiteX12" fmla="*/ 0 w 1028700"/>
                  <a:gd name="connsiteY12" fmla="*/ 0 h 1104900"/>
                  <a:gd name="connsiteX13" fmla="*/ 603885 w 1028700"/>
                  <a:gd name="connsiteY13" fmla="*/ 0 h 1104900"/>
                  <a:gd name="connsiteX14" fmla="*/ 909955 w 1028700"/>
                  <a:gd name="connsiteY14" fmla="*/ 109855 h 1104900"/>
                  <a:gd name="connsiteX15" fmla="*/ 993140 w 1028700"/>
                  <a:gd name="connsiteY15" fmla="*/ 322580 h 1104900"/>
                  <a:gd name="connsiteX16" fmla="*/ 739775 w 1028700"/>
                  <a:gd name="connsiteY16" fmla="*/ 625475 h 1104900"/>
                  <a:gd name="connsiteX17" fmla="*/ 710565 w 1028700"/>
                  <a:gd name="connsiteY17" fmla="*/ 632460 h 1104900"/>
                  <a:gd name="connsiteX18" fmla="*/ 701675 w 1028700"/>
                  <a:gd name="connsiteY18" fmla="*/ 634365 h 1104900"/>
                  <a:gd name="connsiteX19" fmla="*/ 1030605 w 1028700"/>
                  <a:gd name="connsiteY19" fmla="*/ 1106170 h 1104900"/>
                  <a:gd name="connsiteX20" fmla="*/ 875665 w 1028700"/>
                  <a:gd name="connsiteY20" fmla="*/ 1106170 h 1104900"/>
                  <a:gd name="connsiteX21" fmla="*/ 875665 w 1028700"/>
                  <a:gd name="connsiteY21" fmla="*/ 1106170 h 1104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028700" h="1104900">
                    <a:moveTo>
                      <a:pt x="875665" y="1106170"/>
                    </a:moveTo>
                    <a:lnTo>
                      <a:pt x="559435" y="643890"/>
                    </a:lnTo>
                    <a:lnTo>
                      <a:pt x="254000" y="643890"/>
                    </a:lnTo>
                    <a:lnTo>
                      <a:pt x="254000" y="525145"/>
                    </a:lnTo>
                    <a:lnTo>
                      <a:pt x="640715" y="525145"/>
                    </a:lnTo>
                    <a:cubicBezTo>
                      <a:pt x="762635" y="525145"/>
                      <a:pt x="858520" y="435610"/>
                      <a:pt x="858520" y="321310"/>
                    </a:cubicBezTo>
                    <a:cubicBezTo>
                      <a:pt x="858520" y="272415"/>
                      <a:pt x="839470" y="225425"/>
                      <a:pt x="804545" y="188595"/>
                    </a:cubicBezTo>
                    <a:cubicBezTo>
                      <a:pt x="742950" y="127000"/>
                      <a:pt x="668655" y="118745"/>
                      <a:pt x="603885" y="118745"/>
                    </a:cubicBezTo>
                    <a:lnTo>
                      <a:pt x="161290" y="118745"/>
                    </a:lnTo>
                    <a:lnTo>
                      <a:pt x="135890" y="144145"/>
                    </a:lnTo>
                    <a:lnTo>
                      <a:pt x="135890" y="1106170"/>
                    </a:lnTo>
                    <a:lnTo>
                      <a:pt x="0" y="1106170"/>
                    </a:lnTo>
                    <a:lnTo>
                      <a:pt x="0" y="0"/>
                    </a:lnTo>
                    <a:lnTo>
                      <a:pt x="603885" y="0"/>
                    </a:lnTo>
                    <a:cubicBezTo>
                      <a:pt x="739140" y="0"/>
                      <a:pt x="839470" y="36195"/>
                      <a:pt x="909955" y="109855"/>
                    </a:cubicBezTo>
                    <a:cubicBezTo>
                      <a:pt x="964565" y="167640"/>
                      <a:pt x="993140" y="241300"/>
                      <a:pt x="993140" y="322580"/>
                    </a:cubicBezTo>
                    <a:cubicBezTo>
                      <a:pt x="993140" y="466725"/>
                      <a:pt x="895985" y="582930"/>
                      <a:pt x="739775" y="625475"/>
                    </a:cubicBezTo>
                    <a:cubicBezTo>
                      <a:pt x="735965" y="626745"/>
                      <a:pt x="726440" y="629285"/>
                      <a:pt x="710565" y="632460"/>
                    </a:cubicBezTo>
                    <a:lnTo>
                      <a:pt x="701675" y="634365"/>
                    </a:lnTo>
                    <a:lnTo>
                      <a:pt x="1030605" y="1106170"/>
                    </a:lnTo>
                    <a:lnTo>
                      <a:pt x="875665" y="1106170"/>
                    </a:lnTo>
                    <a:lnTo>
                      <a:pt x="875665" y="1106170"/>
                    </a:lnTo>
                    <a:close/>
                  </a:path>
                </a:pathLst>
              </a:custGeom>
              <a:solidFill>
                <a:srgbClr val="000100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1" name="Frihandsfigur 21">
                <a:extLst>
                  <a:ext uri="{FF2B5EF4-FFF2-40B4-BE49-F238E27FC236}">
                    <a16:creationId xmlns:a16="http://schemas.microsoft.com/office/drawing/2014/main" id="{5385194C-EBFD-40A5-BF6E-778405674743}"/>
                  </a:ext>
                </a:extLst>
              </p:cNvPr>
              <p:cNvSpPr/>
              <p:nvPr userDrawn="1"/>
            </p:nvSpPr>
            <p:spPr>
              <a:xfrm>
                <a:off x="8982076" y="2878457"/>
                <a:ext cx="1047748" cy="1104897"/>
              </a:xfrm>
              <a:custGeom>
                <a:avLst/>
                <a:gdLst>
                  <a:gd name="connsiteX0" fmla="*/ 459105 w 1047750"/>
                  <a:gd name="connsiteY0" fmla="*/ 1106170 h 1104900"/>
                  <a:gd name="connsiteX1" fmla="*/ 459105 w 1047750"/>
                  <a:gd name="connsiteY1" fmla="*/ 654050 h 1104900"/>
                  <a:gd name="connsiteX2" fmla="*/ 0 w 1047750"/>
                  <a:gd name="connsiteY2" fmla="*/ 0 h 1104900"/>
                  <a:gd name="connsiteX3" fmla="*/ 155575 w 1047750"/>
                  <a:gd name="connsiteY3" fmla="*/ 0 h 1104900"/>
                  <a:gd name="connsiteX4" fmla="*/ 511810 w 1047750"/>
                  <a:gd name="connsiteY4" fmla="*/ 512445 h 1104900"/>
                  <a:gd name="connsiteX5" fmla="*/ 542925 w 1047750"/>
                  <a:gd name="connsiteY5" fmla="*/ 512445 h 1104900"/>
                  <a:gd name="connsiteX6" fmla="*/ 897890 w 1047750"/>
                  <a:gd name="connsiteY6" fmla="*/ 0 h 1104900"/>
                  <a:gd name="connsiteX7" fmla="*/ 1053465 w 1047750"/>
                  <a:gd name="connsiteY7" fmla="*/ 0 h 1104900"/>
                  <a:gd name="connsiteX8" fmla="*/ 594360 w 1047750"/>
                  <a:gd name="connsiteY8" fmla="*/ 654050 h 1104900"/>
                  <a:gd name="connsiteX9" fmla="*/ 594360 w 1047750"/>
                  <a:gd name="connsiteY9" fmla="*/ 1106170 h 1104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47750" h="1104900">
                    <a:moveTo>
                      <a:pt x="459105" y="1106170"/>
                    </a:moveTo>
                    <a:lnTo>
                      <a:pt x="459105" y="654050"/>
                    </a:lnTo>
                    <a:lnTo>
                      <a:pt x="0" y="0"/>
                    </a:lnTo>
                    <a:lnTo>
                      <a:pt x="155575" y="0"/>
                    </a:lnTo>
                    <a:lnTo>
                      <a:pt x="511810" y="512445"/>
                    </a:lnTo>
                    <a:lnTo>
                      <a:pt x="542925" y="512445"/>
                    </a:lnTo>
                    <a:lnTo>
                      <a:pt x="897890" y="0"/>
                    </a:lnTo>
                    <a:lnTo>
                      <a:pt x="1053465" y="0"/>
                    </a:lnTo>
                    <a:lnTo>
                      <a:pt x="594360" y="654050"/>
                    </a:lnTo>
                    <a:lnTo>
                      <a:pt x="594360" y="1106170"/>
                    </a:lnTo>
                    <a:close/>
                  </a:path>
                </a:pathLst>
              </a:custGeom>
              <a:solidFill>
                <a:srgbClr val="000100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2" name="Frihandsfigur 22">
                <a:extLst>
                  <a:ext uri="{FF2B5EF4-FFF2-40B4-BE49-F238E27FC236}">
                    <a16:creationId xmlns:a16="http://schemas.microsoft.com/office/drawing/2014/main" id="{E26670D9-A16E-4512-80C2-2496B3841C1E}"/>
                  </a:ext>
                </a:extLst>
              </p:cNvPr>
              <p:cNvSpPr/>
              <p:nvPr userDrawn="1"/>
            </p:nvSpPr>
            <p:spPr>
              <a:xfrm>
                <a:off x="2157473" y="2311143"/>
                <a:ext cx="2235199" cy="2235200"/>
              </a:xfrm>
              <a:custGeom>
                <a:avLst/>
                <a:gdLst>
                  <a:gd name="connsiteX0" fmla="*/ 1970027 w 2235200"/>
                  <a:gd name="connsiteY0" fmla="*/ 393957 h 2235200"/>
                  <a:gd name="connsiteX1" fmla="*/ 393957 w 2235200"/>
                  <a:gd name="connsiteY1" fmla="*/ 266322 h 2235200"/>
                  <a:gd name="connsiteX2" fmla="*/ 266322 w 2235200"/>
                  <a:gd name="connsiteY2" fmla="*/ 1842392 h 2235200"/>
                  <a:gd name="connsiteX3" fmla="*/ 1842393 w 2235200"/>
                  <a:gd name="connsiteY3" fmla="*/ 1970028 h 2235200"/>
                  <a:gd name="connsiteX4" fmla="*/ 1970027 w 2235200"/>
                  <a:gd name="connsiteY4" fmla="*/ 393957 h 2235200"/>
                  <a:gd name="connsiteX5" fmla="*/ 464442 w 2235200"/>
                  <a:gd name="connsiteY5" fmla="*/ 349507 h 2235200"/>
                  <a:gd name="connsiteX6" fmla="*/ 1777622 w 2235200"/>
                  <a:gd name="connsiteY6" fmla="*/ 354587 h 2235200"/>
                  <a:gd name="connsiteX7" fmla="*/ 160277 w 2235200"/>
                  <a:gd name="connsiteY7" fmla="*/ 802262 h 2235200"/>
                  <a:gd name="connsiteX8" fmla="*/ 464442 w 2235200"/>
                  <a:gd name="connsiteY8" fmla="*/ 349507 h 2235200"/>
                  <a:gd name="connsiteX9" fmla="*/ 349507 w 2235200"/>
                  <a:gd name="connsiteY9" fmla="*/ 1771907 h 2235200"/>
                  <a:gd name="connsiteX10" fmla="*/ 116462 w 2235200"/>
                  <a:gd name="connsiteY10" fmla="*/ 1001652 h 2235200"/>
                  <a:gd name="connsiteX11" fmla="*/ 660657 w 2235200"/>
                  <a:gd name="connsiteY11" fmla="*/ 1279782 h 2235200"/>
                  <a:gd name="connsiteX12" fmla="*/ 748922 w 2235200"/>
                  <a:gd name="connsiteY12" fmla="*/ 1204853 h 2235200"/>
                  <a:gd name="connsiteX13" fmla="*/ 197107 w 2235200"/>
                  <a:gd name="connsiteY13" fmla="*/ 922912 h 2235200"/>
                  <a:gd name="connsiteX14" fmla="*/ 199647 w 2235200"/>
                  <a:gd name="connsiteY14" fmla="*/ 904497 h 2235200"/>
                  <a:gd name="connsiteX15" fmla="*/ 1767462 w 2235200"/>
                  <a:gd name="connsiteY15" fmla="*/ 470157 h 2235200"/>
                  <a:gd name="connsiteX16" fmla="*/ 1779527 w 2235200"/>
                  <a:gd name="connsiteY16" fmla="*/ 484762 h 2235200"/>
                  <a:gd name="connsiteX17" fmla="*/ 775592 w 2235200"/>
                  <a:gd name="connsiteY17" fmla="*/ 1338203 h 2235200"/>
                  <a:gd name="connsiteX18" fmla="*/ 1072137 w 2235200"/>
                  <a:gd name="connsiteY18" fmla="*/ 2125603 h 2235200"/>
                  <a:gd name="connsiteX19" fmla="*/ 349507 w 2235200"/>
                  <a:gd name="connsiteY19" fmla="*/ 1771907 h 2235200"/>
                  <a:gd name="connsiteX20" fmla="*/ 1162943 w 2235200"/>
                  <a:gd name="connsiteY20" fmla="*/ 2058928 h 2235200"/>
                  <a:gd name="connsiteX21" fmla="*/ 903862 w 2235200"/>
                  <a:gd name="connsiteY21" fmla="*/ 1371857 h 2235200"/>
                  <a:gd name="connsiteX22" fmla="*/ 1850012 w 2235200"/>
                  <a:gd name="connsiteY22" fmla="*/ 567947 h 2235200"/>
                  <a:gd name="connsiteX23" fmla="*/ 1862077 w 2235200"/>
                  <a:gd name="connsiteY23" fmla="*/ 582552 h 2235200"/>
                  <a:gd name="connsiteX24" fmla="*/ 1181357 w 2235200"/>
                  <a:gd name="connsiteY24" fmla="*/ 2059562 h 2235200"/>
                  <a:gd name="connsiteX25" fmla="*/ 1162943 w 2235200"/>
                  <a:gd name="connsiteY25" fmla="*/ 2058928 h 2235200"/>
                  <a:gd name="connsiteX26" fmla="*/ 1771907 w 2235200"/>
                  <a:gd name="connsiteY26" fmla="*/ 1886842 h 2235200"/>
                  <a:gd name="connsiteX27" fmla="*/ 1275972 w 2235200"/>
                  <a:gd name="connsiteY27" fmla="*/ 2114173 h 2235200"/>
                  <a:gd name="connsiteX28" fmla="*/ 1978282 w 2235200"/>
                  <a:gd name="connsiteY28" fmla="*/ 590172 h 2235200"/>
                  <a:gd name="connsiteX29" fmla="*/ 1771907 w 2235200"/>
                  <a:gd name="connsiteY29" fmla="*/ 1886842 h 2235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235200" h="2235200">
                    <a:moveTo>
                      <a:pt x="1970027" y="393957"/>
                    </a:moveTo>
                    <a:cubicBezTo>
                      <a:pt x="1569977" y="-76578"/>
                      <a:pt x="864492" y="-133728"/>
                      <a:pt x="393957" y="266322"/>
                    </a:cubicBezTo>
                    <a:cubicBezTo>
                      <a:pt x="-76578" y="666372"/>
                      <a:pt x="-133728" y="1371857"/>
                      <a:pt x="266322" y="1842392"/>
                    </a:cubicBezTo>
                    <a:cubicBezTo>
                      <a:pt x="666372" y="2312928"/>
                      <a:pt x="1371857" y="2370078"/>
                      <a:pt x="1842393" y="1970028"/>
                    </a:cubicBezTo>
                    <a:cubicBezTo>
                      <a:pt x="2312927" y="1569978"/>
                      <a:pt x="2370077" y="864492"/>
                      <a:pt x="1970027" y="393957"/>
                    </a:cubicBezTo>
                    <a:close/>
                    <a:moveTo>
                      <a:pt x="464442" y="349507"/>
                    </a:moveTo>
                    <a:cubicBezTo>
                      <a:pt x="847982" y="23117"/>
                      <a:pt x="1407418" y="34547"/>
                      <a:pt x="1777622" y="354587"/>
                    </a:cubicBezTo>
                    <a:lnTo>
                      <a:pt x="160277" y="802262"/>
                    </a:lnTo>
                    <a:cubicBezTo>
                      <a:pt x="216157" y="631447"/>
                      <a:pt x="318392" y="473967"/>
                      <a:pt x="464442" y="349507"/>
                    </a:cubicBezTo>
                    <a:close/>
                    <a:moveTo>
                      <a:pt x="349507" y="1771907"/>
                    </a:moveTo>
                    <a:cubicBezTo>
                      <a:pt x="160912" y="1550292"/>
                      <a:pt x="85347" y="1270257"/>
                      <a:pt x="116462" y="1001652"/>
                    </a:cubicBezTo>
                    <a:lnTo>
                      <a:pt x="660657" y="1279782"/>
                    </a:lnTo>
                    <a:lnTo>
                      <a:pt x="748922" y="1204853"/>
                    </a:lnTo>
                    <a:lnTo>
                      <a:pt x="197107" y="922912"/>
                    </a:lnTo>
                    <a:cubicBezTo>
                      <a:pt x="198377" y="914022"/>
                      <a:pt x="198377" y="913387"/>
                      <a:pt x="199647" y="904497"/>
                    </a:cubicBezTo>
                    <a:lnTo>
                      <a:pt x="1767462" y="470157"/>
                    </a:lnTo>
                    <a:lnTo>
                      <a:pt x="1779527" y="484762"/>
                    </a:lnTo>
                    <a:lnTo>
                      <a:pt x="775592" y="1338203"/>
                    </a:lnTo>
                    <a:lnTo>
                      <a:pt x="1072137" y="2125603"/>
                    </a:lnTo>
                    <a:cubicBezTo>
                      <a:pt x="802262" y="2113537"/>
                      <a:pt x="537467" y="1993523"/>
                      <a:pt x="349507" y="1771907"/>
                    </a:cubicBezTo>
                    <a:close/>
                    <a:moveTo>
                      <a:pt x="1162943" y="2058928"/>
                    </a:moveTo>
                    <a:lnTo>
                      <a:pt x="903862" y="1371857"/>
                    </a:lnTo>
                    <a:lnTo>
                      <a:pt x="1850012" y="567947"/>
                    </a:lnTo>
                    <a:lnTo>
                      <a:pt x="1862077" y="582552"/>
                    </a:lnTo>
                    <a:lnTo>
                      <a:pt x="1181357" y="2059562"/>
                    </a:lnTo>
                    <a:cubicBezTo>
                      <a:pt x="1172468" y="2058928"/>
                      <a:pt x="1171832" y="2058928"/>
                      <a:pt x="1162943" y="2058928"/>
                    </a:cubicBezTo>
                    <a:close/>
                    <a:moveTo>
                      <a:pt x="1771907" y="1886842"/>
                    </a:moveTo>
                    <a:cubicBezTo>
                      <a:pt x="1625222" y="2011303"/>
                      <a:pt x="1453137" y="2086867"/>
                      <a:pt x="1275972" y="2114173"/>
                    </a:cubicBezTo>
                    <a:lnTo>
                      <a:pt x="1978282" y="590172"/>
                    </a:lnTo>
                    <a:cubicBezTo>
                      <a:pt x="2234187" y="1006732"/>
                      <a:pt x="2155447" y="1561087"/>
                      <a:pt x="1771907" y="1886842"/>
                    </a:cubicBezTo>
                    <a:close/>
                  </a:path>
                </a:pathLst>
              </a:custGeom>
              <a:solidFill>
                <a:srgbClr val="000100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19" name="Frihandsfigur 23">
              <a:extLst>
                <a:ext uri="{FF2B5EF4-FFF2-40B4-BE49-F238E27FC236}">
                  <a16:creationId xmlns:a16="http://schemas.microsoft.com/office/drawing/2014/main" id="{FDEB66F3-8725-4D56-8436-94FFE28843EC}"/>
                </a:ext>
              </a:extLst>
            </p:cNvPr>
            <p:cNvSpPr/>
            <p:nvPr userDrawn="1"/>
          </p:nvSpPr>
          <p:spPr>
            <a:xfrm>
              <a:off x="11348099" y="6652245"/>
              <a:ext cx="34543" cy="33310"/>
            </a:xfrm>
            <a:custGeom>
              <a:avLst/>
              <a:gdLst>
                <a:gd name="connsiteX0" fmla="*/ 25174 w 34543"/>
                <a:gd name="connsiteY0" fmla="*/ 25955 h 33310"/>
                <a:gd name="connsiteX1" fmla="*/ 9369 w 34543"/>
                <a:gd name="connsiteY1" fmla="*/ 25955 h 33310"/>
                <a:gd name="connsiteX2" fmla="*/ 6286 w 34543"/>
                <a:gd name="connsiteY2" fmla="*/ 33311 h 33310"/>
                <a:gd name="connsiteX3" fmla="*/ 0 w 34543"/>
                <a:gd name="connsiteY3" fmla="*/ 33311 h 33310"/>
                <a:gd name="connsiteX4" fmla="*/ 14540 w 34543"/>
                <a:gd name="connsiteY4" fmla="*/ 0 h 33310"/>
                <a:gd name="connsiteX5" fmla="*/ 20053 w 34543"/>
                <a:gd name="connsiteY5" fmla="*/ 0 h 33310"/>
                <a:gd name="connsiteX6" fmla="*/ 34543 w 34543"/>
                <a:gd name="connsiteY6" fmla="*/ 33311 h 33310"/>
                <a:gd name="connsiteX7" fmla="*/ 28297 w 34543"/>
                <a:gd name="connsiteY7" fmla="*/ 33311 h 33310"/>
                <a:gd name="connsiteX8" fmla="*/ 22925 w 34543"/>
                <a:gd name="connsiteY8" fmla="*/ 20544 h 33310"/>
                <a:gd name="connsiteX9" fmla="*/ 17272 w 34543"/>
                <a:gd name="connsiteY9" fmla="*/ 7155 h 33310"/>
                <a:gd name="connsiteX10" fmla="*/ 11658 w 34543"/>
                <a:gd name="connsiteY10" fmla="*/ 20544 h 33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543" h="33310">
                  <a:moveTo>
                    <a:pt x="25174" y="25955"/>
                  </a:moveTo>
                  <a:lnTo>
                    <a:pt x="9369" y="25955"/>
                  </a:lnTo>
                  <a:lnTo>
                    <a:pt x="6286" y="33311"/>
                  </a:lnTo>
                  <a:lnTo>
                    <a:pt x="0" y="33311"/>
                  </a:lnTo>
                  <a:lnTo>
                    <a:pt x="14540" y="0"/>
                  </a:lnTo>
                  <a:lnTo>
                    <a:pt x="20053" y="0"/>
                  </a:lnTo>
                  <a:lnTo>
                    <a:pt x="34543" y="33311"/>
                  </a:lnTo>
                  <a:lnTo>
                    <a:pt x="28297" y="33311"/>
                  </a:lnTo>
                  <a:close/>
                  <a:moveTo>
                    <a:pt x="22925" y="20544"/>
                  </a:moveTo>
                  <a:lnTo>
                    <a:pt x="17272" y="7155"/>
                  </a:lnTo>
                  <a:lnTo>
                    <a:pt x="11658" y="20544"/>
                  </a:lnTo>
                  <a:close/>
                </a:path>
              </a:pathLst>
            </a:custGeom>
            <a:solidFill>
              <a:schemeClr val="tx1"/>
            </a:solidFill>
            <a:ln w="9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0" name="Frihandsfigur 24">
              <a:extLst>
                <a:ext uri="{FF2B5EF4-FFF2-40B4-BE49-F238E27FC236}">
                  <a16:creationId xmlns:a16="http://schemas.microsoft.com/office/drawing/2014/main" id="{CE8581E4-ED6F-47AF-9C29-10075291A1DA}"/>
                </a:ext>
              </a:extLst>
            </p:cNvPr>
            <p:cNvSpPr/>
            <p:nvPr userDrawn="1"/>
          </p:nvSpPr>
          <p:spPr>
            <a:xfrm>
              <a:off x="11399573" y="6652516"/>
              <a:ext cx="23718" cy="33070"/>
            </a:xfrm>
            <a:custGeom>
              <a:avLst/>
              <a:gdLst>
                <a:gd name="connsiteX0" fmla="*/ 5854 w 23718"/>
                <a:gd name="connsiteY0" fmla="*/ 5361 h 33070"/>
                <a:gd name="connsiteX1" fmla="*/ 5854 w 23718"/>
                <a:gd name="connsiteY1" fmla="*/ 14902 h 33070"/>
                <a:gd name="connsiteX2" fmla="*/ 21570 w 23718"/>
                <a:gd name="connsiteY2" fmla="*/ 14902 h 33070"/>
                <a:gd name="connsiteX3" fmla="*/ 21570 w 23718"/>
                <a:gd name="connsiteY3" fmla="*/ 20303 h 33070"/>
                <a:gd name="connsiteX4" fmla="*/ 5854 w 23718"/>
                <a:gd name="connsiteY4" fmla="*/ 20303 h 33070"/>
                <a:gd name="connsiteX5" fmla="*/ 5854 w 23718"/>
                <a:gd name="connsiteY5" fmla="*/ 33070 h 33070"/>
                <a:gd name="connsiteX6" fmla="*/ 0 w 23718"/>
                <a:gd name="connsiteY6" fmla="*/ 33070 h 33070"/>
                <a:gd name="connsiteX7" fmla="*/ 0 w 23718"/>
                <a:gd name="connsiteY7" fmla="*/ 0 h 33070"/>
                <a:gd name="connsiteX8" fmla="*/ 23718 w 23718"/>
                <a:gd name="connsiteY8" fmla="*/ 0 h 33070"/>
                <a:gd name="connsiteX9" fmla="*/ 23718 w 23718"/>
                <a:gd name="connsiteY9" fmla="*/ 5361 h 3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718" h="33070">
                  <a:moveTo>
                    <a:pt x="5854" y="5361"/>
                  </a:moveTo>
                  <a:lnTo>
                    <a:pt x="5854" y="14902"/>
                  </a:lnTo>
                  <a:lnTo>
                    <a:pt x="21570" y="14902"/>
                  </a:lnTo>
                  <a:lnTo>
                    <a:pt x="21570" y="20303"/>
                  </a:lnTo>
                  <a:lnTo>
                    <a:pt x="5854" y="20303"/>
                  </a:lnTo>
                  <a:lnTo>
                    <a:pt x="5854" y="33070"/>
                  </a:lnTo>
                  <a:lnTo>
                    <a:pt x="0" y="33070"/>
                  </a:lnTo>
                  <a:lnTo>
                    <a:pt x="0" y="0"/>
                  </a:lnTo>
                  <a:lnTo>
                    <a:pt x="23718" y="0"/>
                  </a:lnTo>
                  <a:lnTo>
                    <a:pt x="23718" y="5361"/>
                  </a:lnTo>
                  <a:close/>
                </a:path>
              </a:pathLst>
            </a:custGeom>
            <a:solidFill>
              <a:schemeClr val="tx1"/>
            </a:solidFill>
            <a:ln w="9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1" name="Frihandsfigur 25">
              <a:extLst>
                <a:ext uri="{FF2B5EF4-FFF2-40B4-BE49-F238E27FC236}">
                  <a16:creationId xmlns:a16="http://schemas.microsoft.com/office/drawing/2014/main" id="{F065B55B-2A28-4FFE-A098-605133A3E6D9}"/>
                </a:ext>
              </a:extLst>
            </p:cNvPr>
            <p:cNvSpPr/>
            <p:nvPr userDrawn="1"/>
          </p:nvSpPr>
          <p:spPr>
            <a:xfrm>
              <a:off x="11465446" y="6652420"/>
              <a:ext cx="25624" cy="33136"/>
            </a:xfrm>
            <a:custGeom>
              <a:avLst/>
              <a:gdLst>
                <a:gd name="connsiteX0" fmla="*/ 0 w 25624"/>
                <a:gd name="connsiteY0" fmla="*/ 16 h 33136"/>
                <a:gd name="connsiteX1" fmla="*/ 12492 w 25624"/>
                <a:gd name="connsiteY1" fmla="*/ 16 h 33136"/>
                <a:gd name="connsiteX2" fmla="*/ 22011 w 25624"/>
                <a:gd name="connsiteY2" fmla="*/ 3183 h 33136"/>
                <a:gd name="connsiteX3" fmla="*/ 25616 w 25624"/>
                <a:gd name="connsiteY3" fmla="*/ 11460 h 33136"/>
                <a:gd name="connsiteX4" fmla="*/ 21760 w 25624"/>
                <a:gd name="connsiteY4" fmla="*/ 20179 h 33136"/>
                <a:gd name="connsiteX5" fmla="*/ 11668 w 25624"/>
                <a:gd name="connsiteY5" fmla="*/ 23446 h 33136"/>
                <a:gd name="connsiteX6" fmla="*/ 5854 w 25624"/>
                <a:gd name="connsiteY6" fmla="*/ 23446 h 33136"/>
                <a:gd name="connsiteX7" fmla="*/ 5854 w 25624"/>
                <a:gd name="connsiteY7" fmla="*/ 33136 h 33136"/>
                <a:gd name="connsiteX8" fmla="*/ 0 w 25624"/>
                <a:gd name="connsiteY8" fmla="*/ 33136 h 33136"/>
                <a:gd name="connsiteX9" fmla="*/ 5854 w 25624"/>
                <a:gd name="connsiteY9" fmla="*/ 18054 h 33136"/>
                <a:gd name="connsiteX10" fmla="*/ 12301 w 25624"/>
                <a:gd name="connsiteY10" fmla="*/ 18054 h 33136"/>
                <a:gd name="connsiteX11" fmla="*/ 17734 w 25624"/>
                <a:gd name="connsiteY11" fmla="*/ 16230 h 33136"/>
                <a:gd name="connsiteX12" fmla="*/ 19832 w 25624"/>
                <a:gd name="connsiteY12" fmla="*/ 11470 h 33136"/>
                <a:gd name="connsiteX13" fmla="*/ 17754 w 25624"/>
                <a:gd name="connsiteY13" fmla="*/ 7091 h 33136"/>
                <a:gd name="connsiteX14" fmla="*/ 12321 w 25624"/>
                <a:gd name="connsiteY14" fmla="*/ 5437 h 33136"/>
                <a:gd name="connsiteX15" fmla="*/ 5874 w 25624"/>
                <a:gd name="connsiteY15" fmla="*/ 5437 h 33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5624" h="33136">
                  <a:moveTo>
                    <a:pt x="0" y="16"/>
                  </a:moveTo>
                  <a:lnTo>
                    <a:pt x="12492" y="16"/>
                  </a:lnTo>
                  <a:cubicBezTo>
                    <a:pt x="15946" y="-149"/>
                    <a:pt x="19340" y="980"/>
                    <a:pt x="22011" y="3183"/>
                  </a:cubicBezTo>
                  <a:cubicBezTo>
                    <a:pt x="24401" y="5261"/>
                    <a:pt x="25717" y="8300"/>
                    <a:pt x="25616" y="11460"/>
                  </a:cubicBezTo>
                  <a:cubicBezTo>
                    <a:pt x="25747" y="14804"/>
                    <a:pt x="24321" y="18021"/>
                    <a:pt x="21760" y="20179"/>
                  </a:cubicBezTo>
                  <a:cubicBezTo>
                    <a:pt x="19260" y="22350"/>
                    <a:pt x="15896" y="23439"/>
                    <a:pt x="11668" y="23446"/>
                  </a:cubicBezTo>
                  <a:lnTo>
                    <a:pt x="5854" y="23446"/>
                  </a:lnTo>
                  <a:lnTo>
                    <a:pt x="5854" y="33136"/>
                  </a:lnTo>
                  <a:lnTo>
                    <a:pt x="0" y="33136"/>
                  </a:lnTo>
                  <a:close/>
                  <a:moveTo>
                    <a:pt x="5854" y="18054"/>
                  </a:moveTo>
                  <a:lnTo>
                    <a:pt x="12301" y="18054"/>
                  </a:lnTo>
                  <a:cubicBezTo>
                    <a:pt x="14279" y="18144"/>
                    <a:pt x="16217" y="17494"/>
                    <a:pt x="17734" y="16230"/>
                  </a:cubicBezTo>
                  <a:cubicBezTo>
                    <a:pt x="19109" y="15036"/>
                    <a:pt x="19883" y="13290"/>
                    <a:pt x="19832" y="11470"/>
                  </a:cubicBezTo>
                  <a:cubicBezTo>
                    <a:pt x="19883" y="9763"/>
                    <a:pt x="19109" y="8134"/>
                    <a:pt x="17754" y="7091"/>
                  </a:cubicBezTo>
                  <a:cubicBezTo>
                    <a:pt x="16187" y="5928"/>
                    <a:pt x="14269" y="5344"/>
                    <a:pt x="12321" y="5437"/>
                  </a:cubicBezTo>
                  <a:lnTo>
                    <a:pt x="5874" y="5437"/>
                  </a:lnTo>
                  <a:close/>
                </a:path>
              </a:pathLst>
            </a:custGeom>
            <a:solidFill>
              <a:schemeClr val="tx1"/>
            </a:solidFill>
            <a:ln w="9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3" name="Frihandsfigur 26">
              <a:extLst>
                <a:ext uri="{FF2B5EF4-FFF2-40B4-BE49-F238E27FC236}">
                  <a16:creationId xmlns:a16="http://schemas.microsoft.com/office/drawing/2014/main" id="{F59A044F-3D19-49FD-B415-CBC9B4264C9A}"/>
                </a:ext>
              </a:extLst>
            </p:cNvPr>
            <p:cNvSpPr/>
            <p:nvPr userDrawn="1"/>
          </p:nvSpPr>
          <p:spPr>
            <a:xfrm>
              <a:off x="11506364" y="6642014"/>
              <a:ext cx="34727" cy="44375"/>
            </a:xfrm>
            <a:custGeom>
              <a:avLst/>
              <a:gdLst>
                <a:gd name="connsiteX0" fmla="*/ 5023 w 34727"/>
                <a:gd name="connsiteY0" fmla="*/ 14862 h 44375"/>
                <a:gd name="connsiteX1" fmla="*/ 29575 w 34727"/>
                <a:gd name="connsiteY1" fmla="*/ 14732 h 44375"/>
                <a:gd name="connsiteX2" fmla="*/ 29705 w 34727"/>
                <a:gd name="connsiteY2" fmla="*/ 39237 h 44375"/>
                <a:gd name="connsiteX3" fmla="*/ 5153 w 34727"/>
                <a:gd name="connsiteY3" fmla="*/ 39365 h 44375"/>
                <a:gd name="connsiteX4" fmla="*/ 2 w 34727"/>
                <a:gd name="connsiteY4" fmla="*/ 27028 h 44375"/>
                <a:gd name="connsiteX5" fmla="*/ 5023 w 34727"/>
                <a:gd name="connsiteY5" fmla="*/ 14862 h 44375"/>
                <a:gd name="connsiteX6" fmla="*/ 17314 w 34727"/>
                <a:gd name="connsiteY6" fmla="*/ 38813 h 44375"/>
                <a:gd name="connsiteX7" fmla="*/ 25347 w 34727"/>
                <a:gd name="connsiteY7" fmla="*/ 35405 h 44375"/>
                <a:gd name="connsiteX8" fmla="*/ 25347 w 34727"/>
                <a:gd name="connsiteY8" fmla="*/ 18700 h 44375"/>
                <a:gd name="connsiteX9" fmla="*/ 9602 w 34727"/>
                <a:gd name="connsiteY9" fmla="*/ 18298 h 44375"/>
                <a:gd name="connsiteX10" fmla="*/ 9200 w 34727"/>
                <a:gd name="connsiteY10" fmla="*/ 18700 h 44375"/>
                <a:gd name="connsiteX11" fmla="*/ 9200 w 34727"/>
                <a:gd name="connsiteY11" fmla="*/ 35405 h 44375"/>
                <a:gd name="connsiteX12" fmla="*/ 17344 w 34727"/>
                <a:gd name="connsiteY12" fmla="*/ 38763 h 44375"/>
                <a:gd name="connsiteX13" fmla="*/ 12142 w 34727"/>
                <a:gd name="connsiteY13" fmla="*/ 50 h 44375"/>
                <a:gd name="connsiteX14" fmla="*/ 14683 w 34727"/>
                <a:gd name="connsiteY14" fmla="*/ 1052 h 44375"/>
                <a:gd name="connsiteX15" fmla="*/ 14733 w 34727"/>
                <a:gd name="connsiteY15" fmla="*/ 5871 h 44375"/>
                <a:gd name="connsiteX16" fmla="*/ 14683 w 34727"/>
                <a:gd name="connsiteY16" fmla="*/ 5923 h 44375"/>
                <a:gd name="connsiteX17" fmla="*/ 9662 w 34727"/>
                <a:gd name="connsiteY17" fmla="*/ 5923 h 44375"/>
                <a:gd name="connsiteX18" fmla="*/ 9521 w 34727"/>
                <a:gd name="connsiteY18" fmla="*/ 1192 h 44375"/>
                <a:gd name="connsiteX19" fmla="*/ 9662 w 34727"/>
                <a:gd name="connsiteY19" fmla="*/ 1052 h 44375"/>
                <a:gd name="connsiteX20" fmla="*/ 12172 w 34727"/>
                <a:gd name="connsiteY20" fmla="*/ 0 h 44375"/>
                <a:gd name="connsiteX21" fmla="*/ 22294 w 34727"/>
                <a:gd name="connsiteY21" fmla="*/ 50 h 44375"/>
                <a:gd name="connsiteX22" fmla="*/ 24835 w 34727"/>
                <a:gd name="connsiteY22" fmla="*/ 1052 h 44375"/>
                <a:gd name="connsiteX23" fmla="*/ 24885 w 34727"/>
                <a:gd name="connsiteY23" fmla="*/ 5871 h 44375"/>
                <a:gd name="connsiteX24" fmla="*/ 24835 w 34727"/>
                <a:gd name="connsiteY24" fmla="*/ 5923 h 44375"/>
                <a:gd name="connsiteX25" fmla="*/ 19814 w 34727"/>
                <a:gd name="connsiteY25" fmla="*/ 5923 h 44375"/>
                <a:gd name="connsiteX26" fmla="*/ 19674 w 34727"/>
                <a:gd name="connsiteY26" fmla="*/ 1192 h 44375"/>
                <a:gd name="connsiteX27" fmla="*/ 19814 w 34727"/>
                <a:gd name="connsiteY27" fmla="*/ 1052 h 44375"/>
                <a:gd name="connsiteX28" fmla="*/ 22325 w 34727"/>
                <a:gd name="connsiteY28" fmla="*/ 0 h 4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27" h="44375">
                  <a:moveTo>
                    <a:pt x="5023" y="14862"/>
                  </a:moveTo>
                  <a:cubicBezTo>
                    <a:pt x="11771" y="8059"/>
                    <a:pt x="22756" y="8002"/>
                    <a:pt x="29575" y="14732"/>
                  </a:cubicBezTo>
                  <a:cubicBezTo>
                    <a:pt x="36393" y="21464"/>
                    <a:pt x="36453" y="32434"/>
                    <a:pt x="29705" y="39237"/>
                  </a:cubicBezTo>
                  <a:cubicBezTo>
                    <a:pt x="22957" y="46038"/>
                    <a:pt x="11972" y="46096"/>
                    <a:pt x="5153" y="39365"/>
                  </a:cubicBezTo>
                  <a:cubicBezTo>
                    <a:pt x="1850" y="36106"/>
                    <a:pt x="-8" y="31662"/>
                    <a:pt x="2" y="27028"/>
                  </a:cubicBezTo>
                  <a:cubicBezTo>
                    <a:pt x="-68" y="22456"/>
                    <a:pt x="1749" y="18056"/>
                    <a:pt x="5023" y="14862"/>
                  </a:cubicBezTo>
                  <a:close/>
                  <a:moveTo>
                    <a:pt x="17314" y="38813"/>
                  </a:moveTo>
                  <a:cubicBezTo>
                    <a:pt x="20357" y="38869"/>
                    <a:pt x="23279" y="37630"/>
                    <a:pt x="25347" y="35405"/>
                  </a:cubicBezTo>
                  <a:cubicBezTo>
                    <a:pt x="29705" y="30687"/>
                    <a:pt x="29705" y="23418"/>
                    <a:pt x="25347" y="18700"/>
                  </a:cubicBezTo>
                  <a:cubicBezTo>
                    <a:pt x="21110" y="14250"/>
                    <a:pt x="14060" y="14070"/>
                    <a:pt x="9602" y="18298"/>
                  </a:cubicBezTo>
                  <a:cubicBezTo>
                    <a:pt x="9461" y="18428"/>
                    <a:pt x="9331" y="18563"/>
                    <a:pt x="9200" y="18700"/>
                  </a:cubicBezTo>
                  <a:cubicBezTo>
                    <a:pt x="4842" y="23418"/>
                    <a:pt x="4842" y="30687"/>
                    <a:pt x="9200" y="35405"/>
                  </a:cubicBezTo>
                  <a:cubicBezTo>
                    <a:pt x="11309" y="37636"/>
                    <a:pt x="14271" y="38858"/>
                    <a:pt x="17344" y="38763"/>
                  </a:cubicBezTo>
                  <a:close/>
                  <a:moveTo>
                    <a:pt x="12142" y="50"/>
                  </a:moveTo>
                  <a:cubicBezTo>
                    <a:pt x="13086" y="34"/>
                    <a:pt x="14000" y="395"/>
                    <a:pt x="14683" y="1052"/>
                  </a:cubicBezTo>
                  <a:cubicBezTo>
                    <a:pt x="16028" y="2368"/>
                    <a:pt x="16059" y="4526"/>
                    <a:pt x="14733" y="5871"/>
                  </a:cubicBezTo>
                  <a:cubicBezTo>
                    <a:pt x="14713" y="5889"/>
                    <a:pt x="14703" y="5906"/>
                    <a:pt x="14683" y="5923"/>
                  </a:cubicBezTo>
                  <a:cubicBezTo>
                    <a:pt x="13257" y="7212"/>
                    <a:pt x="11088" y="7212"/>
                    <a:pt x="9662" y="5923"/>
                  </a:cubicBezTo>
                  <a:cubicBezTo>
                    <a:pt x="8317" y="4654"/>
                    <a:pt x="8256" y="2536"/>
                    <a:pt x="9521" y="1192"/>
                  </a:cubicBezTo>
                  <a:cubicBezTo>
                    <a:pt x="9572" y="1143"/>
                    <a:pt x="9612" y="1097"/>
                    <a:pt x="9662" y="1052"/>
                  </a:cubicBezTo>
                  <a:cubicBezTo>
                    <a:pt x="10325" y="385"/>
                    <a:pt x="11229" y="6"/>
                    <a:pt x="12172" y="0"/>
                  </a:cubicBezTo>
                  <a:close/>
                  <a:moveTo>
                    <a:pt x="22294" y="50"/>
                  </a:moveTo>
                  <a:cubicBezTo>
                    <a:pt x="23238" y="36"/>
                    <a:pt x="24152" y="397"/>
                    <a:pt x="24835" y="1052"/>
                  </a:cubicBezTo>
                  <a:cubicBezTo>
                    <a:pt x="26181" y="2368"/>
                    <a:pt x="26211" y="4526"/>
                    <a:pt x="24885" y="5871"/>
                  </a:cubicBezTo>
                  <a:cubicBezTo>
                    <a:pt x="24865" y="5889"/>
                    <a:pt x="24855" y="5906"/>
                    <a:pt x="24835" y="5923"/>
                  </a:cubicBezTo>
                  <a:cubicBezTo>
                    <a:pt x="23409" y="7212"/>
                    <a:pt x="21240" y="7212"/>
                    <a:pt x="19814" y="5923"/>
                  </a:cubicBezTo>
                  <a:cubicBezTo>
                    <a:pt x="18469" y="4654"/>
                    <a:pt x="18408" y="2536"/>
                    <a:pt x="19674" y="1192"/>
                  </a:cubicBezTo>
                  <a:cubicBezTo>
                    <a:pt x="19724" y="1143"/>
                    <a:pt x="19764" y="1097"/>
                    <a:pt x="19814" y="1052"/>
                  </a:cubicBezTo>
                  <a:cubicBezTo>
                    <a:pt x="20477" y="385"/>
                    <a:pt x="21381" y="6"/>
                    <a:pt x="22325" y="0"/>
                  </a:cubicBezTo>
                  <a:close/>
                </a:path>
              </a:pathLst>
            </a:custGeom>
            <a:solidFill>
              <a:schemeClr val="tx1"/>
            </a:solidFill>
            <a:ln w="9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4" name="Frihandsfigur 27">
              <a:extLst>
                <a:ext uri="{FF2B5EF4-FFF2-40B4-BE49-F238E27FC236}">
                  <a16:creationId xmlns:a16="http://schemas.microsoft.com/office/drawing/2014/main" id="{DDDFC755-85E7-428D-B409-50B9760F1054}"/>
                </a:ext>
              </a:extLst>
            </p:cNvPr>
            <p:cNvSpPr/>
            <p:nvPr userDrawn="1"/>
          </p:nvSpPr>
          <p:spPr>
            <a:xfrm>
              <a:off x="11552739" y="6652436"/>
              <a:ext cx="32555" cy="33120"/>
            </a:xfrm>
            <a:custGeom>
              <a:avLst/>
              <a:gdLst>
                <a:gd name="connsiteX0" fmla="*/ 32555 w 32555"/>
                <a:gd name="connsiteY0" fmla="*/ 0 h 33120"/>
                <a:gd name="connsiteX1" fmla="*/ 19280 w 32555"/>
                <a:gd name="connsiteY1" fmla="*/ 21967 h 33120"/>
                <a:gd name="connsiteX2" fmla="*/ 19280 w 32555"/>
                <a:gd name="connsiteY2" fmla="*/ 33120 h 33120"/>
                <a:gd name="connsiteX3" fmla="*/ 13325 w 32555"/>
                <a:gd name="connsiteY3" fmla="*/ 33120 h 33120"/>
                <a:gd name="connsiteX4" fmla="*/ 13325 w 32555"/>
                <a:gd name="connsiteY4" fmla="*/ 21967 h 33120"/>
                <a:gd name="connsiteX5" fmla="*/ 0 w 32555"/>
                <a:gd name="connsiteY5" fmla="*/ 0 h 33120"/>
                <a:gd name="connsiteX6" fmla="*/ 6497 w 32555"/>
                <a:gd name="connsiteY6" fmla="*/ 0 h 33120"/>
                <a:gd name="connsiteX7" fmla="*/ 16257 w 32555"/>
                <a:gd name="connsiteY7" fmla="*/ 16215 h 33120"/>
                <a:gd name="connsiteX8" fmla="*/ 26058 w 32555"/>
                <a:gd name="connsiteY8" fmla="*/ 0 h 33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555" h="33120">
                  <a:moveTo>
                    <a:pt x="32555" y="0"/>
                  </a:moveTo>
                  <a:lnTo>
                    <a:pt x="19280" y="21967"/>
                  </a:lnTo>
                  <a:lnTo>
                    <a:pt x="19280" y="33120"/>
                  </a:lnTo>
                  <a:lnTo>
                    <a:pt x="13325" y="33120"/>
                  </a:lnTo>
                  <a:lnTo>
                    <a:pt x="13325" y="21967"/>
                  </a:lnTo>
                  <a:lnTo>
                    <a:pt x="0" y="0"/>
                  </a:lnTo>
                  <a:lnTo>
                    <a:pt x="6497" y="0"/>
                  </a:lnTo>
                  <a:lnTo>
                    <a:pt x="16257" y="16215"/>
                  </a:lnTo>
                  <a:lnTo>
                    <a:pt x="26058" y="0"/>
                  </a:lnTo>
                  <a:close/>
                </a:path>
              </a:pathLst>
            </a:custGeom>
            <a:solidFill>
              <a:schemeClr val="tx1"/>
            </a:solidFill>
            <a:ln w="9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5" name="Frihandsfigur 28">
              <a:extLst>
                <a:ext uri="{FF2B5EF4-FFF2-40B4-BE49-F238E27FC236}">
                  <a16:creationId xmlns:a16="http://schemas.microsoft.com/office/drawing/2014/main" id="{689088D8-7383-4BBC-B67B-06FB2AFB7C5E}"/>
                </a:ext>
              </a:extLst>
            </p:cNvPr>
            <p:cNvSpPr/>
            <p:nvPr userDrawn="1"/>
          </p:nvSpPr>
          <p:spPr>
            <a:xfrm>
              <a:off x="11601763" y="6652472"/>
              <a:ext cx="28518" cy="33114"/>
            </a:xfrm>
            <a:custGeom>
              <a:avLst/>
              <a:gdLst>
                <a:gd name="connsiteX0" fmla="*/ 12371 w 28518"/>
                <a:gd name="connsiteY0" fmla="*/ 22171 h 33114"/>
                <a:gd name="connsiteX1" fmla="*/ 5824 w 28518"/>
                <a:gd name="connsiteY1" fmla="*/ 22171 h 33114"/>
                <a:gd name="connsiteX2" fmla="*/ 5824 w 28518"/>
                <a:gd name="connsiteY2" fmla="*/ 33084 h 33114"/>
                <a:gd name="connsiteX3" fmla="*/ 0 w 28518"/>
                <a:gd name="connsiteY3" fmla="*/ 33084 h 33114"/>
                <a:gd name="connsiteX4" fmla="*/ 0 w 28518"/>
                <a:gd name="connsiteY4" fmla="*/ 14 h 33114"/>
                <a:gd name="connsiteX5" fmla="*/ 13617 w 28518"/>
                <a:gd name="connsiteY5" fmla="*/ 14 h 33114"/>
                <a:gd name="connsiteX6" fmla="*/ 22885 w 28518"/>
                <a:gd name="connsiteY6" fmla="*/ 3080 h 33114"/>
                <a:gd name="connsiteX7" fmla="*/ 26500 w 28518"/>
                <a:gd name="connsiteY7" fmla="*/ 11097 h 33114"/>
                <a:gd name="connsiteX8" fmla="*/ 24492 w 28518"/>
                <a:gd name="connsiteY8" fmla="*/ 17481 h 33114"/>
                <a:gd name="connsiteX9" fmla="*/ 18908 w 28518"/>
                <a:gd name="connsiteY9" fmla="*/ 21369 h 33114"/>
                <a:gd name="connsiteX10" fmla="*/ 28518 w 28518"/>
                <a:gd name="connsiteY10" fmla="*/ 33114 h 33114"/>
                <a:gd name="connsiteX11" fmla="*/ 21399 w 28518"/>
                <a:gd name="connsiteY11" fmla="*/ 33114 h 33114"/>
                <a:gd name="connsiteX12" fmla="*/ 5824 w 28518"/>
                <a:gd name="connsiteY12" fmla="*/ 16769 h 33114"/>
                <a:gd name="connsiteX13" fmla="*/ 13396 w 28518"/>
                <a:gd name="connsiteY13" fmla="*/ 16769 h 33114"/>
                <a:gd name="connsiteX14" fmla="*/ 18657 w 28518"/>
                <a:gd name="connsiteY14" fmla="*/ 15206 h 33114"/>
                <a:gd name="connsiteX15" fmla="*/ 19632 w 28518"/>
                <a:gd name="connsiteY15" fmla="*/ 7900 h 33114"/>
                <a:gd name="connsiteX16" fmla="*/ 18657 w 28518"/>
                <a:gd name="connsiteY16" fmla="*/ 6928 h 33114"/>
                <a:gd name="connsiteX17" fmla="*/ 13396 w 28518"/>
                <a:gd name="connsiteY17" fmla="*/ 5375 h 33114"/>
                <a:gd name="connsiteX18" fmla="*/ 5824 w 28518"/>
                <a:gd name="connsiteY18" fmla="*/ 5375 h 33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518" h="33114">
                  <a:moveTo>
                    <a:pt x="12371" y="22171"/>
                  </a:moveTo>
                  <a:lnTo>
                    <a:pt x="5824" y="22171"/>
                  </a:lnTo>
                  <a:lnTo>
                    <a:pt x="5824" y="33084"/>
                  </a:lnTo>
                  <a:lnTo>
                    <a:pt x="0" y="33084"/>
                  </a:lnTo>
                  <a:lnTo>
                    <a:pt x="0" y="14"/>
                  </a:lnTo>
                  <a:lnTo>
                    <a:pt x="13617" y="14"/>
                  </a:lnTo>
                  <a:cubicBezTo>
                    <a:pt x="16981" y="-137"/>
                    <a:pt x="20274" y="955"/>
                    <a:pt x="22885" y="3080"/>
                  </a:cubicBezTo>
                  <a:cubicBezTo>
                    <a:pt x="25265" y="5054"/>
                    <a:pt x="26600" y="8012"/>
                    <a:pt x="26500" y="11097"/>
                  </a:cubicBezTo>
                  <a:cubicBezTo>
                    <a:pt x="26550" y="13388"/>
                    <a:pt x="25847" y="15632"/>
                    <a:pt x="24492" y="17481"/>
                  </a:cubicBezTo>
                  <a:cubicBezTo>
                    <a:pt x="23086" y="19335"/>
                    <a:pt x="21138" y="20697"/>
                    <a:pt x="18908" y="21369"/>
                  </a:cubicBezTo>
                  <a:lnTo>
                    <a:pt x="28518" y="33114"/>
                  </a:lnTo>
                  <a:lnTo>
                    <a:pt x="21399" y="33114"/>
                  </a:lnTo>
                  <a:close/>
                  <a:moveTo>
                    <a:pt x="5824" y="16769"/>
                  </a:moveTo>
                  <a:lnTo>
                    <a:pt x="13396" y="16769"/>
                  </a:lnTo>
                  <a:cubicBezTo>
                    <a:pt x="15273" y="16850"/>
                    <a:pt x="17131" y="16298"/>
                    <a:pt x="18657" y="15206"/>
                  </a:cubicBezTo>
                  <a:cubicBezTo>
                    <a:pt x="20947" y="13457"/>
                    <a:pt x="21389" y="10186"/>
                    <a:pt x="19632" y="7900"/>
                  </a:cubicBezTo>
                  <a:cubicBezTo>
                    <a:pt x="19350" y="7535"/>
                    <a:pt x="19019" y="7208"/>
                    <a:pt x="18657" y="6928"/>
                  </a:cubicBezTo>
                  <a:cubicBezTo>
                    <a:pt x="17131" y="5839"/>
                    <a:pt x="15273" y="5292"/>
                    <a:pt x="13396" y="5375"/>
                  </a:cubicBezTo>
                  <a:lnTo>
                    <a:pt x="5824" y="5375"/>
                  </a:lnTo>
                  <a:close/>
                </a:path>
              </a:pathLst>
            </a:custGeom>
            <a:solidFill>
              <a:schemeClr val="tx1"/>
            </a:solidFill>
            <a:ln w="9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6" name="Frihandsfigur 29">
              <a:extLst>
                <a:ext uri="{FF2B5EF4-FFF2-40B4-BE49-F238E27FC236}">
                  <a16:creationId xmlns:a16="http://schemas.microsoft.com/office/drawing/2014/main" id="{5A4BD52E-C0B6-40F2-96DD-22014755FD1B}"/>
                </a:ext>
              </a:extLst>
            </p:cNvPr>
            <p:cNvSpPr/>
            <p:nvPr userDrawn="1"/>
          </p:nvSpPr>
          <p:spPr>
            <a:xfrm>
              <a:off x="11643305" y="6652436"/>
              <a:ext cx="32555" cy="33120"/>
            </a:xfrm>
            <a:custGeom>
              <a:avLst/>
              <a:gdLst>
                <a:gd name="connsiteX0" fmla="*/ 32555 w 32555"/>
                <a:gd name="connsiteY0" fmla="*/ 0 h 33120"/>
                <a:gd name="connsiteX1" fmla="*/ 19280 w 32555"/>
                <a:gd name="connsiteY1" fmla="*/ 21967 h 33120"/>
                <a:gd name="connsiteX2" fmla="*/ 19280 w 32555"/>
                <a:gd name="connsiteY2" fmla="*/ 33120 h 33120"/>
                <a:gd name="connsiteX3" fmla="*/ 13325 w 32555"/>
                <a:gd name="connsiteY3" fmla="*/ 33120 h 33120"/>
                <a:gd name="connsiteX4" fmla="*/ 13325 w 32555"/>
                <a:gd name="connsiteY4" fmla="*/ 21967 h 33120"/>
                <a:gd name="connsiteX5" fmla="*/ 0 w 32555"/>
                <a:gd name="connsiteY5" fmla="*/ 0 h 33120"/>
                <a:gd name="connsiteX6" fmla="*/ 6497 w 32555"/>
                <a:gd name="connsiteY6" fmla="*/ 0 h 33120"/>
                <a:gd name="connsiteX7" fmla="*/ 16248 w 32555"/>
                <a:gd name="connsiteY7" fmla="*/ 16215 h 33120"/>
                <a:gd name="connsiteX8" fmla="*/ 26058 w 32555"/>
                <a:gd name="connsiteY8" fmla="*/ 0 h 33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555" h="33120">
                  <a:moveTo>
                    <a:pt x="32555" y="0"/>
                  </a:moveTo>
                  <a:lnTo>
                    <a:pt x="19280" y="21967"/>
                  </a:lnTo>
                  <a:lnTo>
                    <a:pt x="19280" y="33120"/>
                  </a:lnTo>
                  <a:lnTo>
                    <a:pt x="13325" y="33120"/>
                  </a:lnTo>
                  <a:lnTo>
                    <a:pt x="13325" y="21967"/>
                  </a:lnTo>
                  <a:lnTo>
                    <a:pt x="0" y="0"/>
                  </a:lnTo>
                  <a:lnTo>
                    <a:pt x="6497" y="0"/>
                  </a:lnTo>
                  <a:lnTo>
                    <a:pt x="16248" y="16215"/>
                  </a:lnTo>
                  <a:lnTo>
                    <a:pt x="26058" y="0"/>
                  </a:lnTo>
                  <a:close/>
                </a:path>
              </a:pathLst>
            </a:custGeom>
            <a:solidFill>
              <a:schemeClr val="tx1"/>
            </a:solidFill>
            <a:ln w="9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7" name="Frihandsfigur 30">
              <a:extLst>
                <a:ext uri="{FF2B5EF4-FFF2-40B4-BE49-F238E27FC236}">
                  <a16:creationId xmlns:a16="http://schemas.microsoft.com/office/drawing/2014/main" id="{31430576-6C49-4969-A9A9-30B80D2CE54A}"/>
                </a:ext>
              </a:extLst>
            </p:cNvPr>
            <p:cNvSpPr/>
            <p:nvPr userDrawn="1"/>
          </p:nvSpPr>
          <p:spPr>
            <a:xfrm>
              <a:off x="11359962" y="6642637"/>
              <a:ext cx="10888" cy="10220"/>
            </a:xfrm>
            <a:custGeom>
              <a:avLst/>
              <a:gdLst>
                <a:gd name="connsiteX0" fmla="*/ 9375 w 10888"/>
                <a:gd name="connsiteY0" fmla="*/ 1411 h 10220"/>
                <a:gd name="connsiteX1" fmla="*/ 1472 w 10888"/>
                <a:gd name="connsiteY1" fmla="*/ 1411 h 10220"/>
                <a:gd name="connsiteX2" fmla="*/ 6 w 10888"/>
                <a:gd name="connsiteY2" fmla="*/ 5109 h 10220"/>
                <a:gd name="connsiteX3" fmla="*/ 1472 w 10888"/>
                <a:gd name="connsiteY3" fmla="*/ 8817 h 10220"/>
                <a:gd name="connsiteX4" fmla="*/ 9375 w 10888"/>
                <a:gd name="connsiteY4" fmla="*/ 8817 h 10220"/>
                <a:gd name="connsiteX5" fmla="*/ 9375 w 10888"/>
                <a:gd name="connsiteY5" fmla="*/ 1411 h 10220"/>
                <a:gd name="connsiteX6" fmla="*/ 7427 w 10888"/>
                <a:gd name="connsiteY6" fmla="*/ 6282 h 10220"/>
                <a:gd name="connsiteX7" fmla="*/ 5419 w 10888"/>
                <a:gd name="connsiteY7" fmla="*/ 7354 h 10220"/>
                <a:gd name="connsiteX8" fmla="*/ 3471 w 10888"/>
                <a:gd name="connsiteY8" fmla="*/ 6282 h 10220"/>
                <a:gd name="connsiteX9" fmla="*/ 3471 w 10888"/>
                <a:gd name="connsiteY9" fmla="*/ 3947 h 10220"/>
                <a:gd name="connsiteX10" fmla="*/ 5419 w 10888"/>
                <a:gd name="connsiteY10" fmla="*/ 2875 h 10220"/>
                <a:gd name="connsiteX11" fmla="*/ 7427 w 10888"/>
                <a:gd name="connsiteY11" fmla="*/ 3947 h 10220"/>
                <a:gd name="connsiteX12" fmla="*/ 7427 w 10888"/>
                <a:gd name="connsiteY12" fmla="*/ 6282 h 10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888" h="10220">
                  <a:moveTo>
                    <a:pt x="9375" y="1411"/>
                  </a:moveTo>
                  <a:cubicBezTo>
                    <a:pt x="7075" y="-470"/>
                    <a:pt x="3772" y="-470"/>
                    <a:pt x="1472" y="1411"/>
                  </a:cubicBezTo>
                  <a:cubicBezTo>
                    <a:pt x="478" y="2377"/>
                    <a:pt x="-64" y="3723"/>
                    <a:pt x="6" y="5109"/>
                  </a:cubicBezTo>
                  <a:cubicBezTo>
                    <a:pt x="-54" y="6496"/>
                    <a:pt x="478" y="7842"/>
                    <a:pt x="1472" y="8817"/>
                  </a:cubicBezTo>
                  <a:cubicBezTo>
                    <a:pt x="3772" y="10688"/>
                    <a:pt x="7075" y="10688"/>
                    <a:pt x="9375" y="8817"/>
                  </a:cubicBezTo>
                  <a:cubicBezTo>
                    <a:pt x="11393" y="6760"/>
                    <a:pt x="11393" y="3469"/>
                    <a:pt x="9375" y="1411"/>
                  </a:cubicBezTo>
                  <a:close/>
                  <a:moveTo>
                    <a:pt x="7427" y="6282"/>
                  </a:moveTo>
                  <a:cubicBezTo>
                    <a:pt x="7065" y="7042"/>
                    <a:pt x="6252" y="7478"/>
                    <a:pt x="5419" y="7354"/>
                  </a:cubicBezTo>
                  <a:cubicBezTo>
                    <a:pt x="4605" y="7467"/>
                    <a:pt x="3812" y="7030"/>
                    <a:pt x="3471" y="6282"/>
                  </a:cubicBezTo>
                  <a:cubicBezTo>
                    <a:pt x="3079" y="5552"/>
                    <a:pt x="3079" y="4676"/>
                    <a:pt x="3471" y="3947"/>
                  </a:cubicBezTo>
                  <a:cubicBezTo>
                    <a:pt x="3812" y="3195"/>
                    <a:pt x="4605" y="2758"/>
                    <a:pt x="5419" y="2875"/>
                  </a:cubicBezTo>
                  <a:cubicBezTo>
                    <a:pt x="6252" y="2746"/>
                    <a:pt x="7075" y="3183"/>
                    <a:pt x="7427" y="3947"/>
                  </a:cubicBezTo>
                  <a:cubicBezTo>
                    <a:pt x="7819" y="4676"/>
                    <a:pt x="7819" y="5552"/>
                    <a:pt x="7427" y="6282"/>
                  </a:cubicBezTo>
                  <a:close/>
                </a:path>
              </a:pathLst>
            </a:custGeom>
            <a:solidFill>
              <a:schemeClr val="tx1"/>
            </a:solidFill>
            <a:ln w="9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0436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26B43"/>
          </p15:clr>
        </p15:guide>
        <p15:guide id="3" orient="horz" pos="3929">
          <p15:clr>
            <a:srgbClr val="F26B43"/>
          </p15:clr>
        </p15:guide>
        <p15:guide id="4" orient="horz" pos="2546">
          <p15:clr>
            <a:srgbClr val="F26B43"/>
          </p15:clr>
        </p15:guide>
        <p15:guide id="5" orient="horz" pos="1139">
          <p15:clr>
            <a:srgbClr val="F26B43"/>
          </p15:clr>
        </p15:guide>
        <p15:guide id="6" pos="3681">
          <p15:clr>
            <a:srgbClr val="F26B43"/>
          </p15:clr>
        </p15:guide>
        <p15:guide id="7" pos="3999">
          <p15:clr>
            <a:srgbClr val="F26B43"/>
          </p15:clr>
        </p15:guide>
        <p15:guide id="8" pos="7197">
          <p15:clr>
            <a:srgbClr val="F26B43"/>
          </p15:clr>
        </p15:guide>
        <p15:guide id="9" pos="483">
          <p15:clr>
            <a:srgbClr val="F26B43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Picture " preserve="1" userDrawn="1">
  <p:cSld name="Title Slide Picture 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0"/>
                </a:moveTo>
                <a:lnTo>
                  <a:pt x="4295800" y="0"/>
                </a:lnTo>
                <a:lnTo>
                  <a:pt x="4365411" y="475068"/>
                </a:lnTo>
                <a:lnTo>
                  <a:pt x="4435021" y="951160"/>
                </a:lnTo>
                <a:lnTo>
                  <a:pt x="4505655" y="1426228"/>
                </a:lnTo>
                <a:lnTo>
                  <a:pt x="4576289" y="1902320"/>
                </a:lnTo>
                <a:lnTo>
                  <a:pt x="4645899" y="2377389"/>
                </a:lnTo>
                <a:lnTo>
                  <a:pt x="4715509" y="2853481"/>
                </a:lnTo>
                <a:lnTo>
                  <a:pt x="4786143" y="3328550"/>
                </a:lnTo>
                <a:lnTo>
                  <a:pt x="4856777" y="3803618"/>
                </a:lnTo>
                <a:lnTo>
                  <a:pt x="4896701" y="4003270"/>
                </a:lnTo>
                <a:lnTo>
                  <a:pt x="4936624" y="4175277"/>
                </a:lnTo>
                <a:lnTo>
                  <a:pt x="4975524" y="4323737"/>
                </a:lnTo>
                <a:lnTo>
                  <a:pt x="5013400" y="4451718"/>
                </a:lnTo>
                <a:lnTo>
                  <a:pt x="5032850" y="4509054"/>
                </a:lnTo>
                <a:lnTo>
                  <a:pt x="5053324" y="4564342"/>
                </a:lnTo>
                <a:lnTo>
                  <a:pt x="5073797" y="4615535"/>
                </a:lnTo>
                <a:lnTo>
                  <a:pt x="5095295" y="4664680"/>
                </a:lnTo>
                <a:lnTo>
                  <a:pt x="5141360" y="4759899"/>
                </a:lnTo>
                <a:lnTo>
                  <a:pt x="5165928" y="4804948"/>
                </a:lnTo>
                <a:lnTo>
                  <a:pt x="5191520" y="4851022"/>
                </a:lnTo>
                <a:lnTo>
                  <a:pt x="5272391" y="4980027"/>
                </a:lnTo>
                <a:lnTo>
                  <a:pt x="5319481" y="5050673"/>
                </a:lnTo>
                <a:lnTo>
                  <a:pt x="5371688" y="5123367"/>
                </a:lnTo>
                <a:lnTo>
                  <a:pt x="5431062" y="5199132"/>
                </a:lnTo>
                <a:lnTo>
                  <a:pt x="5497601" y="5278993"/>
                </a:lnTo>
                <a:lnTo>
                  <a:pt x="5571306" y="5362949"/>
                </a:lnTo>
                <a:lnTo>
                  <a:pt x="5654224" y="5449976"/>
                </a:lnTo>
                <a:lnTo>
                  <a:pt x="5682887" y="5479668"/>
                </a:lnTo>
                <a:lnTo>
                  <a:pt x="5714621" y="5508336"/>
                </a:lnTo>
                <a:lnTo>
                  <a:pt x="5775018" y="5564648"/>
                </a:lnTo>
                <a:lnTo>
                  <a:pt x="5838486" y="5614817"/>
                </a:lnTo>
                <a:lnTo>
                  <a:pt x="5904002" y="5661914"/>
                </a:lnTo>
                <a:lnTo>
                  <a:pt x="5969517" y="5705940"/>
                </a:lnTo>
                <a:lnTo>
                  <a:pt x="6036057" y="5746894"/>
                </a:lnTo>
                <a:lnTo>
                  <a:pt x="6105667" y="5783753"/>
                </a:lnTo>
                <a:lnTo>
                  <a:pt x="6175277" y="5818564"/>
                </a:lnTo>
                <a:lnTo>
                  <a:pt x="6244887" y="5848256"/>
                </a:lnTo>
                <a:lnTo>
                  <a:pt x="6316545" y="5875900"/>
                </a:lnTo>
                <a:lnTo>
                  <a:pt x="6389226" y="5901496"/>
                </a:lnTo>
                <a:lnTo>
                  <a:pt x="6461908" y="5922997"/>
                </a:lnTo>
                <a:lnTo>
                  <a:pt x="6536636" y="5942450"/>
                </a:lnTo>
                <a:lnTo>
                  <a:pt x="6611365" y="5958832"/>
                </a:lnTo>
                <a:lnTo>
                  <a:pt x="6686094" y="5974190"/>
                </a:lnTo>
                <a:lnTo>
                  <a:pt x="6760822" y="5986476"/>
                </a:lnTo>
                <a:lnTo>
                  <a:pt x="6864214" y="5999786"/>
                </a:lnTo>
                <a:lnTo>
                  <a:pt x="6966582" y="6010025"/>
                </a:lnTo>
                <a:lnTo>
                  <a:pt x="7070997" y="6015144"/>
                </a:lnTo>
                <a:lnTo>
                  <a:pt x="7173365" y="6019239"/>
                </a:lnTo>
                <a:lnTo>
                  <a:pt x="7275733" y="6021287"/>
                </a:lnTo>
                <a:lnTo>
                  <a:pt x="7376054" y="6021287"/>
                </a:lnTo>
                <a:lnTo>
                  <a:pt x="7572601" y="6019239"/>
                </a:lnTo>
                <a:lnTo>
                  <a:pt x="8425326" y="6019239"/>
                </a:lnTo>
                <a:lnTo>
                  <a:pt x="9278052" y="6019239"/>
                </a:lnTo>
                <a:lnTo>
                  <a:pt x="10131802" y="6019239"/>
                </a:lnTo>
                <a:lnTo>
                  <a:pt x="10984527" y="6019239"/>
                </a:lnTo>
                <a:lnTo>
                  <a:pt x="11837253" y="6019239"/>
                </a:lnTo>
                <a:lnTo>
                  <a:pt x="12192000" y="6019239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F91805-4DFE-420B-8952-A989353270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484783"/>
            <a:ext cx="5329238" cy="2808313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E51D44E-6286-4907-8B09-0DDC2EDE3A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620713"/>
            <a:ext cx="5329238" cy="64804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FEDC81-9F96-409E-B43F-42465B281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E97070-5A2A-4987-A53D-E5A2EFA3C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A52473-1558-4E26-A4BF-B2137BBAE8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 7"/>
          <p:cNvSpPr>
            <a:spLocks noChangeAspect="1" noEditPoints="1"/>
          </p:cNvSpPr>
          <p:nvPr userDrawn="1"/>
        </p:nvSpPr>
        <p:spPr bwMode="auto">
          <a:xfrm>
            <a:off x="9592936" y="5013176"/>
            <a:ext cx="1831656" cy="432048"/>
          </a:xfrm>
          <a:custGeom>
            <a:avLst/>
            <a:gdLst>
              <a:gd name="T0" fmla="*/ 11392 w 14503"/>
              <a:gd name="T1" fmla="*/ 2705 h 3419"/>
              <a:gd name="T2" fmla="*/ 10843 w 14503"/>
              <a:gd name="T3" fmla="*/ 2592 h 3419"/>
              <a:gd name="T4" fmla="*/ 9707 w 14503"/>
              <a:gd name="T5" fmla="*/ 2691 h 3419"/>
              <a:gd name="T6" fmla="*/ 9202 w 14503"/>
              <a:gd name="T7" fmla="*/ 2718 h 3419"/>
              <a:gd name="T8" fmla="*/ 9399 w 14503"/>
              <a:gd name="T9" fmla="*/ 2534 h 3419"/>
              <a:gd name="T10" fmla="*/ 9385 w 14503"/>
              <a:gd name="T11" fmla="*/ 2134 h 3419"/>
              <a:gd name="T12" fmla="*/ 9247 w 14503"/>
              <a:gd name="T13" fmla="*/ 2352 h 3419"/>
              <a:gd name="T14" fmla="*/ 8533 w 14503"/>
              <a:gd name="T15" fmla="*/ 2712 h 3419"/>
              <a:gd name="T16" fmla="*/ 8908 w 14503"/>
              <a:gd name="T17" fmla="*/ 2713 h 3419"/>
              <a:gd name="T18" fmla="*/ 7197 w 14503"/>
              <a:gd name="T19" fmla="*/ 2618 h 3419"/>
              <a:gd name="T20" fmla="*/ 7359 w 14503"/>
              <a:gd name="T21" fmla="*/ 2469 h 3419"/>
              <a:gd name="T22" fmla="*/ 7656 w 14503"/>
              <a:gd name="T23" fmla="*/ 2305 h 3419"/>
              <a:gd name="T24" fmla="*/ 7633 w 14503"/>
              <a:gd name="T25" fmla="*/ 2433 h 3419"/>
              <a:gd name="T26" fmla="*/ 6915 w 14503"/>
              <a:gd name="T27" fmla="*/ 2263 h 3419"/>
              <a:gd name="T28" fmla="*/ 6831 w 14503"/>
              <a:gd name="T29" fmla="*/ 2727 h 3419"/>
              <a:gd name="T30" fmla="*/ 6860 w 14503"/>
              <a:gd name="T31" fmla="*/ 2119 h 3419"/>
              <a:gd name="T32" fmla="*/ 14342 w 14503"/>
              <a:gd name="T33" fmla="*/ 1111 h 3419"/>
              <a:gd name="T34" fmla="*/ 14370 w 14503"/>
              <a:gd name="T35" fmla="*/ 961 h 3419"/>
              <a:gd name="T36" fmla="*/ 13472 w 14503"/>
              <a:gd name="T37" fmla="*/ 1376 h 3419"/>
              <a:gd name="T38" fmla="*/ 13655 w 14503"/>
              <a:gd name="T39" fmla="*/ 1536 h 3419"/>
              <a:gd name="T40" fmla="*/ 13703 w 14503"/>
              <a:gd name="T41" fmla="*/ 1130 h 3419"/>
              <a:gd name="T42" fmla="*/ 13709 w 14503"/>
              <a:gd name="T43" fmla="*/ 966 h 3419"/>
              <a:gd name="T44" fmla="*/ 12952 w 14503"/>
              <a:gd name="T45" fmla="*/ 1081 h 3419"/>
              <a:gd name="T46" fmla="*/ 12525 w 14503"/>
              <a:gd name="T47" fmla="*/ 1043 h 3419"/>
              <a:gd name="T48" fmla="*/ 13193 w 14503"/>
              <a:gd name="T49" fmla="*/ 1038 h 3419"/>
              <a:gd name="T50" fmla="*/ 11928 w 14503"/>
              <a:gd name="T51" fmla="*/ 1448 h 3419"/>
              <a:gd name="T52" fmla="*/ 11865 w 14503"/>
              <a:gd name="T53" fmla="*/ 1553 h 3419"/>
              <a:gd name="T54" fmla="*/ 12022 w 14503"/>
              <a:gd name="T55" fmla="*/ 1060 h 3419"/>
              <a:gd name="T56" fmla="*/ 12198 w 14503"/>
              <a:gd name="T57" fmla="*/ 1040 h 3419"/>
              <a:gd name="T58" fmla="*/ 11580 w 14503"/>
              <a:gd name="T59" fmla="*/ 1397 h 3419"/>
              <a:gd name="T60" fmla="*/ 10924 w 14503"/>
              <a:gd name="T61" fmla="*/ 1300 h 3419"/>
              <a:gd name="T62" fmla="*/ 10999 w 14503"/>
              <a:gd name="T63" fmla="*/ 1557 h 3419"/>
              <a:gd name="T64" fmla="*/ 11144 w 14503"/>
              <a:gd name="T65" fmla="*/ 967 h 3419"/>
              <a:gd name="T66" fmla="*/ 10313 w 14503"/>
              <a:gd name="T67" fmla="*/ 1372 h 3419"/>
              <a:gd name="T68" fmla="*/ 10421 w 14503"/>
              <a:gd name="T69" fmla="*/ 1561 h 3419"/>
              <a:gd name="T70" fmla="*/ 10514 w 14503"/>
              <a:gd name="T71" fmla="*/ 967 h 3419"/>
              <a:gd name="T72" fmla="*/ 9776 w 14503"/>
              <a:gd name="T73" fmla="*/ 1082 h 3419"/>
              <a:gd name="T74" fmla="*/ 9989 w 14503"/>
              <a:gd name="T75" fmla="*/ 1025 h 3419"/>
              <a:gd name="T76" fmla="*/ 8701 w 14503"/>
              <a:gd name="T77" fmla="*/ 1199 h 3419"/>
              <a:gd name="T78" fmla="*/ 9009 w 14503"/>
              <a:gd name="T79" fmla="*/ 1500 h 3419"/>
              <a:gd name="T80" fmla="*/ 8681 w 14503"/>
              <a:gd name="T81" fmla="*/ 995 h 3419"/>
              <a:gd name="T82" fmla="*/ 7671 w 14503"/>
              <a:gd name="T83" fmla="*/ 1547 h 3419"/>
              <a:gd name="T84" fmla="*/ 7517 w 14503"/>
              <a:gd name="T85" fmla="*/ 974 h 3419"/>
              <a:gd name="T86" fmla="*/ 6773 w 14503"/>
              <a:gd name="T87" fmla="*/ 1549 h 3419"/>
              <a:gd name="T88" fmla="*/ 6490 w 14503"/>
              <a:gd name="T89" fmla="*/ 1200 h 3419"/>
              <a:gd name="T90" fmla="*/ 11483 w 14503"/>
              <a:gd name="T91" fmla="*/ 2275 h 3419"/>
              <a:gd name="T92" fmla="*/ 11930 w 14503"/>
              <a:gd name="T93" fmla="*/ 2637 h 3419"/>
              <a:gd name="T94" fmla="*/ 11807 w 14503"/>
              <a:gd name="T95" fmla="*/ 2576 h 3419"/>
              <a:gd name="T96" fmla="*/ 3702 w 14503"/>
              <a:gd name="T97" fmla="*/ 2179 h 3419"/>
              <a:gd name="T98" fmla="*/ 5043 w 14503"/>
              <a:gd name="T99" fmla="*/ 96 h 3419"/>
              <a:gd name="T100" fmla="*/ 4150 w 14503"/>
              <a:gd name="T101" fmla="*/ 1837 h 3419"/>
              <a:gd name="T102" fmla="*/ 1316 w 14503"/>
              <a:gd name="T103" fmla="*/ 3417 h 3419"/>
              <a:gd name="T104" fmla="*/ 16 w 14503"/>
              <a:gd name="T105" fmla="*/ 2039 h 3419"/>
              <a:gd name="T106" fmla="*/ 1177 w 14503"/>
              <a:gd name="T107" fmla="*/ 38 h 3419"/>
              <a:gd name="T108" fmla="*/ 2300 w 14503"/>
              <a:gd name="T109" fmla="*/ 878 h 3419"/>
              <a:gd name="T110" fmla="*/ 988 w 14503"/>
              <a:gd name="T111" fmla="*/ 2066 h 3419"/>
              <a:gd name="T112" fmla="*/ 1544 w 14503"/>
              <a:gd name="T113" fmla="*/ 1314 h 3419"/>
              <a:gd name="T114" fmla="*/ 1318 w 14503"/>
              <a:gd name="T115" fmla="*/ 478 h 3419"/>
              <a:gd name="T116" fmla="*/ 552 w 14503"/>
              <a:gd name="T117" fmla="*/ 2103 h 3419"/>
              <a:gd name="T118" fmla="*/ 1821 w 14503"/>
              <a:gd name="T119" fmla="*/ 2775 h 3419"/>
              <a:gd name="T120" fmla="*/ 2969 w 14503"/>
              <a:gd name="T121" fmla="*/ 185 h 3419"/>
              <a:gd name="T122" fmla="*/ 3355 w 14503"/>
              <a:gd name="T123" fmla="*/ 1462 h 3419"/>
              <a:gd name="T124" fmla="*/ 1720 w 14503"/>
              <a:gd name="T125" fmla="*/ 3383 h 34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503" h="3419">
                <a:moveTo>
                  <a:pt x="11272" y="2721"/>
                </a:moveTo>
                <a:lnTo>
                  <a:pt x="11231" y="2717"/>
                </a:lnTo>
                <a:lnTo>
                  <a:pt x="11196" y="2709"/>
                </a:lnTo>
                <a:lnTo>
                  <a:pt x="11180" y="2702"/>
                </a:lnTo>
                <a:lnTo>
                  <a:pt x="11166" y="2693"/>
                </a:lnTo>
                <a:lnTo>
                  <a:pt x="11153" y="2684"/>
                </a:lnTo>
                <a:lnTo>
                  <a:pt x="11141" y="2674"/>
                </a:lnTo>
                <a:lnTo>
                  <a:pt x="11131" y="2661"/>
                </a:lnTo>
                <a:lnTo>
                  <a:pt x="11122" y="2648"/>
                </a:lnTo>
                <a:lnTo>
                  <a:pt x="11108" y="2617"/>
                </a:lnTo>
                <a:lnTo>
                  <a:pt x="11100" y="2581"/>
                </a:lnTo>
                <a:lnTo>
                  <a:pt x="11098" y="2563"/>
                </a:lnTo>
                <a:lnTo>
                  <a:pt x="11097" y="2542"/>
                </a:lnTo>
                <a:lnTo>
                  <a:pt x="11097" y="2247"/>
                </a:lnTo>
                <a:lnTo>
                  <a:pt x="10992" y="2247"/>
                </a:lnTo>
                <a:lnTo>
                  <a:pt x="10992" y="2132"/>
                </a:lnTo>
                <a:lnTo>
                  <a:pt x="11097" y="2132"/>
                </a:lnTo>
                <a:lnTo>
                  <a:pt x="11097" y="1985"/>
                </a:lnTo>
                <a:lnTo>
                  <a:pt x="11236" y="1950"/>
                </a:lnTo>
                <a:lnTo>
                  <a:pt x="11236" y="2132"/>
                </a:lnTo>
                <a:lnTo>
                  <a:pt x="11383" y="2132"/>
                </a:lnTo>
                <a:lnTo>
                  <a:pt x="11383" y="2247"/>
                </a:lnTo>
                <a:lnTo>
                  <a:pt x="11236" y="2247"/>
                </a:lnTo>
                <a:lnTo>
                  <a:pt x="11236" y="2530"/>
                </a:lnTo>
                <a:lnTo>
                  <a:pt x="11237" y="2546"/>
                </a:lnTo>
                <a:lnTo>
                  <a:pt x="11241" y="2559"/>
                </a:lnTo>
                <a:lnTo>
                  <a:pt x="11245" y="2569"/>
                </a:lnTo>
                <a:lnTo>
                  <a:pt x="11253" y="2578"/>
                </a:lnTo>
                <a:lnTo>
                  <a:pt x="11261" y="2585"/>
                </a:lnTo>
                <a:lnTo>
                  <a:pt x="11272" y="2590"/>
                </a:lnTo>
                <a:lnTo>
                  <a:pt x="11286" y="2592"/>
                </a:lnTo>
                <a:lnTo>
                  <a:pt x="11302" y="2593"/>
                </a:lnTo>
                <a:lnTo>
                  <a:pt x="11343" y="2592"/>
                </a:lnTo>
                <a:lnTo>
                  <a:pt x="11392" y="2588"/>
                </a:lnTo>
                <a:lnTo>
                  <a:pt x="11392" y="2705"/>
                </a:lnTo>
                <a:lnTo>
                  <a:pt x="11362" y="2712"/>
                </a:lnTo>
                <a:lnTo>
                  <a:pt x="11333" y="2716"/>
                </a:lnTo>
                <a:lnTo>
                  <a:pt x="11303" y="2720"/>
                </a:lnTo>
                <a:lnTo>
                  <a:pt x="11272" y="2721"/>
                </a:lnTo>
                <a:close/>
                <a:moveTo>
                  <a:pt x="10830" y="2721"/>
                </a:moveTo>
                <a:lnTo>
                  <a:pt x="10789" y="2717"/>
                </a:lnTo>
                <a:lnTo>
                  <a:pt x="10753" y="2709"/>
                </a:lnTo>
                <a:lnTo>
                  <a:pt x="10738" y="2702"/>
                </a:lnTo>
                <a:lnTo>
                  <a:pt x="10722" y="2693"/>
                </a:lnTo>
                <a:lnTo>
                  <a:pt x="10710" y="2684"/>
                </a:lnTo>
                <a:lnTo>
                  <a:pt x="10698" y="2674"/>
                </a:lnTo>
                <a:lnTo>
                  <a:pt x="10688" y="2661"/>
                </a:lnTo>
                <a:lnTo>
                  <a:pt x="10679" y="2648"/>
                </a:lnTo>
                <a:lnTo>
                  <a:pt x="10666" y="2617"/>
                </a:lnTo>
                <a:lnTo>
                  <a:pt x="10657" y="2581"/>
                </a:lnTo>
                <a:lnTo>
                  <a:pt x="10655" y="2563"/>
                </a:lnTo>
                <a:lnTo>
                  <a:pt x="10655" y="2542"/>
                </a:lnTo>
                <a:lnTo>
                  <a:pt x="10655" y="2247"/>
                </a:lnTo>
                <a:lnTo>
                  <a:pt x="10549" y="2247"/>
                </a:lnTo>
                <a:lnTo>
                  <a:pt x="10549" y="2132"/>
                </a:lnTo>
                <a:lnTo>
                  <a:pt x="10655" y="2132"/>
                </a:lnTo>
                <a:lnTo>
                  <a:pt x="10655" y="1985"/>
                </a:lnTo>
                <a:lnTo>
                  <a:pt x="10794" y="1950"/>
                </a:lnTo>
                <a:lnTo>
                  <a:pt x="10794" y="2132"/>
                </a:lnTo>
                <a:lnTo>
                  <a:pt x="10940" y="2132"/>
                </a:lnTo>
                <a:lnTo>
                  <a:pt x="10940" y="2247"/>
                </a:lnTo>
                <a:lnTo>
                  <a:pt x="10794" y="2247"/>
                </a:lnTo>
                <a:lnTo>
                  <a:pt x="10794" y="2530"/>
                </a:lnTo>
                <a:lnTo>
                  <a:pt x="10795" y="2546"/>
                </a:lnTo>
                <a:lnTo>
                  <a:pt x="10798" y="2559"/>
                </a:lnTo>
                <a:lnTo>
                  <a:pt x="10803" y="2569"/>
                </a:lnTo>
                <a:lnTo>
                  <a:pt x="10809" y="2578"/>
                </a:lnTo>
                <a:lnTo>
                  <a:pt x="10819" y="2585"/>
                </a:lnTo>
                <a:lnTo>
                  <a:pt x="10830" y="2590"/>
                </a:lnTo>
                <a:lnTo>
                  <a:pt x="10843" y="2592"/>
                </a:lnTo>
                <a:lnTo>
                  <a:pt x="10859" y="2593"/>
                </a:lnTo>
                <a:lnTo>
                  <a:pt x="10901" y="2592"/>
                </a:lnTo>
                <a:lnTo>
                  <a:pt x="10949" y="2588"/>
                </a:lnTo>
                <a:lnTo>
                  <a:pt x="10949" y="2705"/>
                </a:lnTo>
                <a:lnTo>
                  <a:pt x="10920" y="2712"/>
                </a:lnTo>
                <a:lnTo>
                  <a:pt x="10891" y="2716"/>
                </a:lnTo>
                <a:lnTo>
                  <a:pt x="10860" y="2720"/>
                </a:lnTo>
                <a:lnTo>
                  <a:pt x="10830" y="2721"/>
                </a:lnTo>
                <a:close/>
                <a:moveTo>
                  <a:pt x="10307" y="2713"/>
                </a:moveTo>
                <a:lnTo>
                  <a:pt x="10307" y="2132"/>
                </a:lnTo>
                <a:lnTo>
                  <a:pt x="10450" y="2132"/>
                </a:lnTo>
                <a:lnTo>
                  <a:pt x="10450" y="2713"/>
                </a:lnTo>
                <a:lnTo>
                  <a:pt x="10307" y="2713"/>
                </a:lnTo>
                <a:close/>
                <a:moveTo>
                  <a:pt x="10303" y="2052"/>
                </a:moveTo>
                <a:lnTo>
                  <a:pt x="10303" y="1908"/>
                </a:lnTo>
                <a:lnTo>
                  <a:pt x="10453" y="1908"/>
                </a:lnTo>
                <a:lnTo>
                  <a:pt x="10453" y="2052"/>
                </a:lnTo>
                <a:lnTo>
                  <a:pt x="10303" y="2052"/>
                </a:lnTo>
                <a:close/>
                <a:moveTo>
                  <a:pt x="9992" y="2713"/>
                </a:moveTo>
                <a:lnTo>
                  <a:pt x="9992" y="2132"/>
                </a:lnTo>
                <a:lnTo>
                  <a:pt x="10133" y="2132"/>
                </a:lnTo>
                <a:lnTo>
                  <a:pt x="10133" y="2713"/>
                </a:lnTo>
                <a:lnTo>
                  <a:pt x="9992" y="2713"/>
                </a:lnTo>
                <a:close/>
                <a:moveTo>
                  <a:pt x="9988" y="2052"/>
                </a:moveTo>
                <a:lnTo>
                  <a:pt x="9988" y="1908"/>
                </a:lnTo>
                <a:lnTo>
                  <a:pt x="10137" y="1908"/>
                </a:lnTo>
                <a:lnTo>
                  <a:pt x="10137" y="2052"/>
                </a:lnTo>
                <a:lnTo>
                  <a:pt x="9988" y="2052"/>
                </a:lnTo>
                <a:close/>
                <a:moveTo>
                  <a:pt x="9812" y="2720"/>
                </a:moveTo>
                <a:lnTo>
                  <a:pt x="9777" y="2717"/>
                </a:lnTo>
                <a:lnTo>
                  <a:pt x="9762" y="2715"/>
                </a:lnTo>
                <a:lnTo>
                  <a:pt x="9747" y="2711"/>
                </a:lnTo>
                <a:lnTo>
                  <a:pt x="9732" y="2705"/>
                </a:lnTo>
                <a:lnTo>
                  <a:pt x="9719" y="2699"/>
                </a:lnTo>
                <a:lnTo>
                  <a:pt x="9707" y="2691"/>
                </a:lnTo>
                <a:lnTo>
                  <a:pt x="9697" y="2683"/>
                </a:lnTo>
                <a:lnTo>
                  <a:pt x="9687" y="2673"/>
                </a:lnTo>
                <a:lnTo>
                  <a:pt x="9678" y="2662"/>
                </a:lnTo>
                <a:lnTo>
                  <a:pt x="9671" y="2649"/>
                </a:lnTo>
                <a:lnTo>
                  <a:pt x="9665" y="2635"/>
                </a:lnTo>
                <a:lnTo>
                  <a:pt x="9656" y="2602"/>
                </a:lnTo>
                <a:lnTo>
                  <a:pt x="9654" y="2584"/>
                </a:lnTo>
                <a:lnTo>
                  <a:pt x="9653" y="2563"/>
                </a:lnTo>
                <a:lnTo>
                  <a:pt x="9653" y="1906"/>
                </a:lnTo>
                <a:lnTo>
                  <a:pt x="9793" y="1906"/>
                </a:lnTo>
                <a:lnTo>
                  <a:pt x="9793" y="2540"/>
                </a:lnTo>
                <a:lnTo>
                  <a:pt x="9794" y="2552"/>
                </a:lnTo>
                <a:lnTo>
                  <a:pt x="9796" y="2563"/>
                </a:lnTo>
                <a:lnTo>
                  <a:pt x="9799" y="2573"/>
                </a:lnTo>
                <a:lnTo>
                  <a:pt x="9803" y="2580"/>
                </a:lnTo>
                <a:lnTo>
                  <a:pt x="9811" y="2587"/>
                </a:lnTo>
                <a:lnTo>
                  <a:pt x="9820" y="2591"/>
                </a:lnTo>
                <a:lnTo>
                  <a:pt x="9834" y="2594"/>
                </a:lnTo>
                <a:lnTo>
                  <a:pt x="9850" y="2596"/>
                </a:lnTo>
                <a:lnTo>
                  <a:pt x="9873" y="2594"/>
                </a:lnTo>
                <a:lnTo>
                  <a:pt x="9873" y="2712"/>
                </a:lnTo>
                <a:lnTo>
                  <a:pt x="9842" y="2717"/>
                </a:lnTo>
                <a:lnTo>
                  <a:pt x="9812" y="2720"/>
                </a:lnTo>
                <a:close/>
                <a:moveTo>
                  <a:pt x="9479" y="2661"/>
                </a:moveTo>
                <a:lnTo>
                  <a:pt x="9461" y="2677"/>
                </a:lnTo>
                <a:lnTo>
                  <a:pt x="9439" y="2691"/>
                </a:lnTo>
                <a:lnTo>
                  <a:pt x="9416" y="2702"/>
                </a:lnTo>
                <a:lnTo>
                  <a:pt x="9392" y="2712"/>
                </a:lnTo>
                <a:lnTo>
                  <a:pt x="9366" y="2718"/>
                </a:lnTo>
                <a:lnTo>
                  <a:pt x="9338" y="2724"/>
                </a:lnTo>
                <a:lnTo>
                  <a:pt x="9310" y="2726"/>
                </a:lnTo>
                <a:lnTo>
                  <a:pt x="9280" y="2727"/>
                </a:lnTo>
                <a:lnTo>
                  <a:pt x="9253" y="2726"/>
                </a:lnTo>
                <a:lnTo>
                  <a:pt x="9227" y="2724"/>
                </a:lnTo>
                <a:lnTo>
                  <a:pt x="9202" y="2718"/>
                </a:lnTo>
                <a:lnTo>
                  <a:pt x="9177" y="2711"/>
                </a:lnTo>
                <a:lnTo>
                  <a:pt x="9154" y="2702"/>
                </a:lnTo>
                <a:lnTo>
                  <a:pt x="9133" y="2690"/>
                </a:lnTo>
                <a:lnTo>
                  <a:pt x="9112" y="2676"/>
                </a:lnTo>
                <a:lnTo>
                  <a:pt x="9102" y="2668"/>
                </a:lnTo>
                <a:lnTo>
                  <a:pt x="9094" y="2661"/>
                </a:lnTo>
                <a:lnTo>
                  <a:pt x="9082" y="2648"/>
                </a:lnTo>
                <a:lnTo>
                  <a:pt x="9070" y="2634"/>
                </a:lnTo>
                <a:lnTo>
                  <a:pt x="9059" y="2618"/>
                </a:lnTo>
                <a:lnTo>
                  <a:pt x="9050" y="2601"/>
                </a:lnTo>
                <a:lnTo>
                  <a:pt x="9037" y="2565"/>
                </a:lnTo>
                <a:lnTo>
                  <a:pt x="9033" y="2546"/>
                </a:lnTo>
                <a:lnTo>
                  <a:pt x="9032" y="2526"/>
                </a:lnTo>
                <a:lnTo>
                  <a:pt x="9162" y="2526"/>
                </a:lnTo>
                <a:lnTo>
                  <a:pt x="9165" y="2544"/>
                </a:lnTo>
                <a:lnTo>
                  <a:pt x="9167" y="2554"/>
                </a:lnTo>
                <a:lnTo>
                  <a:pt x="9172" y="2564"/>
                </a:lnTo>
                <a:lnTo>
                  <a:pt x="9182" y="2580"/>
                </a:lnTo>
                <a:lnTo>
                  <a:pt x="9187" y="2588"/>
                </a:lnTo>
                <a:lnTo>
                  <a:pt x="9194" y="2593"/>
                </a:lnTo>
                <a:lnTo>
                  <a:pt x="9211" y="2605"/>
                </a:lnTo>
                <a:lnTo>
                  <a:pt x="9232" y="2613"/>
                </a:lnTo>
                <a:lnTo>
                  <a:pt x="9254" y="2617"/>
                </a:lnTo>
                <a:lnTo>
                  <a:pt x="9282" y="2619"/>
                </a:lnTo>
                <a:lnTo>
                  <a:pt x="9320" y="2616"/>
                </a:lnTo>
                <a:lnTo>
                  <a:pt x="9340" y="2613"/>
                </a:lnTo>
                <a:lnTo>
                  <a:pt x="9359" y="2606"/>
                </a:lnTo>
                <a:lnTo>
                  <a:pt x="9367" y="2602"/>
                </a:lnTo>
                <a:lnTo>
                  <a:pt x="9375" y="2597"/>
                </a:lnTo>
                <a:lnTo>
                  <a:pt x="9382" y="2591"/>
                </a:lnTo>
                <a:lnTo>
                  <a:pt x="9388" y="2584"/>
                </a:lnTo>
                <a:lnTo>
                  <a:pt x="9397" y="2567"/>
                </a:lnTo>
                <a:lnTo>
                  <a:pt x="9399" y="2556"/>
                </a:lnTo>
                <a:lnTo>
                  <a:pt x="9400" y="2546"/>
                </a:lnTo>
                <a:lnTo>
                  <a:pt x="9399" y="2534"/>
                </a:lnTo>
                <a:lnTo>
                  <a:pt x="9396" y="2523"/>
                </a:lnTo>
                <a:lnTo>
                  <a:pt x="9391" y="2513"/>
                </a:lnTo>
                <a:lnTo>
                  <a:pt x="9385" y="2504"/>
                </a:lnTo>
                <a:lnTo>
                  <a:pt x="9376" y="2498"/>
                </a:lnTo>
                <a:lnTo>
                  <a:pt x="9366" y="2491"/>
                </a:lnTo>
                <a:lnTo>
                  <a:pt x="9342" y="2485"/>
                </a:lnTo>
                <a:lnTo>
                  <a:pt x="9302" y="2479"/>
                </a:lnTo>
                <a:lnTo>
                  <a:pt x="9262" y="2474"/>
                </a:lnTo>
                <a:lnTo>
                  <a:pt x="9221" y="2469"/>
                </a:lnTo>
                <a:lnTo>
                  <a:pt x="9182" y="2462"/>
                </a:lnTo>
                <a:lnTo>
                  <a:pt x="9153" y="2453"/>
                </a:lnTo>
                <a:lnTo>
                  <a:pt x="9127" y="2441"/>
                </a:lnTo>
                <a:lnTo>
                  <a:pt x="9104" y="2425"/>
                </a:lnTo>
                <a:lnTo>
                  <a:pt x="9085" y="2405"/>
                </a:lnTo>
                <a:lnTo>
                  <a:pt x="9070" y="2383"/>
                </a:lnTo>
                <a:lnTo>
                  <a:pt x="9059" y="2359"/>
                </a:lnTo>
                <a:lnTo>
                  <a:pt x="9051" y="2333"/>
                </a:lnTo>
                <a:lnTo>
                  <a:pt x="9049" y="2306"/>
                </a:lnTo>
                <a:lnTo>
                  <a:pt x="9050" y="2286"/>
                </a:lnTo>
                <a:lnTo>
                  <a:pt x="9053" y="2265"/>
                </a:lnTo>
                <a:lnTo>
                  <a:pt x="9059" y="2247"/>
                </a:lnTo>
                <a:lnTo>
                  <a:pt x="9065" y="2230"/>
                </a:lnTo>
                <a:lnTo>
                  <a:pt x="9084" y="2201"/>
                </a:lnTo>
                <a:lnTo>
                  <a:pt x="9108" y="2176"/>
                </a:lnTo>
                <a:lnTo>
                  <a:pt x="9144" y="2152"/>
                </a:lnTo>
                <a:lnTo>
                  <a:pt x="9163" y="2141"/>
                </a:lnTo>
                <a:lnTo>
                  <a:pt x="9185" y="2133"/>
                </a:lnTo>
                <a:lnTo>
                  <a:pt x="9208" y="2127"/>
                </a:lnTo>
                <a:lnTo>
                  <a:pt x="9232" y="2121"/>
                </a:lnTo>
                <a:lnTo>
                  <a:pt x="9258" y="2119"/>
                </a:lnTo>
                <a:lnTo>
                  <a:pt x="9284" y="2118"/>
                </a:lnTo>
                <a:lnTo>
                  <a:pt x="9310" y="2119"/>
                </a:lnTo>
                <a:lnTo>
                  <a:pt x="9336" y="2122"/>
                </a:lnTo>
                <a:lnTo>
                  <a:pt x="9361" y="2128"/>
                </a:lnTo>
                <a:lnTo>
                  <a:pt x="9385" y="2134"/>
                </a:lnTo>
                <a:lnTo>
                  <a:pt x="9408" y="2144"/>
                </a:lnTo>
                <a:lnTo>
                  <a:pt x="9429" y="2156"/>
                </a:lnTo>
                <a:lnTo>
                  <a:pt x="9449" y="2170"/>
                </a:lnTo>
                <a:lnTo>
                  <a:pt x="9466" y="2185"/>
                </a:lnTo>
                <a:lnTo>
                  <a:pt x="9477" y="2199"/>
                </a:lnTo>
                <a:lnTo>
                  <a:pt x="9487" y="2213"/>
                </a:lnTo>
                <a:lnTo>
                  <a:pt x="9503" y="2242"/>
                </a:lnTo>
                <a:lnTo>
                  <a:pt x="9514" y="2274"/>
                </a:lnTo>
                <a:lnTo>
                  <a:pt x="9517" y="2305"/>
                </a:lnTo>
                <a:lnTo>
                  <a:pt x="9385" y="2305"/>
                </a:lnTo>
                <a:lnTo>
                  <a:pt x="9383" y="2290"/>
                </a:lnTo>
                <a:lnTo>
                  <a:pt x="9378" y="2275"/>
                </a:lnTo>
                <a:lnTo>
                  <a:pt x="9371" y="2263"/>
                </a:lnTo>
                <a:lnTo>
                  <a:pt x="9361" y="2251"/>
                </a:lnTo>
                <a:lnTo>
                  <a:pt x="9346" y="2240"/>
                </a:lnTo>
                <a:lnTo>
                  <a:pt x="9327" y="2231"/>
                </a:lnTo>
                <a:lnTo>
                  <a:pt x="9307" y="2226"/>
                </a:lnTo>
                <a:lnTo>
                  <a:pt x="9285" y="2224"/>
                </a:lnTo>
                <a:lnTo>
                  <a:pt x="9255" y="2225"/>
                </a:lnTo>
                <a:lnTo>
                  <a:pt x="9240" y="2228"/>
                </a:lnTo>
                <a:lnTo>
                  <a:pt x="9225" y="2233"/>
                </a:lnTo>
                <a:lnTo>
                  <a:pt x="9216" y="2238"/>
                </a:lnTo>
                <a:lnTo>
                  <a:pt x="9208" y="2242"/>
                </a:lnTo>
                <a:lnTo>
                  <a:pt x="9194" y="2256"/>
                </a:lnTo>
                <a:lnTo>
                  <a:pt x="9188" y="2264"/>
                </a:lnTo>
                <a:lnTo>
                  <a:pt x="9184" y="2274"/>
                </a:lnTo>
                <a:lnTo>
                  <a:pt x="9182" y="2283"/>
                </a:lnTo>
                <a:lnTo>
                  <a:pt x="9181" y="2294"/>
                </a:lnTo>
                <a:lnTo>
                  <a:pt x="9182" y="2308"/>
                </a:lnTo>
                <a:lnTo>
                  <a:pt x="9186" y="2320"/>
                </a:lnTo>
                <a:lnTo>
                  <a:pt x="9194" y="2330"/>
                </a:lnTo>
                <a:lnTo>
                  <a:pt x="9202" y="2337"/>
                </a:lnTo>
                <a:lnTo>
                  <a:pt x="9212" y="2343"/>
                </a:lnTo>
                <a:lnTo>
                  <a:pt x="9224" y="2348"/>
                </a:lnTo>
                <a:lnTo>
                  <a:pt x="9247" y="2352"/>
                </a:lnTo>
                <a:lnTo>
                  <a:pt x="9308" y="2359"/>
                </a:lnTo>
                <a:lnTo>
                  <a:pt x="9371" y="2369"/>
                </a:lnTo>
                <a:lnTo>
                  <a:pt x="9404" y="2377"/>
                </a:lnTo>
                <a:lnTo>
                  <a:pt x="9420" y="2381"/>
                </a:lnTo>
                <a:lnTo>
                  <a:pt x="9435" y="2388"/>
                </a:lnTo>
                <a:lnTo>
                  <a:pt x="9461" y="2403"/>
                </a:lnTo>
                <a:lnTo>
                  <a:pt x="9474" y="2413"/>
                </a:lnTo>
                <a:lnTo>
                  <a:pt x="9485" y="2423"/>
                </a:lnTo>
                <a:lnTo>
                  <a:pt x="9495" y="2433"/>
                </a:lnTo>
                <a:lnTo>
                  <a:pt x="9503" y="2444"/>
                </a:lnTo>
                <a:lnTo>
                  <a:pt x="9517" y="2470"/>
                </a:lnTo>
                <a:lnTo>
                  <a:pt x="9523" y="2486"/>
                </a:lnTo>
                <a:lnTo>
                  <a:pt x="9526" y="2501"/>
                </a:lnTo>
                <a:lnTo>
                  <a:pt x="9529" y="2534"/>
                </a:lnTo>
                <a:lnTo>
                  <a:pt x="9528" y="2553"/>
                </a:lnTo>
                <a:lnTo>
                  <a:pt x="9526" y="2573"/>
                </a:lnTo>
                <a:lnTo>
                  <a:pt x="9522" y="2590"/>
                </a:lnTo>
                <a:lnTo>
                  <a:pt x="9515" y="2606"/>
                </a:lnTo>
                <a:lnTo>
                  <a:pt x="9509" y="2622"/>
                </a:lnTo>
                <a:lnTo>
                  <a:pt x="9500" y="2636"/>
                </a:lnTo>
                <a:lnTo>
                  <a:pt x="9479" y="2661"/>
                </a:lnTo>
                <a:close/>
                <a:moveTo>
                  <a:pt x="8793" y="2713"/>
                </a:moveTo>
                <a:lnTo>
                  <a:pt x="8782" y="2637"/>
                </a:lnTo>
                <a:lnTo>
                  <a:pt x="8770" y="2658"/>
                </a:lnTo>
                <a:lnTo>
                  <a:pt x="8755" y="2675"/>
                </a:lnTo>
                <a:lnTo>
                  <a:pt x="8737" y="2690"/>
                </a:lnTo>
                <a:lnTo>
                  <a:pt x="8717" y="2703"/>
                </a:lnTo>
                <a:lnTo>
                  <a:pt x="8694" y="2714"/>
                </a:lnTo>
                <a:lnTo>
                  <a:pt x="8669" y="2722"/>
                </a:lnTo>
                <a:lnTo>
                  <a:pt x="8643" y="2726"/>
                </a:lnTo>
                <a:lnTo>
                  <a:pt x="8615" y="2727"/>
                </a:lnTo>
                <a:lnTo>
                  <a:pt x="8594" y="2726"/>
                </a:lnTo>
                <a:lnTo>
                  <a:pt x="8572" y="2724"/>
                </a:lnTo>
                <a:lnTo>
                  <a:pt x="8551" y="2718"/>
                </a:lnTo>
                <a:lnTo>
                  <a:pt x="8533" y="2712"/>
                </a:lnTo>
                <a:lnTo>
                  <a:pt x="8514" y="2704"/>
                </a:lnTo>
                <a:lnTo>
                  <a:pt x="8498" y="2695"/>
                </a:lnTo>
                <a:lnTo>
                  <a:pt x="8483" y="2683"/>
                </a:lnTo>
                <a:lnTo>
                  <a:pt x="8469" y="2671"/>
                </a:lnTo>
                <a:lnTo>
                  <a:pt x="8457" y="2655"/>
                </a:lnTo>
                <a:lnTo>
                  <a:pt x="8446" y="2640"/>
                </a:lnTo>
                <a:lnTo>
                  <a:pt x="8430" y="2604"/>
                </a:lnTo>
                <a:lnTo>
                  <a:pt x="8419" y="2564"/>
                </a:lnTo>
                <a:lnTo>
                  <a:pt x="8417" y="2542"/>
                </a:lnTo>
                <a:lnTo>
                  <a:pt x="8416" y="2519"/>
                </a:lnTo>
                <a:lnTo>
                  <a:pt x="8416" y="2132"/>
                </a:lnTo>
                <a:lnTo>
                  <a:pt x="8555" y="2132"/>
                </a:lnTo>
                <a:lnTo>
                  <a:pt x="8555" y="2489"/>
                </a:lnTo>
                <a:lnTo>
                  <a:pt x="8556" y="2513"/>
                </a:lnTo>
                <a:lnTo>
                  <a:pt x="8560" y="2535"/>
                </a:lnTo>
                <a:lnTo>
                  <a:pt x="8567" y="2553"/>
                </a:lnTo>
                <a:lnTo>
                  <a:pt x="8577" y="2569"/>
                </a:lnTo>
                <a:lnTo>
                  <a:pt x="8590" y="2582"/>
                </a:lnTo>
                <a:lnTo>
                  <a:pt x="8608" y="2591"/>
                </a:lnTo>
                <a:lnTo>
                  <a:pt x="8630" y="2597"/>
                </a:lnTo>
                <a:lnTo>
                  <a:pt x="8655" y="2599"/>
                </a:lnTo>
                <a:lnTo>
                  <a:pt x="8677" y="2597"/>
                </a:lnTo>
                <a:lnTo>
                  <a:pt x="8697" y="2591"/>
                </a:lnTo>
                <a:lnTo>
                  <a:pt x="8713" y="2581"/>
                </a:lnTo>
                <a:lnTo>
                  <a:pt x="8726" y="2571"/>
                </a:lnTo>
                <a:lnTo>
                  <a:pt x="8738" y="2557"/>
                </a:lnTo>
                <a:lnTo>
                  <a:pt x="8747" y="2543"/>
                </a:lnTo>
                <a:lnTo>
                  <a:pt x="8755" y="2527"/>
                </a:lnTo>
                <a:lnTo>
                  <a:pt x="8760" y="2511"/>
                </a:lnTo>
                <a:lnTo>
                  <a:pt x="8764" y="2493"/>
                </a:lnTo>
                <a:lnTo>
                  <a:pt x="8767" y="2475"/>
                </a:lnTo>
                <a:lnTo>
                  <a:pt x="8769" y="2439"/>
                </a:lnTo>
                <a:lnTo>
                  <a:pt x="8769" y="2132"/>
                </a:lnTo>
                <a:lnTo>
                  <a:pt x="8908" y="2132"/>
                </a:lnTo>
                <a:lnTo>
                  <a:pt x="8908" y="2713"/>
                </a:lnTo>
                <a:lnTo>
                  <a:pt x="8793" y="2713"/>
                </a:lnTo>
                <a:close/>
                <a:moveTo>
                  <a:pt x="8190" y="2713"/>
                </a:moveTo>
                <a:lnTo>
                  <a:pt x="8028" y="2460"/>
                </a:lnTo>
                <a:lnTo>
                  <a:pt x="7934" y="2560"/>
                </a:lnTo>
                <a:lnTo>
                  <a:pt x="7934" y="2713"/>
                </a:lnTo>
                <a:lnTo>
                  <a:pt x="7795" y="2713"/>
                </a:lnTo>
                <a:lnTo>
                  <a:pt x="7795" y="1907"/>
                </a:lnTo>
                <a:lnTo>
                  <a:pt x="7934" y="1907"/>
                </a:lnTo>
                <a:lnTo>
                  <a:pt x="7934" y="2368"/>
                </a:lnTo>
                <a:lnTo>
                  <a:pt x="8155" y="2132"/>
                </a:lnTo>
                <a:lnTo>
                  <a:pt x="8330" y="2132"/>
                </a:lnTo>
                <a:lnTo>
                  <a:pt x="8122" y="2357"/>
                </a:lnTo>
                <a:lnTo>
                  <a:pt x="8351" y="2713"/>
                </a:lnTo>
                <a:lnTo>
                  <a:pt x="8190" y="2713"/>
                </a:lnTo>
                <a:close/>
                <a:moveTo>
                  <a:pt x="7618" y="2661"/>
                </a:moveTo>
                <a:lnTo>
                  <a:pt x="7600" y="2677"/>
                </a:lnTo>
                <a:lnTo>
                  <a:pt x="7578" y="2691"/>
                </a:lnTo>
                <a:lnTo>
                  <a:pt x="7555" y="2702"/>
                </a:lnTo>
                <a:lnTo>
                  <a:pt x="7531" y="2712"/>
                </a:lnTo>
                <a:lnTo>
                  <a:pt x="7505" y="2718"/>
                </a:lnTo>
                <a:lnTo>
                  <a:pt x="7477" y="2724"/>
                </a:lnTo>
                <a:lnTo>
                  <a:pt x="7448" y="2726"/>
                </a:lnTo>
                <a:lnTo>
                  <a:pt x="7419" y="2727"/>
                </a:lnTo>
                <a:lnTo>
                  <a:pt x="7392" y="2726"/>
                </a:lnTo>
                <a:lnTo>
                  <a:pt x="7366" y="2724"/>
                </a:lnTo>
                <a:lnTo>
                  <a:pt x="7340" y="2718"/>
                </a:lnTo>
                <a:lnTo>
                  <a:pt x="7316" y="2711"/>
                </a:lnTo>
                <a:lnTo>
                  <a:pt x="7293" y="2702"/>
                </a:lnTo>
                <a:lnTo>
                  <a:pt x="7271" y="2690"/>
                </a:lnTo>
                <a:lnTo>
                  <a:pt x="7251" y="2676"/>
                </a:lnTo>
                <a:lnTo>
                  <a:pt x="7241" y="2668"/>
                </a:lnTo>
                <a:lnTo>
                  <a:pt x="7232" y="2661"/>
                </a:lnTo>
                <a:lnTo>
                  <a:pt x="7219" y="2648"/>
                </a:lnTo>
                <a:lnTo>
                  <a:pt x="7208" y="2634"/>
                </a:lnTo>
                <a:lnTo>
                  <a:pt x="7197" y="2618"/>
                </a:lnTo>
                <a:lnTo>
                  <a:pt x="7189" y="2601"/>
                </a:lnTo>
                <a:lnTo>
                  <a:pt x="7176" y="2565"/>
                </a:lnTo>
                <a:lnTo>
                  <a:pt x="7171" y="2546"/>
                </a:lnTo>
                <a:lnTo>
                  <a:pt x="7170" y="2526"/>
                </a:lnTo>
                <a:lnTo>
                  <a:pt x="7301" y="2526"/>
                </a:lnTo>
                <a:lnTo>
                  <a:pt x="7304" y="2544"/>
                </a:lnTo>
                <a:lnTo>
                  <a:pt x="7306" y="2554"/>
                </a:lnTo>
                <a:lnTo>
                  <a:pt x="7311" y="2564"/>
                </a:lnTo>
                <a:lnTo>
                  <a:pt x="7320" y="2580"/>
                </a:lnTo>
                <a:lnTo>
                  <a:pt x="7326" y="2588"/>
                </a:lnTo>
                <a:lnTo>
                  <a:pt x="7332" y="2593"/>
                </a:lnTo>
                <a:lnTo>
                  <a:pt x="7350" y="2605"/>
                </a:lnTo>
                <a:lnTo>
                  <a:pt x="7370" y="2613"/>
                </a:lnTo>
                <a:lnTo>
                  <a:pt x="7393" y="2617"/>
                </a:lnTo>
                <a:lnTo>
                  <a:pt x="7420" y="2619"/>
                </a:lnTo>
                <a:lnTo>
                  <a:pt x="7458" y="2616"/>
                </a:lnTo>
                <a:lnTo>
                  <a:pt x="7479" y="2613"/>
                </a:lnTo>
                <a:lnTo>
                  <a:pt x="7497" y="2606"/>
                </a:lnTo>
                <a:lnTo>
                  <a:pt x="7506" y="2602"/>
                </a:lnTo>
                <a:lnTo>
                  <a:pt x="7514" y="2597"/>
                </a:lnTo>
                <a:lnTo>
                  <a:pt x="7520" y="2591"/>
                </a:lnTo>
                <a:lnTo>
                  <a:pt x="7527" y="2584"/>
                </a:lnTo>
                <a:lnTo>
                  <a:pt x="7535" y="2567"/>
                </a:lnTo>
                <a:lnTo>
                  <a:pt x="7538" y="2556"/>
                </a:lnTo>
                <a:lnTo>
                  <a:pt x="7539" y="2546"/>
                </a:lnTo>
                <a:lnTo>
                  <a:pt x="7538" y="2534"/>
                </a:lnTo>
                <a:lnTo>
                  <a:pt x="7534" y="2523"/>
                </a:lnTo>
                <a:lnTo>
                  <a:pt x="7530" y="2513"/>
                </a:lnTo>
                <a:lnTo>
                  <a:pt x="7523" y="2504"/>
                </a:lnTo>
                <a:lnTo>
                  <a:pt x="7515" y="2498"/>
                </a:lnTo>
                <a:lnTo>
                  <a:pt x="7505" y="2491"/>
                </a:lnTo>
                <a:lnTo>
                  <a:pt x="7481" y="2485"/>
                </a:lnTo>
                <a:lnTo>
                  <a:pt x="7441" y="2479"/>
                </a:lnTo>
                <a:lnTo>
                  <a:pt x="7401" y="2474"/>
                </a:lnTo>
                <a:lnTo>
                  <a:pt x="7359" y="2469"/>
                </a:lnTo>
                <a:lnTo>
                  <a:pt x="7320" y="2462"/>
                </a:lnTo>
                <a:lnTo>
                  <a:pt x="7292" y="2453"/>
                </a:lnTo>
                <a:lnTo>
                  <a:pt x="7266" y="2441"/>
                </a:lnTo>
                <a:lnTo>
                  <a:pt x="7243" y="2425"/>
                </a:lnTo>
                <a:lnTo>
                  <a:pt x="7224" y="2405"/>
                </a:lnTo>
                <a:lnTo>
                  <a:pt x="7208" y="2383"/>
                </a:lnTo>
                <a:lnTo>
                  <a:pt x="7197" y="2359"/>
                </a:lnTo>
                <a:lnTo>
                  <a:pt x="7190" y="2333"/>
                </a:lnTo>
                <a:lnTo>
                  <a:pt x="7188" y="2306"/>
                </a:lnTo>
                <a:lnTo>
                  <a:pt x="7189" y="2286"/>
                </a:lnTo>
                <a:lnTo>
                  <a:pt x="7192" y="2265"/>
                </a:lnTo>
                <a:lnTo>
                  <a:pt x="7197" y="2247"/>
                </a:lnTo>
                <a:lnTo>
                  <a:pt x="7204" y="2230"/>
                </a:lnTo>
                <a:lnTo>
                  <a:pt x="7222" y="2201"/>
                </a:lnTo>
                <a:lnTo>
                  <a:pt x="7246" y="2176"/>
                </a:lnTo>
                <a:lnTo>
                  <a:pt x="7281" y="2152"/>
                </a:lnTo>
                <a:lnTo>
                  <a:pt x="7302" y="2141"/>
                </a:lnTo>
                <a:lnTo>
                  <a:pt x="7324" y="2133"/>
                </a:lnTo>
                <a:lnTo>
                  <a:pt x="7346" y="2127"/>
                </a:lnTo>
                <a:lnTo>
                  <a:pt x="7370" y="2121"/>
                </a:lnTo>
                <a:lnTo>
                  <a:pt x="7396" y="2119"/>
                </a:lnTo>
                <a:lnTo>
                  <a:pt x="7422" y="2118"/>
                </a:lnTo>
                <a:lnTo>
                  <a:pt x="7448" y="2119"/>
                </a:lnTo>
                <a:lnTo>
                  <a:pt x="7475" y="2122"/>
                </a:lnTo>
                <a:lnTo>
                  <a:pt x="7500" y="2128"/>
                </a:lnTo>
                <a:lnTo>
                  <a:pt x="7523" y="2134"/>
                </a:lnTo>
                <a:lnTo>
                  <a:pt x="7546" y="2144"/>
                </a:lnTo>
                <a:lnTo>
                  <a:pt x="7568" y="2156"/>
                </a:lnTo>
                <a:lnTo>
                  <a:pt x="7588" y="2170"/>
                </a:lnTo>
                <a:lnTo>
                  <a:pt x="7605" y="2185"/>
                </a:lnTo>
                <a:lnTo>
                  <a:pt x="7626" y="2213"/>
                </a:lnTo>
                <a:lnTo>
                  <a:pt x="7642" y="2242"/>
                </a:lnTo>
                <a:lnTo>
                  <a:pt x="7647" y="2258"/>
                </a:lnTo>
                <a:lnTo>
                  <a:pt x="7652" y="2274"/>
                </a:lnTo>
                <a:lnTo>
                  <a:pt x="7656" y="2305"/>
                </a:lnTo>
                <a:lnTo>
                  <a:pt x="7523" y="2305"/>
                </a:lnTo>
                <a:lnTo>
                  <a:pt x="7521" y="2290"/>
                </a:lnTo>
                <a:lnTo>
                  <a:pt x="7516" y="2275"/>
                </a:lnTo>
                <a:lnTo>
                  <a:pt x="7509" y="2263"/>
                </a:lnTo>
                <a:lnTo>
                  <a:pt x="7500" y="2251"/>
                </a:lnTo>
                <a:lnTo>
                  <a:pt x="7484" y="2240"/>
                </a:lnTo>
                <a:lnTo>
                  <a:pt x="7466" y="2231"/>
                </a:lnTo>
                <a:lnTo>
                  <a:pt x="7445" y="2226"/>
                </a:lnTo>
                <a:lnTo>
                  <a:pt x="7424" y="2224"/>
                </a:lnTo>
                <a:lnTo>
                  <a:pt x="7394" y="2225"/>
                </a:lnTo>
                <a:lnTo>
                  <a:pt x="7379" y="2228"/>
                </a:lnTo>
                <a:lnTo>
                  <a:pt x="7364" y="2233"/>
                </a:lnTo>
                <a:lnTo>
                  <a:pt x="7355" y="2238"/>
                </a:lnTo>
                <a:lnTo>
                  <a:pt x="7346" y="2242"/>
                </a:lnTo>
                <a:lnTo>
                  <a:pt x="7332" y="2256"/>
                </a:lnTo>
                <a:lnTo>
                  <a:pt x="7327" y="2264"/>
                </a:lnTo>
                <a:lnTo>
                  <a:pt x="7322" y="2274"/>
                </a:lnTo>
                <a:lnTo>
                  <a:pt x="7320" y="2283"/>
                </a:lnTo>
                <a:lnTo>
                  <a:pt x="7319" y="2294"/>
                </a:lnTo>
                <a:lnTo>
                  <a:pt x="7320" y="2308"/>
                </a:lnTo>
                <a:lnTo>
                  <a:pt x="7325" y="2320"/>
                </a:lnTo>
                <a:lnTo>
                  <a:pt x="7332" y="2330"/>
                </a:lnTo>
                <a:lnTo>
                  <a:pt x="7341" y="2337"/>
                </a:lnTo>
                <a:lnTo>
                  <a:pt x="7351" y="2343"/>
                </a:lnTo>
                <a:lnTo>
                  <a:pt x="7363" y="2348"/>
                </a:lnTo>
                <a:lnTo>
                  <a:pt x="7385" y="2352"/>
                </a:lnTo>
                <a:lnTo>
                  <a:pt x="7446" y="2359"/>
                </a:lnTo>
                <a:lnTo>
                  <a:pt x="7509" y="2369"/>
                </a:lnTo>
                <a:lnTo>
                  <a:pt x="7543" y="2377"/>
                </a:lnTo>
                <a:lnTo>
                  <a:pt x="7558" y="2381"/>
                </a:lnTo>
                <a:lnTo>
                  <a:pt x="7573" y="2388"/>
                </a:lnTo>
                <a:lnTo>
                  <a:pt x="7600" y="2403"/>
                </a:lnTo>
                <a:lnTo>
                  <a:pt x="7613" y="2413"/>
                </a:lnTo>
                <a:lnTo>
                  <a:pt x="7623" y="2423"/>
                </a:lnTo>
                <a:lnTo>
                  <a:pt x="7633" y="2433"/>
                </a:lnTo>
                <a:lnTo>
                  <a:pt x="7642" y="2444"/>
                </a:lnTo>
                <a:lnTo>
                  <a:pt x="7656" y="2470"/>
                </a:lnTo>
                <a:lnTo>
                  <a:pt x="7661" y="2486"/>
                </a:lnTo>
                <a:lnTo>
                  <a:pt x="7665" y="2501"/>
                </a:lnTo>
                <a:lnTo>
                  <a:pt x="7668" y="2534"/>
                </a:lnTo>
                <a:lnTo>
                  <a:pt x="7667" y="2553"/>
                </a:lnTo>
                <a:lnTo>
                  <a:pt x="7665" y="2573"/>
                </a:lnTo>
                <a:lnTo>
                  <a:pt x="7660" y="2590"/>
                </a:lnTo>
                <a:lnTo>
                  <a:pt x="7654" y="2606"/>
                </a:lnTo>
                <a:lnTo>
                  <a:pt x="7647" y="2622"/>
                </a:lnTo>
                <a:lnTo>
                  <a:pt x="7639" y="2636"/>
                </a:lnTo>
                <a:lnTo>
                  <a:pt x="7618" y="2661"/>
                </a:lnTo>
                <a:close/>
                <a:moveTo>
                  <a:pt x="6915" y="2263"/>
                </a:moveTo>
                <a:lnTo>
                  <a:pt x="6907" y="2256"/>
                </a:lnTo>
                <a:lnTo>
                  <a:pt x="6899" y="2250"/>
                </a:lnTo>
                <a:lnTo>
                  <a:pt x="6879" y="2239"/>
                </a:lnTo>
                <a:lnTo>
                  <a:pt x="6867" y="2234"/>
                </a:lnTo>
                <a:lnTo>
                  <a:pt x="6855" y="2232"/>
                </a:lnTo>
                <a:lnTo>
                  <a:pt x="6827" y="2229"/>
                </a:lnTo>
                <a:lnTo>
                  <a:pt x="6797" y="2232"/>
                </a:lnTo>
                <a:lnTo>
                  <a:pt x="6770" y="2242"/>
                </a:lnTo>
                <a:lnTo>
                  <a:pt x="6748" y="2256"/>
                </a:lnTo>
                <a:lnTo>
                  <a:pt x="6738" y="2265"/>
                </a:lnTo>
                <a:lnTo>
                  <a:pt x="6730" y="2275"/>
                </a:lnTo>
                <a:lnTo>
                  <a:pt x="6717" y="2294"/>
                </a:lnTo>
                <a:lnTo>
                  <a:pt x="6707" y="2315"/>
                </a:lnTo>
                <a:lnTo>
                  <a:pt x="6702" y="2338"/>
                </a:lnTo>
                <a:lnTo>
                  <a:pt x="6700" y="2365"/>
                </a:lnTo>
                <a:lnTo>
                  <a:pt x="6951" y="2365"/>
                </a:lnTo>
                <a:lnTo>
                  <a:pt x="6950" y="2349"/>
                </a:lnTo>
                <a:lnTo>
                  <a:pt x="6948" y="2333"/>
                </a:lnTo>
                <a:lnTo>
                  <a:pt x="6941" y="2306"/>
                </a:lnTo>
                <a:lnTo>
                  <a:pt x="6930" y="2283"/>
                </a:lnTo>
                <a:lnTo>
                  <a:pt x="6924" y="2272"/>
                </a:lnTo>
                <a:lnTo>
                  <a:pt x="6915" y="2263"/>
                </a:lnTo>
                <a:close/>
                <a:moveTo>
                  <a:pt x="7089" y="2466"/>
                </a:moveTo>
                <a:lnTo>
                  <a:pt x="6701" y="2466"/>
                </a:lnTo>
                <a:lnTo>
                  <a:pt x="6702" y="2482"/>
                </a:lnTo>
                <a:lnTo>
                  <a:pt x="6703" y="2499"/>
                </a:lnTo>
                <a:lnTo>
                  <a:pt x="6712" y="2530"/>
                </a:lnTo>
                <a:lnTo>
                  <a:pt x="6717" y="2544"/>
                </a:lnTo>
                <a:lnTo>
                  <a:pt x="6725" y="2557"/>
                </a:lnTo>
                <a:lnTo>
                  <a:pt x="6734" y="2569"/>
                </a:lnTo>
                <a:lnTo>
                  <a:pt x="6743" y="2580"/>
                </a:lnTo>
                <a:lnTo>
                  <a:pt x="6760" y="2593"/>
                </a:lnTo>
                <a:lnTo>
                  <a:pt x="6780" y="2605"/>
                </a:lnTo>
                <a:lnTo>
                  <a:pt x="6803" y="2613"/>
                </a:lnTo>
                <a:lnTo>
                  <a:pt x="6829" y="2616"/>
                </a:lnTo>
                <a:lnTo>
                  <a:pt x="6856" y="2614"/>
                </a:lnTo>
                <a:lnTo>
                  <a:pt x="6879" y="2610"/>
                </a:lnTo>
                <a:lnTo>
                  <a:pt x="6898" y="2601"/>
                </a:lnTo>
                <a:lnTo>
                  <a:pt x="6914" y="2588"/>
                </a:lnTo>
                <a:lnTo>
                  <a:pt x="6923" y="2578"/>
                </a:lnTo>
                <a:lnTo>
                  <a:pt x="6930" y="2566"/>
                </a:lnTo>
                <a:lnTo>
                  <a:pt x="6937" y="2554"/>
                </a:lnTo>
                <a:lnTo>
                  <a:pt x="6942" y="2539"/>
                </a:lnTo>
                <a:lnTo>
                  <a:pt x="7076" y="2539"/>
                </a:lnTo>
                <a:lnTo>
                  <a:pt x="7070" y="2566"/>
                </a:lnTo>
                <a:lnTo>
                  <a:pt x="7065" y="2580"/>
                </a:lnTo>
                <a:lnTo>
                  <a:pt x="7058" y="2596"/>
                </a:lnTo>
                <a:lnTo>
                  <a:pt x="7043" y="2623"/>
                </a:lnTo>
                <a:lnTo>
                  <a:pt x="7027" y="2646"/>
                </a:lnTo>
                <a:lnTo>
                  <a:pt x="7007" y="2666"/>
                </a:lnTo>
                <a:lnTo>
                  <a:pt x="6986" y="2684"/>
                </a:lnTo>
                <a:lnTo>
                  <a:pt x="6963" y="2698"/>
                </a:lnTo>
                <a:lnTo>
                  <a:pt x="6939" y="2709"/>
                </a:lnTo>
                <a:lnTo>
                  <a:pt x="6913" y="2717"/>
                </a:lnTo>
                <a:lnTo>
                  <a:pt x="6887" y="2723"/>
                </a:lnTo>
                <a:lnTo>
                  <a:pt x="6860" y="2726"/>
                </a:lnTo>
                <a:lnTo>
                  <a:pt x="6831" y="2727"/>
                </a:lnTo>
                <a:lnTo>
                  <a:pt x="6803" y="2726"/>
                </a:lnTo>
                <a:lnTo>
                  <a:pt x="6776" y="2723"/>
                </a:lnTo>
                <a:lnTo>
                  <a:pt x="6763" y="2720"/>
                </a:lnTo>
                <a:lnTo>
                  <a:pt x="6751" y="2716"/>
                </a:lnTo>
                <a:lnTo>
                  <a:pt x="6728" y="2708"/>
                </a:lnTo>
                <a:lnTo>
                  <a:pt x="6705" y="2698"/>
                </a:lnTo>
                <a:lnTo>
                  <a:pt x="6686" y="2686"/>
                </a:lnTo>
                <a:lnTo>
                  <a:pt x="6666" y="2672"/>
                </a:lnTo>
                <a:lnTo>
                  <a:pt x="6649" y="2656"/>
                </a:lnTo>
                <a:lnTo>
                  <a:pt x="6628" y="2634"/>
                </a:lnTo>
                <a:lnTo>
                  <a:pt x="6611" y="2610"/>
                </a:lnTo>
                <a:lnTo>
                  <a:pt x="6596" y="2584"/>
                </a:lnTo>
                <a:lnTo>
                  <a:pt x="6582" y="2554"/>
                </a:lnTo>
                <a:lnTo>
                  <a:pt x="6577" y="2540"/>
                </a:lnTo>
                <a:lnTo>
                  <a:pt x="6573" y="2524"/>
                </a:lnTo>
                <a:lnTo>
                  <a:pt x="6565" y="2492"/>
                </a:lnTo>
                <a:lnTo>
                  <a:pt x="6561" y="2458"/>
                </a:lnTo>
                <a:lnTo>
                  <a:pt x="6560" y="2424"/>
                </a:lnTo>
                <a:lnTo>
                  <a:pt x="6561" y="2390"/>
                </a:lnTo>
                <a:lnTo>
                  <a:pt x="6565" y="2356"/>
                </a:lnTo>
                <a:lnTo>
                  <a:pt x="6572" y="2325"/>
                </a:lnTo>
                <a:lnTo>
                  <a:pt x="6580" y="2294"/>
                </a:lnTo>
                <a:lnTo>
                  <a:pt x="6592" y="2266"/>
                </a:lnTo>
                <a:lnTo>
                  <a:pt x="6606" y="2239"/>
                </a:lnTo>
                <a:lnTo>
                  <a:pt x="6624" y="2214"/>
                </a:lnTo>
                <a:lnTo>
                  <a:pt x="6643" y="2192"/>
                </a:lnTo>
                <a:lnTo>
                  <a:pt x="6661" y="2176"/>
                </a:lnTo>
                <a:lnTo>
                  <a:pt x="6679" y="2162"/>
                </a:lnTo>
                <a:lnTo>
                  <a:pt x="6700" y="2148"/>
                </a:lnTo>
                <a:lnTo>
                  <a:pt x="6723" y="2138"/>
                </a:lnTo>
                <a:lnTo>
                  <a:pt x="6747" y="2129"/>
                </a:lnTo>
                <a:lnTo>
                  <a:pt x="6772" y="2123"/>
                </a:lnTo>
                <a:lnTo>
                  <a:pt x="6800" y="2119"/>
                </a:lnTo>
                <a:lnTo>
                  <a:pt x="6828" y="2118"/>
                </a:lnTo>
                <a:lnTo>
                  <a:pt x="6860" y="2119"/>
                </a:lnTo>
                <a:lnTo>
                  <a:pt x="6891" y="2125"/>
                </a:lnTo>
                <a:lnTo>
                  <a:pt x="6920" y="2132"/>
                </a:lnTo>
                <a:lnTo>
                  <a:pt x="6949" y="2144"/>
                </a:lnTo>
                <a:lnTo>
                  <a:pt x="6975" y="2159"/>
                </a:lnTo>
                <a:lnTo>
                  <a:pt x="6999" y="2178"/>
                </a:lnTo>
                <a:lnTo>
                  <a:pt x="7020" y="2200"/>
                </a:lnTo>
                <a:lnTo>
                  <a:pt x="7040" y="2225"/>
                </a:lnTo>
                <a:lnTo>
                  <a:pt x="7055" y="2249"/>
                </a:lnTo>
                <a:lnTo>
                  <a:pt x="7066" y="2274"/>
                </a:lnTo>
                <a:lnTo>
                  <a:pt x="7082" y="2323"/>
                </a:lnTo>
                <a:lnTo>
                  <a:pt x="7087" y="2348"/>
                </a:lnTo>
                <a:lnTo>
                  <a:pt x="7090" y="2374"/>
                </a:lnTo>
                <a:lnTo>
                  <a:pt x="7090" y="2427"/>
                </a:lnTo>
                <a:lnTo>
                  <a:pt x="7089" y="2466"/>
                </a:lnTo>
                <a:close/>
                <a:moveTo>
                  <a:pt x="6372" y="2713"/>
                </a:moveTo>
                <a:lnTo>
                  <a:pt x="6209" y="2460"/>
                </a:lnTo>
                <a:lnTo>
                  <a:pt x="6116" y="2560"/>
                </a:lnTo>
                <a:lnTo>
                  <a:pt x="6116" y="2713"/>
                </a:lnTo>
                <a:lnTo>
                  <a:pt x="5977" y="2713"/>
                </a:lnTo>
                <a:lnTo>
                  <a:pt x="5977" y="1907"/>
                </a:lnTo>
                <a:lnTo>
                  <a:pt x="6116" y="1907"/>
                </a:lnTo>
                <a:lnTo>
                  <a:pt x="6116" y="2368"/>
                </a:lnTo>
                <a:lnTo>
                  <a:pt x="6336" y="2132"/>
                </a:lnTo>
                <a:lnTo>
                  <a:pt x="6511" y="2132"/>
                </a:lnTo>
                <a:lnTo>
                  <a:pt x="6303" y="2357"/>
                </a:lnTo>
                <a:lnTo>
                  <a:pt x="6534" y="2713"/>
                </a:lnTo>
                <a:lnTo>
                  <a:pt x="6372" y="2713"/>
                </a:lnTo>
                <a:close/>
                <a:moveTo>
                  <a:pt x="14362" y="1547"/>
                </a:moveTo>
                <a:lnTo>
                  <a:pt x="14362" y="1191"/>
                </a:lnTo>
                <a:lnTo>
                  <a:pt x="14361" y="1166"/>
                </a:lnTo>
                <a:lnTo>
                  <a:pt x="14358" y="1146"/>
                </a:lnTo>
                <a:lnTo>
                  <a:pt x="14355" y="1136"/>
                </a:lnTo>
                <a:lnTo>
                  <a:pt x="14352" y="1126"/>
                </a:lnTo>
                <a:lnTo>
                  <a:pt x="14347" y="1118"/>
                </a:lnTo>
                <a:lnTo>
                  <a:pt x="14342" y="1111"/>
                </a:lnTo>
                <a:lnTo>
                  <a:pt x="14336" y="1104"/>
                </a:lnTo>
                <a:lnTo>
                  <a:pt x="14330" y="1098"/>
                </a:lnTo>
                <a:lnTo>
                  <a:pt x="14312" y="1089"/>
                </a:lnTo>
                <a:lnTo>
                  <a:pt x="14292" y="1084"/>
                </a:lnTo>
                <a:lnTo>
                  <a:pt x="14267" y="1081"/>
                </a:lnTo>
                <a:lnTo>
                  <a:pt x="14249" y="1082"/>
                </a:lnTo>
                <a:lnTo>
                  <a:pt x="14233" y="1087"/>
                </a:lnTo>
                <a:lnTo>
                  <a:pt x="14218" y="1093"/>
                </a:lnTo>
                <a:lnTo>
                  <a:pt x="14205" y="1102"/>
                </a:lnTo>
                <a:lnTo>
                  <a:pt x="14194" y="1113"/>
                </a:lnTo>
                <a:lnTo>
                  <a:pt x="14183" y="1126"/>
                </a:lnTo>
                <a:lnTo>
                  <a:pt x="14174" y="1140"/>
                </a:lnTo>
                <a:lnTo>
                  <a:pt x="14167" y="1155"/>
                </a:lnTo>
                <a:lnTo>
                  <a:pt x="14159" y="1173"/>
                </a:lnTo>
                <a:lnTo>
                  <a:pt x="14155" y="1192"/>
                </a:lnTo>
                <a:lnTo>
                  <a:pt x="14152" y="1212"/>
                </a:lnTo>
                <a:lnTo>
                  <a:pt x="14149" y="1231"/>
                </a:lnTo>
                <a:lnTo>
                  <a:pt x="14147" y="1272"/>
                </a:lnTo>
                <a:lnTo>
                  <a:pt x="14147" y="1311"/>
                </a:lnTo>
                <a:lnTo>
                  <a:pt x="14147" y="1547"/>
                </a:lnTo>
                <a:lnTo>
                  <a:pt x="14008" y="1547"/>
                </a:lnTo>
                <a:lnTo>
                  <a:pt x="14008" y="966"/>
                </a:lnTo>
                <a:lnTo>
                  <a:pt x="14126" y="966"/>
                </a:lnTo>
                <a:lnTo>
                  <a:pt x="14135" y="1041"/>
                </a:lnTo>
                <a:lnTo>
                  <a:pt x="14149" y="1019"/>
                </a:lnTo>
                <a:lnTo>
                  <a:pt x="14167" y="1001"/>
                </a:lnTo>
                <a:lnTo>
                  <a:pt x="14186" y="986"/>
                </a:lnTo>
                <a:lnTo>
                  <a:pt x="14208" y="974"/>
                </a:lnTo>
                <a:lnTo>
                  <a:pt x="14231" y="964"/>
                </a:lnTo>
                <a:lnTo>
                  <a:pt x="14256" y="957"/>
                </a:lnTo>
                <a:lnTo>
                  <a:pt x="14281" y="953"/>
                </a:lnTo>
                <a:lnTo>
                  <a:pt x="14306" y="952"/>
                </a:lnTo>
                <a:lnTo>
                  <a:pt x="14329" y="953"/>
                </a:lnTo>
                <a:lnTo>
                  <a:pt x="14349" y="956"/>
                </a:lnTo>
                <a:lnTo>
                  <a:pt x="14370" y="961"/>
                </a:lnTo>
                <a:lnTo>
                  <a:pt x="14388" y="967"/>
                </a:lnTo>
                <a:lnTo>
                  <a:pt x="14406" y="976"/>
                </a:lnTo>
                <a:lnTo>
                  <a:pt x="14422" y="986"/>
                </a:lnTo>
                <a:lnTo>
                  <a:pt x="14437" y="998"/>
                </a:lnTo>
                <a:lnTo>
                  <a:pt x="14450" y="1011"/>
                </a:lnTo>
                <a:lnTo>
                  <a:pt x="14462" y="1025"/>
                </a:lnTo>
                <a:lnTo>
                  <a:pt x="14472" y="1041"/>
                </a:lnTo>
                <a:lnTo>
                  <a:pt x="14482" y="1059"/>
                </a:lnTo>
                <a:lnTo>
                  <a:pt x="14488" y="1076"/>
                </a:lnTo>
                <a:lnTo>
                  <a:pt x="14495" y="1095"/>
                </a:lnTo>
                <a:lnTo>
                  <a:pt x="14498" y="1116"/>
                </a:lnTo>
                <a:lnTo>
                  <a:pt x="14501" y="1138"/>
                </a:lnTo>
                <a:lnTo>
                  <a:pt x="14503" y="1160"/>
                </a:lnTo>
                <a:lnTo>
                  <a:pt x="14503" y="1547"/>
                </a:lnTo>
                <a:lnTo>
                  <a:pt x="14362" y="1547"/>
                </a:lnTo>
                <a:close/>
                <a:moveTo>
                  <a:pt x="13660" y="876"/>
                </a:moveTo>
                <a:lnTo>
                  <a:pt x="13660" y="741"/>
                </a:lnTo>
                <a:lnTo>
                  <a:pt x="13791" y="741"/>
                </a:lnTo>
                <a:lnTo>
                  <a:pt x="13791" y="876"/>
                </a:lnTo>
                <a:lnTo>
                  <a:pt x="13660" y="876"/>
                </a:lnTo>
                <a:close/>
                <a:moveTo>
                  <a:pt x="13430" y="876"/>
                </a:moveTo>
                <a:lnTo>
                  <a:pt x="13430" y="741"/>
                </a:lnTo>
                <a:lnTo>
                  <a:pt x="13561" y="741"/>
                </a:lnTo>
                <a:lnTo>
                  <a:pt x="13561" y="876"/>
                </a:lnTo>
                <a:lnTo>
                  <a:pt x="13430" y="876"/>
                </a:lnTo>
                <a:close/>
                <a:moveTo>
                  <a:pt x="13704" y="1289"/>
                </a:moveTo>
                <a:lnTo>
                  <a:pt x="13556" y="1300"/>
                </a:lnTo>
                <a:lnTo>
                  <a:pt x="13541" y="1302"/>
                </a:lnTo>
                <a:lnTo>
                  <a:pt x="13526" y="1307"/>
                </a:lnTo>
                <a:lnTo>
                  <a:pt x="13512" y="1313"/>
                </a:lnTo>
                <a:lnTo>
                  <a:pt x="13499" y="1322"/>
                </a:lnTo>
                <a:lnTo>
                  <a:pt x="13488" y="1333"/>
                </a:lnTo>
                <a:lnTo>
                  <a:pt x="13480" y="1345"/>
                </a:lnTo>
                <a:lnTo>
                  <a:pt x="13475" y="1360"/>
                </a:lnTo>
                <a:lnTo>
                  <a:pt x="13472" y="1376"/>
                </a:lnTo>
                <a:lnTo>
                  <a:pt x="13475" y="1392"/>
                </a:lnTo>
                <a:lnTo>
                  <a:pt x="13479" y="1407"/>
                </a:lnTo>
                <a:lnTo>
                  <a:pt x="13488" y="1419"/>
                </a:lnTo>
                <a:lnTo>
                  <a:pt x="13497" y="1429"/>
                </a:lnTo>
                <a:lnTo>
                  <a:pt x="13509" y="1438"/>
                </a:lnTo>
                <a:lnTo>
                  <a:pt x="13524" y="1444"/>
                </a:lnTo>
                <a:lnTo>
                  <a:pt x="13539" y="1448"/>
                </a:lnTo>
                <a:lnTo>
                  <a:pt x="13555" y="1449"/>
                </a:lnTo>
                <a:lnTo>
                  <a:pt x="13587" y="1447"/>
                </a:lnTo>
                <a:lnTo>
                  <a:pt x="13601" y="1444"/>
                </a:lnTo>
                <a:lnTo>
                  <a:pt x="13615" y="1440"/>
                </a:lnTo>
                <a:lnTo>
                  <a:pt x="13640" y="1429"/>
                </a:lnTo>
                <a:lnTo>
                  <a:pt x="13652" y="1423"/>
                </a:lnTo>
                <a:lnTo>
                  <a:pt x="13662" y="1414"/>
                </a:lnTo>
                <a:lnTo>
                  <a:pt x="13680" y="1396"/>
                </a:lnTo>
                <a:lnTo>
                  <a:pt x="13687" y="1385"/>
                </a:lnTo>
                <a:lnTo>
                  <a:pt x="13693" y="1373"/>
                </a:lnTo>
                <a:lnTo>
                  <a:pt x="13697" y="1360"/>
                </a:lnTo>
                <a:lnTo>
                  <a:pt x="13701" y="1347"/>
                </a:lnTo>
                <a:lnTo>
                  <a:pt x="13703" y="1332"/>
                </a:lnTo>
                <a:lnTo>
                  <a:pt x="13704" y="1316"/>
                </a:lnTo>
                <a:lnTo>
                  <a:pt x="13704" y="1289"/>
                </a:lnTo>
                <a:close/>
                <a:moveTo>
                  <a:pt x="13820" y="1556"/>
                </a:moveTo>
                <a:lnTo>
                  <a:pt x="13800" y="1555"/>
                </a:lnTo>
                <a:lnTo>
                  <a:pt x="13780" y="1549"/>
                </a:lnTo>
                <a:lnTo>
                  <a:pt x="13765" y="1541"/>
                </a:lnTo>
                <a:lnTo>
                  <a:pt x="13751" y="1532"/>
                </a:lnTo>
                <a:lnTo>
                  <a:pt x="13740" y="1520"/>
                </a:lnTo>
                <a:lnTo>
                  <a:pt x="13731" y="1506"/>
                </a:lnTo>
                <a:lnTo>
                  <a:pt x="13726" y="1490"/>
                </a:lnTo>
                <a:lnTo>
                  <a:pt x="13722" y="1474"/>
                </a:lnTo>
                <a:lnTo>
                  <a:pt x="13710" y="1491"/>
                </a:lnTo>
                <a:lnTo>
                  <a:pt x="13695" y="1508"/>
                </a:lnTo>
                <a:lnTo>
                  <a:pt x="13677" y="1523"/>
                </a:lnTo>
                <a:lnTo>
                  <a:pt x="13655" y="1536"/>
                </a:lnTo>
                <a:lnTo>
                  <a:pt x="13631" y="1547"/>
                </a:lnTo>
                <a:lnTo>
                  <a:pt x="13605" y="1555"/>
                </a:lnTo>
                <a:lnTo>
                  <a:pt x="13577" y="1560"/>
                </a:lnTo>
                <a:lnTo>
                  <a:pt x="13546" y="1561"/>
                </a:lnTo>
                <a:lnTo>
                  <a:pt x="13521" y="1561"/>
                </a:lnTo>
                <a:lnTo>
                  <a:pt x="13497" y="1558"/>
                </a:lnTo>
                <a:lnTo>
                  <a:pt x="13476" y="1553"/>
                </a:lnTo>
                <a:lnTo>
                  <a:pt x="13455" y="1547"/>
                </a:lnTo>
                <a:lnTo>
                  <a:pt x="13437" y="1538"/>
                </a:lnTo>
                <a:lnTo>
                  <a:pt x="13419" y="1530"/>
                </a:lnTo>
                <a:lnTo>
                  <a:pt x="13403" y="1519"/>
                </a:lnTo>
                <a:lnTo>
                  <a:pt x="13390" y="1507"/>
                </a:lnTo>
                <a:lnTo>
                  <a:pt x="13377" y="1493"/>
                </a:lnTo>
                <a:lnTo>
                  <a:pt x="13366" y="1478"/>
                </a:lnTo>
                <a:lnTo>
                  <a:pt x="13357" y="1464"/>
                </a:lnTo>
                <a:lnTo>
                  <a:pt x="13350" y="1448"/>
                </a:lnTo>
                <a:lnTo>
                  <a:pt x="13344" y="1432"/>
                </a:lnTo>
                <a:lnTo>
                  <a:pt x="13340" y="1414"/>
                </a:lnTo>
                <a:lnTo>
                  <a:pt x="13337" y="1379"/>
                </a:lnTo>
                <a:lnTo>
                  <a:pt x="13338" y="1360"/>
                </a:lnTo>
                <a:lnTo>
                  <a:pt x="13340" y="1340"/>
                </a:lnTo>
                <a:lnTo>
                  <a:pt x="13345" y="1323"/>
                </a:lnTo>
                <a:lnTo>
                  <a:pt x="13352" y="1305"/>
                </a:lnTo>
                <a:lnTo>
                  <a:pt x="13359" y="1290"/>
                </a:lnTo>
                <a:lnTo>
                  <a:pt x="13369" y="1275"/>
                </a:lnTo>
                <a:lnTo>
                  <a:pt x="13381" y="1262"/>
                </a:lnTo>
                <a:lnTo>
                  <a:pt x="13393" y="1250"/>
                </a:lnTo>
                <a:lnTo>
                  <a:pt x="13423" y="1229"/>
                </a:lnTo>
                <a:lnTo>
                  <a:pt x="13439" y="1221"/>
                </a:lnTo>
                <a:lnTo>
                  <a:pt x="13455" y="1214"/>
                </a:lnTo>
                <a:lnTo>
                  <a:pt x="13493" y="1203"/>
                </a:lnTo>
                <a:lnTo>
                  <a:pt x="13533" y="1198"/>
                </a:lnTo>
                <a:lnTo>
                  <a:pt x="13704" y="1186"/>
                </a:lnTo>
                <a:lnTo>
                  <a:pt x="13704" y="1150"/>
                </a:lnTo>
                <a:lnTo>
                  <a:pt x="13703" y="1130"/>
                </a:lnTo>
                <a:lnTo>
                  <a:pt x="13700" y="1112"/>
                </a:lnTo>
                <a:lnTo>
                  <a:pt x="13693" y="1097"/>
                </a:lnTo>
                <a:lnTo>
                  <a:pt x="13684" y="1084"/>
                </a:lnTo>
                <a:lnTo>
                  <a:pt x="13678" y="1078"/>
                </a:lnTo>
                <a:lnTo>
                  <a:pt x="13671" y="1073"/>
                </a:lnTo>
                <a:lnTo>
                  <a:pt x="13654" y="1065"/>
                </a:lnTo>
                <a:lnTo>
                  <a:pt x="13632" y="1060"/>
                </a:lnTo>
                <a:lnTo>
                  <a:pt x="13605" y="1059"/>
                </a:lnTo>
                <a:lnTo>
                  <a:pt x="13582" y="1060"/>
                </a:lnTo>
                <a:lnTo>
                  <a:pt x="13562" y="1063"/>
                </a:lnTo>
                <a:lnTo>
                  <a:pt x="13544" y="1070"/>
                </a:lnTo>
                <a:lnTo>
                  <a:pt x="13529" y="1079"/>
                </a:lnTo>
                <a:lnTo>
                  <a:pt x="13517" y="1091"/>
                </a:lnTo>
                <a:lnTo>
                  <a:pt x="13508" y="1105"/>
                </a:lnTo>
                <a:lnTo>
                  <a:pt x="13502" y="1122"/>
                </a:lnTo>
                <a:lnTo>
                  <a:pt x="13500" y="1140"/>
                </a:lnTo>
                <a:lnTo>
                  <a:pt x="13365" y="1140"/>
                </a:lnTo>
                <a:lnTo>
                  <a:pt x="13367" y="1117"/>
                </a:lnTo>
                <a:lnTo>
                  <a:pt x="13371" y="1095"/>
                </a:lnTo>
                <a:lnTo>
                  <a:pt x="13378" y="1075"/>
                </a:lnTo>
                <a:lnTo>
                  <a:pt x="13387" y="1056"/>
                </a:lnTo>
                <a:lnTo>
                  <a:pt x="13398" y="1039"/>
                </a:lnTo>
                <a:lnTo>
                  <a:pt x="13409" y="1024"/>
                </a:lnTo>
                <a:lnTo>
                  <a:pt x="13424" y="1010"/>
                </a:lnTo>
                <a:lnTo>
                  <a:pt x="13439" y="998"/>
                </a:lnTo>
                <a:lnTo>
                  <a:pt x="13456" y="987"/>
                </a:lnTo>
                <a:lnTo>
                  <a:pt x="13475" y="977"/>
                </a:lnTo>
                <a:lnTo>
                  <a:pt x="13494" y="969"/>
                </a:lnTo>
                <a:lnTo>
                  <a:pt x="13514" y="963"/>
                </a:lnTo>
                <a:lnTo>
                  <a:pt x="13558" y="955"/>
                </a:lnTo>
                <a:lnTo>
                  <a:pt x="13605" y="952"/>
                </a:lnTo>
                <a:lnTo>
                  <a:pt x="13642" y="953"/>
                </a:lnTo>
                <a:lnTo>
                  <a:pt x="13677" y="958"/>
                </a:lnTo>
                <a:lnTo>
                  <a:pt x="13693" y="962"/>
                </a:lnTo>
                <a:lnTo>
                  <a:pt x="13709" y="966"/>
                </a:lnTo>
                <a:lnTo>
                  <a:pt x="13739" y="978"/>
                </a:lnTo>
                <a:lnTo>
                  <a:pt x="13753" y="986"/>
                </a:lnTo>
                <a:lnTo>
                  <a:pt x="13766" y="994"/>
                </a:lnTo>
                <a:lnTo>
                  <a:pt x="13778" y="1004"/>
                </a:lnTo>
                <a:lnTo>
                  <a:pt x="13789" y="1015"/>
                </a:lnTo>
                <a:lnTo>
                  <a:pt x="13798" y="1027"/>
                </a:lnTo>
                <a:lnTo>
                  <a:pt x="13808" y="1040"/>
                </a:lnTo>
                <a:lnTo>
                  <a:pt x="13822" y="1070"/>
                </a:lnTo>
                <a:lnTo>
                  <a:pt x="13831" y="1099"/>
                </a:lnTo>
                <a:lnTo>
                  <a:pt x="13836" y="1128"/>
                </a:lnTo>
                <a:lnTo>
                  <a:pt x="13840" y="1188"/>
                </a:lnTo>
                <a:lnTo>
                  <a:pt x="13840" y="1403"/>
                </a:lnTo>
                <a:lnTo>
                  <a:pt x="13841" y="1420"/>
                </a:lnTo>
                <a:lnTo>
                  <a:pt x="13847" y="1432"/>
                </a:lnTo>
                <a:lnTo>
                  <a:pt x="13852" y="1435"/>
                </a:lnTo>
                <a:lnTo>
                  <a:pt x="13857" y="1438"/>
                </a:lnTo>
                <a:lnTo>
                  <a:pt x="13872" y="1440"/>
                </a:lnTo>
                <a:lnTo>
                  <a:pt x="13890" y="1438"/>
                </a:lnTo>
                <a:lnTo>
                  <a:pt x="13890" y="1540"/>
                </a:lnTo>
                <a:lnTo>
                  <a:pt x="13859" y="1552"/>
                </a:lnTo>
                <a:lnTo>
                  <a:pt x="13842" y="1555"/>
                </a:lnTo>
                <a:lnTo>
                  <a:pt x="13820" y="1556"/>
                </a:lnTo>
                <a:close/>
                <a:moveTo>
                  <a:pt x="13081" y="1547"/>
                </a:moveTo>
                <a:lnTo>
                  <a:pt x="13081" y="1187"/>
                </a:lnTo>
                <a:lnTo>
                  <a:pt x="13080" y="1161"/>
                </a:lnTo>
                <a:lnTo>
                  <a:pt x="13077" y="1139"/>
                </a:lnTo>
                <a:lnTo>
                  <a:pt x="13072" y="1119"/>
                </a:lnTo>
                <a:lnTo>
                  <a:pt x="13063" y="1103"/>
                </a:lnTo>
                <a:lnTo>
                  <a:pt x="13051" y="1090"/>
                </a:lnTo>
                <a:lnTo>
                  <a:pt x="13036" y="1081"/>
                </a:lnTo>
                <a:lnTo>
                  <a:pt x="13016" y="1076"/>
                </a:lnTo>
                <a:lnTo>
                  <a:pt x="12992" y="1074"/>
                </a:lnTo>
                <a:lnTo>
                  <a:pt x="12978" y="1075"/>
                </a:lnTo>
                <a:lnTo>
                  <a:pt x="12965" y="1077"/>
                </a:lnTo>
                <a:lnTo>
                  <a:pt x="12952" y="1081"/>
                </a:lnTo>
                <a:lnTo>
                  <a:pt x="12941" y="1088"/>
                </a:lnTo>
                <a:lnTo>
                  <a:pt x="12930" y="1095"/>
                </a:lnTo>
                <a:lnTo>
                  <a:pt x="12922" y="1104"/>
                </a:lnTo>
                <a:lnTo>
                  <a:pt x="12905" y="1125"/>
                </a:lnTo>
                <a:lnTo>
                  <a:pt x="12893" y="1149"/>
                </a:lnTo>
                <a:lnTo>
                  <a:pt x="12885" y="1175"/>
                </a:lnTo>
                <a:lnTo>
                  <a:pt x="12880" y="1202"/>
                </a:lnTo>
                <a:lnTo>
                  <a:pt x="12878" y="1230"/>
                </a:lnTo>
                <a:lnTo>
                  <a:pt x="12878" y="1547"/>
                </a:lnTo>
                <a:lnTo>
                  <a:pt x="12740" y="1547"/>
                </a:lnTo>
                <a:lnTo>
                  <a:pt x="12740" y="1187"/>
                </a:lnTo>
                <a:lnTo>
                  <a:pt x="12739" y="1161"/>
                </a:lnTo>
                <a:lnTo>
                  <a:pt x="12736" y="1139"/>
                </a:lnTo>
                <a:lnTo>
                  <a:pt x="12730" y="1119"/>
                </a:lnTo>
                <a:lnTo>
                  <a:pt x="12722" y="1103"/>
                </a:lnTo>
                <a:lnTo>
                  <a:pt x="12710" y="1090"/>
                </a:lnTo>
                <a:lnTo>
                  <a:pt x="12695" y="1081"/>
                </a:lnTo>
                <a:lnTo>
                  <a:pt x="12675" y="1076"/>
                </a:lnTo>
                <a:lnTo>
                  <a:pt x="12651" y="1074"/>
                </a:lnTo>
                <a:lnTo>
                  <a:pt x="12637" y="1075"/>
                </a:lnTo>
                <a:lnTo>
                  <a:pt x="12623" y="1077"/>
                </a:lnTo>
                <a:lnTo>
                  <a:pt x="12611" y="1081"/>
                </a:lnTo>
                <a:lnTo>
                  <a:pt x="12600" y="1088"/>
                </a:lnTo>
                <a:lnTo>
                  <a:pt x="12589" y="1095"/>
                </a:lnTo>
                <a:lnTo>
                  <a:pt x="12579" y="1104"/>
                </a:lnTo>
                <a:lnTo>
                  <a:pt x="12564" y="1125"/>
                </a:lnTo>
                <a:lnTo>
                  <a:pt x="12551" y="1149"/>
                </a:lnTo>
                <a:lnTo>
                  <a:pt x="12542" y="1175"/>
                </a:lnTo>
                <a:lnTo>
                  <a:pt x="12538" y="1202"/>
                </a:lnTo>
                <a:lnTo>
                  <a:pt x="12536" y="1230"/>
                </a:lnTo>
                <a:lnTo>
                  <a:pt x="12536" y="1547"/>
                </a:lnTo>
                <a:lnTo>
                  <a:pt x="12398" y="1547"/>
                </a:lnTo>
                <a:lnTo>
                  <a:pt x="12398" y="966"/>
                </a:lnTo>
                <a:lnTo>
                  <a:pt x="12514" y="966"/>
                </a:lnTo>
                <a:lnTo>
                  <a:pt x="12525" y="1043"/>
                </a:lnTo>
                <a:lnTo>
                  <a:pt x="12538" y="1024"/>
                </a:lnTo>
                <a:lnTo>
                  <a:pt x="12553" y="1006"/>
                </a:lnTo>
                <a:lnTo>
                  <a:pt x="12571" y="991"/>
                </a:lnTo>
                <a:lnTo>
                  <a:pt x="12590" y="978"/>
                </a:lnTo>
                <a:lnTo>
                  <a:pt x="12612" y="967"/>
                </a:lnTo>
                <a:lnTo>
                  <a:pt x="12636" y="958"/>
                </a:lnTo>
                <a:lnTo>
                  <a:pt x="12662" y="954"/>
                </a:lnTo>
                <a:lnTo>
                  <a:pt x="12690" y="952"/>
                </a:lnTo>
                <a:lnTo>
                  <a:pt x="12719" y="954"/>
                </a:lnTo>
                <a:lnTo>
                  <a:pt x="12747" y="958"/>
                </a:lnTo>
                <a:lnTo>
                  <a:pt x="12771" y="966"/>
                </a:lnTo>
                <a:lnTo>
                  <a:pt x="12792" y="977"/>
                </a:lnTo>
                <a:lnTo>
                  <a:pt x="12812" y="991"/>
                </a:lnTo>
                <a:lnTo>
                  <a:pt x="12829" y="1007"/>
                </a:lnTo>
                <a:lnTo>
                  <a:pt x="12844" y="1026"/>
                </a:lnTo>
                <a:lnTo>
                  <a:pt x="12856" y="1047"/>
                </a:lnTo>
                <a:lnTo>
                  <a:pt x="12871" y="1026"/>
                </a:lnTo>
                <a:lnTo>
                  <a:pt x="12887" y="1006"/>
                </a:lnTo>
                <a:lnTo>
                  <a:pt x="12906" y="990"/>
                </a:lnTo>
                <a:lnTo>
                  <a:pt x="12916" y="983"/>
                </a:lnTo>
                <a:lnTo>
                  <a:pt x="12927" y="977"/>
                </a:lnTo>
                <a:lnTo>
                  <a:pt x="12951" y="966"/>
                </a:lnTo>
                <a:lnTo>
                  <a:pt x="12976" y="958"/>
                </a:lnTo>
                <a:lnTo>
                  <a:pt x="13003" y="953"/>
                </a:lnTo>
                <a:lnTo>
                  <a:pt x="13031" y="952"/>
                </a:lnTo>
                <a:lnTo>
                  <a:pt x="13054" y="953"/>
                </a:lnTo>
                <a:lnTo>
                  <a:pt x="13075" y="955"/>
                </a:lnTo>
                <a:lnTo>
                  <a:pt x="13094" y="961"/>
                </a:lnTo>
                <a:lnTo>
                  <a:pt x="13113" y="967"/>
                </a:lnTo>
                <a:lnTo>
                  <a:pt x="13130" y="975"/>
                </a:lnTo>
                <a:lnTo>
                  <a:pt x="13145" y="985"/>
                </a:lnTo>
                <a:lnTo>
                  <a:pt x="13160" y="995"/>
                </a:lnTo>
                <a:lnTo>
                  <a:pt x="13172" y="1008"/>
                </a:lnTo>
                <a:lnTo>
                  <a:pt x="13183" y="1023"/>
                </a:lnTo>
                <a:lnTo>
                  <a:pt x="13193" y="1038"/>
                </a:lnTo>
                <a:lnTo>
                  <a:pt x="13207" y="1073"/>
                </a:lnTo>
                <a:lnTo>
                  <a:pt x="13213" y="1091"/>
                </a:lnTo>
                <a:lnTo>
                  <a:pt x="13215" y="1102"/>
                </a:lnTo>
                <a:lnTo>
                  <a:pt x="13217" y="1112"/>
                </a:lnTo>
                <a:lnTo>
                  <a:pt x="13219" y="1132"/>
                </a:lnTo>
                <a:lnTo>
                  <a:pt x="13219" y="1155"/>
                </a:lnTo>
                <a:lnTo>
                  <a:pt x="13219" y="1547"/>
                </a:lnTo>
                <a:lnTo>
                  <a:pt x="13081" y="1547"/>
                </a:lnTo>
                <a:close/>
                <a:moveTo>
                  <a:pt x="12050" y="876"/>
                </a:moveTo>
                <a:lnTo>
                  <a:pt x="12050" y="741"/>
                </a:lnTo>
                <a:lnTo>
                  <a:pt x="12181" y="741"/>
                </a:lnTo>
                <a:lnTo>
                  <a:pt x="12181" y="876"/>
                </a:lnTo>
                <a:lnTo>
                  <a:pt x="12050" y="876"/>
                </a:lnTo>
                <a:close/>
                <a:moveTo>
                  <a:pt x="11820" y="876"/>
                </a:moveTo>
                <a:lnTo>
                  <a:pt x="11820" y="741"/>
                </a:lnTo>
                <a:lnTo>
                  <a:pt x="11950" y="741"/>
                </a:lnTo>
                <a:lnTo>
                  <a:pt x="11950" y="876"/>
                </a:lnTo>
                <a:lnTo>
                  <a:pt x="11820" y="876"/>
                </a:lnTo>
                <a:close/>
                <a:moveTo>
                  <a:pt x="12094" y="1289"/>
                </a:moveTo>
                <a:lnTo>
                  <a:pt x="11946" y="1300"/>
                </a:lnTo>
                <a:lnTo>
                  <a:pt x="11931" y="1302"/>
                </a:lnTo>
                <a:lnTo>
                  <a:pt x="11915" y="1307"/>
                </a:lnTo>
                <a:lnTo>
                  <a:pt x="11901" y="1313"/>
                </a:lnTo>
                <a:lnTo>
                  <a:pt x="11888" y="1322"/>
                </a:lnTo>
                <a:lnTo>
                  <a:pt x="11877" y="1333"/>
                </a:lnTo>
                <a:lnTo>
                  <a:pt x="11870" y="1345"/>
                </a:lnTo>
                <a:lnTo>
                  <a:pt x="11864" y="1360"/>
                </a:lnTo>
                <a:lnTo>
                  <a:pt x="11862" y="1376"/>
                </a:lnTo>
                <a:lnTo>
                  <a:pt x="11864" y="1392"/>
                </a:lnTo>
                <a:lnTo>
                  <a:pt x="11869" y="1407"/>
                </a:lnTo>
                <a:lnTo>
                  <a:pt x="11877" y="1419"/>
                </a:lnTo>
                <a:lnTo>
                  <a:pt x="11887" y="1429"/>
                </a:lnTo>
                <a:lnTo>
                  <a:pt x="11900" y="1438"/>
                </a:lnTo>
                <a:lnTo>
                  <a:pt x="11913" y="1444"/>
                </a:lnTo>
                <a:lnTo>
                  <a:pt x="11928" y="1448"/>
                </a:lnTo>
                <a:lnTo>
                  <a:pt x="11945" y="1449"/>
                </a:lnTo>
                <a:lnTo>
                  <a:pt x="11976" y="1447"/>
                </a:lnTo>
                <a:lnTo>
                  <a:pt x="11990" y="1444"/>
                </a:lnTo>
                <a:lnTo>
                  <a:pt x="12005" y="1440"/>
                </a:lnTo>
                <a:lnTo>
                  <a:pt x="12031" y="1429"/>
                </a:lnTo>
                <a:lnTo>
                  <a:pt x="12041" y="1423"/>
                </a:lnTo>
                <a:lnTo>
                  <a:pt x="12051" y="1414"/>
                </a:lnTo>
                <a:lnTo>
                  <a:pt x="12070" y="1396"/>
                </a:lnTo>
                <a:lnTo>
                  <a:pt x="12076" y="1385"/>
                </a:lnTo>
                <a:lnTo>
                  <a:pt x="12083" y="1373"/>
                </a:lnTo>
                <a:lnTo>
                  <a:pt x="12087" y="1360"/>
                </a:lnTo>
                <a:lnTo>
                  <a:pt x="12090" y="1347"/>
                </a:lnTo>
                <a:lnTo>
                  <a:pt x="12093" y="1332"/>
                </a:lnTo>
                <a:lnTo>
                  <a:pt x="12094" y="1316"/>
                </a:lnTo>
                <a:lnTo>
                  <a:pt x="12094" y="1289"/>
                </a:lnTo>
                <a:close/>
                <a:moveTo>
                  <a:pt x="12210" y="1556"/>
                </a:moveTo>
                <a:lnTo>
                  <a:pt x="12189" y="1555"/>
                </a:lnTo>
                <a:lnTo>
                  <a:pt x="12171" y="1549"/>
                </a:lnTo>
                <a:lnTo>
                  <a:pt x="12154" y="1541"/>
                </a:lnTo>
                <a:lnTo>
                  <a:pt x="12140" y="1532"/>
                </a:lnTo>
                <a:lnTo>
                  <a:pt x="12129" y="1520"/>
                </a:lnTo>
                <a:lnTo>
                  <a:pt x="12121" y="1506"/>
                </a:lnTo>
                <a:lnTo>
                  <a:pt x="12115" y="1490"/>
                </a:lnTo>
                <a:lnTo>
                  <a:pt x="12112" y="1474"/>
                </a:lnTo>
                <a:lnTo>
                  <a:pt x="12100" y="1491"/>
                </a:lnTo>
                <a:lnTo>
                  <a:pt x="12085" y="1508"/>
                </a:lnTo>
                <a:lnTo>
                  <a:pt x="12066" y="1523"/>
                </a:lnTo>
                <a:lnTo>
                  <a:pt x="12045" y="1536"/>
                </a:lnTo>
                <a:lnTo>
                  <a:pt x="12021" y="1547"/>
                </a:lnTo>
                <a:lnTo>
                  <a:pt x="11995" y="1555"/>
                </a:lnTo>
                <a:lnTo>
                  <a:pt x="11966" y="1560"/>
                </a:lnTo>
                <a:lnTo>
                  <a:pt x="11936" y="1561"/>
                </a:lnTo>
                <a:lnTo>
                  <a:pt x="11911" y="1561"/>
                </a:lnTo>
                <a:lnTo>
                  <a:pt x="11887" y="1558"/>
                </a:lnTo>
                <a:lnTo>
                  <a:pt x="11865" y="1553"/>
                </a:lnTo>
                <a:lnTo>
                  <a:pt x="11845" y="1547"/>
                </a:lnTo>
                <a:lnTo>
                  <a:pt x="11826" y="1538"/>
                </a:lnTo>
                <a:lnTo>
                  <a:pt x="11809" y="1530"/>
                </a:lnTo>
                <a:lnTo>
                  <a:pt x="11794" y="1519"/>
                </a:lnTo>
                <a:lnTo>
                  <a:pt x="11780" y="1507"/>
                </a:lnTo>
                <a:lnTo>
                  <a:pt x="11767" y="1493"/>
                </a:lnTo>
                <a:lnTo>
                  <a:pt x="11756" y="1478"/>
                </a:lnTo>
                <a:lnTo>
                  <a:pt x="11747" y="1464"/>
                </a:lnTo>
                <a:lnTo>
                  <a:pt x="11739" y="1448"/>
                </a:lnTo>
                <a:lnTo>
                  <a:pt x="11734" y="1432"/>
                </a:lnTo>
                <a:lnTo>
                  <a:pt x="11730" y="1414"/>
                </a:lnTo>
                <a:lnTo>
                  <a:pt x="11726" y="1379"/>
                </a:lnTo>
                <a:lnTo>
                  <a:pt x="11727" y="1360"/>
                </a:lnTo>
                <a:lnTo>
                  <a:pt x="11731" y="1340"/>
                </a:lnTo>
                <a:lnTo>
                  <a:pt x="11735" y="1323"/>
                </a:lnTo>
                <a:lnTo>
                  <a:pt x="11742" y="1305"/>
                </a:lnTo>
                <a:lnTo>
                  <a:pt x="11749" y="1290"/>
                </a:lnTo>
                <a:lnTo>
                  <a:pt x="11759" y="1275"/>
                </a:lnTo>
                <a:lnTo>
                  <a:pt x="11771" y="1262"/>
                </a:lnTo>
                <a:lnTo>
                  <a:pt x="11783" y="1250"/>
                </a:lnTo>
                <a:lnTo>
                  <a:pt x="11812" y="1229"/>
                </a:lnTo>
                <a:lnTo>
                  <a:pt x="11828" y="1221"/>
                </a:lnTo>
                <a:lnTo>
                  <a:pt x="11846" y="1214"/>
                </a:lnTo>
                <a:lnTo>
                  <a:pt x="11883" y="1203"/>
                </a:lnTo>
                <a:lnTo>
                  <a:pt x="11923" y="1198"/>
                </a:lnTo>
                <a:lnTo>
                  <a:pt x="12094" y="1186"/>
                </a:lnTo>
                <a:lnTo>
                  <a:pt x="12094" y="1150"/>
                </a:lnTo>
                <a:lnTo>
                  <a:pt x="12093" y="1130"/>
                </a:lnTo>
                <a:lnTo>
                  <a:pt x="12089" y="1112"/>
                </a:lnTo>
                <a:lnTo>
                  <a:pt x="12083" y="1097"/>
                </a:lnTo>
                <a:lnTo>
                  <a:pt x="12074" y="1084"/>
                </a:lnTo>
                <a:lnTo>
                  <a:pt x="12068" y="1078"/>
                </a:lnTo>
                <a:lnTo>
                  <a:pt x="12061" y="1073"/>
                </a:lnTo>
                <a:lnTo>
                  <a:pt x="12044" y="1065"/>
                </a:lnTo>
                <a:lnTo>
                  <a:pt x="12022" y="1060"/>
                </a:lnTo>
                <a:lnTo>
                  <a:pt x="11995" y="1059"/>
                </a:lnTo>
                <a:lnTo>
                  <a:pt x="11972" y="1060"/>
                </a:lnTo>
                <a:lnTo>
                  <a:pt x="11951" y="1063"/>
                </a:lnTo>
                <a:lnTo>
                  <a:pt x="11934" y="1070"/>
                </a:lnTo>
                <a:lnTo>
                  <a:pt x="11919" y="1079"/>
                </a:lnTo>
                <a:lnTo>
                  <a:pt x="11907" y="1091"/>
                </a:lnTo>
                <a:lnTo>
                  <a:pt x="11898" y="1105"/>
                </a:lnTo>
                <a:lnTo>
                  <a:pt x="11892" y="1122"/>
                </a:lnTo>
                <a:lnTo>
                  <a:pt x="11889" y="1140"/>
                </a:lnTo>
                <a:lnTo>
                  <a:pt x="11755" y="1140"/>
                </a:lnTo>
                <a:lnTo>
                  <a:pt x="11757" y="1117"/>
                </a:lnTo>
                <a:lnTo>
                  <a:pt x="11761" y="1095"/>
                </a:lnTo>
                <a:lnTo>
                  <a:pt x="11769" y="1075"/>
                </a:lnTo>
                <a:lnTo>
                  <a:pt x="11777" y="1056"/>
                </a:lnTo>
                <a:lnTo>
                  <a:pt x="11787" y="1039"/>
                </a:lnTo>
                <a:lnTo>
                  <a:pt x="11800" y="1024"/>
                </a:lnTo>
                <a:lnTo>
                  <a:pt x="11813" y="1010"/>
                </a:lnTo>
                <a:lnTo>
                  <a:pt x="11830" y="998"/>
                </a:lnTo>
                <a:lnTo>
                  <a:pt x="11846" y="987"/>
                </a:lnTo>
                <a:lnTo>
                  <a:pt x="11864" y="977"/>
                </a:lnTo>
                <a:lnTo>
                  <a:pt x="11884" y="969"/>
                </a:lnTo>
                <a:lnTo>
                  <a:pt x="11903" y="963"/>
                </a:lnTo>
                <a:lnTo>
                  <a:pt x="11948" y="955"/>
                </a:lnTo>
                <a:lnTo>
                  <a:pt x="11995" y="952"/>
                </a:lnTo>
                <a:lnTo>
                  <a:pt x="12032" y="953"/>
                </a:lnTo>
                <a:lnTo>
                  <a:pt x="12066" y="958"/>
                </a:lnTo>
                <a:lnTo>
                  <a:pt x="12083" y="962"/>
                </a:lnTo>
                <a:lnTo>
                  <a:pt x="12099" y="966"/>
                </a:lnTo>
                <a:lnTo>
                  <a:pt x="12128" y="978"/>
                </a:lnTo>
                <a:lnTo>
                  <a:pt x="12143" y="986"/>
                </a:lnTo>
                <a:lnTo>
                  <a:pt x="12156" y="994"/>
                </a:lnTo>
                <a:lnTo>
                  <a:pt x="12168" y="1004"/>
                </a:lnTo>
                <a:lnTo>
                  <a:pt x="12178" y="1015"/>
                </a:lnTo>
                <a:lnTo>
                  <a:pt x="12188" y="1027"/>
                </a:lnTo>
                <a:lnTo>
                  <a:pt x="12198" y="1040"/>
                </a:lnTo>
                <a:lnTo>
                  <a:pt x="12213" y="1070"/>
                </a:lnTo>
                <a:lnTo>
                  <a:pt x="12222" y="1099"/>
                </a:lnTo>
                <a:lnTo>
                  <a:pt x="12226" y="1128"/>
                </a:lnTo>
                <a:lnTo>
                  <a:pt x="12229" y="1188"/>
                </a:lnTo>
                <a:lnTo>
                  <a:pt x="12229" y="1403"/>
                </a:lnTo>
                <a:lnTo>
                  <a:pt x="12232" y="1420"/>
                </a:lnTo>
                <a:lnTo>
                  <a:pt x="12237" y="1432"/>
                </a:lnTo>
                <a:lnTo>
                  <a:pt x="12241" y="1435"/>
                </a:lnTo>
                <a:lnTo>
                  <a:pt x="12247" y="1438"/>
                </a:lnTo>
                <a:lnTo>
                  <a:pt x="12262" y="1440"/>
                </a:lnTo>
                <a:lnTo>
                  <a:pt x="12279" y="1438"/>
                </a:lnTo>
                <a:lnTo>
                  <a:pt x="12279" y="1540"/>
                </a:lnTo>
                <a:lnTo>
                  <a:pt x="12249" y="1552"/>
                </a:lnTo>
                <a:lnTo>
                  <a:pt x="12232" y="1555"/>
                </a:lnTo>
                <a:lnTo>
                  <a:pt x="12210" y="1556"/>
                </a:lnTo>
                <a:close/>
                <a:moveTo>
                  <a:pt x="11596" y="1553"/>
                </a:moveTo>
                <a:lnTo>
                  <a:pt x="11562" y="1551"/>
                </a:lnTo>
                <a:lnTo>
                  <a:pt x="11546" y="1549"/>
                </a:lnTo>
                <a:lnTo>
                  <a:pt x="11531" y="1545"/>
                </a:lnTo>
                <a:lnTo>
                  <a:pt x="11517" y="1539"/>
                </a:lnTo>
                <a:lnTo>
                  <a:pt x="11504" y="1534"/>
                </a:lnTo>
                <a:lnTo>
                  <a:pt x="11492" y="1526"/>
                </a:lnTo>
                <a:lnTo>
                  <a:pt x="11481" y="1518"/>
                </a:lnTo>
                <a:lnTo>
                  <a:pt x="11471" y="1507"/>
                </a:lnTo>
                <a:lnTo>
                  <a:pt x="11462" y="1496"/>
                </a:lnTo>
                <a:lnTo>
                  <a:pt x="11455" y="1483"/>
                </a:lnTo>
                <a:lnTo>
                  <a:pt x="11449" y="1469"/>
                </a:lnTo>
                <a:lnTo>
                  <a:pt x="11441" y="1436"/>
                </a:lnTo>
                <a:lnTo>
                  <a:pt x="11438" y="1417"/>
                </a:lnTo>
                <a:lnTo>
                  <a:pt x="11437" y="1398"/>
                </a:lnTo>
                <a:lnTo>
                  <a:pt x="11437" y="740"/>
                </a:lnTo>
                <a:lnTo>
                  <a:pt x="11577" y="740"/>
                </a:lnTo>
                <a:lnTo>
                  <a:pt x="11577" y="1374"/>
                </a:lnTo>
                <a:lnTo>
                  <a:pt x="11579" y="1386"/>
                </a:lnTo>
                <a:lnTo>
                  <a:pt x="11580" y="1397"/>
                </a:lnTo>
                <a:lnTo>
                  <a:pt x="11583" y="1407"/>
                </a:lnTo>
                <a:lnTo>
                  <a:pt x="11588" y="1414"/>
                </a:lnTo>
                <a:lnTo>
                  <a:pt x="11595" y="1421"/>
                </a:lnTo>
                <a:lnTo>
                  <a:pt x="11605" y="1426"/>
                </a:lnTo>
                <a:lnTo>
                  <a:pt x="11618" y="1428"/>
                </a:lnTo>
                <a:lnTo>
                  <a:pt x="11634" y="1429"/>
                </a:lnTo>
                <a:lnTo>
                  <a:pt x="11657" y="1428"/>
                </a:lnTo>
                <a:lnTo>
                  <a:pt x="11657" y="1546"/>
                </a:lnTo>
                <a:lnTo>
                  <a:pt x="11626" y="1552"/>
                </a:lnTo>
                <a:lnTo>
                  <a:pt x="11596" y="1553"/>
                </a:lnTo>
                <a:close/>
                <a:moveTo>
                  <a:pt x="11139" y="1097"/>
                </a:moveTo>
                <a:lnTo>
                  <a:pt x="11131" y="1090"/>
                </a:lnTo>
                <a:lnTo>
                  <a:pt x="11122" y="1084"/>
                </a:lnTo>
                <a:lnTo>
                  <a:pt x="11103" y="1073"/>
                </a:lnTo>
                <a:lnTo>
                  <a:pt x="11091" y="1069"/>
                </a:lnTo>
                <a:lnTo>
                  <a:pt x="11079" y="1066"/>
                </a:lnTo>
                <a:lnTo>
                  <a:pt x="11051" y="1064"/>
                </a:lnTo>
                <a:lnTo>
                  <a:pt x="11020" y="1067"/>
                </a:lnTo>
                <a:lnTo>
                  <a:pt x="10994" y="1076"/>
                </a:lnTo>
                <a:lnTo>
                  <a:pt x="10971" y="1090"/>
                </a:lnTo>
                <a:lnTo>
                  <a:pt x="10961" y="1099"/>
                </a:lnTo>
                <a:lnTo>
                  <a:pt x="10954" y="1109"/>
                </a:lnTo>
                <a:lnTo>
                  <a:pt x="10941" y="1128"/>
                </a:lnTo>
                <a:lnTo>
                  <a:pt x="10931" y="1149"/>
                </a:lnTo>
                <a:lnTo>
                  <a:pt x="10926" y="1172"/>
                </a:lnTo>
                <a:lnTo>
                  <a:pt x="10923" y="1199"/>
                </a:lnTo>
                <a:lnTo>
                  <a:pt x="11174" y="1199"/>
                </a:lnTo>
                <a:lnTo>
                  <a:pt x="11173" y="1183"/>
                </a:lnTo>
                <a:lnTo>
                  <a:pt x="11171" y="1168"/>
                </a:lnTo>
                <a:lnTo>
                  <a:pt x="11165" y="1141"/>
                </a:lnTo>
                <a:lnTo>
                  <a:pt x="11154" y="1117"/>
                </a:lnTo>
                <a:lnTo>
                  <a:pt x="11146" y="1106"/>
                </a:lnTo>
                <a:lnTo>
                  <a:pt x="11139" y="1097"/>
                </a:lnTo>
                <a:close/>
                <a:moveTo>
                  <a:pt x="11312" y="1300"/>
                </a:moveTo>
                <a:lnTo>
                  <a:pt x="10924" y="1300"/>
                </a:lnTo>
                <a:lnTo>
                  <a:pt x="10924" y="1317"/>
                </a:lnTo>
                <a:lnTo>
                  <a:pt x="10927" y="1333"/>
                </a:lnTo>
                <a:lnTo>
                  <a:pt x="10935" y="1364"/>
                </a:lnTo>
                <a:lnTo>
                  <a:pt x="10941" y="1378"/>
                </a:lnTo>
                <a:lnTo>
                  <a:pt x="10948" y="1391"/>
                </a:lnTo>
                <a:lnTo>
                  <a:pt x="10957" y="1403"/>
                </a:lnTo>
                <a:lnTo>
                  <a:pt x="10967" y="1414"/>
                </a:lnTo>
                <a:lnTo>
                  <a:pt x="10983" y="1427"/>
                </a:lnTo>
                <a:lnTo>
                  <a:pt x="11003" y="1439"/>
                </a:lnTo>
                <a:lnTo>
                  <a:pt x="11027" y="1447"/>
                </a:lnTo>
                <a:lnTo>
                  <a:pt x="11053" y="1450"/>
                </a:lnTo>
                <a:lnTo>
                  <a:pt x="11080" y="1448"/>
                </a:lnTo>
                <a:lnTo>
                  <a:pt x="11103" y="1444"/>
                </a:lnTo>
                <a:lnTo>
                  <a:pt x="11121" y="1435"/>
                </a:lnTo>
                <a:lnTo>
                  <a:pt x="11137" y="1422"/>
                </a:lnTo>
                <a:lnTo>
                  <a:pt x="11146" y="1412"/>
                </a:lnTo>
                <a:lnTo>
                  <a:pt x="11154" y="1401"/>
                </a:lnTo>
                <a:lnTo>
                  <a:pt x="11160" y="1388"/>
                </a:lnTo>
                <a:lnTo>
                  <a:pt x="11166" y="1373"/>
                </a:lnTo>
                <a:lnTo>
                  <a:pt x="11299" y="1373"/>
                </a:lnTo>
                <a:lnTo>
                  <a:pt x="11293" y="1400"/>
                </a:lnTo>
                <a:lnTo>
                  <a:pt x="11288" y="1415"/>
                </a:lnTo>
                <a:lnTo>
                  <a:pt x="11282" y="1429"/>
                </a:lnTo>
                <a:lnTo>
                  <a:pt x="11267" y="1457"/>
                </a:lnTo>
                <a:lnTo>
                  <a:pt x="11250" y="1481"/>
                </a:lnTo>
                <a:lnTo>
                  <a:pt x="11231" y="1500"/>
                </a:lnTo>
                <a:lnTo>
                  <a:pt x="11209" y="1518"/>
                </a:lnTo>
                <a:lnTo>
                  <a:pt x="11186" y="1532"/>
                </a:lnTo>
                <a:lnTo>
                  <a:pt x="11161" y="1543"/>
                </a:lnTo>
                <a:lnTo>
                  <a:pt x="11136" y="1551"/>
                </a:lnTo>
                <a:lnTo>
                  <a:pt x="11109" y="1557"/>
                </a:lnTo>
                <a:lnTo>
                  <a:pt x="11082" y="1560"/>
                </a:lnTo>
                <a:lnTo>
                  <a:pt x="11055" y="1561"/>
                </a:lnTo>
                <a:lnTo>
                  <a:pt x="11027" y="1560"/>
                </a:lnTo>
                <a:lnTo>
                  <a:pt x="10999" y="1557"/>
                </a:lnTo>
                <a:lnTo>
                  <a:pt x="10986" y="1553"/>
                </a:lnTo>
                <a:lnTo>
                  <a:pt x="10974" y="1550"/>
                </a:lnTo>
                <a:lnTo>
                  <a:pt x="10951" y="1543"/>
                </a:lnTo>
                <a:lnTo>
                  <a:pt x="10929" y="1532"/>
                </a:lnTo>
                <a:lnTo>
                  <a:pt x="10909" y="1520"/>
                </a:lnTo>
                <a:lnTo>
                  <a:pt x="10890" y="1506"/>
                </a:lnTo>
                <a:lnTo>
                  <a:pt x="10872" y="1490"/>
                </a:lnTo>
                <a:lnTo>
                  <a:pt x="10852" y="1468"/>
                </a:lnTo>
                <a:lnTo>
                  <a:pt x="10833" y="1444"/>
                </a:lnTo>
                <a:lnTo>
                  <a:pt x="10818" y="1417"/>
                </a:lnTo>
                <a:lnTo>
                  <a:pt x="10806" y="1388"/>
                </a:lnTo>
                <a:lnTo>
                  <a:pt x="10801" y="1374"/>
                </a:lnTo>
                <a:lnTo>
                  <a:pt x="10796" y="1359"/>
                </a:lnTo>
                <a:lnTo>
                  <a:pt x="10789" y="1326"/>
                </a:lnTo>
                <a:lnTo>
                  <a:pt x="10784" y="1292"/>
                </a:lnTo>
                <a:lnTo>
                  <a:pt x="10783" y="1258"/>
                </a:lnTo>
                <a:lnTo>
                  <a:pt x="10784" y="1224"/>
                </a:lnTo>
                <a:lnTo>
                  <a:pt x="10788" y="1190"/>
                </a:lnTo>
                <a:lnTo>
                  <a:pt x="10794" y="1159"/>
                </a:lnTo>
                <a:lnTo>
                  <a:pt x="10804" y="1128"/>
                </a:lnTo>
                <a:lnTo>
                  <a:pt x="10816" y="1100"/>
                </a:lnTo>
                <a:lnTo>
                  <a:pt x="10830" y="1073"/>
                </a:lnTo>
                <a:lnTo>
                  <a:pt x="10847" y="1048"/>
                </a:lnTo>
                <a:lnTo>
                  <a:pt x="10867" y="1026"/>
                </a:lnTo>
                <a:lnTo>
                  <a:pt x="10883" y="1010"/>
                </a:lnTo>
                <a:lnTo>
                  <a:pt x="10903" y="995"/>
                </a:lnTo>
                <a:lnTo>
                  <a:pt x="10923" y="982"/>
                </a:lnTo>
                <a:lnTo>
                  <a:pt x="10946" y="971"/>
                </a:lnTo>
                <a:lnTo>
                  <a:pt x="10970" y="964"/>
                </a:lnTo>
                <a:lnTo>
                  <a:pt x="10995" y="957"/>
                </a:lnTo>
                <a:lnTo>
                  <a:pt x="11022" y="953"/>
                </a:lnTo>
                <a:lnTo>
                  <a:pt x="11052" y="952"/>
                </a:lnTo>
                <a:lnTo>
                  <a:pt x="11083" y="954"/>
                </a:lnTo>
                <a:lnTo>
                  <a:pt x="11115" y="958"/>
                </a:lnTo>
                <a:lnTo>
                  <a:pt x="11144" y="967"/>
                </a:lnTo>
                <a:lnTo>
                  <a:pt x="11172" y="978"/>
                </a:lnTo>
                <a:lnTo>
                  <a:pt x="11198" y="993"/>
                </a:lnTo>
                <a:lnTo>
                  <a:pt x="11222" y="1012"/>
                </a:lnTo>
                <a:lnTo>
                  <a:pt x="11244" y="1033"/>
                </a:lnTo>
                <a:lnTo>
                  <a:pt x="11263" y="1060"/>
                </a:lnTo>
                <a:lnTo>
                  <a:pt x="11278" y="1084"/>
                </a:lnTo>
                <a:lnTo>
                  <a:pt x="11290" y="1107"/>
                </a:lnTo>
                <a:lnTo>
                  <a:pt x="11306" y="1156"/>
                </a:lnTo>
                <a:lnTo>
                  <a:pt x="11310" y="1183"/>
                </a:lnTo>
                <a:lnTo>
                  <a:pt x="11312" y="1208"/>
                </a:lnTo>
                <a:lnTo>
                  <a:pt x="11313" y="1261"/>
                </a:lnTo>
                <a:lnTo>
                  <a:pt x="11312" y="1300"/>
                </a:lnTo>
                <a:close/>
                <a:moveTo>
                  <a:pt x="10509" y="1111"/>
                </a:moveTo>
                <a:lnTo>
                  <a:pt x="10502" y="1103"/>
                </a:lnTo>
                <a:lnTo>
                  <a:pt x="10493" y="1097"/>
                </a:lnTo>
                <a:lnTo>
                  <a:pt x="10472" y="1085"/>
                </a:lnTo>
                <a:lnTo>
                  <a:pt x="10462" y="1080"/>
                </a:lnTo>
                <a:lnTo>
                  <a:pt x="10449" y="1077"/>
                </a:lnTo>
                <a:lnTo>
                  <a:pt x="10421" y="1074"/>
                </a:lnTo>
                <a:lnTo>
                  <a:pt x="10394" y="1077"/>
                </a:lnTo>
                <a:lnTo>
                  <a:pt x="10370" y="1085"/>
                </a:lnTo>
                <a:lnTo>
                  <a:pt x="10350" y="1097"/>
                </a:lnTo>
                <a:lnTo>
                  <a:pt x="10341" y="1103"/>
                </a:lnTo>
                <a:lnTo>
                  <a:pt x="10333" y="1111"/>
                </a:lnTo>
                <a:lnTo>
                  <a:pt x="10322" y="1125"/>
                </a:lnTo>
                <a:lnTo>
                  <a:pt x="10313" y="1141"/>
                </a:lnTo>
                <a:lnTo>
                  <a:pt x="10306" y="1159"/>
                </a:lnTo>
                <a:lnTo>
                  <a:pt x="10301" y="1177"/>
                </a:lnTo>
                <a:lnTo>
                  <a:pt x="10294" y="1216"/>
                </a:lnTo>
                <a:lnTo>
                  <a:pt x="10292" y="1256"/>
                </a:lnTo>
                <a:lnTo>
                  <a:pt x="10292" y="1277"/>
                </a:lnTo>
                <a:lnTo>
                  <a:pt x="10294" y="1298"/>
                </a:lnTo>
                <a:lnTo>
                  <a:pt x="10301" y="1337"/>
                </a:lnTo>
                <a:lnTo>
                  <a:pt x="10306" y="1355"/>
                </a:lnTo>
                <a:lnTo>
                  <a:pt x="10313" y="1372"/>
                </a:lnTo>
                <a:lnTo>
                  <a:pt x="10322" y="1388"/>
                </a:lnTo>
                <a:lnTo>
                  <a:pt x="10333" y="1403"/>
                </a:lnTo>
                <a:lnTo>
                  <a:pt x="10341" y="1410"/>
                </a:lnTo>
                <a:lnTo>
                  <a:pt x="10350" y="1417"/>
                </a:lnTo>
                <a:lnTo>
                  <a:pt x="10370" y="1429"/>
                </a:lnTo>
                <a:lnTo>
                  <a:pt x="10382" y="1434"/>
                </a:lnTo>
                <a:lnTo>
                  <a:pt x="10394" y="1437"/>
                </a:lnTo>
                <a:lnTo>
                  <a:pt x="10421" y="1440"/>
                </a:lnTo>
                <a:lnTo>
                  <a:pt x="10449" y="1437"/>
                </a:lnTo>
                <a:lnTo>
                  <a:pt x="10472" y="1429"/>
                </a:lnTo>
                <a:lnTo>
                  <a:pt x="10493" y="1417"/>
                </a:lnTo>
                <a:lnTo>
                  <a:pt x="10502" y="1410"/>
                </a:lnTo>
                <a:lnTo>
                  <a:pt x="10509" y="1403"/>
                </a:lnTo>
                <a:lnTo>
                  <a:pt x="10521" y="1388"/>
                </a:lnTo>
                <a:lnTo>
                  <a:pt x="10530" y="1372"/>
                </a:lnTo>
                <a:lnTo>
                  <a:pt x="10538" y="1355"/>
                </a:lnTo>
                <a:lnTo>
                  <a:pt x="10543" y="1337"/>
                </a:lnTo>
                <a:lnTo>
                  <a:pt x="10550" y="1298"/>
                </a:lnTo>
                <a:lnTo>
                  <a:pt x="10551" y="1256"/>
                </a:lnTo>
                <a:lnTo>
                  <a:pt x="10551" y="1236"/>
                </a:lnTo>
                <a:lnTo>
                  <a:pt x="10550" y="1216"/>
                </a:lnTo>
                <a:lnTo>
                  <a:pt x="10543" y="1177"/>
                </a:lnTo>
                <a:lnTo>
                  <a:pt x="10538" y="1159"/>
                </a:lnTo>
                <a:lnTo>
                  <a:pt x="10530" y="1141"/>
                </a:lnTo>
                <a:lnTo>
                  <a:pt x="10521" y="1125"/>
                </a:lnTo>
                <a:lnTo>
                  <a:pt x="10509" y="1111"/>
                </a:lnTo>
                <a:close/>
                <a:moveTo>
                  <a:pt x="10625" y="1471"/>
                </a:moveTo>
                <a:lnTo>
                  <a:pt x="10608" y="1489"/>
                </a:lnTo>
                <a:lnTo>
                  <a:pt x="10589" y="1506"/>
                </a:lnTo>
                <a:lnTo>
                  <a:pt x="10566" y="1521"/>
                </a:lnTo>
                <a:lnTo>
                  <a:pt x="10541" y="1535"/>
                </a:lnTo>
                <a:lnTo>
                  <a:pt x="10514" y="1546"/>
                </a:lnTo>
                <a:lnTo>
                  <a:pt x="10484" y="1555"/>
                </a:lnTo>
                <a:lnTo>
                  <a:pt x="10454" y="1560"/>
                </a:lnTo>
                <a:lnTo>
                  <a:pt x="10421" y="1561"/>
                </a:lnTo>
                <a:lnTo>
                  <a:pt x="10389" y="1560"/>
                </a:lnTo>
                <a:lnTo>
                  <a:pt x="10358" y="1555"/>
                </a:lnTo>
                <a:lnTo>
                  <a:pt x="10329" y="1546"/>
                </a:lnTo>
                <a:lnTo>
                  <a:pt x="10302" y="1535"/>
                </a:lnTo>
                <a:lnTo>
                  <a:pt x="10277" y="1521"/>
                </a:lnTo>
                <a:lnTo>
                  <a:pt x="10255" y="1506"/>
                </a:lnTo>
                <a:lnTo>
                  <a:pt x="10236" y="1489"/>
                </a:lnTo>
                <a:lnTo>
                  <a:pt x="10227" y="1481"/>
                </a:lnTo>
                <a:lnTo>
                  <a:pt x="10218" y="1471"/>
                </a:lnTo>
                <a:lnTo>
                  <a:pt x="10190" y="1428"/>
                </a:lnTo>
                <a:lnTo>
                  <a:pt x="10178" y="1406"/>
                </a:lnTo>
                <a:lnTo>
                  <a:pt x="10168" y="1380"/>
                </a:lnTo>
                <a:lnTo>
                  <a:pt x="10161" y="1353"/>
                </a:lnTo>
                <a:lnTo>
                  <a:pt x="10155" y="1324"/>
                </a:lnTo>
                <a:lnTo>
                  <a:pt x="10152" y="1292"/>
                </a:lnTo>
                <a:lnTo>
                  <a:pt x="10151" y="1256"/>
                </a:lnTo>
                <a:lnTo>
                  <a:pt x="10152" y="1222"/>
                </a:lnTo>
                <a:lnTo>
                  <a:pt x="10155" y="1189"/>
                </a:lnTo>
                <a:lnTo>
                  <a:pt x="10161" y="1160"/>
                </a:lnTo>
                <a:lnTo>
                  <a:pt x="10168" y="1134"/>
                </a:lnTo>
                <a:lnTo>
                  <a:pt x="10178" y="1109"/>
                </a:lnTo>
                <a:lnTo>
                  <a:pt x="10190" y="1085"/>
                </a:lnTo>
                <a:lnTo>
                  <a:pt x="10203" y="1063"/>
                </a:lnTo>
                <a:lnTo>
                  <a:pt x="10218" y="1042"/>
                </a:lnTo>
                <a:lnTo>
                  <a:pt x="10236" y="1025"/>
                </a:lnTo>
                <a:lnTo>
                  <a:pt x="10255" y="1007"/>
                </a:lnTo>
                <a:lnTo>
                  <a:pt x="10277" y="992"/>
                </a:lnTo>
                <a:lnTo>
                  <a:pt x="10302" y="979"/>
                </a:lnTo>
                <a:lnTo>
                  <a:pt x="10329" y="967"/>
                </a:lnTo>
                <a:lnTo>
                  <a:pt x="10358" y="960"/>
                </a:lnTo>
                <a:lnTo>
                  <a:pt x="10389" y="954"/>
                </a:lnTo>
                <a:lnTo>
                  <a:pt x="10421" y="952"/>
                </a:lnTo>
                <a:lnTo>
                  <a:pt x="10454" y="954"/>
                </a:lnTo>
                <a:lnTo>
                  <a:pt x="10484" y="960"/>
                </a:lnTo>
                <a:lnTo>
                  <a:pt x="10514" y="967"/>
                </a:lnTo>
                <a:lnTo>
                  <a:pt x="10541" y="979"/>
                </a:lnTo>
                <a:lnTo>
                  <a:pt x="10566" y="992"/>
                </a:lnTo>
                <a:lnTo>
                  <a:pt x="10589" y="1007"/>
                </a:lnTo>
                <a:lnTo>
                  <a:pt x="10608" y="1025"/>
                </a:lnTo>
                <a:lnTo>
                  <a:pt x="10617" y="1033"/>
                </a:lnTo>
                <a:lnTo>
                  <a:pt x="10625" y="1042"/>
                </a:lnTo>
                <a:lnTo>
                  <a:pt x="10654" y="1085"/>
                </a:lnTo>
                <a:lnTo>
                  <a:pt x="10665" y="1109"/>
                </a:lnTo>
                <a:lnTo>
                  <a:pt x="10675" y="1134"/>
                </a:lnTo>
                <a:lnTo>
                  <a:pt x="10682" y="1160"/>
                </a:lnTo>
                <a:lnTo>
                  <a:pt x="10688" y="1189"/>
                </a:lnTo>
                <a:lnTo>
                  <a:pt x="10692" y="1222"/>
                </a:lnTo>
                <a:lnTo>
                  <a:pt x="10693" y="1256"/>
                </a:lnTo>
                <a:lnTo>
                  <a:pt x="10692" y="1292"/>
                </a:lnTo>
                <a:lnTo>
                  <a:pt x="10688" y="1324"/>
                </a:lnTo>
                <a:lnTo>
                  <a:pt x="10682" y="1353"/>
                </a:lnTo>
                <a:lnTo>
                  <a:pt x="10675" y="1380"/>
                </a:lnTo>
                <a:lnTo>
                  <a:pt x="10665" y="1406"/>
                </a:lnTo>
                <a:lnTo>
                  <a:pt x="10654" y="1428"/>
                </a:lnTo>
                <a:lnTo>
                  <a:pt x="10640" y="1450"/>
                </a:lnTo>
                <a:lnTo>
                  <a:pt x="10625" y="1471"/>
                </a:lnTo>
                <a:close/>
                <a:moveTo>
                  <a:pt x="9890" y="1547"/>
                </a:moveTo>
                <a:lnTo>
                  <a:pt x="9890" y="1191"/>
                </a:lnTo>
                <a:lnTo>
                  <a:pt x="9889" y="1166"/>
                </a:lnTo>
                <a:lnTo>
                  <a:pt x="9885" y="1146"/>
                </a:lnTo>
                <a:lnTo>
                  <a:pt x="9882" y="1136"/>
                </a:lnTo>
                <a:lnTo>
                  <a:pt x="9879" y="1126"/>
                </a:lnTo>
                <a:lnTo>
                  <a:pt x="9875" y="1118"/>
                </a:lnTo>
                <a:lnTo>
                  <a:pt x="9869" y="1111"/>
                </a:lnTo>
                <a:lnTo>
                  <a:pt x="9863" y="1104"/>
                </a:lnTo>
                <a:lnTo>
                  <a:pt x="9856" y="1098"/>
                </a:lnTo>
                <a:lnTo>
                  <a:pt x="9840" y="1089"/>
                </a:lnTo>
                <a:lnTo>
                  <a:pt x="9819" y="1084"/>
                </a:lnTo>
                <a:lnTo>
                  <a:pt x="9793" y="1081"/>
                </a:lnTo>
                <a:lnTo>
                  <a:pt x="9776" y="1082"/>
                </a:lnTo>
                <a:lnTo>
                  <a:pt x="9760" y="1087"/>
                </a:lnTo>
                <a:lnTo>
                  <a:pt x="9746" y="1093"/>
                </a:lnTo>
                <a:lnTo>
                  <a:pt x="9732" y="1102"/>
                </a:lnTo>
                <a:lnTo>
                  <a:pt x="9721" y="1113"/>
                </a:lnTo>
                <a:lnTo>
                  <a:pt x="9710" y="1126"/>
                </a:lnTo>
                <a:lnTo>
                  <a:pt x="9701" y="1140"/>
                </a:lnTo>
                <a:lnTo>
                  <a:pt x="9693" y="1155"/>
                </a:lnTo>
                <a:lnTo>
                  <a:pt x="9687" y="1173"/>
                </a:lnTo>
                <a:lnTo>
                  <a:pt x="9681" y="1192"/>
                </a:lnTo>
                <a:lnTo>
                  <a:pt x="9678" y="1212"/>
                </a:lnTo>
                <a:lnTo>
                  <a:pt x="9676" y="1231"/>
                </a:lnTo>
                <a:lnTo>
                  <a:pt x="9675" y="1272"/>
                </a:lnTo>
                <a:lnTo>
                  <a:pt x="9674" y="1311"/>
                </a:lnTo>
                <a:lnTo>
                  <a:pt x="9674" y="1547"/>
                </a:lnTo>
                <a:lnTo>
                  <a:pt x="9535" y="1547"/>
                </a:lnTo>
                <a:lnTo>
                  <a:pt x="9535" y="966"/>
                </a:lnTo>
                <a:lnTo>
                  <a:pt x="9652" y="966"/>
                </a:lnTo>
                <a:lnTo>
                  <a:pt x="9662" y="1041"/>
                </a:lnTo>
                <a:lnTo>
                  <a:pt x="9677" y="1019"/>
                </a:lnTo>
                <a:lnTo>
                  <a:pt x="9693" y="1001"/>
                </a:lnTo>
                <a:lnTo>
                  <a:pt x="9714" y="986"/>
                </a:lnTo>
                <a:lnTo>
                  <a:pt x="9736" y="974"/>
                </a:lnTo>
                <a:lnTo>
                  <a:pt x="9759" y="964"/>
                </a:lnTo>
                <a:lnTo>
                  <a:pt x="9782" y="957"/>
                </a:lnTo>
                <a:lnTo>
                  <a:pt x="9807" y="953"/>
                </a:lnTo>
                <a:lnTo>
                  <a:pt x="9832" y="952"/>
                </a:lnTo>
                <a:lnTo>
                  <a:pt x="9855" y="953"/>
                </a:lnTo>
                <a:lnTo>
                  <a:pt x="9877" y="956"/>
                </a:lnTo>
                <a:lnTo>
                  <a:pt x="9897" y="961"/>
                </a:lnTo>
                <a:lnTo>
                  <a:pt x="9916" y="967"/>
                </a:lnTo>
                <a:lnTo>
                  <a:pt x="9934" y="976"/>
                </a:lnTo>
                <a:lnTo>
                  <a:pt x="9949" y="986"/>
                </a:lnTo>
                <a:lnTo>
                  <a:pt x="9964" y="998"/>
                </a:lnTo>
                <a:lnTo>
                  <a:pt x="9977" y="1011"/>
                </a:lnTo>
                <a:lnTo>
                  <a:pt x="9989" y="1025"/>
                </a:lnTo>
                <a:lnTo>
                  <a:pt x="10000" y="1041"/>
                </a:lnTo>
                <a:lnTo>
                  <a:pt x="10008" y="1059"/>
                </a:lnTo>
                <a:lnTo>
                  <a:pt x="10016" y="1076"/>
                </a:lnTo>
                <a:lnTo>
                  <a:pt x="10022" y="1095"/>
                </a:lnTo>
                <a:lnTo>
                  <a:pt x="10026" y="1116"/>
                </a:lnTo>
                <a:lnTo>
                  <a:pt x="10028" y="1138"/>
                </a:lnTo>
                <a:lnTo>
                  <a:pt x="10029" y="1160"/>
                </a:lnTo>
                <a:lnTo>
                  <a:pt x="10029" y="1547"/>
                </a:lnTo>
                <a:lnTo>
                  <a:pt x="9890" y="1547"/>
                </a:lnTo>
                <a:close/>
                <a:moveTo>
                  <a:pt x="9222" y="1547"/>
                </a:moveTo>
                <a:lnTo>
                  <a:pt x="9222" y="966"/>
                </a:lnTo>
                <a:lnTo>
                  <a:pt x="9363" y="966"/>
                </a:lnTo>
                <a:lnTo>
                  <a:pt x="9363" y="1547"/>
                </a:lnTo>
                <a:lnTo>
                  <a:pt x="9222" y="1547"/>
                </a:lnTo>
                <a:close/>
                <a:moveTo>
                  <a:pt x="9217" y="886"/>
                </a:moveTo>
                <a:lnTo>
                  <a:pt x="9217" y="742"/>
                </a:lnTo>
                <a:lnTo>
                  <a:pt x="9366" y="742"/>
                </a:lnTo>
                <a:lnTo>
                  <a:pt x="9366" y="886"/>
                </a:lnTo>
                <a:lnTo>
                  <a:pt x="9217" y="886"/>
                </a:lnTo>
                <a:close/>
                <a:moveTo>
                  <a:pt x="8918" y="1097"/>
                </a:moveTo>
                <a:lnTo>
                  <a:pt x="8910" y="1090"/>
                </a:lnTo>
                <a:lnTo>
                  <a:pt x="8901" y="1084"/>
                </a:lnTo>
                <a:lnTo>
                  <a:pt x="8881" y="1073"/>
                </a:lnTo>
                <a:lnTo>
                  <a:pt x="8870" y="1069"/>
                </a:lnTo>
                <a:lnTo>
                  <a:pt x="8857" y="1066"/>
                </a:lnTo>
                <a:lnTo>
                  <a:pt x="8830" y="1064"/>
                </a:lnTo>
                <a:lnTo>
                  <a:pt x="8799" y="1067"/>
                </a:lnTo>
                <a:lnTo>
                  <a:pt x="8772" y="1076"/>
                </a:lnTo>
                <a:lnTo>
                  <a:pt x="8749" y="1090"/>
                </a:lnTo>
                <a:lnTo>
                  <a:pt x="8740" y="1099"/>
                </a:lnTo>
                <a:lnTo>
                  <a:pt x="8732" y="1109"/>
                </a:lnTo>
                <a:lnTo>
                  <a:pt x="8719" y="1128"/>
                </a:lnTo>
                <a:lnTo>
                  <a:pt x="8710" y="1149"/>
                </a:lnTo>
                <a:lnTo>
                  <a:pt x="8705" y="1172"/>
                </a:lnTo>
                <a:lnTo>
                  <a:pt x="8701" y="1199"/>
                </a:lnTo>
                <a:lnTo>
                  <a:pt x="8952" y="1199"/>
                </a:lnTo>
                <a:lnTo>
                  <a:pt x="8952" y="1183"/>
                </a:lnTo>
                <a:lnTo>
                  <a:pt x="8950" y="1168"/>
                </a:lnTo>
                <a:lnTo>
                  <a:pt x="8943" y="1141"/>
                </a:lnTo>
                <a:lnTo>
                  <a:pt x="8932" y="1117"/>
                </a:lnTo>
                <a:lnTo>
                  <a:pt x="8925" y="1106"/>
                </a:lnTo>
                <a:lnTo>
                  <a:pt x="8918" y="1097"/>
                </a:lnTo>
                <a:close/>
                <a:moveTo>
                  <a:pt x="9091" y="1300"/>
                </a:moveTo>
                <a:lnTo>
                  <a:pt x="8703" y="1300"/>
                </a:lnTo>
                <a:lnTo>
                  <a:pt x="8703" y="1317"/>
                </a:lnTo>
                <a:lnTo>
                  <a:pt x="8706" y="1333"/>
                </a:lnTo>
                <a:lnTo>
                  <a:pt x="8713" y="1364"/>
                </a:lnTo>
                <a:lnTo>
                  <a:pt x="8720" y="1378"/>
                </a:lnTo>
                <a:lnTo>
                  <a:pt x="8726" y="1391"/>
                </a:lnTo>
                <a:lnTo>
                  <a:pt x="8735" y="1403"/>
                </a:lnTo>
                <a:lnTo>
                  <a:pt x="8746" y="1414"/>
                </a:lnTo>
                <a:lnTo>
                  <a:pt x="8762" y="1427"/>
                </a:lnTo>
                <a:lnTo>
                  <a:pt x="8782" y="1439"/>
                </a:lnTo>
                <a:lnTo>
                  <a:pt x="8805" y="1447"/>
                </a:lnTo>
                <a:lnTo>
                  <a:pt x="8832" y="1450"/>
                </a:lnTo>
                <a:lnTo>
                  <a:pt x="8859" y="1448"/>
                </a:lnTo>
                <a:lnTo>
                  <a:pt x="8881" y="1444"/>
                </a:lnTo>
                <a:lnTo>
                  <a:pt x="8900" y="1435"/>
                </a:lnTo>
                <a:lnTo>
                  <a:pt x="8916" y="1422"/>
                </a:lnTo>
                <a:lnTo>
                  <a:pt x="8925" y="1412"/>
                </a:lnTo>
                <a:lnTo>
                  <a:pt x="8933" y="1401"/>
                </a:lnTo>
                <a:lnTo>
                  <a:pt x="8939" y="1388"/>
                </a:lnTo>
                <a:lnTo>
                  <a:pt x="8944" y="1373"/>
                </a:lnTo>
                <a:lnTo>
                  <a:pt x="9077" y="1373"/>
                </a:lnTo>
                <a:lnTo>
                  <a:pt x="9072" y="1400"/>
                </a:lnTo>
                <a:lnTo>
                  <a:pt x="9066" y="1415"/>
                </a:lnTo>
                <a:lnTo>
                  <a:pt x="9060" y="1429"/>
                </a:lnTo>
                <a:lnTo>
                  <a:pt x="9046" y="1457"/>
                </a:lnTo>
                <a:lnTo>
                  <a:pt x="9028" y="1481"/>
                </a:lnTo>
                <a:lnTo>
                  <a:pt x="9009" y="1500"/>
                </a:lnTo>
                <a:lnTo>
                  <a:pt x="8988" y="1518"/>
                </a:lnTo>
                <a:lnTo>
                  <a:pt x="8964" y="1532"/>
                </a:lnTo>
                <a:lnTo>
                  <a:pt x="8940" y="1543"/>
                </a:lnTo>
                <a:lnTo>
                  <a:pt x="8914" y="1551"/>
                </a:lnTo>
                <a:lnTo>
                  <a:pt x="8888" y="1557"/>
                </a:lnTo>
                <a:lnTo>
                  <a:pt x="8861" y="1560"/>
                </a:lnTo>
                <a:lnTo>
                  <a:pt x="8834" y="1561"/>
                </a:lnTo>
                <a:lnTo>
                  <a:pt x="8805" y="1560"/>
                </a:lnTo>
                <a:lnTo>
                  <a:pt x="8777" y="1557"/>
                </a:lnTo>
                <a:lnTo>
                  <a:pt x="8765" y="1553"/>
                </a:lnTo>
                <a:lnTo>
                  <a:pt x="8752" y="1550"/>
                </a:lnTo>
                <a:lnTo>
                  <a:pt x="8730" y="1543"/>
                </a:lnTo>
                <a:lnTo>
                  <a:pt x="8708" y="1532"/>
                </a:lnTo>
                <a:lnTo>
                  <a:pt x="8687" y="1520"/>
                </a:lnTo>
                <a:lnTo>
                  <a:pt x="8669" y="1506"/>
                </a:lnTo>
                <a:lnTo>
                  <a:pt x="8650" y="1490"/>
                </a:lnTo>
                <a:lnTo>
                  <a:pt x="8630" y="1468"/>
                </a:lnTo>
                <a:lnTo>
                  <a:pt x="8612" y="1444"/>
                </a:lnTo>
                <a:lnTo>
                  <a:pt x="8597" y="1417"/>
                </a:lnTo>
                <a:lnTo>
                  <a:pt x="8584" y="1388"/>
                </a:lnTo>
                <a:lnTo>
                  <a:pt x="8579" y="1374"/>
                </a:lnTo>
                <a:lnTo>
                  <a:pt x="8574" y="1359"/>
                </a:lnTo>
                <a:lnTo>
                  <a:pt x="8567" y="1326"/>
                </a:lnTo>
                <a:lnTo>
                  <a:pt x="8562" y="1292"/>
                </a:lnTo>
                <a:lnTo>
                  <a:pt x="8561" y="1258"/>
                </a:lnTo>
                <a:lnTo>
                  <a:pt x="8562" y="1224"/>
                </a:lnTo>
                <a:lnTo>
                  <a:pt x="8567" y="1190"/>
                </a:lnTo>
                <a:lnTo>
                  <a:pt x="8573" y="1159"/>
                </a:lnTo>
                <a:lnTo>
                  <a:pt x="8582" y="1128"/>
                </a:lnTo>
                <a:lnTo>
                  <a:pt x="8594" y="1100"/>
                </a:lnTo>
                <a:lnTo>
                  <a:pt x="8608" y="1073"/>
                </a:lnTo>
                <a:lnTo>
                  <a:pt x="8625" y="1048"/>
                </a:lnTo>
                <a:lnTo>
                  <a:pt x="8645" y="1026"/>
                </a:lnTo>
                <a:lnTo>
                  <a:pt x="8662" y="1010"/>
                </a:lnTo>
                <a:lnTo>
                  <a:pt x="8681" y="995"/>
                </a:lnTo>
                <a:lnTo>
                  <a:pt x="8701" y="982"/>
                </a:lnTo>
                <a:lnTo>
                  <a:pt x="8724" y="971"/>
                </a:lnTo>
                <a:lnTo>
                  <a:pt x="8748" y="964"/>
                </a:lnTo>
                <a:lnTo>
                  <a:pt x="8774" y="957"/>
                </a:lnTo>
                <a:lnTo>
                  <a:pt x="8801" y="953"/>
                </a:lnTo>
                <a:lnTo>
                  <a:pt x="8831" y="952"/>
                </a:lnTo>
                <a:lnTo>
                  <a:pt x="8862" y="954"/>
                </a:lnTo>
                <a:lnTo>
                  <a:pt x="8893" y="958"/>
                </a:lnTo>
                <a:lnTo>
                  <a:pt x="8922" y="967"/>
                </a:lnTo>
                <a:lnTo>
                  <a:pt x="8950" y="978"/>
                </a:lnTo>
                <a:lnTo>
                  <a:pt x="8976" y="993"/>
                </a:lnTo>
                <a:lnTo>
                  <a:pt x="9001" y="1012"/>
                </a:lnTo>
                <a:lnTo>
                  <a:pt x="9023" y="1033"/>
                </a:lnTo>
                <a:lnTo>
                  <a:pt x="9043" y="1060"/>
                </a:lnTo>
                <a:lnTo>
                  <a:pt x="9057" y="1084"/>
                </a:lnTo>
                <a:lnTo>
                  <a:pt x="9069" y="1107"/>
                </a:lnTo>
                <a:lnTo>
                  <a:pt x="9084" y="1156"/>
                </a:lnTo>
                <a:lnTo>
                  <a:pt x="9088" y="1183"/>
                </a:lnTo>
                <a:lnTo>
                  <a:pt x="9091" y="1208"/>
                </a:lnTo>
                <a:lnTo>
                  <a:pt x="9092" y="1261"/>
                </a:lnTo>
                <a:lnTo>
                  <a:pt x="9091" y="1300"/>
                </a:lnTo>
                <a:close/>
                <a:moveTo>
                  <a:pt x="8368" y="1547"/>
                </a:moveTo>
                <a:lnTo>
                  <a:pt x="8205" y="1293"/>
                </a:lnTo>
                <a:lnTo>
                  <a:pt x="8112" y="1395"/>
                </a:lnTo>
                <a:lnTo>
                  <a:pt x="8112" y="1547"/>
                </a:lnTo>
                <a:lnTo>
                  <a:pt x="7972" y="1547"/>
                </a:lnTo>
                <a:lnTo>
                  <a:pt x="7972" y="741"/>
                </a:lnTo>
                <a:lnTo>
                  <a:pt x="8112" y="741"/>
                </a:lnTo>
                <a:lnTo>
                  <a:pt x="8112" y="1202"/>
                </a:lnTo>
                <a:lnTo>
                  <a:pt x="8332" y="966"/>
                </a:lnTo>
                <a:lnTo>
                  <a:pt x="8507" y="966"/>
                </a:lnTo>
                <a:lnTo>
                  <a:pt x="8299" y="1191"/>
                </a:lnTo>
                <a:lnTo>
                  <a:pt x="8529" y="1547"/>
                </a:lnTo>
                <a:lnTo>
                  <a:pt x="8368" y="1547"/>
                </a:lnTo>
                <a:close/>
                <a:moveTo>
                  <a:pt x="7671" y="1547"/>
                </a:moveTo>
                <a:lnTo>
                  <a:pt x="7671" y="1191"/>
                </a:lnTo>
                <a:lnTo>
                  <a:pt x="7670" y="1166"/>
                </a:lnTo>
                <a:lnTo>
                  <a:pt x="7667" y="1146"/>
                </a:lnTo>
                <a:lnTo>
                  <a:pt x="7664" y="1136"/>
                </a:lnTo>
                <a:lnTo>
                  <a:pt x="7660" y="1126"/>
                </a:lnTo>
                <a:lnTo>
                  <a:pt x="7656" y="1118"/>
                </a:lnTo>
                <a:lnTo>
                  <a:pt x="7651" y="1111"/>
                </a:lnTo>
                <a:lnTo>
                  <a:pt x="7645" y="1104"/>
                </a:lnTo>
                <a:lnTo>
                  <a:pt x="7639" y="1098"/>
                </a:lnTo>
                <a:lnTo>
                  <a:pt x="7621" y="1089"/>
                </a:lnTo>
                <a:lnTo>
                  <a:pt x="7601" y="1084"/>
                </a:lnTo>
                <a:lnTo>
                  <a:pt x="7576" y="1081"/>
                </a:lnTo>
                <a:lnTo>
                  <a:pt x="7558" y="1082"/>
                </a:lnTo>
                <a:lnTo>
                  <a:pt x="7542" y="1087"/>
                </a:lnTo>
                <a:lnTo>
                  <a:pt x="7527" y="1093"/>
                </a:lnTo>
                <a:lnTo>
                  <a:pt x="7514" y="1102"/>
                </a:lnTo>
                <a:lnTo>
                  <a:pt x="7502" y="1113"/>
                </a:lnTo>
                <a:lnTo>
                  <a:pt x="7492" y="1126"/>
                </a:lnTo>
                <a:lnTo>
                  <a:pt x="7483" y="1140"/>
                </a:lnTo>
                <a:lnTo>
                  <a:pt x="7475" y="1155"/>
                </a:lnTo>
                <a:lnTo>
                  <a:pt x="7468" y="1173"/>
                </a:lnTo>
                <a:lnTo>
                  <a:pt x="7464" y="1192"/>
                </a:lnTo>
                <a:lnTo>
                  <a:pt x="7460" y="1212"/>
                </a:lnTo>
                <a:lnTo>
                  <a:pt x="7458" y="1231"/>
                </a:lnTo>
                <a:lnTo>
                  <a:pt x="7456" y="1272"/>
                </a:lnTo>
                <a:lnTo>
                  <a:pt x="7456" y="1311"/>
                </a:lnTo>
                <a:lnTo>
                  <a:pt x="7456" y="1547"/>
                </a:lnTo>
                <a:lnTo>
                  <a:pt x="7317" y="1547"/>
                </a:lnTo>
                <a:lnTo>
                  <a:pt x="7317" y="966"/>
                </a:lnTo>
                <a:lnTo>
                  <a:pt x="7434" y="966"/>
                </a:lnTo>
                <a:lnTo>
                  <a:pt x="7444" y="1041"/>
                </a:lnTo>
                <a:lnTo>
                  <a:pt x="7458" y="1019"/>
                </a:lnTo>
                <a:lnTo>
                  <a:pt x="7476" y="1001"/>
                </a:lnTo>
                <a:lnTo>
                  <a:pt x="7495" y="986"/>
                </a:lnTo>
                <a:lnTo>
                  <a:pt x="7517" y="974"/>
                </a:lnTo>
                <a:lnTo>
                  <a:pt x="7540" y="964"/>
                </a:lnTo>
                <a:lnTo>
                  <a:pt x="7565" y="957"/>
                </a:lnTo>
                <a:lnTo>
                  <a:pt x="7590" y="953"/>
                </a:lnTo>
                <a:lnTo>
                  <a:pt x="7615" y="952"/>
                </a:lnTo>
                <a:lnTo>
                  <a:pt x="7638" y="953"/>
                </a:lnTo>
                <a:lnTo>
                  <a:pt x="7658" y="956"/>
                </a:lnTo>
                <a:lnTo>
                  <a:pt x="7679" y="961"/>
                </a:lnTo>
                <a:lnTo>
                  <a:pt x="7697" y="967"/>
                </a:lnTo>
                <a:lnTo>
                  <a:pt x="7715" y="976"/>
                </a:lnTo>
                <a:lnTo>
                  <a:pt x="7731" y="986"/>
                </a:lnTo>
                <a:lnTo>
                  <a:pt x="7746" y="998"/>
                </a:lnTo>
                <a:lnTo>
                  <a:pt x="7759" y="1011"/>
                </a:lnTo>
                <a:lnTo>
                  <a:pt x="7771" y="1025"/>
                </a:lnTo>
                <a:lnTo>
                  <a:pt x="7781" y="1041"/>
                </a:lnTo>
                <a:lnTo>
                  <a:pt x="7790" y="1059"/>
                </a:lnTo>
                <a:lnTo>
                  <a:pt x="7797" y="1076"/>
                </a:lnTo>
                <a:lnTo>
                  <a:pt x="7804" y="1095"/>
                </a:lnTo>
                <a:lnTo>
                  <a:pt x="7807" y="1116"/>
                </a:lnTo>
                <a:lnTo>
                  <a:pt x="7810" y="1138"/>
                </a:lnTo>
                <a:lnTo>
                  <a:pt x="7810" y="1160"/>
                </a:lnTo>
                <a:lnTo>
                  <a:pt x="7810" y="1547"/>
                </a:lnTo>
                <a:lnTo>
                  <a:pt x="7671" y="1547"/>
                </a:lnTo>
                <a:close/>
                <a:moveTo>
                  <a:pt x="7012" y="1547"/>
                </a:moveTo>
                <a:lnTo>
                  <a:pt x="7012" y="966"/>
                </a:lnTo>
                <a:lnTo>
                  <a:pt x="7153" y="966"/>
                </a:lnTo>
                <a:lnTo>
                  <a:pt x="7153" y="1547"/>
                </a:lnTo>
                <a:lnTo>
                  <a:pt x="7012" y="1547"/>
                </a:lnTo>
                <a:close/>
                <a:moveTo>
                  <a:pt x="7006" y="886"/>
                </a:moveTo>
                <a:lnTo>
                  <a:pt x="7006" y="742"/>
                </a:lnTo>
                <a:lnTo>
                  <a:pt x="7156" y="742"/>
                </a:lnTo>
                <a:lnTo>
                  <a:pt x="7156" y="886"/>
                </a:lnTo>
                <a:lnTo>
                  <a:pt x="7006" y="886"/>
                </a:lnTo>
                <a:close/>
                <a:moveTo>
                  <a:pt x="6823" y="1553"/>
                </a:moveTo>
                <a:lnTo>
                  <a:pt x="6789" y="1551"/>
                </a:lnTo>
                <a:lnTo>
                  <a:pt x="6773" y="1549"/>
                </a:lnTo>
                <a:lnTo>
                  <a:pt x="6757" y="1545"/>
                </a:lnTo>
                <a:lnTo>
                  <a:pt x="6744" y="1539"/>
                </a:lnTo>
                <a:lnTo>
                  <a:pt x="6731" y="1534"/>
                </a:lnTo>
                <a:lnTo>
                  <a:pt x="6719" y="1526"/>
                </a:lnTo>
                <a:lnTo>
                  <a:pt x="6707" y="1518"/>
                </a:lnTo>
                <a:lnTo>
                  <a:pt x="6698" y="1507"/>
                </a:lnTo>
                <a:lnTo>
                  <a:pt x="6689" y="1496"/>
                </a:lnTo>
                <a:lnTo>
                  <a:pt x="6682" y="1483"/>
                </a:lnTo>
                <a:lnTo>
                  <a:pt x="6676" y="1469"/>
                </a:lnTo>
                <a:lnTo>
                  <a:pt x="6667" y="1436"/>
                </a:lnTo>
                <a:lnTo>
                  <a:pt x="6665" y="1417"/>
                </a:lnTo>
                <a:lnTo>
                  <a:pt x="6664" y="1398"/>
                </a:lnTo>
                <a:lnTo>
                  <a:pt x="6664" y="740"/>
                </a:lnTo>
                <a:lnTo>
                  <a:pt x="6805" y="740"/>
                </a:lnTo>
                <a:lnTo>
                  <a:pt x="6805" y="1374"/>
                </a:lnTo>
                <a:lnTo>
                  <a:pt x="6805" y="1386"/>
                </a:lnTo>
                <a:lnTo>
                  <a:pt x="6806" y="1397"/>
                </a:lnTo>
                <a:lnTo>
                  <a:pt x="6810" y="1407"/>
                </a:lnTo>
                <a:lnTo>
                  <a:pt x="6815" y="1414"/>
                </a:lnTo>
                <a:lnTo>
                  <a:pt x="6822" y="1421"/>
                </a:lnTo>
                <a:lnTo>
                  <a:pt x="6831" y="1426"/>
                </a:lnTo>
                <a:lnTo>
                  <a:pt x="6844" y="1428"/>
                </a:lnTo>
                <a:lnTo>
                  <a:pt x="6861" y="1429"/>
                </a:lnTo>
                <a:lnTo>
                  <a:pt x="6885" y="1428"/>
                </a:lnTo>
                <a:lnTo>
                  <a:pt x="6885" y="1546"/>
                </a:lnTo>
                <a:lnTo>
                  <a:pt x="6853" y="1552"/>
                </a:lnTo>
                <a:lnTo>
                  <a:pt x="6823" y="1553"/>
                </a:lnTo>
                <a:close/>
                <a:moveTo>
                  <a:pt x="5977" y="1547"/>
                </a:moveTo>
                <a:lnTo>
                  <a:pt x="5977" y="755"/>
                </a:lnTo>
                <a:lnTo>
                  <a:pt x="6540" y="755"/>
                </a:lnTo>
                <a:lnTo>
                  <a:pt x="6540" y="886"/>
                </a:lnTo>
                <a:lnTo>
                  <a:pt x="6121" y="886"/>
                </a:lnTo>
                <a:lnTo>
                  <a:pt x="6121" y="1070"/>
                </a:lnTo>
                <a:lnTo>
                  <a:pt x="6490" y="1070"/>
                </a:lnTo>
                <a:lnTo>
                  <a:pt x="6490" y="1200"/>
                </a:lnTo>
                <a:lnTo>
                  <a:pt x="6121" y="1200"/>
                </a:lnTo>
                <a:lnTo>
                  <a:pt x="6121" y="1416"/>
                </a:lnTo>
                <a:lnTo>
                  <a:pt x="6540" y="1416"/>
                </a:lnTo>
                <a:lnTo>
                  <a:pt x="6540" y="1547"/>
                </a:lnTo>
                <a:lnTo>
                  <a:pt x="5977" y="1547"/>
                </a:lnTo>
                <a:close/>
                <a:moveTo>
                  <a:pt x="11930" y="2637"/>
                </a:moveTo>
                <a:lnTo>
                  <a:pt x="11913" y="2655"/>
                </a:lnTo>
                <a:lnTo>
                  <a:pt x="11894" y="2672"/>
                </a:lnTo>
                <a:lnTo>
                  <a:pt x="11871" y="2687"/>
                </a:lnTo>
                <a:lnTo>
                  <a:pt x="11846" y="2701"/>
                </a:lnTo>
                <a:lnTo>
                  <a:pt x="11819" y="2712"/>
                </a:lnTo>
                <a:lnTo>
                  <a:pt x="11789" y="2721"/>
                </a:lnTo>
                <a:lnTo>
                  <a:pt x="11759" y="2726"/>
                </a:lnTo>
                <a:lnTo>
                  <a:pt x="11726" y="2727"/>
                </a:lnTo>
                <a:lnTo>
                  <a:pt x="11694" y="2726"/>
                </a:lnTo>
                <a:lnTo>
                  <a:pt x="11663" y="2721"/>
                </a:lnTo>
                <a:lnTo>
                  <a:pt x="11634" y="2712"/>
                </a:lnTo>
                <a:lnTo>
                  <a:pt x="11607" y="2701"/>
                </a:lnTo>
                <a:lnTo>
                  <a:pt x="11582" y="2687"/>
                </a:lnTo>
                <a:lnTo>
                  <a:pt x="11560" y="2672"/>
                </a:lnTo>
                <a:lnTo>
                  <a:pt x="11541" y="2655"/>
                </a:lnTo>
                <a:lnTo>
                  <a:pt x="11532" y="2647"/>
                </a:lnTo>
                <a:lnTo>
                  <a:pt x="11523" y="2637"/>
                </a:lnTo>
                <a:lnTo>
                  <a:pt x="11495" y="2594"/>
                </a:lnTo>
                <a:lnTo>
                  <a:pt x="11483" y="2572"/>
                </a:lnTo>
                <a:lnTo>
                  <a:pt x="11473" y="2547"/>
                </a:lnTo>
                <a:lnTo>
                  <a:pt x="11466" y="2519"/>
                </a:lnTo>
                <a:lnTo>
                  <a:pt x="11460" y="2490"/>
                </a:lnTo>
                <a:lnTo>
                  <a:pt x="11457" y="2457"/>
                </a:lnTo>
                <a:lnTo>
                  <a:pt x="11456" y="2423"/>
                </a:lnTo>
                <a:lnTo>
                  <a:pt x="11457" y="2388"/>
                </a:lnTo>
                <a:lnTo>
                  <a:pt x="11460" y="2355"/>
                </a:lnTo>
                <a:lnTo>
                  <a:pt x="11466" y="2326"/>
                </a:lnTo>
                <a:lnTo>
                  <a:pt x="11473" y="2300"/>
                </a:lnTo>
                <a:lnTo>
                  <a:pt x="11483" y="2275"/>
                </a:lnTo>
                <a:lnTo>
                  <a:pt x="11495" y="2251"/>
                </a:lnTo>
                <a:lnTo>
                  <a:pt x="11508" y="2229"/>
                </a:lnTo>
                <a:lnTo>
                  <a:pt x="11523" y="2208"/>
                </a:lnTo>
                <a:lnTo>
                  <a:pt x="11541" y="2190"/>
                </a:lnTo>
                <a:lnTo>
                  <a:pt x="11560" y="2173"/>
                </a:lnTo>
                <a:lnTo>
                  <a:pt x="11582" y="2158"/>
                </a:lnTo>
                <a:lnTo>
                  <a:pt x="11607" y="2144"/>
                </a:lnTo>
                <a:lnTo>
                  <a:pt x="11634" y="2133"/>
                </a:lnTo>
                <a:lnTo>
                  <a:pt x="11663" y="2125"/>
                </a:lnTo>
                <a:lnTo>
                  <a:pt x="11694" y="2120"/>
                </a:lnTo>
                <a:lnTo>
                  <a:pt x="11726" y="2118"/>
                </a:lnTo>
                <a:lnTo>
                  <a:pt x="11759" y="2120"/>
                </a:lnTo>
                <a:lnTo>
                  <a:pt x="11789" y="2125"/>
                </a:lnTo>
                <a:lnTo>
                  <a:pt x="11819" y="2133"/>
                </a:lnTo>
                <a:lnTo>
                  <a:pt x="11846" y="2144"/>
                </a:lnTo>
                <a:lnTo>
                  <a:pt x="11871" y="2158"/>
                </a:lnTo>
                <a:lnTo>
                  <a:pt x="11894" y="2173"/>
                </a:lnTo>
                <a:lnTo>
                  <a:pt x="11913" y="2190"/>
                </a:lnTo>
                <a:lnTo>
                  <a:pt x="11922" y="2200"/>
                </a:lnTo>
                <a:lnTo>
                  <a:pt x="11930" y="2208"/>
                </a:lnTo>
                <a:lnTo>
                  <a:pt x="11959" y="2251"/>
                </a:lnTo>
                <a:lnTo>
                  <a:pt x="11970" y="2275"/>
                </a:lnTo>
                <a:lnTo>
                  <a:pt x="11980" y="2300"/>
                </a:lnTo>
                <a:lnTo>
                  <a:pt x="11987" y="2326"/>
                </a:lnTo>
                <a:lnTo>
                  <a:pt x="11993" y="2355"/>
                </a:lnTo>
                <a:lnTo>
                  <a:pt x="11996" y="2388"/>
                </a:lnTo>
                <a:lnTo>
                  <a:pt x="11997" y="2423"/>
                </a:lnTo>
                <a:lnTo>
                  <a:pt x="11996" y="2457"/>
                </a:lnTo>
                <a:lnTo>
                  <a:pt x="11993" y="2490"/>
                </a:lnTo>
                <a:lnTo>
                  <a:pt x="11987" y="2519"/>
                </a:lnTo>
                <a:lnTo>
                  <a:pt x="11980" y="2547"/>
                </a:lnTo>
                <a:lnTo>
                  <a:pt x="11970" y="2572"/>
                </a:lnTo>
                <a:lnTo>
                  <a:pt x="11959" y="2594"/>
                </a:lnTo>
                <a:lnTo>
                  <a:pt x="11945" y="2616"/>
                </a:lnTo>
                <a:lnTo>
                  <a:pt x="11930" y="2637"/>
                </a:lnTo>
                <a:close/>
                <a:moveTo>
                  <a:pt x="11814" y="2277"/>
                </a:moveTo>
                <a:lnTo>
                  <a:pt x="11807" y="2269"/>
                </a:lnTo>
                <a:lnTo>
                  <a:pt x="11798" y="2263"/>
                </a:lnTo>
                <a:lnTo>
                  <a:pt x="11777" y="2251"/>
                </a:lnTo>
                <a:lnTo>
                  <a:pt x="11765" y="2246"/>
                </a:lnTo>
                <a:lnTo>
                  <a:pt x="11754" y="2242"/>
                </a:lnTo>
                <a:lnTo>
                  <a:pt x="11726" y="2240"/>
                </a:lnTo>
                <a:lnTo>
                  <a:pt x="11699" y="2242"/>
                </a:lnTo>
                <a:lnTo>
                  <a:pt x="11675" y="2251"/>
                </a:lnTo>
                <a:lnTo>
                  <a:pt x="11655" y="2263"/>
                </a:lnTo>
                <a:lnTo>
                  <a:pt x="11646" y="2269"/>
                </a:lnTo>
                <a:lnTo>
                  <a:pt x="11638" y="2277"/>
                </a:lnTo>
                <a:lnTo>
                  <a:pt x="11627" y="2291"/>
                </a:lnTo>
                <a:lnTo>
                  <a:pt x="11618" y="2307"/>
                </a:lnTo>
                <a:lnTo>
                  <a:pt x="11610" y="2325"/>
                </a:lnTo>
                <a:lnTo>
                  <a:pt x="11605" y="2343"/>
                </a:lnTo>
                <a:lnTo>
                  <a:pt x="11599" y="2382"/>
                </a:lnTo>
                <a:lnTo>
                  <a:pt x="11597" y="2423"/>
                </a:lnTo>
                <a:lnTo>
                  <a:pt x="11597" y="2443"/>
                </a:lnTo>
                <a:lnTo>
                  <a:pt x="11599" y="2464"/>
                </a:lnTo>
                <a:lnTo>
                  <a:pt x="11605" y="2502"/>
                </a:lnTo>
                <a:lnTo>
                  <a:pt x="11610" y="2520"/>
                </a:lnTo>
                <a:lnTo>
                  <a:pt x="11618" y="2538"/>
                </a:lnTo>
                <a:lnTo>
                  <a:pt x="11627" y="2554"/>
                </a:lnTo>
                <a:lnTo>
                  <a:pt x="11638" y="2569"/>
                </a:lnTo>
                <a:lnTo>
                  <a:pt x="11646" y="2576"/>
                </a:lnTo>
                <a:lnTo>
                  <a:pt x="11655" y="2584"/>
                </a:lnTo>
                <a:lnTo>
                  <a:pt x="11675" y="2594"/>
                </a:lnTo>
                <a:lnTo>
                  <a:pt x="11687" y="2600"/>
                </a:lnTo>
                <a:lnTo>
                  <a:pt x="11699" y="2603"/>
                </a:lnTo>
                <a:lnTo>
                  <a:pt x="11726" y="2605"/>
                </a:lnTo>
                <a:lnTo>
                  <a:pt x="11754" y="2603"/>
                </a:lnTo>
                <a:lnTo>
                  <a:pt x="11777" y="2594"/>
                </a:lnTo>
                <a:lnTo>
                  <a:pt x="11798" y="2584"/>
                </a:lnTo>
                <a:lnTo>
                  <a:pt x="11807" y="2576"/>
                </a:lnTo>
                <a:lnTo>
                  <a:pt x="11814" y="2569"/>
                </a:lnTo>
                <a:lnTo>
                  <a:pt x="11826" y="2554"/>
                </a:lnTo>
                <a:lnTo>
                  <a:pt x="11835" y="2538"/>
                </a:lnTo>
                <a:lnTo>
                  <a:pt x="11843" y="2520"/>
                </a:lnTo>
                <a:lnTo>
                  <a:pt x="11848" y="2502"/>
                </a:lnTo>
                <a:lnTo>
                  <a:pt x="11855" y="2464"/>
                </a:lnTo>
                <a:lnTo>
                  <a:pt x="11856" y="2423"/>
                </a:lnTo>
                <a:lnTo>
                  <a:pt x="11856" y="2402"/>
                </a:lnTo>
                <a:lnTo>
                  <a:pt x="11855" y="2382"/>
                </a:lnTo>
                <a:lnTo>
                  <a:pt x="11848" y="2343"/>
                </a:lnTo>
                <a:lnTo>
                  <a:pt x="11843" y="2325"/>
                </a:lnTo>
                <a:lnTo>
                  <a:pt x="11835" y="2307"/>
                </a:lnTo>
                <a:lnTo>
                  <a:pt x="11826" y="2291"/>
                </a:lnTo>
                <a:lnTo>
                  <a:pt x="11814" y="2277"/>
                </a:lnTo>
                <a:close/>
                <a:moveTo>
                  <a:pt x="4921" y="3366"/>
                </a:moveTo>
                <a:lnTo>
                  <a:pt x="4904" y="3364"/>
                </a:lnTo>
                <a:lnTo>
                  <a:pt x="4884" y="3357"/>
                </a:lnTo>
                <a:lnTo>
                  <a:pt x="4860" y="3346"/>
                </a:lnTo>
                <a:lnTo>
                  <a:pt x="4834" y="3332"/>
                </a:lnTo>
                <a:lnTo>
                  <a:pt x="4776" y="3293"/>
                </a:lnTo>
                <a:lnTo>
                  <a:pt x="4743" y="3269"/>
                </a:lnTo>
                <a:lnTo>
                  <a:pt x="4708" y="3241"/>
                </a:lnTo>
                <a:lnTo>
                  <a:pt x="4652" y="3194"/>
                </a:lnTo>
                <a:lnTo>
                  <a:pt x="4590" y="3139"/>
                </a:lnTo>
                <a:lnTo>
                  <a:pt x="4451" y="3010"/>
                </a:lnTo>
                <a:lnTo>
                  <a:pt x="4299" y="2862"/>
                </a:lnTo>
                <a:lnTo>
                  <a:pt x="4144" y="2704"/>
                </a:lnTo>
                <a:lnTo>
                  <a:pt x="3998" y="2546"/>
                </a:lnTo>
                <a:lnTo>
                  <a:pt x="3929" y="2469"/>
                </a:lnTo>
                <a:lnTo>
                  <a:pt x="3866" y="2395"/>
                </a:lnTo>
                <a:lnTo>
                  <a:pt x="3808" y="2326"/>
                </a:lnTo>
                <a:lnTo>
                  <a:pt x="3783" y="2293"/>
                </a:lnTo>
                <a:lnTo>
                  <a:pt x="3760" y="2262"/>
                </a:lnTo>
                <a:lnTo>
                  <a:pt x="3719" y="2204"/>
                </a:lnTo>
                <a:lnTo>
                  <a:pt x="3702" y="2179"/>
                </a:lnTo>
                <a:lnTo>
                  <a:pt x="3688" y="2155"/>
                </a:lnTo>
                <a:lnTo>
                  <a:pt x="3640" y="2059"/>
                </a:lnTo>
                <a:lnTo>
                  <a:pt x="3622" y="2014"/>
                </a:lnTo>
                <a:lnTo>
                  <a:pt x="3605" y="1968"/>
                </a:lnTo>
                <a:lnTo>
                  <a:pt x="3592" y="1923"/>
                </a:lnTo>
                <a:lnTo>
                  <a:pt x="3582" y="1879"/>
                </a:lnTo>
                <a:lnTo>
                  <a:pt x="3577" y="1833"/>
                </a:lnTo>
                <a:lnTo>
                  <a:pt x="3575" y="1786"/>
                </a:lnTo>
                <a:lnTo>
                  <a:pt x="3578" y="1735"/>
                </a:lnTo>
                <a:lnTo>
                  <a:pt x="3586" y="1682"/>
                </a:lnTo>
                <a:lnTo>
                  <a:pt x="3599" y="1627"/>
                </a:lnTo>
                <a:lnTo>
                  <a:pt x="3607" y="1599"/>
                </a:lnTo>
                <a:lnTo>
                  <a:pt x="3617" y="1572"/>
                </a:lnTo>
                <a:lnTo>
                  <a:pt x="3641" y="1514"/>
                </a:lnTo>
                <a:lnTo>
                  <a:pt x="3670" y="1454"/>
                </a:lnTo>
                <a:lnTo>
                  <a:pt x="3706" y="1394"/>
                </a:lnTo>
                <a:lnTo>
                  <a:pt x="3726" y="1362"/>
                </a:lnTo>
                <a:lnTo>
                  <a:pt x="3748" y="1329"/>
                </a:lnTo>
                <a:lnTo>
                  <a:pt x="3781" y="1283"/>
                </a:lnTo>
                <a:lnTo>
                  <a:pt x="3824" y="1228"/>
                </a:lnTo>
                <a:lnTo>
                  <a:pt x="3929" y="1101"/>
                </a:lnTo>
                <a:lnTo>
                  <a:pt x="4057" y="952"/>
                </a:lnTo>
                <a:lnTo>
                  <a:pt x="4203" y="787"/>
                </a:lnTo>
                <a:lnTo>
                  <a:pt x="4526" y="423"/>
                </a:lnTo>
                <a:lnTo>
                  <a:pt x="4690" y="234"/>
                </a:lnTo>
                <a:lnTo>
                  <a:pt x="4850" y="47"/>
                </a:lnTo>
                <a:lnTo>
                  <a:pt x="4860" y="45"/>
                </a:lnTo>
                <a:lnTo>
                  <a:pt x="4872" y="43"/>
                </a:lnTo>
                <a:lnTo>
                  <a:pt x="4892" y="41"/>
                </a:lnTo>
                <a:lnTo>
                  <a:pt x="4925" y="45"/>
                </a:lnTo>
                <a:lnTo>
                  <a:pt x="4944" y="49"/>
                </a:lnTo>
                <a:lnTo>
                  <a:pt x="4962" y="56"/>
                </a:lnTo>
                <a:lnTo>
                  <a:pt x="4983" y="63"/>
                </a:lnTo>
                <a:lnTo>
                  <a:pt x="5003" y="73"/>
                </a:lnTo>
                <a:lnTo>
                  <a:pt x="5043" y="96"/>
                </a:lnTo>
                <a:lnTo>
                  <a:pt x="5082" y="125"/>
                </a:lnTo>
                <a:lnTo>
                  <a:pt x="5100" y="142"/>
                </a:lnTo>
                <a:lnTo>
                  <a:pt x="5119" y="159"/>
                </a:lnTo>
                <a:lnTo>
                  <a:pt x="5135" y="178"/>
                </a:lnTo>
                <a:lnTo>
                  <a:pt x="5150" y="199"/>
                </a:lnTo>
                <a:lnTo>
                  <a:pt x="5165" y="221"/>
                </a:lnTo>
                <a:lnTo>
                  <a:pt x="5176" y="244"/>
                </a:lnTo>
                <a:lnTo>
                  <a:pt x="5184" y="266"/>
                </a:lnTo>
                <a:lnTo>
                  <a:pt x="5190" y="287"/>
                </a:lnTo>
                <a:lnTo>
                  <a:pt x="5193" y="310"/>
                </a:lnTo>
                <a:lnTo>
                  <a:pt x="5194" y="332"/>
                </a:lnTo>
                <a:lnTo>
                  <a:pt x="5193" y="357"/>
                </a:lnTo>
                <a:lnTo>
                  <a:pt x="5188" y="382"/>
                </a:lnTo>
                <a:lnTo>
                  <a:pt x="5182" y="407"/>
                </a:lnTo>
                <a:lnTo>
                  <a:pt x="5172" y="432"/>
                </a:lnTo>
                <a:lnTo>
                  <a:pt x="5161" y="458"/>
                </a:lnTo>
                <a:lnTo>
                  <a:pt x="5146" y="484"/>
                </a:lnTo>
                <a:lnTo>
                  <a:pt x="5130" y="511"/>
                </a:lnTo>
                <a:lnTo>
                  <a:pt x="5111" y="540"/>
                </a:lnTo>
                <a:lnTo>
                  <a:pt x="5078" y="584"/>
                </a:lnTo>
                <a:lnTo>
                  <a:pt x="5034" y="636"/>
                </a:lnTo>
                <a:lnTo>
                  <a:pt x="4927" y="763"/>
                </a:lnTo>
                <a:lnTo>
                  <a:pt x="4657" y="1067"/>
                </a:lnTo>
                <a:lnTo>
                  <a:pt x="4384" y="1378"/>
                </a:lnTo>
                <a:lnTo>
                  <a:pt x="4270" y="1512"/>
                </a:lnTo>
                <a:lnTo>
                  <a:pt x="4187" y="1621"/>
                </a:lnTo>
                <a:lnTo>
                  <a:pt x="4163" y="1655"/>
                </a:lnTo>
                <a:lnTo>
                  <a:pt x="4146" y="1688"/>
                </a:lnTo>
                <a:lnTo>
                  <a:pt x="4140" y="1706"/>
                </a:lnTo>
                <a:lnTo>
                  <a:pt x="4137" y="1722"/>
                </a:lnTo>
                <a:lnTo>
                  <a:pt x="4133" y="1739"/>
                </a:lnTo>
                <a:lnTo>
                  <a:pt x="4132" y="1757"/>
                </a:lnTo>
                <a:lnTo>
                  <a:pt x="4133" y="1778"/>
                </a:lnTo>
                <a:lnTo>
                  <a:pt x="4137" y="1797"/>
                </a:lnTo>
                <a:lnTo>
                  <a:pt x="4150" y="1837"/>
                </a:lnTo>
                <a:lnTo>
                  <a:pt x="4159" y="1858"/>
                </a:lnTo>
                <a:lnTo>
                  <a:pt x="4170" y="1880"/>
                </a:lnTo>
                <a:lnTo>
                  <a:pt x="4197" y="1923"/>
                </a:lnTo>
                <a:lnTo>
                  <a:pt x="4266" y="2007"/>
                </a:lnTo>
                <a:lnTo>
                  <a:pt x="4362" y="2117"/>
                </a:lnTo>
                <a:lnTo>
                  <a:pt x="4481" y="2245"/>
                </a:lnTo>
                <a:lnTo>
                  <a:pt x="4617" y="2388"/>
                </a:lnTo>
                <a:lnTo>
                  <a:pt x="4762" y="2537"/>
                </a:lnTo>
                <a:lnTo>
                  <a:pt x="4912" y="2688"/>
                </a:lnTo>
                <a:lnTo>
                  <a:pt x="5060" y="2834"/>
                </a:lnTo>
                <a:lnTo>
                  <a:pt x="5200" y="2968"/>
                </a:lnTo>
                <a:lnTo>
                  <a:pt x="5217" y="2986"/>
                </a:lnTo>
                <a:lnTo>
                  <a:pt x="5223" y="2995"/>
                </a:lnTo>
                <a:lnTo>
                  <a:pt x="5230" y="3005"/>
                </a:lnTo>
                <a:lnTo>
                  <a:pt x="5238" y="3026"/>
                </a:lnTo>
                <a:lnTo>
                  <a:pt x="5241" y="3038"/>
                </a:lnTo>
                <a:lnTo>
                  <a:pt x="5242" y="3051"/>
                </a:lnTo>
                <a:lnTo>
                  <a:pt x="5239" y="3076"/>
                </a:lnTo>
                <a:lnTo>
                  <a:pt x="5234" y="3102"/>
                </a:lnTo>
                <a:lnTo>
                  <a:pt x="5224" y="3129"/>
                </a:lnTo>
                <a:lnTo>
                  <a:pt x="5211" y="3156"/>
                </a:lnTo>
                <a:lnTo>
                  <a:pt x="5196" y="3182"/>
                </a:lnTo>
                <a:lnTo>
                  <a:pt x="5178" y="3208"/>
                </a:lnTo>
                <a:lnTo>
                  <a:pt x="5157" y="3233"/>
                </a:lnTo>
                <a:lnTo>
                  <a:pt x="5135" y="3257"/>
                </a:lnTo>
                <a:lnTo>
                  <a:pt x="5110" y="3280"/>
                </a:lnTo>
                <a:lnTo>
                  <a:pt x="5085" y="3300"/>
                </a:lnTo>
                <a:lnTo>
                  <a:pt x="5059" y="3319"/>
                </a:lnTo>
                <a:lnTo>
                  <a:pt x="5032" y="3335"/>
                </a:lnTo>
                <a:lnTo>
                  <a:pt x="5004" y="3347"/>
                </a:lnTo>
                <a:lnTo>
                  <a:pt x="4975" y="3357"/>
                </a:lnTo>
                <a:lnTo>
                  <a:pt x="4948" y="3364"/>
                </a:lnTo>
                <a:lnTo>
                  <a:pt x="4921" y="3366"/>
                </a:lnTo>
                <a:close/>
                <a:moveTo>
                  <a:pt x="1388" y="3419"/>
                </a:moveTo>
                <a:lnTo>
                  <a:pt x="1316" y="3417"/>
                </a:lnTo>
                <a:lnTo>
                  <a:pt x="1246" y="3410"/>
                </a:lnTo>
                <a:lnTo>
                  <a:pt x="1177" y="3401"/>
                </a:lnTo>
                <a:lnTo>
                  <a:pt x="1108" y="3386"/>
                </a:lnTo>
                <a:lnTo>
                  <a:pt x="1075" y="3378"/>
                </a:lnTo>
                <a:lnTo>
                  <a:pt x="1041" y="3368"/>
                </a:lnTo>
                <a:lnTo>
                  <a:pt x="976" y="3347"/>
                </a:lnTo>
                <a:lnTo>
                  <a:pt x="911" y="3321"/>
                </a:lnTo>
                <a:lnTo>
                  <a:pt x="879" y="3307"/>
                </a:lnTo>
                <a:lnTo>
                  <a:pt x="848" y="3293"/>
                </a:lnTo>
                <a:lnTo>
                  <a:pt x="787" y="3260"/>
                </a:lnTo>
                <a:lnTo>
                  <a:pt x="756" y="3243"/>
                </a:lnTo>
                <a:lnTo>
                  <a:pt x="727" y="3224"/>
                </a:lnTo>
                <a:lnTo>
                  <a:pt x="698" y="3206"/>
                </a:lnTo>
                <a:lnTo>
                  <a:pt x="668" y="3185"/>
                </a:lnTo>
                <a:lnTo>
                  <a:pt x="640" y="3164"/>
                </a:lnTo>
                <a:lnTo>
                  <a:pt x="613" y="3144"/>
                </a:lnTo>
                <a:lnTo>
                  <a:pt x="557" y="3098"/>
                </a:lnTo>
                <a:lnTo>
                  <a:pt x="505" y="3050"/>
                </a:lnTo>
                <a:lnTo>
                  <a:pt x="455" y="2999"/>
                </a:lnTo>
                <a:lnTo>
                  <a:pt x="406" y="2946"/>
                </a:lnTo>
                <a:lnTo>
                  <a:pt x="384" y="2918"/>
                </a:lnTo>
                <a:lnTo>
                  <a:pt x="361" y="2889"/>
                </a:lnTo>
                <a:lnTo>
                  <a:pt x="317" y="2831"/>
                </a:lnTo>
                <a:lnTo>
                  <a:pt x="276" y="2769"/>
                </a:lnTo>
                <a:lnTo>
                  <a:pt x="237" y="2704"/>
                </a:lnTo>
                <a:lnTo>
                  <a:pt x="218" y="2672"/>
                </a:lnTo>
                <a:lnTo>
                  <a:pt x="201" y="2639"/>
                </a:lnTo>
                <a:lnTo>
                  <a:pt x="167" y="2571"/>
                </a:lnTo>
                <a:lnTo>
                  <a:pt x="137" y="2500"/>
                </a:lnTo>
                <a:lnTo>
                  <a:pt x="110" y="2427"/>
                </a:lnTo>
                <a:lnTo>
                  <a:pt x="85" y="2353"/>
                </a:lnTo>
                <a:lnTo>
                  <a:pt x="63" y="2277"/>
                </a:lnTo>
                <a:lnTo>
                  <a:pt x="43" y="2199"/>
                </a:lnTo>
                <a:lnTo>
                  <a:pt x="28" y="2119"/>
                </a:lnTo>
                <a:lnTo>
                  <a:pt x="16" y="2039"/>
                </a:lnTo>
                <a:lnTo>
                  <a:pt x="8" y="1956"/>
                </a:lnTo>
                <a:lnTo>
                  <a:pt x="2" y="1872"/>
                </a:lnTo>
                <a:lnTo>
                  <a:pt x="0" y="1786"/>
                </a:lnTo>
                <a:lnTo>
                  <a:pt x="2" y="1699"/>
                </a:lnTo>
                <a:lnTo>
                  <a:pt x="8" y="1613"/>
                </a:lnTo>
                <a:lnTo>
                  <a:pt x="16" y="1527"/>
                </a:lnTo>
                <a:lnTo>
                  <a:pt x="29" y="1442"/>
                </a:lnTo>
                <a:lnTo>
                  <a:pt x="37" y="1400"/>
                </a:lnTo>
                <a:lnTo>
                  <a:pt x="46" y="1359"/>
                </a:lnTo>
                <a:lnTo>
                  <a:pt x="65" y="1276"/>
                </a:lnTo>
                <a:lnTo>
                  <a:pt x="89" y="1194"/>
                </a:lnTo>
                <a:lnTo>
                  <a:pt x="115" y="1114"/>
                </a:lnTo>
                <a:lnTo>
                  <a:pt x="145" y="1036"/>
                </a:lnTo>
                <a:lnTo>
                  <a:pt x="160" y="998"/>
                </a:lnTo>
                <a:lnTo>
                  <a:pt x="176" y="960"/>
                </a:lnTo>
                <a:lnTo>
                  <a:pt x="212" y="884"/>
                </a:lnTo>
                <a:lnTo>
                  <a:pt x="250" y="812"/>
                </a:lnTo>
                <a:lnTo>
                  <a:pt x="291" y="741"/>
                </a:lnTo>
                <a:lnTo>
                  <a:pt x="335" y="672"/>
                </a:lnTo>
                <a:lnTo>
                  <a:pt x="380" y="607"/>
                </a:lnTo>
                <a:lnTo>
                  <a:pt x="429" y="544"/>
                </a:lnTo>
                <a:lnTo>
                  <a:pt x="480" y="483"/>
                </a:lnTo>
                <a:lnTo>
                  <a:pt x="534" y="425"/>
                </a:lnTo>
                <a:lnTo>
                  <a:pt x="589" y="371"/>
                </a:lnTo>
                <a:lnTo>
                  <a:pt x="648" y="320"/>
                </a:lnTo>
                <a:lnTo>
                  <a:pt x="707" y="271"/>
                </a:lnTo>
                <a:lnTo>
                  <a:pt x="769" y="226"/>
                </a:lnTo>
                <a:lnTo>
                  <a:pt x="832" y="185"/>
                </a:lnTo>
                <a:lnTo>
                  <a:pt x="865" y="167"/>
                </a:lnTo>
                <a:lnTo>
                  <a:pt x="898" y="148"/>
                </a:lnTo>
                <a:lnTo>
                  <a:pt x="965" y="114"/>
                </a:lnTo>
                <a:lnTo>
                  <a:pt x="1034" y="85"/>
                </a:lnTo>
                <a:lnTo>
                  <a:pt x="1104" y="60"/>
                </a:lnTo>
                <a:lnTo>
                  <a:pt x="1140" y="48"/>
                </a:lnTo>
                <a:lnTo>
                  <a:pt x="1177" y="38"/>
                </a:lnTo>
                <a:lnTo>
                  <a:pt x="1250" y="22"/>
                </a:lnTo>
                <a:lnTo>
                  <a:pt x="1325" y="10"/>
                </a:lnTo>
                <a:lnTo>
                  <a:pt x="1400" y="2"/>
                </a:lnTo>
                <a:lnTo>
                  <a:pt x="1438" y="0"/>
                </a:lnTo>
                <a:lnTo>
                  <a:pt x="1477" y="0"/>
                </a:lnTo>
                <a:lnTo>
                  <a:pt x="1524" y="1"/>
                </a:lnTo>
                <a:lnTo>
                  <a:pt x="1571" y="4"/>
                </a:lnTo>
                <a:lnTo>
                  <a:pt x="1616" y="10"/>
                </a:lnTo>
                <a:lnTo>
                  <a:pt x="1660" y="17"/>
                </a:lnTo>
                <a:lnTo>
                  <a:pt x="1703" y="27"/>
                </a:lnTo>
                <a:lnTo>
                  <a:pt x="1744" y="38"/>
                </a:lnTo>
                <a:lnTo>
                  <a:pt x="1823" y="68"/>
                </a:lnTo>
                <a:lnTo>
                  <a:pt x="1860" y="84"/>
                </a:lnTo>
                <a:lnTo>
                  <a:pt x="1896" y="103"/>
                </a:lnTo>
                <a:lnTo>
                  <a:pt x="1931" y="124"/>
                </a:lnTo>
                <a:lnTo>
                  <a:pt x="1963" y="147"/>
                </a:lnTo>
                <a:lnTo>
                  <a:pt x="1996" y="171"/>
                </a:lnTo>
                <a:lnTo>
                  <a:pt x="2025" y="196"/>
                </a:lnTo>
                <a:lnTo>
                  <a:pt x="2055" y="223"/>
                </a:lnTo>
                <a:lnTo>
                  <a:pt x="2082" y="252"/>
                </a:lnTo>
                <a:lnTo>
                  <a:pt x="2108" y="283"/>
                </a:lnTo>
                <a:lnTo>
                  <a:pt x="2132" y="314"/>
                </a:lnTo>
                <a:lnTo>
                  <a:pt x="2155" y="347"/>
                </a:lnTo>
                <a:lnTo>
                  <a:pt x="2175" y="381"/>
                </a:lnTo>
                <a:lnTo>
                  <a:pt x="2213" y="454"/>
                </a:lnTo>
                <a:lnTo>
                  <a:pt x="2230" y="492"/>
                </a:lnTo>
                <a:lnTo>
                  <a:pt x="2245" y="531"/>
                </a:lnTo>
                <a:lnTo>
                  <a:pt x="2258" y="571"/>
                </a:lnTo>
                <a:lnTo>
                  <a:pt x="2269" y="613"/>
                </a:lnTo>
                <a:lnTo>
                  <a:pt x="2279" y="655"/>
                </a:lnTo>
                <a:lnTo>
                  <a:pt x="2286" y="697"/>
                </a:lnTo>
                <a:lnTo>
                  <a:pt x="2293" y="742"/>
                </a:lnTo>
                <a:lnTo>
                  <a:pt x="2297" y="787"/>
                </a:lnTo>
                <a:lnTo>
                  <a:pt x="2299" y="832"/>
                </a:lnTo>
                <a:lnTo>
                  <a:pt x="2300" y="878"/>
                </a:lnTo>
                <a:lnTo>
                  <a:pt x="2299" y="937"/>
                </a:lnTo>
                <a:lnTo>
                  <a:pt x="2294" y="994"/>
                </a:lnTo>
                <a:lnTo>
                  <a:pt x="2284" y="1052"/>
                </a:lnTo>
                <a:lnTo>
                  <a:pt x="2272" y="1109"/>
                </a:lnTo>
                <a:lnTo>
                  <a:pt x="2256" y="1165"/>
                </a:lnTo>
                <a:lnTo>
                  <a:pt x="2237" y="1219"/>
                </a:lnTo>
                <a:lnTo>
                  <a:pt x="2216" y="1274"/>
                </a:lnTo>
                <a:lnTo>
                  <a:pt x="2191" y="1328"/>
                </a:lnTo>
                <a:lnTo>
                  <a:pt x="2163" y="1380"/>
                </a:lnTo>
                <a:lnTo>
                  <a:pt x="2133" y="1432"/>
                </a:lnTo>
                <a:lnTo>
                  <a:pt x="2100" y="1482"/>
                </a:lnTo>
                <a:lnTo>
                  <a:pt x="2066" y="1530"/>
                </a:lnTo>
                <a:lnTo>
                  <a:pt x="2028" y="1577"/>
                </a:lnTo>
                <a:lnTo>
                  <a:pt x="1988" y="1623"/>
                </a:lnTo>
                <a:lnTo>
                  <a:pt x="1946" y="1667"/>
                </a:lnTo>
                <a:lnTo>
                  <a:pt x="1903" y="1709"/>
                </a:lnTo>
                <a:lnTo>
                  <a:pt x="1857" y="1749"/>
                </a:lnTo>
                <a:lnTo>
                  <a:pt x="1810" y="1787"/>
                </a:lnTo>
                <a:lnTo>
                  <a:pt x="1761" y="1824"/>
                </a:lnTo>
                <a:lnTo>
                  <a:pt x="1711" y="1858"/>
                </a:lnTo>
                <a:lnTo>
                  <a:pt x="1659" y="1891"/>
                </a:lnTo>
                <a:lnTo>
                  <a:pt x="1633" y="1906"/>
                </a:lnTo>
                <a:lnTo>
                  <a:pt x="1606" y="1920"/>
                </a:lnTo>
                <a:lnTo>
                  <a:pt x="1553" y="1948"/>
                </a:lnTo>
                <a:lnTo>
                  <a:pt x="1497" y="1972"/>
                </a:lnTo>
                <a:lnTo>
                  <a:pt x="1442" y="1995"/>
                </a:lnTo>
                <a:lnTo>
                  <a:pt x="1385" y="2015"/>
                </a:lnTo>
                <a:lnTo>
                  <a:pt x="1328" y="2032"/>
                </a:lnTo>
                <a:lnTo>
                  <a:pt x="1270" y="2046"/>
                </a:lnTo>
                <a:lnTo>
                  <a:pt x="1213" y="2057"/>
                </a:lnTo>
                <a:lnTo>
                  <a:pt x="1154" y="2065"/>
                </a:lnTo>
                <a:lnTo>
                  <a:pt x="1096" y="2070"/>
                </a:lnTo>
                <a:lnTo>
                  <a:pt x="1038" y="2071"/>
                </a:lnTo>
                <a:lnTo>
                  <a:pt x="1013" y="2070"/>
                </a:lnTo>
                <a:lnTo>
                  <a:pt x="988" y="2066"/>
                </a:lnTo>
                <a:lnTo>
                  <a:pt x="965" y="2058"/>
                </a:lnTo>
                <a:lnTo>
                  <a:pt x="942" y="2048"/>
                </a:lnTo>
                <a:lnTo>
                  <a:pt x="920" y="2036"/>
                </a:lnTo>
                <a:lnTo>
                  <a:pt x="901" y="2022"/>
                </a:lnTo>
                <a:lnTo>
                  <a:pt x="882" y="2005"/>
                </a:lnTo>
                <a:lnTo>
                  <a:pt x="865" y="1986"/>
                </a:lnTo>
                <a:lnTo>
                  <a:pt x="850" y="1966"/>
                </a:lnTo>
                <a:lnTo>
                  <a:pt x="836" y="1943"/>
                </a:lnTo>
                <a:lnTo>
                  <a:pt x="824" y="1919"/>
                </a:lnTo>
                <a:lnTo>
                  <a:pt x="814" y="1894"/>
                </a:lnTo>
                <a:lnTo>
                  <a:pt x="805" y="1867"/>
                </a:lnTo>
                <a:lnTo>
                  <a:pt x="800" y="1840"/>
                </a:lnTo>
                <a:lnTo>
                  <a:pt x="795" y="1810"/>
                </a:lnTo>
                <a:lnTo>
                  <a:pt x="794" y="1781"/>
                </a:lnTo>
                <a:lnTo>
                  <a:pt x="798" y="1729"/>
                </a:lnTo>
                <a:lnTo>
                  <a:pt x="803" y="1705"/>
                </a:lnTo>
                <a:lnTo>
                  <a:pt x="810" y="1683"/>
                </a:lnTo>
                <a:lnTo>
                  <a:pt x="818" y="1663"/>
                </a:lnTo>
                <a:lnTo>
                  <a:pt x="829" y="1646"/>
                </a:lnTo>
                <a:lnTo>
                  <a:pt x="843" y="1631"/>
                </a:lnTo>
                <a:lnTo>
                  <a:pt x="859" y="1621"/>
                </a:lnTo>
                <a:lnTo>
                  <a:pt x="911" y="1612"/>
                </a:lnTo>
                <a:lnTo>
                  <a:pt x="962" y="1602"/>
                </a:lnTo>
                <a:lnTo>
                  <a:pt x="1011" y="1590"/>
                </a:lnTo>
                <a:lnTo>
                  <a:pt x="1059" y="1577"/>
                </a:lnTo>
                <a:lnTo>
                  <a:pt x="1106" y="1562"/>
                </a:lnTo>
                <a:lnTo>
                  <a:pt x="1153" y="1546"/>
                </a:lnTo>
                <a:lnTo>
                  <a:pt x="1197" y="1528"/>
                </a:lnTo>
                <a:lnTo>
                  <a:pt x="1242" y="1509"/>
                </a:lnTo>
                <a:lnTo>
                  <a:pt x="1284" y="1488"/>
                </a:lnTo>
                <a:lnTo>
                  <a:pt x="1326" y="1466"/>
                </a:lnTo>
                <a:lnTo>
                  <a:pt x="1404" y="1420"/>
                </a:lnTo>
                <a:lnTo>
                  <a:pt x="1477" y="1369"/>
                </a:lnTo>
                <a:lnTo>
                  <a:pt x="1511" y="1341"/>
                </a:lnTo>
                <a:lnTo>
                  <a:pt x="1544" y="1314"/>
                </a:lnTo>
                <a:lnTo>
                  <a:pt x="1574" y="1286"/>
                </a:lnTo>
                <a:lnTo>
                  <a:pt x="1604" y="1256"/>
                </a:lnTo>
                <a:lnTo>
                  <a:pt x="1632" y="1226"/>
                </a:lnTo>
                <a:lnTo>
                  <a:pt x="1658" y="1196"/>
                </a:lnTo>
                <a:lnTo>
                  <a:pt x="1682" y="1164"/>
                </a:lnTo>
                <a:lnTo>
                  <a:pt x="1704" y="1132"/>
                </a:lnTo>
                <a:lnTo>
                  <a:pt x="1724" y="1101"/>
                </a:lnTo>
                <a:lnTo>
                  <a:pt x="1743" y="1068"/>
                </a:lnTo>
                <a:lnTo>
                  <a:pt x="1759" y="1036"/>
                </a:lnTo>
                <a:lnTo>
                  <a:pt x="1773" y="1003"/>
                </a:lnTo>
                <a:lnTo>
                  <a:pt x="1796" y="938"/>
                </a:lnTo>
                <a:lnTo>
                  <a:pt x="1804" y="905"/>
                </a:lnTo>
                <a:lnTo>
                  <a:pt x="1810" y="872"/>
                </a:lnTo>
                <a:lnTo>
                  <a:pt x="1814" y="840"/>
                </a:lnTo>
                <a:lnTo>
                  <a:pt x="1815" y="807"/>
                </a:lnTo>
                <a:lnTo>
                  <a:pt x="1812" y="768"/>
                </a:lnTo>
                <a:lnTo>
                  <a:pt x="1808" y="731"/>
                </a:lnTo>
                <a:lnTo>
                  <a:pt x="1799" y="696"/>
                </a:lnTo>
                <a:lnTo>
                  <a:pt x="1789" y="664"/>
                </a:lnTo>
                <a:lnTo>
                  <a:pt x="1774" y="633"/>
                </a:lnTo>
                <a:lnTo>
                  <a:pt x="1757" y="605"/>
                </a:lnTo>
                <a:lnTo>
                  <a:pt x="1737" y="579"/>
                </a:lnTo>
                <a:lnTo>
                  <a:pt x="1715" y="555"/>
                </a:lnTo>
                <a:lnTo>
                  <a:pt x="1689" y="534"/>
                </a:lnTo>
                <a:lnTo>
                  <a:pt x="1660" y="516"/>
                </a:lnTo>
                <a:lnTo>
                  <a:pt x="1630" y="499"/>
                </a:lnTo>
                <a:lnTo>
                  <a:pt x="1597" y="486"/>
                </a:lnTo>
                <a:lnTo>
                  <a:pt x="1579" y="481"/>
                </a:lnTo>
                <a:lnTo>
                  <a:pt x="1561" y="477"/>
                </a:lnTo>
                <a:lnTo>
                  <a:pt x="1523" y="469"/>
                </a:lnTo>
                <a:lnTo>
                  <a:pt x="1483" y="465"/>
                </a:lnTo>
                <a:lnTo>
                  <a:pt x="1441" y="462"/>
                </a:lnTo>
                <a:lnTo>
                  <a:pt x="1401" y="465"/>
                </a:lnTo>
                <a:lnTo>
                  <a:pt x="1359" y="470"/>
                </a:lnTo>
                <a:lnTo>
                  <a:pt x="1318" y="478"/>
                </a:lnTo>
                <a:lnTo>
                  <a:pt x="1277" y="490"/>
                </a:lnTo>
                <a:lnTo>
                  <a:pt x="1235" y="504"/>
                </a:lnTo>
                <a:lnTo>
                  <a:pt x="1195" y="522"/>
                </a:lnTo>
                <a:lnTo>
                  <a:pt x="1154" y="543"/>
                </a:lnTo>
                <a:lnTo>
                  <a:pt x="1114" y="566"/>
                </a:lnTo>
                <a:lnTo>
                  <a:pt x="1074" y="592"/>
                </a:lnTo>
                <a:lnTo>
                  <a:pt x="1034" y="621"/>
                </a:lnTo>
                <a:lnTo>
                  <a:pt x="995" y="653"/>
                </a:lnTo>
                <a:lnTo>
                  <a:pt x="958" y="686"/>
                </a:lnTo>
                <a:lnTo>
                  <a:pt x="921" y="722"/>
                </a:lnTo>
                <a:lnTo>
                  <a:pt x="884" y="762"/>
                </a:lnTo>
                <a:lnTo>
                  <a:pt x="850" y="803"/>
                </a:lnTo>
                <a:lnTo>
                  <a:pt x="816" y="845"/>
                </a:lnTo>
                <a:lnTo>
                  <a:pt x="752" y="939"/>
                </a:lnTo>
                <a:lnTo>
                  <a:pt x="723" y="988"/>
                </a:lnTo>
                <a:lnTo>
                  <a:pt x="694" y="1039"/>
                </a:lnTo>
                <a:lnTo>
                  <a:pt x="681" y="1065"/>
                </a:lnTo>
                <a:lnTo>
                  <a:pt x="668" y="1091"/>
                </a:lnTo>
                <a:lnTo>
                  <a:pt x="643" y="1146"/>
                </a:lnTo>
                <a:lnTo>
                  <a:pt x="620" y="1202"/>
                </a:lnTo>
                <a:lnTo>
                  <a:pt x="600" y="1260"/>
                </a:lnTo>
                <a:lnTo>
                  <a:pt x="580" y="1318"/>
                </a:lnTo>
                <a:lnTo>
                  <a:pt x="564" y="1378"/>
                </a:lnTo>
                <a:lnTo>
                  <a:pt x="550" y="1440"/>
                </a:lnTo>
                <a:lnTo>
                  <a:pt x="538" y="1502"/>
                </a:lnTo>
                <a:lnTo>
                  <a:pt x="528" y="1567"/>
                </a:lnTo>
                <a:lnTo>
                  <a:pt x="522" y="1631"/>
                </a:lnTo>
                <a:lnTo>
                  <a:pt x="517" y="1696"/>
                </a:lnTo>
                <a:lnTo>
                  <a:pt x="516" y="1763"/>
                </a:lnTo>
                <a:lnTo>
                  <a:pt x="517" y="1822"/>
                </a:lnTo>
                <a:lnTo>
                  <a:pt x="519" y="1881"/>
                </a:lnTo>
                <a:lnTo>
                  <a:pt x="525" y="1939"/>
                </a:lnTo>
                <a:lnTo>
                  <a:pt x="532" y="1994"/>
                </a:lnTo>
                <a:lnTo>
                  <a:pt x="541" y="2049"/>
                </a:lnTo>
                <a:lnTo>
                  <a:pt x="552" y="2103"/>
                </a:lnTo>
                <a:lnTo>
                  <a:pt x="564" y="2155"/>
                </a:lnTo>
                <a:lnTo>
                  <a:pt x="579" y="2206"/>
                </a:lnTo>
                <a:lnTo>
                  <a:pt x="595" y="2255"/>
                </a:lnTo>
                <a:lnTo>
                  <a:pt x="614" y="2303"/>
                </a:lnTo>
                <a:lnTo>
                  <a:pt x="633" y="2350"/>
                </a:lnTo>
                <a:lnTo>
                  <a:pt x="655" y="2394"/>
                </a:lnTo>
                <a:lnTo>
                  <a:pt x="678" y="2437"/>
                </a:lnTo>
                <a:lnTo>
                  <a:pt x="703" y="2478"/>
                </a:lnTo>
                <a:lnTo>
                  <a:pt x="730" y="2517"/>
                </a:lnTo>
                <a:lnTo>
                  <a:pt x="758" y="2555"/>
                </a:lnTo>
                <a:lnTo>
                  <a:pt x="788" y="2591"/>
                </a:lnTo>
                <a:lnTo>
                  <a:pt x="819" y="2625"/>
                </a:lnTo>
                <a:lnTo>
                  <a:pt x="852" y="2656"/>
                </a:lnTo>
                <a:lnTo>
                  <a:pt x="887" y="2687"/>
                </a:lnTo>
                <a:lnTo>
                  <a:pt x="923" y="2714"/>
                </a:lnTo>
                <a:lnTo>
                  <a:pt x="959" y="2740"/>
                </a:lnTo>
                <a:lnTo>
                  <a:pt x="999" y="2763"/>
                </a:lnTo>
                <a:lnTo>
                  <a:pt x="1039" y="2785"/>
                </a:lnTo>
                <a:lnTo>
                  <a:pt x="1080" y="2803"/>
                </a:lnTo>
                <a:lnTo>
                  <a:pt x="1122" y="2820"/>
                </a:lnTo>
                <a:lnTo>
                  <a:pt x="1167" y="2834"/>
                </a:lnTo>
                <a:lnTo>
                  <a:pt x="1213" y="2846"/>
                </a:lnTo>
                <a:lnTo>
                  <a:pt x="1258" y="2856"/>
                </a:lnTo>
                <a:lnTo>
                  <a:pt x="1306" y="2862"/>
                </a:lnTo>
                <a:lnTo>
                  <a:pt x="1355" y="2865"/>
                </a:lnTo>
                <a:lnTo>
                  <a:pt x="1405" y="2867"/>
                </a:lnTo>
                <a:lnTo>
                  <a:pt x="1454" y="2865"/>
                </a:lnTo>
                <a:lnTo>
                  <a:pt x="1503" y="2862"/>
                </a:lnTo>
                <a:lnTo>
                  <a:pt x="1551" y="2857"/>
                </a:lnTo>
                <a:lnTo>
                  <a:pt x="1597" y="2848"/>
                </a:lnTo>
                <a:lnTo>
                  <a:pt x="1644" y="2838"/>
                </a:lnTo>
                <a:lnTo>
                  <a:pt x="1690" y="2825"/>
                </a:lnTo>
                <a:lnTo>
                  <a:pt x="1734" y="2811"/>
                </a:lnTo>
                <a:lnTo>
                  <a:pt x="1779" y="2794"/>
                </a:lnTo>
                <a:lnTo>
                  <a:pt x="1821" y="2775"/>
                </a:lnTo>
                <a:lnTo>
                  <a:pt x="1865" y="2754"/>
                </a:lnTo>
                <a:lnTo>
                  <a:pt x="1906" y="2732"/>
                </a:lnTo>
                <a:lnTo>
                  <a:pt x="1947" y="2708"/>
                </a:lnTo>
                <a:lnTo>
                  <a:pt x="1987" y="2681"/>
                </a:lnTo>
                <a:lnTo>
                  <a:pt x="2028" y="2653"/>
                </a:lnTo>
                <a:lnTo>
                  <a:pt x="2066" y="2624"/>
                </a:lnTo>
                <a:lnTo>
                  <a:pt x="2105" y="2592"/>
                </a:lnTo>
                <a:lnTo>
                  <a:pt x="2142" y="2560"/>
                </a:lnTo>
                <a:lnTo>
                  <a:pt x="2179" y="2525"/>
                </a:lnTo>
                <a:lnTo>
                  <a:pt x="2249" y="2452"/>
                </a:lnTo>
                <a:lnTo>
                  <a:pt x="2283" y="2413"/>
                </a:lnTo>
                <a:lnTo>
                  <a:pt x="2317" y="2374"/>
                </a:lnTo>
                <a:lnTo>
                  <a:pt x="2381" y="2290"/>
                </a:lnTo>
                <a:lnTo>
                  <a:pt x="2443" y="2201"/>
                </a:lnTo>
                <a:lnTo>
                  <a:pt x="2501" y="2108"/>
                </a:lnTo>
                <a:lnTo>
                  <a:pt x="2556" y="2011"/>
                </a:lnTo>
                <a:lnTo>
                  <a:pt x="2608" y="1912"/>
                </a:lnTo>
                <a:lnTo>
                  <a:pt x="2656" y="1809"/>
                </a:lnTo>
                <a:lnTo>
                  <a:pt x="2701" y="1704"/>
                </a:lnTo>
                <a:lnTo>
                  <a:pt x="2743" y="1596"/>
                </a:lnTo>
                <a:lnTo>
                  <a:pt x="2781" y="1487"/>
                </a:lnTo>
                <a:lnTo>
                  <a:pt x="2815" y="1376"/>
                </a:lnTo>
                <a:lnTo>
                  <a:pt x="2847" y="1265"/>
                </a:lnTo>
                <a:lnTo>
                  <a:pt x="2875" y="1153"/>
                </a:lnTo>
                <a:lnTo>
                  <a:pt x="2888" y="1098"/>
                </a:lnTo>
                <a:lnTo>
                  <a:pt x="2899" y="1041"/>
                </a:lnTo>
                <a:lnTo>
                  <a:pt x="2921" y="930"/>
                </a:lnTo>
                <a:lnTo>
                  <a:pt x="2938" y="819"/>
                </a:lnTo>
                <a:lnTo>
                  <a:pt x="2951" y="709"/>
                </a:lnTo>
                <a:lnTo>
                  <a:pt x="2961" y="602"/>
                </a:lnTo>
                <a:lnTo>
                  <a:pt x="2967" y="496"/>
                </a:lnTo>
                <a:lnTo>
                  <a:pt x="2971" y="393"/>
                </a:lnTo>
                <a:lnTo>
                  <a:pt x="2970" y="293"/>
                </a:lnTo>
                <a:lnTo>
                  <a:pt x="2964" y="196"/>
                </a:lnTo>
                <a:lnTo>
                  <a:pt x="2969" y="185"/>
                </a:lnTo>
                <a:lnTo>
                  <a:pt x="2974" y="174"/>
                </a:lnTo>
                <a:lnTo>
                  <a:pt x="2989" y="153"/>
                </a:lnTo>
                <a:lnTo>
                  <a:pt x="3010" y="134"/>
                </a:lnTo>
                <a:lnTo>
                  <a:pt x="3035" y="118"/>
                </a:lnTo>
                <a:lnTo>
                  <a:pt x="3064" y="103"/>
                </a:lnTo>
                <a:lnTo>
                  <a:pt x="3097" y="93"/>
                </a:lnTo>
                <a:lnTo>
                  <a:pt x="3134" y="85"/>
                </a:lnTo>
                <a:lnTo>
                  <a:pt x="3172" y="83"/>
                </a:lnTo>
                <a:lnTo>
                  <a:pt x="3206" y="84"/>
                </a:lnTo>
                <a:lnTo>
                  <a:pt x="3238" y="88"/>
                </a:lnTo>
                <a:lnTo>
                  <a:pt x="3270" y="94"/>
                </a:lnTo>
                <a:lnTo>
                  <a:pt x="3299" y="102"/>
                </a:lnTo>
                <a:lnTo>
                  <a:pt x="3326" y="114"/>
                </a:lnTo>
                <a:lnTo>
                  <a:pt x="3352" y="130"/>
                </a:lnTo>
                <a:lnTo>
                  <a:pt x="3376" y="147"/>
                </a:lnTo>
                <a:lnTo>
                  <a:pt x="3398" y="169"/>
                </a:lnTo>
                <a:lnTo>
                  <a:pt x="3418" y="194"/>
                </a:lnTo>
                <a:lnTo>
                  <a:pt x="3436" y="222"/>
                </a:lnTo>
                <a:lnTo>
                  <a:pt x="3451" y="255"/>
                </a:lnTo>
                <a:lnTo>
                  <a:pt x="3463" y="291"/>
                </a:lnTo>
                <a:lnTo>
                  <a:pt x="3468" y="311"/>
                </a:lnTo>
                <a:lnTo>
                  <a:pt x="3473" y="332"/>
                </a:lnTo>
                <a:lnTo>
                  <a:pt x="3480" y="376"/>
                </a:lnTo>
                <a:lnTo>
                  <a:pt x="3485" y="427"/>
                </a:lnTo>
                <a:lnTo>
                  <a:pt x="3487" y="481"/>
                </a:lnTo>
                <a:lnTo>
                  <a:pt x="3481" y="626"/>
                </a:lnTo>
                <a:lnTo>
                  <a:pt x="3473" y="769"/>
                </a:lnTo>
                <a:lnTo>
                  <a:pt x="3459" y="912"/>
                </a:lnTo>
                <a:lnTo>
                  <a:pt x="3439" y="1052"/>
                </a:lnTo>
                <a:lnTo>
                  <a:pt x="3428" y="1122"/>
                </a:lnTo>
                <a:lnTo>
                  <a:pt x="3416" y="1190"/>
                </a:lnTo>
                <a:lnTo>
                  <a:pt x="3402" y="1259"/>
                </a:lnTo>
                <a:lnTo>
                  <a:pt x="3388" y="1327"/>
                </a:lnTo>
                <a:lnTo>
                  <a:pt x="3373" y="1395"/>
                </a:lnTo>
                <a:lnTo>
                  <a:pt x="3355" y="1462"/>
                </a:lnTo>
                <a:lnTo>
                  <a:pt x="3319" y="1594"/>
                </a:lnTo>
                <a:lnTo>
                  <a:pt x="3278" y="1722"/>
                </a:lnTo>
                <a:lnTo>
                  <a:pt x="3234" y="1848"/>
                </a:lnTo>
                <a:lnTo>
                  <a:pt x="3210" y="1910"/>
                </a:lnTo>
                <a:lnTo>
                  <a:pt x="3185" y="1971"/>
                </a:lnTo>
                <a:lnTo>
                  <a:pt x="3133" y="2091"/>
                </a:lnTo>
                <a:lnTo>
                  <a:pt x="3076" y="2207"/>
                </a:lnTo>
                <a:lnTo>
                  <a:pt x="3046" y="2264"/>
                </a:lnTo>
                <a:lnTo>
                  <a:pt x="3015" y="2319"/>
                </a:lnTo>
                <a:lnTo>
                  <a:pt x="2951" y="2427"/>
                </a:lnTo>
                <a:lnTo>
                  <a:pt x="2884" y="2531"/>
                </a:lnTo>
                <a:lnTo>
                  <a:pt x="2813" y="2630"/>
                </a:lnTo>
                <a:lnTo>
                  <a:pt x="2776" y="2678"/>
                </a:lnTo>
                <a:lnTo>
                  <a:pt x="2738" y="2724"/>
                </a:lnTo>
                <a:lnTo>
                  <a:pt x="2700" y="2770"/>
                </a:lnTo>
                <a:lnTo>
                  <a:pt x="2661" y="2814"/>
                </a:lnTo>
                <a:lnTo>
                  <a:pt x="2621" y="2857"/>
                </a:lnTo>
                <a:lnTo>
                  <a:pt x="2580" y="2898"/>
                </a:lnTo>
                <a:lnTo>
                  <a:pt x="2538" y="2938"/>
                </a:lnTo>
                <a:lnTo>
                  <a:pt x="2496" y="2976"/>
                </a:lnTo>
                <a:lnTo>
                  <a:pt x="2452" y="3013"/>
                </a:lnTo>
                <a:lnTo>
                  <a:pt x="2408" y="3049"/>
                </a:lnTo>
                <a:lnTo>
                  <a:pt x="2318" y="3117"/>
                </a:lnTo>
                <a:lnTo>
                  <a:pt x="2272" y="3148"/>
                </a:lnTo>
                <a:lnTo>
                  <a:pt x="2225" y="3178"/>
                </a:lnTo>
                <a:lnTo>
                  <a:pt x="2178" y="3206"/>
                </a:lnTo>
                <a:lnTo>
                  <a:pt x="2129" y="3233"/>
                </a:lnTo>
                <a:lnTo>
                  <a:pt x="2080" y="3257"/>
                </a:lnTo>
                <a:lnTo>
                  <a:pt x="2031" y="3281"/>
                </a:lnTo>
                <a:lnTo>
                  <a:pt x="1980" y="3303"/>
                </a:lnTo>
                <a:lnTo>
                  <a:pt x="1930" y="3322"/>
                </a:lnTo>
                <a:lnTo>
                  <a:pt x="1878" y="3340"/>
                </a:lnTo>
                <a:lnTo>
                  <a:pt x="1825" y="3356"/>
                </a:lnTo>
                <a:lnTo>
                  <a:pt x="1773" y="3371"/>
                </a:lnTo>
                <a:lnTo>
                  <a:pt x="1720" y="3383"/>
                </a:lnTo>
                <a:lnTo>
                  <a:pt x="1666" y="3394"/>
                </a:lnTo>
                <a:lnTo>
                  <a:pt x="1611" y="3403"/>
                </a:lnTo>
                <a:lnTo>
                  <a:pt x="1556" y="3410"/>
                </a:lnTo>
                <a:lnTo>
                  <a:pt x="1501" y="3415"/>
                </a:lnTo>
                <a:lnTo>
                  <a:pt x="1444" y="3418"/>
                </a:lnTo>
                <a:lnTo>
                  <a:pt x="1388" y="34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89089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preserve="1" userDrawn="1">
  <p:cSld name="slide_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6886" y="1916113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6886" y="2636912"/>
            <a:ext cx="720601" cy="576064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6886" y="335699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766886" y="407707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766886" y="479715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1487488" y="1920298"/>
            <a:ext cx="4248150" cy="572597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8"/>
          </p:nvPr>
        </p:nvSpPr>
        <p:spPr>
          <a:xfrm>
            <a:off x="1487488" y="2636912"/>
            <a:ext cx="4248150" cy="576064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9"/>
          </p:nvPr>
        </p:nvSpPr>
        <p:spPr>
          <a:xfrm>
            <a:off x="1487488" y="3356992"/>
            <a:ext cx="4248150" cy="572597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0"/>
          </p:nvPr>
        </p:nvSpPr>
        <p:spPr>
          <a:xfrm>
            <a:off x="1487488" y="4077072"/>
            <a:ext cx="4248150" cy="572597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21"/>
          </p:nvPr>
        </p:nvSpPr>
        <p:spPr>
          <a:xfrm>
            <a:off x="1487488" y="4797152"/>
            <a:ext cx="4248150" cy="572597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095999" y="1916113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6095999" y="263691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6095999" y="335699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6095999" y="407707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095999" y="479715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27"/>
          </p:nvPr>
        </p:nvSpPr>
        <p:spPr>
          <a:xfrm>
            <a:off x="6816601" y="1920298"/>
            <a:ext cx="4608637" cy="572597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8"/>
          </p:nvPr>
        </p:nvSpPr>
        <p:spPr>
          <a:xfrm>
            <a:off x="6816601" y="2636912"/>
            <a:ext cx="4608637" cy="576064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29"/>
          </p:nvPr>
        </p:nvSpPr>
        <p:spPr>
          <a:xfrm>
            <a:off x="6816601" y="3356992"/>
            <a:ext cx="4608637" cy="572597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30"/>
          </p:nvPr>
        </p:nvSpPr>
        <p:spPr>
          <a:xfrm>
            <a:off x="6816601" y="4077072"/>
            <a:ext cx="4608637" cy="572597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31"/>
          </p:nvPr>
        </p:nvSpPr>
        <p:spPr>
          <a:xfrm>
            <a:off x="6816601" y="4797152"/>
            <a:ext cx="4608637" cy="572597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28" name="Slide Number Placeholder 27"/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9795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- Luottamus" type="secHead" preserve="1">
  <p:cSld name="Title Slide - Luottamus">
    <p:bg>
      <p:bgPr>
        <a:gradFill>
          <a:gsLst>
            <a:gs pos="0">
              <a:schemeClr val="accent1"/>
            </a:gs>
            <a:gs pos="100000">
              <a:schemeClr val="accent1">
                <a:alpha val="9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2AE4CD2-FF2B-481A-BD1B-6461D82DC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4" y="836712"/>
            <a:ext cx="7993062" cy="3169072"/>
          </a:xfrm>
        </p:spPr>
        <p:txBody>
          <a:bodyPr anchor="t" anchorCtr="0"/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4FF0EC-24DB-4A3B-8AA6-004F9170BE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4" y="4221088"/>
            <a:ext cx="7993062" cy="86407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B46E24-653A-4FF9-9521-1C6FB86597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0D632E-720A-4E57-8F18-FB9A91500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479C78-A5F2-40DD-9834-030D8B177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reeform 7"/>
          <p:cNvSpPr>
            <a:spLocks noChangeAspect="1" noEditPoints="1"/>
          </p:cNvSpPr>
          <p:nvPr userDrawn="1"/>
        </p:nvSpPr>
        <p:spPr bwMode="auto">
          <a:xfrm>
            <a:off x="761996" y="5589240"/>
            <a:ext cx="1831656" cy="432048"/>
          </a:xfrm>
          <a:custGeom>
            <a:avLst/>
            <a:gdLst>
              <a:gd name="T0" fmla="*/ 11392 w 14503"/>
              <a:gd name="T1" fmla="*/ 2705 h 3419"/>
              <a:gd name="T2" fmla="*/ 10843 w 14503"/>
              <a:gd name="T3" fmla="*/ 2592 h 3419"/>
              <a:gd name="T4" fmla="*/ 9707 w 14503"/>
              <a:gd name="T5" fmla="*/ 2691 h 3419"/>
              <a:gd name="T6" fmla="*/ 9202 w 14503"/>
              <a:gd name="T7" fmla="*/ 2718 h 3419"/>
              <a:gd name="T8" fmla="*/ 9399 w 14503"/>
              <a:gd name="T9" fmla="*/ 2534 h 3419"/>
              <a:gd name="T10" fmla="*/ 9385 w 14503"/>
              <a:gd name="T11" fmla="*/ 2134 h 3419"/>
              <a:gd name="T12" fmla="*/ 9247 w 14503"/>
              <a:gd name="T13" fmla="*/ 2352 h 3419"/>
              <a:gd name="T14" fmla="*/ 8533 w 14503"/>
              <a:gd name="T15" fmla="*/ 2712 h 3419"/>
              <a:gd name="T16" fmla="*/ 8908 w 14503"/>
              <a:gd name="T17" fmla="*/ 2713 h 3419"/>
              <a:gd name="T18" fmla="*/ 7197 w 14503"/>
              <a:gd name="T19" fmla="*/ 2618 h 3419"/>
              <a:gd name="T20" fmla="*/ 7359 w 14503"/>
              <a:gd name="T21" fmla="*/ 2469 h 3419"/>
              <a:gd name="T22" fmla="*/ 7656 w 14503"/>
              <a:gd name="T23" fmla="*/ 2305 h 3419"/>
              <a:gd name="T24" fmla="*/ 7633 w 14503"/>
              <a:gd name="T25" fmla="*/ 2433 h 3419"/>
              <a:gd name="T26" fmla="*/ 6915 w 14503"/>
              <a:gd name="T27" fmla="*/ 2263 h 3419"/>
              <a:gd name="T28" fmla="*/ 6831 w 14503"/>
              <a:gd name="T29" fmla="*/ 2727 h 3419"/>
              <a:gd name="T30" fmla="*/ 6860 w 14503"/>
              <a:gd name="T31" fmla="*/ 2119 h 3419"/>
              <a:gd name="T32" fmla="*/ 14342 w 14503"/>
              <a:gd name="T33" fmla="*/ 1111 h 3419"/>
              <a:gd name="T34" fmla="*/ 14370 w 14503"/>
              <a:gd name="T35" fmla="*/ 961 h 3419"/>
              <a:gd name="T36" fmla="*/ 13472 w 14503"/>
              <a:gd name="T37" fmla="*/ 1376 h 3419"/>
              <a:gd name="T38" fmla="*/ 13655 w 14503"/>
              <a:gd name="T39" fmla="*/ 1536 h 3419"/>
              <a:gd name="T40" fmla="*/ 13703 w 14503"/>
              <a:gd name="T41" fmla="*/ 1130 h 3419"/>
              <a:gd name="T42" fmla="*/ 13709 w 14503"/>
              <a:gd name="T43" fmla="*/ 966 h 3419"/>
              <a:gd name="T44" fmla="*/ 12952 w 14503"/>
              <a:gd name="T45" fmla="*/ 1081 h 3419"/>
              <a:gd name="T46" fmla="*/ 12525 w 14503"/>
              <a:gd name="T47" fmla="*/ 1043 h 3419"/>
              <a:gd name="T48" fmla="*/ 13193 w 14503"/>
              <a:gd name="T49" fmla="*/ 1038 h 3419"/>
              <a:gd name="T50" fmla="*/ 11928 w 14503"/>
              <a:gd name="T51" fmla="*/ 1448 h 3419"/>
              <a:gd name="T52" fmla="*/ 11865 w 14503"/>
              <a:gd name="T53" fmla="*/ 1553 h 3419"/>
              <a:gd name="T54" fmla="*/ 12022 w 14503"/>
              <a:gd name="T55" fmla="*/ 1060 h 3419"/>
              <a:gd name="T56" fmla="*/ 12198 w 14503"/>
              <a:gd name="T57" fmla="*/ 1040 h 3419"/>
              <a:gd name="T58" fmla="*/ 11580 w 14503"/>
              <a:gd name="T59" fmla="*/ 1397 h 3419"/>
              <a:gd name="T60" fmla="*/ 10924 w 14503"/>
              <a:gd name="T61" fmla="*/ 1300 h 3419"/>
              <a:gd name="T62" fmla="*/ 10999 w 14503"/>
              <a:gd name="T63" fmla="*/ 1557 h 3419"/>
              <a:gd name="T64" fmla="*/ 11144 w 14503"/>
              <a:gd name="T65" fmla="*/ 967 h 3419"/>
              <a:gd name="T66" fmla="*/ 10313 w 14503"/>
              <a:gd name="T67" fmla="*/ 1372 h 3419"/>
              <a:gd name="T68" fmla="*/ 10421 w 14503"/>
              <a:gd name="T69" fmla="*/ 1561 h 3419"/>
              <a:gd name="T70" fmla="*/ 10514 w 14503"/>
              <a:gd name="T71" fmla="*/ 967 h 3419"/>
              <a:gd name="T72" fmla="*/ 9776 w 14503"/>
              <a:gd name="T73" fmla="*/ 1082 h 3419"/>
              <a:gd name="T74" fmla="*/ 9989 w 14503"/>
              <a:gd name="T75" fmla="*/ 1025 h 3419"/>
              <a:gd name="T76" fmla="*/ 8701 w 14503"/>
              <a:gd name="T77" fmla="*/ 1199 h 3419"/>
              <a:gd name="T78" fmla="*/ 9009 w 14503"/>
              <a:gd name="T79" fmla="*/ 1500 h 3419"/>
              <a:gd name="T80" fmla="*/ 8681 w 14503"/>
              <a:gd name="T81" fmla="*/ 995 h 3419"/>
              <a:gd name="T82" fmla="*/ 7671 w 14503"/>
              <a:gd name="T83" fmla="*/ 1547 h 3419"/>
              <a:gd name="T84" fmla="*/ 7517 w 14503"/>
              <a:gd name="T85" fmla="*/ 974 h 3419"/>
              <a:gd name="T86" fmla="*/ 6773 w 14503"/>
              <a:gd name="T87" fmla="*/ 1549 h 3419"/>
              <a:gd name="T88" fmla="*/ 6490 w 14503"/>
              <a:gd name="T89" fmla="*/ 1200 h 3419"/>
              <a:gd name="T90" fmla="*/ 11483 w 14503"/>
              <a:gd name="T91" fmla="*/ 2275 h 3419"/>
              <a:gd name="T92" fmla="*/ 11930 w 14503"/>
              <a:gd name="T93" fmla="*/ 2637 h 3419"/>
              <a:gd name="T94" fmla="*/ 11807 w 14503"/>
              <a:gd name="T95" fmla="*/ 2576 h 3419"/>
              <a:gd name="T96" fmla="*/ 3702 w 14503"/>
              <a:gd name="T97" fmla="*/ 2179 h 3419"/>
              <a:gd name="T98" fmla="*/ 5043 w 14503"/>
              <a:gd name="T99" fmla="*/ 96 h 3419"/>
              <a:gd name="T100" fmla="*/ 4150 w 14503"/>
              <a:gd name="T101" fmla="*/ 1837 h 3419"/>
              <a:gd name="T102" fmla="*/ 1316 w 14503"/>
              <a:gd name="T103" fmla="*/ 3417 h 3419"/>
              <a:gd name="T104" fmla="*/ 16 w 14503"/>
              <a:gd name="T105" fmla="*/ 2039 h 3419"/>
              <a:gd name="T106" fmla="*/ 1177 w 14503"/>
              <a:gd name="T107" fmla="*/ 38 h 3419"/>
              <a:gd name="T108" fmla="*/ 2300 w 14503"/>
              <a:gd name="T109" fmla="*/ 878 h 3419"/>
              <a:gd name="T110" fmla="*/ 988 w 14503"/>
              <a:gd name="T111" fmla="*/ 2066 h 3419"/>
              <a:gd name="T112" fmla="*/ 1544 w 14503"/>
              <a:gd name="T113" fmla="*/ 1314 h 3419"/>
              <a:gd name="T114" fmla="*/ 1318 w 14503"/>
              <a:gd name="T115" fmla="*/ 478 h 3419"/>
              <a:gd name="T116" fmla="*/ 552 w 14503"/>
              <a:gd name="T117" fmla="*/ 2103 h 3419"/>
              <a:gd name="T118" fmla="*/ 1821 w 14503"/>
              <a:gd name="T119" fmla="*/ 2775 h 3419"/>
              <a:gd name="T120" fmla="*/ 2969 w 14503"/>
              <a:gd name="T121" fmla="*/ 185 h 3419"/>
              <a:gd name="T122" fmla="*/ 3355 w 14503"/>
              <a:gd name="T123" fmla="*/ 1462 h 3419"/>
              <a:gd name="T124" fmla="*/ 1720 w 14503"/>
              <a:gd name="T125" fmla="*/ 3383 h 34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503" h="3419">
                <a:moveTo>
                  <a:pt x="11272" y="2721"/>
                </a:moveTo>
                <a:lnTo>
                  <a:pt x="11231" y="2717"/>
                </a:lnTo>
                <a:lnTo>
                  <a:pt x="11196" y="2709"/>
                </a:lnTo>
                <a:lnTo>
                  <a:pt x="11180" y="2702"/>
                </a:lnTo>
                <a:lnTo>
                  <a:pt x="11166" y="2693"/>
                </a:lnTo>
                <a:lnTo>
                  <a:pt x="11153" y="2684"/>
                </a:lnTo>
                <a:lnTo>
                  <a:pt x="11141" y="2674"/>
                </a:lnTo>
                <a:lnTo>
                  <a:pt x="11131" y="2661"/>
                </a:lnTo>
                <a:lnTo>
                  <a:pt x="11122" y="2648"/>
                </a:lnTo>
                <a:lnTo>
                  <a:pt x="11108" y="2617"/>
                </a:lnTo>
                <a:lnTo>
                  <a:pt x="11100" y="2581"/>
                </a:lnTo>
                <a:lnTo>
                  <a:pt x="11098" y="2563"/>
                </a:lnTo>
                <a:lnTo>
                  <a:pt x="11097" y="2542"/>
                </a:lnTo>
                <a:lnTo>
                  <a:pt x="11097" y="2247"/>
                </a:lnTo>
                <a:lnTo>
                  <a:pt x="10992" y="2247"/>
                </a:lnTo>
                <a:lnTo>
                  <a:pt x="10992" y="2132"/>
                </a:lnTo>
                <a:lnTo>
                  <a:pt x="11097" y="2132"/>
                </a:lnTo>
                <a:lnTo>
                  <a:pt x="11097" y="1985"/>
                </a:lnTo>
                <a:lnTo>
                  <a:pt x="11236" y="1950"/>
                </a:lnTo>
                <a:lnTo>
                  <a:pt x="11236" y="2132"/>
                </a:lnTo>
                <a:lnTo>
                  <a:pt x="11383" y="2132"/>
                </a:lnTo>
                <a:lnTo>
                  <a:pt x="11383" y="2247"/>
                </a:lnTo>
                <a:lnTo>
                  <a:pt x="11236" y="2247"/>
                </a:lnTo>
                <a:lnTo>
                  <a:pt x="11236" y="2530"/>
                </a:lnTo>
                <a:lnTo>
                  <a:pt x="11237" y="2546"/>
                </a:lnTo>
                <a:lnTo>
                  <a:pt x="11241" y="2559"/>
                </a:lnTo>
                <a:lnTo>
                  <a:pt x="11245" y="2569"/>
                </a:lnTo>
                <a:lnTo>
                  <a:pt x="11253" y="2578"/>
                </a:lnTo>
                <a:lnTo>
                  <a:pt x="11261" y="2585"/>
                </a:lnTo>
                <a:lnTo>
                  <a:pt x="11272" y="2590"/>
                </a:lnTo>
                <a:lnTo>
                  <a:pt x="11286" y="2592"/>
                </a:lnTo>
                <a:lnTo>
                  <a:pt x="11302" y="2593"/>
                </a:lnTo>
                <a:lnTo>
                  <a:pt x="11343" y="2592"/>
                </a:lnTo>
                <a:lnTo>
                  <a:pt x="11392" y="2588"/>
                </a:lnTo>
                <a:lnTo>
                  <a:pt x="11392" y="2705"/>
                </a:lnTo>
                <a:lnTo>
                  <a:pt x="11362" y="2712"/>
                </a:lnTo>
                <a:lnTo>
                  <a:pt x="11333" y="2716"/>
                </a:lnTo>
                <a:lnTo>
                  <a:pt x="11303" y="2720"/>
                </a:lnTo>
                <a:lnTo>
                  <a:pt x="11272" y="2721"/>
                </a:lnTo>
                <a:close/>
                <a:moveTo>
                  <a:pt x="10830" y="2721"/>
                </a:moveTo>
                <a:lnTo>
                  <a:pt x="10789" y="2717"/>
                </a:lnTo>
                <a:lnTo>
                  <a:pt x="10753" y="2709"/>
                </a:lnTo>
                <a:lnTo>
                  <a:pt x="10738" y="2702"/>
                </a:lnTo>
                <a:lnTo>
                  <a:pt x="10722" y="2693"/>
                </a:lnTo>
                <a:lnTo>
                  <a:pt x="10710" y="2684"/>
                </a:lnTo>
                <a:lnTo>
                  <a:pt x="10698" y="2674"/>
                </a:lnTo>
                <a:lnTo>
                  <a:pt x="10688" y="2661"/>
                </a:lnTo>
                <a:lnTo>
                  <a:pt x="10679" y="2648"/>
                </a:lnTo>
                <a:lnTo>
                  <a:pt x="10666" y="2617"/>
                </a:lnTo>
                <a:lnTo>
                  <a:pt x="10657" y="2581"/>
                </a:lnTo>
                <a:lnTo>
                  <a:pt x="10655" y="2563"/>
                </a:lnTo>
                <a:lnTo>
                  <a:pt x="10655" y="2542"/>
                </a:lnTo>
                <a:lnTo>
                  <a:pt x="10655" y="2247"/>
                </a:lnTo>
                <a:lnTo>
                  <a:pt x="10549" y="2247"/>
                </a:lnTo>
                <a:lnTo>
                  <a:pt x="10549" y="2132"/>
                </a:lnTo>
                <a:lnTo>
                  <a:pt x="10655" y="2132"/>
                </a:lnTo>
                <a:lnTo>
                  <a:pt x="10655" y="1985"/>
                </a:lnTo>
                <a:lnTo>
                  <a:pt x="10794" y="1950"/>
                </a:lnTo>
                <a:lnTo>
                  <a:pt x="10794" y="2132"/>
                </a:lnTo>
                <a:lnTo>
                  <a:pt x="10940" y="2132"/>
                </a:lnTo>
                <a:lnTo>
                  <a:pt x="10940" y="2247"/>
                </a:lnTo>
                <a:lnTo>
                  <a:pt x="10794" y="2247"/>
                </a:lnTo>
                <a:lnTo>
                  <a:pt x="10794" y="2530"/>
                </a:lnTo>
                <a:lnTo>
                  <a:pt x="10795" y="2546"/>
                </a:lnTo>
                <a:lnTo>
                  <a:pt x="10798" y="2559"/>
                </a:lnTo>
                <a:lnTo>
                  <a:pt x="10803" y="2569"/>
                </a:lnTo>
                <a:lnTo>
                  <a:pt x="10809" y="2578"/>
                </a:lnTo>
                <a:lnTo>
                  <a:pt x="10819" y="2585"/>
                </a:lnTo>
                <a:lnTo>
                  <a:pt x="10830" y="2590"/>
                </a:lnTo>
                <a:lnTo>
                  <a:pt x="10843" y="2592"/>
                </a:lnTo>
                <a:lnTo>
                  <a:pt x="10859" y="2593"/>
                </a:lnTo>
                <a:lnTo>
                  <a:pt x="10901" y="2592"/>
                </a:lnTo>
                <a:lnTo>
                  <a:pt x="10949" y="2588"/>
                </a:lnTo>
                <a:lnTo>
                  <a:pt x="10949" y="2705"/>
                </a:lnTo>
                <a:lnTo>
                  <a:pt x="10920" y="2712"/>
                </a:lnTo>
                <a:lnTo>
                  <a:pt x="10891" y="2716"/>
                </a:lnTo>
                <a:lnTo>
                  <a:pt x="10860" y="2720"/>
                </a:lnTo>
                <a:lnTo>
                  <a:pt x="10830" y="2721"/>
                </a:lnTo>
                <a:close/>
                <a:moveTo>
                  <a:pt x="10307" y="2713"/>
                </a:moveTo>
                <a:lnTo>
                  <a:pt x="10307" y="2132"/>
                </a:lnTo>
                <a:lnTo>
                  <a:pt x="10450" y="2132"/>
                </a:lnTo>
                <a:lnTo>
                  <a:pt x="10450" y="2713"/>
                </a:lnTo>
                <a:lnTo>
                  <a:pt x="10307" y="2713"/>
                </a:lnTo>
                <a:close/>
                <a:moveTo>
                  <a:pt x="10303" y="2052"/>
                </a:moveTo>
                <a:lnTo>
                  <a:pt x="10303" y="1908"/>
                </a:lnTo>
                <a:lnTo>
                  <a:pt x="10453" y="1908"/>
                </a:lnTo>
                <a:lnTo>
                  <a:pt x="10453" y="2052"/>
                </a:lnTo>
                <a:lnTo>
                  <a:pt x="10303" y="2052"/>
                </a:lnTo>
                <a:close/>
                <a:moveTo>
                  <a:pt x="9992" y="2713"/>
                </a:moveTo>
                <a:lnTo>
                  <a:pt x="9992" y="2132"/>
                </a:lnTo>
                <a:lnTo>
                  <a:pt x="10133" y="2132"/>
                </a:lnTo>
                <a:lnTo>
                  <a:pt x="10133" y="2713"/>
                </a:lnTo>
                <a:lnTo>
                  <a:pt x="9992" y="2713"/>
                </a:lnTo>
                <a:close/>
                <a:moveTo>
                  <a:pt x="9988" y="2052"/>
                </a:moveTo>
                <a:lnTo>
                  <a:pt x="9988" y="1908"/>
                </a:lnTo>
                <a:lnTo>
                  <a:pt x="10137" y="1908"/>
                </a:lnTo>
                <a:lnTo>
                  <a:pt x="10137" y="2052"/>
                </a:lnTo>
                <a:lnTo>
                  <a:pt x="9988" y="2052"/>
                </a:lnTo>
                <a:close/>
                <a:moveTo>
                  <a:pt x="9812" y="2720"/>
                </a:moveTo>
                <a:lnTo>
                  <a:pt x="9777" y="2717"/>
                </a:lnTo>
                <a:lnTo>
                  <a:pt x="9762" y="2715"/>
                </a:lnTo>
                <a:lnTo>
                  <a:pt x="9747" y="2711"/>
                </a:lnTo>
                <a:lnTo>
                  <a:pt x="9732" y="2705"/>
                </a:lnTo>
                <a:lnTo>
                  <a:pt x="9719" y="2699"/>
                </a:lnTo>
                <a:lnTo>
                  <a:pt x="9707" y="2691"/>
                </a:lnTo>
                <a:lnTo>
                  <a:pt x="9697" y="2683"/>
                </a:lnTo>
                <a:lnTo>
                  <a:pt x="9687" y="2673"/>
                </a:lnTo>
                <a:lnTo>
                  <a:pt x="9678" y="2662"/>
                </a:lnTo>
                <a:lnTo>
                  <a:pt x="9671" y="2649"/>
                </a:lnTo>
                <a:lnTo>
                  <a:pt x="9665" y="2635"/>
                </a:lnTo>
                <a:lnTo>
                  <a:pt x="9656" y="2602"/>
                </a:lnTo>
                <a:lnTo>
                  <a:pt x="9654" y="2584"/>
                </a:lnTo>
                <a:lnTo>
                  <a:pt x="9653" y="2563"/>
                </a:lnTo>
                <a:lnTo>
                  <a:pt x="9653" y="1906"/>
                </a:lnTo>
                <a:lnTo>
                  <a:pt x="9793" y="1906"/>
                </a:lnTo>
                <a:lnTo>
                  <a:pt x="9793" y="2540"/>
                </a:lnTo>
                <a:lnTo>
                  <a:pt x="9794" y="2552"/>
                </a:lnTo>
                <a:lnTo>
                  <a:pt x="9796" y="2563"/>
                </a:lnTo>
                <a:lnTo>
                  <a:pt x="9799" y="2573"/>
                </a:lnTo>
                <a:lnTo>
                  <a:pt x="9803" y="2580"/>
                </a:lnTo>
                <a:lnTo>
                  <a:pt x="9811" y="2587"/>
                </a:lnTo>
                <a:lnTo>
                  <a:pt x="9820" y="2591"/>
                </a:lnTo>
                <a:lnTo>
                  <a:pt x="9834" y="2594"/>
                </a:lnTo>
                <a:lnTo>
                  <a:pt x="9850" y="2596"/>
                </a:lnTo>
                <a:lnTo>
                  <a:pt x="9873" y="2594"/>
                </a:lnTo>
                <a:lnTo>
                  <a:pt x="9873" y="2712"/>
                </a:lnTo>
                <a:lnTo>
                  <a:pt x="9842" y="2717"/>
                </a:lnTo>
                <a:lnTo>
                  <a:pt x="9812" y="2720"/>
                </a:lnTo>
                <a:close/>
                <a:moveTo>
                  <a:pt x="9479" y="2661"/>
                </a:moveTo>
                <a:lnTo>
                  <a:pt x="9461" y="2677"/>
                </a:lnTo>
                <a:lnTo>
                  <a:pt x="9439" y="2691"/>
                </a:lnTo>
                <a:lnTo>
                  <a:pt x="9416" y="2702"/>
                </a:lnTo>
                <a:lnTo>
                  <a:pt x="9392" y="2712"/>
                </a:lnTo>
                <a:lnTo>
                  <a:pt x="9366" y="2718"/>
                </a:lnTo>
                <a:lnTo>
                  <a:pt x="9338" y="2724"/>
                </a:lnTo>
                <a:lnTo>
                  <a:pt x="9310" y="2726"/>
                </a:lnTo>
                <a:lnTo>
                  <a:pt x="9280" y="2727"/>
                </a:lnTo>
                <a:lnTo>
                  <a:pt x="9253" y="2726"/>
                </a:lnTo>
                <a:lnTo>
                  <a:pt x="9227" y="2724"/>
                </a:lnTo>
                <a:lnTo>
                  <a:pt x="9202" y="2718"/>
                </a:lnTo>
                <a:lnTo>
                  <a:pt x="9177" y="2711"/>
                </a:lnTo>
                <a:lnTo>
                  <a:pt x="9154" y="2702"/>
                </a:lnTo>
                <a:lnTo>
                  <a:pt x="9133" y="2690"/>
                </a:lnTo>
                <a:lnTo>
                  <a:pt x="9112" y="2676"/>
                </a:lnTo>
                <a:lnTo>
                  <a:pt x="9102" y="2668"/>
                </a:lnTo>
                <a:lnTo>
                  <a:pt x="9094" y="2661"/>
                </a:lnTo>
                <a:lnTo>
                  <a:pt x="9082" y="2648"/>
                </a:lnTo>
                <a:lnTo>
                  <a:pt x="9070" y="2634"/>
                </a:lnTo>
                <a:lnTo>
                  <a:pt x="9059" y="2618"/>
                </a:lnTo>
                <a:lnTo>
                  <a:pt x="9050" y="2601"/>
                </a:lnTo>
                <a:lnTo>
                  <a:pt x="9037" y="2565"/>
                </a:lnTo>
                <a:lnTo>
                  <a:pt x="9033" y="2546"/>
                </a:lnTo>
                <a:lnTo>
                  <a:pt x="9032" y="2526"/>
                </a:lnTo>
                <a:lnTo>
                  <a:pt x="9162" y="2526"/>
                </a:lnTo>
                <a:lnTo>
                  <a:pt x="9165" y="2544"/>
                </a:lnTo>
                <a:lnTo>
                  <a:pt x="9167" y="2554"/>
                </a:lnTo>
                <a:lnTo>
                  <a:pt x="9172" y="2564"/>
                </a:lnTo>
                <a:lnTo>
                  <a:pt x="9182" y="2580"/>
                </a:lnTo>
                <a:lnTo>
                  <a:pt x="9187" y="2588"/>
                </a:lnTo>
                <a:lnTo>
                  <a:pt x="9194" y="2593"/>
                </a:lnTo>
                <a:lnTo>
                  <a:pt x="9211" y="2605"/>
                </a:lnTo>
                <a:lnTo>
                  <a:pt x="9232" y="2613"/>
                </a:lnTo>
                <a:lnTo>
                  <a:pt x="9254" y="2617"/>
                </a:lnTo>
                <a:lnTo>
                  <a:pt x="9282" y="2619"/>
                </a:lnTo>
                <a:lnTo>
                  <a:pt x="9320" y="2616"/>
                </a:lnTo>
                <a:lnTo>
                  <a:pt x="9340" y="2613"/>
                </a:lnTo>
                <a:lnTo>
                  <a:pt x="9359" y="2606"/>
                </a:lnTo>
                <a:lnTo>
                  <a:pt x="9367" y="2602"/>
                </a:lnTo>
                <a:lnTo>
                  <a:pt x="9375" y="2597"/>
                </a:lnTo>
                <a:lnTo>
                  <a:pt x="9382" y="2591"/>
                </a:lnTo>
                <a:lnTo>
                  <a:pt x="9388" y="2584"/>
                </a:lnTo>
                <a:lnTo>
                  <a:pt x="9397" y="2567"/>
                </a:lnTo>
                <a:lnTo>
                  <a:pt x="9399" y="2556"/>
                </a:lnTo>
                <a:lnTo>
                  <a:pt x="9400" y="2546"/>
                </a:lnTo>
                <a:lnTo>
                  <a:pt x="9399" y="2534"/>
                </a:lnTo>
                <a:lnTo>
                  <a:pt x="9396" y="2523"/>
                </a:lnTo>
                <a:lnTo>
                  <a:pt x="9391" y="2513"/>
                </a:lnTo>
                <a:lnTo>
                  <a:pt x="9385" y="2504"/>
                </a:lnTo>
                <a:lnTo>
                  <a:pt x="9376" y="2498"/>
                </a:lnTo>
                <a:lnTo>
                  <a:pt x="9366" y="2491"/>
                </a:lnTo>
                <a:lnTo>
                  <a:pt x="9342" y="2485"/>
                </a:lnTo>
                <a:lnTo>
                  <a:pt x="9302" y="2479"/>
                </a:lnTo>
                <a:lnTo>
                  <a:pt x="9262" y="2474"/>
                </a:lnTo>
                <a:lnTo>
                  <a:pt x="9221" y="2469"/>
                </a:lnTo>
                <a:lnTo>
                  <a:pt x="9182" y="2462"/>
                </a:lnTo>
                <a:lnTo>
                  <a:pt x="9153" y="2453"/>
                </a:lnTo>
                <a:lnTo>
                  <a:pt x="9127" y="2441"/>
                </a:lnTo>
                <a:lnTo>
                  <a:pt x="9104" y="2425"/>
                </a:lnTo>
                <a:lnTo>
                  <a:pt x="9085" y="2405"/>
                </a:lnTo>
                <a:lnTo>
                  <a:pt x="9070" y="2383"/>
                </a:lnTo>
                <a:lnTo>
                  <a:pt x="9059" y="2359"/>
                </a:lnTo>
                <a:lnTo>
                  <a:pt x="9051" y="2333"/>
                </a:lnTo>
                <a:lnTo>
                  <a:pt x="9049" y="2306"/>
                </a:lnTo>
                <a:lnTo>
                  <a:pt x="9050" y="2286"/>
                </a:lnTo>
                <a:lnTo>
                  <a:pt x="9053" y="2265"/>
                </a:lnTo>
                <a:lnTo>
                  <a:pt x="9059" y="2247"/>
                </a:lnTo>
                <a:lnTo>
                  <a:pt x="9065" y="2230"/>
                </a:lnTo>
                <a:lnTo>
                  <a:pt x="9084" y="2201"/>
                </a:lnTo>
                <a:lnTo>
                  <a:pt x="9108" y="2176"/>
                </a:lnTo>
                <a:lnTo>
                  <a:pt x="9144" y="2152"/>
                </a:lnTo>
                <a:lnTo>
                  <a:pt x="9163" y="2141"/>
                </a:lnTo>
                <a:lnTo>
                  <a:pt x="9185" y="2133"/>
                </a:lnTo>
                <a:lnTo>
                  <a:pt x="9208" y="2127"/>
                </a:lnTo>
                <a:lnTo>
                  <a:pt x="9232" y="2121"/>
                </a:lnTo>
                <a:lnTo>
                  <a:pt x="9258" y="2119"/>
                </a:lnTo>
                <a:lnTo>
                  <a:pt x="9284" y="2118"/>
                </a:lnTo>
                <a:lnTo>
                  <a:pt x="9310" y="2119"/>
                </a:lnTo>
                <a:lnTo>
                  <a:pt x="9336" y="2122"/>
                </a:lnTo>
                <a:lnTo>
                  <a:pt x="9361" y="2128"/>
                </a:lnTo>
                <a:lnTo>
                  <a:pt x="9385" y="2134"/>
                </a:lnTo>
                <a:lnTo>
                  <a:pt x="9408" y="2144"/>
                </a:lnTo>
                <a:lnTo>
                  <a:pt x="9429" y="2156"/>
                </a:lnTo>
                <a:lnTo>
                  <a:pt x="9449" y="2170"/>
                </a:lnTo>
                <a:lnTo>
                  <a:pt x="9466" y="2185"/>
                </a:lnTo>
                <a:lnTo>
                  <a:pt x="9477" y="2199"/>
                </a:lnTo>
                <a:lnTo>
                  <a:pt x="9487" y="2213"/>
                </a:lnTo>
                <a:lnTo>
                  <a:pt x="9503" y="2242"/>
                </a:lnTo>
                <a:lnTo>
                  <a:pt x="9514" y="2274"/>
                </a:lnTo>
                <a:lnTo>
                  <a:pt x="9517" y="2305"/>
                </a:lnTo>
                <a:lnTo>
                  <a:pt x="9385" y="2305"/>
                </a:lnTo>
                <a:lnTo>
                  <a:pt x="9383" y="2290"/>
                </a:lnTo>
                <a:lnTo>
                  <a:pt x="9378" y="2275"/>
                </a:lnTo>
                <a:lnTo>
                  <a:pt x="9371" y="2263"/>
                </a:lnTo>
                <a:lnTo>
                  <a:pt x="9361" y="2251"/>
                </a:lnTo>
                <a:lnTo>
                  <a:pt x="9346" y="2240"/>
                </a:lnTo>
                <a:lnTo>
                  <a:pt x="9327" y="2231"/>
                </a:lnTo>
                <a:lnTo>
                  <a:pt x="9307" y="2226"/>
                </a:lnTo>
                <a:lnTo>
                  <a:pt x="9285" y="2224"/>
                </a:lnTo>
                <a:lnTo>
                  <a:pt x="9255" y="2225"/>
                </a:lnTo>
                <a:lnTo>
                  <a:pt x="9240" y="2228"/>
                </a:lnTo>
                <a:lnTo>
                  <a:pt x="9225" y="2233"/>
                </a:lnTo>
                <a:lnTo>
                  <a:pt x="9216" y="2238"/>
                </a:lnTo>
                <a:lnTo>
                  <a:pt x="9208" y="2242"/>
                </a:lnTo>
                <a:lnTo>
                  <a:pt x="9194" y="2256"/>
                </a:lnTo>
                <a:lnTo>
                  <a:pt x="9188" y="2264"/>
                </a:lnTo>
                <a:lnTo>
                  <a:pt x="9184" y="2274"/>
                </a:lnTo>
                <a:lnTo>
                  <a:pt x="9182" y="2283"/>
                </a:lnTo>
                <a:lnTo>
                  <a:pt x="9181" y="2294"/>
                </a:lnTo>
                <a:lnTo>
                  <a:pt x="9182" y="2308"/>
                </a:lnTo>
                <a:lnTo>
                  <a:pt x="9186" y="2320"/>
                </a:lnTo>
                <a:lnTo>
                  <a:pt x="9194" y="2330"/>
                </a:lnTo>
                <a:lnTo>
                  <a:pt x="9202" y="2337"/>
                </a:lnTo>
                <a:lnTo>
                  <a:pt x="9212" y="2343"/>
                </a:lnTo>
                <a:lnTo>
                  <a:pt x="9224" y="2348"/>
                </a:lnTo>
                <a:lnTo>
                  <a:pt x="9247" y="2352"/>
                </a:lnTo>
                <a:lnTo>
                  <a:pt x="9308" y="2359"/>
                </a:lnTo>
                <a:lnTo>
                  <a:pt x="9371" y="2369"/>
                </a:lnTo>
                <a:lnTo>
                  <a:pt x="9404" y="2377"/>
                </a:lnTo>
                <a:lnTo>
                  <a:pt x="9420" y="2381"/>
                </a:lnTo>
                <a:lnTo>
                  <a:pt x="9435" y="2388"/>
                </a:lnTo>
                <a:lnTo>
                  <a:pt x="9461" y="2403"/>
                </a:lnTo>
                <a:lnTo>
                  <a:pt x="9474" y="2413"/>
                </a:lnTo>
                <a:lnTo>
                  <a:pt x="9485" y="2423"/>
                </a:lnTo>
                <a:lnTo>
                  <a:pt x="9495" y="2433"/>
                </a:lnTo>
                <a:lnTo>
                  <a:pt x="9503" y="2444"/>
                </a:lnTo>
                <a:lnTo>
                  <a:pt x="9517" y="2470"/>
                </a:lnTo>
                <a:lnTo>
                  <a:pt x="9523" y="2486"/>
                </a:lnTo>
                <a:lnTo>
                  <a:pt x="9526" y="2501"/>
                </a:lnTo>
                <a:lnTo>
                  <a:pt x="9529" y="2534"/>
                </a:lnTo>
                <a:lnTo>
                  <a:pt x="9528" y="2553"/>
                </a:lnTo>
                <a:lnTo>
                  <a:pt x="9526" y="2573"/>
                </a:lnTo>
                <a:lnTo>
                  <a:pt x="9522" y="2590"/>
                </a:lnTo>
                <a:lnTo>
                  <a:pt x="9515" y="2606"/>
                </a:lnTo>
                <a:lnTo>
                  <a:pt x="9509" y="2622"/>
                </a:lnTo>
                <a:lnTo>
                  <a:pt x="9500" y="2636"/>
                </a:lnTo>
                <a:lnTo>
                  <a:pt x="9479" y="2661"/>
                </a:lnTo>
                <a:close/>
                <a:moveTo>
                  <a:pt x="8793" y="2713"/>
                </a:moveTo>
                <a:lnTo>
                  <a:pt x="8782" y="2637"/>
                </a:lnTo>
                <a:lnTo>
                  <a:pt x="8770" y="2658"/>
                </a:lnTo>
                <a:lnTo>
                  <a:pt x="8755" y="2675"/>
                </a:lnTo>
                <a:lnTo>
                  <a:pt x="8737" y="2690"/>
                </a:lnTo>
                <a:lnTo>
                  <a:pt x="8717" y="2703"/>
                </a:lnTo>
                <a:lnTo>
                  <a:pt x="8694" y="2714"/>
                </a:lnTo>
                <a:lnTo>
                  <a:pt x="8669" y="2722"/>
                </a:lnTo>
                <a:lnTo>
                  <a:pt x="8643" y="2726"/>
                </a:lnTo>
                <a:lnTo>
                  <a:pt x="8615" y="2727"/>
                </a:lnTo>
                <a:lnTo>
                  <a:pt x="8594" y="2726"/>
                </a:lnTo>
                <a:lnTo>
                  <a:pt x="8572" y="2724"/>
                </a:lnTo>
                <a:lnTo>
                  <a:pt x="8551" y="2718"/>
                </a:lnTo>
                <a:lnTo>
                  <a:pt x="8533" y="2712"/>
                </a:lnTo>
                <a:lnTo>
                  <a:pt x="8514" y="2704"/>
                </a:lnTo>
                <a:lnTo>
                  <a:pt x="8498" y="2695"/>
                </a:lnTo>
                <a:lnTo>
                  <a:pt x="8483" y="2683"/>
                </a:lnTo>
                <a:lnTo>
                  <a:pt x="8469" y="2671"/>
                </a:lnTo>
                <a:lnTo>
                  <a:pt x="8457" y="2655"/>
                </a:lnTo>
                <a:lnTo>
                  <a:pt x="8446" y="2640"/>
                </a:lnTo>
                <a:lnTo>
                  <a:pt x="8430" y="2604"/>
                </a:lnTo>
                <a:lnTo>
                  <a:pt x="8419" y="2564"/>
                </a:lnTo>
                <a:lnTo>
                  <a:pt x="8417" y="2542"/>
                </a:lnTo>
                <a:lnTo>
                  <a:pt x="8416" y="2519"/>
                </a:lnTo>
                <a:lnTo>
                  <a:pt x="8416" y="2132"/>
                </a:lnTo>
                <a:lnTo>
                  <a:pt x="8555" y="2132"/>
                </a:lnTo>
                <a:lnTo>
                  <a:pt x="8555" y="2489"/>
                </a:lnTo>
                <a:lnTo>
                  <a:pt x="8556" y="2513"/>
                </a:lnTo>
                <a:lnTo>
                  <a:pt x="8560" y="2535"/>
                </a:lnTo>
                <a:lnTo>
                  <a:pt x="8567" y="2553"/>
                </a:lnTo>
                <a:lnTo>
                  <a:pt x="8577" y="2569"/>
                </a:lnTo>
                <a:lnTo>
                  <a:pt x="8590" y="2582"/>
                </a:lnTo>
                <a:lnTo>
                  <a:pt x="8608" y="2591"/>
                </a:lnTo>
                <a:lnTo>
                  <a:pt x="8630" y="2597"/>
                </a:lnTo>
                <a:lnTo>
                  <a:pt x="8655" y="2599"/>
                </a:lnTo>
                <a:lnTo>
                  <a:pt x="8677" y="2597"/>
                </a:lnTo>
                <a:lnTo>
                  <a:pt x="8697" y="2591"/>
                </a:lnTo>
                <a:lnTo>
                  <a:pt x="8713" y="2581"/>
                </a:lnTo>
                <a:lnTo>
                  <a:pt x="8726" y="2571"/>
                </a:lnTo>
                <a:lnTo>
                  <a:pt x="8738" y="2557"/>
                </a:lnTo>
                <a:lnTo>
                  <a:pt x="8747" y="2543"/>
                </a:lnTo>
                <a:lnTo>
                  <a:pt x="8755" y="2527"/>
                </a:lnTo>
                <a:lnTo>
                  <a:pt x="8760" y="2511"/>
                </a:lnTo>
                <a:lnTo>
                  <a:pt x="8764" y="2493"/>
                </a:lnTo>
                <a:lnTo>
                  <a:pt x="8767" y="2475"/>
                </a:lnTo>
                <a:lnTo>
                  <a:pt x="8769" y="2439"/>
                </a:lnTo>
                <a:lnTo>
                  <a:pt x="8769" y="2132"/>
                </a:lnTo>
                <a:lnTo>
                  <a:pt x="8908" y="2132"/>
                </a:lnTo>
                <a:lnTo>
                  <a:pt x="8908" y="2713"/>
                </a:lnTo>
                <a:lnTo>
                  <a:pt x="8793" y="2713"/>
                </a:lnTo>
                <a:close/>
                <a:moveTo>
                  <a:pt x="8190" y="2713"/>
                </a:moveTo>
                <a:lnTo>
                  <a:pt x="8028" y="2460"/>
                </a:lnTo>
                <a:lnTo>
                  <a:pt x="7934" y="2560"/>
                </a:lnTo>
                <a:lnTo>
                  <a:pt x="7934" y="2713"/>
                </a:lnTo>
                <a:lnTo>
                  <a:pt x="7795" y="2713"/>
                </a:lnTo>
                <a:lnTo>
                  <a:pt x="7795" y="1907"/>
                </a:lnTo>
                <a:lnTo>
                  <a:pt x="7934" y="1907"/>
                </a:lnTo>
                <a:lnTo>
                  <a:pt x="7934" y="2368"/>
                </a:lnTo>
                <a:lnTo>
                  <a:pt x="8155" y="2132"/>
                </a:lnTo>
                <a:lnTo>
                  <a:pt x="8330" y="2132"/>
                </a:lnTo>
                <a:lnTo>
                  <a:pt x="8122" y="2357"/>
                </a:lnTo>
                <a:lnTo>
                  <a:pt x="8351" y="2713"/>
                </a:lnTo>
                <a:lnTo>
                  <a:pt x="8190" y="2713"/>
                </a:lnTo>
                <a:close/>
                <a:moveTo>
                  <a:pt x="7618" y="2661"/>
                </a:moveTo>
                <a:lnTo>
                  <a:pt x="7600" y="2677"/>
                </a:lnTo>
                <a:lnTo>
                  <a:pt x="7578" y="2691"/>
                </a:lnTo>
                <a:lnTo>
                  <a:pt x="7555" y="2702"/>
                </a:lnTo>
                <a:lnTo>
                  <a:pt x="7531" y="2712"/>
                </a:lnTo>
                <a:lnTo>
                  <a:pt x="7505" y="2718"/>
                </a:lnTo>
                <a:lnTo>
                  <a:pt x="7477" y="2724"/>
                </a:lnTo>
                <a:lnTo>
                  <a:pt x="7448" y="2726"/>
                </a:lnTo>
                <a:lnTo>
                  <a:pt x="7419" y="2727"/>
                </a:lnTo>
                <a:lnTo>
                  <a:pt x="7392" y="2726"/>
                </a:lnTo>
                <a:lnTo>
                  <a:pt x="7366" y="2724"/>
                </a:lnTo>
                <a:lnTo>
                  <a:pt x="7340" y="2718"/>
                </a:lnTo>
                <a:lnTo>
                  <a:pt x="7316" y="2711"/>
                </a:lnTo>
                <a:lnTo>
                  <a:pt x="7293" y="2702"/>
                </a:lnTo>
                <a:lnTo>
                  <a:pt x="7271" y="2690"/>
                </a:lnTo>
                <a:lnTo>
                  <a:pt x="7251" y="2676"/>
                </a:lnTo>
                <a:lnTo>
                  <a:pt x="7241" y="2668"/>
                </a:lnTo>
                <a:lnTo>
                  <a:pt x="7232" y="2661"/>
                </a:lnTo>
                <a:lnTo>
                  <a:pt x="7219" y="2648"/>
                </a:lnTo>
                <a:lnTo>
                  <a:pt x="7208" y="2634"/>
                </a:lnTo>
                <a:lnTo>
                  <a:pt x="7197" y="2618"/>
                </a:lnTo>
                <a:lnTo>
                  <a:pt x="7189" y="2601"/>
                </a:lnTo>
                <a:lnTo>
                  <a:pt x="7176" y="2565"/>
                </a:lnTo>
                <a:lnTo>
                  <a:pt x="7171" y="2546"/>
                </a:lnTo>
                <a:lnTo>
                  <a:pt x="7170" y="2526"/>
                </a:lnTo>
                <a:lnTo>
                  <a:pt x="7301" y="2526"/>
                </a:lnTo>
                <a:lnTo>
                  <a:pt x="7304" y="2544"/>
                </a:lnTo>
                <a:lnTo>
                  <a:pt x="7306" y="2554"/>
                </a:lnTo>
                <a:lnTo>
                  <a:pt x="7311" y="2564"/>
                </a:lnTo>
                <a:lnTo>
                  <a:pt x="7320" y="2580"/>
                </a:lnTo>
                <a:lnTo>
                  <a:pt x="7326" y="2588"/>
                </a:lnTo>
                <a:lnTo>
                  <a:pt x="7332" y="2593"/>
                </a:lnTo>
                <a:lnTo>
                  <a:pt x="7350" y="2605"/>
                </a:lnTo>
                <a:lnTo>
                  <a:pt x="7370" y="2613"/>
                </a:lnTo>
                <a:lnTo>
                  <a:pt x="7393" y="2617"/>
                </a:lnTo>
                <a:lnTo>
                  <a:pt x="7420" y="2619"/>
                </a:lnTo>
                <a:lnTo>
                  <a:pt x="7458" y="2616"/>
                </a:lnTo>
                <a:lnTo>
                  <a:pt x="7479" y="2613"/>
                </a:lnTo>
                <a:lnTo>
                  <a:pt x="7497" y="2606"/>
                </a:lnTo>
                <a:lnTo>
                  <a:pt x="7506" y="2602"/>
                </a:lnTo>
                <a:lnTo>
                  <a:pt x="7514" y="2597"/>
                </a:lnTo>
                <a:lnTo>
                  <a:pt x="7520" y="2591"/>
                </a:lnTo>
                <a:lnTo>
                  <a:pt x="7527" y="2584"/>
                </a:lnTo>
                <a:lnTo>
                  <a:pt x="7535" y="2567"/>
                </a:lnTo>
                <a:lnTo>
                  <a:pt x="7538" y="2556"/>
                </a:lnTo>
                <a:lnTo>
                  <a:pt x="7539" y="2546"/>
                </a:lnTo>
                <a:lnTo>
                  <a:pt x="7538" y="2534"/>
                </a:lnTo>
                <a:lnTo>
                  <a:pt x="7534" y="2523"/>
                </a:lnTo>
                <a:lnTo>
                  <a:pt x="7530" y="2513"/>
                </a:lnTo>
                <a:lnTo>
                  <a:pt x="7523" y="2504"/>
                </a:lnTo>
                <a:lnTo>
                  <a:pt x="7515" y="2498"/>
                </a:lnTo>
                <a:lnTo>
                  <a:pt x="7505" y="2491"/>
                </a:lnTo>
                <a:lnTo>
                  <a:pt x="7481" y="2485"/>
                </a:lnTo>
                <a:lnTo>
                  <a:pt x="7441" y="2479"/>
                </a:lnTo>
                <a:lnTo>
                  <a:pt x="7401" y="2474"/>
                </a:lnTo>
                <a:lnTo>
                  <a:pt x="7359" y="2469"/>
                </a:lnTo>
                <a:lnTo>
                  <a:pt x="7320" y="2462"/>
                </a:lnTo>
                <a:lnTo>
                  <a:pt x="7292" y="2453"/>
                </a:lnTo>
                <a:lnTo>
                  <a:pt x="7266" y="2441"/>
                </a:lnTo>
                <a:lnTo>
                  <a:pt x="7243" y="2425"/>
                </a:lnTo>
                <a:lnTo>
                  <a:pt x="7224" y="2405"/>
                </a:lnTo>
                <a:lnTo>
                  <a:pt x="7208" y="2383"/>
                </a:lnTo>
                <a:lnTo>
                  <a:pt x="7197" y="2359"/>
                </a:lnTo>
                <a:lnTo>
                  <a:pt x="7190" y="2333"/>
                </a:lnTo>
                <a:lnTo>
                  <a:pt x="7188" y="2306"/>
                </a:lnTo>
                <a:lnTo>
                  <a:pt x="7189" y="2286"/>
                </a:lnTo>
                <a:lnTo>
                  <a:pt x="7192" y="2265"/>
                </a:lnTo>
                <a:lnTo>
                  <a:pt x="7197" y="2247"/>
                </a:lnTo>
                <a:lnTo>
                  <a:pt x="7204" y="2230"/>
                </a:lnTo>
                <a:lnTo>
                  <a:pt x="7222" y="2201"/>
                </a:lnTo>
                <a:lnTo>
                  <a:pt x="7246" y="2176"/>
                </a:lnTo>
                <a:lnTo>
                  <a:pt x="7281" y="2152"/>
                </a:lnTo>
                <a:lnTo>
                  <a:pt x="7302" y="2141"/>
                </a:lnTo>
                <a:lnTo>
                  <a:pt x="7324" y="2133"/>
                </a:lnTo>
                <a:lnTo>
                  <a:pt x="7346" y="2127"/>
                </a:lnTo>
                <a:lnTo>
                  <a:pt x="7370" y="2121"/>
                </a:lnTo>
                <a:lnTo>
                  <a:pt x="7396" y="2119"/>
                </a:lnTo>
                <a:lnTo>
                  <a:pt x="7422" y="2118"/>
                </a:lnTo>
                <a:lnTo>
                  <a:pt x="7448" y="2119"/>
                </a:lnTo>
                <a:lnTo>
                  <a:pt x="7475" y="2122"/>
                </a:lnTo>
                <a:lnTo>
                  <a:pt x="7500" y="2128"/>
                </a:lnTo>
                <a:lnTo>
                  <a:pt x="7523" y="2134"/>
                </a:lnTo>
                <a:lnTo>
                  <a:pt x="7546" y="2144"/>
                </a:lnTo>
                <a:lnTo>
                  <a:pt x="7568" y="2156"/>
                </a:lnTo>
                <a:lnTo>
                  <a:pt x="7588" y="2170"/>
                </a:lnTo>
                <a:lnTo>
                  <a:pt x="7605" y="2185"/>
                </a:lnTo>
                <a:lnTo>
                  <a:pt x="7626" y="2213"/>
                </a:lnTo>
                <a:lnTo>
                  <a:pt x="7642" y="2242"/>
                </a:lnTo>
                <a:lnTo>
                  <a:pt x="7647" y="2258"/>
                </a:lnTo>
                <a:lnTo>
                  <a:pt x="7652" y="2274"/>
                </a:lnTo>
                <a:lnTo>
                  <a:pt x="7656" y="2305"/>
                </a:lnTo>
                <a:lnTo>
                  <a:pt x="7523" y="2305"/>
                </a:lnTo>
                <a:lnTo>
                  <a:pt x="7521" y="2290"/>
                </a:lnTo>
                <a:lnTo>
                  <a:pt x="7516" y="2275"/>
                </a:lnTo>
                <a:lnTo>
                  <a:pt x="7509" y="2263"/>
                </a:lnTo>
                <a:lnTo>
                  <a:pt x="7500" y="2251"/>
                </a:lnTo>
                <a:lnTo>
                  <a:pt x="7484" y="2240"/>
                </a:lnTo>
                <a:lnTo>
                  <a:pt x="7466" y="2231"/>
                </a:lnTo>
                <a:lnTo>
                  <a:pt x="7445" y="2226"/>
                </a:lnTo>
                <a:lnTo>
                  <a:pt x="7424" y="2224"/>
                </a:lnTo>
                <a:lnTo>
                  <a:pt x="7394" y="2225"/>
                </a:lnTo>
                <a:lnTo>
                  <a:pt x="7379" y="2228"/>
                </a:lnTo>
                <a:lnTo>
                  <a:pt x="7364" y="2233"/>
                </a:lnTo>
                <a:lnTo>
                  <a:pt x="7355" y="2238"/>
                </a:lnTo>
                <a:lnTo>
                  <a:pt x="7346" y="2242"/>
                </a:lnTo>
                <a:lnTo>
                  <a:pt x="7332" y="2256"/>
                </a:lnTo>
                <a:lnTo>
                  <a:pt x="7327" y="2264"/>
                </a:lnTo>
                <a:lnTo>
                  <a:pt x="7322" y="2274"/>
                </a:lnTo>
                <a:lnTo>
                  <a:pt x="7320" y="2283"/>
                </a:lnTo>
                <a:lnTo>
                  <a:pt x="7319" y="2294"/>
                </a:lnTo>
                <a:lnTo>
                  <a:pt x="7320" y="2308"/>
                </a:lnTo>
                <a:lnTo>
                  <a:pt x="7325" y="2320"/>
                </a:lnTo>
                <a:lnTo>
                  <a:pt x="7332" y="2330"/>
                </a:lnTo>
                <a:lnTo>
                  <a:pt x="7341" y="2337"/>
                </a:lnTo>
                <a:lnTo>
                  <a:pt x="7351" y="2343"/>
                </a:lnTo>
                <a:lnTo>
                  <a:pt x="7363" y="2348"/>
                </a:lnTo>
                <a:lnTo>
                  <a:pt x="7385" y="2352"/>
                </a:lnTo>
                <a:lnTo>
                  <a:pt x="7446" y="2359"/>
                </a:lnTo>
                <a:lnTo>
                  <a:pt x="7509" y="2369"/>
                </a:lnTo>
                <a:lnTo>
                  <a:pt x="7543" y="2377"/>
                </a:lnTo>
                <a:lnTo>
                  <a:pt x="7558" y="2381"/>
                </a:lnTo>
                <a:lnTo>
                  <a:pt x="7573" y="2388"/>
                </a:lnTo>
                <a:lnTo>
                  <a:pt x="7600" y="2403"/>
                </a:lnTo>
                <a:lnTo>
                  <a:pt x="7613" y="2413"/>
                </a:lnTo>
                <a:lnTo>
                  <a:pt x="7623" y="2423"/>
                </a:lnTo>
                <a:lnTo>
                  <a:pt x="7633" y="2433"/>
                </a:lnTo>
                <a:lnTo>
                  <a:pt x="7642" y="2444"/>
                </a:lnTo>
                <a:lnTo>
                  <a:pt x="7656" y="2470"/>
                </a:lnTo>
                <a:lnTo>
                  <a:pt x="7661" y="2486"/>
                </a:lnTo>
                <a:lnTo>
                  <a:pt x="7665" y="2501"/>
                </a:lnTo>
                <a:lnTo>
                  <a:pt x="7668" y="2534"/>
                </a:lnTo>
                <a:lnTo>
                  <a:pt x="7667" y="2553"/>
                </a:lnTo>
                <a:lnTo>
                  <a:pt x="7665" y="2573"/>
                </a:lnTo>
                <a:lnTo>
                  <a:pt x="7660" y="2590"/>
                </a:lnTo>
                <a:lnTo>
                  <a:pt x="7654" y="2606"/>
                </a:lnTo>
                <a:lnTo>
                  <a:pt x="7647" y="2622"/>
                </a:lnTo>
                <a:lnTo>
                  <a:pt x="7639" y="2636"/>
                </a:lnTo>
                <a:lnTo>
                  <a:pt x="7618" y="2661"/>
                </a:lnTo>
                <a:close/>
                <a:moveTo>
                  <a:pt x="6915" y="2263"/>
                </a:moveTo>
                <a:lnTo>
                  <a:pt x="6907" y="2256"/>
                </a:lnTo>
                <a:lnTo>
                  <a:pt x="6899" y="2250"/>
                </a:lnTo>
                <a:lnTo>
                  <a:pt x="6879" y="2239"/>
                </a:lnTo>
                <a:lnTo>
                  <a:pt x="6867" y="2234"/>
                </a:lnTo>
                <a:lnTo>
                  <a:pt x="6855" y="2232"/>
                </a:lnTo>
                <a:lnTo>
                  <a:pt x="6827" y="2229"/>
                </a:lnTo>
                <a:lnTo>
                  <a:pt x="6797" y="2232"/>
                </a:lnTo>
                <a:lnTo>
                  <a:pt x="6770" y="2242"/>
                </a:lnTo>
                <a:lnTo>
                  <a:pt x="6748" y="2256"/>
                </a:lnTo>
                <a:lnTo>
                  <a:pt x="6738" y="2265"/>
                </a:lnTo>
                <a:lnTo>
                  <a:pt x="6730" y="2275"/>
                </a:lnTo>
                <a:lnTo>
                  <a:pt x="6717" y="2294"/>
                </a:lnTo>
                <a:lnTo>
                  <a:pt x="6707" y="2315"/>
                </a:lnTo>
                <a:lnTo>
                  <a:pt x="6702" y="2338"/>
                </a:lnTo>
                <a:lnTo>
                  <a:pt x="6700" y="2365"/>
                </a:lnTo>
                <a:lnTo>
                  <a:pt x="6951" y="2365"/>
                </a:lnTo>
                <a:lnTo>
                  <a:pt x="6950" y="2349"/>
                </a:lnTo>
                <a:lnTo>
                  <a:pt x="6948" y="2333"/>
                </a:lnTo>
                <a:lnTo>
                  <a:pt x="6941" y="2306"/>
                </a:lnTo>
                <a:lnTo>
                  <a:pt x="6930" y="2283"/>
                </a:lnTo>
                <a:lnTo>
                  <a:pt x="6924" y="2272"/>
                </a:lnTo>
                <a:lnTo>
                  <a:pt x="6915" y="2263"/>
                </a:lnTo>
                <a:close/>
                <a:moveTo>
                  <a:pt x="7089" y="2466"/>
                </a:moveTo>
                <a:lnTo>
                  <a:pt x="6701" y="2466"/>
                </a:lnTo>
                <a:lnTo>
                  <a:pt x="6702" y="2482"/>
                </a:lnTo>
                <a:lnTo>
                  <a:pt x="6703" y="2499"/>
                </a:lnTo>
                <a:lnTo>
                  <a:pt x="6712" y="2530"/>
                </a:lnTo>
                <a:lnTo>
                  <a:pt x="6717" y="2544"/>
                </a:lnTo>
                <a:lnTo>
                  <a:pt x="6725" y="2557"/>
                </a:lnTo>
                <a:lnTo>
                  <a:pt x="6734" y="2569"/>
                </a:lnTo>
                <a:lnTo>
                  <a:pt x="6743" y="2580"/>
                </a:lnTo>
                <a:lnTo>
                  <a:pt x="6760" y="2593"/>
                </a:lnTo>
                <a:lnTo>
                  <a:pt x="6780" y="2605"/>
                </a:lnTo>
                <a:lnTo>
                  <a:pt x="6803" y="2613"/>
                </a:lnTo>
                <a:lnTo>
                  <a:pt x="6829" y="2616"/>
                </a:lnTo>
                <a:lnTo>
                  <a:pt x="6856" y="2614"/>
                </a:lnTo>
                <a:lnTo>
                  <a:pt x="6879" y="2610"/>
                </a:lnTo>
                <a:lnTo>
                  <a:pt x="6898" y="2601"/>
                </a:lnTo>
                <a:lnTo>
                  <a:pt x="6914" y="2588"/>
                </a:lnTo>
                <a:lnTo>
                  <a:pt x="6923" y="2578"/>
                </a:lnTo>
                <a:lnTo>
                  <a:pt x="6930" y="2566"/>
                </a:lnTo>
                <a:lnTo>
                  <a:pt x="6937" y="2554"/>
                </a:lnTo>
                <a:lnTo>
                  <a:pt x="6942" y="2539"/>
                </a:lnTo>
                <a:lnTo>
                  <a:pt x="7076" y="2539"/>
                </a:lnTo>
                <a:lnTo>
                  <a:pt x="7070" y="2566"/>
                </a:lnTo>
                <a:lnTo>
                  <a:pt x="7065" y="2580"/>
                </a:lnTo>
                <a:lnTo>
                  <a:pt x="7058" y="2596"/>
                </a:lnTo>
                <a:lnTo>
                  <a:pt x="7043" y="2623"/>
                </a:lnTo>
                <a:lnTo>
                  <a:pt x="7027" y="2646"/>
                </a:lnTo>
                <a:lnTo>
                  <a:pt x="7007" y="2666"/>
                </a:lnTo>
                <a:lnTo>
                  <a:pt x="6986" y="2684"/>
                </a:lnTo>
                <a:lnTo>
                  <a:pt x="6963" y="2698"/>
                </a:lnTo>
                <a:lnTo>
                  <a:pt x="6939" y="2709"/>
                </a:lnTo>
                <a:lnTo>
                  <a:pt x="6913" y="2717"/>
                </a:lnTo>
                <a:lnTo>
                  <a:pt x="6887" y="2723"/>
                </a:lnTo>
                <a:lnTo>
                  <a:pt x="6860" y="2726"/>
                </a:lnTo>
                <a:lnTo>
                  <a:pt x="6831" y="2727"/>
                </a:lnTo>
                <a:lnTo>
                  <a:pt x="6803" y="2726"/>
                </a:lnTo>
                <a:lnTo>
                  <a:pt x="6776" y="2723"/>
                </a:lnTo>
                <a:lnTo>
                  <a:pt x="6763" y="2720"/>
                </a:lnTo>
                <a:lnTo>
                  <a:pt x="6751" y="2716"/>
                </a:lnTo>
                <a:lnTo>
                  <a:pt x="6728" y="2708"/>
                </a:lnTo>
                <a:lnTo>
                  <a:pt x="6705" y="2698"/>
                </a:lnTo>
                <a:lnTo>
                  <a:pt x="6686" y="2686"/>
                </a:lnTo>
                <a:lnTo>
                  <a:pt x="6666" y="2672"/>
                </a:lnTo>
                <a:lnTo>
                  <a:pt x="6649" y="2656"/>
                </a:lnTo>
                <a:lnTo>
                  <a:pt x="6628" y="2634"/>
                </a:lnTo>
                <a:lnTo>
                  <a:pt x="6611" y="2610"/>
                </a:lnTo>
                <a:lnTo>
                  <a:pt x="6596" y="2584"/>
                </a:lnTo>
                <a:lnTo>
                  <a:pt x="6582" y="2554"/>
                </a:lnTo>
                <a:lnTo>
                  <a:pt x="6577" y="2540"/>
                </a:lnTo>
                <a:lnTo>
                  <a:pt x="6573" y="2524"/>
                </a:lnTo>
                <a:lnTo>
                  <a:pt x="6565" y="2492"/>
                </a:lnTo>
                <a:lnTo>
                  <a:pt x="6561" y="2458"/>
                </a:lnTo>
                <a:lnTo>
                  <a:pt x="6560" y="2424"/>
                </a:lnTo>
                <a:lnTo>
                  <a:pt x="6561" y="2390"/>
                </a:lnTo>
                <a:lnTo>
                  <a:pt x="6565" y="2356"/>
                </a:lnTo>
                <a:lnTo>
                  <a:pt x="6572" y="2325"/>
                </a:lnTo>
                <a:lnTo>
                  <a:pt x="6580" y="2294"/>
                </a:lnTo>
                <a:lnTo>
                  <a:pt x="6592" y="2266"/>
                </a:lnTo>
                <a:lnTo>
                  <a:pt x="6606" y="2239"/>
                </a:lnTo>
                <a:lnTo>
                  <a:pt x="6624" y="2214"/>
                </a:lnTo>
                <a:lnTo>
                  <a:pt x="6643" y="2192"/>
                </a:lnTo>
                <a:lnTo>
                  <a:pt x="6661" y="2176"/>
                </a:lnTo>
                <a:lnTo>
                  <a:pt x="6679" y="2162"/>
                </a:lnTo>
                <a:lnTo>
                  <a:pt x="6700" y="2148"/>
                </a:lnTo>
                <a:lnTo>
                  <a:pt x="6723" y="2138"/>
                </a:lnTo>
                <a:lnTo>
                  <a:pt x="6747" y="2129"/>
                </a:lnTo>
                <a:lnTo>
                  <a:pt x="6772" y="2123"/>
                </a:lnTo>
                <a:lnTo>
                  <a:pt x="6800" y="2119"/>
                </a:lnTo>
                <a:lnTo>
                  <a:pt x="6828" y="2118"/>
                </a:lnTo>
                <a:lnTo>
                  <a:pt x="6860" y="2119"/>
                </a:lnTo>
                <a:lnTo>
                  <a:pt x="6891" y="2125"/>
                </a:lnTo>
                <a:lnTo>
                  <a:pt x="6920" y="2132"/>
                </a:lnTo>
                <a:lnTo>
                  <a:pt x="6949" y="2144"/>
                </a:lnTo>
                <a:lnTo>
                  <a:pt x="6975" y="2159"/>
                </a:lnTo>
                <a:lnTo>
                  <a:pt x="6999" y="2178"/>
                </a:lnTo>
                <a:lnTo>
                  <a:pt x="7020" y="2200"/>
                </a:lnTo>
                <a:lnTo>
                  <a:pt x="7040" y="2225"/>
                </a:lnTo>
                <a:lnTo>
                  <a:pt x="7055" y="2249"/>
                </a:lnTo>
                <a:lnTo>
                  <a:pt x="7066" y="2274"/>
                </a:lnTo>
                <a:lnTo>
                  <a:pt x="7082" y="2323"/>
                </a:lnTo>
                <a:lnTo>
                  <a:pt x="7087" y="2348"/>
                </a:lnTo>
                <a:lnTo>
                  <a:pt x="7090" y="2374"/>
                </a:lnTo>
                <a:lnTo>
                  <a:pt x="7090" y="2427"/>
                </a:lnTo>
                <a:lnTo>
                  <a:pt x="7089" y="2466"/>
                </a:lnTo>
                <a:close/>
                <a:moveTo>
                  <a:pt x="6372" y="2713"/>
                </a:moveTo>
                <a:lnTo>
                  <a:pt x="6209" y="2460"/>
                </a:lnTo>
                <a:lnTo>
                  <a:pt x="6116" y="2560"/>
                </a:lnTo>
                <a:lnTo>
                  <a:pt x="6116" y="2713"/>
                </a:lnTo>
                <a:lnTo>
                  <a:pt x="5977" y="2713"/>
                </a:lnTo>
                <a:lnTo>
                  <a:pt x="5977" y="1907"/>
                </a:lnTo>
                <a:lnTo>
                  <a:pt x="6116" y="1907"/>
                </a:lnTo>
                <a:lnTo>
                  <a:pt x="6116" y="2368"/>
                </a:lnTo>
                <a:lnTo>
                  <a:pt x="6336" y="2132"/>
                </a:lnTo>
                <a:lnTo>
                  <a:pt x="6511" y="2132"/>
                </a:lnTo>
                <a:lnTo>
                  <a:pt x="6303" y="2357"/>
                </a:lnTo>
                <a:lnTo>
                  <a:pt x="6534" y="2713"/>
                </a:lnTo>
                <a:lnTo>
                  <a:pt x="6372" y="2713"/>
                </a:lnTo>
                <a:close/>
                <a:moveTo>
                  <a:pt x="14362" y="1547"/>
                </a:moveTo>
                <a:lnTo>
                  <a:pt x="14362" y="1191"/>
                </a:lnTo>
                <a:lnTo>
                  <a:pt x="14361" y="1166"/>
                </a:lnTo>
                <a:lnTo>
                  <a:pt x="14358" y="1146"/>
                </a:lnTo>
                <a:lnTo>
                  <a:pt x="14355" y="1136"/>
                </a:lnTo>
                <a:lnTo>
                  <a:pt x="14352" y="1126"/>
                </a:lnTo>
                <a:lnTo>
                  <a:pt x="14347" y="1118"/>
                </a:lnTo>
                <a:lnTo>
                  <a:pt x="14342" y="1111"/>
                </a:lnTo>
                <a:lnTo>
                  <a:pt x="14336" y="1104"/>
                </a:lnTo>
                <a:lnTo>
                  <a:pt x="14330" y="1098"/>
                </a:lnTo>
                <a:lnTo>
                  <a:pt x="14312" y="1089"/>
                </a:lnTo>
                <a:lnTo>
                  <a:pt x="14292" y="1084"/>
                </a:lnTo>
                <a:lnTo>
                  <a:pt x="14267" y="1081"/>
                </a:lnTo>
                <a:lnTo>
                  <a:pt x="14249" y="1082"/>
                </a:lnTo>
                <a:lnTo>
                  <a:pt x="14233" y="1087"/>
                </a:lnTo>
                <a:lnTo>
                  <a:pt x="14218" y="1093"/>
                </a:lnTo>
                <a:lnTo>
                  <a:pt x="14205" y="1102"/>
                </a:lnTo>
                <a:lnTo>
                  <a:pt x="14194" y="1113"/>
                </a:lnTo>
                <a:lnTo>
                  <a:pt x="14183" y="1126"/>
                </a:lnTo>
                <a:lnTo>
                  <a:pt x="14174" y="1140"/>
                </a:lnTo>
                <a:lnTo>
                  <a:pt x="14167" y="1155"/>
                </a:lnTo>
                <a:lnTo>
                  <a:pt x="14159" y="1173"/>
                </a:lnTo>
                <a:lnTo>
                  <a:pt x="14155" y="1192"/>
                </a:lnTo>
                <a:lnTo>
                  <a:pt x="14152" y="1212"/>
                </a:lnTo>
                <a:lnTo>
                  <a:pt x="14149" y="1231"/>
                </a:lnTo>
                <a:lnTo>
                  <a:pt x="14147" y="1272"/>
                </a:lnTo>
                <a:lnTo>
                  <a:pt x="14147" y="1311"/>
                </a:lnTo>
                <a:lnTo>
                  <a:pt x="14147" y="1547"/>
                </a:lnTo>
                <a:lnTo>
                  <a:pt x="14008" y="1547"/>
                </a:lnTo>
                <a:lnTo>
                  <a:pt x="14008" y="966"/>
                </a:lnTo>
                <a:lnTo>
                  <a:pt x="14126" y="966"/>
                </a:lnTo>
                <a:lnTo>
                  <a:pt x="14135" y="1041"/>
                </a:lnTo>
                <a:lnTo>
                  <a:pt x="14149" y="1019"/>
                </a:lnTo>
                <a:lnTo>
                  <a:pt x="14167" y="1001"/>
                </a:lnTo>
                <a:lnTo>
                  <a:pt x="14186" y="986"/>
                </a:lnTo>
                <a:lnTo>
                  <a:pt x="14208" y="974"/>
                </a:lnTo>
                <a:lnTo>
                  <a:pt x="14231" y="964"/>
                </a:lnTo>
                <a:lnTo>
                  <a:pt x="14256" y="957"/>
                </a:lnTo>
                <a:lnTo>
                  <a:pt x="14281" y="953"/>
                </a:lnTo>
                <a:lnTo>
                  <a:pt x="14306" y="952"/>
                </a:lnTo>
                <a:lnTo>
                  <a:pt x="14329" y="953"/>
                </a:lnTo>
                <a:lnTo>
                  <a:pt x="14349" y="956"/>
                </a:lnTo>
                <a:lnTo>
                  <a:pt x="14370" y="961"/>
                </a:lnTo>
                <a:lnTo>
                  <a:pt x="14388" y="967"/>
                </a:lnTo>
                <a:lnTo>
                  <a:pt x="14406" y="976"/>
                </a:lnTo>
                <a:lnTo>
                  <a:pt x="14422" y="986"/>
                </a:lnTo>
                <a:lnTo>
                  <a:pt x="14437" y="998"/>
                </a:lnTo>
                <a:lnTo>
                  <a:pt x="14450" y="1011"/>
                </a:lnTo>
                <a:lnTo>
                  <a:pt x="14462" y="1025"/>
                </a:lnTo>
                <a:lnTo>
                  <a:pt x="14472" y="1041"/>
                </a:lnTo>
                <a:lnTo>
                  <a:pt x="14482" y="1059"/>
                </a:lnTo>
                <a:lnTo>
                  <a:pt x="14488" y="1076"/>
                </a:lnTo>
                <a:lnTo>
                  <a:pt x="14495" y="1095"/>
                </a:lnTo>
                <a:lnTo>
                  <a:pt x="14498" y="1116"/>
                </a:lnTo>
                <a:lnTo>
                  <a:pt x="14501" y="1138"/>
                </a:lnTo>
                <a:lnTo>
                  <a:pt x="14503" y="1160"/>
                </a:lnTo>
                <a:lnTo>
                  <a:pt x="14503" y="1547"/>
                </a:lnTo>
                <a:lnTo>
                  <a:pt x="14362" y="1547"/>
                </a:lnTo>
                <a:close/>
                <a:moveTo>
                  <a:pt x="13660" y="876"/>
                </a:moveTo>
                <a:lnTo>
                  <a:pt x="13660" y="741"/>
                </a:lnTo>
                <a:lnTo>
                  <a:pt x="13791" y="741"/>
                </a:lnTo>
                <a:lnTo>
                  <a:pt x="13791" y="876"/>
                </a:lnTo>
                <a:lnTo>
                  <a:pt x="13660" y="876"/>
                </a:lnTo>
                <a:close/>
                <a:moveTo>
                  <a:pt x="13430" y="876"/>
                </a:moveTo>
                <a:lnTo>
                  <a:pt x="13430" y="741"/>
                </a:lnTo>
                <a:lnTo>
                  <a:pt x="13561" y="741"/>
                </a:lnTo>
                <a:lnTo>
                  <a:pt x="13561" y="876"/>
                </a:lnTo>
                <a:lnTo>
                  <a:pt x="13430" y="876"/>
                </a:lnTo>
                <a:close/>
                <a:moveTo>
                  <a:pt x="13704" y="1289"/>
                </a:moveTo>
                <a:lnTo>
                  <a:pt x="13556" y="1300"/>
                </a:lnTo>
                <a:lnTo>
                  <a:pt x="13541" y="1302"/>
                </a:lnTo>
                <a:lnTo>
                  <a:pt x="13526" y="1307"/>
                </a:lnTo>
                <a:lnTo>
                  <a:pt x="13512" y="1313"/>
                </a:lnTo>
                <a:lnTo>
                  <a:pt x="13499" y="1322"/>
                </a:lnTo>
                <a:lnTo>
                  <a:pt x="13488" y="1333"/>
                </a:lnTo>
                <a:lnTo>
                  <a:pt x="13480" y="1345"/>
                </a:lnTo>
                <a:lnTo>
                  <a:pt x="13475" y="1360"/>
                </a:lnTo>
                <a:lnTo>
                  <a:pt x="13472" y="1376"/>
                </a:lnTo>
                <a:lnTo>
                  <a:pt x="13475" y="1392"/>
                </a:lnTo>
                <a:lnTo>
                  <a:pt x="13479" y="1407"/>
                </a:lnTo>
                <a:lnTo>
                  <a:pt x="13488" y="1419"/>
                </a:lnTo>
                <a:lnTo>
                  <a:pt x="13497" y="1429"/>
                </a:lnTo>
                <a:lnTo>
                  <a:pt x="13509" y="1438"/>
                </a:lnTo>
                <a:lnTo>
                  <a:pt x="13524" y="1444"/>
                </a:lnTo>
                <a:lnTo>
                  <a:pt x="13539" y="1448"/>
                </a:lnTo>
                <a:lnTo>
                  <a:pt x="13555" y="1449"/>
                </a:lnTo>
                <a:lnTo>
                  <a:pt x="13587" y="1447"/>
                </a:lnTo>
                <a:lnTo>
                  <a:pt x="13601" y="1444"/>
                </a:lnTo>
                <a:lnTo>
                  <a:pt x="13615" y="1440"/>
                </a:lnTo>
                <a:lnTo>
                  <a:pt x="13640" y="1429"/>
                </a:lnTo>
                <a:lnTo>
                  <a:pt x="13652" y="1423"/>
                </a:lnTo>
                <a:lnTo>
                  <a:pt x="13662" y="1414"/>
                </a:lnTo>
                <a:lnTo>
                  <a:pt x="13680" y="1396"/>
                </a:lnTo>
                <a:lnTo>
                  <a:pt x="13687" y="1385"/>
                </a:lnTo>
                <a:lnTo>
                  <a:pt x="13693" y="1373"/>
                </a:lnTo>
                <a:lnTo>
                  <a:pt x="13697" y="1360"/>
                </a:lnTo>
                <a:lnTo>
                  <a:pt x="13701" y="1347"/>
                </a:lnTo>
                <a:lnTo>
                  <a:pt x="13703" y="1332"/>
                </a:lnTo>
                <a:lnTo>
                  <a:pt x="13704" y="1316"/>
                </a:lnTo>
                <a:lnTo>
                  <a:pt x="13704" y="1289"/>
                </a:lnTo>
                <a:close/>
                <a:moveTo>
                  <a:pt x="13820" y="1556"/>
                </a:moveTo>
                <a:lnTo>
                  <a:pt x="13800" y="1555"/>
                </a:lnTo>
                <a:lnTo>
                  <a:pt x="13780" y="1549"/>
                </a:lnTo>
                <a:lnTo>
                  <a:pt x="13765" y="1541"/>
                </a:lnTo>
                <a:lnTo>
                  <a:pt x="13751" y="1532"/>
                </a:lnTo>
                <a:lnTo>
                  <a:pt x="13740" y="1520"/>
                </a:lnTo>
                <a:lnTo>
                  <a:pt x="13731" y="1506"/>
                </a:lnTo>
                <a:lnTo>
                  <a:pt x="13726" y="1490"/>
                </a:lnTo>
                <a:lnTo>
                  <a:pt x="13722" y="1474"/>
                </a:lnTo>
                <a:lnTo>
                  <a:pt x="13710" y="1491"/>
                </a:lnTo>
                <a:lnTo>
                  <a:pt x="13695" y="1508"/>
                </a:lnTo>
                <a:lnTo>
                  <a:pt x="13677" y="1523"/>
                </a:lnTo>
                <a:lnTo>
                  <a:pt x="13655" y="1536"/>
                </a:lnTo>
                <a:lnTo>
                  <a:pt x="13631" y="1547"/>
                </a:lnTo>
                <a:lnTo>
                  <a:pt x="13605" y="1555"/>
                </a:lnTo>
                <a:lnTo>
                  <a:pt x="13577" y="1560"/>
                </a:lnTo>
                <a:lnTo>
                  <a:pt x="13546" y="1561"/>
                </a:lnTo>
                <a:lnTo>
                  <a:pt x="13521" y="1561"/>
                </a:lnTo>
                <a:lnTo>
                  <a:pt x="13497" y="1558"/>
                </a:lnTo>
                <a:lnTo>
                  <a:pt x="13476" y="1553"/>
                </a:lnTo>
                <a:lnTo>
                  <a:pt x="13455" y="1547"/>
                </a:lnTo>
                <a:lnTo>
                  <a:pt x="13437" y="1538"/>
                </a:lnTo>
                <a:lnTo>
                  <a:pt x="13419" y="1530"/>
                </a:lnTo>
                <a:lnTo>
                  <a:pt x="13403" y="1519"/>
                </a:lnTo>
                <a:lnTo>
                  <a:pt x="13390" y="1507"/>
                </a:lnTo>
                <a:lnTo>
                  <a:pt x="13377" y="1493"/>
                </a:lnTo>
                <a:lnTo>
                  <a:pt x="13366" y="1478"/>
                </a:lnTo>
                <a:lnTo>
                  <a:pt x="13357" y="1464"/>
                </a:lnTo>
                <a:lnTo>
                  <a:pt x="13350" y="1448"/>
                </a:lnTo>
                <a:lnTo>
                  <a:pt x="13344" y="1432"/>
                </a:lnTo>
                <a:lnTo>
                  <a:pt x="13340" y="1414"/>
                </a:lnTo>
                <a:lnTo>
                  <a:pt x="13337" y="1379"/>
                </a:lnTo>
                <a:lnTo>
                  <a:pt x="13338" y="1360"/>
                </a:lnTo>
                <a:lnTo>
                  <a:pt x="13340" y="1340"/>
                </a:lnTo>
                <a:lnTo>
                  <a:pt x="13345" y="1323"/>
                </a:lnTo>
                <a:lnTo>
                  <a:pt x="13352" y="1305"/>
                </a:lnTo>
                <a:lnTo>
                  <a:pt x="13359" y="1290"/>
                </a:lnTo>
                <a:lnTo>
                  <a:pt x="13369" y="1275"/>
                </a:lnTo>
                <a:lnTo>
                  <a:pt x="13381" y="1262"/>
                </a:lnTo>
                <a:lnTo>
                  <a:pt x="13393" y="1250"/>
                </a:lnTo>
                <a:lnTo>
                  <a:pt x="13423" y="1229"/>
                </a:lnTo>
                <a:lnTo>
                  <a:pt x="13439" y="1221"/>
                </a:lnTo>
                <a:lnTo>
                  <a:pt x="13455" y="1214"/>
                </a:lnTo>
                <a:lnTo>
                  <a:pt x="13493" y="1203"/>
                </a:lnTo>
                <a:lnTo>
                  <a:pt x="13533" y="1198"/>
                </a:lnTo>
                <a:lnTo>
                  <a:pt x="13704" y="1186"/>
                </a:lnTo>
                <a:lnTo>
                  <a:pt x="13704" y="1150"/>
                </a:lnTo>
                <a:lnTo>
                  <a:pt x="13703" y="1130"/>
                </a:lnTo>
                <a:lnTo>
                  <a:pt x="13700" y="1112"/>
                </a:lnTo>
                <a:lnTo>
                  <a:pt x="13693" y="1097"/>
                </a:lnTo>
                <a:lnTo>
                  <a:pt x="13684" y="1084"/>
                </a:lnTo>
                <a:lnTo>
                  <a:pt x="13678" y="1078"/>
                </a:lnTo>
                <a:lnTo>
                  <a:pt x="13671" y="1073"/>
                </a:lnTo>
                <a:lnTo>
                  <a:pt x="13654" y="1065"/>
                </a:lnTo>
                <a:lnTo>
                  <a:pt x="13632" y="1060"/>
                </a:lnTo>
                <a:lnTo>
                  <a:pt x="13605" y="1059"/>
                </a:lnTo>
                <a:lnTo>
                  <a:pt x="13582" y="1060"/>
                </a:lnTo>
                <a:lnTo>
                  <a:pt x="13562" y="1063"/>
                </a:lnTo>
                <a:lnTo>
                  <a:pt x="13544" y="1070"/>
                </a:lnTo>
                <a:lnTo>
                  <a:pt x="13529" y="1079"/>
                </a:lnTo>
                <a:lnTo>
                  <a:pt x="13517" y="1091"/>
                </a:lnTo>
                <a:lnTo>
                  <a:pt x="13508" y="1105"/>
                </a:lnTo>
                <a:lnTo>
                  <a:pt x="13502" y="1122"/>
                </a:lnTo>
                <a:lnTo>
                  <a:pt x="13500" y="1140"/>
                </a:lnTo>
                <a:lnTo>
                  <a:pt x="13365" y="1140"/>
                </a:lnTo>
                <a:lnTo>
                  <a:pt x="13367" y="1117"/>
                </a:lnTo>
                <a:lnTo>
                  <a:pt x="13371" y="1095"/>
                </a:lnTo>
                <a:lnTo>
                  <a:pt x="13378" y="1075"/>
                </a:lnTo>
                <a:lnTo>
                  <a:pt x="13387" y="1056"/>
                </a:lnTo>
                <a:lnTo>
                  <a:pt x="13398" y="1039"/>
                </a:lnTo>
                <a:lnTo>
                  <a:pt x="13409" y="1024"/>
                </a:lnTo>
                <a:lnTo>
                  <a:pt x="13424" y="1010"/>
                </a:lnTo>
                <a:lnTo>
                  <a:pt x="13439" y="998"/>
                </a:lnTo>
                <a:lnTo>
                  <a:pt x="13456" y="987"/>
                </a:lnTo>
                <a:lnTo>
                  <a:pt x="13475" y="977"/>
                </a:lnTo>
                <a:lnTo>
                  <a:pt x="13494" y="969"/>
                </a:lnTo>
                <a:lnTo>
                  <a:pt x="13514" y="963"/>
                </a:lnTo>
                <a:lnTo>
                  <a:pt x="13558" y="955"/>
                </a:lnTo>
                <a:lnTo>
                  <a:pt x="13605" y="952"/>
                </a:lnTo>
                <a:lnTo>
                  <a:pt x="13642" y="953"/>
                </a:lnTo>
                <a:lnTo>
                  <a:pt x="13677" y="958"/>
                </a:lnTo>
                <a:lnTo>
                  <a:pt x="13693" y="962"/>
                </a:lnTo>
                <a:lnTo>
                  <a:pt x="13709" y="966"/>
                </a:lnTo>
                <a:lnTo>
                  <a:pt x="13739" y="978"/>
                </a:lnTo>
                <a:lnTo>
                  <a:pt x="13753" y="986"/>
                </a:lnTo>
                <a:lnTo>
                  <a:pt x="13766" y="994"/>
                </a:lnTo>
                <a:lnTo>
                  <a:pt x="13778" y="1004"/>
                </a:lnTo>
                <a:lnTo>
                  <a:pt x="13789" y="1015"/>
                </a:lnTo>
                <a:lnTo>
                  <a:pt x="13798" y="1027"/>
                </a:lnTo>
                <a:lnTo>
                  <a:pt x="13808" y="1040"/>
                </a:lnTo>
                <a:lnTo>
                  <a:pt x="13822" y="1070"/>
                </a:lnTo>
                <a:lnTo>
                  <a:pt x="13831" y="1099"/>
                </a:lnTo>
                <a:lnTo>
                  <a:pt x="13836" y="1128"/>
                </a:lnTo>
                <a:lnTo>
                  <a:pt x="13840" y="1188"/>
                </a:lnTo>
                <a:lnTo>
                  <a:pt x="13840" y="1403"/>
                </a:lnTo>
                <a:lnTo>
                  <a:pt x="13841" y="1420"/>
                </a:lnTo>
                <a:lnTo>
                  <a:pt x="13847" y="1432"/>
                </a:lnTo>
                <a:lnTo>
                  <a:pt x="13852" y="1435"/>
                </a:lnTo>
                <a:lnTo>
                  <a:pt x="13857" y="1438"/>
                </a:lnTo>
                <a:lnTo>
                  <a:pt x="13872" y="1440"/>
                </a:lnTo>
                <a:lnTo>
                  <a:pt x="13890" y="1438"/>
                </a:lnTo>
                <a:lnTo>
                  <a:pt x="13890" y="1540"/>
                </a:lnTo>
                <a:lnTo>
                  <a:pt x="13859" y="1552"/>
                </a:lnTo>
                <a:lnTo>
                  <a:pt x="13842" y="1555"/>
                </a:lnTo>
                <a:lnTo>
                  <a:pt x="13820" y="1556"/>
                </a:lnTo>
                <a:close/>
                <a:moveTo>
                  <a:pt x="13081" y="1547"/>
                </a:moveTo>
                <a:lnTo>
                  <a:pt x="13081" y="1187"/>
                </a:lnTo>
                <a:lnTo>
                  <a:pt x="13080" y="1161"/>
                </a:lnTo>
                <a:lnTo>
                  <a:pt x="13077" y="1139"/>
                </a:lnTo>
                <a:lnTo>
                  <a:pt x="13072" y="1119"/>
                </a:lnTo>
                <a:lnTo>
                  <a:pt x="13063" y="1103"/>
                </a:lnTo>
                <a:lnTo>
                  <a:pt x="13051" y="1090"/>
                </a:lnTo>
                <a:lnTo>
                  <a:pt x="13036" y="1081"/>
                </a:lnTo>
                <a:lnTo>
                  <a:pt x="13016" y="1076"/>
                </a:lnTo>
                <a:lnTo>
                  <a:pt x="12992" y="1074"/>
                </a:lnTo>
                <a:lnTo>
                  <a:pt x="12978" y="1075"/>
                </a:lnTo>
                <a:lnTo>
                  <a:pt x="12965" y="1077"/>
                </a:lnTo>
                <a:lnTo>
                  <a:pt x="12952" y="1081"/>
                </a:lnTo>
                <a:lnTo>
                  <a:pt x="12941" y="1088"/>
                </a:lnTo>
                <a:lnTo>
                  <a:pt x="12930" y="1095"/>
                </a:lnTo>
                <a:lnTo>
                  <a:pt x="12922" y="1104"/>
                </a:lnTo>
                <a:lnTo>
                  <a:pt x="12905" y="1125"/>
                </a:lnTo>
                <a:lnTo>
                  <a:pt x="12893" y="1149"/>
                </a:lnTo>
                <a:lnTo>
                  <a:pt x="12885" y="1175"/>
                </a:lnTo>
                <a:lnTo>
                  <a:pt x="12880" y="1202"/>
                </a:lnTo>
                <a:lnTo>
                  <a:pt x="12878" y="1230"/>
                </a:lnTo>
                <a:lnTo>
                  <a:pt x="12878" y="1547"/>
                </a:lnTo>
                <a:lnTo>
                  <a:pt x="12740" y="1547"/>
                </a:lnTo>
                <a:lnTo>
                  <a:pt x="12740" y="1187"/>
                </a:lnTo>
                <a:lnTo>
                  <a:pt x="12739" y="1161"/>
                </a:lnTo>
                <a:lnTo>
                  <a:pt x="12736" y="1139"/>
                </a:lnTo>
                <a:lnTo>
                  <a:pt x="12730" y="1119"/>
                </a:lnTo>
                <a:lnTo>
                  <a:pt x="12722" y="1103"/>
                </a:lnTo>
                <a:lnTo>
                  <a:pt x="12710" y="1090"/>
                </a:lnTo>
                <a:lnTo>
                  <a:pt x="12695" y="1081"/>
                </a:lnTo>
                <a:lnTo>
                  <a:pt x="12675" y="1076"/>
                </a:lnTo>
                <a:lnTo>
                  <a:pt x="12651" y="1074"/>
                </a:lnTo>
                <a:lnTo>
                  <a:pt x="12637" y="1075"/>
                </a:lnTo>
                <a:lnTo>
                  <a:pt x="12623" y="1077"/>
                </a:lnTo>
                <a:lnTo>
                  <a:pt x="12611" y="1081"/>
                </a:lnTo>
                <a:lnTo>
                  <a:pt x="12600" y="1088"/>
                </a:lnTo>
                <a:lnTo>
                  <a:pt x="12589" y="1095"/>
                </a:lnTo>
                <a:lnTo>
                  <a:pt x="12579" y="1104"/>
                </a:lnTo>
                <a:lnTo>
                  <a:pt x="12564" y="1125"/>
                </a:lnTo>
                <a:lnTo>
                  <a:pt x="12551" y="1149"/>
                </a:lnTo>
                <a:lnTo>
                  <a:pt x="12542" y="1175"/>
                </a:lnTo>
                <a:lnTo>
                  <a:pt x="12538" y="1202"/>
                </a:lnTo>
                <a:lnTo>
                  <a:pt x="12536" y="1230"/>
                </a:lnTo>
                <a:lnTo>
                  <a:pt x="12536" y="1547"/>
                </a:lnTo>
                <a:lnTo>
                  <a:pt x="12398" y="1547"/>
                </a:lnTo>
                <a:lnTo>
                  <a:pt x="12398" y="966"/>
                </a:lnTo>
                <a:lnTo>
                  <a:pt x="12514" y="966"/>
                </a:lnTo>
                <a:lnTo>
                  <a:pt x="12525" y="1043"/>
                </a:lnTo>
                <a:lnTo>
                  <a:pt x="12538" y="1024"/>
                </a:lnTo>
                <a:lnTo>
                  <a:pt x="12553" y="1006"/>
                </a:lnTo>
                <a:lnTo>
                  <a:pt x="12571" y="991"/>
                </a:lnTo>
                <a:lnTo>
                  <a:pt x="12590" y="978"/>
                </a:lnTo>
                <a:lnTo>
                  <a:pt x="12612" y="967"/>
                </a:lnTo>
                <a:lnTo>
                  <a:pt x="12636" y="958"/>
                </a:lnTo>
                <a:lnTo>
                  <a:pt x="12662" y="954"/>
                </a:lnTo>
                <a:lnTo>
                  <a:pt x="12690" y="952"/>
                </a:lnTo>
                <a:lnTo>
                  <a:pt x="12719" y="954"/>
                </a:lnTo>
                <a:lnTo>
                  <a:pt x="12747" y="958"/>
                </a:lnTo>
                <a:lnTo>
                  <a:pt x="12771" y="966"/>
                </a:lnTo>
                <a:lnTo>
                  <a:pt x="12792" y="977"/>
                </a:lnTo>
                <a:lnTo>
                  <a:pt x="12812" y="991"/>
                </a:lnTo>
                <a:lnTo>
                  <a:pt x="12829" y="1007"/>
                </a:lnTo>
                <a:lnTo>
                  <a:pt x="12844" y="1026"/>
                </a:lnTo>
                <a:lnTo>
                  <a:pt x="12856" y="1047"/>
                </a:lnTo>
                <a:lnTo>
                  <a:pt x="12871" y="1026"/>
                </a:lnTo>
                <a:lnTo>
                  <a:pt x="12887" y="1006"/>
                </a:lnTo>
                <a:lnTo>
                  <a:pt x="12906" y="990"/>
                </a:lnTo>
                <a:lnTo>
                  <a:pt x="12916" y="983"/>
                </a:lnTo>
                <a:lnTo>
                  <a:pt x="12927" y="977"/>
                </a:lnTo>
                <a:lnTo>
                  <a:pt x="12951" y="966"/>
                </a:lnTo>
                <a:lnTo>
                  <a:pt x="12976" y="958"/>
                </a:lnTo>
                <a:lnTo>
                  <a:pt x="13003" y="953"/>
                </a:lnTo>
                <a:lnTo>
                  <a:pt x="13031" y="952"/>
                </a:lnTo>
                <a:lnTo>
                  <a:pt x="13054" y="953"/>
                </a:lnTo>
                <a:lnTo>
                  <a:pt x="13075" y="955"/>
                </a:lnTo>
                <a:lnTo>
                  <a:pt x="13094" y="961"/>
                </a:lnTo>
                <a:lnTo>
                  <a:pt x="13113" y="967"/>
                </a:lnTo>
                <a:lnTo>
                  <a:pt x="13130" y="975"/>
                </a:lnTo>
                <a:lnTo>
                  <a:pt x="13145" y="985"/>
                </a:lnTo>
                <a:lnTo>
                  <a:pt x="13160" y="995"/>
                </a:lnTo>
                <a:lnTo>
                  <a:pt x="13172" y="1008"/>
                </a:lnTo>
                <a:lnTo>
                  <a:pt x="13183" y="1023"/>
                </a:lnTo>
                <a:lnTo>
                  <a:pt x="13193" y="1038"/>
                </a:lnTo>
                <a:lnTo>
                  <a:pt x="13207" y="1073"/>
                </a:lnTo>
                <a:lnTo>
                  <a:pt x="13213" y="1091"/>
                </a:lnTo>
                <a:lnTo>
                  <a:pt x="13215" y="1102"/>
                </a:lnTo>
                <a:lnTo>
                  <a:pt x="13217" y="1112"/>
                </a:lnTo>
                <a:lnTo>
                  <a:pt x="13219" y="1132"/>
                </a:lnTo>
                <a:lnTo>
                  <a:pt x="13219" y="1155"/>
                </a:lnTo>
                <a:lnTo>
                  <a:pt x="13219" y="1547"/>
                </a:lnTo>
                <a:lnTo>
                  <a:pt x="13081" y="1547"/>
                </a:lnTo>
                <a:close/>
                <a:moveTo>
                  <a:pt x="12050" y="876"/>
                </a:moveTo>
                <a:lnTo>
                  <a:pt x="12050" y="741"/>
                </a:lnTo>
                <a:lnTo>
                  <a:pt x="12181" y="741"/>
                </a:lnTo>
                <a:lnTo>
                  <a:pt x="12181" y="876"/>
                </a:lnTo>
                <a:lnTo>
                  <a:pt x="12050" y="876"/>
                </a:lnTo>
                <a:close/>
                <a:moveTo>
                  <a:pt x="11820" y="876"/>
                </a:moveTo>
                <a:lnTo>
                  <a:pt x="11820" y="741"/>
                </a:lnTo>
                <a:lnTo>
                  <a:pt x="11950" y="741"/>
                </a:lnTo>
                <a:lnTo>
                  <a:pt x="11950" y="876"/>
                </a:lnTo>
                <a:lnTo>
                  <a:pt x="11820" y="876"/>
                </a:lnTo>
                <a:close/>
                <a:moveTo>
                  <a:pt x="12094" y="1289"/>
                </a:moveTo>
                <a:lnTo>
                  <a:pt x="11946" y="1300"/>
                </a:lnTo>
                <a:lnTo>
                  <a:pt x="11931" y="1302"/>
                </a:lnTo>
                <a:lnTo>
                  <a:pt x="11915" y="1307"/>
                </a:lnTo>
                <a:lnTo>
                  <a:pt x="11901" y="1313"/>
                </a:lnTo>
                <a:lnTo>
                  <a:pt x="11888" y="1322"/>
                </a:lnTo>
                <a:lnTo>
                  <a:pt x="11877" y="1333"/>
                </a:lnTo>
                <a:lnTo>
                  <a:pt x="11870" y="1345"/>
                </a:lnTo>
                <a:lnTo>
                  <a:pt x="11864" y="1360"/>
                </a:lnTo>
                <a:lnTo>
                  <a:pt x="11862" y="1376"/>
                </a:lnTo>
                <a:lnTo>
                  <a:pt x="11864" y="1392"/>
                </a:lnTo>
                <a:lnTo>
                  <a:pt x="11869" y="1407"/>
                </a:lnTo>
                <a:lnTo>
                  <a:pt x="11877" y="1419"/>
                </a:lnTo>
                <a:lnTo>
                  <a:pt x="11887" y="1429"/>
                </a:lnTo>
                <a:lnTo>
                  <a:pt x="11900" y="1438"/>
                </a:lnTo>
                <a:lnTo>
                  <a:pt x="11913" y="1444"/>
                </a:lnTo>
                <a:lnTo>
                  <a:pt x="11928" y="1448"/>
                </a:lnTo>
                <a:lnTo>
                  <a:pt x="11945" y="1449"/>
                </a:lnTo>
                <a:lnTo>
                  <a:pt x="11976" y="1447"/>
                </a:lnTo>
                <a:lnTo>
                  <a:pt x="11990" y="1444"/>
                </a:lnTo>
                <a:lnTo>
                  <a:pt x="12005" y="1440"/>
                </a:lnTo>
                <a:lnTo>
                  <a:pt x="12031" y="1429"/>
                </a:lnTo>
                <a:lnTo>
                  <a:pt x="12041" y="1423"/>
                </a:lnTo>
                <a:lnTo>
                  <a:pt x="12051" y="1414"/>
                </a:lnTo>
                <a:lnTo>
                  <a:pt x="12070" y="1396"/>
                </a:lnTo>
                <a:lnTo>
                  <a:pt x="12076" y="1385"/>
                </a:lnTo>
                <a:lnTo>
                  <a:pt x="12083" y="1373"/>
                </a:lnTo>
                <a:lnTo>
                  <a:pt x="12087" y="1360"/>
                </a:lnTo>
                <a:lnTo>
                  <a:pt x="12090" y="1347"/>
                </a:lnTo>
                <a:lnTo>
                  <a:pt x="12093" y="1332"/>
                </a:lnTo>
                <a:lnTo>
                  <a:pt x="12094" y="1316"/>
                </a:lnTo>
                <a:lnTo>
                  <a:pt x="12094" y="1289"/>
                </a:lnTo>
                <a:close/>
                <a:moveTo>
                  <a:pt x="12210" y="1556"/>
                </a:moveTo>
                <a:lnTo>
                  <a:pt x="12189" y="1555"/>
                </a:lnTo>
                <a:lnTo>
                  <a:pt x="12171" y="1549"/>
                </a:lnTo>
                <a:lnTo>
                  <a:pt x="12154" y="1541"/>
                </a:lnTo>
                <a:lnTo>
                  <a:pt x="12140" y="1532"/>
                </a:lnTo>
                <a:lnTo>
                  <a:pt x="12129" y="1520"/>
                </a:lnTo>
                <a:lnTo>
                  <a:pt x="12121" y="1506"/>
                </a:lnTo>
                <a:lnTo>
                  <a:pt x="12115" y="1490"/>
                </a:lnTo>
                <a:lnTo>
                  <a:pt x="12112" y="1474"/>
                </a:lnTo>
                <a:lnTo>
                  <a:pt x="12100" y="1491"/>
                </a:lnTo>
                <a:lnTo>
                  <a:pt x="12085" y="1508"/>
                </a:lnTo>
                <a:lnTo>
                  <a:pt x="12066" y="1523"/>
                </a:lnTo>
                <a:lnTo>
                  <a:pt x="12045" y="1536"/>
                </a:lnTo>
                <a:lnTo>
                  <a:pt x="12021" y="1547"/>
                </a:lnTo>
                <a:lnTo>
                  <a:pt x="11995" y="1555"/>
                </a:lnTo>
                <a:lnTo>
                  <a:pt x="11966" y="1560"/>
                </a:lnTo>
                <a:lnTo>
                  <a:pt x="11936" y="1561"/>
                </a:lnTo>
                <a:lnTo>
                  <a:pt x="11911" y="1561"/>
                </a:lnTo>
                <a:lnTo>
                  <a:pt x="11887" y="1558"/>
                </a:lnTo>
                <a:lnTo>
                  <a:pt x="11865" y="1553"/>
                </a:lnTo>
                <a:lnTo>
                  <a:pt x="11845" y="1547"/>
                </a:lnTo>
                <a:lnTo>
                  <a:pt x="11826" y="1538"/>
                </a:lnTo>
                <a:lnTo>
                  <a:pt x="11809" y="1530"/>
                </a:lnTo>
                <a:lnTo>
                  <a:pt x="11794" y="1519"/>
                </a:lnTo>
                <a:lnTo>
                  <a:pt x="11780" y="1507"/>
                </a:lnTo>
                <a:lnTo>
                  <a:pt x="11767" y="1493"/>
                </a:lnTo>
                <a:lnTo>
                  <a:pt x="11756" y="1478"/>
                </a:lnTo>
                <a:lnTo>
                  <a:pt x="11747" y="1464"/>
                </a:lnTo>
                <a:lnTo>
                  <a:pt x="11739" y="1448"/>
                </a:lnTo>
                <a:lnTo>
                  <a:pt x="11734" y="1432"/>
                </a:lnTo>
                <a:lnTo>
                  <a:pt x="11730" y="1414"/>
                </a:lnTo>
                <a:lnTo>
                  <a:pt x="11726" y="1379"/>
                </a:lnTo>
                <a:lnTo>
                  <a:pt x="11727" y="1360"/>
                </a:lnTo>
                <a:lnTo>
                  <a:pt x="11731" y="1340"/>
                </a:lnTo>
                <a:lnTo>
                  <a:pt x="11735" y="1323"/>
                </a:lnTo>
                <a:lnTo>
                  <a:pt x="11742" y="1305"/>
                </a:lnTo>
                <a:lnTo>
                  <a:pt x="11749" y="1290"/>
                </a:lnTo>
                <a:lnTo>
                  <a:pt x="11759" y="1275"/>
                </a:lnTo>
                <a:lnTo>
                  <a:pt x="11771" y="1262"/>
                </a:lnTo>
                <a:lnTo>
                  <a:pt x="11783" y="1250"/>
                </a:lnTo>
                <a:lnTo>
                  <a:pt x="11812" y="1229"/>
                </a:lnTo>
                <a:lnTo>
                  <a:pt x="11828" y="1221"/>
                </a:lnTo>
                <a:lnTo>
                  <a:pt x="11846" y="1214"/>
                </a:lnTo>
                <a:lnTo>
                  <a:pt x="11883" y="1203"/>
                </a:lnTo>
                <a:lnTo>
                  <a:pt x="11923" y="1198"/>
                </a:lnTo>
                <a:lnTo>
                  <a:pt x="12094" y="1186"/>
                </a:lnTo>
                <a:lnTo>
                  <a:pt x="12094" y="1150"/>
                </a:lnTo>
                <a:lnTo>
                  <a:pt x="12093" y="1130"/>
                </a:lnTo>
                <a:lnTo>
                  <a:pt x="12089" y="1112"/>
                </a:lnTo>
                <a:lnTo>
                  <a:pt x="12083" y="1097"/>
                </a:lnTo>
                <a:lnTo>
                  <a:pt x="12074" y="1084"/>
                </a:lnTo>
                <a:lnTo>
                  <a:pt x="12068" y="1078"/>
                </a:lnTo>
                <a:lnTo>
                  <a:pt x="12061" y="1073"/>
                </a:lnTo>
                <a:lnTo>
                  <a:pt x="12044" y="1065"/>
                </a:lnTo>
                <a:lnTo>
                  <a:pt x="12022" y="1060"/>
                </a:lnTo>
                <a:lnTo>
                  <a:pt x="11995" y="1059"/>
                </a:lnTo>
                <a:lnTo>
                  <a:pt x="11972" y="1060"/>
                </a:lnTo>
                <a:lnTo>
                  <a:pt x="11951" y="1063"/>
                </a:lnTo>
                <a:lnTo>
                  <a:pt x="11934" y="1070"/>
                </a:lnTo>
                <a:lnTo>
                  <a:pt x="11919" y="1079"/>
                </a:lnTo>
                <a:lnTo>
                  <a:pt x="11907" y="1091"/>
                </a:lnTo>
                <a:lnTo>
                  <a:pt x="11898" y="1105"/>
                </a:lnTo>
                <a:lnTo>
                  <a:pt x="11892" y="1122"/>
                </a:lnTo>
                <a:lnTo>
                  <a:pt x="11889" y="1140"/>
                </a:lnTo>
                <a:lnTo>
                  <a:pt x="11755" y="1140"/>
                </a:lnTo>
                <a:lnTo>
                  <a:pt x="11757" y="1117"/>
                </a:lnTo>
                <a:lnTo>
                  <a:pt x="11761" y="1095"/>
                </a:lnTo>
                <a:lnTo>
                  <a:pt x="11769" y="1075"/>
                </a:lnTo>
                <a:lnTo>
                  <a:pt x="11777" y="1056"/>
                </a:lnTo>
                <a:lnTo>
                  <a:pt x="11787" y="1039"/>
                </a:lnTo>
                <a:lnTo>
                  <a:pt x="11800" y="1024"/>
                </a:lnTo>
                <a:lnTo>
                  <a:pt x="11813" y="1010"/>
                </a:lnTo>
                <a:lnTo>
                  <a:pt x="11830" y="998"/>
                </a:lnTo>
                <a:lnTo>
                  <a:pt x="11846" y="987"/>
                </a:lnTo>
                <a:lnTo>
                  <a:pt x="11864" y="977"/>
                </a:lnTo>
                <a:lnTo>
                  <a:pt x="11884" y="969"/>
                </a:lnTo>
                <a:lnTo>
                  <a:pt x="11903" y="963"/>
                </a:lnTo>
                <a:lnTo>
                  <a:pt x="11948" y="955"/>
                </a:lnTo>
                <a:lnTo>
                  <a:pt x="11995" y="952"/>
                </a:lnTo>
                <a:lnTo>
                  <a:pt x="12032" y="953"/>
                </a:lnTo>
                <a:lnTo>
                  <a:pt x="12066" y="958"/>
                </a:lnTo>
                <a:lnTo>
                  <a:pt x="12083" y="962"/>
                </a:lnTo>
                <a:lnTo>
                  <a:pt x="12099" y="966"/>
                </a:lnTo>
                <a:lnTo>
                  <a:pt x="12128" y="978"/>
                </a:lnTo>
                <a:lnTo>
                  <a:pt x="12143" y="986"/>
                </a:lnTo>
                <a:lnTo>
                  <a:pt x="12156" y="994"/>
                </a:lnTo>
                <a:lnTo>
                  <a:pt x="12168" y="1004"/>
                </a:lnTo>
                <a:lnTo>
                  <a:pt x="12178" y="1015"/>
                </a:lnTo>
                <a:lnTo>
                  <a:pt x="12188" y="1027"/>
                </a:lnTo>
                <a:lnTo>
                  <a:pt x="12198" y="1040"/>
                </a:lnTo>
                <a:lnTo>
                  <a:pt x="12213" y="1070"/>
                </a:lnTo>
                <a:lnTo>
                  <a:pt x="12222" y="1099"/>
                </a:lnTo>
                <a:lnTo>
                  <a:pt x="12226" y="1128"/>
                </a:lnTo>
                <a:lnTo>
                  <a:pt x="12229" y="1188"/>
                </a:lnTo>
                <a:lnTo>
                  <a:pt x="12229" y="1403"/>
                </a:lnTo>
                <a:lnTo>
                  <a:pt x="12232" y="1420"/>
                </a:lnTo>
                <a:lnTo>
                  <a:pt x="12237" y="1432"/>
                </a:lnTo>
                <a:lnTo>
                  <a:pt x="12241" y="1435"/>
                </a:lnTo>
                <a:lnTo>
                  <a:pt x="12247" y="1438"/>
                </a:lnTo>
                <a:lnTo>
                  <a:pt x="12262" y="1440"/>
                </a:lnTo>
                <a:lnTo>
                  <a:pt x="12279" y="1438"/>
                </a:lnTo>
                <a:lnTo>
                  <a:pt x="12279" y="1540"/>
                </a:lnTo>
                <a:lnTo>
                  <a:pt x="12249" y="1552"/>
                </a:lnTo>
                <a:lnTo>
                  <a:pt x="12232" y="1555"/>
                </a:lnTo>
                <a:lnTo>
                  <a:pt x="12210" y="1556"/>
                </a:lnTo>
                <a:close/>
                <a:moveTo>
                  <a:pt x="11596" y="1553"/>
                </a:moveTo>
                <a:lnTo>
                  <a:pt x="11562" y="1551"/>
                </a:lnTo>
                <a:lnTo>
                  <a:pt x="11546" y="1549"/>
                </a:lnTo>
                <a:lnTo>
                  <a:pt x="11531" y="1545"/>
                </a:lnTo>
                <a:lnTo>
                  <a:pt x="11517" y="1539"/>
                </a:lnTo>
                <a:lnTo>
                  <a:pt x="11504" y="1534"/>
                </a:lnTo>
                <a:lnTo>
                  <a:pt x="11492" y="1526"/>
                </a:lnTo>
                <a:lnTo>
                  <a:pt x="11481" y="1518"/>
                </a:lnTo>
                <a:lnTo>
                  <a:pt x="11471" y="1507"/>
                </a:lnTo>
                <a:lnTo>
                  <a:pt x="11462" y="1496"/>
                </a:lnTo>
                <a:lnTo>
                  <a:pt x="11455" y="1483"/>
                </a:lnTo>
                <a:lnTo>
                  <a:pt x="11449" y="1469"/>
                </a:lnTo>
                <a:lnTo>
                  <a:pt x="11441" y="1436"/>
                </a:lnTo>
                <a:lnTo>
                  <a:pt x="11438" y="1417"/>
                </a:lnTo>
                <a:lnTo>
                  <a:pt x="11437" y="1398"/>
                </a:lnTo>
                <a:lnTo>
                  <a:pt x="11437" y="740"/>
                </a:lnTo>
                <a:lnTo>
                  <a:pt x="11577" y="740"/>
                </a:lnTo>
                <a:lnTo>
                  <a:pt x="11577" y="1374"/>
                </a:lnTo>
                <a:lnTo>
                  <a:pt x="11579" y="1386"/>
                </a:lnTo>
                <a:lnTo>
                  <a:pt x="11580" y="1397"/>
                </a:lnTo>
                <a:lnTo>
                  <a:pt x="11583" y="1407"/>
                </a:lnTo>
                <a:lnTo>
                  <a:pt x="11588" y="1414"/>
                </a:lnTo>
                <a:lnTo>
                  <a:pt x="11595" y="1421"/>
                </a:lnTo>
                <a:lnTo>
                  <a:pt x="11605" y="1426"/>
                </a:lnTo>
                <a:lnTo>
                  <a:pt x="11618" y="1428"/>
                </a:lnTo>
                <a:lnTo>
                  <a:pt x="11634" y="1429"/>
                </a:lnTo>
                <a:lnTo>
                  <a:pt x="11657" y="1428"/>
                </a:lnTo>
                <a:lnTo>
                  <a:pt x="11657" y="1546"/>
                </a:lnTo>
                <a:lnTo>
                  <a:pt x="11626" y="1552"/>
                </a:lnTo>
                <a:lnTo>
                  <a:pt x="11596" y="1553"/>
                </a:lnTo>
                <a:close/>
                <a:moveTo>
                  <a:pt x="11139" y="1097"/>
                </a:moveTo>
                <a:lnTo>
                  <a:pt x="11131" y="1090"/>
                </a:lnTo>
                <a:lnTo>
                  <a:pt x="11122" y="1084"/>
                </a:lnTo>
                <a:lnTo>
                  <a:pt x="11103" y="1073"/>
                </a:lnTo>
                <a:lnTo>
                  <a:pt x="11091" y="1069"/>
                </a:lnTo>
                <a:lnTo>
                  <a:pt x="11079" y="1066"/>
                </a:lnTo>
                <a:lnTo>
                  <a:pt x="11051" y="1064"/>
                </a:lnTo>
                <a:lnTo>
                  <a:pt x="11020" y="1067"/>
                </a:lnTo>
                <a:lnTo>
                  <a:pt x="10994" y="1076"/>
                </a:lnTo>
                <a:lnTo>
                  <a:pt x="10971" y="1090"/>
                </a:lnTo>
                <a:lnTo>
                  <a:pt x="10961" y="1099"/>
                </a:lnTo>
                <a:lnTo>
                  <a:pt x="10954" y="1109"/>
                </a:lnTo>
                <a:lnTo>
                  <a:pt x="10941" y="1128"/>
                </a:lnTo>
                <a:lnTo>
                  <a:pt x="10931" y="1149"/>
                </a:lnTo>
                <a:lnTo>
                  <a:pt x="10926" y="1172"/>
                </a:lnTo>
                <a:lnTo>
                  <a:pt x="10923" y="1199"/>
                </a:lnTo>
                <a:lnTo>
                  <a:pt x="11174" y="1199"/>
                </a:lnTo>
                <a:lnTo>
                  <a:pt x="11173" y="1183"/>
                </a:lnTo>
                <a:lnTo>
                  <a:pt x="11171" y="1168"/>
                </a:lnTo>
                <a:lnTo>
                  <a:pt x="11165" y="1141"/>
                </a:lnTo>
                <a:lnTo>
                  <a:pt x="11154" y="1117"/>
                </a:lnTo>
                <a:lnTo>
                  <a:pt x="11146" y="1106"/>
                </a:lnTo>
                <a:lnTo>
                  <a:pt x="11139" y="1097"/>
                </a:lnTo>
                <a:close/>
                <a:moveTo>
                  <a:pt x="11312" y="1300"/>
                </a:moveTo>
                <a:lnTo>
                  <a:pt x="10924" y="1300"/>
                </a:lnTo>
                <a:lnTo>
                  <a:pt x="10924" y="1317"/>
                </a:lnTo>
                <a:lnTo>
                  <a:pt x="10927" y="1333"/>
                </a:lnTo>
                <a:lnTo>
                  <a:pt x="10935" y="1364"/>
                </a:lnTo>
                <a:lnTo>
                  <a:pt x="10941" y="1378"/>
                </a:lnTo>
                <a:lnTo>
                  <a:pt x="10948" y="1391"/>
                </a:lnTo>
                <a:lnTo>
                  <a:pt x="10957" y="1403"/>
                </a:lnTo>
                <a:lnTo>
                  <a:pt x="10967" y="1414"/>
                </a:lnTo>
                <a:lnTo>
                  <a:pt x="10983" y="1427"/>
                </a:lnTo>
                <a:lnTo>
                  <a:pt x="11003" y="1439"/>
                </a:lnTo>
                <a:lnTo>
                  <a:pt x="11027" y="1447"/>
                </a:lnTo>
                <a:lnTo>
                  <a:pt x="11053" y="1450"/>
                </a:lnTo>
                <a:lnTo>
                  <a:pt x="11080" y="1448"/>
                </a:lnTo>
                <a:lnTo>
                  <a:pt x="11103" y="1444"/>
                </a:lnTo>
                <a:lnTo>
                  <a:pt x="11121" y="1435"/>
                </a:lnTo>
                <a:lnTo>
                  <a:pt x="11137" y="1422"/>
                </a:lnTo>
                <a:lnTo>
                  <a:pt x="11146" y="1412"/>
                </a:lnTo>
                <a:lnTo>
                  <a:pt x="11154" y="1401"/>
                </a:lnTo>
                <a:lnTo>
                  <a:pt x="11160" y="1388"/>
                </a:lnTo>
                <a:lnTo>
                  <a:pt x="11166" y="1373"/>
                </a:lnTo>
                <a:lnTo>
                  <a:pt x="11299" y="1373"/>
                </a:lnTo>
                <a:lnTo>
                  <a:pt x="11293" y="1400"/>
                </a:lnTo>
                <a:lnTo>
                  <a:pt x="11288" y="1415"/>
                </a:lnTo>
                <a:lnTo>
                  <a:pt x="11282" y="1429"/>
                </a:lnTo>
                <a:lnTo>
                  <a:pt x="11267" y="1457"/>
                </a:lnTo>
                <a:lnTo>
                  <a:pt x="11250" y="1481"/>
                </a:lnTo>
                <a:lnTo>
                  <a:pt x="11231" y="1500"/>
                </a:lnTo>
                <a:lnTo>
                  <a:pt x="11209" y="1518"/>
                </a:lnTo>
                <a:lnTo>
                  <a:pt x="11186" y="1532"/>
                </a:lnTo>
                <a:lnTo>
                  <a:pt x="11161" y="1543"/>
                </a:lnTo>
                <a:lnTo>
                  <a:pt x="11136" y="1551"/>
                </a:lnTo>
                <a:lnTo>
                  <a:pt x="11109" y="1557"/>
                </a:lnTo>
                <a:lnTo>
                  <a:pt x="11082" y="1560"/>
                </a:lnTo>
                <a:lnTo>
                  <a:pt x="11055" y="1561"/>
                </a:lnTo>
                <a:lnTo>
                  <a:pt x="11027" y="1560"/>
                </a:lnTo>
                <a:lnTo>
                  <a:pt x="10999" y="1557"/>
                </a:lnTo>
                <a:lnTo>
                  <a:pt x="10986" y="1553"/>
                </a:lnTo>
                <a:lnTo>
                  <a:pt x="10974" y="1550"/>
                </a:lnTo>
                <a:lnTo>
                  <a:pt x="10951" y="1543"/>
                </a:lnTo>
                <a:lnTo>
                  <a:pt x="10929" y="1532"/>
                </a:lnTo>
                <a:lnTo>
                  <a:pt x="10909" y="1520"/>
                </a:lnTo>
                <a:lnTo>
                  <a:pt x="10890" y="1506"/>
                </a:lnTo>
                <a:lnTo>
                  <a:pt x="10872" y="1490"/>
                </a:lnTo>
                <a:lnTo>
                  <a:pt x="10852" y="1468"/>
                </a:lnTo>
                <a:lnTo>
                  <a:pt x="10833" y="1444"/>
                </a:lnTo>
                <a:lnTo>
                  <a:pt x="10818" y="1417"/>
                </a:lnTo>
                <a:lnTo>
                  <a:pt x="10806" y="1388"/>
                </a:lnTo>
                <a:lnTo>
                  <a:pt x="10801" y="1374"/>
                </a:lnTo>
                <a:lnTo>
                  <a:pt x="10796" y="1359"/>
                </a:lnTo>
                <a:lnTo>
                  <a:pt x="10789" y="1326"/>
                </a:lnTo>
                <a:lnTo>
                  <a:pt x="10784" y="1292"/>
                </a:lnTo>
                <a:lnTo>
                  <a:pt x="10783" y="1258"/>
                </a:lnTo>
                <a:lnTo>
                  <a:pt x="10784" y="1224"/>
                </a:lnTo>
                <a:lnTo>
                  <a:pt x="10788" y="1190"/>
                </a:lnTo>
                <a:lnTo>
                  <a:pt x="10794" y="1159"/>
                </a:lnTo>
                <a:lnTo>
                  <a:pt x="10804" y="1128"/>
                </a:lnTo>
                <a:lnTo>
                  <a:pt x="10816" y="1100"/>
                </a:lnTo>
                <a:lnTo>
                  <a:pt x="10830" y="1073"/>
                </a:lnTo>
                <a:lnTo>
                  <a:pt x="10847" y="1048"/>
                </a:lnTo>
                <a:lnTo>
                  <a:pt x="10867" y="1026"/>
                </a:lnTo>
                <a:lnTo>
                  <a:pt x="10883" y="1010"/>
                </a:lnTo>
                <a:lnTo>
                  <a:pt x="10903" y="995"/>
                </a:lnTo>
                <a:lnTo>
                  <a:pt x="10923" y="982"/>
                </a:lnTo>
                <a:lnTo>
                  <a:pt x="10946" y="971"/>
                </a:lnTo>
                <a:lnTo>
                  <a:pt x="10970" y="964"/>
                </a:lnTo>
                <a:lnTo>
                  <a:pt x="10995" y="957"/>
                </a:lnTo>
                <a:lnTo>
                  <a:pt x="11022" y="953"/>
                </a:lnTo>
                <a:lnTo>
                  <a:pt x="11052" y="952"/>
                </a:lnTo>
                <a:lnTo>
                  <a:pt x="11083" y="954"/>
                </a:lnTo>
                <a:lnTo>
                  <a:pt x="11115" y="958"/>
                </a:lnTo>
                <a:lnTo>
                  <a:pt x="11144" y="967"/>
                </a:lnTo>
                <a:lnTo>
                  <a:pt x="11172" y="978"/>
                </a:lnTo>
                <a:lnTo>
                  <a:pt x="11198" y="993"/>
                </a:lnTo>
                <a:lnTo>
                  <a:pt x="11222" y="1012"/>
                </a:lnTo>
                <a:lnTo>
                  <a:pt x="11244" y="1033"/>
                </a:lnTo>
                <a:lnTo>
                  <a:pt x="11263" y="1060"/>
                </a:lnTo>
                <a:lnTo>
                  <a:pt x="11278" y="1084"/>
                </a:lnTo>
                <a:lnTo>
                  <a:pt x="11290" y="1107"/>
                </a:lnTo>
                <a:lnTo>
                  <a:pt x="11306" y="1156"/>
                </a:lnTo>
                <a:lnTo>
                  <a:pt x="11310" y="1183"/>
                </a:lnTo>
                <a:lnTo>
                  <a:pt x="11312" y="1208"/>
                </a:lnTo>
                <a:lnTo>
                  <a:pt x="11313" y="1261"/>
                </a:lnTo>
                <a:lnTo>
                  <a:pt x="11312" y="1300"/>
                </a:lnTo>
                <a:close/>
                <a:moveTo>
                  <a:pt x="10509" y="1111"/>
                </a:moveTo>
                <a:lnTo>
                  <a:pt x="10502" y="1103"/>
                </a:lnTo>
                <a:lnTo>
                  <a:pt x="10493" y="1097"/>
                </a:lnTo>
                <a:lnTo>
                  <a:pt x="10472" y="1085"/>
                </a:lnTo>
                <a:lnTo>
                  <a:pt x="10462" y="1080"/>
                </a:lnTo>
                <a:lnTo>
                  <a:pt x="10449" y="1077"/>
                </a:lnTo>
                <a:lnTo>
                  <a:pt x="10421" y="1074"/>
                </a:lnTo>
                <a:lnTo>
                  <a:pt x="10394" y="1077"/>
                </a:lnTo>
                <a:lnTo>
                  <a:pt x="10370" y="1085"/>
                </a:lnTo>
                <a:lnTo>
                  <a:pt x="10350" y="1097"/>
                </a:lnTo>
                <a:lnTo>
                  <a:pt x="10341" y="1103"/>
                </a:lnTo>
                <a:lnTo>
                  <a:pt x="10333" y="1111"/>
                </a:lnTo>
                <a:lnTo>
                  <a:pt x="10322" y="1125"/>
                </a:lnTo>
                <a:lnTo>
                  <a:pt x="10313" y="1141"/>
                </a:lnTo>
                <a:lnTo>
                  <a:pt x="10306" y="1159"/>
                </a:lnTo>
                <a:lnTo>
                  <a:pt x="10301" y="1177"/>
                </a:lnTo>
                <a:lnTo>
                  <a:pt x="10294" y="1216"/>
                </a:lnTo>
                <a:lnTo>
                  <a:pt x="10292" y="1256"/>
                </a:lnTo>
                <a:lnTo>
                  <a:pt x="10292" y="1277"/>
                </a:lnTo>
                <a:lnTo>
                  <a:pt x="10294" y="1298"/>
                </a:lnTo>
                <a:lnTo>
                  <a:pt x="10301" y="1337"/>
                </a:lnTo>
                <a:lnTo>
                  <a:pt x="10306" y="1355"/>
                </a:lnTo>
                <a:lnTo>
                  <a:pt x="10313" y="1372"/>
                </a:lnTo>
                <a:lnTo>
                  <a:pt x="10322" y="1388"/>
                </a:lnTo>
                <a:lnTo>
                  <a:pt x="10333" y="1403"/>
                </a:lnTo>
                <a:lnTo>
                  <a:pt x="10341" y="1410"/>
                </a:lnTo>
                <a:lnTo>
                  <a:pt x="10350" y="1417"/>
                </a:lnTo>
                <a:lnTo>
                  <a:pt x="10370" y="1429"/>
                </a:lnTo>
                <a:lnTo>
                  <a:pt x="10382" y="1434"/>
                </a:lnTo>
                <a:lnTo>
                  <a:pt x="10394" y="1437"/>
                </a:lnTo>
                <a:lnTo>
                  <a:pt x="10421" y="1440"/>
                </a:lnTo>
                <a:lnTo>
                  <a:pt x="10449" y="1437"/>
                </a:lnTo>
                <a:lnTo>
                  <a:pt x="10472" y="1429"/>
                </a:lnTo>
                <a:lnTo>
                  <a:pt x="10493" y="1417"/>
                </a:lnTo>
                <a:lnTo>
                  <a:pt x="10502" y="1410"/>
                </a:lnTo>
                <a:lnTo>
                  <a:pt x="10509" y="1403"/>
                </a:lnTo>
                <a:lnTo>
                  <a:pt x="10521" y="1388"/>
                </a:lnTo>
                <a:lnTo>
                  <a:pt x="10530" y="1372"/>
                </a:lnTo>
                <a:lnTo>
                  <a:pt x="10538" y="1355"/>
                </a:lnTo>
                <a:lnTo>
                  <a:pt x="10543" y="1337"/>
                </a:lnTo>
                <a:lnTo>
                  <a:pt x="10550" y="1298"/>
                </a:lnTo>
                <a:lnTo>
                  <a:pt x="10551" y="1256"/>
                </a:lnTo>
                <a:lnTo>
                  <a:pt x="10551" y="1236"/>
                </a:lnTo>
                <a:lnTo>
                  <a:pt x="10550" y="1216"/>
                </a:lnTo>
                <a:lnTo>
                  <a:pt x="10543" y="1177"/>
                </a:lnTo>
                <a:lnTo>
                  <a:pt x="10538" y="1159"/>
                </a:lnTo>
                <a:lnTo>
                  <a:pt x="10530" y="1141"/>
                </a:lnTo>
                <a:lnTo>
                  <a:pt x="10521" y="1125"/>
                </a:lnTo>
                <a:lnTo>
                  <a:pt x="10509" y="1111"/>
                </a:lnTo>
                <a:close/>
                <a:moveTo>
                  <a:pt x="10625" y="1471"/>
                </a:moveTo>
                <a:lnTo>
                  <a:pt x="10608" y="1489"/>
                </a:lnTo>
                <a:lnTo>
                  <a:pt x="10589" y="1506"/>
                </a:lnTo>
                <a:lnTo>
                  <a:pt x="10566" y="1521"/>
                </a:lnTo>
                <a:lnTo>
                  <a:pt x="10541" y="1535"/>
                </a:lnTo>
                <a:lnTo>
                  <a:pt x="10514" y="1546"/>
                </a:lnTo>
                <a:lnTo>
                  <a:pt x="10484" y="1555"/>
                </a:lnTo>
                <a:lnTo>
                  <a:pt x="10454" y="1560"/>
                </a:lnTo>
                <a:lnTo>
                  <a:pt x="10421" y="1561"/>
                </a:lnTo>
                <a:lnTo>
                  <a:pt x="10389" y="1560"/>
                </a:lnTo>
                <a:lnTo>
                  <a:pt x="10358" y="1555"/>
                </a:lnTo>
                <a:lnTo>
                  <a:pt x="10329" y="1546"/>
                </a:lnTo>
                <a:lnTo>
                  <a:pt x="10302" y="1535"/>
                </a:lnTo>
                <a:lnTo>
                  <a:pt x="10277" y="1521"/>
                </a:lnTo>
                <a:lnTo>
                  <a:pt x="10255" y="1506"/>
                </a:lnTo>
                <a:lnTo>
                  <a:pt x="10236" y="1489"/>
                </a:lnTo>
                <a:lnTo>
                  <a:pt x="10227" y="1481"/>
                </a:lnTo>
                <a:lnTo>
                  <a:pt x="10218" y="1471"/>
                </a:lnTo>
                <a:lnTo>
                  <a:pt x="10190" y="1428"/>
                </a:lnTo>
                <a:lnTo>
                  <a:pt x="10178" y="1406"/>
                </a:lnTo>
                <a:lnTo>
                  <a:pt x="10168" y="1380"/>
                </a:lnTo>
                <a:lnTo>
                  <a:pt x="10161" y="1353"/>
                </a:lnTo>
                <a:lnTo>
                  <a:pt x="10155" y="1324"/>
                </a:lnTo>
                <a:lnTo>
                  <a:pt x="10152" y="1292"/>
                </a:lnTo>
                <a:lnTo>
                  <a:pt x="10151" y="1256"/>
                </a:lnTo>
                <a:lnTo>
                  <a:pt x="10152" y="1222"/>
                </a:lnTo>
                <a:lnTo>
                  <a:pt x="10155" y="1189"/>
                </a:lnTo>
                <a:lnTo>
                  <a:pt x="10161" y="1160"/>
                </a:lnTo>
                <a:lnTo>
                  <a:pt x="10168" y="1134"/>
                </a:lnTo>
                <a:lnTo>
                  <a:pt x="10178" y="1109"/>
                </a:lnTo>
                <a:lnTo>
                  <a:pt x="10190" y="1085"/>
                </a:lnTo>
                <a:lnTo>
                  <a:pt x="10203" y="1063"/>
                </a:lnTo>
                <a:lnTo>
                  <a:pt x="10218" y="1042"/>
                </a:lnTo>
                <a:lnTo>
                  <a:pt x="10236" y="1025"/>
                </a:lnTo>
                <a:lnTo>
                  <a:pt x="10255" y="1007"/>
                </a:lnTo>
                <a:lnTo>
                  <a:pt x="10277" y="992"/>
                </a:lnTo>
                <a:lnTo>
                  <a:pt x="10302" y="979"/>
                </a:lnTo>
                <a:lnTo>
                  <a:pt x="10329" y="967"/>
                </a:lnTo>
                <a:lnTo>
                  <a:pt x="10358" y="960"/>
                </a:lnTo>
                <a:lnTo>
                  <a:pt x="10389" y="954"/>
                </a:lnTo>
                <a:lnTo>
                  <a:pt x="10421" y="952"/>
                </a:lnTo>
                <a:lnTo>
                  <a:pt x="10454" y="954"/>
                </a:lnTo>
                <a:lnTo>
                  <a:pt x="10484" y="960"/>
                </a:lnTo>
                <a:lnTo>
                  <a:pt x="10514" y="967"/>
                </a:lnTo>
                <a:lnTo>
                  <a:pt x="10541" y="979"/>
                </a:lnTo>
                <a:lnTo>
                  <a:pt x="10566" y="992"/>
                </a:lnTo>
                <a:lnTo>
                  <a:pt x="10589" y="1007"/>
                </a:lnTo>
                <a:lnTo>
                  <a:pt x="10608" y="1025"/>
                </a:lnTo>
                <a:lnTo>
                  <a:pt x="10617" y="1033"/>
                </a:lnTo>
                <a:lnTo>
                  <a:pt x="10625" y="1042"/>
                </a:lnTo>
                <a:lnTo>
                  <a:pt x="10654" y="1085"/>
                </a:lnTo>
                <a:lnTo>
                  <a:pt x="10665" y="1109"/>
                </a:lnTo>
                <a:lnTo>
                  <a:pt x="10675" y="1134"/>
                </a:lnTo>
                <a:lnTo>
                  <a:pt x="10682" y="1160"/>
                </a:lnTo>
                <a:lnTo>
                  <a:pt x="10688" y="1189"/>
                </a:lnTo>
                <a:lnTo>
                  <a:pt x="10692" y="1222"/>
                </a:lnTo>
                <a:lnTo>
                  <a:pt x="10693" y="1256"/>
                </a:lnTo>
                <a:lnTo>
                  <a:pt x="10692" y="1292"/>
                </a:lnTo>
                <a:lnTo>
                  <a:pt x="10688" y="1324"/>
                </a:lnTo>
                <a:lnTo>
                  <a:pt x="10682" y="1353"/>
                </a:lnTo>
                <a:lnTo>
                  <a:pt x="10675" y="1380"/>
                </a:lnTo>
                <a:lnTo>
                  <a:pt x="10665" y="1406"/>
                </a:lnTo>
                <a:lnTo>
                  <a:pt x="10654" y="1428"/>
                </a:lnTo>
                <a:lnTo>
                  <a:pt x="10640" y="1450"/>
                </a:lnTo>
                <a:lnTo>
                  <a:pt x="10625" y="1471"/>
                </a:lnTo>
                <a:close/>
                <a:moveTo>
                  <a:pt x="9890" y="1547"/>
                </a:moveTo>
                <a:lnTo>
                  <a:pt x="9890" y="1191"/>
                </a:lnTo>
                <a:lnTo>
                  <a:pt x="9889" y="1166"/>
                </a:lnTo>
                <a:lnTo>
                  <a:pt x="9885" y="1146"/>
                </a:lnTo>
                <a:lnTo>
                  <a:pt x="9882" y="1136"/>
                </a:lnTo>
                <a:lnTo>
                  <a:pt x="9879" y="1126"/>
                </a:lnTo>
                <a:lnTo>
                  <a:pt x="9875" y="1118"/>
                </a:lnTo>
                <a:lnTo>
                  <a:pt x="9869" y="1111"/>
                </a:lnTo>
                <a:lnTo>
                  <a:pt x="9863" y="1104"/>
                </a:lnTo>
                <a:lnTo>
                  <a:pt x="9856" y="1098"/>
                </a:lnTo>
                <a:lnTo>
                  <a:pt x="9840" y="1089"/>
                </a:lnTo>
                <a:lnTo>
                  <a:pt x="9819" y="1084"/>
                </a:lnTo>
                <a:lnTo>
                  <a:pt x="9793" y="1081"/>
                </a:lnTo>
                <a:lnTo>
                  <a:pt x="9776" y="1082"/>
                </a:lnTo>
                <a:lnTo>
                  <a:pt x="9760" y="1087"/>
                </a:lnTo>
                <a:lnTo>
                  <a:pt x="9746" y="1093"/>
                </a:lnTo>
                <a:lnTo>
                  <a:pt x="9732" y="1102"/>
                </a:lnTo>
                <a:lnTo>
                  <a:pt x="9721" y="1113"/>
                </a:lnTo>
                <a:lnTo>
                  <a:pt x="9710" y="1126"/>
                </a:lnTo>
                <a:lnTo>
                  <a:pt x="9701" y="1140"/>
                </a:lnTo>
                <a:lnTo>
                  <a:pt x="9693" y="1155"/>
                </a:lnTo>
                <a:lnTo>
                  <a:pt x="9687" y="1173"/>
                </a:lnTo>
                <a:lnTo>
                  <a:pt x="9681" y="1192"/>
                </a:lnTo>
                <a:lnTo>
                  <a:pt x="9678" y="1212"/>
                </a:lnTo>
                <a:lnTo>
                  <a:pt x="9676" y="1231"/>
                </a:lnTo>
                <a:lnTo>
                  <a:pt x="9675" y="1272"/>
                </a:lnTo>
                <a:lnTo>
                  <a:pt x="9674" y="1311"/>
                </a:lnTo>
                <a:lnTo>
                  <a:pt x="9674" y="1547"/>
                </a:lnTo>
                <a:lnTo>
                  <a:pt x="9535" y="1547"/>
                </a:lnTo>
                <a:lnTo>
                  <a:pt x="9535" y="966"/>
                </a:lnTo>
                <a:lnTo>
                  <a:pt x="9652" y="966"/>
                </a:lnTo>
                <a:lnTo>
                  <a:pt x="9662" y="1041"/>
                </a:lnTo>
                <a:lnTo>
                  <a:pt x="9677" y="1019"/>
                </a:lnTo>
                <a:lnTo>
                  <a:pt x="9693" y="1001"/>
                </a:lnTo>
                <a:lnTo>
                  <a:pt x="9714" y="986"/>
                </a:lnTo>
                <a:lnTo>
                  <a:pt x="9736" y="974"/>
                </a:lnTo>
                <a:lnTo>
                  <a:pt x="9759" y="964"/>
                </a:lnTo>
                <a:lnTo>
                  <a:pt x="9782" y="957"/>
                </a:lnTo>
                <a:lnTo>
                  <a:pt x="9807" y="953"/>
                </a:lnTo>
                <a:lnTo>
                  <a:pt x="9832" y="952"/>
                </a:lnTo>
                <a:lnTo>
                  <a:pt x="9855" y="953"/>
                </a:lnTo>
                <a:lnTo>
                  <a:pt x="9877" y="956"/>
                </a:lnTo>
                <a:lnTo>
                  <a:pt x="9897" y="961"/>
                </a:lnTo>
                <a:lnTo>
                  <a:pt x="9916" y="967"/>
                </a:lnTo>
                <a:lnTo>
                  <a:pt x="9934" y="976"/>
                </a:lnTo>
                <a:lnTo>
                  <a:pt x="9949" y="986"/>
                </a:lnTo>
                <a:lnTo>
                  <a:pt x="9964" y="998"/>
                </a:lnTo>
                <a:lnTo>
                  <a:pt x="9977" y="1011"/>
                </a:lnTo>
                <a:lnTo>
                  <a:pt x="9989" y="1025"/>
                </a:lnTo>
                <a:lnTo>
                  <a:pt x="10000" y="1041"/>
                </a:lnTo>
                <a:lnTo>
                  <a:pt x="10008" y="1059"/>
                </a:lnTo>
                <a:lnTo>
                  <a:pt x="10016" y="1076"/>
                </a:lnTo>
                <a:lnTo>
                  <a:pt x="10022" y="1095"/>
                </a:lnTo>
                <a:lnTo>
                  <a:pt x="10026" y="1116"/>
                </a:lnTo>
                <a:lnTo>
                  <a:pt x="10028" y="1138"/>
                </a:lnTo>
                <a:lnTo>
                  <a:pt x="10029" y="1160"/>
                </a:lnTo>
                <a:lnTo>
                  <a:pt x="10029" y="1547"/>
                </a:lnTo>
                <a:lnTo>
                  <a:pt x="9890" y="1547"/>
                </a:lnTo>
                <a:close/>
                <a:moveTo>
                  <a:pt x="9222" y="1547"/>
                </a:moveTo>
                <a:lnTo>
                  <a:pt x="9222" y="966"/>
                </a:lnTo>
                <a:lnTo>
                  <a:pt x="9363" y="966"/>
                </a:lnTo>
                <a:lnTo>
                  <a:pt x="9363" y="1547"/>
                </a:lnTo>
                <a:lnTo>
                  <a:pt x="9222" y="1547"/>
                </a:lnTo>
                <a:close/>
                <a:moveTo>
                  <a:pt x="9217" y="886"/>
                </a:moveTo>
                <a:lnTo>
                  <a:pt x="9217" y="742"/>
                </a:lnTo>
                <a:lnTo>
                  <a:pt x="9366" y="742"/>
                </a:lnTo>
                <a:lnTo>
                  <a:pt x="9366" y="886"/>
                </a:lnTo>
                <a:lnTo>
                  <a:pt x="9217" y="886"/>
                </a:lnTo>
                <a:close/>
                <a:moveTo>
                  <a:pt x="8918" y="1097"/>
                </a:moveTo>
                <a:lnTo>
                  <a:pt x="8910" y="1090"/>
                </a:lnTo>
                <a:lnTo>
                  <a:pt x="8901" y="1084"/>
                </a:lnTo>
                <a:lnTo>
                  <a:pt x="8881" y="1073"/>
                </a:lnTo>
                <a:lnTo>
                  <a:pt x="8870" y="1069"/>
                </a:lnTo>
                <a:lnTo>
                  <a:pt x="8857" y="1066"/>
                </a:lnTo>
                <a:lnTo>
                  <a:pt x="8830" y="1064"/>
                </a:lnTo>
                <a:lnTo>
                  <a:pt x="8799" y="1067"/>
                </a:lnTo>
                <a:lnTo>
                  <a:pt x="8772" y="1076"/>
                </a:lnTo>
                <a:lnTo>
                  <a:pt x="8749" y="1090"/>
                </a:lnTo>
                <a:lnTo>
                  <a:pt x="8740" y="1099"/>
                </a:lnTo>
                <a:lnTo>
                  <a:pt x="8732" y="1109"/>
                </a:lnTo>
                <a:lnTo>
                  <a:pt x="8719" y="1128"/>
                </a:lnTo>
                <a:lnTo>
                  <a:pt x="8710" y="1149"/>
                </a:lnTo>
                <a:lnTo>
                  <a:pt x="8705" y="1172"/>
                </a:lnTo>
                <a:lnTo>
                  <a:pt x="8701" y="1199"/>
                </a:lnTo>
                <a:lnTo>
                  <a:pt x="8952" y="1199"/>
                </a:lnTo>
                <a:lnTo>
                  <a:pt x="8952" y="1183"/>
                </a:lnTo>
                <a:lnTo>
                  <a:pt x="8950" y="1168"/>
                </a:lnTo>
                <a:lnTo>
                  <a:pt x="8943" y="1141"/>
                </a:lnTo>
                <a:lnTo>
                  <a:pt x="8932" y="1117"/>
                </a:lnTo>
                <a:lnTo>
                  <a:pt x="8925" y="1106"/>
                </a:lnTo>
                <a:lnTo>
                  <a:pt x="8918" y="1097"/>
                </a:lnTo>
                <a:close/>
                <a:moveTo>
                  <a:pt x="9091" y="1300"/>
                </a:moveTo>
                <a:lnTo>
                  <a:pt x="8703" y="1300"/>
                </a:lnTo>
                <a:lnTo>
                  <a:pt x="8703" y="1317"/>
                </a:lnTo>
                <a:lnTo>
                  <a:pt x="8706" y="1333"/>
                </a:lnTo>
                <a:lnTo>
                  <a:pt x="8713" y="1364"/>
                </a:lnTo>
                <a:lnTo>
                  <a:pt x="8720" y="1378"/>
                </a:lnTo>
                <a:lnTo>
                  <a:pt x="8726" y="1391"/>
                </a:lnTo>
                <a:lnTo>
                  <a:pt x="8735" y="1403"/>
                </a:lnTo>
                <a:lnTo>
                  <a:pt x="8746" y="1414"/>
                </a:lnTo>
                <a:lnTo>
                  <a:pt x="8762" y="1427"/>
                </a:lnTo>
                <a:lnTo>
                  <a:pt x="8782" y="1439"/>
                </a:lnTo>
                <a:lnTo>
                  <a:pt x="8805" y="1447"/>
                </a:lnTo>
                <a:lnTo>
                  <a:pt x="8832" y="1450"/>
                </a:lnTo>
                <a:lnTo>
                  <a:pt x="8859" y="1448"/>
                </a:lnTo>
                <a:lnTo>
                  <a:pt x="8881" y="1444"/>
                </a:lnTo>
                <a:lnTo>
                  <a:pt x="8900" y="1435"/>
                </a:lnTo>
                <a:lnTo>
                  <a:pt x="8916" y="1422"/>
                </a:lnTo>
                <a:lnTo>
                  <a:pt x="8925" y="1412"/>
                </a:lnTo>
                <a:lnTo>
                  <a:pt x="8933" y="1401"/>
                </a:lnTo>
                <a:lnTo>
                  <a:pt x="8939" y="1388"/>
                </a:lnTo>
                <a:lnTo>
                  <a:pt x="8944" y="1373"/>
                </a:lnTo>
                <a:lnTo>
                  <a:pt x="9077" y="1373"/>
                </a:lnTo>
                <a:lnTo>
                  <a:pt x="9072" y="1400"/>
                </a:lnTo>
                <a:lnTo>
                  <a:pt x="9066" y="1415"/>
                </a:lnTo>
                <a:lnTo>
                  <a:pt x="9060" y="1429"/>
                </a:lnTo>
                <a:lnTo>
                  <a:pt x="9046" y="1457"/>
                </a:lnTo>
                <a:lnTo>
                  <a:pt x="9028" y="1481"/>
                </a:lnTo>
                <a:lnTo>
                  <a:pt x="9009" y="1500"/>
                </a:lnTo>
                <a:lnTo>
                  <a:pt x="8988" y="1518"/>
                </a:lnTo>
                <a:lnTo>
                  <a:pt x="8964" y="1532"/>
                </a:lnTo>
                <a:lnTo>
                  <a:pt x="8940" y="1543"/>
                </a:lnTo>
                <a:lnTo>
                  <a:pt x="8914" y="1551"/>
                </a:lnTo>
                <a:lnTo>
                  <a:pt x="8888" y="1557"/>
                </a:lnTo>
                <a:lnTo>
                  <a:pt x="8861" y="1560"/>
                </a:lnTo>
                <a:lnTo>
                  <a:pt x="8834" y="1561"/>
                </a:lnTo>
                <a:lnTo>
                  <a:pt x="8805" y="1560"/>
                </a:lnTo>
                <a:lnTo>
                  <a:pt x="8777" y="1557"/>
                </a:lnTo>
                <a:lnTo>
                  <a:pt x="8765" y="1553"/>
                </a:lnTo>
                <a:lnTo>
                  <a:pt x="8752" y="1550"/>
                </a:lnTo>
                <a:lnTo>
                  <a:pt x="8730" y="1543"/>
                </a:lnTo>
                <a:lnTo>
                  <a:pt x="8708" y="1532"/>
                </a:lnTo>
                <a:lnTo>
                  <a:pt x="8687" y="1520"/>
                </a:lnTo>
                <a:lnTo>
                  <a:pt x="8669" y="1506"/>
                </a:lnTo>
                <a:lnTo>
                  <a:pt x="8650" y="1490"/>
                </a:lnTo>
                <a:lnTo>
                  <a:pt x="8630" y="1468"/>
                </a:lnTo>
                <a:lnTo>
                  <a:pt x="8612" y="1444"/>
                </a:lnTo>
                <a:lnTo>
                  <a:pt x="8597" y="1417"/>
                </a:lnTo>
                <a:lnTo>
                  <a:pt x="8584" y="1388"/>
                </a:lnTo>
                <a:lnTo>
                  <a:pt x="8579" y="1374"/>
                </a:lnTo>
                <a:lnTo>
                  <a:pt x="8574" y="1359"/>
                </a:lnTo>
                <a:lnTo>
                  <a:pt x="8567" y="1326"/>
                </a:lnTo>
                <a:lnTo>
                  <a:pt x="8562" y="1292"/>
                </a:lnTo>
                <a:lnTo>
                  <a:pt x="8561" y="1258"/>
                </a:lnTo>
                <a:lnTo>
                  <a:pt x="8562" y="1224"/>
                </a:lnTo>
                <a:lnTo>
                  <a:pt x="8567" y="1190"/>
                </a:lnTo>
                <a:lnTo>
                  <a:pt x="8573" y="1159"/>
                </a:lnTo>
                <a:lnTo>
                  <a:pt x="8582" y="1128"/>
                </a:lnTo>
                <a:lnTo>
                  <a:pt x="8594" y="1100"/>
                </a:lnTo>
                <a:lnTo>
                  <a:pt x="8608" y="1073"/>
                </a:lnTo>
                <a:lnTo>
                  <a:pt x="8625" y="1048"/>
                </a:lnTo>
                <a:lnTo>
                  <a:pt x="8645" y="1026"/>
                </a:lnTo>
                <a:lnTo>
                  <a:pt x="8662" y="1010"/>
                </a:lnTo>
                <a:lnTo>
                  <a:pt x="8681" y="995"/>
                </a:lnTo>
                <a:lnTo>
                  <a:pt x="8701" y="982"/>
                </a:lnTo>
                <a:lnTo>
                  <a:pt x="8724" y="971"/>
                </a:lnTo>
                <a:lnTo>
                  <a:pt x="8748" y="964"/>
                </a:lnTo>
                <a:lnTo>
                  <a:pt x="8774" y="957"/>
                </a:lnTo>
                <a:lnTo>
                  <a:pt x="8801" y="953"/>
                </a:lnTo>
                <a:lnTo>
                  <a:pt x="8831" y="952"/>
                </a:lnTo>
                <a:lnTo>
                  <a:pt x="8862" y="954"/>
                </a:lnTo>
                <a:lnTo>
                  <a:pt x="8893" y="958"/>
                </a:lnTo>
                <a:lnTo>
                  <a:pt x="8922" y="967"/>
                </a:lnTo>
                <a:lnTo>
                  <a:pt x="8950" y="978"/>
                </a:lnTo>
                <a:lnTo>
                  <a:pt x="8976" y="993"/>
                </a:lnTo>
                <a:lnTo>
                  <a:pt x="9001" y="1012"/>
                </a:lnTo>
                <a:lnTo>
                  <a:pt x="9023" y="1033"/>
                </a:lnTo>
                <a:lnTo>
                  <a:pt x="9043" y="1060"/>
                </a:lnTo>
                <a:lnTo>
                  <a:pt x="9057" y="1084"/>
                </a:lnTo>
                <a:lnTo>
                  <a:pt x="9069" y="1107"/>
                </a:lnTo>
                <a:lnTo>
                  <a:pt x="9084" y="1156"/>
                </a:lnTo>
                <a:lnTo>
                  <a:pt x="9088" y="1183"/>
                </a:lnTo>
                <a:lnTo>
                  <a:pt x="9091" y="1208"/>
                </a:lnTo>
                <a:lnTo>
                  <a:pt x="9092" y="1261"/>
                </a:lnTo>
                <a:lnTo>
                  <a:pt x="9091" y="1300"/>
                </a:lnTo>
                <a:close/>
                <a:moveTo>
                  <a:pt x="8368" y="1547"/>
                </a:moveTo>
                <a:lnTo>
                  <a:pt x="8205" y="1293"/>
                </a:lnTo>
                <a:lnTo>
                  <a:pt x="8112" y="1395"/>
                </a:lnTo>
                <a:lnTo>
                  <a:pt x="8112" y="1547"/>
                </a:lnTo>
                <a:lnTo>
                  <a:pt x="7972" y="1547"/>
                </a:lnTo>
                <a:lnTo>
                  <a:pt x="7972" y="741"/>
                </a:lnTo>
                <a:lnTo>
                  <a:pt x="8112" y="741"/>
                </a:lnTo>
                <a:lnTo>
                  <a:pt x="8112" y="1202"/>
                </a:lnTo>
                <a:lnTo>
                  <a:pt x="8332" y="966"/>
                </a:lnTo>
                <a:lnTo>
                  <a:pt x="8507" y="966"/>
                </a:lnTo>
                <a:lnTo>
                  <a:pt x="8299" y="1191"/>
                </a:lnTo>
                <a:lnTo>
                  <a:pt x="8529" y="1547"/>
                </a:lnTo>
                <a:lnTo>
                  <a:pt x="8368" y="1547"/>
                </a:lnTo>
                <a:close/>
                <a:moveTo>
                  <a:pt x="7671" y="1547"/>
                </a:moveTo>
                <a:lnTo>
                  <a:pt x="7671" y="1191"/>
                </a:lnTo>
                <a:lnTo>
                  <a:pt x="7670" y="1166"/>
                </a:lnTo>
                <a:lnTo>
                  <a:pt x="7667" y="1146"/>
                </a:lnTo>
                <a:lnTo>
                  <a:pt x="7664" y="1136"/>
                </a:lnTo>
                <a:lnTo>
                  <a:pt x="7660" y="1126"/>
                </a:lnTo>
                <a:lnTo>
                  <a:pt x="7656" y="1118"/>
                </a:lnTo>
                <a:lnTo>
                  <a:pt x="7651" y="1111"/>
                </a:lnTo>
                <a:lnTo>
                  <a:pt x="7645" y="1104"/>
                </a:lnTo>
                <a:lnTo>
                  <a:pt x="7639" y="1098"/>
                </a:lnTo>
                <a:lnTo>
                  <a:pt x="7621" y="1089"/>
                </a:lnTo>
                <a:lnTo>
                  <a:pt x="7601" y="1084"/>
                </a:lnTo>
                <a:lnTo>
                  <a:pt x="7576" y="1081"/>
                </a:lnTo>
                <a:lnTo>
                  <a:pt x="7558" y="1082"/>
                </a:lnTo>
                <a:lnTo>
                  <a:pt x="7542" y="1087"/>
                </a:lnTo>
                <a:lnTo>
                  <a:pt x="7527" y="1093"/>
                </a:lnTo>
                <a:lnTo>
                  <a:pt x="7514" y="1102"/>
                </a:lnTo>
                <a:lnTo>
                  <a:pt x="7502" y="1113"/>
                </a:lnTo>
                <a:lnTo>
                  <a:pt x="7492" y="1126"/>
                </a:lnTo>
                <a:lnTo>
                  <a:pt x="7483" y="1140"/>
                </a:lnTo>
                <a:lnTo>
                  <a:pt x="7475" y="1155"/>
                </a:lnTo>
                <a:lnTo>
                  <a:pt x="7468" y="1173"/>
                </a:lnTo>
                <a:lnTo>
                  <a:pt x="7464" y="1192"/>
                </a:lnTo>
                <a:lnTo>
                  <a:pt x="7460" y="1212"/>
                </a:lnTo>
                <a:lnTo>
                  <a:pt x="7458" y="1231"/>
                </a:lnTo>
                <a:lnTo>
                  <a:pt x="7456" y="1272"/>
                </a:lnTo>
                <a:lnTo>
                  <a:pt x="7456" y="1311"/>
                </a:lnTo>
                <a:lnTo>
                  <a:pt x="7456" y="1547"/>
                </a:lnTo>
                <a:lnTo>
                  <a:pt x="7317" y="1547"/>
                </a:lnTo>
                <a:lnTo>
                  <a:pt x="7317" y="966"/>
                </a:lnTo>
                <a:lnTo>
                  <a:pt x="7434" y="966"/>
                </a:lnTo>
                <a:lnTo>
                  <a:pt x="7444" y="1041"/>
                </a:lnTo>
                <a:lnTo>
                  <a:pt x="7458" y="1019"/>
                </a:lnTo>
                <a:lnTo>
                  <a:pt x="7476" y="1001"/>
                </a:lnTo>
                <a:lnTo>
                  <a:pt x="7495" y="986"/>
                </a:lnTo>
                <a:lnTo>
                  <a:pt x="7517" y="974"/>
                </a:lnTo>
                <a:lnTo>
                  <a:pt x="7540" y="964"/>
                </a:lnTo>
                <a:lnTo>
                  <a:pt x="7565" y="957"/>
                </a:lnTo>
                <a:lnTo>
                  <a:pt x="7590" y="953"/>
                </a:lnTo>
                <a:lnTo>
                  <a:pt x="7615" y="952"/>
                </a:lnTo>
                <a:lnTo>
                  <a:pt x="7638" y="953"/>
                </a:lnTo>
                <a:lnTo>
                  <a:pt x="7658" y="956"/>
                </a:lnTo>
                <a:lnTo>
                  <a:pt x="7679" y="961"/>
                </a:lnTo>
                <a:lnTo>
                  <a:pt x="7697" y="967"/>
                </a:lnTo>
                <a:lnTo>
                  <a:pt x="7715" y="976"/>
                </a:lnTo>
                <a:lnTo>
                  <a:pt x="7731" y="986"/>
                </a:lnTo>
                <a:lnTo>
                  <a:pt x="7746" y="998"/>
                </a:lnTo>
                <a:lnTo>
                  <a:pt x="7759" y="1011"/>
                </a:lnTo>
                <a:lnTo>
                  <a:pt x="7771" y="1025"/>
                </a:lnTo>
                <a:lnTo>
                  <a:pt x="7781" y="1041"/>
                </a:lnTo>
                <a:lnTo>
                  <a:pt x="7790" y="1059"/>
                </a:lnTo>
                <a:lnTo>
                  <a:pt x="7797" y="1076"/>
                </a:lnTo>
                <a:lnTo>
                  <a:pt x="7804" y="1095"/>
                </a:lnTo>
                <a:lnTo>
                  <a:pt x="7807" y="1116"/>
                </a:lnTo>
                <a:lnTo>
                  <a:pt x="7810" y="1138"/>
                </a:lnTo>
                <a:lnTo>
                  <a:pt x="7810" y="1160"/>
                </a:lnTo>
                <a:lnTo>
                  <a:pt x="7810" y="1547"/>
                </a:lnTo>
                <a:lnTo>
                  <a:pt x="7671" y="1547"/>
                </a:lnTo>
                <a:close/>
                <a:moveTo>
                  <a:pt x="7012" y="1547"/>
                </a:moveTo>
                <a:lnTo>
                  <a:pt x="7012" y="966"/>
                </a:lnTo>
                <a:lnTo>
                  <a:pt x="7153" y="966"/>
                </a:lnTo>
                <a:lnTo>
                  <a:pt x="7153" y="1547"/>
                </a:lnTo>
                <a:lnTo>
                  <a:pt x="7012" y="1547"/>
                </a:lnTo>
                <a:close/>
                <a:moveTo>
                  <a:pt x="7006" y="886"/>
                </a:moveTo>
                <a:lnTo>
                  <a:pt x="7006" y="742"/>
                </a:lnTo>
                <a:lnTo>
                  <a:pt x="7156" y="742"/>
                </a:lnTo>
                <a:lnTo>
                  <a:pt x="7156" y="886"/>
                </a:lnTo>
                <a:lnTo>
                  <a:pt x="7006" y="886"/>
                </a:lnTo>
                <a:close/>
                <a:moveTo>
                  <a:pt x="6823" y="1553"/>
                </a:moveTo>
                <a:lnTo>
                  <a:pt x="6789" y="1551"/>
                </a:lnTo>
                <a:lnTo>
                  <a:pt x="6773" y="1549"/>
                </a:lnTo>
                <a:lnTo>
                  <a:pt x="6757" y="1545"/>
                </a:lnTo>
                <a:lnTo>
                  <a:pt x="6744" y="1539"/>
                </a:lnTo>
                <a:lnTo>
                  <a:pt x="6731" y="1534"/>
                </a:lnTo>
                <a:lnTo>
                  <a:pt x="6719" y="1526"/>
                </a:lnTo>
                <a:lnTo>
                  <a:pt x="6707" y="1518"/>
                </a:lnTo>
                <a:lnTo>
                  <a:pt x="6698" y="1507"/>
                </a:lnTo>
                <a:lnTo>
                  <a:pt x="6689" y="1496"/>
                </a:lnTo>
                <a:lnTo>
                  <a:pt x="6682" y="1483"/>
                </a:lnTo>
                <a:lnTo>
                  <a:pt x="6676" y="1469"/>
                </a:lnTo>
                <a:lnTo>
                  <a:pt x="6667" y="1436"/>
                </a:lnTo>
                <a:lnTo>
                  <a:pt x="6665" y="1417"/>
                </a:lnTo>
                <a:lnTo>
                  <a:pt x="6664" y="1398"/>
                </a:lnTo>
                <a:lnTo>
                  <a:pt x="6664" y="740"/>
                </a:lnTo>
                <a:lnTo>
                  <a:pt x="6805" y="740"/>
                </a:lnTo>
                <a:lnTo>
                  <a:pt x="6805" y="1374"/>
                </a:lnTo>
                <a:lnTo>
                  <a:pt x="6805" y="1386"/>
                </a:lnTo>
                <a:lnTo>
                  <a:pt x="6806" y="1397"/>
                </a:lnTo>
                <a:lnTo>
                  <a:pt x="6810" y="1407"/>
                </a:lnTo>
                <a:lnTo>
                  <a:pt x="6815" y="1414"/>
                </a:lnTo>
                <a:lnTo>
                  <a:pt x="6822" y="1421"/>
                </a:lnTo>
                <a:lnTo>
                  <a:pt x="6831" y="1426"/>
                </a:lnTo>
                <a:lnTo>
                  <a:pt x="6844" y="1428"/>
                </a:lnTo>
                <a:lnTo>
                  <a:pt x="6861" y="1429"/>
                </a:lnTo>
                <a:lnTo>
                  <a:pt x="6885" y="1428"/>
                </a:lnTo>
                <a:lnTo>
                  <a:pt x="6885" y="1546"/>
                </a:lnTo>
                <a:lnTo>
                  <a:pt x="6853" y="1552"/>
                </a:lnTo>
                <a:lnTo>
                  <a:pt x="6823" y="1553"/>
                </a:lnTo>
                <a:close/>
                <a:moveTo>
                  <a:pt x="5977" y="1547"/>
                </a:moveTo>
                <a:lnTo>
                  <a:pt x="5977" y="755"/>
                </a:lnTo>
                <a:lnTo>
                  <a:pt x="6540" y="755"/>
                </a:lnTo>
                <a:lnTo>
                  <a:pt x="6540" y="886"/>
                </a:lnTo>
                <a:lnTo>
                  <a:pt x="6121" y="886"/>
                </a:lnTo>
                <a:lnTo>
                  <a:pt x="6121" y="1070"/>
                </a:lnTo>
                <a:lnTo>
                  <a:pt x="6490" y="1070"/>
                </a:lnTo>
                <a:lnTo>
                  <a:pt x="6490" y="1200"/>
                </a:lnTo>
                <a:lnTo>
                  <a:pt x="6121" y="1200"/>
                </a:lnTo>
                <a:lnTo>
                  <a:pt x="6121" y="1416"/>
                </a:lnTo>
                <a:lnTo>
                  <a:pt x="6540" y="1416"/>
                </a:lnTo>
                <a:lnTo>
                  <a:pt x="6540" y="1547"/>
                </a:lnTo>
                <a:lnTo>
                  <a:pt x="5977" y="1547"/>
                </a:lnTo>
                <a:close/>
                <a:moveTo>
                  <a:pt x="11930" y="2637"/>
                </a:moveTo>
                <a:lnTo>
                  <a:pt x="11913" y="2655"/>
                </a:lnTo>
                <a:lnTo>
                  <a:pt x="11894" y="2672"/>
                </a:lnTo>
                <a:lnTo>
                  <a:pt x="11871" y="2687"/>
                </a:lnTo>
                <a:lnTo>
                  <a:pt x="11846" y="2701"/>
                </a:lnTo>
                <a:lnTo>
                  <a:pt x="11819" y="2712"/>
                </a:lnTo>
                <a:lnTo>
                  <a:pt x="11789" y="2721"/>
                </a:lnTo>
                <a:lnTo>
                  <a:pt x="11759" y="2726"/>
                </a:lnTo>
                <a:lnTo>
                  <a:pt x="11726" y="2727"/>
                </a:lnTo>
                <a:lnTo>
                  <a:pt x="11694" y="2726"/>
                </a:lnTo>
                <a:lnTo>
                  <a:pt x="11663" y="2721"/>
                </a:lnTo>
                <a:lnTo>
                  <a:pt x="11634" y="2712"/>
                </a:lnTo>
                <a:lnTo>
                  <a:pt x="11607" y="2701"/>
                </a:lnTo>
                <a:lnTo>
                  <a:pt x="11582" y="2687"/>
                </a:lnTo>
                <a:lnTo>
                  <a:pt x="11560" y="2672"/>
                </a:lnTo>
                <a:lnTo>
                  <a:pt x="11541" y="2655"/>
                </a:lnTo>
                <a:lnTo>
                  <a:pt x="11532" y="2647"/>
                </a:lnTo>
                <a:lnTo>
                  <a:pt x="11523" y="2637"/>
                </a:lnTo>
                <a:lnTo>
                  <a:pt x="11495" y="2594"/>
                </a:lnTo>
                <a:lnTo>
                  <a:pt x="11483" y="2572"/>
                </a:lnTo>
                <a:lnTo>
                  <a:pt x="11473" y="2547"/>
                </a:lnTo>
                <a:lnTo>
                  <a:pt x="11466" y="2519"/>
                </a:lnTo>
                <a:lnTo>
                  <a:pt x="11460" y="2490"/>
                </a:lnTo>
                <a:lnTo>
                  <a:pt x="11457" y="2457"/>
                </a:lnTo>
                <a:lnTo>
                  <a:pt x="11456" y="2423"/>
                </a:lnTo>
                <a:lnTo>
                  <a:pt x="11457" y="2388"/>
                </a:lnTo>
                <a:lnTo>
                  <a:pt x="11460" y="2355"/>
                </a:lnTo>
                <a:lnTo>
                  <a:pt x="11466" y="2326"/>
                </a:lnTo>
                <a:lnTo>
                  <a:pt x="11473" y="2300"/>
                </a:lnTo>
                <a:lnTo>
                  <a:pt x="11483" y="2275"/>
                </a:lnTo>
                <a:lnTo>
                  <a:pt x="11495" y="2251"/>
                </a:lnTo>
                <a:lnTo>
                  <a:pt x="11508" y="2229"/>
                </a:lnTo>
                <a:lnTo>
                  <a:pt x="11523" y="2208"/>
                </a:lnTo>
                <a:lnTo>
                  <a:pt x="11541" y="2190"/>
                </a:lnTo>
                <a:lnTo>
                  <a:pt x="11560" y="2173"/>
                </a:lnTo>
                <a:lnTo>
                  <a:pt x="11582" y="2158"/>
                </a:lnTo>
                <a:lnTo>
                  <a:pt x="11607" y="2144"/>
                </a:lnTo>
                <a:lnTo>
                  <a:pt x="11634" y="2133"/>
                </a:lnTo>
                <a:lnTo>
                  <a:pt x="11663" y="2125"/>
                </a:lnTo>
                <a:lnTo>
                  <a:pt x="11694" y="2120"/>
                </a:lnTo>
                <a:lnTo>
                  <a:pt x="11726" y="2118"/>
                </a:lnTo>
                <a:lnTo>
                  <a:pt x="11759" y="2120"/>
                </a:lnTo>
                <a:lnTo>
                  <a:pt x="11789" y="2125"/>
                </a:lnTo>
                <a:lnTo>
                  <a:pt x="11819" y="2133"/>
                </a:lnTo>
                <a:lnTo>
                  <a:pt x="11846" y="2144"/>
                </a:lnTo>
                <a:lnTo>
                  <a:pt x="11871" y="2158"/>
                </a:lnTo>
                <a:lnTo>
                  <a:pt x="11894" y="2173"/>
                </a:lnTo>
                <a:lnTo>
                  <a:pt x="11913" y="2190"/>
                </a:lnTo>
                <a:lnTo>
                  <a:pt x="11922" y="2200"/>
                </a:lnTo>
                <a:lnTo>
                  <a:pt x="11930" y="2208"/>
                </a:lnTo>
                <a:lnTo>
                  <a:pt x="11959" y="2251"/>
                </a:lnTo>
                <a:lnTo>
                  <a:pt x="11970" y="2275"/>
                </a:lnTo>
                <a:lnTo>
                  <a:pt x="11980" y="2300"/>
                </a:lnTo>
                <a:lnTo>
                  <a:pt x="11987" y="2326"/>
                </a:lnTo>
                <a:lnTo>
                  <a:pt x="11993" y="2355"/>
                </a:lnTo>
                <a:lnTo>
                  <a:pt x="11996" y="2388"/>
                </a:lnTo>
                <a:lnTo>
                  <a:pt x="11997" y="2423"/>
                </a:lnTo>
                <a:lnTo>
                  <a:pt x="11996" y="2457"/>
                </a:lnTo>
                <a:lnTo>
                  <a:pt x="11993" y="2490"/>
                </a:lnTo>
                <a:lnTo>
                  <a:pt x="11987" y="2519"/>
                </a:lnTo>
                <a:lnTo>
                  <a:pt x="11980" y="2547"/>
                </a:lnTo>
                <a:lnTo>
                  <a:pt x="11970" y="2572"/>
                </a:lnTo>
                <a:lnTo>
                  <a:pt x="11959" y="2594"/>
                </a:lnTo>
                <a:lnTo>
                  <a:pt x="11945" y="2616"/>
                </a:lnTo>
                <a:lnTo>
                  <a:pt x="11930" y="2637"/>
                </a:lnTo>
                <a:close/>
                <a:moveTo>
                  <a:pt x="11814" y="2277"/>
                </a:moveTo>
                <a:lnTo>
                  <a:pt x="11807" y="2269"/>
                </a:lnTo>
                <a:lnTo>
                  <a:pt x="11798" y="2263"/>
                </a:lnTo>
                <a:lnTo>
                  <a:pt x="11777" y="2251"/>
                </a:lnTo>
                <a:lnTo>
                  <a:pt x="11765" y="2246"/>
                </a:lnTo>
                <a:lnTo>
                  <a:pt x="11754" y="2242"/>
                </a:lnTo>
                <a:lnTo>
                  <a:pt x="11726" y="2240"/>
                </a:lnTo>
                <a:lnTo>
                  <a:pt x="11699" y="2242"/>
                </a:lnTo>
                <a:lnTo>
                  <a:pt x="11675" y="2251"/>
                </a:lnTo>
                <a:lnTo>
                  <a:pt x="11655" y="2263"/>
                </a:lnTo>
                <a:lnTo>
                  <a:pt x="11646" y="2269"/>
                </a:lnTo>
                <a:lnTo>
                  <a:pt x="11638" y="2277"/>
                </a:lnTo>
                <a:lnTo>
                  <a:pt x="11627" y="2291"/>
                </a:lnTo>
                <a:lnTo>
                  <a:pt x="11618" y="2307"/>
                </a:lnTo>
                <a:lnTo>
                  <a:pt x="11610" y="2325"/>
                </a:lnTo>
                <a:lnTo>
                  <a:pt x="11605" y="2343"/>
                </a:lnTo>
                <a:lnTo>
                  <a:pt x="11599" y="2382"/>
                </a:lnTo>
                <a:lnTo>
                  <a:pt x="11597" y="2423"/>
                </a:lnTo>
                <a:lnTo>
                  <a:pt x="11597" y="2443"/>
                </a:lnTo>
                <a:lnTo>
                  <a:pt x="11599" y="2464"/>
                </a:lnTo>
                <a:lnTo>
                  <a:pt x="11605" y="2502"/>
                </a:lnTo>
                <a:lnTo>
                  <a:pt x="11610" y="2520"/>
                </a:lnTo>
                <a:lnTo>
                  <a:pt x="11618" y="2538"/>
                </a:lnTo>
                <a:lnTo>
                  <a:pt x="11627" y="2554"/>
                </a:lnTo>
                <a:lnTo>
                  <a:pt x="11638" y="2569"/>
                </a:lnTo>
                <a:lnTo>
                  <a:pt x="11646" y="2576"/>
                </a:lnTo>
                <a:lnTo>
                  <a:pt x="11655" y="2584"/>
                </a:lnTo>
                <a:lnTo>
                  <a:pt x="11675" y="2594"/>
                </a:lnTo>
                <a:lnTo>
                  <a:pt x="11687" y="2600"/>
                </a:lnTo>
                <a:lnTo>
                  <a:pt x="11699" y="2603"/>
                </a:lnTo>
                <a:lnTo>
                  <a:pt x="11726" y="2605"/>
                </a:lnTo>
                <a:lnTo>
                  <a:pt x="11754" y="2603"/>
                </a:lnTo>
                <a:lnTo>
                  <a:pt x="11777" y="2594"/>
                </a:lnTo>
                <a:lnTo>
                  <a:pt x="11798" y="2584"/>
                </a:lnTo>
                <a:lnTo>
                  <a:pt x="11807" y="2576"/>
                </a:lnTo>
                <a:lnTo>
                  <a:pt x="11814" y="2569"/>
                </a:lnTo>
                <a:lnTo>
                  <a:pt x="11826" y="2554"/>
                </a:lnTo>
                <a:lnTo>
                  <a:pt x="11835" y="2538"/>
                </a:lnTo>
                <a:lnTo>
                  <a:pt x="11843" y="2520"/>
                </a:lnTo>
                <a:lnTo>
                  <a:pt x="11848" y="2502"/>
                </a:lnTo>
                <a:lnTo>
                  <a:pt x="11855" y="2464"/>
                </a:lnTo>
                <a:lnTo>
                  <a:pt x="11856" y="2423"/>
                </a:lnTo>
                <a:lnTo>
                  <a:pt x="11856" y="2402"/>
                </a:lnTo>
                <a:lnTo>
                  <a:pt x="11855" y="2382"/>
                </a:lnTo>
                <a:lnTo>
                  <a:pt x="11848" y="2343"/>
                </a:lnTo>
                <a:lnTo>
                  <a:pt x="11843" y="2325"/>
                </a:lnTo>
                <a:lnTo>
                  <a:pt x="11835" y="2307"/>
                </a:lnTo>
                <a:lnTo>
                  <a:pt x="11826" y="2291"/>
                </a:lnTo>
                <a:lnTo>
                  <a:pt x="11814" y="2277"/>
                </a:lnTo>
                <a:close/>
                <a:moveTo>
                  <a:pt x="4921" y="3366"/>
                </a:moveTo>
                <a:lnTo>
                  <a:pt x="4904" y="3364"/>
                </a:lnTo>
                <a:lnTo>
                  <a:pt x="4884" y="3357"/>
                </a:lnTo>
                <a:lnTo>
                  <a:pt x="4860" y="3346"/>
                </a:lnTo>
                <a:lnTo>
                  <a:pt x="4834" y="3332"/>
                </a:lnTo>
                <a:lnTo>
                  <a:pt x="4776" y="3293"/>
                </a:lnTo>
                <a:lnTo>
                  <a:pt x="4743" y="3269"/>
                </a:lnTo>
                <a:lnTo>
                  <a:pt x="4708" y="3241"/>
                </a:lnTo>
                <a:lnTo>
                  <a:pt x="4652" y="3194"/>
                </a:lnTo>
                <a:lnTo>
                  <a:pt x="4590" y="3139"/>
                </a:lnTo>
                <a:lnTo>
                  <a:pt x="4451" y="3010"/>
                </a:lnTo>
                <a:lnTo>
                  <a:pt x="4299" y="2862"/>
                </a:lnTo>
                <a:lnTo>
                  <a:pt x="4144" y="2704"/>
                </a:lnTo>
                <a:lnTo>
                  <a:pt x="3998" y="2546"/>
                </a:lnTo>
                <a:lnTo>
                  <a:pt x="3929" y="2469"/>
                </a:lnTo>
                <a:lnTo>
                  <a:pt x="3866" y="2395"/>
                </a:lnTo>
                <a:lnTo>
                  <a:pt x="3808" y="2326"/>
                </a:lnTo>
                <a:lnTo>
                  <a:pt x="3783" y="2293"/>
                </a:lnTo>
                <a:lnTo>
                  <a:pt x="3760" y="2262"/>
                </a:lnTo>
                <a:lnTo>
                  <a:pt x="3719" y="2204"/>
                </a:lnTo>
                <a:lnTo>
                  <a:pt x="3702" y="2179"/>
                </a:lnTo>
                <a:lnTo>
                  <a:pt x="3688" y="2155"/>
                </a:lnTo>
                <a:lnTo>
                  <a:pt x="3640" y="2059"/>
                </a:lnTo>
                <a:lnTo>
                  <a:pt x="3622" y="2014"/>
                </a:lnTo>
                <a:lnTo>
                  <a:pt x="3605" y="1968"/>
                </a:lnTo>
                <a:lnTo>
                  <a:pt x="3592" y="1923"/>
                </a:lnTo>
                <a:lnTo>
                  <a:pt x="3582" y="1879"/>
                </a:lnTo>
                <a:lnTo>
                  <a:pt x="3577" y="1833"/>
                </a:lnTo>
                <a:lnTo>
                  <a:pt x="3575" y="1786"/>
                </a:lnTo>
                <a:lnTo>
                  <a:pt x="3578" y="1735"/>
                </a:lnTo>
                <a:lnTo>
                  <a:pt x="3586" y="1682"/>
                </a:lnTo>
                <a:lnTo>
                  <a:pt x="3599" y="1627"/>
                </a:lnTo>
                <a:lnTo>
                  <a:pt x="3607" y="1599"/>
                </a:lnTo>
                <a:lnTo>
                  <a:pt x="3617" y="1572"/>
                </a:lnTo>
                <a:lnTo>
                  <a:pt x="3641" y="1514"/>
                </a:lnTo>
                <a:lnTo>
                  <a:pt x="3670" y="1454"/>
                </a:lnTo>
                <a:lnTo>
                  <a:pt x="3706" y="1394"/>
                </a:lnTo>
                <a:lnTo>
                  <a:pt x="3726" y="1362"/>
                </a:lnTo>
                <a:lnTo>
                  <a:pt x="3748" y="1329"/>
                </a:lnTo>
                <a:lnTo>
                  <a:pt x="3781" y="1283"/>
                </a:lnTo>
                <a:lnTo>
                  <a:pt x="3824" y="1228"/>
                </a:lnTo>
                <a:lnTo>
                  <a:pt x="3929" y="1101"/>
                </a:lnTo>
                <a:lnTo>
                  <a:pt x="4057" y="952"/>
                </a:lnTo>
                <a:lnTo>
                  <a:pt x="4203" y="787"/>
                </a:lnTo>
                <a:lnTo>
                  <a:pt x="4526" y="423"/>
                </a:lnTo>
                <a:lnTo>
                  <a:pt x="4690" y="234"/>
                </a:lnTo>
                <a:lnTo>
                  <a:pt x="4850" y="47"/>
                </a:lnTo>
                <a:lnTo>
                  <a:pt x="4860" y="45"/>
                </a:lnTo>
                <a:lnTo>
                  <a:pt x="4872" y="43"/>
                </a:lnTo>
                <a:lnTo>
                  <a:pt x="4892" y="41"/>
                </a:lnTo>
                <a:lnTo>
                  <a:pt x="4925" y="45"/>
                </a:lnTo>
                <a:lnTo>
                  <a:pt x="4944" y="49"/>
                </a:lnTo>
                <a:lnTo>
                  <a:pt x="4962" y="56"/>
                </a:lnTo>
                <a:lnTo>
                  <a:pt x="4983" y="63"/>
                </a:lnTo>
                <a:lnTo>
                  <a:pt x="5003" y="73"/>
                </a:lnTo>
                <a:lnTo>
                  <a:pt x="5043" y="96"/>
                </a:lnTo>
                <a:lnTo>
                  <a:pt x="5082" y="125"/>
                </a:lnTo>
                <a:lnTo>
                  <a:pt x="5100" y="142"/>
                </a:lnTo>
                <a:lnTo>
                  <a:pt x="5119" y="159"/>
                </a:lnTo>
                <a:lnTo>
                  <a:pt x="5135" y="178"/>
                </a:lnTo>
                <a:lnTo>
                  <a:pt x="5150" y="199"/>
                </a:lnTo>
                <a:lnTo>
                  <a:pt x="5165" y="221"/>
                </a:lnTo>
                <a:lnTo>
                  <a:pt x="5176" y="244"/>
                </a:lnTo>
                <a:lnTo>
                  <a:pt x="5184" y="266"/>
                </a:lnTo>
                <a:lnTo>
                  <a:pt x="5190" y="287"/>
                </a:lnTo>
                <a:lnTo>
                  <a:pt x="5193" y="310"/>
                </a:lnTo>
                <a:lnTo>
                  <a:pt x="5194" y="332"/>
                </a:lnTo>
                <a:lnTo>
                  <a:pt x="5193" y="357"/>
                </a:lnTo>
                <a:lnTo>
                  <a:pt x="5188" y="382"/>
                </a:lnTo>
                <a:lnTo>
                  <a:pt x="5182" y="407"/>
                </a:lnTo>
                <a:lnTo>
                  <a:pt x="5172" y="432"/>
                </a:lnTo>
                <a:lnTo>
                  <a:pt x="5161" y="458"/>
                </a:lnTo>
                <a:lnTo>
                  <a:pt x="5146" y="484"/>
                </a:lnTo>
                <a:lnTo>
                  <a:pt x="5130" y="511"/>
                </a:lnTo>
                <a:lnTo>
                  <a:pt x="5111" y="540"/>
                </a:lnTo>
                <a:lnTo>
                  <a:pt x="5078" y="584"/>
                </a:lnTo>
                <a:lnTo>
                  <a:pt x="5034" y="636"/>
                </a:lnTo>
                <a:lnTo>
                  <a:pt x="4927" y="763"/>
                </a:lnTo>
                <a:lnTo>
                  <a:pt x="4657" y="1067"/>
                </a:lnTo>
                <a:lnTo>
                  <a:pt x="4384" y="1378"/>
                </a:lnTo>
                <a:lnTo>
                  <a:pt x="4270" y="1512"/>
                </a:lnTo>
                <a:lnTo>
                  <a:pt x="4187" y="1621"/>
                </a:lnTo>
                <a:lnTo>
                  <a:pt x="4163" y="1655"/>
                </a:lnTo>
                <a:lnTo>
                  <a:pt x="4146" y="1688"/>
                </a:lnTo>
                <a:lnTo>
                  <a:pt x="4140" y="1706"/>
                </a:lnTo>
                <a:lnTo>
                  <a:pt x="4137" y="1722"/>
                </a:lnTo>
                <a:lnTo>
                  <a:pt x="4133" y="1739"/>
                </a:lnTo>
                <a:lnTo>
                  <a:pt x="4132" y="1757"/>
                </a:lnTo>
                <a:lnTo>
                  <a:pt x="4133" y="1778"/>
                </a:lnTo>
                <a:lnTo>
                  <a:pt x="4137" y="1797"/>
                </a:lnTo>
                <a:lnTo>
                  <a:pt x="4150" y="1837"/>
                </a:lnTo>
                <a:lnTo>
                  <a:pt x="4159" y="1858"/>
                </a:lnTo>
                <a:lnTo>
                  <a:pt x="4170" y="1880"/>
                </a:lnTo>
                <a:lnTo>
                  <a:pt x="4197" y="1923"/>
                </a:lnTo>
                <a:lnTo>
                  <a:pt x="4266" y="2007"/>
                </a:lnTo>
                <a:lnTo>
                  <a:pt x="4362" y="2117"/>
                </a:lnTo>
                <a:lnTo>
                  <a:pt x="4481" y="2245"/>
                </a:lnTo>
                <a:lnTo>
                  <a:pt x="4617" y="2388"/>
                </a:lnTo>
                <a:lnTo>
                  <a:pt x="4762" y="2537"/>
                </a:lnTo>
                <a:lnTo>
                  <a:pt x="4912" y="2688"/>
                </a:lnTo>
                <a:lnTo>
                  <a:pt x="5060" y="2834"/>
                </a:lnTo>
                <a:lnTo>
                  <a:pt x="5200" y="2968"/>
                </a:lnTo>
                <a:lnTo>
                  <a:pt x="5217" y="2986"/>
                </a:lnTo>
                <a:lnTo>
                  <a:pt x="5223" y="2995"/>
                </a:lnTo>
                <a:lnTo>
                  <a:pt x="5230" y="3005"/>
                </a:lnTo>
                <a:lnTo>
                  <a:pt x="5238" y="3026"/>
                </a:lnTo>
                <a:lnTo>
                  <a:pt x="5241" y="3038"/>
                </a:lnTo>
                <a:lnTo>
                  <a:pt x="5242" y="3051"/>
                </a:lnTo>
                <a:lnTo>
                  <a:pt x="5239" y="3076"/>
                </a:lnTo>
                <a:lnTo>
                  <a:pt x="5234" y="3102"/>
                </a:lnTo>
                <a:lnTo>
                  <a:pt x="5224" y="3129"/>
                </a:lnTo>
                <a:lnTo>
                  <a:pt x="5211" y="3156"/>
                </a:lnTo>
                <a:lnTo>
                  <a:pt x="5196" y="3182"/>
                </a:lnTo>
                <a:lnTo>
                  <a:pt x="5178" y="3208"/>
                </a:lnTo>
                <a:lnTo>
                  <a:pt x="5157" y="3233"/>
                </a:lnTo>
                <a:lnTo>
                  <a:pt x="5135" y="3257"/>
                </a:lnTo>
                <a:lnTo>
                  <a:pt x="5110" y="3280"/>
                </a:lnTo>
                <a:lnTo>
                  <a:pt x="5085" y="3300"/>
                </a:lnTo>
                <a:lnTo>
                  <a:pt x="5059" y="3319"/>
                </a:lnTo>
                <a:lnTo>
                  <a:pt x="5032" y="3335"/>
                </a:lnTo>
                <a:lnTo>
                  <a:pt x="5004" y="3347"/>
                </a:lnTo>
                <a:lnTo>
                  <a:pt x="4975" y="3357"/>
                </a:lnTo>
                <a:lnTo>
                  <a:pt x="4948" y="3364"/>
                </a:lnTo>
                <a:lnTo>
                  <a:pt x="4921" y="3366"/>
                </a:lnTo>
                <a:close/>
                <a:moveTo>
                  <a:pt x="1388" y="3419"/>
                </a:moveTo>
                <a:lnTo>
                  <a:pt x="1316" y="3417"/>
                </a:lnTo>
                <a:lnTo>
                  <a:pt x="1246" y="3410"/>
                </a:lnTo>
                <a:lnTo>
                  <a:pt x="1177" y="3401"/>
                </a:lnTo>
                <a:lnTo>
                  <a:pt x="1108" y="3386"/>
                </a:lnTo>
                <a:lnTo>
                  <a:pt x="1075" y="3378"/>
                </a:lnTo>
                <a:lnTo>
                  <a:pt x="1041" y="3368"/>
                </a:lnTo>
                <a:lnTo>
                  <a:pt x="976" y="3347"/>
                </a:lnTo>
                <a:lnTo>
                  <a:pt x="911" y="3321"/>
                </a:lnTo>
                <a:lnTo>
                  <a:pt x="879" y="3307"/>
                </a:lnTo>
                <a:lnTo>
                  <a:pt x="848" y="3293"/>
                </a:lnTo>
                <a:lnTo>
                  <a:pt x="787" y="3260"/>
                </a:lnTo>
                <a:lnTo>
                  <a:pt x="756" y="3243"/>
                </a:lnTo>
                <a:lnTo>
                  <a:pt x="727" y="3224"/>
                </a:lnTo>
                <a:lnTo>
                  <a:pt x="698" y="3206"/>
                </a:lnTo>
                <a:lnTo>
                  <a:pt x="668" y="3185"/>
                </a:lnTo>
                <a:lnTo>
                  <a:pt x="640" y="3164"/>
                </a:lnTo>
                <a:lnTo>
                  <a:pt x="613" y="3144"/>
                </a:lnTo>
                <a:lnTo>
                  <a:pt x="557" y="3098"/>
                </a:lnTo>
                <a:lnTo>
                  <a:pt x="505" y="3050"/>
                </a:lnTo>
                <a:lnTo>
                  <a:pt x="455" y="2999"/>
                </a:lnTo>
                <a:lnTo>
                  <a:pt x="406" y="2946"/>
                </a:lnTo>
                <a:lnTo>
                  <a:pt x="384" y="2918"/>
                </a:lnTo>
                <a:lnTo>
                  <a:pt x="361" y="2889"/>
                </a:lnTo>
                <a:lnTo>
                  <a:pt x="317" y="2831"/>
                </a:lnTo>
                <a:lnTo>
                  <a:pt x="276" y="2769"/>
                </a:lnTo>
                <a:lnTo>
                  <a:pt x="237" y="2704"/>
                </a:lnTo>
                <a:lnTo>
                  <a:pt x="218" y="2672"/>
                </a:lnTo>
                <a:lnTo>
                  <a:pt x="201" y="2639"/>
                </a:lnTo>
                <a:lnTo>
                  <a:pt x="167" y="2571"/>
                </a:lnTo>
                <a:lnTo>
                  <a:pt x="137" y="2500"/>
                </a:lnTo>
                <a:lnTo>
                  <a:pt x="110" y="2427"/>
                </a:lnTo>
                <a:lnTo>
                  <a:pt x="85" y="2353"/>
                </a:lnTo>
                <a:lnTo>
                  <a:pt x="63" y="2277"/>
                </a:lnTo>
                <a:lnTo>
                  <a:pt x="43" y="2199"/>
                </a:lnTo>
                <a:lnTo>
                  <a:pt x="28" y="2119"/>
                </a:lnTo>
                <a:lnTo>
                  <a:pt x="16" y="2039"/>
                </a:lnTo>
                <a:lnTo>
                  <a:pt x="8" y="1956"/>
                </a:lnTo>
                <a:lnTo>
                  <a:pt x="2" y="1872"/>
                </a:lnTo>
                <a:lnTo>
                  <a:pt x="0" y="1786"/>
                </a:lnTo>
                <a:lnTo>
                  <a:pt x="2" y="1699"/>
                </a:lnTo>
                <a:lnTo>
                  <a:pt x="8" y="1613"/>
                </a:lnTo>
                <a:lnTo>
                  <a:pt x="16" y="1527"/>
                </a:lnTo>
                <a:lnTo>
                  <a:pt x="29" y="1442"/>
                </a:lnTo>
                <a:lnTo>
                  <a:pt x="37" y="1400"/>
                </a:lnTo>
                <a:lnTo>
                  <a:pt x="46" y="1359"/>
                </a:lnTo>
                <a:lnTo>
                  <a:pt x="65" y="1276"/>
                </a:lnTo>
                <a:lnTo>
                  <a:pt x="89" y="1194"/>
                </a:lnTo>
                <a:lnTo>
                  <a:pt x="115" y="1114"/>
                </a:lnTo>
                <a:lnTo>
                  <a:pt x="145" y="1036"/>
                </a:lnTo>
                <a:lnTo>
                  <a:pt x="160" y="998"/>
                </a:lnTo>
                <a:lnTo>
                  <a:pt x="176" y="960"/>
                </a:lnTo>
                <a:lnTo>
                  <a:pt x="212" y="884"/>
                </a:lnTo>
                <a:lnTo>
                  <a:pt x="250" y="812"/>
                </a:lnTo>
                <a:lnTo>
                  <a:pt x="291" y="741"/>
                </a:lnTo>
                <a:lnTo>
                  <a:pt x="335" y="672"/>
                </a:lnTo>
                <a:lnTo>
                  <a:pt x="380" y="607"/>
                </a:lnTo>
                <a:lnTo>
                  <a:pt x="429" y="544"/>
                </a:lnTo>
                <a:lnTo>
                  <a:pt x="480" y="483"/>
                </a:lnTo>
                <a:lnTo>
                  <a:pt x="534" y="425"/>
                </a:lnTo>
                <a:lnTo>
                  <a:pt x="589" y="371"/>
                </a:lnTo>
                <a:lnTo>
                  <a:pt x="648" y="320"/>
                </a:lnTo>
                <a:lnTo>
                  <a:pt x="707" y="271"/>
                </a:lnTo>
                <a:lnTo>
                  <a:pt x="769" y="226"/>
                </a:lnTo>
                <a:lnTo>
                  <a:pt x="832" y="185"/>
                </a:lnTo>
                <a:lnTo>
                  <a:pt x="865" y="167"/>
                </a:lnTo>
                <a:lnTo>
                  <a:pt x="898" y="148"/>
                </a:lnTo>
                <a:lnTo>
                  <a:pt x="965" y="114"/>
                </a:lnTo>
                <a:lnTo>
                  <a:pt x="1034" y="85"/>
                </a:lnTo>
                <a:lnTo>
                  <a:pt x="1104" y="60"/>
                </a:lnTo>
                <a:lnTo>
                  <a:pt x="1140" y="48"/>
                </a:lnTo>
                <a:lnTo>
                  <a:pt x="1177" y="38"/>
                </a:lnTo>
                <a:lnTo>
                  <a:pt x="1250" y="22"/>
                </a:lnTo>
                <a:lnTo>
                  <a:pt x="1325" y="10"/>
                </a:lnTo>
                <a:lnTo>
                  <a:pt x="1400" y="2"/>
                </a:lnTo>
                <a:lnTo>
                  <a:pt x="1438" y="0"/>
                </a:lnTo>
                <a:lnTo>
                  <a:pt x="1477" y="0"/>
                </a:lnTo>
                <a:lnTo>
                  <a:pt x="1524" y="1"/>
                </a:lnTo>
                <a:lnTo>
                  <a:pt x="1571" y="4"/>
                </a:lnTo>
                <a:lnTo>
                  <a:pt x="1616" y="10"/>
                </a:lnTo>
                <a:lnTo>
                  <a:pt x="1660" y="17"/>
                </a:lnTo>
                <a:lnTo>
                  <a:pt x="1703" y="27"/>
                </a:lnTo>
                <a:lnTo>
                  <a:pt x="1744" y="38"/>
                </a:lnTo>
                <a:lnTo>
                  <a:pt x="1823" y="68"/>
                </a:lnTo>
                <a:lnTo>
                  <a:pt x="1860" y="84"/>
                </a:lnTo>
                <a:lnTo>
                  <a:pt x="1896" y="103"/>
                </a:lnTo>
                <a:lnTo>
                  <a:pt x="1931" y="124"/>
                </a:lnTo>
                <a:lnTo>
                  <a:pt x="1963" y="147"/>
                </a:lnTo>
                <a:lnTo>
                  <a:pt x="1996" y="171"/>
                </a:lnTo>
                <a:lnTo>
                  <a:pt x="2025" y="196"/>
                </a:lnTo>
                <a:lnTo>
                  <a:pt x="2055" y="223"/>
                </a:lnTo>
                <a:lnTo>
                  <a:pt x="2082" y="252"/>
                </a:lnTo>
                <a:lnTo>
                  <a:pt x="2108" y="283"/>
                </a:lnTo>
                <a:lnTo>
                  <a:pt x="2132" y="314"/>
                </a:lnTo>
                <a:lnTo>
                  <a:pt x="2155" y="347"/>
                </a:lnTo>
                <a:lnTo>
                  <a:pt x="2175" y="381"/>
                </a:lnTo>
                <a:lnTo>
                  <a:pt x="2213" y="454"/>
                </a:lnTo>
                <a:lnTo>
                  <a:pt x="2230" y="492"/>
                </a:lnTo>
                <a:lnTo>
                  <a:pt x="2245" y="531"/>
                </a:lnTo>
                <a:lnTo>
                  <a:pt x="2258" y="571"/>
                </a:lnTo>
                <a:lnTo>
                  <a:pt x="2269" y="613"/>
                </a:lnTo>
                <a:lnTo>
                  <a:pt x="2279" y="655"/>
                </a:lnTo>
                <a:lnTo>
                  <a:pt x="2286" y="697"/>
                </a:lnTo>
                <a:lnTo>
                  <a:pt x="2293" y="742"/>
                </a:lnTo>
                <a:lnTo>
                  <a:pt x="2297" y="787"/>
                </a:lnTo>
                <a:lnTo>
                  <a:pt x="2299" y="832"/>
                </a:lnTo>
                <a:lnTo>
                  <a:pt x="2300" y="878"/>
                </a:lnTo>
                <a:lnTo>
                  <a:pt x="2299" y="937"/>
                </a:lnTo>
                <a:lnTo>
                  <a:pt x="2294" y="994"/>
                </a:lnTo>
                <a:lnTo>
                  <a:pt x="2284" y="1052"/>
                </a:lnTo>
                <a:lnTo>
                  <a:pt x="2272" y="1109"/>
                </a:lnTo>
                <a:lnTo>
                  <a:pt x="2256" y="1165"/>
                </a:lnTo>
                <a:lnTo>
                  <a:pt x="2237" y="1219"/>
                </a:lnTo>
                <a:lnTo>
                  <a:pt x="2216" y="1274"/>
                </a:lnTo>
                <a:lnTo>
                  <a:pt x="2191" y="1328"/>
                </a:lnTo>
                <a:lnTo>
                  <a:pt x="2163" y="1380"/>
                </a:lnTo>
                <a:lnTo>
                  <a:pt x="2133" y="1432"/>
                </a:lnTo>
                <a:lnTo>
                  <a:pt x="2100" y="1482"/>
                </a:lnTo>
                <a:lnTo>
                  <a:pt x="2066" y="1530"/>
                </a:lnTo>
                <a:lnTo>
                  <a:pt x="2028" y="1577"/>
                </a:lnTo>
                <a:lnTo>
                  <a:pt x="1988" y="1623"/>
                </a:lnTo>
                <a:lnTo>
                  <a:pt x="1946" y="1667"/>
                </a:lnTo>
                <a:lnTo>
                  <a:pt x="1903" y="1709"/>
                </a:lnTo>
                <a:lnTo>
                  <a:pt x="1857" y="1749"/>
                </a:lnTo>
                <a:lnTo>
                  <a:pt x="1810" y="1787"/>
                </a:lnTo>
                <a:lnTo>
                  <a:pt x="1761" y="1824"/>
                </a:lnTo>
                <a:lnTo>
                  <a:pt x="1711" y="1858"/>
                </a:lnTo>
                <a:lnTo>
                  <a:pt x="1659" y="1891"/>
                </a:lnTo>
                <a:lnTo>
                  <a:pt x="1633" y="1906"/>
                </a:lnTo>
                <a:lnTo>
                  <a:pt x="1606" y="1920"/>
                </a:lnTo>
                <a:lnTo>
                  <a:pt x="1553" y="1948"/>
                </a:lnTo>
                <a:lnTo>
                  <a:pt x="1497" y="1972"/>
                </a:lnTo>
                <a:lnTo>
                  <a:pt x="1442" y="1995"/>
                </a:lnTo>
                <a:lnTo>
                  <a:pt x="1385" y="2015"/>
                </a:lnTo>
                <a:lnTo>
                  <a:pt x="1328" y="2032"/>
                </a:lnTo>
                <a:lnTo>
                  <a:pt x="1270" y="2046"/>
                </a:lnTo>
                <a:lnTo>
                  <a:pt x="1213" y="2057"/>
                </a:lnTo>
                <a:lnTo>
                  <a:pt x="1154" y="2065"/>
                </a:lnTo>
                <a:lnTo>
                  <a:pt x="1096" y="2070"/>
                </a:lnTo>
                <a:lnTo>
                  <a:pt x="1038" y="2071"/>
                </a:lnTo>
                <a:lnTo>
                  <a:pt x="1013" y="2070"/>
                </a:lnTo>
                <a:lnTo>
                  <a:pt x="988" y="2066"/>
                </a:lnTo>
                <a:lnTo>
                  <a:pt x="965" y="2058"/>
                </a:lnTo>
                <a:lnTo>
                  <a:pt x="942" y="2048"/>
                </a:lnTo>
                <a:lnTo>
                  <a:pt x="920" y="2036"/>
                </a:lnTo>
                <a:lnTo>
                  <a:pt x="901" y="2022"/>
                </a:lnTo>
                <a:lnTo>
                  <a:pt x="882" y="2005"/>
                </a:lnTo>
                <a:lnTo>
                  <a:pt x="865" y="1986"/>
                </a:lnTo>
                <a:lnTo>
                  <a:pt x="850" y="1966"/>
                </a:lnTo>
                <a:lnTo>
                  <a:pt x="836" y="1943"/>
                </a:lnTo>
                <a:lnTo>
                  <a:pt x="824" y="1919"/>
                </a:lnTo>
                <a:lnTo>
                  <a:pt x="814" y="1894"/>
                </a:lnTo>
                <a:lnTo>
                  <a:pt x="805" y="1867"/>
                </a:lnTo>
                <a:lnTo>
                  <a:pt x="800" y="1840"/>
                </a:lnTo>
                <a:lnTo>
                  <a:pt x="795" y="1810"/>
                </a:lnTo>
                <a:lnTo>
                  <a:pt x="794" y="1781"/>
                </a:lnTo>
                <a:lnTo>
                  <a:pt x="798" y="1729"/>
                </a:lnTo>
                <a:lnTo>
                  <a:pt x="803" y="1705"/>
                </a:lnTo>
                <a:lnTo>
                  <a:pt x="810" y="1683"/>
                </a:lnTo>
                <a:lnTo>
                  <a:pt x="818" y="1663"/>
                </a:lnTo>
                <a:lnTo>
                  <a:pt x="829" y="1646"/>
                </a:lnTo>
                <a:lnTo>
                  <a:pt x="843" y="1631"/>
                </a:lnTo>
                <a:lnTo>
                  <a:pt x="859" y="1621"/>
                </a:lnTo>
                <a:lnTo>
                  <a:pt x="911" y="1612"/>
                </a:lnTo>
                <a:lnTo>
                  <a:pt x="962" y="1602"/>
                </a:lnTo>
                <a:lnTo>
                  <a:pt x="1011" y="1590"/>
                </a:lnTo>
                <a:lnTo>
                  <a:pt x="1059" y="1577"/>
                </a:lnTo>
                <a:lnTo>
                  <a:pt x="1106" y="1562"/>
                </a:lnTo>
                <a:lnTo>
                  <a:pt x="1153" y="1546"/>
                </a:lnTo>
                <a:lnTo>
                  <a:pt x="1197" y="1528"/>
                </a:lnTo>
                <a:lnTo>
                  <a:pt x="1242" y="1509"/>
                </a:lnTo>
                <a:lnTo>
                  <a:pt x="1284" y="1488"/>
                </a:lnTo>
                <a:lnTo>
                  <a:pt x="1326" y="1466"/>
                </a:lnTo>
                <a:lnTo>
                  <a:pt x="1404" y="1420"/>
                </a:lnTo>
                <a:lnTo>
                  <a:pt x="1477" y="1369"/>
                </a:lnTo>
                <a:lnTo>
                  <a:pt x="1511" y="1341"/>
                </a:lnTo>
                <a:lnTo>
                  <a:pt x="1544" y="1314"/>
                </a:lnTo>
                <a:lnTo>
                  <a:pt x="1574" y="1286"/>
                </a:lnTo>
                <a:lnTo>
                  <a:pt x="1604" y="1256"/>
                </a:lnTo>
                <a:lnTo>
                  <a:pt x="1632" y="1226"/>
                </a:lnTo>
                <a:lnTo>
                  <a:pt x="1658" y="1196"/>
                </a:lnTo>
                <a:lnTo>
                  <a:pt x="1682" y="1164"/>
                </a:lnTo>
                <a:lnTo>
                  <a:pt x="1704" y="1132"/>
                </a:lnTo>
                <a:lnTo>
                  <a:pt x="1724" y="1101"/>
                </a:lnTo>
                <a:lnTo>
                  <a:pt x="1743" y="1068"/>
                </a:lnTo>
                <a:lnTo>
                  <a:pt x="1759" y="1036"/>
                </a:lnTo>
                <a:lnTo>
                  <a:pt x="1773" y="1003"/>
                </a:lnTo>
                <a:lnTo>
                  <a:pt x="1796" y="938"/>
                </a:lnTo>
                <a:lnTo>
                  <a:pt x="1804" y="905"/>
                </a:lnTo>
                <a:lnTo>
                  <a:pt x="1810" y="872"/>
                </a:lnTo>
                <a:lnTo>
                  <a:pt x="1814" y="840"/>
                </a:lnTo>
                <a:lnTo>
                  <a:pt x="1815" y="807"/>
                </a:lnTo>
                <a:lnTo>
                  <a:pt x="1812" y="768"/>
                </a:lnTo>
                <a:lnTo>
                  <a:pt x="1808" y="731"/>
                </a:lnTo>
                <a:lnTo>
                  <a:pt x="1799" y="696"/>
                </a:lnTo>
                <a:lnTo>
                  <a:pt x="1789" y="664"/>
                </a:lnTo>
                <a:lnTo>
                  <a:pt x="1774" y="633"/>
                </a:lnTo>
                <a:lnTo>
                  <a:pt x="1757" y="605"/>
                </a:lnTo>
                <a:lnTo>
                  <a:pt x="1737" y="579"/>
                </a:lnTo>
                <a:lnTo>
                  <a:pt x="1715" y="555"/>
                </a:lnTo>
                <a:lnTo>
                  <a:pt x="1689" y="534"/>
                </a:lnTo>
                <a:lnTo>
                  <a:pt x="1660" y="516"/>
                </a:lnTo>
                <a:lnTo>
                  <a:pt x="1630" y="499"/>
                </a:lnTo>
                <a:lnTo>
                  <a:pt x="1597" y="486"/>
                </a:lnTo>
                <a:lnTo>
                  <a:pt x="1579" y="481"/>
                </a:lnTo>
                <a:lnTo>
                  <a:pt x="1561" y="477"/>
                </a:lnTo>
                <a:lnTo>
                  <a:pt x="1523" y="469"/>
                </a:lnTo>
                <a:lnTo>
                  <a:pt x="1483" y="465"/>
                </a:lnTo>
                <a:lnTo>
                  <a:pt x="1441" y="462"/>
                </a:lnTo>
                <a:lnTo>
                  <a:pt x="1401" y="465"/>
                </a:lnTo>
                <a:lnTo>
                  <a:pt x="1359" y="470"/>
                </a:lnTo>
                <a:lnTo>
                  <a:pt x="1318" y="478"/>
                </a:lnTo>
                <a:lnTo>
                  <a:pt x="1277" y="490"/>
                </a:lnTo>
                <a:lnTo>
                  <a:pt x="1235" y="504"/>
                </a:lnTo>
                <a:lnTo>
                  <a:pt x="1195" y="522"/>
                </a:lnTo>
                <a:lnTo>
                  <a:pt x="1154" y="543"/>
                </a:lnTo>
                <a:lnTo>
                  <a:pt x="1114" y="566"/>
                </a:lnTo>
                <a:lnTo>
                  <a:pt x="1074" y="592"/>
                </a:lnTo>
                <a:lnTo>
                  <a:pt x="1034" y="621"/>
                </a:lnTo>
                <a:lnTo>
                  <a:pt x="995" y="653"/>
                </a:lnTo>
                <a:lnTo>
                  <a:pt x="958" y="686"/>
                </a:lnTo>
                <a:lnTo>
                  <a:pt x="921" y="722"/>
                </a:lnTo>
                <a:lnTo>
                  <a:pt x="884" y="762"/>
                </a:lnTo>
                <a:lnTo>
                  <a:pt x="850" y="803"/>
                </a:lnTo>
                <a:lnTo>
                  <a:pt x="816" y="845"/>
                </a:lnTo>
                <a:lnTo>
                  <a:pt x="752" y="939"/>
                </a:lnTo>
                <a:lnTo>
                  <a:pt x="723" y="988"/>
                </a:lnTo>
                <a:lnTo>
                  <a:pt x="694" y="1039"/>
                </a:lnTo>
                <a:lnTo>
                  <a:pt x="681" y="1065"/>
                </a:lnTo>
                <a:lnTo>
                  <a:pt x="668" y="1091"/>
                </a:lnTo>
                <a:lnTo>
                  <a:pt x="643" y="1146"/>
                </a:lnTo>
                <a:lnTo>
                  <a:pt x="620" y="1202"/>
                </a:lnTo>
                <a:lnTo>
                  <a:pt x="600" y="1260"/>
                </a:lnTo>
                <a:lnTo>
                  <a:pt x="580" y="1318"/>
                </a:lnTo>
                <a:lnTo>
                  <a:pt x="564" y="1378"/>
                </a:lnTo>
                <a:lnTo>
                  <a:pt x="550" y="1440"/>
                </a:lnTo>
                <a:lnTo>
                  <a:pt x="538" y="1502"/>
                </a:lnTo>
                <a:lnTo>
                  <a:pt x="528" y="1567"/>
                </a:lnTo>
                <a:lnTo>
                  <a:pt x="522" y="1631"/>
                </a:lnTo>
                <a:lnTo>
                  <a:pt x="517" y="1696"/>
                </a:lnTo>
                <a:lnTo>
                  <a:pt x="516" y="1763"/>
                </a:lnTo>
                <a:lnTo>
                  <a:pt x="517" y="1822"/>
                </a:lnTo>
                <a:lnTo>
                  <a:pt x="519" y="1881"/>
                </a:lnTo>
                <a:lnTo>
                  <a:pt x="525" y="1939"/>
                </a:lnTo>
                <a:lnTo>
                  <a:pt x="532" y="1994"/>
                </a:lnTo>
                <a:lnTo>
                  <a:pt x="541" y="2049"/>
                </a:lnTo>
                <a:lnTo>
                  <a:pt x="552" y="2103"/>
                </a:lnTo>
                <a:lnTo>
                  <a:pt x="564" y="2155"/>
                </a:lnTo>
                <a:lnTo>
                  <a:pt x="579" y="2206"/>
                </a:lnTo>
                <a:lnTo>
                  <a:pt x="595" y="2255"/>
                </a:lnTo>
                <a:lnTo>
                  <a:pt x="614" y="2303"/>
                </a:lnTo>
                <a:lnTo>
                  <a:pt x="633" y="2350"/>
                </a:lnTo>
                <a:lnTo>
                  <a:pt x="655" y="2394"/>
                </a:lnTo>
                <a:lnTo>
                  <a:pt x="678" y="2437"/>
                </a:lnTo>
                <a:lnTo>
                  <a:pt x="703" y="2478"/>
                </a:lnTo>
                <a:lnTo>
                  <a:pt x="730" y="2517"/>
                </a:lnTo>
                <a:lnTo>
                  <a:pt x="758" y="2555"/>
                </a:lnTo>
                <a:lnTo>
                  <a:pt x="788" y="2591"/>
                </a:lnTo>
                <a:lnTo>
                  <a:pt x="819" y="2625"/>
                </a:lnTo>
                <a:lnTo>
                  <a:pt x="852" y="2656"/>
                </a:lnTo>
                <a:lnTo>
                  <a:pt x="887" y="2687"/>
                </a:lnTo>
                <a:lnTo>
                  <a:pt x="923" y="2714"/>
                </a:lnTo>
                <a:lnTo>
                  <a:pt x="959" y="2740"/>
                </a:lnTo>
                <a:lnTo>
                  <a:pt x="999" y="2763"/>
                </a:lnTo>
                <a:lnTo>
                  <a:pt x="1039" y="2785"/>
                </a:lnTo>
                <a:lnTo>
                  <a:pt x="1080" y="2803"/>
                </a:lnTo>
                <a:lnTo>
                  <a:pt x="1122" y="2820"/>
                </a:lnTo>
                <a:lnTo>
                  <a:pt x="1167" y="2834"/>
                </a:lnTo>
                <a:lnTo>
                  <a:pt x="1213" y="2846"/>
                </a:lnTo>
                <a:lnTo>
                  <a:pt x="1258" y="2856"/>
                </a:lnTo>
                <a:lnTo>
                  <a:pt x="1306" y="2862"/>
                </a:lnTo>
                <a:lnTo>
                  <a:pt x="1355" y="2865"/>
                </a:lnTo>
                <a:lnTo>
                  <a:pt x="1405" y="2867"/>
                </a:lnTo>
                <a:lnTo>
                  <a:pt x="1454" y="2865"/>
                </a:lnTo>
                <a:lnTo>
                  <a:pt x="1503" y="2862"/>
                </a:lnTo>
                <a:lnTo>
                  <a:pt x="1551" y="2857"/>
                </a:lnTo>
                <a:lnTo>
                  <a:pt x="1597" y="2848"/>
                </a:lnTo>
                <a:lnTo>
                  <a:pt x="1644" y="2838"/>
                </a:lnTo>
                <a:lnTo>
                  <a:pt x="1690" y="2825"/>
                </a:lnTo>
                <a:lnTo>
                  <a:pt x="1734" y="2811"/>
                </a:lnTo>
                <a:lnTo>
                  <a:pt x="1779" y="2794"/>
                </a:lnTo>
                <a:lnTo>
                  <a:pt x="1821" y="2775"/>
                </a:lnTo>
                <a:lnTo>
                  <a:pt x="1865" y="2754"/>
                </a:lnTo>
                <a:lnTo>
                  <a:pt x="1906" y="2732"/>
                </a:lnTo>
                <a:lnTo>
                  <a:pt x="1947" y="2708"/>
                </a:lnTo>
                <a:lnTo>
                  <a:pt x="1987" y="2681"/>
                </a:lnTo>
                <a:lnTo>
                  <a:pt x="2028" y="2653"/>
                </a:lnTo>
                <a:lnTo>
                  <a:pt x="2066" y="2624"/>
                </a:lnTo>
                <a:lnTo>
                  <a:pt x="2105" y="2592"/>
                </a:lnTo>
                <a:lnTo>
                  <a:pt x="2142" y="2560"/>
                </a:lnTo>
                <a:lnTo>
                  <a:pt x="2179" y="2525"/>
                </a:lnTo>
                <a:lnTo>
                  <a:pt x="2249" y="2452"/>
                </a:lnTo>
                <a:lnTo>
                  <a:pt x="2283" y="2413"/>
                </a:lnTo>
                <a:lnTo>
                  <a:pt x="2317" y="2374"/>
                </a:lnTo>
                <a:lnTo>
                  <a:pt x="2381" y="2290"/>
                </a:lnTo>
                <a:lnTo>
                  <a:pt x="2443" y="2201"/>
                </a:lnTo>
                <a:lnTo>
                  <a:pt x="2501" y="2108"/>
                </a:lnTo>
                <a:lnTo>
                  <a:pt x="2556" y="2011"/>
                </a:lnTo>
                <a:lnTo>
                  <a:pt x="2608" y="1912"/>
                </a:lnTo>
                <a:lnTo>
                  <a:pt x="2656" y="1809"/>
                </a:lnTo>
                <a:lnTo>
                  <a:pt x="2701" y="1704"/>
                </a:lnTo>
                <a:lnTo>
                  <a:pt x="2743" y="1596"/>
                </a:lnTo>
                <a:lnTo>
                  <a:pt x="2781" y="1487"/>
                </a:lnTo>
                <a:lnTo>
                  <a:pt x="2815" y="1376"/>
                </a:lnTo>
                <a:lnTo>
                  <a:pt x="2847" y="1265"/>
                </a:lnTo>
                <a:lnTo>
                  <a:pt x="2875" y="1153"/>
                </a:lnTo>
                <a:lnTo>
                  <a:pt x="2888" y="1098"/>
                </a:lnTo>
                <a:lnTo>
                  <a:pt x="2899" y="1041"/>
                </a:lnTo>
                <a:lnTo>
                  <a:pt x="2921" y="930"/>
                </a:lnTo>
                <a:lnTo>
                  <a:pt x="2938" y="819"/>
                </a:lnTo>
                <a:lnTo>
                  <a:pt x="2951" y="709"/>
                </a:lnTo>
                <a:lnTo>
                  <a:pt x="2961" y="602"/>
                </a:lnTo>
                <a:lnTo>
                  <a:pt x="2967" y="496"/>
                </a:lnTo>
                <a:lnTo>
                  <a:pt x="2971" y="393"/>
                </a:lnTo>
                <a:lnTo>
                  <a:pt x="2970" y="293"/>
                </a:lnTo>
                <a:lnTo>
                  <a:pt x="2964" y="196"/>
                </a:lnTo>
                <a:lnTo>
                  <a:pt x="2969" y="185"/>
                </a:lnTo>
                <a:lnTo>
                  <a:pt x="2974" y="174"/>
                </a:lnTo>
                <a:lnTo>
                  <a:pt x="2989" y="153"/>
                </a:lnTo>
                <a:lnTo>
                  <a:pt x="3010" y="134"/>
                </a:lnTo>
                <a:lnTo>
                  <a:pt x="3035" y="118"/>
                </a:lnTo>
                <a:lnTo>
                  <a:pt x="3064" y="103"/>
                </a:lnTo>
                <a:lnTo>
                  <a:pt x="3097" y="93"/>
                </a:lnTo>
                <a:lnTo>
                  <a:pt x="3134" y="85"/>
                </a:lnTo>
                <a:lnTo>
                  <a:pt x="3172" y="83"/>
                </a:lnTo>
                <a:lnTo>
                  <a:pt x="3206" y="84"/>
                </a:lnTo>
                <a:lnTo>
                  <a:pt x="3238" y="88"/>
                </a:lnTo>
                <a:lnTo>
                  <a:pt x="3270" y="94"/>
                </a:lnTo>
                <a:lnTo>
                  <a:pt x="3299" y="102"/>
                </a:lnTo>
                <a:lnTo>
                  <a:pt x="3326" y="114"/>
                </a:lnTo>
                <a:lnTo>
                  <a:pt x="3352" y="130"/>
                </a:lnTo>
                <a:lnTo>
                  <a:pt x="3376" y="147"/>
                </a:lnTo>
                <a:lnTo>
                  <a:pt x="3398" y="169"/>
                </a:lnTo>
                <a:lnTo>
                  <a:pt x="3418" y="194"/>
                </a:lnTo>
                <a:lnTo>
                  <a:pt x="3436" y="222"/>
                </a:lnTo>
                <a:lnTo>
                  <a:pt x="3451" y="255"/>
                </a:lnTo>
                <a:lnTo>
                  <a:pt x="3463" y="291"/>
                </a:lnTo>
                <a:lnTo>
                  <a:pt x="3468" y="311"/>
                </a:lnTo>
                <a:lnTo>
                  <a:pt x="3473" y="332"/>
                </a:lnTo>
                <a:lnTo>
                  <a:pt x="3480" y="376"/>
                </a:lnTo>
                <a:lnTo>
                  <a:pt x="3485" y="427"/>
                </a:lnTo>
                <a:lnTo>
                  <a:pt x="3487" y="481"/>
                </a:lnTo>
                <a:lnTo>
                  <a:pt x="3481" y="626"/>
                </a:lnTo>
                <a:lnTo>
                  <a:pt x="3473" y="769"/>
                </a:lnTo>
                <a:lnTo>
                  <a:pt x="3459" y="912"/>
                </a:lnTo>
                <a:lnTo>
                  <a:pt x="3439" y="1052"/>
                </a:lnTo>
                <a:lnTo>
                  <a:pt x="3428" y="1122"/>
                </a:lnTo>
                <a:lnTo>
                  <a:pt x="3416" y="1190"/>
                </a:lnTo>
                <a:lnTo>
                  <a:pt x="3402" y="1259"/>
                </a:lnTo>
                <a:lnTo>
                  <a:pt x="3388" y="1327"/>
                </a:lnTo>
                <a:lnTo>
                  <a:pt x="3373" y="1395"/>
                </a:lnTo>
                <a:lnTo>
                  <a:pt x="3355" y="1462"/>
                </a:lnTo>
                <a:lnTo>
                  <a:pt x="3319" y="1594"/>
                </a:lnTo>
                <a:lnTo>
                  <a:pt x="3278" y="1722"/>
                </a:lnTo>
                <a:lnTo>
                  <a:pt x="3234" y="1848"/>
                </a:lnTo>
                <a:lnTo>
                  <a:pt x="3210" y="1910"/>
                </a:lnTo>
                <a:lnTo>
                  <a:pt x="3185" y="1971"/>
                </a:lnTo>
                <a:lnTo>
                  <a:pt x="3133" y="2091"/>
                </a:lnTo>
                <a:lnTo>
                  <a:pt x="3076" y="2207"/>
                </a:lnTo>
                <a:lnTo>
                  <a:pt x="3046" y="2264"/>
                </a:lnTo>
                <a:lnTo>
                  <a:pt x="3015" y="2319"/>
                </a:lnTo>
                <a:lnTo>
                  <a:pt x="2951" y="2427"/>
                </a:lnTo>
                <a:lnTo>
                  <a:pt x="2884" y="2531"/>
                </a:lnTo>
                <a:lnTo>
                  <a:pt x="2813" y="2630"/>
                </a:lnTo>
                <a:lnTo>
                  <a:pt x="2776" y="2678"/>
                </a:lnTo>
                <a:lnTo>
                  <a:pt x="2738" y="2724"/>
                </a:lnTo>
                <a:lnTo>
                  <a:pt x="2700" y="2770"/>
                </a:lnTo>
                <a:lnTo>
                  <a:pt x="2661" y="2814"/>
                </a:lnTo>
                <a:lnTo>
                  <a:pt x="2621" y="2857"/>
                </a:lnTo>
                <a:lnTo>
                  <a:pt x="2580" y="2898"/>
                </a:lnTo>
                <a:lnTo>
                  <a:pt x="2538" y="2938"/>
                </a:lnTo>
                <a:lnTo>
                  <a:pt x="2496" y="2976"/>
                </a:lnTo>
                <a:lnTo>
                  <a:pt x="2452" y="3013"/>
                </a:lnTo>
                <a:lnTo>
                  <a:pt x="2408" y="3049"/>
                </a:lnTo>
                <a:lnTo>
                  <a:pt x="2318" y="3117"/>
                </a:lnTo>
                <a:lnTo>
                  <a:pt x="2272" y="3148"/>
                </a:lnTo>
                <a:lnTo>
                  <a:pt x="2225" y="3178"/>
                </a:lnTo>
                <a:lnTo>
                  <a:pt x="2178" y="3206"/>
                </a:lnTo>
                <a:lnTo>
                  <a:pt x="2129" y="3233"/>
                </a:lnTo>
                <a:lnTo>
                  <a:pt x="2080" y="3257"/>
                </a:lnTo>
                <a:lnTo>
                  <a:pt x="2031" y="3281"/>
                </a:lnTo>
                <a:lnTo>
                  <a:pt x="1980" y="3303"/>
                </a:lnTo>
                <a:lnTo>
                  <a:pt x="1930" y="3322"/>
                </a:lnTo>
                <a:lnTo>
                  <a:pt x="1878" y="3340"/>
                </a:lnTo>
                <a:lnTo>
                  <a:pt x="1825" y="3356"/>
                </a:lnTo>
                <a:lnTo>
                  <a:pt x="1773" y="3371"/>
                </a:lnTo>
                <a:lnTo>
                  <a:pt x="1720" y="3383"/>
                </a:lnTo>
                <a:lnTo>
                  <a:pt x="1666" y="3394"/>
                </a:lnTo>
                <a:lnTo>
                  <a:pt x="1611" y="3403"/>
                </a:lnTo>
                <a:lnTo>
                  <a:pt x="1556" y="3410"/>
                </a:lnTo>
                <a:lnTo>
                  <a:pt x="1501" y="3415"/>
                </a:lnTo>
                <a:lnTo>
                  <a:pt x="1444" y="3418"/>
                </a:lnTo>
                <a:lnTo>
                  <a:pt x="1388" y="34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11803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Picture 5" preserve="1" userDrawn="1">
  <p:cSld name="Title Slide Picture 5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1" y="1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AE4CD2-FF2B-481A-BD1B-6461D82DC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4" y="836712"/>
            <a:ext cx="7993062" cy="2215991"/>
          </a:xfrm>
        </p:spPr>
        <p:txBody>
          <a:bodyPr anchor="t" anchorCtr="0">
            <a:spAutoFit/>
          </a:bodyPr>
          <a:lstStyle>
            <a:lvl1pPr>
              <a:defRPr sz="80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94FF0EC-24DB-4A3B-8AA6-004F9170BE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4" y="4221088"/>
            <a:ext cx="7993062" cy="864072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B46E24-653A-4FF9-9521-1C6FB86597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0D632E-720A-4E57-8F18-FB9A91500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479C78-A5F2-40DD-9834-030D8B177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767408" y="5589762"/>
            <a:ext cx="1832400" cy="432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1414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tsikko ja sisältö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5735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Text Content" preserve="1" userDrawn="1">
  <p:cSld name="Title and Tex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 noEditPoints="1"/>
          </p:cNvSpPr>
          <p:nvPr userDrawn="1"/>
        </p:nvSpPr>
        <p:spPr bwMode="auto">
          <a:xfrm>
            <a:off x="7608168" y="4587521"/>
            <a:ext cx="4583832" cy="2270479"/>
          </a:xfrm>
          <a:custGeom>
            <a:avLst/>
            <a:gdLst>
              <a:gd name="T0" fmla="*/ 3697 w 4811"/>
              <a:gd name="T1" fmla="*/ 2229 h 2383"/>
              <a:gd name="T2" fmla="*/ 4135 w 4811"/>
              <a:gd name="T3" fmla="*/ 2292 h 2383"/>
              <a:gd name="T4" fmla="*/ 4664 w 4811"/>
              <a:gd name="T5" fmla="*/ 925 h 2383"/>
              <a:gd name="T6" fmla="*/ 4243 w 4811"/>
              <a:gd name="T7" fmla="*/ 833 h 2383"/>
              <a:gd name="T8" fmla="*/ 3838 w 4811"/>
              <a:gd name="T9" fmla="*/ 694 h 2383"/>
              <a:gd name="T10" fmla="*/ 3455 w 4811"/>
              <a:gd name="T11" fmla="*/ 502 h 2383"/>
              <a:gd name="T12" fmla="*/ 3177 w 4811"/>
              <a:gd name="T13" fmla="*/ 365 h 2383"/>
              <a:gd name="T14" fmla="*/ 3047 w 4811"/>
              <a:gd name="T15" fmla="*/ 284 h 2383"/>
              <a:gd name="T16" fmla="*/ 444 w 4811"/>
              <a:gd name="T17" fmla="*/ 1728 h 2383"/>
              <a:gd name="T18" fmla="*/ 569 w 4811"/>
              <a:gd name="T19" fmla="*/ 1649 h 2383"/>
              <a:gd name="T20" fmla="*/ 2935 w 4811"/>
              <a:gd name="T21" fmla="*/ 245 h 2383"/>
              <a:gd name="T22" fmla="*/ 1360 w 4811"/>
              <a:gd name="T23" fmla="*/ 1024 h 2383"/>
              <a:gd name="T24" fmla="*/ 2672 w 4811"/>
              <a:gd name="T25" fmla="*/ 135 h 2383"/>
              <a:gd name="T26" fmla="*/ 1444 w 4811"/>
              <a:gd name="T27" fmla="*/ 614 h 2383"/>
              <a:gd name="T28" fmla="*/ 1457 w 4811"/>
              <a:gd name="T29" fmla="*/ 469 h 2383"/>
              <a:gd name="T30" fmla="*/ 1962 w 4811"/>
              <a:gd name="T31" fmla="*/ 44 h 2383"/>
              <a:gd name="T32" fmla="*/ 1697 w 4811"/>
              <a:gd name="T33" fmla="*/ 121 h 2383"/>
              <a:gd name="T34" fmla="*/ 4512 w 4811"/>
              <a:gd name="T35" fmla="*/ 1220 h 2383"/>
              <a:gd name="T36" fmla="*/ 4105 w 4811"/>
              <a:gd name="T37" fmla="*/ 1077 h 2383"/>
              <a:gd name="T38" fmla="*/ 3709 w 4811"/>
              <a:gd name="T39" fmla="*/ 878 h 2383"/>
              <a:gd name="T40" fmla="*/ 3339 w 4811"/>
              <a:gd name="T41" fmla="*/ 673 h 2383"/>
              <a:gd name="T42" fmla="*/ 733 w 4811"/>
              <a:gd name="T43" fmla="*/ 2077 h 2383"/>
              <a:gd name="T44" fmla="*/ 835 w 4811"/>
              <a:gd name="T45" fmla="*/ 1990 h 2383"/>
              <a:gd name="T46" fmla="*/ 1324 w 4811"/>
              <a:gd name="T47" fmla="*/ 1694 h 2383"/>
              <a:gd name="T48" fmla="*/ 1522 w 4811"/>
              <a:gd name="T49" fmla="*/ 1503 h 2383"/>
              <a:gd name="T50" fmla="*/ 1660 w 4811"/>
              <a:gd name="T51" fmla="*/ 1239 h 2383"/>
              <a:gd name="T52" fmla="*/ 2781 w 4811"/>
              <a:gd name="T53" fmla="*/ 439 h 2383"/>
              <a:gd name="T54" fmla="*/ 1718 w 4811"/>
              <a:gd name="T55" fmla="*/ 811 h 2383"/>
              <a:gd name="T56" fmla="*/ 2218 w 4811"/>
              <a:gd name="T57" fmla="*/ 385 h 2383"/>
              <a:gd name="T58" fmla="*/ 1945 w 4811"/>
              <a:gd name="T59" fmla="*/ 469 h 2383"/>
              <a:gd name="T60" fmla="*/ 4617 w 4811"/>
              <a:gd name="T61" fmla="*/ 1533 h 2383"/>
              <a:gd name="T62" fmla="*/ 4100 w 4811"/>
              <a:gd name="T63" fmla="*/ 1288 h 2383"/>
              <a:gd name="T64" fmla="*/ 3735 w 4811"/>
              <a:gd name="T65" fmla="*/ 1088 h 2383"/>
              <a:gd name="T66" fmla="*/ 1488 w 4811"/>
              <a:gd name="T67" fmla="*/ 2147 h 2383"/>
              <a:gd name="T68" fmla="*/ 1615 w 4811"/>
              <a:gd name="T69" fmla="*/ 2081 h 2383"/>
              <a:gd name="T70" fmla="*/ 1818 w 4811"/>
              <a:gd name="T71" fmla="*/ 1874 h 2383"/>
              <a:gd name="T72" fmla="*/ 1949 w 4811"/>
              <a:gd name="T73" fmla="*/ 1628 h 2383"/>
              <a:gd name="T74" fmla="*/ 3075 w 4811"/>
              <a:gd name="T75" fmla="*/ 825 h 2383"/>
              <a:gd name="T76" fmla="*/ 2789 w 4811"/>
              <a:gd name="T77" fmla="*/ 776 h 2383"/>
              <a:gd name="T78" fmla="*/ 2035 w 4811"/>
              <a:gd name="T79" fmla="*/ 1065 h 2383"/>
              <a:gd name="T80" fmla="*/ 2114 w 4811"/>
              <a:gd name="T81" fmla="*/ 937 h 2383"/>
              <a:gd name="T82" fmla="*/ 4637 w 4811"/>
              <a:gd name="T83" fmla="*/ 1805 h 2383"/>
              <a:gd name="T84" fmla="*/ 4260 w 4811"/>
              <a:gd name="T85" fmla="*/ 1606 h 2383"/>
              <a:gd name="T86" fmla="*/ 3874 w 4811"/>
              <a:gd name="T87" fmla="*/ 1413 h 2383"/>
              <a:gd name="T88" fmla="*/ 2085 w 4811"/>
              <a:gd name="T89" fmla="*/ 2254 h 2383"/>
              <a:gd name="T90" fmla="*/ 2215 w 4811"/>
              <a:gd name="T91" fmla="*/ 2003 h 2383"/>
              <a:gd name="T92" fmla="*/ 3342 w 4811"/>
              <a:gd name="T93" fmla="*/ 1195 h 2383"/>
              <a:gd name="T94" fmla="*/ 3056 w 4811"/>
              <a:gd name="T95" fmla="*/ 1147 h 2383"/>
              <a:gd name="T96" fmla="*/ 2302 w 4811"/>
              <a:gd name="T97" fmla="*/ 1435 h 2383"/>
              <a:gd name="T98" fmla="*/ 2381 w 4811"/>
              <a:gd name="T99" fmla="*/ 1308 h 2383"/>
              <a:gd name="T100" fmla="*/ 4653 w 4811"/>
              <a:gd name="T101" fmla="*/ 2048 h 2383"/>
              <a:gd name="T102" fmla="*/ 4272 w 4811"/>
              <a:gd name="T103" fmla="*/ 1845 h 2383"/>
              <a:gd name="T104" fmla="*/ 3878 w 4811"/>
              <a:gd name="T105" fmla="*/ 1665 h 2383"/>
              <a:gd name="T106" fmla="*/ 2513 w 4811"/>
              <a:gd name="T107" fmla="*/ 2232 h 2383"/>
              <a:gd name="T108" fmla="*/ 3462 w 4811"/>
              <a:gd name="T109" fmla="*/ 1541 h 2383"/>
              <a:gd name="T110" fmla="*/ 3181 w 4811"/>
              <a:gd name="T111" fmla="*/ 1508 h 2383"/>
              <a:gd name="T112" fmla="*/ 2893 w 4811"/>
              <a:gd name="T113" fmla="*/ 1559 h 2383"/>
              <a:gd name="T114" fmla="*/ 4793 w 4811"/>
              <a:gd name="T115" fmla="*/ 2346 h 2383"/>
              <a:gd name="T116" fmla="*/ 4402 w 4811"/>
              <a:gd name="T117" fmla="*/ 2133 h 2383"/>
              <a:gd name="T118" fmla="*/ 4008 w 4811"/>
              <a:gd name="T119" fmla="*/ 1967 h 2383"/>
              <a:gd name="T120" fmla="*/ 3592 w 4811"/>
              <a:gd name="T121" fmla="*/ 1871 h 2383"/>
              <a:gd name="T122" fmla="*/ 2838 w 4811"/>
              <a:gd name="T123" fmla="*/ 2167 h 2383"/>
              <a:gd name="T124" fmla="*/ 2915 w 4811"/>
              <a:gd name="T125" fmla="*/ 2051 h 2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11" h="2383">
                <a:moveTo>
                  <a:pt x="3277" y="2328"/>
                </a:moveTo>
                <a:lnTo>
                  <a:pt x="3280" y="2327"/>
                </a:lnTo>
                <a:lnTo>
                  <a:pt x="3283" y="2326"/>
                </a:lnTo>
                <a:lnTo>
                  <a:pt x="3286" y="2326"/>
                </a:lnTo>
                <a:lnTo>
                  <a:pt x="3289" y="2327"/>
                </a:lnTo>
                <a:lnTo>
                  <a:pt x="3292" y="2328"/>
                </a:lnTo>
                <a:lnTo>
                  <a:pt x="3294" y="2330"/>
                </a:lnTo>
                <a:lnTo>
                  <a:pt x="3295" y="2331"/>
                </a:lnTo>
                <a:lnTo>
                  <a:pt x="3296" y="2332"/>
                </a:lnTo>
                <a:lnTo>
                  <a:pt x="3298" y="2334"/>
                </a:lnTo>
                <a:lnTo>
                  <a:pt x="3299" y="2340"/>
                </a:lnTo>
                <a:lnTo>
                  <a:pt x="3299" y="2343"/>
                </a:lnTo>
                <a:lnTo>
                  <a:pt x="3299" y="2345"/>
                </a:lnTo>
                <a:lnTo>
                  <a:pt x="3298" y="2348"/>
                </a:lnTo>
                <a:lnTo>
                  <a:pt x="3296" y="2350"/>
                </a:lnTo>
                <a:lnTo>
                  <a:pt x="3294" y="2352"/>
                </a:lnTo>
                <a:lnTo>
                  <a:pt x="3292" y="2354"/>
                </a:lnTo>
                <a:lnTo>
                  <a:pt x="3289" y="2355"/>
                </a:lnTo>
                <a:lnTo>
                  <a:pt x="3286" y="2356"/>
                </a:lnTo>
                <a:lnTo>
                  <a:pt x="3282" y="2356"/>
                </a:lnTo>
                <a:lnTo>
                  <a:pt x="3280" y="2355"/>
                </a:lnTo>
                <a:lnTo>
                  <a:pt x="3277" y="2354"/>
                </a:lnTo>
                <a:lnTo>
                  <a:pt x="3274" y="2352"/>
                </a:lnTo>
                <a:lnTo>
                  <a:pt x="3273" y="2351"/>
                </a:lnTo>
                <a:lnTo>
                  <a:pt x="3272" y="2350"/>
                </a:lnTo>
                <a:lnTo>
                  <a:pt x="3271" y="2347"/>
                </a:lnTo>
                <a:lnTo>
                  <a:pt x="3269" y="2342"/>
                </a:lnTo>
                <a:lnTo>
                  <a:pt x="3269" y="2339"/>
                </a:lnTo>
                <a:lnTo>
                  <a:pt x="3270" y="2336"/>
                </a:lnTo>
                <a:lnTo>
                  <a:pt x="3271" y="2334"/>
                </a:lnTo>
                <a:lnTo>
                  <a:pt x="3273" y="2332"/>
                </a:lnTo>
                <a:lnTo>
                  <a:pt x="3274" y="2329"/>
                </a:lnTo>
                <a:lnTo>
                  <a:pt x="3277" y="2328"/>
                </a:lnTo>
                <a:close/>
                <a:moveTo>
                  <a:pt x="3411" y="2276"/>
                </a:moveTo>
                <a:lnTo>
                  <a:pt x="3414" y="2274"/>
                </a:lnTo>
                <a:lnTo>
                  <a:pt x="3417" y="2274"/>
                </a:lnTo>
                <a:lnTo>
                  <a:pt x="3420" y="2274"/>
                </a:lnTo>
                <a:lnTo>
                  <a:pt x="3423" y="2274"/>
                </a:lnTo>
                <a:lnTo>
                  <a:pt x="3425" y="2275"/>
                </a:lnTo>
                <a:lnTo>
                  <a:pt x="3428" y="2277"/>
                </a:lnTo>
                <a:lnTo>
                  <a:pt x="3430" y="2279"/>
                </a:lnTo>
                <a:lnTo>
                  <a:pt x="3431" y="2281"/>
                </a:lnTo>
                <a:lnTo>
                  <a:pt x="3433" y="2284"/>
                </a:lnTo>
                <a:lnTo>
                  <a:pt x="3433" y="2289"/>
                </a:lnTo>
                <a:lnTo>
                  <a:pt x="3433" y="2292"/>
                </a:lnTo>
                <a:lnTo>
                  <a:pt x="3432" y="2294"/>
                </a:lnTo>
                <a:lnTo>
                  <a:pt x="3431" y="2296"/>
                </a:lnTo>
                <a:lnTo>
                  <a:pt x="3430" y="2298"/>
                </a:lnTo>
                <a:lnTo>
                  <a:pt x="3428" y="2300"/>
                </a:lnTo>
                <a:lnTo>
                  <a:pt x="3426" y="2302"/>
                </a:lnTo>
                <a:lnTo>
                  <a:pt x="3423" y="2303"/>
                </a:lnTo>
                <a:lnTo>
                  <a:pt x="3420" y="2304"/>
                </a:lnTo>
                <a:lnTo>
                  <a:pt x="3417" y="2304"/>
                </a:lnTo>
                <a:lnTo>
                  <a:pt x="3414" y="2303"/>
                </a:lnTo>
                <a:lnTo>
                  <a:pt x="3411" y="2302"/>
                </a:lnTo>
                <a:lnTo>
                  <a:pt x="3409" y="2300"/>
                </a:lnTo>
                <a:lnTo>
                  <a:pt x="3407" y="2298"/>
                </a:lnTo>
                <a:lnTo>
                  <a:pt x="3405" y="2296"/>
                </a:lnTo>
                <a:lnTo>
                  <a:pt x="3404" y="2293"/>
                </a:lnTo>
                <a:lnTo>
                  <a:pt x="3403" y="2288"/>
                </a:lnTo>
                <a:lnTo>
                  <a:pt x="3404" y="2285"/>
                </a:lnTo>
                <a:lnTo>
                  <a:pt x="3404" y="2283"/>
                </a:lnTo>
                <a:lnTo>
                  <a:pt x="3405" y="2281"/>
                </a:lnTo>
                <a:lnTo>
                  <a:pt x="3407" y="2279"/>
                </a:lnTo>
                <a:lnTo>
                  <a:pt x="3409" y="2277"/>
                </a:lnTo>
                <a:lnTo>
                  <a:pt x="3411" y="2276"/>
                </a:lnTo>
                <a:close/>
                <a:moveTo>
                  <a:pt x="3551" y="2243"/>
                </a:moveTo>
                <a:lnTo>
                  <a:pt x="3553" y="2242"/>
                </a:lnTo>
                <a:lnTo>
                  <a:pt x="3556" y="2241"/>
                </a:lnTo>
                <a:lnTo>
                  <a:pt x="3559" y="2241"/>
                </a:lnTo>
                <a:lnTo>
                  <a:pt x="3562" y="2241"/>
                </a:lnTo>
                <a:lnTo>
                  <a:pt x="3565" y="2242"/>
                </a:lnTo>
                <a:lnTo>
                  <a:pt x="3567" y="2244"/>
                </a:lnTo>
                <a:lnTo>
                  <a:pt x="3569" y="2246"/>
                </a:lnTo>
                <a:lnTo>
                  <a:pt x="3571" y="2248"/>
                </a:lnTo>
                <a:lnTo>
                  <a:pt x="3572" y="2251"/>
                </a:lnTo>
                <a:lnTo>
                  <a:pt x="3573" y="2254"/>
                </a:lnTo>
                <a:lnTo>
                  <a:pt x="3573" y="2258"/>
                </a:lnTo>
                <a:lnTo>
                  <a:pt x="3572" y="2263"/>
                </a:lnTo>
                <a:lnTo>
                  <a:pt x="3569" y="2266"/>
                </a:lnTo>
                <a:lnTo>
                  <a:pt x="3566" y="2269"/>
                </a:lnTo>
                <a:lnTo>
                  <a:pt x="3563" y="2270"/>
                </a:lnTo>
                <a:lnTo>
                  <a:pt x="3561" y="2271"/>
                </a:lnTo>
                <a:lnTo>
                  <a:pt x="3557" y="2271"/>
                </a:lnTo>
                <a:lnTo>
                  <a:pt x="3555" y="2271"/>
                </a:lnTo>
                <a:lnTo>
                  <a:pt x="3552" y="2270"/>
                </a:lnTo>
                <a:lnTo>
                  <a:pt x="3549" y="2268"/>
                </a:lnTo>
                <a:lnTo>
                  <a:pt x="3547" y="2266"/>
                </a:lnTo>
                <a:lnTo>
                  <a:pt x="3545" y="2264"/>
                </a:lnTo>
                <a:lnTo>
                  <a:pt x="3544" y="2261"/>
                </a:lnTo>
                <a:lnTo>
                  <a:pt x="3543" y="2258"/>
                </a:lnTo>
                <a:lnTo>
                  <a:pt x="3543" y="2254"/>
                </a:lnTo>
                <a:lnTo>
                  <a:pt x="3545" y="2249"/>
                </a:lnTo>
                <a:lnTo>
                  <a:pt x="3547" y="2246"/>
                </a:lnTo>
                <a:lnTo>
                  <a:pt x="3551" y="2243"/>
                </a:lnTo>
                <a:close/>
                <a:moveTo>
                  <a:pt x="3694" y="2230"/>
                </a:moveTo>
                <a:lnTo>
                  <a:pt x="3697" y="2229"/>
                </a:lnTo>
                <a:lnTo>
                  <a:pt x="3701" y="2228"/>
                </a:lnTo>
                <a:lnTo>
                  <a:pt x="3704" y="2229"/>
                </a:lnTo>
                <a:lnTo>
                  <a:pt x="3707" y="2229"/>
                </a:lnTo>
                <a:lnTo>
                  <a:pt x="3710" y="2231"/>
                </a:lnTo>
                <a:lnTo>
                  <a:pt x="3712" y="2233"/>
                </a:lnTo>
                <a:lnTo>
                  <a:pt x="3714" y="2235"/>
                </a:lnTo>
                <a:lnTo>
                  <a:pt x="3715" y="2237"/>
                </a:lnTo>
                <a:lnTo>
                  <a:pt x="3716" y="2240"/>
                </a:lnTo>
                <a:lnTo>
                  <a:pt x="3716" y="2243"/>
                </a:lnTo>
                <a:lnTo>
                  <a:pt x="3716" y="2247"/>
                </a:lnTo>
                <a:lnTo>
                  <a:pt x="3714" y="2251"/>
                </a:lnTo>
                <a:lnTo>
                  <a:pt x="3712" y="2254"/>
                </a:lnTo>
                <a:lnTo>
                  <a:pt x="3709" y="2256"/>
                </a:lnTo>
                <a:lnTo>
                  <a:pt x="3705" y="2258"/>
                </a:lnTo>
                <a:lnTo>
                  <a:pt x="3702" y="2258"/>
                </a:lnTo>
                <a:lnTo>
                  <a:pt x="3699" y="2258"/>
                </a:lnTo>
                <a:lnTo>
                  <a:pt x="3696" y="2257"/>
                </a:lnTo>
                <a:lnTo>
                  <a:pt x="3693" y="2256"/>
                </a:lnTo>
                <a:lnTo>
                  <a:pt x="3691" y="2254"/>
                </a:lnTo>
                <a:lnTo>
                  <a:pt x="3689" y="2252"/>
                </a:lnTo>
                <a:lnTo>
                  <a:pt x="3688" y="2250"/>
                </a:lnTo>
                <a:lnTo>
                  <a:pt x="3687" y="2247"/>
                </a:lnTo>
                <a:lnTo>
                  <a:pt x="3686" y="2244"/>
                </a:lnTo>
                <a:lnTo>
                  <a:pt x="3687" y="2240"/>
                </a:lnTo>
                <a:lnTo>
                  <a:pt x="3688" y="2236"/>
                </a:lnTo>
                <a:lnTo>
                  <a:pt x="3691" y="2233"/>
                </a:lnTo>
                <a:lnTo>
                  <a:pt x="3694" y="2230"/>
                </a:lnTo>
                <a:close/>
                <a:moveTo>
                  <a:pt x="3838" y="2236"/>
                </a:moveTo>
                <a:lnTo>
                  <a:pt x="3842" y="2235"/>
                </a:lnTo>
                <a:lnTo>
                  <a:pt x="3844" y="2234"/>
                </a:lnTo>
                <a:lnTo>
                  <a:pt x="3847" y="2234"/>
                </a:lnTo>
                <a:lnTo>
                  <a:pt x="3850" y="2235"/>
                </a:lnTo>
                <a:lnTo>
                  <a:pt x="3852" y="2236"/>
                </a:lnTo>
                <a:lnTo>
                  <a:pt x="3855" y="2238"/>
                </a:lnTo>
                <a:lnTo>
                  <a:pt x="3857" y="2240"/>
                </a:lnTo>
                <a:lnTo>
                  <a:pt x="3858" y="2241"/>
                </a:lnTo>
                <a:lnTo>
                  <a:pt x="3858" y="2242"/>
                </a:lnTo>
                <a:lnTo>
                  <a:pt x="3859" y="2245"/>
                </a:lnTo>
                <a:lnTo>
                  <a:pt x="3860" y="2248"/>
                </a:lnTo>
                <a:lnTo>
                  <a:pt x="3860" y="2251"/>
                </a:lnTo>
                <a:lnTo>
                  <a:pt x="3859" y="2254"/>
                </a:lnTo>
                <a:lnTo>
                  <a:pt x="3858" y="2258"/>
                </a:lnTo>
                <a:lnTo>
                  <a:pt x="3855" y="2260"/>
                </a:lnTo>
                <a:lnTo>
                  <a:pt x="3853" y="2262"/>
                </a:lnTo>
                <a:lnTo>
                  <a:pt x="3848" y="2264"/>
                </a:lnTo>
                <a:lnTo>
                  <a:pt x="3846" y="2264"/>
                </a:lnTo>
                <a:lnTo>
                  <a:pt x="3844" y="2264"/>
                </a:lnTo>
                <a:lnTo>
                  <a:pt x="3841" y="2264"/>
                </a:lnTo>
                <a:lnTo>
                  <a:pt x="3838" y="2263"/>
                </a:lnTo>
                <a:lnTo>
                  <a:pt x="3835" y="2261"/>
                </a:lnTo>
                <a:lnTo>
                  <a:pt x="3833" y="2259"/>
                </a:lnTo>
                <a:lnTo>
                  <a:pt x="3833" y="2258"/>
                </a:lnTo>
                <a:lnTo>
                  <a:pt x="3832" y="2256"/>
                </a:lnTo>
                <a:lnTo>
                  <a:pt x="3831" y="2254"/>
                </a:lnTo>
                <a:lnTo>
                  <a:pt x="3830" y="2251"/>
                </a:lnTo>
                <a:lnTo>
                  <a:pt x="3830" y="2248"/>
                </a:lnTo>
                <a:lnTo>
                  <a:pt x="3831" y="2244"/>
                </a:lnTo>
                <a:lnTo>
                  <a:pt x="3832" y="2241"/>
                </a:lnTo>
                <a:lnTo>
                  <a:pt x="3835" y="2238"/>
                </a:lnTo>
                <a:lnTo>
                  <a:pt x="3838" y="2236"/>
                </a:lnTo>
                <a:close/>
                <a:moveTo>
                  <a:pt x="3980" y="2258"/>
                </a:moveTo>
                <a:lnTo>
                  <a:pt x="3982" y="2257"/>
                </a:lnTo>
                <a:lnTo>
                  <a:pt x="3985" y="2256"/>
                </a:lnTo>
                <a:lnTo>
                  <a:pt x="3990" y="2256"/>
                </a:lnTo>
                <a:lnTo>
                  <a:pt x="3993" y="2257"/>
                </a:lnTo>
                <a:lnTo>
                  <a:pt x="3996" y="2258"/>
                </a:lnTo>
                <a:lnTo>
                  <a:pt x="3998" y="2260"/>
                </a:lnTo>
                <a:lnTo>
                  <a:pt x="4000" y="2263"/>
                </a:lnTo>
                <a:lnTo>
                  <a:pt x="4001" y="2265"/>
                </a:lnTo>
                <a:lnTo>
                  <a:pt x="4002" y="2268"/>
                </a:lnTo>
                <a:lnTo>
                  <a:pt x="4002" y="2271"/>
                </a:lnTo>
                <a:lnTo>
                  <a:pt x="4002" y="2274"/>
                </a:lnTo>
                <a:lnTo>
                  <a:pt x="4001" y="2277"/>
                </a:lnTo>
                <a:lnTo>
                  <a:pt x="3999" y="2280"/>
                </a:lnTo>
                <a:lnTo>
                  <a:pt x="3997" y="2282"/>
                </a:lnTo>
                <a:lnTo>
                  <a:pt x="3995" y="2284"/>
                </a:lnTo>
                <a:lnTo>
                  <a:pt x="3992" y="2285"/>
                </a:lnTo>
                <a:lnTo>
                  <a:pt x="3990" y="2286"/>
                </a:lnTo>
                <a:lnTo>
                  <a:pt x="3984" y="2286"/>
                </a:lnTo>
                <a:lnTo>
                  <a:pt x="3981" y="2285"/>
                </a:lnTo>
                <a:lnTo>
                  <a:pt x="3979" y="2283"/>
                </a:lnTo>
                <a:lnTo>
                  <a:pt x="3977" y="2281"/>
                </a:lnTo>
                <a:lnTo>
                  <a:pt x="3975" y="2279"/>
                </a:lnTo>
                <a:lnTo>
                  <a:pt x="3973" y="2277"/>
                </a:lnTo>
                <a:lnTo>
                  <a:pt x="3972" y="2274"/>
                </a:lnTo>
                <a:lnTo>
                  <a:pt x="3972" y="2271"/>
                </a:lnTo>
                <a:lnTo>
                  <a:pt x="3972" y="2268"/>
                </a:lnTo>
                <a:lnTo>
                  <a:pt x="3973" y="2265"/>
                </a:lnTo>
                <a:lnTo>
                  <a:pt x="3975" y="2262"/>
                </a:lnTo>
                <a:lnTo>
                  <a:pt x="3977" y="2260"/>
                </a:lnTo>
                <a:lnTo>
                  <a:pt x="3980" y="2258"/>
                </a:lnTo>
                <a:close/>
                <a:moveTo>
                  <a:pt x="4121" y="2292"/>
                </a:moveTo>
                <a:lnTo>
                  <a:pt x="4123" y="2291"/>
                </a:lnTo>
                <a:lnTo>
                  <a:pt x="4126" y="2290"/>
                </a:lnTo>
                <a:lnTo>
                  <a:pt x="4129" y="2290"/>
                </a:lnTo>
                <a:lnTo>
                  <a:pt x="4132" y="2290"/>
                </a:lnTo>
                <a:lnTo>
                  <a:pt x="4135" y="2292"/>
                </a:lnTo>
                <a:lnTo>
                  <a:pt x="4137" y="2293"/>
                </a:lnTo>
                <a:lnTo>
                  <a:pt x="4140" y="2295"/>
                </a:lnTo>
                <a:lnTo>
                  <a:pt x="4141" y="2298"/>
                </a:lnTo>
                <a:lnTo>
                  <a:pt x="4142" y="2300"/>
                </a:lnTo>
                <a:lnTo>
                  <a:pt x="4143" y="2303"/>
                </a:lnTo>
                <a:lnTo>
                  <a:pt x="4143" y="2306"/>
                </a:lnTo>
                <a:lnTo>
                  <a:pt x="4143" y="2309"/>
                </a:lnTo>
                <a:lnTo>
                  <a:pt x="4141" y="2312"/>
                </a:lnTo>
                <a:lnTo>
                  <a:pt x="4140" y="2314"/>
                </a:lnTo>
                <a:lnTo>
                  <a:pt x="4138" y="2316"/>
                </a:lnTo>
                <a:lnTo>
                  <a:pt x="4136" y="2318"/>
                </a:lnTo>
                <a:lnTo>
                  <a:pt x="4133" y="2319"/>
                </a:lnTo>
                <a:lnTo>
                  <a:pt x="4130" y="2320"/>
                </a:lnTo>
                <a:lnTo>
                  <a:pt x="4127" y="2320"/>
                </a:lnTo>
                <a:lnTo>
                  <a:pt x="4124" y="2319"/>
                </a:lnTo>
                <a:lnTo>
                  <a:pt x="4121" y="2318"/>
                </a:lnTo>
                <a:lnTo>
                  <a:pt x="4119" y="2317"/>
                </a:lnTo>
                <a:lnTo>
                  <a:pt x="4117" y="2315"/>
                </a:lnTo>
                <a:lnTo>
                  <a:pt x="4115" y="2312"/>
                </a:lnTo>
                <a:lnTo>
                  <a:pt x="4114" y="2310"/>
                </a:lnTo>
                <a:lnTo>
                  <a:pt x="4113" y="2307"/>
                </a:lnTo>
                <a:lnTo>
                  <a:pt x="4113" y="2304"/>
                </a:lnTo>
                <a:lnTo>
                  <a:pt x="4114" y="2301"/>
                </a:lnTo>
                <a:lnTo>
                  <a:pt x="4115" y="2298"/>
                </a:lnTo>
                <a:lnTo>
                  <a:pt x="4116" y="2296"/>
                </a:lnTo>
                <a:lnTo>
                  <a:pt x="4118" y="2294"/>
                </a:lnTo>
                <a:lnTo>
                  <a:pt x="4121" y="2292"/>
                </a:lnTo>
                <a:close/>
                <a:moveTo>
                  <a:pt x="4258" y="2336"/>
                </a:moveTo>
                <a:lnTo>
                  <a:pt x="4261" y="2334"/>
                </a:lnTo>
                <a:lnTo>
                  <a:pt x="4264" y="2334"/>
                </a:lnTo>
                <a:lnTo>
                  <a:pt x="4267" y="2334"/>
                </a:lnTo>
                <a:lnTo>
                  <a:pt x="4270" y="2334"/>
                </a:lnTo>
                <a:lnTo>
                  <a:pt x="4273" y="2336"/>
                </a:lnTo>
                <a:lnTo>
                  <a:pt x="4275" y="2338"/>
                </a:lnTo>
                <a:lnTo>
                  <a:pt x="4277" y="2340"/>
                </a:lnTo>
                <a:lnTo>
                  <a:pt x="4279" y="2342"/>
                </a:lnTo>
                <a:lnTo>
                  <a:pt x="4280" y="2348"/>
                </a:lnTo>
                <a:lnTo>
                  <a:pt x="4279" y="2354"/>
                </a:lnTo>
                <a:lnTo>
                  <a:pt x="4278" y="2356"/>
                </a:lnTo>
                <a:lnTo>
                  <a:pt x="4277" y="2358"/>
                </a:lnTo>
                <a:lnTo>
                  <a:pt x="4275" y="2360"/>
                </a:lnTo>
                <a:lnTo>
                  <a:pt x="4273" y="2362"/>
                </a:lnTo>
                <a:lnTo>
                  <a:pt x="4270" y="2363"/>
                </a:lnTo>
                <a:lnTo>
                  <a:pt x="4267" y="2364"/>
                </a:lnTo>
                <a:lnTo>
                  <a:pt x="4263" y="2364"/>
                </a:lnTo>
                <a:lnTo>
                  <a:pt x="4260" y="2363"/>
                </a:lnTo>
                <a:lnTo>
                  <a:pt x="4257" y="2362"/>
                </a:lnTo>
                <a:lnTo>
                  <a:pt x="4255" y="2360"/>
                </a:lnTo>
                <a:lnTo>
                  <a:pt x="4253" y="2358"/>
                </a:lnTo>
                <a:lnTo>
                  <a:pt x="4252" y="2355"/>
                </a:lnTo>
                <a:lnTo>
                  <a:pt x="4250" y="2350"/>
                </a:lnTo>
                <a:lnTo>
                  <a:pt x="4251" y="2344"/>
                </a:lnTo>
                <a:lnTo>
                  <a:pt x="4252" y="2341"/>
                </a:lnTo>
                <a:lnTo>
                  <a:pt x="4254" y="2339"/>
                </a:lnTo>
                <a:lnTo>
                  <a:pt x="4255" y="2337"/>
                </a:lnTo>
                <a:lnTo>
                  <a:pt x="4258" y="2336"/>
                </a:lnTo>
                <a:close/>
                <a:moveTo>
                  <a:pt x="4787" y="946"/>
                </a:moveTo>
                <a:lnTo>
                  <a:pt x="4790" y="945"/>
                </a:lnTo>
                <a:lnTo>
                  <a:pt x="4792" y="944"/>
                </a:lnTo>
                <a:lnTo>
                  <a:pt x="4795" y="944"/>
                </a:lnTo>
                <a:lnTo>
                  <a:pt x="4798" y="944"/>
                </a:lnTo>
                <a:lnTo>
                  <a:pt x="4801" y="945"/>
                </a:lnTo>
                <a:lnTo>
                  <a:pt x="4804" y="946"/>
                </a:lnTo>
                <a:lnTo>
                  <a:pt x="4806" y="948"/>
                </a:lnTo>
                <a:lnTo>
                  <a:pt x="4808" y="950"/>
                </a:lnTo>
                <a:lnTo>
                  <a:pt x="4810" y="953"/>
                </a:lnTo>
                <a:lnTo>
                  <a:pt x="4811" y="956"/>
                </a:lnTo>
                <a:lnTo>
                  <a:pt x="4811" y="959"/>
                </a:lnTo>
                <a:lnTo>
                  <a:pt x="4811" y="962"/>
                </a:lnTo>
                <a:lnTo>
                  <a:pt x="4810" y="966"/>
                </a:lnTo>
                <a:lnTo>
                  <a:pt x="4808" y="969"/>
                </a:lnTo>
                <a:lnTo>
                  <a:pt x="4806" y="972"/>
                </a:lnTo>
                <a:lnTo>
                  <a:pt x="4803" y="974"/>
                </a:lnTo>
                <a:lnTo>
                  <a:pt x="4801" y="975"/>
                </a:lnTo>
                <a:lnTo>
                  <a:pt x="4798" y="976"/>
                </a:lnTo>
                <a:lnTo>
                  <a:pt x="4796" y="976"/>
                </a:lnTo>
                <a:lnTo>
                  <a:pt x="4793" y="976"/>
                </a:lnTo>
                <a:lnTo>
                  <a:pt x="4790" y="975"/>
                </a:lnTo>
                <a:lnTo>
                  <a:pt x="4787" y="974"/>
                </a:lnTo>
                <a:lnTo>
                  <a:pt x="4785" y="972"/>
                </a:lnTo>
                <a:lnTo>
                  <a:pt x="4782" y="969"/>
                </a:lnTo>
                <a:lnTo>
                  <a:pt x="4781" y="967"/>
                </a:lnTo>
                <a:lnTo>
                  <a:pt x="4780" y="964"/>
                </a:lnTo>
                <a:lnTo>
                  <a:pt x="4779" y="961"/>
                </a:lnTo>
                <a:lnTo>
                  <a:pt x="4780" y="958"/>
                </a:lnTo>
                <a:lnTo>
                  <a:pt x="4780" y="954"/>
                </a:lnTo>
                <a:lnTo>
                  <a:pt x="4782" y="951"/>
                </a:lnTo>
                <a:lnTo>
                  <a:pt x="4785" y="948"/>
                </a:lnTo>
                <a:lnTo>
                  <a:pt x="4787" y="946"/>
                </a:lnTo>
                <a:close/>
                <a:moveTo>
                  <a:pt x="4645" y="923"/>
                </a:moveTo>
                <a:lnTo>
                  <a:pt x="4648" y="922"/>
                </a:lnTo>
                <a:lnTo>
                  <a:pt x="4650" y="921"/>
                </a:lnTo>
                <a:lnTo>
                  <a:pt x="4656" y="921"/>
                </a:lnTo>
                <a:lnTo>
                  <a:pt x="4659" y="922"/>
                </a:lnTo>
                <a:lnTo>
                  <a:pt x="4660" y="923"/>
                </a:lnTo>
                <a:lnTo>
                  <a:pt x="4662" y="923"/>
                </a:lnTo>
                <a:lnTo>
                  <a:pt x="4664" y="925"/>
                </a:lnTo>
                <a:lnTo>
                  <a:pt x="4666" y="928"/>
                </a:lnTo>
                <a:lnTo>
                  <a:pt x="4668" y="930"/>
                </a:lnTo>
                <a:lnTo>
                  <a:pt x="4669" y="933"/>
                </a:lnTo>
                <a:lnTo>
                  <a:pt x="4669" y="936"/>
                </a:lnTo>
                <a:lnTo>
                  <a:pt x="4669" y="940"/>
                </a:lnTo>
                <a:lnTo>
                  <a:pt x="4668" y="943"/>
                </a:lnTo>
                <a:lnTo>
                  <a:pt x="4666" y="946"/>
                </a:lnTo>
                <a:lnTo>
                  <a:pt x="4664" y="949"/>
                </a:lnTo>
                <a:lnTo>
                  <a:pt x="4661" y="951"/>
                </a:lnTo>
                <a:lnTo>
                  <a:pt x="4659" y="952"/>
                </a:lnTo>
                <a:lnTo>
                  <a:pt x="4656" y="953"/>
                </a:lnTo>
                <a:lnTo>
                  <a:pt x="4650" y="953"/>
                </a:lnTo>
                <a:lnTo>
                  <a:pt x="4647" y="952"/>
                </a:lnTo>
                <a:lnTo>
                  <a:pt x="4646" y="951"/>
                </a:lnTo>
                <a:lnTo>
                  <a:pt x="4644" y="950"/>
                </a:lnTo>
                <a:lnTo>
                  <a:pt x="4642" y="948"/>
                </a:lnTo>
                <a:lnTo>
                  <a:pt x="4640" y="946"/>
                </a:lnTo>
                <a:lnTo>
                  <a:pt x="4638" y="943"/>
                </a:lnTo>
                <a:lnTo>
                  <a:pt x="4637" y="940"/>
                </a:lnTo>
                <a:lnTo>
                  <a:pt x="4637" y="937"/>
                </a:lnTo>
                <a:lnTo>
                  <a:pt x="4637" y="934"/>
                </a:lnTo>
                <a:lnTo>
                  <a:pt x="4638" y="931"/>
                </a:lnTo>
                <a:lnTo>
                  <a:pt x="4640" y="928"/>
                </a:lnTo>
                <a:lnTo>
                  <a:pt x="4642" y="925"/>
                </a:lnTo>
                <a:lnTo>
                  <a:pt x="4645" y="923"/>
                </a:lnTo>
                <a:close/>
                <a:moveTo>
                  <a:pt x="4503" y="896"/>
                </a:moveTo>
                <a:lnTo>
                  <a:pt x="4506" y="895"/>
                </a:lnTo>
                <a:lnTo>
                  <a:pt x="4509" y="894"/>
                </a:lnTo>
                <a:lnTo>
                  <a:pt x="4515" y="894"/>
                </a:lnTo>
                <a:lnTo>
                  <a:pt x="4518" y="895"/>
                </a:lnTo>
                <a:lnTo>
                  <a:pt x="4521" y="897"/>
                </a:lnTo>
                <a:lnTo>
                  <a:pt x="4523" y="899"/>
                </a:lnTo>
                <a:lnTo>
                  <a:pt x="4525" y="901"/>
                </a:lnTo>
                <a:lnTo>
                  <a:pt x="4526" y="904"/>
                </a:lnTo>
                <a:lnTo>
                  <a:pt x="4527" y="907"/>
                </a:lnTo>
                <a:lnTo>
                  <a:pt x="4527" y="910"/>
                </a:lnTo>
                <a:lnTo>
                  <a:pt x="4527" y="913"/>
                </a:lnTo>
                <a:lnTo>
                  <a:pt x="4526" y="916"/>
                </a:lnTo>
                <a:lnTo>
                  <a:pt x="4524" y="919"/>
                </a:lnTo>
                <a:lnTo>
                  <a:pt x="4522" y="922"/>
                </a:lnTo>
                <a:lnTo>
                  <a:pt x="4519" y="924"/>
                </a:lnTo>
                <a:lnTo>
                  <a:pt x="4517" y="925"/>
                </a:lnTo>
                <a:lnTo>
                  <a:pt x="4514" y="926"/>
                </a:lnTo>
                <a:lnTo>
                  <a:pt x="4508" y="926"/>
                </a:lnTo>
                <a:lnTo>
                  <a:pt x="4505" y="925"/>
                </a:lnTo>
                <a:lnTo>
                  <a:pt x="4502" y="923"/>
                </a:lnTo>
                <a:lnTo>
                  <a:pt x="4500" y="921"/>
                </a:lnTo>
                <a:lnTo>
                  <a:pt x="4498" y="919"/>
                </a:lnTo>
                <a:lnTo>
                  <a:pt x="4497" y="916"/>
                </a:lnTo>
                <a:lnTo>
                  <a:pt x="4496" y="913"/>
                </a:lnTo>
                <a:lnTo>
                  <a:pt x="4495" y="910"/>
                </a:lnTo>
                <a:lnTo>
                  <a:pt x="4496" y="907"/>
                </a:lnTo>
                <a:lnTo>
                  <a:pt x="4497" y="903"/>
                </a:lnTo>
                <a:lnTo>
                  <a:pt x="4499" y="900"/>
                </a:lnTo>
                <a:lnTo>
                  <a:pt x="4501" y="898"/>
                </a:lnTo>
                <a:lnTo>
                  <a:pt x="4503" y="896"/>
                </a:lnTo>
                <a:close/>
                <a:moveTo>
                  <a:pt x="4363" y="865"/>
                </a:moveTo>
                <a:lnTo>
                  <a:pt x="4365" y="864"/>
                </a:lnTo>
                <a:lnTo>
                  <a:pt x="4368" y="863"/>
                </a:lnTo>
                <a:lnTo>
                  <a:pt x="4371" y="863"/>
                </a:lnTo>
                <a:lnTo>
                  <a:pt x="4374" y="863"/>
                </a:lnTo>
                <a:lnTo>
                  <a:pt x="4377" y="864"/>
                </a:lnTo>
                <a:lnTo>
                  <a:pt x="4380" y="866"/>
                </a:lnTo>
                <a:lnTo>
                  <a:pt x="4382" y="868"/>
                </a:lnTo>
                <a:lnTo>
                  <a:pt x="4384" y="870"/>
                </a:lnTo>
                <a:lnTo>
                  <a:pt x="4386" y="873"/>
                </a:lnTo>
                <a:lnTo>
                  <a:pt x="4386" y="876"/>
                </a:lnTo>
                <a:lnTo>
                  <a:pt x="4387" y="879"/>
                </a:lnTo>
                <a:lnTo>
                  <a:pt x="4386" y="882"/>
                </a:lnTo>
                <a:lnTo>
                  <a:pt x="4385" y="886"/>
                </a:lnTo>
                <a:lnTo>
                  <a:pt x="4383" y="888"/>
                </a:lnTo>
                <a:lnTo>
                  <a:pt x="4381" y="891"/>
                </a:lnTo>
                <a:lnTo>
                  <a:pt x="4379" y="893"/>
                </a:lnTo>
                <a:lnTo>
                  <a:pt x="4376" y="894"/>
                </a:lnTo>
                <a:lnTo>
                  <a:pt x="4373" y="895"/>
                </a:lnTo>
                <a:lnTo>
                  <a:pt x="4370" y="895"/>
                </a:lnTo>
                <a:lnTo>
                  <a:pt x="4367" y="894"/>
                </a:lnTo>
                <a:lnTo>
                  <a:pt x="4364" y="893"/>
                </a:lnTo>
                <a:lnTo>
                  <a:pt x="4361" y="892"/>
                </a:lnTo>
                <a:lnTo>
                  <a:pt x="4359" y="890"/>
                </a:lnTo>
                <a:lnTo>
                  <a:pt x="4357" y="887"/>
                </a:lnTo>
                <a:lnTo>
                  <a:pt x="4356" y="884"/>
                </a:lnTo>
                <a:lnTo>
                  <a:pt x="4355" y="881"/>
                </a:lnTo>
                <a:lnTo>
                  <a:pt x="4355" y="878"/>
                </a:lnTo>
                <a:lnTo>
                  <a:pt x="4355" y="875"/>
                </a:lnTo>
                <a:lnTo>
                  <a:pt x="4356" y="872"/>
                </a:lnTo>
                <a:lnTo>
                  <a:pt x="4358" y="869"/>
                </a:lnTo>
                <a:lnTo>
                  <a:pt x="4360" y="867"/>
                </a:lnTo>
                <a:lnTo>
                  <a:pt x="4363" y="865"/>
                </a:lnTo>
                <a:close/>
                <a:moveTo>
                  <a:pt x="4223" y="829"/>
                </a:moveTo>
                <a:lnTo>
                  <a:pt x="4226" y="828"/>
                </a:lnTo>
                <a:lnTo>
                  <a:pt x="4229" y="827"/>
                </a:lnTo>
                <a:lnTo>
                  <a:pt x="4232" y="827"/>
                </a:lnTo>
                <a:lnTo>
                  <a:pt x="4235" y="828"/>
                </a:lnTo>
                <a:lnTo>
                  <a:pt x="4238" y="829"/>
                </a:lnTo>
                <a:lnTo>
                  <a:pt x="4241" y="831"/>
                </a:lnTo>
                <a:lnTo>
                  <a:pt x="4243" y="833"/>
                </a:lnTo>
                <a:lnTo>
                  <a:pt x="4245" y="835"/>
                </a:lnTo>
                <a:lnTo>
                  <a:pt x="4246" y="838"/>
                </a:lnTo>
                <a:lnTo>
                  <a:pt x="4247" y="841"/>
                </a:lnTo>
                <a:lnTo>
                  <a:pt x="4247" y="844"/>
                </a:lnTo>
                <a:lnTo>
                  <a:pt x="4246" y="847"/>
                </a:lnTo>
                <a:lnTo>
                  <a:pt x="4245" y="850"/>
                </a:lnTo>
                <a:lnTo>
                  <a:pt x="4244" y="853"/>
                </a:lnTo>
                <a:lnTo>
                  <a:pt x="4241" y="855"/>
                </a:lnTo>
                <a:lnTo>
                  <a:pt x="4239" y="857"/>
                </a:lnTo>
                <a:lnTo>
                  <a:pt x="4236" y="858"/>
                </a:lnTo>
                <a:lnTo>
                  <a:pt x="4233" y="859"/>
                </a:lnTo>
                <a:lnTo>
                  <a:pt x="4230" y="859"/>
                </a:lnTo>
                <a:lnTo>
                  <a:pt x="4227" y="859"/>
                </a:lnTo>
                <a:lnTo>
                  <a:pt x="4224" y="857"/>
                </a:lnTo>
                <a:lnTo>
                  <a:pt x="4221" y="856"/>
                </a:lnTo>
                <a:lnTo>
                  <a:pt x="4219" y="854"/>
                </a:lnTo>
                <a:lnTo>
                  <a:pt x="4217" y="851"/>
                </a:lnTo>
                <a:lnTo>
                  <a:pt x="4216" y="848"/>
                </a:lnTo>
                <a:lnTo>
                  <a:pt x="4215" y="845"/>
                </a:lnTo>
                <a:lnTo>
                  <a:pt x="4215" y="842"/>
                </a:lnTo>
                <a:lnTo>
                  <a:pt x="4216" y="839"/>
                </a:lnTo>
                <a:lnTo>
                  <a:pt x="4217" y="836"/>
                </a:lnTo>
                <a:lnTo>
                  <a:pt x="4218" y="833"/>
                </a:lnTo>
                <a:lnTo>
                  <a:pt x="4221" y="831"/>
                </a:lnTo>
                <a:lnTo>
                  <a:pt x="4223" y="829"/>
                </a:lnTo>
                <a:close/>
                <a:moveTo>
                  <a:pt x="4085" y="788"/>
                </a:moveTo>
                <a:lnTo>
                  <a:pt x="4088" y="787"/>
                </a:lnTo>
                <a:lnTo>
                  <a:pt x="4091" y="786"/>
                </a:lnTo>
                <a:lnTo>
                  <a:pt x="4094" y="786"/>
                </a:lnTo>
                <a:lnTo>
                  <a:pt x="4098" y="787"/>
                </a:lnTo>
                <a:lnTo>
                  <a:pt x="4101" y="788"/>
                </a:lnTo>
                <a:lnTo>
                  <a:pt x="4103" y="790"/>
                </a:lnTo>
                <a:lnTo>
                  <a:pt x="4105" y="792"/>
                </a:lnTo>
                <a:lnTo>
                  <a:pt x="4107" y="795"/>
                </a:lnTo>
                <a:lnTo>
                  <a:pt x="4108" y="798"/>
                </a:lnTo>
                <a:lnTo>
                  <a:pt x="4109" y="801"/>
                </a:lnTo>
                <a:lnTo>
                  <a:pt x="4109" y="804"/>
                </a:lnTo>
                <a:lnTo>
                  <a:pt x="4108" y="807"/>
                </a:lnTo>
                <a:lnTo>
                  <a:pt x="4107" y="810"/>
                </a:lnTo>
                <a:lnTo>
                  <a:pt x="4105" y="812"/>
                </a:lnTo>
                <a:lnTo>
                  <a:pt x="4103" y="814"/>
                </a:lnTo>
                <a:lnTo>
                  <a:pt x="4101" y="816"/>
                </a:lnTo>
                <a:lnTo>
                  <a:pt x="4098" y="817"/>
                </a:lnTo>
                <a:lnTo>
                  <a:pt x="4095" y="818"/>
                </a:lnTo>
                <a:lnTo>
                  <a:pt x="4091" y="818"/>
                </a:lnTo>
                <a:lnTo>
                  <a:pt x="4088" y="817"/>
                </a:lnTo>
                <a:lnTo>
                  <a:pt x="4085" y="816"/>
                </a:lnTo>
                <a:lnTo>
                  <a:pt x="4082" y="814"/>
                </a:lnTo>
                <a:lnTo>
                  <a:pt x="4080" y="812"/>
                </a:lnTo>
                <a:lnTo>
                  <a:pt x="4079" y="809"/>
                </a:lnTo>
                <a:lnTo>
                  <a:pt x="4077" y="807"/>
                </a:lnTo>
                <a:lnTo>
                  <a:pt x="4077" y="804"/>
                </a:lnTo>
                <a:lnTo>
                  <a:pt x="4077" y="800"/>
                </a:lnTo>
                <a:lnTo>
                  <a:pt x="4078" y="797"/>
                </a:lnTo>
                <a:lnTo>
                  <a:pt x="4079" y="794"/>
                </a:lnTo>
                <a:lnTo>
                  <a:pt x="4080" y="792"/>
                </a:lnTo>
                <a:lnTo>
                  <a:pt x="4082" y="790"/>
                </a:lnTo>
                <a:lnTo>
                  <a:pt x="4085" y="788"/>
                </a:lnTo>
                <a:close/>
                <a:moveTo>
                  <a:pt x="3948" y="741"/>
                </a:moveTo>
                <a:lnTo>
                  <a:pt x="3951" y="739"/>
                </a:lnTo>
                <a:lnTo>
                  <a:pt x="3954" y="739"/>
                </a:lnTo>
                <a:lnTo>
                  <a:pt x="3958" y="739"/>
                </a:lnTo>
                <a:lnTo>
                  <a:pt x="3961" y="740"/>
                </a:lnTo>
                <a:lnTo>
                  <a:pt x="3964" y="741"/>
                </a:lnTo>
                <a:lnTo>
                  <a:pt x="3967" y="743"/>
                </a:lnTo>
                <a:lnTo>
                  <a:pt x="3969" y="745"/>
                </a:lnTo>
                <a:lnTo>
                  <a:pt x="3970" y="748"/>
                </a:lnTo>
                <a:lnTo>
                  <a:pt x="3971" y="751"/>
                </a:lnTo>
                <a:lnTo>
                  <a:pt x="3972" y="754"/>
                </a:lnTo>
                <a:lnTo>
                  <a:pt x="3971" y="757"/>
                </a:lnTo>
                <a:lnTo>
                  <a:pt x="3971" y="760"/>
                </a:lnTo>
                <a:lnTo>
                  <a:pt x="3968" y="765"/>
                </a:lnTo>
                <a:lnTo>
                  <a:pt x="3964" y="769"/>
                </a:lnTo>
                <a:lnTo>
                  <a:pt x="3960" y="770"/>
                </a:lnTo>
                <a:lnTo>
                  <a:pt x="3957" y="771"/>
                </a:lnTo>
                <a:lnTo>
                  <a:pt x="3954" y="771"/>
                </a:lnTo>
                <a:lnTo>
                  <a:pt x="3950" y="770"/>
                </a:lnTo>
                <a:lnTo>
                  <a:pt x="3947" y="768"/>
                </a:lnTo>
                <a:lnTo>
                  <a:pt x="3945" y="766"/>
                </a:lnTo>
                <a:lnTo>
                  <a:pt x="3943" y="764"/>
                </a:lnTo>
                <a:lnTo>
                  <a:pt x="3941" y="761"/>
                </a:lnTo>
                <a:lnTo>
                  <a:pt x="3940" y="758"/>
                </a:lnTo>
                <a:lnTo>
                  <a:pt x="3940" y="755"/>
                </a:lnTo>
                <a:lnTo>
                  <a:pt x="3940" y="752"/>
                </a:lnTo>
                <a:lnTo>
                  <a:pt x="3941" y="749"/>
                </a:lnTo>
                <a:lnTo>
                  <a:pt x="3944" y="744"/>
                </a:lnTo>
                <a:lnTo>
                  <a:pt x="3948" y="741"/>
                </a:lnTo>
                <a:close/>
                <a:moveTo>
                  <a:pt x="3815" y="685"/>
                </a:moveTo>
                <a:lnTo>
                  <a:pt x="3816" y="684"/>
                </a:lnTo>
                <a:lnTo>
                  <a:pt x="3818" y="684"/>
                </a:lnTo>
                <a:lnTo>
                  <a:pt x="3822" y="683"/>
                </a:lnTo>
                <a:lnTo>
                  <a:pt x="3826" y="683"/>
                </a:lnTo>
                <a:lnTo>
                  <a:pt x="3829" y="685"/>
                </a:lnTo>
                <a:lnTo>
                  <a:pt x="3832" y="686"/>
                </a:lnTo>
                <a:lnTo>
                  <a:pt x="3834" y="688"/>
                </a:lnTo>
                <a:lnTo>
                  <a:pt x="3836" y="691"/>
                </a:lnTo>
                <a:lnTo>
                  <a:pt x="3838" y="694"/>
                </a:lnTo>
                <a:lnTo>
                  <a:pt x="3838" y="697"/>
                </a:lnTo>
                <a:lnTo>
                  <a:pt x="3839" y="700"/>
                </a:lnTo>
                <a:lnTo>
                  <a:pt x="3838" y="703"/>
                </a:lnTo>
                <a:lnTo>
                  <a:pt x="3837" y="706"/>
                </a:lnTo>
                <a:lnTo>
                  <a:pt x="3834" y="710"/>
                </a:lnTo>
                <a:lnTo>
                  <a:pt x="3833" y="712"/>
                </a:lnTo>
                <a:lnTo>
                  <a:pt x="3831" y="713"/>
                </a:lnTo>
                <a:lnTo>
                  <a:pt x="3829" y="714"/>
                </a:lnTo>
                <a:lnTo>
                  <a:pt x="3827" y="715"/>
                </a:lnTo>
                <a:lnTo>
                  <a:pt x="3823" y="715"/>
                </a:lnTo>
                <a:lnTo>
                  <a:pt x="3820" y="715"/>
                </a:lnTo>
                <a:lnTo>
                  <a:pt x="3816" y="714"/>
                </a:lnTo>
                <a:lnTo>
                  <a:pt x="3813" y="712"/>
                </a:lnTo>
                <a:lnTo>
                  <a:pt x="3811" y="710"/>
                </a:lnTo>
                <a:lnTo>
                  <a:pt x="3809" y="707"/>
                </a:lnTo>
                <a:lnTo>
                  <a:pt x="3808" y="705"/>
                </a:lnTo>
                <a:lnTo>
                  <a:pt x="3807" y="702"/>
                </a:lnTo>
                <a:lnTo>
                  <a:pt x="3807" y="699"/>
                </a:lnTo>
                <a:lnTo>
                  <a:pt x="3807" y="696"/>
                </a:lnTo>
                <a:lnTo>
                  <a:pt x="3808" y="692"/>
                </a:lnTo>
                <a:lnTo>
                  <a:pt x="3811" y="688"/>
                </a:lnTo>
                <a:lnTo>
                  <a:pt x="3813" y="687"/>
                </a:lnTo>
                <a:lnTo>
                  <a:pt x="3815" y="685"/>
                </a:lnTo>
                <a:close/>
                <a:moveTo>
                  <a:pt x="3687" y="619"/>
                </a:moveTo>
                <a:lnTo>
                  <a:pt x="3691" y="617"/>
                </a:lnTo>
                <a:lnTo>
                  <a:pt x="3695" y="617"/>
                </a:lnTo>
                <a:lnTo>
                  <a:pt x="3699" y="617"/>
                </a:lnTo>
                <a:lnTo>
                  <a:pt x="3703" y="619"/>
                </a:lnTo>
                <a:lnTo>
                  <a:pt x="3705" y="621"/>
                </a:lnTo>
                <a:lnTo>
                  <a:pt x="3707" y="623"/>
                </a:lnTo>
                <a:lnTo>
                  <a:pt x="3709" y="626"/>
                </a:lnTo>
                <a:lnTo>
                  <a:pt x="3710" y="629"/>
                </a:lnTo>
                <a:lnTo>
                  <a:pt x="3711" y="632"/>
                </a:lnTo>
                <a:lnTo>
                  <a:pt x="3711" y="635"/>
                </a:lnTo>
                <a:lnTo>
                  <a:pt x="3710" y="638"/>
                </a:lnTo>
                <a:lnTo>
                  <a:pt x="3709" y="641"/>
                </a:lnTo>
                <a:lnTo>
                  <a:pt x="3706" y="644"/>
                </a:lnTo>
                <a:lnTo>
                  <a:pt x="3703" y="647"/>
                </a:lnTo>
                <a:lnTo>
                  <a:pt x="3699" y="648"/>
                </a:lnTo>
                <a:lnTo>
                  <a:pt x="3695" y="649"/>
                </a:lnTo>
                <a:lnTo>
                  <a:pt x="3691" y="648"/>
                </a:lnTo>
                <a:lnTo>
                  <a:pt x="3687" y="647"/>
                </a:lnTo>
                <a:lnTo>
                  <a:pt x="3684" y="645"/>
                </a:lnTo>
                <a:lnTo>
                  <a:pt x="3682" y="643"/>
                </a:lnTo>
                <a:lnTo>
                  <a:pt x="3680" y="640"/>
                </a:lnTo>
                <a:lnTo>
                  <a:pt x="3679" y="637"/>
                </a:lnTo>
                <a:lnTo>
                  <a:pt x="3679" y="634"/>
                </a:lnTo>
                <a:lnTo>
                  <a:pt x="3679" y="631"/>
                </a:lnTo>
                <a:lnTo>
                  <a:pt x="3680" y="628"/>
                </a:lnTo>
                <a:lnTo>
                  <a:pt x="3681" y="625"/>
                </a:lnTo>
                <a:lnTo>
                  <a:pt x="3683" y="621"/>
                </a:lnTo>
                <a:lnTo>
                  <a:pt x="3687" y="619"/>
                </a:lnTo>
                <a:close/>
                <a:moveTo>
                  <a:pt x="3561" y="547"/>
                </a:moveTo>
                <a:lnTo>
                  <a:pt x="3565" y="545"/>
                </a:lnTo>
                <a:lnTo>
                  <a:pt x="3569" y="545"/>
                </a:lnTo>
                <a:lnTo>
                  <a:pt x="3573" y="545"/>
                </a:lnTo>
                <a:lnTo>
                  <a:pt x="3577" y="547"/>
                </a:lnTo>
                <a:lnTo>
                  <a:pt x="3580" y="549"/>
                </a:lnTo>
                <a:lnTo>
                  <a:pt x="3582" y="551"/>
                </a:lnTo>
                <a:lnTo>
                  <a:pt x="3584" y="554"/>
                </a:lnTo>
                <a:lnTo>
                  <a:pt x="3585" y="556"/>
                </a:lnTo>
                <a:lnTo>
                  <a:pt x="3585" y="560"/>
                </a:lnTo>
                <a:lnTo>
                  <a:pt x="3585" y="563"/>
                </a:lnTo>
                <a:lnTo>
                  <a:pt x="3585" y="566"/>
                </a:lnTo>
                <a:lnTo>
                  <a:pt x="3583" y="569"/>
                </a:lnTo>
                <a:lnTo>
                  <a:pt x="3581" y="572"/>
                </a:lnTo>
                <a:lnTo>
                  <a:pt x="3578" y="575"/>
                </a:lnTo>
                <a:lnTo>
                  <a:pt x="3574" y="576"/>
                </a:lnTo>
                <a:lnTo>
                  <a:pt x="3570" y="577"/>
                </a:lnTo>
                <a:lnTo>
                  <a:pt x="3566" y="576"/>
                </a:lnTo>
                <a:lnTo>
                  <a:pt x="3562" y="575"/>
                </a:lnTo>
                <a:lnTo>
                  <a:pt x="3559" y="573"/>
                </a:lnTo>
                <a:lnTo>
                  <a:pt x="3557" y="571"/>
                </a:lnTo>
                <a:lnTo>
                  <a:pt x="3555" y="568"/>
                </a:lnTo>
                <a:lnTo>
                  <a:pt x="3554" y="565"/>
                </a:lnTo>
                <a:lnTo>
                  <a:pt x="3554" y="562"/>
                </a:lnTo>
                <a:lnTo>
                  <a:pt x="3554" y="559"/>
                </a:lnTo>
                <a:lnTo>
                  <a:pt x="3554" y="556"/>
                </a:lnTo>
                <a:lnTo>
                  <a:pt x="3556" y="553"/>
                </a:lnTo>
                <a:lnTo>
                  <a:pt x="3558" y="550"/>
                </a:lnTo>
                <a:lnTo>
                  <a:pt x="3561" y="547"/>
                </a:lnTo>
                <a:close/>
                <a:moveTo>
                  <a:pt x="3436" y="477"/>
                </a:moveTo>
                <a:lnTo>
                  <a:pt x="3439" y="475"/>
                </a:lnTo>
                <a:lnTo>
                  <a:pt x="3443" y="475"/>
                </a:lnTo>
                <a:lnTo>
                  <a:pt x="3445" y="475"/>
                </a:lnTo>
                <a:lnTo>
                  <a:pt x="3447" y="475"/>
                </a:lnTo>
                <a:lnTo>
                  <a:pt x="3451" y="477"/>
                </a:lnTo>
                <a:lnTo>
                  <a:pt x="3454" y="479"/>
                </a:lnTo>
                <a:lnTo>
                  <a:pt x="3456" y="481"/>
                </a:lnTo>
                <a:lnTo>
                  <a:pt x="3458" y="483"/>
                </a:lnTo>
                <a:lnTo>
                  <a:pt x="3459" y="486"/>
                </a:lnTo>
                <a:lnTo>
                  <a:pt x="3460" y="489"/>
                </a:lnTo>
                <a:lnTo>
                  <a:pt x="3460" y="492"/>
                </a:lnTo>
                <a:lnTo>
                  <a:pt x="3459" y="495"/>
                </a:lnTo>
                <a:lnTo>
                  <a:pt x="3458" y="498"/>
                </a:lnTo>
                <a:lnTo>
                  <a:pt x="3457" y="500"/>
                </a:lnTo>
                <a:lnTo>
                  <a:pt x="3455" y="502"/>
                </a:lnTo>
                <a:lnTo>
                  <a:pt x="3452" y="505"/>
                </a:lnTo>
                <a:lnTo>
                  <a:pt x="3448" y="506"/>
                </a:lnTo>
                <a:lnTo>
                  <a:pt x="3444" y="507"/>
                </a:lnTo>
                <a:lnTo>
                  <a:pt x="3442" y="507"/>
                </a:lnTo>
                <a:lnTo>
                  <a:pt x="3440" y="506"/>
                </a:lnTo>
                <a:lnTo>
                  <a:pt x="3436" y="505"/>
                </a:lnTo>
                <a:lnTo>
                  <a:pt x="3433" y="503"/>
                </a:lnTo>
                <a:lnTo>
                  <a:pt x="3431" y="501"/>
                </a:lnTo>
                <a:lnTo>
                  <a:pt x="3429" y="498"/>
                </a:lnTo>
                <a:lnTo>
                  <a:pt x="3428" y="495"/>
                </a:lnTo>
                <a:lnTo>
                  <a:pt x="3428" y="492"/>
                </a:lnTo>
                <a:lnTo>
                  <a:pt x="3428" y="489"/>
                </a:lnTo>
                <a:lnTo>
                  <a:pt x="3428" y="486"/>
                </a:lnTo>
                <a:lnTo>
                  <a:pt x="3430" y="483"/>
                </a:lnTo>
                <a:lnTo>
                  <a:pt x="3431" y="481"/>
                </a:lnTo>
                <a:lnTo>
                  <a:pt x="3432" y="479"/>
                </a:lnTo>
                <a:lnTo>
                  <a:pt x="3436" y="477"/>
                </a:lnTo>
                <a:close/>
                <a:moveTo>
                  <a:pt x="3309" y="408"/>
                </a:moveTo>
                <a:lnTo>
                  <a:pt x="3313" y="407"/>
                </a:lnTo>
                <a:lnTo>
                  <a:pt x="3317" y="406"/>
                </a:lnTo>
                <a:lnTo>
                  <a:pt x="3319" y="406"/>
                </a:lnTo>
                <a:lnTo>
                  <a:pt x="3321" y="406"/>
                </a:lnTo>
                <a:lnTo>
                  <a:pt x="3325" y="408"/>
                </a:lnTo>
                <a:lnTo>
                  <a:pt x="3327" y="410"/>
                </a:lnTo>
                <a:lnTo>
                  <a:pt x="3330" y="412"/>
                </a:lnTo>
                <a:lnTo>
                  <a:pt x="3331" y="415"/>
                </a:lnTo>
                <a:lnTo>
                  <a:pt x="3332" y="417"/>
                </a:lnTo>
                <a:lnTo>
                  <a:pt x="3333" y="423"/>
                </a:lnTo>
                <a:lnTo>
                  <a:pt x="3333" y="427"/>
                </a:lnTo>
                <a:lnTo>
                  <a:pt x="3331" y="430"/>
                </a:lnTo>
                <a:lnTo>
                  <a:pt x="3329" y="433"/>
                </a:lnTo>
                <a:lnTo>
                  <a:pt x="3325" y="436"/>
                </a:lnTo>
                <a:lnTo>
                  <a:pt x="3322" y="437"/>
                </a:lnTo>
                <a:lnTo>
                  <a:pt x="3318" y="438"/>
                </a:lnTo>
                <a:lnTo>
                  <a:pt x="3316" y="438"/>
                </a:lnTo>
                <a:lnTo>
                  <a:pt x="3314" y="438"/>
                </a:lnTo>
                <a:lnTo>
                  <a:pt x="3310" y="436"/>
                </a:lnTo>
                <a:lnTo>
                  <a:pt x="3307" y="434"/>
                </a:lnTo>
                <a:lnTo>
                  <a:pt x="3305" y="432"/>
                </a:lnTo>
                <a:lnTo>
                  <a:pt x="3303" y="429"/>
                </a:lnTo>
                <a:lnTo>
                  <a:pt x="3302" y="427"/>
                </a:lnTo>
                <a:lnTo>
                  <a:pt x="3301" y="421"/>
                </a:lnTo>
                <a:lnTo>
                  <a:pt x="3302" y="417"/>
                </a:lnTo>
                <a:lnTo>
                  <a:pt x="3303" y="414"/>
                </a:lnTo>
                <a:lnTo>
                  <a:pt x="3306" y="411"/>
                </a:lnTo>
                <a:lnTo>
                  <a:pt x="3309" y="408"/>
                </a:lnTo>
                <a:close/>
                <a:moveTo>
                  <a:pt x="8" y="2264"/>
                </a:moveTo>
                <a:lnTo>
                  <a:pt x="11" y="2262"/>
                </a:lnTo>
                <a:lnTo>
                  <a:pt x="15" y="2262"/>
                </a:lnTo>
                <a:lnTo>
                  <a:pt x="19" y="2262"/>
                </a:lnTo>
                <a:lnTo>
                  <a:pt x="22" y="2263"/>
                </a:lnTo>
                <a:lnTo>
                  <a:pt x="25" y="2264"/>
                </a:lnTo>
                <a:lnTo>
                  <a:pt x="28" y="2266"/>
                </a:lnTo>
                <a:lnTo>
                  <a:pt x="30" y="2269"/>
                </a:lnTo>
                <a:lnTo>
                  <a:pt x="31" y="2272"/>
                </a:lnTo>
                <a:lnTo>
                  <a:pt x="32" y="2275"/>
                </a:lnTo>
                <a:lnTo>
                  <a:pt x="32" y="2278"/>
                </a:lnTo>
                <a:lnTo>
                  <a:pt x="32" y="2281"/>
                </a:lnTo>
                <a:lnTo>
                  <a:pt x="31" y="2284"/>
                </a:lnTo>
                <a:lnTo>
                  <a:pt x="28" y="2288"/>
                </a:lnTo>
                <a:lnTo>
                  <a:pt x="24" y="2291"/>
                </a:lnTo>
                <a:lnTo>
                  <a:pt x="21" y="2293"/>
                </a:lnTo>
                <a:lnTo>
                  <a:pt x="17" y="2293"/>
                </a:lnTo>
                <a:lnTo>
                  <a:pt x="14" y="2293"/>
                </a:lnTo>
                <a:lnTo>
                  <a:pt x="10" y="2292"/>
                </a:lnTo>
                <a:lnTo>
                  <a:pt x="7" y="2291"/>
                </a:lnTo>
                <a:lnTo>
                  <a:pt x="5" y="2289"/>
                </a:lnTo>
                <a:lnTo>
                  <a:pt x="3" y="2286"/>
                </a:lnTo>
                <a:lnTo>
                  <a:pt x="1" y="2283"/>
                </a:lnTo>
                <a:lnTo>
                  <a:pt x="0" y="2280"/>
                </a:lnTo>
                <a:lnTo>
                  <a:pt x="0" y="2277"/>
                </a:lnTo>
                <a:lnTo>
                  <a:pt x="0" y="2274"/>
                </a:lnTo>
                <a:lnTo>
                  <a:pt x="1" y="2271"/>
                </a:lnTo>
                <a:lnTo>
                  <a:pt x="4" y="2267"/>
                </a:lnTo>
                <a:lnTo>
                  <a:pt x="8" y="2264"/>
                </a:lnTo>
                <a:close/>
                <a:moveTo>
                  <a:pt x="3182" y="341"/>
                </a:moveTo>
                <a:lnTo>
                  <a:pt x="3185" y="340"/>
                </a:lnTo>
                <a:lnTo>
                  <a:pt x="3189" y="339"/>
                </a:lnTo>
                <a:lnTo>
                  <a:pt x="3193" y="339"/>
                </a:lnTo>
                <a:lnTo>
                  <a:pt x="3197" y="341"/>
                </a:lnTo>
                <a:lnTo>
                  <a:pt x="3200" y="343"/>
                </a:lnTo>
                <a:lnTo>
                  <a:pt x="3202" y="345"/>
                </a:lnTo>
                <a:lnTo>
                  <a:pt x="3204" y="347"/>
                </a:lnTo>
                <a:lnTo>
                  <a:pt x="3205" y="350"/>
                </a:lnTo>
                <a:lnTo>
                  <a:pt x="3206" y="353"/>
                </a:lnTo>
                <a:lnTo>
                  <a:pt x="3206" y="356"/>
                </a:lnTo>
                <a:lnTo>
                  <a:pt x="3205" y="359"/>
                </a:lnTo>
                <a:lnTo>
                  <a:pt x="3204" y="362"/>
                </a:lnTo>
                <a:lnTo>
                  <a:pt x="3203" y="364"/>
                </a:lnTo>
                <a:lnTo>
                  <a:pt x="3201" y="366"/>
                </a:lnTo>
                <a:lnTo>
                  <a:pt x="3198" y="369"/>
                </a:lnTo>
                <a:lnTo>
                  <a:pt x="3194" y="370"/>
                </a:lnTo>
                <a:lnTo>
                  <a:pt x="3190" y="371"/>
                </a:lnTo>
                <a:lnTo>
                  <a:pt x="3186" y="371"/>
                </a:lnTo>
                <a:lnTo>
                  <a:pt x="3182" y="369"/>
                </a:lnTo>
                <a:lnTo>
                  <a:pt x="3180" y="368"/>
                </a:lnTo>
                <a:lnTo>
                  <a:pt x="3177" y="365"/>
                </a:lnTo>
                <a:lnTo>
                  <a:pt x="3176" y="363"/>
                </a:lnTo>
                <a:lnTo>
                  <a:pt x="3174" y="360"/>
                </a:lnTo>
                <a:lnTo>
                  <a:pt x="3174" y="357"/>
                </a:lnTo>
                <a:lnTo>
                  <a:pt x="3174" y="354"/>
                </a:lnTo>
                <a:lnTo>
                  <a:pt x="3174" y="351"/>
                </a:lnTo>
                <a:lnTo>
                  <a:pt x="3175" y="348"/>
                </a:lnTo>
                <a:lnTo>
                  <a:pt x="3177" y="346"/>
                </a:lnTo>
                <a:lnTo>
                  <a:pt x="3178" y="344"/>
                </a:lnTo>
                <a:lnTo>
                  <a:pt x="3182" y="341"/>
                </a:lnTo>
                <a:close/>
                <a:moveTo>
                  <a:pt x="72" y="2135"/>
                </a:moveTo>
                <a:lnTo>
                  <a:pt x="76" y="2133"/>
                </a:lnTo>
                <a:lnTo>
                  <a:pt x="80" y="2133"/>
                </a:lnTo>
                <a:lnTo>
                  <a:pt x="84" y="2133"/>
                </a:lnTo>
                <a:lnTo>
                  <a:pt x="88" y="2135"/>
                </a:lnTo>
                <a:lnTo>
                  <a:pt x="90" y="2136"/>
                </a:lnTo>
                <a:lnTo>
                  <a:pt x="92" y="2139"/>
                </a:lnTo>
                <a:lnTo>
                  <a:pt x="94" y="2141"/>
                </a:lnTo>
                <a:lnTo>
                  <a:pt x="95" y="2144"/>
                </a:lnTo>
                <a:lnTo>
                  <a:pt x="96" y="2147"/>
                </a:lnTo>
                <a:lnTo>
                  <a:pt x="96" y="2150"/>
                </a:lnTo>
                <a:lnTo>
                  <a:pt x="95" y="2153"/>
                </a:lnTo>
                <a:lnTo>
                  <a:pt x="94" y="2156"/>
                </a:lnTo>
                <a:lnTo>
                  <a:pt x="91" y="2160"/>
                </a:lnTo>
                <a:lnTo>
                  <a:pt x="88" y="2162"/>
                </a:lnTo>
                <a:lnTo>
                  <a:pt x="84" y="2164"/>
                </a:lnTo>
                <a:lnTo>
                  <a:pt x="80" y="2165"/>
                </a:lnTo>
                <a:lnTo>
                  <a:pt x="76" y="2164"/>
                </a:lnTo>
                <a:lnTo>
                  <a:pt x="72" y="2162"/>
                </a:lnTo>
                <a:lnTo>
                  <a:pt x="69" y="2161"/>
                </a:lnTo>
                <a:lnTo>
                  <a:pt x="67" y="2158"/>
                </a:lnTo>
                <a:lnTo>
                  <a:pt x="66" y="2156"/>
                </a:lnTo>
                <a:lnTo>
                  <a:pt x="64" y="2153"/>
                </a:lnTo>
                <a:lnTo>
                  <a:pt x="64" y="2150"/>
                </a:lnTo>
                <a:lnTo>
                  <a:pt x="64" y="2147"/>
                </a:lnTo>
                <a:lnTo>
                  <a:pt x="65" y="2144"/>
                </a:lnTo>
                <a:lnTo>
                  <a:pt x="66" y="2141"/>
                </a:lnTo>
                <a:lnTo>
                  <a:pt x="68" y="2137"/>
                </a:lnTo>
                <a:lnTo>
                  <a:pt x="72" y="2135"/>
                </a:lnTo>
                <a:close/>
                <a:moveTo>
                  <a:pt x="149" y="2013"/>
                </a:moveTo>
                <a:lnTo>
                  <a:pt x="153" y="2012"/>
                </a:lnTo>
                <a:lnTo>
                  <a:pt x="157" y="2011"/>
                </a:lnTo>
                <a:lnTo>
                  <a:pt x="162" y="2012"/>
                </a:lnTo>
                <a:lnTo>
                  <a:pt x="166" y="2014"/>
                </a:lnTo>
                <a:lnTo>
                  <a:pt x="169" y="2016"/>
                </a:lnTo>
                <a:lnTo>
                  <a:pt x="170" y="2019"/>
                </a:lnTo>
                <a:lnTo>
                  <a:pt x="172" y="2022"/>
                </a:lnTo>
                <a:lnTo>
                  <a:pt x="173" y="2024"/>
                </a:lnTo>
                <a:lnTo>
                  <a:pt x="173" y="2028"/>
                </a:lnTo>
                <a:lnTo>
                  <a:pt x="172" y="2031"/>
                </a:lnTo>
                <a:lnTo>
                  <a:pt x="172" y="2034"/>
                </a:lnTo>
                <a:lnTo>
                  <a:pt x="170" y="2036"/>
                </a:lnTo>
                <a:lnTo>
                  <a:pt x="168" y="2039"/>
                </a:lnTo>
                <a:lnTo>
                  <a:pt x="165" y="2041"/>
                </a:lnTo>
                <a:lnTo>
                  <a:pt x="161" y="2043"/>
                </a:lnTo>
                <a:lnTo>
                  <a:pt x="156" y="2043"/>
                </a:lnTo>
                <a:lnTo>
                  <a:pt x="152" y="2042"/>
                </a:lnTo>
                <a:lnTo>
                  <a:pt x="148" y="2040"/>
                </a:lnTo>
                <a:lnTo>
                  <a:pt x="145" y="2038"/>
                </a:lnTo>
                <a:lnTo>
                  <a:pt x="143" y="2036"/>
                </a:lnTo>
                <a:lnTo>
                  <a:pt x="142" y="2033"/>
                </a:lnTo>
                <a:lnTo>
                  <a:pt x="141" y="2030"/>
                </a:lnTo>
                <a:lnTo>
                  <a:pt x="141" y="2027"/>
                </a:lnTo>
                <a:lnTo>
                  <a:pt x="141" y="2024"/>
                </a:lnTo>
                <a:lnTo>
                  <a:pt x="142" y="2021"/>
                </a:lnTo>
                <a:lnTo>
                  <a:pt x="144" y="2018"/>
                </a:lnTo>
                <a:lnTo>
                  <a:pt x="146" y="2015"/>
                </a:lnTo>
                <a:lnTo>
                  <a:pt x="149" y="2013"/>
                </a:lnTo>
                <a:close/>
                <a:moveTo>
                  <a:pt x="3053" y="277"/>
                </a:moveTo>
                <a:lnTo>
                  <a:pt x="3055" y="276"/>
                </a:lnTo>
                <a:lnTo>
                  <a:pt x="3056" y="275"/>
                </a:lnTo>
                <a:lnTo>
                  <a:pt x="3060" y="275"/>
                </a:lnTo>
                <a:lnTo>
                  <a:pt x="3064" y="275"/>
                </a:lnTo>
                <a:lnTo>
                  <a:pt x="3068" y="276"/>
                </a:lnTo>
                <a:lnTo>
                  <a:pt x="3071" y="278"/>
                </a:lnTo>
                <a:lnTo>
                  <a:pt x="3073" y="280"/>
                </a:lnTo>
                <a:lnTo>
                  <a:pt x="3075" y="283"/>
                </a:lnTo>
                <a:lnTo>
                  <a:pt x="3076" y="285"/>
                </a:lnTo>
                <a:lnTo>
                  <a:pt x="3077" y="288"/>
                </a:lnTo>
                <a:lnTo>
                  <a:pt x="3077" y="291"/>
                </a:lnTo>
                <a:lnTo>
                  <a:pt x="3076" y="295"/>
                </a:lnTo>
                <a:lnTo>
                  <a:pt x="3075" y="298"/>
                </a:lnTo>
                <a:lnTo>
                  <a:pt x="3073" y="302"/>
                </a:lnTo>
                <a:lnTo>
                  <a:pt x="3071" y="303"/>
                </a:lnTo>
                <a:lnTo>
                  <a:pt x="3069" y="304"/>
                </a:lnTo>
                <a:lnTo>
                  <a:pt x="3067" y="305"/>
                </a:lnTo>
                <a:lnTo>
                  <a:pt x="3065" y="306"/>
                </a:lnTo>
                <a:lnTo>
                  <a:pt x="3062" y="307"/>
                </a:lnTo>
                <a:lnTo>
                  <a:pt x="3058" y="306"/>
                </a:lnTo>
                <a:lnTo>
                  <a:pt x="3054" y="305"/>
                </a:lnTo>
                <a:lnTo>
                  <a:pt x="3051" y="303"/>
                </a:lnTo>
                <a:lnTo>
                  <a:pt x="3049" y="301"/>
                </a:lnTo>
                <a:lnTo>
                  <a:pt x="3047" y="299"/>
                </a:lnTo>
                <a:lnTo>
                  <a:pt x="3046" y="296"/>
                </a:lnTo>
                <a:lnTo>
                  <a:pt x="3045" y="293"/>
                </a:lnTo>
                <a:lnTo>
                  <a:pt x="3045" y="290"/>
                </a:lnTo>
                <a:lnTo>
                  <a:pt x="3045" y="287"/>
                </a:lnTo>
                <a:lnTo>
                  <a:pt x="3047" y="284"/>
                </a:lnTo>
                <a:lnTo>
                  <a:pt x="3049" y="280"/>
                </a:lnTo>
                <a:lnTo>
                  <a:pt x="3051" y="278"/>
                </a:lnTo>
                <a:lnTo>
                  <a:pt x="3053" y="277"/>
                </a:lnTo>
                <a:close/>
                <a:moveTo>
                  <a:pt x="238" y="1901"/>
                </a:moveTo>
                <a:lnTo>
                  <a:pt x="240" y="1900"/>
                </a:lnTo>
                <a:lnTo>
                  <a:pt x="243" y="1899"/>
                </a:lnTo>
                <a:lnTo>
                  <a:pt x="245" y="1899"/>
                </a:lnTo>
                <a:lnTo>
                  <a:pt x="248" y="1899"/>
                </a:lnTo>
                <a:lnTo>
                  <a:pt x="250" y="1899"/>
                </a:lnTo>
                <a:lnTo>
                  <a:pt x="252" y="1900"/>
                </a:lnTo>
                <a:lnTo>
                  <a:pt x="255" y="1901"/>
                </a:lnTo>
                <a:lnTo>
                  <a:pt x="257" y="1902"/>
                </a:lnTo>
                <a:lnTo>
                  <a:pt x="259" y="1905"/>
                </a:lnTo>
                <a:lnTo>
                  <a:pt x="261" y="1908"/>
                </a:lnTo>
                <a:lnTo>
                  <a:pt x="262" y="1910"/>
                </a:lnTo>
                <a:lnTo>
                  <a:pt x="262" y="1913"/>
                </a:lnTo>
                <a:lnTo>
                  <a:pt x="262" y="1917"/>
                </a:lnTo>
                <a:lnTo>
                  <a:pt x="261" y="1920"/>
                </a:lnTo>
                <a:lnTo>
                  <a:pt x="260" y="1922"/>
                </a:lnTo>
                <a:lnTo>
                  <a:pt x="258" y="1925"/>
                </a:lnTo>
                <a:lnTo>
                  <a:pt x="256" y="1927"/>
                </a:lnTo>
                <a:lnTo>
                  <a:pt x="254" y="1928"/>
                </a:lnTo>
                <a:lnTo>
                  <a:pt x="252" y="1929"/>
                </a:lnTo>
                <a:lnTo>
                  <a:pt x="250" y="1930"/>
                </a:lnTo>
                <a:lnTo>
                  <a:pt x="247" y="1930"/>
                </a:lnTo>
                <a:lnTo>
                  <a:pt x="245" y="1930"/>
                </a:lnTo>
                <a:lnTo>
                  <a:pt x="242" y="1930"/>
                </a:lnTo>
                <a:lnTo>
                  <a:pt x="240" y="1929"/>
                </a:lnTo>
                <a:lnTo>
                  <a:pt x="238" y="1928"/>
                </a:lnTo>
                <a:lnTo>
                  <a:pt x="236" y="1927"/>
                </a:lnTo>
                <a:lnTo>
                  <a:pt x="233" y="1924"/>
                </a:lnTo>
                <a:lnTo>
                  <a:pt x="232" y="1921"/>
                </a:lnTo>
                <a:lnTo>
                  <a:pt x="231" y="1919"/>
                </a:lnTo>
                <a:lnTo>
                  <a:pt x="230" y="1916"/>
                </a:lnTo>
                <a:lnTo>
                  <a:pt x="230" y="1912"/>
                </a:lnTo>
                <a:lnTo>
                  <a:pt x="231" y="1909"/>
                </a:lnTo>
                <a:lnTo>
                  <a:pt x="232" y="1907"/>
                </a:lnTo>
                <a:lnTo>
                  <a:pt x="234" y="1904"/>
                </a:lnTo>
                <a:lnTo>
                  <a:pt x="236" y="1902"/>
                </a:lnTo>
                <a:lnTo>
                  <a:pt x="238" y="1901"/>
                </a:lnTo>
                <a:close/>
                <a:moveTo>
                  <a:pt x="338" y="1797"/>
                </a:moveTo>
                <a:lnTo>
                  <a:pt x="341" y="1796"/>
                </a:lnTo>
                <a:lnTo>
                  <a:pt x="343" y="1796"/>
                </a:lnTo>
                <a:lnTo>
                  <a:pt x="349" y="1796"/>
                </a:lnTo>
                <a:lnTo>
                  <a:pt x="351" y="1796"/>
                </a:lnTo>
                <a:lnTo>
                  <a:pt x="354" y="1797"/>
                </a:lnTo>
                <a:lnTo>
                  <a:pt x="358" y="1800"/>
                </a:lnTo>
                <a:lnTo>
                  <a:pt x="360" y="1803"/>
                </a:lnTo>
                <a:lnTo>
                  <a:pt x="361" y="1806"/>
                </a:lnTo>
                <a:lnTo>
                  <a:pt x="362" y="1809"/>
                </a:lnTo>
                <a:lnTo>
                  <a:pt x="362" y="1812"/>
                </a:lnTo>
                <a:lnTo>
                  <a:pt x="362" y="1815"/>
                </a:lnTo>
                <a:lnTo>
                  <a:pt x="361" y="1818"/>
                </a:lnTo>
                <a:lnTo>
                  <a:pt x="359" y="1821"/>
                </a:lnTo>
                <a:lnTo>
                  <a:pt x="357" y="1823"/>
                </a:lnTo>
                <a:lnTo>
                  <a:pt x="354" y="1825"/>
                </a:lnTo>
                <a:lnTo>
                  <a:pt x="352" y="1826"/>
                </a:lnTo>
                <a:lnTo>
                  <a:pt x="349" y="1827"/>
                </a:lnTo>
                <a:lnTo>
                  <a:pt x="344" y="1827"/>
                </a:lnTo>
                <a:lnTo>
                  <a:pt x="341" y="1827"/>
                </a:lnTo>
                <a:lnTo>
                  <a:pt x="339" y="1826"/>
                </a:lnTo>
                <a:lnTo>
                  <a:pt x="337" y="1824"/>
                </a:lnTo>
                <a:lnTo>
                  <a:pt x="335" y="1822"/>
                </a:lnTo>
                <a:lnTo>
                  <a:pt x="333" y="1820"/>
                </a:lnTo>
                <a:lnTo>
                  <a:pt x="331" y="1817"/>
                </a:lnTo>
                <a:lnTo>
                  <a:pt x="331" y="1814"/>
                </a:lnTo>
                <a:lnTo>
                  <a:pt x="330" y="1811"/>
                </a:lnTo>
                <a:lnTo>
                  <a:pt x="331" y="1808"/>
                </a:lnTo>
                <a:lnTo>
                  <a:pt x="332" y="1805"/>
                </a:lnTo>
                <a:lnTo>
                  <a:pt x="333" y="1802"/>
                </a:lnTo>
                <a:lnTo>
                  <a:pt x="335" y="1800"/>
                </a:lnTo>
                <a:lnTo>
                  <a:pt x="338" y="1797"/>
                </a:lnTo>
                <a:close/>
                <a:moveTo>
                  <a:pt x="448" y="1703"/>
                </a:moveTo>
                <a:lnTo>
                  <a:pt x="450" y="1702"/>
                </a:lnTo>
                <a:lnTo>
                  <a:pt x="453" y="1701"/>
                </a:lnTo>
                <a:lnTo>
                  <a:pt x="459" y="1701"/>
                </a:lnTo>
                <a:lnTo>
                  <a:pt x="461" y="1702"/>
                </a:lnTo>
                <a:lnTo>
                  <a:pt x="464" y="1703"/>
                </a:lnTo>
                <a:lnTo>
                  <a:pt x="466" y="1705"/>
                </a:lnTo>
                <a:lnTo>
                  <a:pt x="467" y="1706"/>
                </a:lnTo>
                <a:lnTo>
                  <a:pt x="468" y="1707"/>
                </a:lnTo>
                <a:lnTo>
                  <a:pt x="470" y="1710"/>
                </a:lnTo>
                <a:lnTo>
                  <a:pt x="471" y="1713"/>
                </a:lnTo>
                <a:lnTo>
                  <a:pt x="472" y="1716"/>
                </a:lnTo>
                <a:lnTo>
                  <a:pt x="471" y="1719"/>
                </a:lnTo>
                <a:lnTo>
                  <a:pt x="471" y="1722"/>
                </a:lnTo>
                <a:lnTo>
                  <a:pt x="470" y="1725"/>
                </a:lnTo>
                <a:lnTo>
                  <a:pt x="468" y="1727"/>
                </a:lnTo>
                <a:lnTo>
                  <a:pt x="465" y="1730"/>
                </a:lnTo>
                <a:lnTo>
                  <a:pt x="464" y="1731"/>
                </a:lnTo>
                <a:lnTo>
                  <a:pt x="461" y="1732"/>
                </a:lnTo>
                <a:lnTo>
                  <a:pt x="458" y="1733"/>
                </a:lnTo>
                <a:lnTo>
                  <a:pt x="453" y="1733"/>
                </a:lnTo>
                <a:lnTo>
                  <a:pt x="450" y="1732"/>
                </a:lnTo>
                <a:lnTo>
                  <a:pt x="447" y="1731"/>
                </a:lnTo>
                <a:lnTo>
                  <a:pt x="445" y="1729"/>
                </a:lnTo>
                <a:lnTo>
                  <a:pt x="444" y="1728"/>
                </a:lnTo>
                <a:lnTo>
                  <a:pt x="443" y="1727"/>
                </a:lnTo>
                <a:lnTo>
                  <a:pt x="441" y="1724"/>
                </a:lnTo>
                <a:lnTo>
                  <a:pt x="440" y="1721"/>
                </a:lnTo>
                <a:lnTo>
                  <a:pt x="440" y="1718"/>
                </a:lnTo>
                <a:lnTo>
                  <a:pt x="440" y="1715"/>
                </a:lnTo>
                <a:lnTo>
                  <a:pt x="440" y="1712"/>
                </a:lnTo>
                <a:lnTo>
                  <a:pt x="442" y="1709"/>
                </a:lnTo>
                <a:lnTo>
                  <a:pt x="443" y="1707"/>
                </a:lnTo>
                <a:lnTo>
                  <a:pt x="446" y="1704"/>
                </a:lnTo>
                <a:lnTo>
                  <a:pt x="448" y="1703"/>
                </a:lnTo>
                <a:close/>
                <a:moveTo>
                  <a:pt x="816" y="1477"/>
                </a:moveTo>
                <a:lnTo>
                  <a:pt x="819" y="1476"/>
                </a:lnTo>
                <a:lnTo>
                  <a:pt x="822" y="1475"/>
                </a:lnTo>
                <a:lnTo>
                  <a:pt x="825" y="1475"/>
                </a:lnTo>
                <a:lnTo>
                  <a:pt x="828" y="1476"/>
                </a:lnTo>
                <a:lnTo>
                  <a:pt x="831" y="1477"/>
                </a:lnTo>
                <a:lnTo>
                  <a:pt x="834" y="1479"/>
                </a:lnTo>
                <a:lnTo>
                  <a:pt x="836" y="1481"/>
                </a:lnTo>
                <a:lnTo>
                  <a:pt x="838" y="1483"/>
                </a:lnTo>
                <a:lnTo>
                  <a:pt x="839" y="1486"/>
                </a:lnTo>
                <a:lnTo>
                  <a:pt x="840" y="1489"/>
                </a:lnTo>
                <a:lnTo>
                  <a:pt x="840" y="1492"/>
                </a:lnTo>
                <a:lnTo>
                  <a:pt x="839" y="1495"/>
                </a:lnTo>
                <a:lnTo>
                  <a:pt x="838" y="1498"/>
                </a:lnTo>
                <a:lnTo>
                  <a:pt x="836" y="1501"/>
                </a:lnTo>
                <a:lnTo>
                  <a:pt x="834" y="1503"/>
                </a:lnTo>
                <a:lnTo>
                  <a:pt x="832" y="1505"/>
                </a:lnTo>
                <a:lnTo>
                  <a:pt x="829" y="1506"/>
                </a:lnTo>
                <a:lnTo>
                  <a:pt x="825" y="1507"/>
                </a:lnTo>
                <a:lnTo>
                  <a:pt x="822" y="1507"/>
                </a:lnTo>
                <a:lnTo>
                  <a:pt x="819" y="1506"/>
                </a:lnTo>
                <a:lnTo>
                  <a:pt x="816" y="1505"/>
                </a:lnTo>
                <a:lnTo>
                  <a:pt x="814" y="1504"/>
                </a:lnTo>
                <a:lnTo>
                  <a:pt x="811" y="1501"/>
                </a:lnTo>
                <a:lnTo>
                  <a:pt x="810" y="1499"/>
                </a:lnTo>
                <a:lnTo>
                  <a:pt x="808" y="1496"/>
                </a:lnTo>
                <a:lnTo>
                  <a:pt x="808" y="1493"/>
                </a:lnTo>
                <a:lnTo>
                  <a:pt x="808" y="1490"/>
                </a:lnTo>
                <a:lnTo>
                  <a:pt x="808" y="1487"/>
                </a:lnTo>
                <a:lnTo>
                  <a:pt x="809" y="1484"/>
                </a:lnTo>
                <a:lnTo>
                  <a:pt x="811" y="1481"/>
                </a:lnTo>
                <a:lnTo>
                  <a:pt x="813" y="1479"/>
                </a:lnTo>
                <a:lnTo>
                  <a:pt x="816" y="1477"/>
                </a:lnTo>
                <a:close/>
                <a:moveTo>
                  <a:pt x="940" y="1405"/>
                </a:moveTo>
                <a:lnTo>
                  <a:pt x="943" y="1403"/>
                </a:lnTo>
                <a:lnTo>
                  <a:pt x="946" y="1403"/>
                </a:lnTo>
                <a:lnTo>
                  <a:pt x="949" y="1402"/>
                </a:lnTo>
                <a:lnTo>
                  <a:pt x="952" y="1403"/>
                </a:lnTo>
                <a:lnTo>
                  <a:pt x="954" y="1404"/>
                </a:lnTo>
                <a:lnTo>
                  <a:pt x="957" y="1405"/>
                </a:lnTo>
                <a:lnTo>
                  <a:pt x="959" y="1407"/>
                </a:lnTo>
                <a:lnTo>
                  <a:pt x="961" y="1410"/>
                </a:lnTo>
                <a:lnTo>
                  <a:pt x="963" y="1413"/>
                </a:lnTo>
                <a:lnTo>
                  <a:pt x="964" y="1416"/>
                </a:lnTo>
                <a:lnTo>
                  <a:pt x="964" y="1419"/>
                </a:lnTo>
                <a:lnTo>
                  <a:pt x="963" y="1422"/>
                </a:lnTo>
                <a:lnTo>
                  <a:pt x="962" y="1425"/>
                </a:lnTo>
                <a:lnTo>
                  <a:pt x="961" y="1428"/>
                </a:lnTo>
                <a:lnTo>
                  <a:pt x="959" y="1430"/>
                </a:lnTo>
                <a:lnTo>
                  <a:pt x="956" y="1432"/>
                </a:lnTo>
                <a:lnTo>
                  <a:pt x="953" y="1433"/>
                </a:lnTo>
                <a:lnTo>
                  <a:pt x="950" y="1434"/>
                </a:lnTo>
                <a:lnTo>
                  <a:pt x="947" y="1434"/>
                </a:lnTo>
                <a:lnTo>
                  <a:pt x="944" y="1434"/>
                </a:lnTo>
                <a:lnTo>
                  <a:pt x="941" y="1433"/>
                </a:lnTo>
                <a:lnTo>
                  <a:pt x="939" y="1431"/>
                </a:lnTo>
                <a:lnTo>
                  <a:pt x="936" y="1429"/>
                </a:lnTo>
                <a:lnTo>
                  <a:pt x="934" y="1427"/>
                </a:lnTo>
                <a:lnTo>
                  <a:pt x="933" y="1424"/>
                </a:lnTo>
                <a:lnTo>
                  <a:pt x="932" y="1421"/>
                </a:lnTo>
                <a:lnTo>
                  <a:pt x="932" y="1418"/>
                </a:lnTo>
                <a:lnTo>
                  <a:pt x="932" y="1415"/>
                </a:lnTo>
                <a:lnTo>
                  <a:pt x="933" y="1412"/>
                </a:lnTo>
                <a:lnTo>
                  <a:pt x="935" y="1409"/>
                </a:lnTo>
                <a:lnTo>
                  <a:pt x="937" y="1407"/>
                </a:lnTo>
                <a:lnTo>
                  <a:pt x="939" y="1405"/>
                </a:lnTo>
                <a:lnTo>
                  <a:pt x="940" y="1405"/>
                </a:lnTo>
                <a:close/>
                <a:moveTo>
                  <a:pt x="564" y="1619"/>
                </a:moveTo>
                <a:lnTo>
                  <a:pt x="567" y="1618"/>
                </a:lnTo>
                <a:lnTo>
                  <a:pt x="570" y="1617"/>
                </a:lnTo>
                <a:lnTo>
                  <a:pt x="573" y="1617"/>
                </a:lnTo>
                <a:lnTo>
                  <a:pt x="576" y="1618"/>
                </a:lnTo>
                <a:lnTo>
                  <a:pt x="579" y="1619"/>
                </a:lnTo>
                <a:lnTo>
                  <a:pt x="581" y="1620"/>
                </a:lnTo>
                <a:lnTo>
                  <a:pt x="584" y="1622"/>
                </a:lnTo>
                <a:lnTo>
                  <a:pt x="586" y="1624"/>
                </a:lnTo>
                <a:lnTo>
                  <a:pt x="587" y="1627"/>
                </a:lnTo>
                <a:lnTo>
                  <a:pt x="588" y="1630"/>
                </a:lnTo>
                <a:lnTo>
                  <a:pt x="588" y="1633"/>
                </a:lnTo>
                <a:lnTo>
                  <a:pt x="588" y="1636"/>
                </a:lnTo>
                <a:lnTo>
                  <a:pt x="587" y="1639"/>
                </a:lnTo>
                <a:lnTo>
                  <a:pt x="586" y="1642"/>
                </a:lnTo>
                <a:lnTo>
                  <a:pt x="584" y="1645"/>
                </a:lnTo>
                <a:lnTo>
                  <a:pt x="581" y="1647"/>
                </a:lnTo>
                <a:lnTo>
                  <a:pt x="578" y="1648"/>
                </a:lnTo>
                <a:lnTo>
                  <a:pt x="575" y="1649"/>
                </a:lnTo>
                <a:lnTo>
                  <a:pt x="569" y="1649"/>
                </a:lnTo>
                <a:lnTo>
                  <a:pt x="566" y="1648"/>
                </a:lnTo>
                <a:lnTo>
                  <a:pt x="563" y="1646"/>
                </a:lnTo>
                <a:lnTo>
                  <a:pt x="561" y="1644"/>
                </a:lnTo>
                <a:lnTo>
                  <a:pt x="559" y="1642"/>
                </a:lnTo>
                <a:lnTo>
                  <a:pt x="558" y="1639"/>
                </a:lnTo>
                <a:lnTo>
                  <a:pt x="557" y="1636"/>
                </a:lnTo>
                <a:lnTo>
                  <a:pt x="556" y="1633"/>
                </a:lnTo>
                <a:lnTo>
                  <a:pt x="557" y="1630"/>
                </a:lnTo>
                <a:lnTo>
                  <a:pt x="558" y="1627"/>
                </a:lnTo>
                <a:lnTo>
                  <a:pt x="559" y="1624"/>
                </a:lnTo>
                <a:lnTo>
                  <a:pt x="561" y="1622"/>
                </a:lnTo>
                <a:lnTo>
                  <a:pt x="564" y="1620"/>
                </a:lnTo>
                <a:lnTo>
                  <a:pt x="564" y="1619"/>
                </a:lnTo>
                <a:close/>
                <a:moveTo>
                  <a:pt x="687" y="1545"/>
                </a:moveTo>
                <a:lnTo>
                  <a:pt x="690" y="1543"/>
                </a:lnTo>
                <a:lnTo>
                  <a:pt x="694" y="1543"/>
                </a:lnTo>
                <a:lnTo>
                  <a:pt x="697" y="1543"/>
                </a:lnTo>
                <a:lnTo>
                  <a:pt x="700" y="1543"/>
                </a:lnTo>
                <a:lnTo>
                  <a:pt x="703" y="1544"/>
                </a:lnTo>
                <a:lnTo>
                  <a:pt x="705" y="1546"/>
                </a:lnTo>
                <a:lnTo>
                  <a:pt x="708" y="1548"/>
                </a:lnTo>
                <a:lnTo>
                  <a:pt x="709" y="1551"/>
                </a:lnTo>
                <a:lnTo>
                  <a:pt x="711" y="1554"/>
                </a:lnTo>
                <a:lnTo>
                  <a:pt x="711" y="1557"/>
                </a:lnTo>
                <a:lnTo>
                  <a:pt x="711" y="1560"/>
                </a:lnTo>
                <a:lnTo>
                  <a:pt x="711" y="1563"/>
                </a:lnTo>
                <a:lnTo>
                  <a:pt x="710" y="1566"/>
                </a:lnTo>
                <a:lnTo>
                  <a:pt x="708" y="1568"/>
                </a:lnTo>
                <a:lnTo>
                  <a:pt x="706" y="1571"/>
                </a:lnTo>
                <a:lnTo>
                  <a:pt x="703" y="1572"/>
                </a:lnTo>
                <a:lnTo>
                  <a:pt x="700" y="1574"/>
                </a:lnTo>
                <a:lnTo>
                  <a:pt x="697" y="1574"/>
                </a:lnTo>
                <a:lnTo>
                  <a:pt x="694" y="1574"/>
                </a:lnTo>
                <a:lnTo>
                  <a:pt x="691" y="1574"/>
                </a:lnTo>
                <a:lnTo>
                  <a:pt x="688" y="1573"/>
                </a:lnTo>
                <a:lnTo>
                  <a:pt x="686" y="1571"/>
                </a:lnTo>
                <a:lnTo>
                  <a:pt x="683" y="1569"/>
                </a:lnTo>
                <a:lnTo>
                  <a:pt x="681" y="1566"/>
                </a:lnTo>
                <a:lnTo>
                  <a:pt x="680" y="1563"/>
                </a:lnTo>
                <a:lnTo>
                  <a:pt x="680" y="1560"/>
                </a:lnTo>
                <a:lnTo>
                  <a:pt x="679" y="1557"/>
                </a:lnTo>
                <a:lnTo>
                  <a:pt x="680" y="1554"/>
                </a:lnTo>
                <a:lnTo>
                  <a:pt x="681" y="1551"/>
                </a:lnTo>
                <a:lnTo>
                  <a:pt x="683" y="1549"/>
                </a:lnTo>
                <a:lnTo>
                  <a:pt x="685" y="1547"/>
                </a:lnTo>
                <a:lnTo>
                  <a:pt x="687" y="1545"/>
                </a:lnTo>
                <a:close/>
                <a:moveTo>
                  <a:pt x="1058" y="1323"/>
                </a:moveTo>
                <a:lnTo>
                  <a:pt x="1060" y="1321"/>
                </a:lnTo>
                <a:lnTo>
                  <a:pt x="1063" y="1321"/>
                </a:lnTo>
                <a:lnTo>
                  <a:pt x="1069" y="1321"/>
                </a:lnTo>
                <a:lnTo>
                  <a:pt x="1071" y="1321"/>
                </a:lnTo>
                <a:lnTo>
                  <a:pt x="1074" y="1323"/>
                </a:lnTo>
                <a:lnTo>
                  <a:pt x="1076" y="1324"/>
                </a:lnTo>
                <a:lnTo>
                  <a:pt x="1078" y="1327"/>
                </a:lnTo>
                <a:lnTo>
                  <a:pt x="1080" y="1329"/>
                </a:lnTo>
                <a:lnTo>
                  <a:pt x="1081" y="1332"/>
                </a:lnTo>
                <a:lnTo>
                  <a:pt x="1082" y="1335"/>
                </a:lnTo>
                <a:lnTo>
                  <a:pt x="1081" y="1338"/>
                </a:lnTo>
                <a:lnTo>
                  <a:pt x="1081" y="1341"/>
                </a:lnTo>
                <a:lnTo>
                  <a:pt x="1080" y="1344"/>
                </a:lnTo>
                <a:lnTo>
                  <a:pt x="1078" y="1347"/>
                </a:lnTo>
                <a:lnTo>
                  <a:pt x="1075" y="1349"/>
                </a:lnTo>
                <a:lnTo>
                  <a:pt x="1074" y="1350"/>
                </a:lnTo>
                <a:lnTo>
                  <a:pt x="1071" y="1351"/>
                </a:lnTo>
                <a:lnTo>
                  <a:pt x="1068" y="1352"/>
                </a:lnTo>
                <a:lnTo>
                  <a:pt x="1063" y="1352"/>
                </a:lnTo>
                <a:lnTo>
                  <a:pt x="1060" y="1351"/>
                </a:lnTo>
                <a:lnTo>
                  <a:pt x="1057" y="1350"/>
                </a:lnTo>
                <a:lnTo>
                  <a:pt x="1055" y="1348"/>
                </a:lnTo>
                <a:lnTo>
                  <a:pt x="1053" y="1346"/>
                </a:lnTo>
                <a:lnTo>
                  <a:pt x="1051" y="1343"/>
                </a:lnTo>
                <a:lnTo>
                  <a:pt x="1050" y="1340"/>
                </a:lnTo>
                <a:lnTo>
                  <a:pt x="1050" y="1337"/>
                </a:lnTo>
                <a:lnTo>
                  <a:pt x="1050" y="1334"/>
                </a:lnTo>
                <a:lnTo>
                  <a:pt x="1050" y="1331"/>
                </a:lnTo>
                <a:lnTo>
                  <a:pt x="1052" y="1328"/>
                </a:lnTo>
                <a:lnTo>
                  <a:pt x="1054" y="1326"/>
                </a:lnTo>
                <a:lnTo>
                  <a:pt x="1056" y="1324"/>
                </a:lnTo>
                <a:lnTo>
                  <a:pt x="1058" y="1323"/>
                </a:lnTo>
                <a:close/>
                <a:moveTo>
                  <a:pt x="2923" y="216"/>
                </a:moveTo>
                <a:lnTo>
                  <a:pt x="2926" y="214"/>
                </a:lnTo>
                <a:lnTo>
                  <a:pt x="2930" y="213"/>
                </a:lnTo>
                <a:lnTo>
                  <a:pt x="2933" y="214"/>
                </a:lnTo>
                <a:lnTo>
                  <a:pt x="2935" y="214"/>
                </a:lnTo>
                <a:lnTo>
                  <a:pt x="2937" y="215"/>
                </a:lnTo>
                <a:lnTo>
                  <a:pt x="2940" y="216"/>
                </a:lnTo>
                <a:lnTo>
                  <a:pt x="2942" y="219"/>
                </a:lnTo>
                <a:lnTo>
                  <a:pt x="2944" y="221"/>
                </a:lnTo>
                <a:lnTo>
                  <a:pt x="2946" y="224"/>
                </a:lnTo>
                <a:lnTo>
                  <a:pt x="2946" y="227"/>
                </a:lnTo>
                <a:lnTo>
                  <a:pt x="2947" y="230"/>
                </a:lnTo>
                <a:lnTo>
                  <a:pt x="2946" y="233"/>
                </a:lnTo>
                <a:lnTo>
                  <a:pt x="2945" y="236"/>
                </a:lnTo>
                <a:lnTo>
                  <a:pt x="2942" y="240"/>
                </a:lnTo>
                <a:lnTo>
                  <a:pt x="2941" y="242"/>
                </a:lnTo>
                <a:lnTo>
                  <a:pt x="2939" y="243"/>
                </a:lnTo>
                <a:lnTo>
                  <a:pt x="2935" y="245"/>
                </a:lnTo>
                <a:lnTo>
                  <a:pt x="2932" y="245"/>
                </a:lnTo>
                <a:lnTo>
                  <a:pt x="2928" y="245"/>
                </a:lnTo>
                <a:lnTo>
                  <a:pt x="2926" y="245"/>
                </a:lnTo>
                <a:lnTo>
                  <a:pt x="2924" y="244"/>
                </a:lnTo>
                <a:lnTo>
                  <a:pt x="2921" y="242"/>
                </a:lnTo>
                <a:lnTo>
                  <a:pt x="2919" y="240"/>
                </a:lnTo>
                <a:lnTo>
                  <a:pt x="2917" y="238"/>
                </a:lnTo>
                <a:lnTo>
                  <a:pt x="2916" y="235"/>
                </a:lnTo>
                <a:lnTo>
                  <a:pt x="2915" y="232"/>
                </a:lnTo>
                <a:lnTo>
                  <a:pt x="2915" y="229"/>
                </a:lnTo>
                <a:lnTo>
                  <a:pt x="2915" y="226"/>
                </a:lnTo>
                <a:lnTo>
                  <a:pt x="2916" y="223"/>
                </a:lnTo>
                <a:lnTo>
                  <a:pt x="2919" y="219"/>
                </a:lnTo>
                <a:lnTo>
                  <a:pt x="2921" y="217"/>
                </a:lnTo>
                <a:lnTo>
                  <a:pt x="2923" y="216"/>
                </a:lnTo>
                <a:close/>
                <a:moveTo>
                  <a:pt x="1167" y="1229"/>
                </a:moveTo>
                <a:lnTo>
                  <a:pt x="1169" y="1228"/>
                </a:lnTo>
                <a:lnTo>
                  <a:pt x="1171" y="1227"/>
                </a:lnTo>
                <a:lnTo>
                  <a:pt x="1174" y="1227"/>
                </a:lnTo>
                <a:lnTo>
                  <a:pt x="1177" y="1227"/>
                </a:lnTo>
                <a:lnTo>
                  <a:pt x="1179" y="1228"/>
                </a:lnTo>
                <a:lnTo>
                  <a:pt x="1182" y="1229"/>
                </a:lnTo>
                <a:lnTo>
                  <a:pt x="1184" y="1230"/>
                </a:lnTo>
                <a:lnTo>
                  <a:pt x="1186" y="1232"/>
                </a:lnTo>
                <a:lnTo>
                  <a:pt x="1188" y="1234"/>
                </a:lnTo>
                <a:lnTo>
                  <a:pt x="1189" y="1237"/>
                </a:lnTo>
                <a:lnTo>
                  <a:pt x="1190" y="1240"/>
                </a:lnTo>
                <a:lnTo>
                  <a:pt x="1191" y="1243"/>
                </a:lnTo>
                <a:lnTo>
                  <a:pt x="1190" y="1246"/>
                </a:lnTo>
                <a:lnTo>
                  <a:pt x="1189" y="1249"/>
                </a:lnTo>
                <a:lnTo>
                  <a:pt x="1188" y="1252"/>
                </a:lnTo>
                <a:lnTo>
                  <a:pt x="1186" y="1254"/>
                </a:lnTo>
                <a:lnTo>
                  <a:pt x="1182" y="1257"/>
                </a:lnTo>
                <a:lnTo>
                  <a:pt x="1180" y="1258"/>
                </a:lnTo>
                <a:lnTo>
                  <a:pt x="1178" y="1259"/>
                </a:lnTo>
                <a:lnTo>
                  <a:pt x="1175" y="1259"/>
                </a:lnTo>
                <a:lnTo>
                  <a:pt x="1172" y="1259"/>
                </a:lnTo>
                <a:lnTo>
                  <a:pt x="1170" y="1258"/>
                </a:lnTo>
                <a:lnTo>
                  <a:pt x="1167" y="1257"/>
                </a:lnTo>
                <a:lnTo>
                  <a:pt x="1165" y="1256"/>
                </a:lnTo>
                <a:lnTo>
                  <a:pt x="1163" y="1254"/>
                </a:lnTo>
                <a:lnTo>
                  <a:pt x="1161" y="1251"/>
                </a:lnTo>
                <a:lnTo>
                  <a:pt x="1160" y="1249"/>
                </a:lnTo>
                <a:lnTo>
                  <a:pt x="1159" y="1246"/>
                </a:lnTo>
                <a:lnTo>
                  <a:pt x="1159" y="1243"/>
                </a:lnTo>
                <a:lnTo>
                  <a:pt x="1159" y="1240"/>
                </a:lnTo>
                <a:lnTo>
                  <a:pt x="1160" y="1237"/>
                </a:lnTo>
                <a:lnTo>
                  <a:pt x="1161" y="1234"/>
                </a:lnTo>
                <a:lnTo>
                  <a:pt x="1163" y="1231"/>
                </a:lnTo>
                <a:lnTo>
                  <a:pt x="1167" y="1229"/>
                </a:lnTo>
                <a:close/>
                <a:moveTo>
                  <a:pt x="1262" y="1122"/>
                </a:moveTo>
                <a:lnTo>
                  <a:pt x="1266" y="1120"/>
                </a:lnTo>
                <a:lnTo>
                  <a:pt x="1271" y="1120"/>
                </a:lnTo>
                <a:lnTo>
                  <a:pt x="1273" y="1120"/>
                </a:lnTo>
                <a:lnTo>
                  <a:pt x="1276" y="1121"/>
                </a:lnTo>
                <a:lnTo>
                  <a:pt x="1278" y="1122"/>
                </a:lnTo>
                <a:lnTo>
                  <a:pt x="1280" y="1123"/>
                </a:lnTo>
                <a:lnTo>
                  <a:pt x="1282" y="1125"/>
                </a:lnTo>
                <a:lnTo>
                  <a:pt x="1284" y="1128"/>
                </a:lnTo>
                <a:lnTo>
                  <a:pt x="1285" y="1131"/>
                </a:lnTo>
                <a:lnTo>
                  <a:pt x="1286" y="1134"/>
                </a:lnTo>
                <a:lnTo>
                  <a:pt x="1286" y="1137"/>
                </a:lnTo>
                <a:lnTo>
                  <a:pt x="1286" y="1140"/>
                </a:lnTo>
                <a:lnTo>
                  <a:pt x="1285" y="1143"/>
                </a:lnTo>
                <a:lnTo>
                  <a:pt x="1283" y="1146"/>
                </a:lnTo>
                <a:lnTo>
                  <a:pt x="1281" y="1148"/>
                </a:lnTo>
                <a:lnTo>
                  <a:pt x="1278" y="1150"/>
                </a:lnTo>
                <a:lnTo>
                  <a:pt x="1274" y="1151"/>
                </a:lnTo>
                <a:lnTo>
                  <a:pt x="1269" y="1152"/>
                </a:lnTo>
                <a:lnTo>
                  <a:pt x="1267" y="1152"/>
                </a:lnTo>
                <a:lnTo>
                  <a:pt x="1265" y="1151"/>
                </a:lnTo>
                <a:lnTo>
                  <a:pt x="1263" y="1150"/>
                </a:lnTo>
                <a:lnTo>
                  <a:pt x="1260" y="1149"/>
                </a:lnTo>
                <a:lnTo>
                  <a:pt x="1258" y="1146"/>
                </a:lnTo>
                <a:lnTo>
                  <a:pt x="1256" y="1144"/>
                </a:lnTo>
                <a:lnTo>
                  <a:pt x="1255" y="1141"/>
                </a:lnTo>
                <a:lnTo>
                  <a:pt x="1254" y="1138"/>
                </a:lnTo>
                <a:lnTo>
                  <a:pt x="1254" y="1135"/>
                </a:lnTo>
                <a:lnTo>
                  <a:pt x="1255" y="1132"/>
                </a:lnTo>
                <a:lnTo>
                  <a:pt x="1256" y="1129"/>
                </a:lnTo>
                <a:lnTo>
                  <a:pt x="1257" y="1126"/>
                </a:lnTo>
                <a:lnTo>
                  <a:pt x="1260" y="1124"/>
                </a:lnTo>
                <a:lnTo>
                  <a:pt x="1262" y="1122"/>
                </a:lnTo>
                <a:close/>
                <a:moveTo>
                  <a:pt x="1339" y="1001"/>
                </a:moveTo>
                <a:lnTo>
                  <a:pt x="1343" y="999"/>
                </a:lnTo>
                <a:lnTo>
                  <a:pt x="1347" y="999"/>
                </a:lnTo>
                <a:lnTo>
                  <a:pt x="1351" y="999"/>
                </a:lnTo>
                <a:lnTo>
                  <a:pt x="1354" y="1001"/>
                </a:lnTo>
                <a:lnTo>
                  <a:pt x="1357" y="1002"/>
                </a:lnTo>
                <a:lnTo>
                  <a:pt x="1359" y="1005"/>
                </a:lnTo>
                <a:lnTo>
                  <a:pt x="1361" y="1007"/>
                </a:lnTo>
                <a:lnTo>
                  <a:pt x="1362" y="1010"/>
                </a:lnTo>
                <a:lnTo>
                  <a:pt x="1363" y="1013"/>
                </a:lnTo>
                <a:lnTo>
                  <a:pt x="1363" y="1016"/>
                </a:lnTo>
                <a:lnTo>
                  <a:pt x="1363" y="1019"/>
                </a:lnTo>
                <a:lnTo>
                  <a:pt x="1361" y="1022"/>
                </a:lnTo>
                <a:lnTo>
                  <a:pt x="1360" y="1024"/>
                </a:lnTo>
                <a:lnTo>
                  <a:pt x="1359" y="1026"/>
                </a:lnTo>
                <a:lnTo>
                  <a:pt x="1355" y="1029"/>
                </a:lnTo>
                <a:lnTo>
                  <a:pt x="1352" y="1030"/>
                </a:lnTo>
                <a:lnTo>
                  <a:pt x="1348" y="1031"/>
                </a:lnTo>
                <a:lnTo>
                  <a:pt x="1344" y="1030"/>
                </a:lnTo>
                <a:lnTo>
                  <a:pt x="1340" y="1029"/>
                </a:lnTo>
                <a:lnTo>
                  <a:pt x="1337" y="1027"/>
                </a:lnTo>
                <a:lnTo>
                  <a:pt x="1335" y="1025"/>
                </a:lnTo>
                <a:lnTo>
                  <a:pt x="1333" y="1023"/>
                </a:lnTo>
                <a:lnTo>
                  <a:pt x="1332" y="1020"/>
                </a:lnTo>
                <a:lnTo>
                  <a:pt x="1331" y="1014"/>
                </a:lnTo>
                <a:lnTo>
                  <a:pt x="1332" y="1011"/>
                </a:lnTo>
                <a:lnTo>
                  <a:pt x="1333" y="1008"/>
                </a:lnTo>
                <a:lnTo>
                  <a:pt x="1334" y="1006"/>
                </a:lnTo>
                <a:lnTo>
                  <a:pt x="1336" y="1004"/>
                </a:lnTo>
                <a:lnTo>
                  <a:pt x="1339" y="1001"/>
                </a:lnTo>
                <a:close/>
                <a:moveTo>
                  <a:pt x="2790" y="159"/>
                </a:moveTo>
                <a:lnTo>
                  <a:pt x="2794" y="157"/>
                </a:lnTo>
                <a:lnTo>
                  <a:pt x="2797" y="157"/>
                </a:lnTo>
                <a:lnTo>
                  <a:pt x="2801" y="157"/>
                </a:lnTo>
                <a:lnTo>
                  <a:pt x="2804" y="158"/>
                </a:lnTo>
                <a:lnTo>
                  <a:pt x="2807" y="159"/>
                </a:lnTo>
                <a:lnTo>
                  <a:pt x="2810" y="161"/>
                </a:lnTo>
                <a:lnTo>
                  <a:pt x="2812" y="164"/>
                </a:lnTo>
                <a:lnTo>
                  <a:pt x="2813" y="166"/>
                </a:lnTo>
                <a:lnTo>
                  <a:pt x="2814" y="169"/>
                </a:lnTo>
                <a:lnTo>
                  <a:pt x="2814" y="172"/>
                </a:lnTo>
                <a:lnTo>
                  <a:pt x="2814" y="175"/>
                </a:lnTo>
                <a:lnTo>
                  <a:pt x="2813" y="179"/>
                </a:lnTo>
                <a:lnTo>
                  <a:pt x="2810" y="183"/>
                </a:lnTo>
                <a:lnTo>
                  <a:pt x="2808" y="185"/>
                </a:lnTo>
                <a:lnTo>
                  <a:pt x="2806" y="186"/>
                </a:lnTo>
                <a:lnTo>
                  <a:pt x="2803" y="188"/>
                </a:lnTo>
                <a:lnTo>
                  <a:pt x="2800" y="189"/>
                </a:lnTo>
                <a:lnTo>
                  <a:pt x="2796" y="188"/>
                </a:lnTo>
                <a:lnTo>
                  <a:pt x="2792" y="187"/>
                </a:lnTo>
                <a:lnTo>
                  <a:pt x="2789" y="186"/>
                </a:lnTo>
                <a:lnTo>
                  <a:pt x="2787" y="184"/>
                </a:lnTo>
                <a:lnTo>
                  <a:pt x="2785" y="181"/>
                </a:lnTo>
                <a:lnTo>
                  <a:pt x="2784" y="179"/>
                </a:lnTo>
                <a:lnTo>
                  <a:pt x="2783" y="176"/>
                </a:lnTo>
                <a:lnTo>
                  <a:pt x="2782" y="173"/>
                </a:lnTo>
                <a:lnTo>
                  <a:pt x="2783" y="170"/>
                </a:lnTo>
                <a:lnTo>
                  <a:pt x="2784" y="167"/>
                </a:lnTo>
                <a:lnTo>
                  <a:pt x="2786" y="162"/>
                </a:lnTo>
                <a:lnTo>
                  <a:pt x="2788" y="160"/>
                </a:lnTo>
                <a:lnTo>
                  <a:pt x="2790" y="159"/>
                </a:lnTo>
                <a:close/>
                <a:moveTo>
                  <a:pt x="1393" y="868"/>
                </a:moveTo>
                <a:lnTo>
                  <a:pt x="1396" y="867"/>
                </a:lnTo>
                <a:lnTo>
                  <a:pt x="1399" y="866"/>
                </a:lnTo>
                <a:lnTo>
                  <a:pt x="1402" y="866"/>
                </a:lnTo>
                <a:lnTo>
                  <a:pt x="1405" y="866"/>
                </a:lnTo>
                <a:lnTo>
                  <a:pt x="1408" y="868"/>
                </a:lnTo>
                <a:lnTo>
                  <a:pt x="1411" y="869"/>
                </a:lnTo>
                <a:lnTo>
                  <a:pt x="1413" y="872"/>
                </a:lnTo>
                <a:lnTo>
                  <a:pt x="1415" y="874"/>
                </a:lnTo>
                <a:lnTo>
                  <a:pt x="1416" y="877"/>
                </a:lnTo>
                <a:lnTo>
                  <a:pt x="1417" y="880"/>
                </a:lnTo>
                <a:lnTo>
                  <a:pt x="1417" y="883"/>
                </a:lnTo>
                <a:lnTo>
                  <a:pt x="1416" y="886"/>
                </a:lnTo>
                <a:lnTo>
                  <a:pt x="1415" y="889"/>
                </a:lnTo>
                <a:lnTo>
                  <a:pt x="1413" y="892"/>
                </a:lnTo>
                <a:lnTo>
                  <a:pt x="1411" y="894"/>
                </a:lnTo>
                <a:lnTo>
                  <a:pt x="1409" y="896"/>
                </a:lnTo>
                <a:lnTo>
                  <a:pt x="1406" y="897"/>
                </a:lnTo>
                <a:lnTo>
                  <a:pt x="1403" y="898"/>
                </a:lnTo>
                <a:lnTo>
                  <a:pt x="1399" y="898"/>
                </a:lnTo>
                <a:lnTo>
                  <a:pt x="1396" y="897"/>
                </a:lnTo>
                <a:lnTo>
                  <a:pt x="1393" y="896"/>
                </a:lnTo>
                <a:lnTo>
                  <a:pt x="1391" y="894"/>
                </a:lnTo>
                <a:lnTo>
                  <a:pt x="1388" y="892"/>
                </a:lnTo>
                <a:lnTo>
                  <a:pt x="1387" y="889"/>
                </a:lnTo>
                <a:lnTo>
                  <a:pt x="1385" y="886"/>
                </a:lnTo>
                <a:lnTo>
                  <a:pt x="1385" y="883"/>
                </a:lnTo>
                <a:lnTo>
                  <a:pt x="1385" y="880"/>
                </a:lnTo>
                <a:lnTo>
                  <a:pt x="1385" y="877"/>
                </a:lnTo>
                <a:lnTo>
                  <a:pt x="1387" y="874"/>
                </a:lnTo>
                <a:lnTo>
                  <a:pt x="1388" y="872"/>
                </a:lnTo>
                <a:lnTo>
                  <a:pt x="1390" y="870"/>
                </a:lnTo>
                <a:lnTo>
                  <a:pt x="1393" y="868"/>
                </a:lnTo>
                <a:close/>
                <a:moveTo>
                  <a:pt x="2656" y="107"/>
                </a:moveTo>
                <a:lnTo>
                  <a:pt x="2659" y="106"/>
                </a:lnTo>
                <a:lnTo>
                  <a:pt x="2662" y="105"/>
                </a:lnTo>
                <a:lnTo>
                  <a:pt x="2666" y="105"/>
                </a:lnTo>
                <a:lnTo>
                  <a:pt x="2669" y="106"/>
                </a:lnTo>
                <a:lnTo>
                  <a:pt x="2672" y="108"/>
                </a:lnTo>
                <a:lnTo>
                  <a:pt x="2675" y="109"/>
                </a:lnTo>
                <a:lnTo>
                  <a:pt x="2677" y="112"/>
                </a:lnTo>
                <a:lnTo>
                  <a:pt x="2678" y="114"/>
                </a:lnTo>
                <a:lnTo>
                  <a:pt x="2679" y="117"/>
                </a:lnTo>
                <a:lnTo>
                  <a:pt x="2680" y="120"/>
                </a:lnTo>
                <a:lnTo>
                  <a:pt x="2680" y="123"/>
                </a:lnTo>
                <a:lnTo>
                  <a:pt x="2679" y="127"/>
                </a:lnTo>
                <a:lnTo>
                  <a:pt x="2678" y="129"/>
                </a:lnTo>
                <a:lnTo>
                  <a:pt x="2676" y="132"/>
                </a:lnTo>
                <a:lnTo>
                  <a:pt x="2674" y="134"/>
                </a:lnTo>
                <a:lnTo>
                  <a:pt x="2672" y="135"/>
                </a:lnTo>
                <a:lnTo>
                  <a:pt x="2669" y="137"/>
                </a:lnTo>
                <a:lnTo>
                  <a:pt x="2665" y="137"/>
                </a:lnTo>
                <a:lnTo>
                  <a:pt x="2662" y="137"/>
                </a:lnTo>
                <a:lnTo>
                  <a:pt x="2659" y="136"/>
                </a:lnTo>
                <a:lnTo>
                  <a:pt x="2656" y="135"/>
                </a:lnTo>
                <a:lnTo>
                  <a:pt x="2653" y="133"/>
                </a:lnTo>
                <a:lnTo>
                  <a:pt x="2651" y="131"/>
                </a:lnTo>
                <a:lnTo>
                  <a:pt x="2649" y="128"/>
                </a:lnTo>
                <a:lnTo>
                  <a:pt x="2648" y="125"/>
                </a:lnTo>
                <a:lnTo>
                  <a:pt x="2648" y="122"/>
                </a:lnTo>
                <a:lnTo>
                  <a:pt x="2648" y="119"/>
                </a:lnTo>
                <a:lnTo>
                  <a:pt x="2649" y="116"/>
                </a:lnTo>
                <a:lnTo>
                  <a:pt x="2652" y="111"/>
                </a:lnTo>
                <a:lnTo>
                  <a:pt x="2654" y="109"/>
                </a:lnTo>
                <a:lnTo>
                  <a:pt x="2656" y="107"/>
                </a:lnTo>
                <a:close/>
                <a:moveTo>
                  <a:pt x="1423" y="727"/>
                </a:moveTo>
                <a:lnTo>
                  <a:pt x="1428" y="726"/>
                </a:lnTo>
                <a:lnTo>
                  <a:pt x="1431" y="725"/>
                </a:lnTo>
                <a:lnTo>
                  <a:pt x="1433" y="725"/>
                </a:lnTo>
                <a:lnTo>
                  <a:pt x="1436" y="726"/>
                </a:lnTo>
                <a:lnTo>
                  <a:pt x="1439" y="728"/>
                </a:lnTo>
                <a:lnTo>
                  <a:pt x="1442" y="729"/>
                </a:lnTo>
                <a:lnTo>
                  <a:pt x="1444" y="732"/>
                </a:lnTo>
                <a:lnTo>
                  <a:pt x="1445" y="734"/>
                </a:lnTo>
                <a:lnTo>
                  <a:pt x="1446" y="737"/>
                </a:lnTo>
                <a:lnTo>
                  <a:pt x="1447" y="740"/>
                </a:lnTo>
                <a:lnTo>
                  <a:pt x="1447" y="744"/>
                </a:lnTo>
                <a:lnTo>
                  <a:pt x="1446" y="747"/>
                </a:lnTo>
                <a:lnTo>
                  <a:pt x="1444" y="750"/>
                </a:lnTo>
                <a:lnTo>
                  <a:pt x="1442" y="753"/>
                </a:lnTo>
                <a:lnTo>
                  <a:pt x="1439" y="755"/>
                </a:lnTo>
                <a:lnTo>
                  <a:pt x="1434" y="757"/>
                </a:lnTo>
                <a:lnTo>
                  <a:pt x="1431" y="757"/>
                </a:lnTo>
                <a:lnTo>
                  <a:pt x="1429" y="757"/>
                </a:lnTo>
                <a:lnTo>
                  <a:pt x="1426" y="756"/>
                </a:lnTo>
                <a:lnTo>
                  <a:pt x="1423" y="755"/>
                </a:lnTo>
                <a:lnTo>
                  <a:pt x="1420" y="753"/>
                </a:lnTo>
                <a:lnTo>
                  <a:pt x="1418" y="751"/>
                </a:lnTo>
                <a:lnTo>
                  <a:pt x="1417" y="748"/>
                </a:lnTo>
                <a:lnTo>
                  <a:pt x="1416" y="745"/>
                </a:lnTo>
                <a:lnTo>
                  <a:pt x="1415" y="742"/>
                </a:lnTo>
                <a:lnTo>
                  <a:pt x="1415" y="739"/>
                </a:lnTo>
                <a:lnTo>
                  <a:pt x="1416" y="735"/>
                </a:lnTo>
                <a:lnTo>
                  <a:pt x="1418" y="732"/>
                </a:lnTo>
                <a:lnTo>
                  <a:pt x="1420" y="729"/>
                </a:lnTo>
                <a:lnTo>
                  <a:pt x="1423" y="727"/>
                </a:lnTo>
                <a:close/>
                <a:moveTo>
                  <a:pt x="2519" y="64"/>
                </a:moveTo>
                <a:lnTo>
                  <a:pt x="2522" y="62"/>
                </a:lnTo>
                <a:lnTo>
                  <a:pt x="2525" y="62"/>
                </a:lnTo>
                <a:lnTo>
                  <a:pt x="2528" y="62"/>
                </a:lnTo>
                <a:lnTo>
                  <a:pt x="2531" y="62"/>
                </a:lnTo>
                <a:lnTo>
                  <a:pt x="2534" y="63"/>
                </a:lnTo>
                <a:lnTo>
                  <a:pt x="2537" y="65"/>
                </a:lnTo>
                <a:lnTo>
                  <a:pt x="2539" y="67"/>
                </a:lnTo>
                <a:lnTo>
                  <a:pt x="2541" y="70"/>
                </a:lnTo>
                <a:lnTo>
                  <a:pt x="2542" y="73"/>
                </a:lnTo>
                <a:lnTo>
                  <a:pt x="2543" y="76"/>
                </a:lnTo>
                <a:lnTo>
                  <a:pt x="2543" y="79"/>
                </a:lnTo>
                <a:lnTo>
                  <a:pt x="2542" y="82"/>
                </a:lnTo>
                <a:lnTo>
                  <a:pt x="2541" y="85"/>
                </a:lnTo>
                <a:lnTo>
                  <a:pt x="2539" y="87"/>
                </a:lnTo>
                <a:lnTo>
                  <a:pt x="2537" y="90"/>
                </a:lnTo>
                <a:lnTo>
                  <a:pt x="2535" y="91"/>
                </a:lnTo>
                <a:lnTo>
                  <a:pt x="2532" y="93"/>
                </a:lnTo>
                <a:lnTo>
                  <a:pt x="2529" y="93"/>
                </a:lnTo>
                <a:lnTo>
                  <a:pt x="2526" y="93"/>
                </a:lnTo>
                <a:lnTo>
                  <a:pt x="2522" y="93"/>
                </a:lnTo>
                <a:lnTo>
                  <a:pt x="2519" y="92"/>
                </a:lnTo>
                <a:lnTo>
                  <a:pt x="2517" y="90"/>
                </a:lnTo>
                <a:lnTo>
                  <a:pt x="2514" y="88"/>
                </a:lnTo>
                <a:lnTo>
                  <a:pt x="2513" y="85"/>
                </a:lnTo>
                <a:lnTo>
                  <a:pt x="2512" y="83"/>
                </a:lnTo>
                <a:lnTo>
                  <a:pt x="2511" y="79"/>
                </a:lnTo>
                <a:lnTo>
                  <a:pt x="2511" y="76"/>
                </a:lnTo>
                <a:lnTo>
                  <a:pt x="2511" y="73"/>
                </a:lnTo>
                <a:lnTo>
                  <a:pt x="2513" y="70"/>
                </a:lnTo>
                <a:lnTo>
                  <a:pt x="2514" y="68"/>
                </a:lnTo>
                <a:lnTo>
                  <a:pt x="2516" y="65"/>
                </a:lnTo>
                <a:lnTo>
                  <a:pt x="2519" y="64"/>
                </a:lnTo>
                <a:close/>
                <a:moveTo>
                  <a:pt x="1437" y="583"/>
                </a:moveTo>
                <a:lnTo>
                  <a:pt x="1441" y="581"/>
                </a:lnTo>
                <a:lnTo>
                  <a:pt x="1446" y="581"/>
                </a:lnTo>
                <a:lnTo>
                  <a:pt x="1449" y="582"/>
                </a:lnTo>
                <a:lnTo>
                  <a:pt x="1452" y="583"/>
                </a:lnTo>
                <a:lnTo>
                  <a:pt x="1455" y="584"/>
                </a:lnTo>
                <a:lnTo>
                  <a:pt x="1457" y="586"/>
                </a:lnTo>
                <a:lnTo>
                  <a:pt x="1459" y="589"/>
                </a:lnTo>
                <a:lnTo>
                  <a:pt x="1460" y="592"/>
                </a:lnTo>
                <a:lnTo>
                  <a:pt x="1461" y="596"/>
                </a:lnTo>
                <a:lnTo>
                  <a:pt x="1461" y="599"/>
                </a:lnTo>
                <a:lnTo>
                  <a:pt x="1461" y="601"/>
                </a:lnTo>
                <a:lnTo>
                  <a:pt x="1460" y="603"/>
                </a:lnTo>
                <a:lnTo>
                  <a:pt x="1458" y="607"/>
                </a:lnTo>
                <a:lnTo>
                  <a:pt x="1456" y="610"/>
                </a:lnTo>
                <a:lnTo>
                  <a:pt x="1453" y="612"/>
                </a:lnTo>
                <a:lnTo>
                  <a:pt x="1449" y="614"/>
                </a:lnTo>
                <a:lnTo>
                  <a:pt x="1444" y="614"/>
                </a:lnTo>
                <a:lnTo>
                  <a:pt x="1441" y="613"/>
                </a:lnTo>
                <a:lnTo>
                  <a:pt x="1438" y="612"/>
                </a:lnTo>
                <a:lnTo>
                  <a:pt x="1435" y="611"/>
                </a:lnTo>
                <a:lnTo>
                  <a:pt x="1433" y="608"/>
                </a:lnTo>
                <a:lnTo>
                  <a:pt x="1431" y="606"/>
                </a:lnTo>
                <a:lnTo>
                  <a:pt x="1430" y="603"/>
                </a:lnTo>
                <a:lnTo>
                  <a:pt x="1429" y="600"/>
                </a:lnTo>
                <a:lnTo>
                  <a:pt x="1429" y="597"/>
                </a:lnTo>
                <a:lnTo>
                  <a:pt x="1429" y="595"/>
                </a:lnTo>
                <a:lnTo>
                  <a:pt x="1430" y="592"/>
                </a:lnTo>
                <a:lnTo>
                  <a:pt x="1431" y="588"/>
                </a:lnTo>
                <a:lnTo>
                  <a:pt x="1434" y="585"/>
                </a:lnTo>
                <a:lnTo>
                  <a:pt x="1437" y="583"/>
                </a:lnTo>
                <a:close/>
                <a:moveTo>
                  <a:pt x="2378" y="30"/>
                </a:moveTo>
                <a:lnTo>
                  <a:pt x="2380" y="28"/>
                </a:lnTo>
                <a:lnTo>
                  <a:pt x="2383" y="28"/>
                </a:lnTo>
                <a:lnTo>
                  <a:pt x="2389" y="28"/>
                </a:lnTo>
                <a:lnTo>
                  <a:pt x="2392" y="29"/>
                </a:lnTo>
                <a:lnTo>
                  <a:pt x="2395" y="30"/>
                </a:lnTo>
                <a:lnTo>
                  <a:pt x="2397" y="32"/>
                </a:lnTo>
                <a:lnTo>
                  <a:pt x="2399" y="35"/>
                </a:lnTo>
                <a:lnTo>
                  <a:pt x="2401" y="37"/>
                </a:lnTo>
                <a:lnTo>
                  <a:pt x="2402" y="40"/>
                </a:lnTo>
                <a:lnTo>
                  <a:pt x="2402" y="43"/>
                </a:lnTo>
                <a:lnTo>
                  <a:pt x="2402" y="47"/>
                </a:lnTo>
                <a:lnTo>
                  <a:pt x="2401" y="50"/>
                </a:lnTo>
                <a:lnTo>
                  <a:pt x="2399" y="53"/>
                </a:lnTo>
                <a:lnTo>
                  <a:pt x="2397" y="55"/>
                </a:lnTo>
                <a:lnTo>
                  <a:pt x="2394" y="57"/>
                </a:lnTo>
                <a:lnTo>
                  <a:pt x="2391" y="58"/>
                </a:lnTo>
                <a:lnTo>
                  <a:pt x="2389" y="59"/>
                </a:lnTo>
                <a:lnTo>
                  <a:pt x="2383" y="59"/>
                </a:lnTo>
                <a:lnTo>
                  <a:pt x="2380" y="58"/>
                </a:lnTo>
                <a:lnTo>
                  <a:pt x="2377" y="57"/>
                </a:lnTo>
                <a:lnTo>
                  <a:pt x="2375" y="55"/>
                </a:lnTo>
                <a:lnTo>
                  <a:pt x="2373" y="52"/>
                </a:lnTo>
                <a:lnTo>
                  <a:pt x="2371" y="50"/>
                </a:lnTo>
                <a:lnTo>
                  <a:pt x="2370" y="47"/>
                </a:lnTo>
                <a:lnTo>
                  <a:pt x="2370" y="44"/>
                </a:lnTo>
                <a:lnTo>
                  <a:pt x="2370" y="40"/>
                </a:lnTo>
                <a:lnTo>
                  <a:pt x="2371" y="37"/>
                </a:lnTo>
                <a:lnTo>
                  <a:pt x="2373" y="34"/>
                </a:lnTo>
                <a:lnTo>
                  <a:pt x="2375" y="32"/>
                </a:lnTo>
                <a:lnTo>
                  <a:pt x="2378" y="30"/>
                </a:lnTo>
                <a:close/>
                <a:moveTo>
                  <a:pt x="2236" y="8"/>
                </a:moveTo>
                <a:lnTo>
                  <a:pt x="2238" y="7"/>
                </a:lnTo>
                <a:lnTo>
                  <a:pt x="2240" y="6"/>
                </a:lnTo>
                <a:lnTo>
                  <a:pt x="2243" y="6"/>
                </a:lnTo>
                <a:lnTo>
                  <a:pt x="2245" y="6"/>
                </a:lnTo>
                <a:lnTo>
                  <a:pt x="2248" y="7"/>
                </a:lnTo>
                <a:lnTo>
                  <a:pt x="2251" y="8"/>
                </a:lnTo>
                <a:lnTo>
                  <a:pt x="2254" y="10"/>
                </a:lnTo>
                <a:lnTo>
                  <a:pt x="2256" y="12"/>
                </a:lnTo>
                <a:lnTo>
                  <a:pt x="2258" y="14"/>
                </a:lnTo>
                <a:lnTo>
                  <a:pt x="2259" y="17"/>
                </a:lnTo>
                <a:lnTo>
                  <a:pt x="2260" y="20"/>
                </a:lnTo>
                <a:lnTo>
                  <a:pt x="2260" y="23"/>
                </a:lnTo>
                <a:lnTo>
                  <a:pt x="2259" y="27"/>
                </a:lnTo>
                <a:lnTo>
                  <a:pt x="2257" y="31"/>
                </a:lnTo>
                <a:lnTo>
                  <a:pt x="2255" y="34"/>
                </a:lnTo>
                <a:lnTo>
                  <a:pt x="2252" y="36"/>
                </a:lnTo>
                <a:lnTo>
                  <a:pt x="2250" y="37"/>
                </a:lnTo>
                <a:lnTo>
                  <a:pt x="2247" y="38"/>
                </a:lnTo>
                <a:lnTo>
                  <a:pt x="2245" y="38"/>
                </a:lnTo>
                <a:lnTo>
                  <a:pt x="2242" y="38"/>
                </a:lnTo>
                <a:lnTo>
                  <a:pt x="2239" y="37"/>
                </a:lnTo>
                <a:lnTo>
                  <a:pt x="2236" y="36"/>
                </a:lnTo>
                <a:lnTo>
                  <a:pt x="2233" y="34"/>
                </a:lnTo>
                <a:lnTo>
                  <a:pt x="2231" y="32"/>
                </a:lnTo>
                <a:lnTo>
                  <a:pt x="2230" y="30"/>
                </a:lnTo>
                <a:lnTo>
                  <a:pt x="2228" y="27"/>
                </a:lnTo>
                <a:lnTo>
                  <a:pt x="2228" y="24"/>
                </a:lnTo>
                <a:lnTo>
                  <a:pt x="2228" y="20"/>
                </a:lnTo>
                <a:lnTo>
                  <a:pt x="2229" y="17"/>
                </a:lnTo>
                <a:lnTo>
                  <a:pt x="2230" y="13"/>
                </a:lnTo>
                <a:lnTo>
                  <a:pt x="2233" y="10"/>
                </a:lnTo>
                <a:lnTo>
                  <a:pt x="2236" y="8"/>
                </a:lnTo>
                <a:close/>
                <a:moveTo>
                  <a:pt x="1449" y="440"/>
                </a:moveTo>
                <a:lnTo>
                  <a:pt x="1451" y="439"/>
                </a:lnTo>
                <a:lnTo>
                  <a:pt x="1453" y="438"/>
                </a:lnTo>
                <a:lnTo>
                  <a:pt x="1456" y="437"/>
                </a:lnTo>
                <a:lnTo>
                  <a:pt x="1459" y="438"/>
                </a:lnTo>
                <a:lnTo>
                  <a:pt x="1462" y="438"/>
                </a:lnTo>
                <a:lnTo>
                  <a:pt x="1465" y="440"/>
                </a:lnTo>
                <a:lnTo>
                  <a:pt x="1467" y="441"/>
                </a:lnTo>
                <a:lnTo>
                  <a:pt x="1469" y="444"/>
                </a:lnTo>
                <a:lnTo>
                  <a:pt x="1471" y="446"/>
                </a:lnTo>
                <a:lnTo>
                  <a:pt x="1472" y="449"/>
                </a:lnTo>
                <a:lnTo>
                  <a:pt x="1473" y="452"/>
                </a:lnTo>
                <a:lnTo>
                  <a:pt x="1473" y="455"/>
                </a:lnTo>
                <a:lnTo>
                  <a:pt x="1472" y="459"/>
                </a:lnTo>
                <a:lnTo>
                  <a:pt x="1470" y="462"/>
                </a:lnTo>
                <a:lnTo>
                  <a:pt x="1468" y="465"/>
                </a:lnTo>
                <a:lnTo>
                  <a:pt x="1465" y="467"/>
                </a:lnTo>
                <a:lnTo>
                  <a:pt x="1462" y="468"/>
                </a:lnTo>
                <a:lnTo>
                  <a:pt x="1460" y="469"/>
                </a:lnTo>
                <a:lnTo>
                  <a:pt x="1457" y="469"/>
                </a:lnTo>
                <a:lnTo>
                  <a:pt x="1455" y="469"/>
                </a:lnTo>
                <a:lnTo>
                  <a:pt x="1452" y="469"/>
                </a:lnTo>
                <a:lnTo>
                  <a:pt x="1449" y="467"/>
                </a:lnTo>
                <a:lnTo>
                  <a:pt x="1446" y="466"/>
                </a:lnTo>
                <a:lnTo>
                  <a:pt x="1444" y="463"/>
                </a:lnTo>
                <a:lnTo>
                  <a:pt x="1442" y="461"/>
                </a:lnTo>
                <a:lnTo>
                  <a:pt x="1441" y="458"/>
                </a:lnTo>
                <a:lnTo>
                  <a:pt x="1441" y="455"/>
                </a:lnTo>
                <a:lnTo>
                  <a:pt x="1441" y="452"/>
                </a:lnTo>
                <a:lnTo>
                  <a:pt x="1442" y="448"/>
                </a:lnTo>
                <a:lnTo>
                  <a:pt x="1443" y="445"/>
                </a:lnTo>
                <a:lnTo>
                  <a:pt x="1446" y="442"/>
                </a:lnTo>
                <a:lnTo>
                  <a:pt x="1449" y="440"/>
                </a:lnTo>
                <a:close/>
                <a:moveTo>
                  <a:pt x="2092" y="2"/>
                </a:moveTo>
                <a:lnTo>
                  <a:pt x="2094" y="1"/>
                </a:lnTo>
                <a:lnTo>
                  <a:pt x="2096" y="1"/>
                </a:lnTo>
                <a:lnTo>
                  <a:pt x="2100" y="0"/>
                </a:lnTo>
                <a:lnTo>
                  <a:pt x="2103" y="0"/>
                </a:lnTo>
                <a:lnTo>
                  <a:pt x="2106" y="1"/>
                </a:lnTo>
                <a:lnTo>
                  <a:pt x="2107" y="2"/>
                </a:lnTo>
                <a:lnTo>
                  <a:pt x="2109" y="3"/>
                </a:lnTo>
                <a:lnTo>
                  <a:pt x="2111" y="4"/>
                </a:lnTo>
                <a:lnTo>
                  <a:pt x="2113" y="7"/>
                </a:lnTo>
                <a:lnTo>
                  <a:pt x="2115" y="9"/>
                </a:lnTo>
                <a:lnTo>
                  <a:pt x="2116" y="12"/>
                </a:lnTo>
                <a:lnTo>
                  <a:pt x="2116" y="16"/>
                </a:lnTo>
                <a:lnTo>
                  <a:pt x="2116" y="20"/>
                </a:lnTo>
                <a:lnTo>
                  <a:pt x="2115" y="22"/>
                </a:lnTo>
                <a:lnTo>
                  <a:pt x="2114" y="24"/>
                </a:lnTo>
                <a:lnTo>
                  <a:pt x="2111" y="27"/>
                </a:lnTo>
                <a:lnTo>
                  <a:pt x="2108" y="30"/>
                </a:lnTo>
                <a:lnTo>
                  <a:pt x="2106" y="31"/>
                </a:lnTo>
                <a:lnTo>
                  <a:pt x="2104" y="31"/>
                </a:lnTo>
                <a:lnTo>
                  <a:pt x="2100" y="32"/>
                </a:lnTo>
                <a:lnTo>
                  <a:pt x="2097" y="32"/>
                </a:lnTo>
                <a:lnTo>
                  <a:pt x="2094" y="31"/>
                </a:lnTo>
                <a:lnTo>
                  <a:pt x="2093" y="30"/>
                </a:lnTo>
                <a:lnTo>
                  <a:pt x="2091" y="29"/>
                </a:lnTo>
                <a:lnTo>
                  <a:pt x="2089" y="28"/>
                </a:lnTo>
                <a:lnTo>
                  <a:pt x="2087" y="25"/>
                </a:lnTo>
                <a:lnTo>
                  <a:pt x="2085" y="23"/>
                </a:lnTo>
                <a:lnTo>
                  <a:pt x="2084" y="20"/>
                </a:lnTo>
                <a:lnTo>
                  <a:pt x="2084" y="16"/>
                </a:lnTo>
                <a:lnTo>
                  <a:pt x="2085" y="12"/>
                </a:lnTo>
                <a:lnTo>
                  <a:pt x="2085" y="10"/>
                </a:lnTo>
                <a:lnTo>
                  <a:pt x="2086" y="8"/>
                </a:lnTo>
                <a:lnTo>
                  <a:pt x="2089" y="5"/>
                </a:lnTo>
                <a:lnTo>
                  <a:pt x="2092" y="2"/>
                </a:lnTo>
                <a:close/>
                <a:moveTo>
                  <a:pt x="1480" y="300"/>
                </a:moveTo>
                <a:lnTo>
                  <a:pt x="1483" y="298"/>
                </a:lnTo>
                <a:lnTo>
                  <a:pt x="1487" y="298"/>
                </a:lnTo>
                <a:lnTo>
                  <a:pt x="1490" y="298"/>
                </a:lnTo>
                <a:lnTo>
                  <a:pt x="1494" y="299"/>
                </a:lnTo>
                <a:lnTo>
                  <a:pt x="1497" y="300"/>
                </a:lnTo>
                <a:lnTo>
                  <a:pt x="1499" y="302"/>
                </a:lnTo>
                <a:lnTo>
                  <a:pt x="1501" y="304"/>
                </a:lnTo>
                <a:lnTo>
                  <a:pt x="1503" y="307"/>
                </a:lnTo>
                <a:lnTo>
                  <a:pt x="1504" y="310"/>
                </a:lnTo>
                <a:lnTo>
                  <a:pt x="1504" y="313"/>
                </a:lnTo>
                <a:lnTo>
                  <a:pt x="1504" y="316"/>
                </a:lnTo>
                <a:lnTo>
                  <a:pt x="1503" y="319"/>
                </a:lnTo>
                <a:lnTo>
                  <a:pt x="1500" y="324"/>
                </a:lnTo>
                <a:lnTo>
                  <a:pt x="1496" y="327"/>
                </a:lnTo>
                <a:lnTo>
                  <a:pt x="1493" y="329"/>
                </a:lnTo>
                <a:lnTo>
                  <a:pt x="1490" y="330"/>
                </a:lnTo>
                <a:lnTo>
                  <a:pt x="1486" y="329"/>
                </a:lnTo>
                <a:lnTo>
                  <a:pt x="1483" y="329"/>
                </a:lnTo>
                <a:lnTo>
                  <a:pt x="1480" y="327"/>
                </a:lnTo>
                <a:lnTo>
                  <a:pt x="1477" y="325"/>
                </a:lnTo>
                <a:lnTo>
                  <a:pt x="1475" y="323"/>
                </a:lnTo>
                <a:lnTo>
                  <a:pt x="1474" y="320"/>
                </a:lnTo>
                <a:lnTo>
                  <a:pt x="1473" y="317"/>
                </a:lnTo>
                <a:lnTo>
                  <a:pt x="1472" y="314"/>
                </a:lnTo>
                <a:lnTo>
                  <a:pt x="1472" y="311"/>
                </a:lnTo>
                <a:lnTo>
                  <a:pt x="1473" y="308"/>
                </a:lnTo>
                <a:lnTo>
                  <a:pt x="1476" y="303"/>
                </a:lnTo>
                <a:lnTo>
                  <a:pt x="1480" y="300"/>
                </a:lnTo>
                <a:close/>
                <a:moveTo>
                  <a:pt x="1949" y="15"/>
                </a:moveTo>
                <a:lnTo>
                  <a:pt x="1951" y="14"/>
                </a:lnTo>
                <a:lnTo>
                  <a:pt x="1954" y="13"/>
                </a:lnTo>
                <a:lnTo>
                  <a:pt x="1958" y="13"/>
                </a:lnTo>
                <a:lnTo>
                  <a:pt x="1961" y="13"/>
                </a:lnTo>
                <a:lnTo>
                  <a:pt x="1964" y="14"/>
                </a:lnTo>
                <a:lnTo>
                  <a:pt x="1966" y="16"/>
                </a:lnTo>
                <a:lnTo>
                  <a:pt x="1969" y="18"/>
                </a:lnTo>
                <a:lnTo>
                  <a:pt x="1970" y="20"/>
                </a:lnTo>
                <a:lnTo>
                  <a:pt x="1972" y="23"/>
                </a:lnTo>
                <a:lnTo>
                  <a:pt x="1972" y="25"/>
                </a:lnTo>
                <a:lnTo>
                  <a:pt x="1973" y="26"/>
                </a:lnTo>
                <a:lnTo>
                  <a:pt x="1973" y="31"/>
                </a:lnTo>
                <a:lnTo>
                  <a:pt x="1972" y="33"/>
                </a:lnTo>
                <a:lnTo>
                  <a:pt x="1971" y="36"/>
                </a:lnTo>
                <a:lnTo>
                  <a:pt x="1970" y="38"/>
                </a:lnTo>
                <a:lnTo>
                  <a:pt x="1969" y="40"/>
                </a:lnTo>
                <a:lnTo>
                  <a:pt x="1967" y="41"/>
                </a:lnTo>
                <a:lnTo>
                  <a:pt x="1965" y="42"/>
                </a:lnTo>
                <a:lnTo>
                  <a:pt x="1962" y="44"/>
                </a:lnTo>
                <a:lnTo>
                  <a:pt x="1959" y="44"/>
                </a:lnTo>
                <a:lnTo>
                  <a:pt x="1956" y="45"/>
                </a:lnTo>
                <a:lnTo>
                  <a:pt x="1953" y="44"/>
                </a:lnTo>
                <a:lnTo>
                  <a:pt x="1950" y="43"/>
                </a:lnTo>
                <a:lnTo>
                  <a:pt x="1947" y="42"/>
                </a:lnTo>
                <a:lnTo>
                  <a:pt x="1945" y="40"/>
                </a:lnTo>
                <a:lnTo>
                  <a:pt x="1943" y="37"/>
                </a:lnTo>
                <a:lnTo>
                  <a:pt x="1942" y="34"/>
                </a:lnTo>
                <a:lnTo>
                  <a:pt x="1941" y="33"/>
                </a:lnTo>
                <a:lnTo>
                  <a:pt x="1941" y="31"/>
                </a:lnTo>
                <a:lnTo>
                  <a:pt x="1941" y="26"/>
                </a:lnTo>
                <a:lnTo>
                  <a:pt x="1942" y="24"/>
                </a:lnTo>
                <a:lnTo>
                  <a:pt x="1942" y="22"/>
                </a:lnTo>
                <a:lnTo>
                  <a:pt x="1944" y="20"/>
                </a:lnTo>
                <a:lnTo>
                  <a:pt x="1945" y="18"/>
                </a:lnTo>
                <a:lnTo>
                  <a:pt x="1947" y="16"/>
                </a:lnTo>
                <a:lnTo>
                  <a:pt x="1949" y="15"/>
                </a:lnTo>
                <a:close/>
                <a:moveTo>
                  <a:pt x="1809" y="47"/>
                </a:moveTo>
                <a:lnTo>
                  <a:pt x="1812" y="46"/>
                </a:lnTo>
                <a:lnTo>
                  <a:pt x="1815" y="45"/>
                </a:lnTo>
                <a:lnTo>
                  <a:pt x="1819" y="45"/>
                </a:lnTo>
                <a:lnTo>
                  <a:pt x="1822" y="46"/>
                </a:lnTo>
                <a:lnTo>
                  <a:pt x="1824" y="47"/>
                </a:lnTo>
                <a:lnTo>
                  <a:pt x="1827" y="49"/>
                </a:lnTo>
                <a:lnTo>
                  <a:pt x="1829" y="51"/>
                </a:lnTo>
                <a:lnTo>
                  <a:pt x="1831" y="53"/>
                </a:lnTo>
                <a:lnTo>
                  <a:pt x="1832" y="56"/>
                </a:lnTo>
                <a:lnTo>
                  <a:pt x="1833" y="62"/>
                </a:lnTo>
                <a:lnTo>
                  <a:pt x="1833" y="65"/>
                </a:lnTo>
                <a:lnTo>
                  <a:pt x="1832" y="67"/>
                </a:lnTo>
                <a:lnTo>
                  <a:pt x="1831" y="69"/>
                </a:lnTo>
                <a:lnTo>
                  <a:pt x="1829" y="72"/>
                </a:lnTo>
                <a:lnTo>
                  <a:pt x="1825" y="75"/>
                </a:lnTo>
                <a:lnTo>
                  <a:pt x="1822" y="76"/>
                </a:lnTo>
                <a:lnTo>
                  <a:pt x="1819" y="77"/>
                </a:lnTo>
                <a:lnTo>
                  <a:pt x="1815" y="77"/>
                </a:lnTo>
                <a:lnTo>
                  <a:pt x="1812" y="77"/>
                </a:lnTo>
                <a:lnTo>
                  <a:pt x="1810" y="75"/>
                </a:lnTo>
                <a:lnTo>
                  <a:pt x="1807" y="74"/>
                </a:lnTo>
                <a:lnTo>
                  <a:pt x="1805" y="72"/>
                </a:lnTo>
                <a:lnTo>
                  <a:pt x="1803" y="69"/>
                </a:lnTo>
                <a:lnTo>
                  <a:pt x="1802" y="66"/>
                </a:lnTo>
                <a:lnTo>
                  <a:pt x="1801" y="60"/>
                </a:lnTo>
                <a:lnTo>
                  <a:pt x="1801" y="58"/>
                </a:lnTo>
                <a:lnTo>
                  <a:pt x="1802" y="55"/>
                </a:lnTo>
                <a:lnTo>
                  <a:pt x="1803" y="53"/>
                </a:lnTo>
                <a:lnTo>
                  <a:pt x="1805" y="51"/>
                </a:lnTo>
                <a:lnTo>
                  <a:pt x="1809" y="47"/>
                </a:lnTo>
                <a:close/>
                <a:moveTo>
                  <a:pt x="1557" y="180"/>
                </a:moveTo>
                <a:lnTo>
                  <a:pt x="1560" y="179"/>
                </a:lnTo>
                <a:lnTo>
                  <a:pt x="1562" y="179"/>
                </a:lnTo>
                <a:lnTo>
                  <a:pt x="1565" y="178"/>
                </a:lnTo>
                <a:lnTo>
                  <a:pt x="1567" y="178"/>
                </a:lnTo>
                <a:lnTo>
                  <a:pt x="1570" y="179"/>
                </a:lnTo>
                <a:lnTo>
                  <a:pt x="1572" y="180"/>
                </a:lnTo>
                <a:lnTo>
                  <a:pt x="1575" y="181"/>
                </a:lnTo>
                <a:lnTo>
                  <a:pt x="1577" y="183"/>
                </a:lnTo>
                <a:lnTo>
                  <a:pt x="1579" y="186"/>
                </a:lnTo>
                <a:lnTo>
                  <a:pt x="1580" y="188"/>
                </a:lnTo>
                <a:lnTo>
                  <a:pt x="1581" y="191"/>
                </a:lnTo>
                <a:lnTo>
                  <a:pt x="1581" y="194"/>
                </a:lnTo>
                <a:lnTo>
                  <a:pt x="1581" y="197"/>
                </a:lnTo>
                <a:lnTo>
                  <a:pt x="1580" y="200"/>
                </a:lnTo>
                <a:lnTo>
                  <a:pt x="1579" y="203"/>
                </a:lnTo>
                <a:lnTo>
                  <a:pt x="1577" y="206"/>
                </a:lnTo>
                <a:lnTo>
                  <a:pt x="1573" y="208"/>
                </a:lnTo>
                <a:lnTo>
                  <a:pt x="1571" y="209"/>
                </a:lnTo>
                <a:lnTo>
                  <a:pt x="1568" y="210"/>
                </a:lnTo>
                <a:lnTo>
                  <a:pt x="1566" y="210"/>
                </a:lnTo>
                <a:lnTo>
                  <a:pt x="1563" y="210"/>
                </a:lnTo>
                <a:lnTo>
                  <a:pt x="1561" y="210"/>
                </a:lnTo>
                <a:lnTo>
                  <a:pt x="1558" y="209"/>
                </a:lnTo>
                <a:lnTo>
                  <a:pt x="1556" y="207"/>
                </a:lnTo>
                <a:lnTo>
                  <a:pt x="1554" y="206"/>
                </a:lnTo>
                <a:lnTo>
                  <a:pt x="1552" y="203"/>
                </a:lnTo>
                <a:lnTo>
                  <a:pt x="1550" y="200"/>
                </a:lnTo>
                <a:lnTo>
                  <a:pt x="1550" y="197"/>
                </a:lnTo>
                <a:lnTo>
                  <a:pt x="1549" y="194"/>
                </a:lnTo>
                <a:lnTo>
                  <a:pt x="1550" y="191"/>
                </a:lnTo>
                <a:lnTo>
                  <a:pt x="1551" y="188"/>
                </a:lnTo>
                <a:lnTo>
                  <a:pt x="1552" y="185"/>
                </a:lnTo>
                <a:lnTo>
                  <a:pt x="1554" y="183"/>
                </a:lnTo>
                <a:lnTo>
                  <a:pt x="1557" y="180"/>
                </a:lnTo>
                <a:close/>
                <a:moveTo>
                  <a:pt x="1675" y="100"/>
                </a:moveTo>
                <a:lnTo>
                  <a:pt x="1678" y="98"/>
                </a:lnTo>
                <a:lnTo>
                  <a:pt x="1682" y="98"/>
                </a:lnTo>
                <a:lnTo>
                  <a:pt x="1685" y="98"/>
                </a:lnTo>
                <a:lnTo>
                  <a:pt x="1688" y="98"/>
                </a:lnTo>
                <a:lnTo>
                  <a:pt x="1691" y="100"/>
                </a:lnTo>
                <a:lnTo>
                  <a:pt x="1694" y="101"/>
                </a:lnTo>
                <a:lnTo>
                  <a:pt x="1696" y="104"/>
                </a:lnTo>
                <a:lnTo>
                  <a:pt x="1697" y="106"/>
                </a:lnTo>
                <a:lnTo>
                  <a:pt x="1699" y="109"/>
                </a:lnTo>
                <a:lnTo>
                  <a:pt x="1699" y="112"/>
                </a:lnTo>
                <a:lnTo>
                  <a:pt x="1699" y="115"/>
                </a:lnTo>
                <a:lnTo>
                  <a:pt x="1698" y="118"/>
                </a:lnTo>
                <a:lnTo>
                  <a:pt x="1697" y="121"/>
                </a:lnTo>
                <a:lnTo>
                  <a:pt x="1696" y="123"/>
                </a:lnTo>
                <a:lnTo>
                  <a:pt x="1694" y="126"/>
                </a:lnTo>
                <a:lnTo>
                  <a:pt x="1691" y="127"/>
                </a:lnTo>
                <a:lnTo>
                  <a:pt x="1688" y="129"/>
                </a:lnTo>
                <a:lnTo>
                  <a:pt x="1684" y="129"/>
                </a:lnTo>
                <a:lnTo>
                  <a:pt x="1681" y="129"/>
                </a:lnTo>
                <a:lnTo>
                  <a:pt x="1678" y="129"/>
                </a:lnTo>
                <a:lnTo>
                  <a:pt x="1675" y="127"/>
                </a:lnTo>
                <a:lnTo>
                  <a:pt x="1673" y="125"/>
                </a:lnTo>
                <a:lnTo>
                  <a:pt x="1670" y="123"/>
                </a:lnTo>
                <a:lnTo>
                  <a:pt x="1669" y="120"/>
                </a:lnTo>
                <a:lnTo>
                  <a:pt x="1668" y="118"/>
                </a:lnTo>
                <a:lnTo>
                  <a:pt x="1667" y="115"/>
                </a:lnTo>
                <a:lnTo>
                  <a:pt x="1667" y="112"/>
                </a:lnTo>
                <a:lnTo>
                  <a:pt x="1668" y="109"/>
                </a:lnTo>
                <a:lnTo>
                  <a:pt x="1669" y="106"/>
                </a:lnTo>
                <a:lnTo>
                  <a:pt x="1670" y="104"/>
                </a:lnTo>
                <a:lnTo>
                  <a:pt x="1673" y="101"/>
                </a:lnTo>
                <a:lnTo>
                  <a:pt x="1675" y="100"/>
                </a:lnTo>
                <a:close/>
                <a:moveTo>
                  <a:pt x="4769" y="1270"/>
                </a:moveTo>
                <a:lnTo>
                  <a:pt x="4772" y="1269"/>
                </a:lnTo>
                <a:lnTo>
                  <a:pt x="4775" y="1268"/>
                </a:lnTo>
                <a:lnTo>
                  <a:pt x="4780" y="1268"/>
                </a:lnTo>
                <a:lnTo>
                  <a:pt x="4783" y="1269"/>
                </a:lnTo>
                <a:lnTo>
                  <a:pt x="4786" y="1271"/>
                </a:lnTo>
                <a:lnTo>
                  <a:pt x="4789" y="1273"/>
                </a:lnTo>
                <a:lnTo>
                  <a:pt x="4790" y="1275"/>
                </a:lnTo>
                <a:lnTo>
                  <a:pt x="4792" y="1278"/>
                </a:lnTo>
                <a:lnTo>
                  <a:pt x="4793" y="1281"/>
                </a:lnTo>
                <a:lnTo>
                  <a:pt x="4793" y="1284"/>
                </a:lnTo>
                <a:lnTo>
                  <a:pt x="4793" y="1287"/>
                </a:lnTo>
                <a:lnTo>
                  <a:pt x="4792" y="1290"/>
                </a:lnTo>
                <a:lnTo>
                  <a:pt x="4790" y="1293"/>
                </a:lnTo>
                <a:lnTo>
                  <a:pt x="4788" y="1296"/>
                </a:lnTo>
                <a:lnTo>
                  <a:pt x="4785" y="1298"/>
                </a:lnTo>
                <a:lnTo>
                  <a:pt x="4783" y="1299"/>
                </a:lnTo>
                <a:lnTo>
                  <a:pt x="4780" y="1300"/>
                </a:lnTo>
                <a:lnTo>
                  <a:pt x="4777" y="1300"/>
                </a:lnTo>
                <a:lnTo>
                  <a:pt x="4774" y="1299"/>
                </a:lnTo>
                <a:lnTo>
                  <a:pt x="4771" y="1298"/>
                </a:lnTo>
                <a:lnTo>
                  <a:pt x="4768" y="1297"/>
                </a:lnTo>
                <a:lnTo>
                  <a:pt x="4766" y="1295"/>
                </a:lnTo>
                <a:lnTo>
                  <a:pt x="4764" y="1293"/>
                </a:lnTo>
                <a:lnTo>
                  <a:pt x="4762" y="1290"/>
                </a:lnTo>
                <a:lnTo>
                  <a:pt x="4762" y="1287"/>
                </a:lnTo>
                <a:lnTo>
                  <a:pt x="4761" y="1284"/>
                </a:lnTo>
                <a:lnTo>
                  <a:pt x="4762" y="1281"/>
                </a:lnTo>
                <a:lnTo>
                  <a:pt x="4763" y="1277"/>
                </a:lnTo>
                <a:lnTo>
                  <a:pt x="4764" y="1275"/>
                </a:lnTo>
                <a:lnTo>
                  <a:pt x="4767" y="1272"/>
                </a:lnTo>
                <a:lnTo>
                  <a:pt x="4769" y="1270"/>
                </a:lnTo>
                <a:close/>
                <a:moveTo>
                  <a:pt x="4629" y="1238"/>
                </a:moveTo>
                <a:lnTo>
                  <a:pt x="4631" y="1237"/>
                </a:lnTo>
                <a:lnTo>
                  <a:pt x="4634" y="1237"/>
                </a:lnTo>
                <a:lnTo>
                  <a:pt x="4637" y="1236"/>
                </a:lnTo>
                <a:lnTo>
                  <a:pt x="4640" y="1237"/>
                </a:lnTo>
                <a:lnTo>
                  <a:pt x="4643" y="1238"/>
                </a:lnTo>
                <a:lnTo>
                  <a:pt x="4646" y="1239"/>
                </a:lnTo>
                <a:lnTo>
                  <a:pt x="4648" y="1242"/>
                </a:lnTo>
                <a:lnTo>
                  <a:pt x="4650" y="1244"/>
                </a:lnTo>
                <a:lnTo>
                  <a:pt x="4651" y="1247"/>
                </a:lnTo>
                <a:lnTo>
                  <a:pt x="4652" y="1250"/>
                </a:lnTo>
                <a:lnTo>
                  <a:pt x="4652" y="1253"/>
                </a:lnTo>
                <a:lnTo>
                  <a:pt x="4652" y="1256"/>
                </a:lnTo>
                <a:lnTo>
                  <a:pt x="4651" y="1259"/>
                </a:lnTo>
                <a:lnTo>
                  <a:pt x="4649" y="1262"/>
                </a:lnTo>
                <a:lnTo>
                  <a:pt x="4647" y="1264"/>
                </a:lnTo>
                <a:lnTo>
                  <a:pt x="4644" y="1266"/>
                </a:lnTo>
                <a:lnTo>
                  <a:pt x="4642" y="1267"/>
                </a:lnTo>
                <a:lnTo>
                  <a:pt x="4639" y="1268"/>
                </a:lnTo>
                <a:lnTo>
                  <a:pt x="4636" y="1268"/>
                </a:lnTo>
                <a:lnTo>
                  <a:pt x="4633" y="1268"/>
                </a:lnTo>
                <a:lnTo>
                  <a:pt x="4630" y="1267"/>
                </a:lnTo>
                <a:lnTo>
                  <a:pt x="4627" y="1265"/>
                </a:lnTo>
                <a:lnTo>
                  <a:pt x="4625" y="1263"/>
                </a:lnTo>
                <a:lnTo>
                  <a:pt x="4623" y="1260"/>
                </a:lnTo>
                <a:lnTo>
                  <a:pt x="4622" y="1258"/>
                </a:lnTo>
                <a:lnTo>
                  <a:pt x="4621" y="1255"/>
                </a:lnTo>
                <a:lnTo>
                  <a:pt x="4621" y="1252"/>
                </a:lnTo>
                <a:lnTo>
                  <a:pt x="4621" y="1248"/>
                </a:lnTo>
                <a:lnTo>
                  <a:pt x="4622" y="1245"/>
                </a:lnTo>
                <a:lnTo>
                  <a:pt x="4624" y="1243"/>
                </a:lnTo>
                <a:lnTo>
                  <a:pt x="4626" y="1240"/>
                </a:lnTo>
                <a:lnTo>
                  <a:pt x="4629" y="1238"/>
                </a:lnTo>
                <a:close/>
                <a:moveTo>
                  <a:pt x="4489" y="1202"/>
                </a:moveTo>
                <a:lnTo>
                  <a:pt x="4492" y="1201"/>
                </a:lnTo>
                <a:lnTo>
                  <a:pt x="4495" y="1200"/>
                </a:lnTo>
                <a:lnTo>
                  <a:pt x="4498" y="1200"/>
                </a:lnTo>
                <a:lnTo>
                  <a:pt x="4501" y="1201"/>
                </a:lnTo>
                <a:lnTo>
                  <a:pt x="4504" y="1202"/>
                </a:lnTo>
                <a:lnTo>
                  <a:pt x="4507" y="1203"/>
                </a:lnTo>
                <a:lnTo>
                  <a:pt x="4509" y="1206"/>
                </a:lnTo>
                <a:lnTo>
                  <a:pt x="4511" y="1208"/>
                </a:lnTo>
                <a:lnTo>
                  <a:pt x="4512" y="1211"/>
                </a:lnTo>
                <a:lnTo>
                  <a:pt x="4513" y="1214"/>
                </a:lnTo>
                <a:lnTo>
                  <a:pt x="4513" y="1217"/>
                </a:lnTo>
                <a:lnTo>
                  <a:pt x="4512" y="1220"/>
                </a:lnTo>
                <a:lnTo>
                  <a:pt x="4511" y="1223"/>
                </a:lnTo>
                <a:lnTo>
                  <a:pt x="4509" y="1226"/>
                </a:lnTo>
                <a:lnTo>
                  <a:pt x="4507" y="1228"/>
                </a:lnTo>
                <a:lnTo>
                  <a:pt x="4505" y="1230"/>
                </a:lnTo>
                <a:lnTo>
                  <a:pt x="4502" y="1231"/>
                </a:lnTo>
                <a:lnTo>
                  <a:pt x="4499" y="1232"/>
                </a:lnTo>
                <a:lnTo>
                  <a:pt x="4496" y="1232"/>
                </a:lnTo>
                <a:lnTo>
                  <a:pt x="4493" y="1231"/>
                </a:lnTo>
                <a:lnTo>
                  <a:pt x="4490" y="1230"/>
                </a:lnTo>
                <a:lnTo>
                  <a:pt x="4487" y="1228"/>
                </a:lnTo>
                <a:lnTo>
                  <a:pt x="4485" y="1226"/>
                </a:lnTo>
                <a:lnTo>
                  <a:pt x="4483" y="1224"/>
                </a:lnTo>
                <a:lnTo>
                  <a:pt x="4482" y="1221"/>
                </a:lnTo>
                <a:lnTo>
                  <a:pt x="4481" y="1218"/>
                </a:lnTo>
                <a:lnTo>
                  <a:pt x="4481" y="1215"/>
                </a:lnTo>
                <a:lnTo>
                  <a:pt x="4482" y="1212"/>
                </a:lnTo>
                <a:lnTo>
                  <a:pt x="4483" y="1209"/>
                </a:lnTo>
                <a:lnTo>
                  <a:pt x="4485" y="1206"/>
                </a:lnTo>
                <a:lnTo>
                  <a:pt x="4487" y="1204"/>
                </a:lnTo>
                <a:lnTo>
                  <a:pt x="4489" y="1202"/>
                </a:lnTo>
                <a:close/>
                <a:moveTo>
                  <a:pt x="4351" y="1161"/>
                </a:moveTo>
                <a:lnTo>
                  <a:pt x="4354" y="1159"/>
                </a:lnTo>
                <a:lnTo>
                  <a:pt x="4357" y="1158"/>
                </a:lnTo>
                <a:lnTo>
                  <a:pt x="4361" y="1158"/>
                </a:lnTo>
                <a:lnTo>
                  <a:pt x="4364" y="1159"/>
                </a:lnTo>
                <a:lnTo>
                  <a:pt x="4367" y="1160"/>
                </a:lnTo>
                <a:lnTo>
                  <a:pt x="4369" y="1162"/>
                </a:lnTo>
                <a:lnTo>
                  <a:pt x="4372" y="1164"/>
                </a:lnTo>
                <a:lnTo>
                  <a:pt x="4373" y="1167"/>
                </a:lnTo>
                <a:lnTo>
                  <a:pt x="4374" y="1170"/>
                </a:lnTo>
                <a:lnTo>
                  <a:pt x="4375" y="1173"/>
                </a:lnTo>
                <a:lnTo>
                  <a:pt x="4375" y="1176"/>
                </a:lnTo>
                <a:lnTo>
                  <a:pt x="4374" y="1179"/>
                </a:lnTo>
                <a:lnTo>
                  <a:pt x="4373" y="1182"/>
                </a:lnTo>
                <a:lnTo>
                  <a:pt x="4371" y="1184"/>
                </a:lnTo>
                <a:lnTo>
                  <a:pt x="4369" y="1186"/>
                </a:lnTo>
                <a:lnTo>
                  <a:pt x="4367" y="1188"/>
                </a:lnTo>
                <a:lnTo>
                  <a:pt x="4364" y="1189"/>
                </a:lnTo>
                <a:lnTo>
                  <a:pt x="4361" y="1190"/>
                </a:lnTo>
                <a:lnTo>
                  <a:pt x="4357" y="1190"/>
                </a:lnTo>
                <a:lnTo>
                  <a:pt x="4354" y="1189"/>
                </a:lnTo>
                <a:lnTo>
                  <a:pt x="4351" y="1188"/>
                </a:lnTo>
                <a:lnTo>
                  <a:pt x="4349" y="1186"/>
                </a:lnTo>
                <a:lnTo>
                  <a:pt x="4347" y="1184"/>
                </a:lnTo>
                <a:lnTo>
                  <a:pt x="4345" y="1181"/>
                </a:lnTo>
                <a:lnTo>
                  <a:pt x="4344" y="1179"/>
                </a:lnTo>
                <a:lnTo>
                  <a:pt x="4343" y="1176"/>
                </a:lnTo>
                <a:lnTo>
                  <a:pt x="4343" y="1172"/>
                </a:lnTo>
                <a:lnTo>
                  <a:pt x="4344" y="1169"/>
                </a:lnTo>
                <a:lnTo>
                  <a:pt x="4345" y="1167"/>
                </a:lnTo>
                <a:lnTo>
                  <a:pt x="4347" y="1164"/>
                </a:lnTo>
                <a:lnTo>
                  <a:pt x="4349" y="1162"/>
                </a:lnTo>
                <a:lnTo>
                  <a:pt x="4351" y="1161"/>
                </a:lnTo>
                <a:close/>
                <a:moveTo>
                  <a:pt x="4215" y="1112"/>
                </a:moveTo>
                <a:lnTo>
                  <a:pt x="4218" y="1111"/>
                </a:lnTo>
                <a:lnTo>
                  <a:pt x="4222" y="1110"/>
                </a:lnTo>
                <a:lnTo>
                  <a:pt x="4225" y="1111"/>
                </a:lnTo>
                <a:lnTo>
                  <a:pt x="4229" y="1111"/>
                </a:lnTo>
                <a:lnTo>
                  <a:pt x="4232" y="1113"/>
                </a:lnTo>
                <a:lnTo>
                  <a:pt x="4234" y="1115"/>
                </a:lnTo>
                <a:lnTo>
                  <a:pt x="4236" y="1117"/>
                </a:lnTo>
                <a:lnTo>
                  <a:pt x="4238" y="1120"/>
                </a:lnTo>
                <a:lnTo>
                  <a:pt x="4239" y="1123"/>
                </a:lnTo>
                <a:lnTo>
                  <a:pt x="4239" y="1126"/>
                </a:lnTo>
                <a:lnTo>
                  <a:pt x="4239" y="1129"/>
                </a:lnTo>
                <a:lnTo>
                  <a:pt x="4238" y="1132"/>
                </a:lnTo>
                <a:lnTo>
                  <a:pt x="4235" y="1137"/>
                </a:lnTo>
                <a:lnTo>
                  <a:pt x="4233" y="1138"/>
                </a:lnTo>
                <a:lnTo>
                  <a:pt x="4231" y="1140"/>
                </a:lnTo>
                <a:lnTo>
                  <a:pt x="4228" y="1141"/>
                </a:lnTo>
                <a:lnTo>
                  <a:pt x="4224" y="1142"/>
                </a:lnTo>
                <a:lnTo>
                  <a:pt x="4221" y="1142"/>
                </a:lnTo>
                <a:lnTo>
                  <a:pt x="4217" y="1141"/>
                </a:lnTo>
                <a:lnTo>
                  <a:pt x="4215" y="1140"/>
                </a:lnTo>
                <a:lnTo>
                  <a:pt x="4212" y="1138"/>
                </a:lnTo>
                <a:lnTo>
                  <a:pt x="4210" y="1135"/>
                </a:lnTo>
                <a:lnTo>
                  <a:pt x="4209" y="1133"/>
                </a:lnTo>
                <a:lnTo>
                  <a:pt x="4208" y="1130"/>
                </a:lnTo>
                <a:lnTo>
                  <a:pt x="4207" y="1127"/>
                </a:lnTo>
                <a:lnTo>
                  <a:pt x="4207" y="1124"/>
                </a:lnTo>
                <a:lnTo>
                  <a:pt x="4208" y="1121"/>
                </a:lnTo>
                <a:lnTo>
                  <a:pt x="4211" y="1116"/>
                </a:lnTo>
                <a:lnTo>
                  <a:pt x="4213" y="1114"/>
                </a:lnTo>
                <a:lnTo>
                  <a:pt x="4215" y="1112"/>
                </a:lnTo>
                <a:close/>
                <a:moveTo>
                  <a:pt x="4082" y="1057"/>
                </a:moveTo>
                <a:lnTo>
                  <a:pt x="4086" y="1055"/>
                </a:lnTo>
                <a:lnTo>
                  <a:pt x="4089" y="1054"/>
                </a:lnTo>
                <a:lnTo>
                  <a:pt x="4093" y="1055"/>
                </a:lnTo>
                <a:lnTo>
                  <a:pt x="4097" y="1056"/>
                </a:lnTo>
                <a:lnTo>
                  <a:pt x="4100" y="1058"/>
                </a:lnTo>
                <a:lnTo>
                  <a:pt x="4102" y="1060"/>
                </a:lnTo>
                <a:lnTo>
                  <a:pt x="4104" y="1062"/>
                </a:lnTo>
                <a:lnTo>
                  <a:pt x="4105" y="1065"/>
                </a:lnTo>
                <a:lnTo>
                  <a:pt x="4106" y="1068"/>
                </a:lnTo>
                <a:lnTo>
                  <a:pt x="4106" y="1071"/>
                </a:lnTo>
                <a:lnTo>
                  <a:pt x="4106" y="1074"/>
                </a:lnTo>
                <a:lnTo>
                  <a:pt x="4105" y="1077"/>
                </a:lnTo>
                <a:lnTo>
                  <a:pt x="4102" y="1081"/>
                </a:lnTo>
                <a:lnTo>
                  <a:pt x="4100" y="1083"/>
                </a:lnTo>
                <a:lnTo>
                  <a:pt x="4098" y="1084"/>
                </a:lnTo>
                <a:lnTo>
                  <a:pt x="4095" y="1085"/>
                </a:lnTo>
                <a:lnTo>
                  <a:pt x="4091" y="1086"/>
                </a:lnTo>
                <a:lnTo>
                  <a:pt x="4087" y="1086"/>
                </a:lnTo>
                <a:lnTo>
                  <a:pt x="4084" y="1085"/>
                </a:lnTo>
                <a:lnTo>
                  <a:pt x="4081" y="1083"/>
                </a:lnTo>
                <a:lnTo>
                  <a:pt x="4079" y="1081"/>
                </a:lnTo>
                <a:lnTo>
                  <a:pt x="4077" y="1078"/>
                </a:lnTo>
                <a:lnTo>
                  <a:pt x="4075" y="1076"/>
                </a:lnTo>
                <a:lnTo>
                  <a:pt x="4075" y="1073"/>
                </a:lnTo>
                <a:lnTo>
                  <a:pt x="4074" y="1070"/>
                </a:lnTo>
                <a:lnTo>
                  <a:pt x="4075" y="1067"/>
                </a:lnTo>
                <a:lnTo>
                  <a:pt x="4076" y="1064"/>
                </a:lnTo>
                <a:lnTo>
                  <a:pt x="4079" y="1059"/>
                </a:lnTo>
                <a:lnTo>
                  <a:pt x="4080" y="1058"/>
                </a:lnTo>
                <a:lnTo>
                  <a:pt x="4082" y="1057"/>
                </a:lnTo>
                <a:close/>
                <a:moveTo>
                  <a:pt x="3954" y="990"/>
                </a:moveTo>
                <a:lnTo>
                  <a:pt x="3957" y="988"/>
                </a:lnTo>
                <a:lnTo>
                  <a:pt x="3961" y="988"/>
                </a:lnTo>
                <a:lnTo>
                  <a:pt x="3965" y="988"/>
                </a:lnTo>
                <a:lnTo>
                  <a:pt x="3969" y="990"/>
                </a:lnTo>
                <a:lnTo>
                  <a:pt x="3972" y="992"/>
                </a:lnTo>
                <a:lnTo>
                  <a:pt x="3974" y="994"/>
                </a:lnTo>
                <a:lnTo>
                  <a:pt x="3976" y="997"/>
                </a:lnTo>
                <a:lnTo>
                  <a:pt x="3977" y="1000"/>
                </a:lnTo>
                <a:lnTo>
                  <a:pt x="3977" y="1003"/>
                </a:lnTo>
                <a:lnTo>
                  <a:pt x="3977" y="1006"/>
                </a:lnTo>
                <a:lnTo>
                  <a:pt x="3977" y="1009"/>
                </a:lnTo>
                <a:lnTo>
                  <a:pt x="3975" y="1012"/>
                </a:lnTo>
                <a:lnTo>
                  <a:pt x="3974" y="1013"/>
                </a:lnTo>
                <a:lnTo>
                  <a:pt x="3973" y="1015"/>
                </a:lnTo>
                <a:lnTo>
                  <a:pt x="3969" y="1017"/>
                </a:lnTo>
                <a:lnTo>
                  <a:pt x="3966" y="1019"/>
                </a:lnTo>
                <a:lnTo>
                  <a:pt x="3962" y="1020"/>
                </a:lnTo>
                <a:lnTo>
                  <a:pt x="3958" y="1019"/>
                </a:lnTo>
                <a:lnTo>
                  <a:pt x="3954" y="1017"/>
                </a:lnTo>
                <a:lnTo>
                  <a:pt x="3951" y="1016"/>
                </a:lnTo>
                <a:lnTo>
                  <a:pt x="3949" y="1013"/>
                </a:lnTo>
                <a:lnTo>
                  <a:pt x="3947" y="1011"/>
                </a:lnTo>
                <a:lnTo>
                  <a:pt x="3946" y="1008"/>
                </a:lnTo>
                <a:lnTo>
                  <a:pt x="3946" y="1005"/>
                </a:lnTo>
                <a:lnTo>
                  <a:pt x="3946" y="1002"/>
                </a:lnTo>
                <a:lnTo>
                  <a:pt x="3946" y="999"/>
                </a:lnTo>
                <a:lnTo>
                  <a:pt x="3948" y="996"/>
                </a:lnTo>
                <a:lnTo>
                  <a:pt x="3949" y="994"/>
                </a:lnTo>
                <a:lnTo>
                  <a:pt x="3950" y="992"/>
                </a:lnTo>
                <a:lnTo>
                  <a:pt x="3954" y="990"/>
                </a:lnTo>
                <a:close/>
                <a:moveTo>
                  <a:pt x="3828" y="919"/>
                </a:moveTo>
                <a:lnTo>
                  <a:pt x="3832" y="917"/>
                </a:lnTo>
                <a:lnTo>
                  <a:pt x="3836" y="917"/>
                </a:lnTo>
                <a:lnTo>
                  <a:pt x="3840" y="917"/>
                </a:lnTo>
                <a:lnTo>
                  <a:pt x="3844" y="919"/>
                </a:lnTo>
                <a:lnTo>
                  <a:pt x="3847" y="921"/>
                </a:lnTo>
                <a:lnTo>
                  <a:pt x="3849" y="923"/>
                </a:lnTo>
                <a:lnTo>
                  <a:pt x="3850" y="926"/>
                </a:lnTo>
                <a:lnTo>
                  <a:pt x="3851" y="928"/>
                </a:lnTo>
                <a:lnTo>
                  <a:pt x="3852" y="931"/>
                </a:lnTo>
                <a:lnTo>
                  <a:pt x="3852" y="934"/>
                </a:lnTo>
                <a:lnTo>
                  <a:pt x="3851" y="938"/>
                </a:lnTo>
                <a:lnTo>
                  <a:pt x="3850" y="940"/>
                </a:lnTo>
                <a:lnTo>
                  <a:pt x="3847" y="944"/>
                </a:lnTo>
                <a:lnTo>
                  <a:pt x="3844" y="946"/>
                </a:lnTo>
                <a:lnTo>
                  <a:pt x="3840" y="948"/>
                </a:lnTo>
                <a:lnTo>
                  <a:pt x="3836" y="949"/>
                </a:lnTo>
                <a:lnTo>
                  <a:pt x="3832" y="948"/>
                </a:lnTo>
                <a:lnTo>
                  <a:pt x="3828" y="947"/>
                </a:lnTo>
                <a:lnTo>
                  <a:pt x="3826" y="945"/>
                </a:lnTo>
                <a:lnTo>
                  <a:pt x="3824" y="942"/>
                </a:lnTo>
                <a:lnTo>
                  <a:pt x="3822" y="940"/>
                </a:lnTo>
                <a:lnTo>
                  <a:pt x="3821" y="937"/>
                </a:lnTo>
                <a:lnTo>
                  <a:pt x="3820" y="934"/>
                </a:lnTo>
                <a:lnTo>
                  <a:pt x="3820" y="931"/>
                </a:lnTo>
                <a:lnTo>
                  <a:pt x="3821" y="928"/>
                </a:lnTo>
                <a:lnTo>
                  <a:pt x="3822" y="925"/>
                </a:lnTo>
                <a:lnTo>
                  <a:pt x="3825" y="922"/>
                </a:lnTo>
                <a:lnTo>
                  <a:pt x="3828" y="919"/>
                </a:lnTo>
                <a:close/>
                <a:moveTo>
                  <a:pt x="3702" y="849"/>
                </a:moveTo>
                <a:lnTo>
                  <a:pt x="3706" y="847"/>
                </a:lnTo>
                <a:lnTo>
                  <a:pt x="3710" y="847"/>
                </a:lnTo>
                <a:lnTo>
                  <a:pt x="3712" y="847"/>
                </a:lnTo>
                <a:lnTo>
                  <a:pt x="3714" y="847"/>
                </a:lnTo>
                <a:lnTo>
                  <a:pt x="3718" y="849"/>
                </a:lnTo>
                <a:lnTo>
                  <a:pt x="3721" y="851"/>
                </a:lnTo>
                <a:lnTo>
                  <a:pt x="3723" y="853"/>
                </a:lnTo>
                <a:lnTo>
                  <a:pt x="3725" y="855"/>
                </a:lnTo>
                <a:lnTo>
                  <a:pt x="3726" y="858"/>
                </a:lnTo>
                <a:lnTo>
                  <a:pt x="3726" y="861"/>
                </a:lnTo>
                <a:lnTo>
                  <a:pt x="3726" y="864"/>
                </a:lnTo>
                <a:lnTo>
                  <a:pt x="3726" y="867"/>
                </a:lnTo>
                <a:lnTo>
                  <a:pt x="3724" y="870"/>
                </a:lnTo>
                <a:lnTo>
                  <a:pt x="3722" y="874"/>
                </a:lnTo>
                <a:lnTo>
                  <a:pt x="3718" y="876"/>
                </a:lnTo>
                <a:lnTo>
                  <a:pt x="3715" y="878"/>
                </a:lnTo>
                <a:lnTo>
                  <a:pt x="3711" y="878"/>
                </a:lnTo>
                <a:lnTo>
                  <a:pt x="3709" y="878"/>
                </a:lnTo>
                <a:lnTo>
                  <a:pt x="3707" y="878"/>
                </a:lnTo>
                <a:lnTo>
                  <a:pt x="3703" y="877"/>
                </a:lnTo>
                <a:lnTo>
                  <a:pt x="3700" y="875"/>
                </a:lnTo>
                <a:lnTo>
                  <a:pt x="3698" y="872"/>
                </a:lnTo>
                <a:lnTo>
                  <a:pt x="3696" y="870"/>
                </a:lnTo>
                <a:lnTo>
                  <a:pt x="3695" y="867"/>
                </a:lnTo>
                <a:lnTo>
                  <a:pt x="3695" y="864"/>
                </a:lnTo>
                <a:lnTo>
                  <a:pt x="3695" y="861"/>
                </a:lnTo>
                <a:lnTo>
                  <a:pt x="3695" y="858"/>
                </a:lnTo>
                <a:lnTo>
                  <a:pt x="3697" y="855"/>
                </a:lnTo>
                <a:lnTo>
                  <a:pt x="3699" y="851"/>
                </a:lnTo>
                <a:lnTo>
                  <a:pt x="3702" y="849"/>
                </a:lnTo>
                <a:close/>
                <a:moveTo>
                  <a:pt x="3576" y="780"/>
                </a:moveTo>
                <a:lnTo>
                  <a:pt x="3578" y="779"/>
                </a:lnTo>
                <a:lnTo>
                  <a:pt x="3580" y="779"/>
                </a:lnTo>
                <a:lnTo>
                  <a:pt x="3584" y="778"/>
                </a:lnTo>
                <a:lnTo>
                  <a:pt x="3586" y="778"/>
                </a:lnTo>
                <a:lnTo>
                  <a:pt x="3588" y="778"/>
                </a:lnTo>
                <a:lnTo>
                  <a:pt x="3591" y="780"/>
                </a:lnTo>
                <a:lnTo>
                  <a:pt x="3594" y="782"/>
                </a:lnTo>
                <a:lnTo>
                  <a:pt x="3596" y="784"/>
                </a:lnTo>
                <a:lnTo>
                  <a:pt x="3598" y="786"/>
                </a:lnTo>
                <a:lnTo>
                  <a:pt x="3599" y="789"/>
                </a:lnTo>
                <a:lnTo>
                  <a:pt x="3600" y="792"/>
                </a:lnTo>
                <a:lnTo>
                  <a:pt x="3600" y="795"/>
                </a:lnTo>
                <a:lnTo>
                  <a:pt x="3599" y="798"/>
                </a:lnTo>
                <a:lnTo>
                  <a:pt x="3598" y="801"/>
                </a:lnTo>
                <a:lnTo>
                  <a:pt x="3597" y="803"/>
                </a:lnTo>
                <a:lnTo>
                  <a:pt x="3595" y="805"/>
                </a:lnTo>
                <a:lnTo>
                  <a:pt x="3592" y="808"/>
                </a:lnTo>
                <a:lnTo>
                  <a:pt x="3590" y="808"/>
                </a:lnTo>
                <a:lnTo>
                  <a:pt x="3588" y="809"/>
                </a:lnTo>
                <a:lnTo>
                  <a:pt x="3584" y="810"/>
                </a:lnTo>
                <a:lnTo>
                  <a:pt x="3582" y="810"/>
                </a:lnTo>
                <a:lnTo>
                  <a:pt x="3580" y="809"/>
                </a:lnTo>
                <a:lnTo>
                  <a:pt x="3576" y="808"/>
                </a:lnTo>
                <a:lnTo>
                  <a:pt x="3574" y="806"/>
                </a:lnTo>
                <a:lnTo>
                  <a:pt x="3572" y="804"/>
                </a:lnTo>
                <a:lnTo>
                  <a:pt x="3570" y="801"/>
                </a:lnTo>
                <a:lnTo>
                  <a:pt x="3569" y="798"/>
                </a:lnTo>
                <a:lnTo>
                  <a:pt x="3568" y="796"/>
                </a:lnTo>
                <a:lnTo>
                  <a:pt x="3568" y="792"/>
                </a:lnTo>
                <a:lnTo>
                  <a:pt x="3569" y="789"/>
                </a:lnTo>
                <a:lnTo>
                  <a:pt x="3570" y="786"/>
                </a:lnTo>
                <a:lnTo>
                  <a:pt x="3571" y="785"/>
                </a:lnTo>
                <a:lnTo>
                  <a:pt x="3573" y="783"/>
                </a:lnTo>
                <a:lnTo>
                  <a:pt x="3576" y="780"/>
                </a:lnTo>
                <a:close/>
                <a:moveTo>
                  <a:pt x="3448" y="713"/>
                </a:moveTo>
                <a:lnTo>
                  <a:pt x="3452" y="712"/>
                </a:lnTo>
                <a:lnTo>
                  <a:pt x="3456" y="711"/>
                </a:lnTo>
                <a:lnTo>
                  <a:pt x="3460" y="712"/>
                </a:lnTo>
                <a:lnTo>
                  <a:pt x="3464" y="713"/>
                </a:lnTo>
                <a:lnTo>
                  <a:pt x="3466" y="715"/>
                </a:lnTo>
                <a:lnTo>
                  <a:pt x="3469" y="717"/>
                </a:lnTo>
                <a:lnTo>
                  <a:pt x="3470" y="719"/>
                </a:lnTo>
                <a:lnTo>
                  <a:pt x="3472" y="722"/>
                </a:lnTo>
                <a:lnTo>
                  <a:pt x="3472" y="728"/>
                </a:lnTo>
                <a:lnTo>
                  <a:pt x="3472" y="731"/>
                </a:lnTo>
                <a:lnTo>
                  <a:pt x="3471" y="734"/>
                </a:lnTo>
                <a:lnTo>
                  <a:pt x="3469" y="736"/>
                </a:lnTo>
                <a:lnTo>
                  <a:pt x="3468" y="738"/>
                </a:lnTo>
                <a:lnTo>
                  <a:pt x="3464" y="741"/>
                </a:lnTo>
                <a:lnTo>
                  <a:pt x="3461" y="742"/>
                </a:lnTo>
                <a:lnTo>
                  <a:pt x="3457" y="743"/>
                </a:lnTo>
                <a:lnTo>
                  <a:pt x="3453" y="742"/>
                </a:lnTo>
                <a:lnTo>
                  <a:pt x="3449" y="741"/>
                </a:lnTo>
                <a:lnTo>
                  <a:pt x="3446" y="739"/>
                </a:lnTo>
                <a:lnTo>
                  <a:pt x="3444" y="737"/>
                </a:lnTo>
                <a:lnTo>
                  <a:pt x="3443" y="735"/>
                </a:lnTo>
                <a:lnTo>
                  <a:pt x="3441" y="732"/>
                </a:lnTo>
                <a:lnTo>
                  <a:pt x="3441" y="726"/>
                </a:lnTo>
                <a:lnTo>
                  <a:pt x="3441" y="723"/>
                </a:lnTo>
                <a:lnTo>
                  <a:pt x="3442" y="720"/>
                </a:lnTo>
                <a:lnTo>
                  <a:pt x="3444" y="718"/>
                </a:lnTo>
                <a:lnTo>
                  <a:pt x="3445" y="716"/>
                </a:lnTo>
                <a:lnTo>
                  <a:pt x="3448" y="713"/>
                </a:lnTo>
                <a:close/>
                <a:moveTo>
                  <a:pt x="418" y="2383"/>
                </a:moveTo>
                <a:lnTo>
                  <a:pt x="421" y="2382"/>
                </a:lnTo>
                <a:lnTo>
                  <a:pt x="424" y="2382"/>
                </a:lnTo>
                <a:lnTo>
                  <a:pt x="426" y="2382"/>
                </a:lnTo>
                <a:lnTo>
                  <a:pt x="429" y="2383"/>
                </a:lnTo>
                <a:lnTo>
                  <a:pt x="418" y="2383"/>
                </a:lnTo>
                <a:close/>
                <a:moveTo>
                  <a:pt x="3320" y="649"/>
                </a:moveTo>
                <a:lnTo>
                  <a:pt x="3321" y="648"/>
                </a:lnTo>
                <a:lnTo>
                  <a:pt x="3323" y="647"/>
                </a:lnTo>
                <a:lnTo>
                  <a:pt x="3327" y="647"/>
                </a:lnTo>
                <a:lnTo>
                  <a:pt x="3331" y="647"/>
                </a:lnTo>
                <a:lnTo>
                  <a:pt x="3335" y="648"/>
                </a:lnTo>
                <a:lnTo>
                  <a:pt x="3337" y="650"/>
                </a:lnTo>
                <a:lnTo>
                  <a:pt x="3340" y="652"/>
                </a:lnTo>
                <a:lnTo>
                  <a:pt x="3341" y="655"/>
                </a:lnTo>
                <a:lnTo>
                  <a:pt x="3343" y="657"/>
                </a:lnTo>
                <a:lnTo>
                  <a:pt x="3343" y="660"/>
                </a:lnTo>
                <a:lnTo>
                  <a:pt x="3343" y="663"/>
                </a:lnTo>
                <a:lnTo>
                  <a:pt x="3343" y="666"/>
                </a:lnTo>
                <a:lnTo>
                  <a:pt x="3342" y="669"/>
                </a:lnTo>
                <a:lnTo>
                  <a:pt x="3339" y="673"/>
                </a:lnTo>
                <a:lnTo>
                  <a:pt x="3338" y="675"/>
                </a:lnTo>
                <a:lnTo>
                  <a:pt x="3336" y="676"/>
                </a:lnTo>
                <a:lnTo>
                  <a:pt x="3334" y="677"/>
                </a:lnTo>
                <a:lnTo>
                  <a:pt x="3332" y="678"/>
                </a:lnTo>
                <a:lnTo>
                  <a:pt x="3328" y="678"/>
                </a:lnTo>
                <a:lnTo>
                  <a:pt x="3325" y="678"/>
                </a:lnTo>
                <a:lnTo>
                  <a:pt x="3321" y="677"/>
                </a:lnTo>
                <a:lnTo>
                  <a:pt x="3318" y="675"/>
                </a:lnTo>
                <a:lnTo>
                  <a:pt x="3316" y="673"/>
                </a:lnTo>
                <a:lnTo>
                  <a:pt x="3314" y="670"/>
                </a:lnTo>
                <a:lnTo>
                  <a:pt x="3313" y="668"/>
                </a:lnTo>
                <a:lnTo>
                  <a:pt x="3312" y="665"/>
                </a:lnTo>
                <a:lnTo>
                  <a:pt x="3312" y="662"/>
                </a:lnTo>
                <a:lnTo>
                  <a:pt x="3312" y="659"/>
                </a:lnTo>
                <a:lnTo>
                  <a:pt x="3313" y="656"/>
                </a:lnTo>
                <a:lnTo>
                  <a:pt x="3316" y="652"/>
                </a:lnTo>
                <a:lnTo>
                  <a:pt x="3318" y="650"/>
                </a:lnTo>
                <a:lnTo>
                  <a:pt x="3320" y="649"/>
                </a:lnTo>
                <a:close/>
                <a:moveTo>
                  <a:pt x="505" y="2272"/>
                </a:moveTo>
                <a:lnTo>
                  <a:pt x="507" y="2271"/>
                </a:lnTo>
                <a:lnTo>
                  <a:pt x="510" y="2270"/>
                </a:lnTo>
                <a:lnTo>
                  <a:pt x="512" y="2270"/>
                </a:lnTo>
                <a:lnTo>
                  <a:pt x="514" y="2270"/>
                </a:lnTo>
                <a:lnTo>
                  <a:pt x="517" y="2270"/>
                </a:lnTo>
                <a:lnTo>
                  <a:pt x="519" y="2271"/>
                </a:lnTo>
                <a:lnTo>
                  <a:pt x="521" y="2272"/>
                </a:lnTo>
                <a:lnTo>
                  <a:pt x="523" y="2273"/>
                </a:lnTo>
                <a:lnTo>
                  <a:pt x="526" y="2276"/>
                </a:lnTo>
                <a:lnTo>
                  <a:pt x="526" y="2277"/>
                </a:lnTo>
                <a:lnTo>
                  <a:pt x="527" y="2279"/>
                </a:lnTo>
                <a:lnTo>
                  <a:pt x="528" y="2281"/>
                </a:lnTo>
                <a:lnTo>
                  <a:pt x="529" y="2284"/>
                </a:lnTo>
                <a:lnTo>
                  <a:pt x="529" y="2287"/>
                </a:lnTo>
                <a:lnTo>
                  <a:pt x="528" y="2290"/>
                </a:lnTo>
                <a:lnTo>
                  <a:pt x="527" y="2293"/>
                </a:lnTo>
                <a:lnTo>
                  <a:pt x="525" y="2296"/>
                </a:lnTo>
                <a:lnTo>
                  <a:pt x="523" y="2298"/>
                </a:lnTo>
                <a:lnTo>
                  <a:pt x="521" y="2299"/>
                </a:lnTo>
                <a:lnTo>
                  <a:pt x="519" y="2300"/>
                </a:lnTo>
                <a:lnTo>
                  <a:pt x="516" y="2301"/>
                </a:lnTo>
                <a:lnTo>
                  <a:pt x="514" y="2301"/>
                </a:lnTo>
                <a:lnTo>
                  <a:pt x="511" y="2301"/>
                </a:lnTo>
                <a:lnTo>
                  <a:pt x="509" y="2301"/>
                </a:lnTo>
                <a:lnTo>
                  <a:pt x="507" y="2300"/>
                </a:lnTo>
                <a:lnTo>
                  <a:pt x="505" y="2299"/>
                </a:lnTo>
                <a:lnTo>
                  <a:pt x="502" y="2297"/>
                </a:lnTo>
                <a:lnTo>
                  <a:pt x="500" y="2295"/>
                </a:lnTo>
                <a:lnTo>
                  <a:pt x="499" y="2294"/>
                </a:lnTo>
                <a:lnTo>
                  <a:pt x="499" y="2292"/>
                </a:lnTo>
                <a:lnTo>
                  <a:pt x="498" y="2289"/>
                </a:lnTo>
                <a:lnTo>
                  <a:pt x="497" y="2286"/>
                </a:lnTo>
                <a:lnTo>
                  <a:pt x="497" y="2283"/>
                </a:lnTo>
                <a:lnTo>
                  <a:pt x="498" y="2280"/>
                </a:lnTo>
                <a:lnTo>
                  <a:pt x="499" y="2278"/>
                </a:lnTo>
                <a:lnTo>
                  <a:pt x="501" y="2275"/>
                </a:lnTo>
                <a:lnTo>
                  <a:pt x="503" y="2273"/>
                </a:lnTo>
                <a:lnTo>
                  <a:pt x="505" y="2272"/>
                </a:lnTo>
                <a:close/>
                <a:moveTo>
                  <a:pt x="605" y="2169"/>
                </a:moveTo>
                <a:lnTo>
                  <a:pt x="608" y="2167"/>
                </a:lnTo>
                <a:lnTo>
                  <a:pt x="610" y="2167"/>
                </a:lnTo>
                <a:lnTo>
                  <a:pt x="615" y="2167"/>
                </a:lnTo>
                <a:lnTo>
                  <a:pt x="618" y="2167"/>
                </a:lnTo>
                <a:lnTo>
                  <a:pt x="620" y="2168"/>
                </a:lnTo>
                <a:lnTo>
                  <a:pt x="623" y="2170"/>
                </a:lnTo>
                <a:lnTo>
                  <a:pt x="625" y="2171"/>
                </a:lnTo>
                <a:lnTo>
                  <a:pt x="627" y="2174"/>
                </a:lnTo>
                <a:lnTo>
                  <a:pt x="628" y="2177"/>
                </a:lnTo>
                <a:lnTo>
                  <a:pt x="629" y="2180"/>
                </a:lnTo>
                <a:lnTo>
                  <a:pt x="629" y="2183"/>
                </a:lnTo>
                <a:lnTo>
                  <a:pt x="628" y="2186"/>
                </a:lnTo>
                <a:lnTo>
                  <a:pt x="628" y="2189"/>
                </a:lnTo>
                <a:lnTo>
                  <a:pt x="626" y="2191"/>
                </a:lnTo>
                <a:lnTo>
                  <a:pt x="624" y="2194"/>
                </a:lnTo>
                <a:lnTo>
                  <a:pt x="621" y="2196"/>
                </a:lnTo>
                <a:lnTo>
                  <a:pt x="619" y="2197"/>
                </a:lnTo>
                <a:lnTo>
                  <a:pt x="616" y="2198"/>
                </a:lnTo>
                <a:lnTo>
                  <a:pt x="611" y="2198"/>
                </a:lnTo>
                <a:lnTo>
                  <a:pt x="608" y="2197"/>
                </a:lnTo>
                <a:lnTo>
                  <a:pt x="606" y="2196"/>
                </a:lnTo>
                <a:lnTo>
                  <a:pt x="604" y="2195"/>
                </a:lnTo>
                <a:lnTo>
                  <a:pt x="601" y="2193"/>
                </a:lnTo>
                <a:lnTo>
                  <a:pt x="600" y="2191"/>
                </a:lnTo>
                <a:lnTo>
                  <a:pt x="598" y="2188"/>
                </a:lnTo>
                <a:lnTo>
                  <a:pt x="597" y="2185"/>
                </a:lnTo>
                <a:lnTo>
                  <a:pt x="597" y="2182"/>
                </a:lnTo>
                <a:lnTo>
                  <a:pt x="598" y="2179"/>
                </a:lnTo>
                <a:lnTo>
                  <a:pt x="599" y="2176"/>
                </a:lnTo>
                <a:lnTo>
                  <a:pt x="600" y="2173"/>
                </a:lnTo>
                <a:lnTo>
                  <a:pt x="602" y="2171"/>
                </a:lnTo>
                <a:lnTo>
                  <a:pt x="605" y="2169"/>
                </a:lnTo>
                <a:close/>
                <a:moveTo>
                  <a:pt x="714" y="2075"/>
                </a:moveTo>
                <a:lnTo>
                  <a:pt x="717" y="2074"/>
                </a:lnTo>
                <a:lnTo>
                  <a:pt x="720" y="2073"/>
                </a:lnTo>
                <a:lnTo>
                  <a:pt x="725" y="2073"/>
                </a:lnTo>
                <a:lnTo>
                  <a:pt x="728" y="2074"/>
                </a:lnTo>
                <a:lnTo>
                  <a:pt x="730" y="2075"/>
                </a:lnTo>
                <a:lnTo>
                  <a:pt x="733" y="2077"/>
                </a:lnTo>
                <a:lnTo>
                  <a:pt x="734" y="2078"/>
                </a:lnTo>
                <a:lnTo>
                  <a:pt x="735" y="2079"/>
                </a:lnTo>
                <a:lnTo>
                  <a:pt x="737" y="2082"/>
                </a:lnTo>
                <a:lnTo>
                  <a:pt x="738" y="2085"/>
                </a:lnTo>
                <a:lnTo>
                  <a:pt x="738" y="2088"/>
                </a:lnTo>
                <a:lnTo>
                  <a:pt x="738" y="2091"/>
                </a:lnTo>
                <a:lnTo>
                  <a:pt x="737" y="2094"/>
                </a:lnTo>
                <a:lnTo>
                  <a:pt x="736" y="2097"/>
                </a:lnTo>
                <a:lnTo>
                  <a:pt x="734" y="2099"/>
                </a:lnTo>
                <a:lnTo>
                  <a:pt x="732" y="2101"/>
                </a:lnTo>
                <a:lnTo>
                  <a:pt x="730" y="2103"/>
                </a:lnTo>
                <a:lnTo>
                  <a:pt x="728" y="2104"/>
                </a:lnTo>
                <a:lnTo>
                  <a:pt x="725" y="2105"/>
                </a:lnTo>
                <a:lnTo>
                  <a:pt x="719" y="2104"/>
                </a:lnTo>
                <a:lnTo>
                  <a:pt x="717" y="2104"/>
                </a:lnTo>
                <a:lnTo>
                  <a:pt x="714" y="2102"/>
                </a:lnTo>
                <a:lnTo>
                  <a:pt x="712" y="2101"/>
                </a:lnTo>
                <a:lnTo>
                  <a:pt x="711" y="2100"/>
                </a:lnTo>
                <a:lnTo>
                  <a:pt x="710" y="2099"/>
                </a:lnTo>
                <a:lnTo>
                  <a:pt x="708" y="2096"/>
                </a:lnTo>
                <a:lnTo>
                  <a:pt x="707" y="2093"/>
                </a:lnTo>
                <a:lnTo>
                  <a:pt x="707" y="2090"/>
                </a:lnTo>
                <a:lnTo>
                  <a:pt x="707" y="2087"/>
                </a:lnTo>
                <a:lnTo>
                  <a:pt x="707" y="2084"/>
                </a:lnTo>
                <a:lnTo>
                  <a:pt x="708" y="2081"/>
                </a:lnTo>
                <a:lnTo>
                  <a:pt x="710" y="2079"/>
                </a:lnTo>
                <a:lnTo>
                  <a:pt x="713" y="2076"/>
                </a:lnTo>
                <a:lnTo>
                  <a:pt x="714" y="2075"/>
                </a:lnTo>
                <a:close/>
                <a:moveTo>
                  <a:pt x="1082" y="1849"/>
                </a:moveTo>
                <a:lnTo>
                  <a:pt x="1086" y="1848"/>
                </a:lnTo>
                <a:lnTo>
                  <a:pt x="1089" y="1847"/>
                </a:lnTo>
                <a:lnTo>
                  <a:pt x="1092" y="1847"/>
                </a:lnTo>
                <a:lnTo>
                  <a:pt x="1095" y="1848"/>
                </a:lnTo>
                <a:lnTo>
                  <a:pt x="1098" y="1849"/>
                </a:lnTo>
                <a:lnTo>
                  <a:pt x="1100" y="1851"/>
                </a:lnTo>
                <a:lnTo>
                  <a:pt x="1102" y="1853"/>
                </a:lnTo>
                <a:lnTo>
                  <a:pt x="1104" y="1855"/>
                </a:lnTo>
                <a:lnTo>
                  <a:pt x="1106" y="1858"/>
                </a:lnTo>
                <a:lnTo>
                  <a:pt x="1106" y="1861"/>
                </a:lnTo>
                <a:lnTo>
                  <a:pt x="1106" y="1864"/>
                </a:lnTo>
                <a:lnTo>
                  <a:pt x="1106" y="1867"/>
                </a:lnTo>
                <a:lnTo>
                  <a:pt x="1105" y="1870"/>
                </a:lnTo>
                <a:lnTo>
                  <a:pt x="1103" y="1873"/>
                </a:lnTo>
                <a:lnTo>
                  <a:pt x="1101" y="1875"/>
                </a:lnTo>
                <a:lnTo>
                  <a:pt x="1098" y="1877"/>
                </a:lnTo>
                <a:lnTo>
                  <a:pt x="1095" y="1878"/>
                </a:lnTo>
                <a:lnTo>
                  <a:pt x="1092" y="1879"/>
                </a:lnTo>
                <a:lnTo>
                  <a:pt x="1089" y="1879"/>
                </a:lnTo>
                <a:lnTo>
                  <a:pt x="1086" y="1878"/>
                </a:lnTo>
                <a:lnTo>
                  <a:pt x="1083" y="1877"/>
                </a:lnTo>
                <a:lnTo>
                  <a:pt x="1080" y="1875"/>
                </a:lnTo>
                <a:lnTo>
                  <a:pt x="1078" y="1873"/>
                </a:lnTo>
                <a:lnTo>
                  <a:pt x="1076" y="1870"/>
                </a:lnTo>
                <a:lnTo>
                  <a:pt x="1075" y="1868"/>
                </a:lnTo>
                <a:lnTo>
                  <a:pt x="1075" y="1865"/>
                </a:lnTo>
                <a:lnTo>
                  <a:pt x="1075" y="1862"/>
                </a:lnTo>
                <a:lnTo>
                  <a:pt x="1075" y="1859"/>
                </a:lnTo>
                <a:lnTo>
                  <a:pt x="1076" y="1856"/>
                </a:lnTo>
                <a:lnTo>
                  <a:pt x="1078" y="1853"/>
                </a:lnTo>
                <a:lnTo>
                  <a:pt x="1080" y="1851"/>
                </a:lnTo>
                <a:lnTo>
                  <a:pt x="1082" y="1849"/>
                </a:lnTo>
                <a:close/>
                <a:moveTo>
                  <a:pt x="1207" y="1776"/>
                </a:moveTo>
                <a:lnTo>
                  <a:pt x="1209" y="1774"/>
                </a:lnTo>
                <a:lnTo>
                  <a:pt x="1212" y="1774"/>
                </a:lnTo>
                <a:lnTo>
                  <a:pt x="1215" y="1773"/>
                </a:lnTo>
                <a:lnTo>
                  <a:pt x="1218" y="1774"/>
                </a:lnTo>
                <a:lnTo>
                  <a:pt x="1221" y="1775"/>
                </a:lnTo>
                <a:lnTo>
                  <a:pt x="1224" y="1776"/>
                </a:lnTo>
                <a:lnTo>
                  <a:pt x="1226" y="1778"/>
                </a:lnTo>
                <a:lnTo>
                  <a:pt x="1228" y="1781"/>
                </a:lnTo>
                <a:lnTo>
                  <a:pt x="1229" y="1784"/>
                </a:lnTo>
                <a:lnTo>
                  <a:pt x="1230" y="1788"/>
                </a:lnTo>
                <a:lnTo>
                  <a:pt x="1230" y="1791"/>
                </a:lnTo>
                <a:lnTo>
                  <a:pt x="1230" y="1794"/>
                </a:lnTo>
                <a:lnTo>
                  <a:pt x="1229" y="1797"/>
                </a:lnTo>
                <a:lnTo>
                  <a:pt x="1228" y="1799"/>
                </a:lnTo>
                <a:lnTo>
                  <a:pt x="1226" y="1802"/>
                </a:lnTo>
                <a:lnTo>
                  <a:pt x="1223" y="1804"/>
                </a:lnTo>
                <a:lnTo>
                  <a:pt x="1220" y="1805"/>
                </a:lnTo>
                <a:lnTo>
                  <a:pt x="1217" y="1806"/>
                </a:lnTo>
                <a:lnTo>
                  <a:pt x="1214" y="1806"/>
                </a:lnTo>
                <a:lnTo>
                  <a:pt x="1211" y="1806"/>
                </a:lnTo>
                <a:lnTo>
                  <a:pt x="1208" y="1805"/>
                </a:lnTo>
                <a:lnTo>
                  <a:pt x="1205" y="1803"/>
                </a:lnTo>
                <a:lnTo>
                  <a:pt x="1203" y="1801"/>
                </a:lnTo>
                <a:lnTo>
                  <a:pt x="1201" y="1799"/>
                </a:lnTo>
                <a:lnTo>
                  <a:pt x="1200" y="1796"/>
                </a:lnTo>
                <a:lnTo>
                  <a:pt x="1199" y="1793"/>
                </a:lnTo>
                <a:lnTo>
                  <a:pt x="1199" y="1790"/>
                </a:lnTo>
                <a:lnTo>
                  <a:pt x="1199" y="1787"/>
                </a:lnTo>
                <a:lnTo>
                  <a:pt x="1200" y="1783"/>
                </a:lnTo>
                <a:lnTo>
                  <a:pt x="1201" y="1780"/>
                </a:lnTo>
                <a:lnTo>
                  <a:pt x="1203" y="1778"/>
                </a:lnTo>
                <a:lnTo>
                  <a:pt x="1206" y="1776"/>
                </a:lnTo>
                <a:lnTo>
                  <a:pt x="1207" y="1776"/>
                </a:lnTo>
                <a:close/>
                <a:moveTo>
                  <a:pt x="832" y="1991"/>
                </a:moveTo>
                <a:lnTo>
                  <a:pt x="835" y="1990"/>
                </a:lnTo>
                <a:lnTo>
                  <a:pt x="838" y="1989"/>
                </a:lnTo>
                <a:lnTo>
                  <a:pt x="841" y="1989"/>
                </a:lnTo>
                <a:lnTo>
                  <a:pt x="844" y="1990"/>
                </a:lnTo>
                <a:lnTo>
                  <a:pt x="847" y="1991"/>
                </a:lnTo>
                <a:lnTo>
                  <a:pt x="849" y="1992"/>
                </a:lnTo>
                <a:lnTo>
                  <a:pt x="851" y="1994"/>
                </a:lnTo>
                <a:lnTo>
                  <a:pt x="853" y="1996"/>
                </a:lnTo>
                <a:lnTo>
                  <a:pt x="855" y="1999"/>
                </a:lnTo>
                <a:lnTo>
                  <a:pt x="856" y="2002"/>
                </a:lnTo>
                <a:lnTo>
                  <a:pt x="856" y="2008"/>
                </a:lnTo>
                <a:lnTo>
                  <a:pt x="855" y="2011"/>
                </a:lnTo>
                <a:lnTo>
                  <a:pt x="853" y="2014"/>
                </a:lnTo>
                <a:lnTo>
                  <a:pt x="851" y="2016"/>
                </a:lnTo>
                <a:lnTo>
                  <a:pt x="849" y="2018"/>
                </a:lnTo>
                <a:lnTo>
                  <a:pt x="846" y="2020"/>
                </a:lnTo>
                <a:lnTo>
                  <a:pt x="843" y="2021"/>
                </a:lnTo>
                <a:lnTo>
                  <a:pt x="837" y="2020"/>
                </a:lnTo>
                <a:lnTo>
                  <a:pt x="834" y="2020"/>
                </a:lnTo>
                <a:lnTo>
                  <a:pt x="831" y="2018"/>
                </a:lnTo>
                <a:lnTo>
                  <a:pt x="829" y="2016"/>
                </a:lnTo>
                <a:lnTo>
                  <a:pt x="827" y="2014"/>
                </a:lnTo>
                <a:lnTo>
                  <a:pt x="825" y="2011"/>
                </a:lnTo>
                <a:lnTo>
                  <a:pt x="825" y="2008"/>
                </a:lnTo>
                <a:lnTo>
                  <a:pt x="825" y="2002"/>
                </a:lnTo>
                <a:lnTo>
                  <a:pt x="826" y="1999"/>
                </a:lnTo>
                <a:lnTo>
                  <a:pt x="827" y="1996"/>
                </a:lnTo>
                <a:lnTo>
                  <a:pt x="829" y="1994"/>
                </a:lnTo>
                <a:lnTo>
                  <a:pt x="831" y="1992"/>
                </a:lnTo>
                <a:lnTo>
                  <a:pt x="832" y="1991"/>
                </a:lnTo>
                <a:close/>
                <a:moveTo>
                  <a:pt x="955" y="1917"/>
                </a:moveTo>
                <a:lnTo>
                  <a:pt x="958" y="1915"/>
                </a:lnTo>
                <a:lnTo>
                  <a:pt x="961" y="1915"/>
                </a:lnTo>
                <a:lnTo>
                  <a:pt x="964" y="1915"/>
                </a:lnTo>
                <a:lnTo>
                  <a:pt x="967" y="1915"/>
                </a:lnTo>
                <a:lnTo>
                  <a:pt x="970" y="1916"/>
                </a:lnTo>
                <a:lnTo>
                  <a:pt x="973" y="1918"/>
                </a:lnTo>
                <a:lnTo>
                  <a:pt x="975" y="1920"/>
                </a:lnTo>
                <a:lnTo>
                  <a:pt x="977" y="1923"/>
                </a:lnTo>
                <a:lnTo>
                  <a:pt x="978" y="1926"/>
                </a:lnTo>
                <a:lnTo>
                  <a:pt x="979" y="1929"/>
                </a:lnTo>
                <a:lnTo>
                  <a:pt x="979" y="1932"/>
                </a:lnTo>
                <a:lnTo>
                  <a:pt x="978" y="1935"/>
                </a:lnTo>
                <a:lnTo>
                  <a:pt x="977" y="1937"/>
                </a:lnTo>
                <a:lnTo>
                  <a:pt x="976" y="1940"/>
                </a:lnTo>
                <a:lnTo>
                  <a:pt x="974" y="1942"/>
                </a:lnTo>
                <a:lnTo>
                  <a:pt x="971" y="1944"/>
                </a:lnTo>
                <a:lnTo>
                  <a:pt x="968" y="1945"/>
                </a:lnTo>
                <a:lnTo>
                  <a:pt x="965" y="1946"/>
                </a:lnTo>
                <a:lnTo>
                  <a:pt x="962" y="1946"/>
                </a:lnTo>
                <a:lnTo>
                  <a:pt x="959" y="1946"/>
                </a:lnTo>
                <a:lnTo>
                  <a:pt x="956" y="1945"/>
                </a:lnTo>
                <a:lnTo>
                  <a:pt x="953" y="1943"/>
                </a:lnTo>
                <a:lnTo>
                  <a:pt x="951" y="1941"/>
                </a:lnTo>
                <a:lnTo>
                  <a:pt x="949" y="1938"/>
                </a:lnTo>
                <a:lnTo>
                  <a:pt x="948" y="1935"/>
                </a:lnTo>
                <a:lnTo>
                  <a:pt x="947" y="1932"/>
                </a:lnTo>
                <a:lnTo>
                  <a:pt x="947" y="1929"/>
                </a:lnTo>
                <a:lnTo>
                  <a:pt x="948" y="1926"/>
                </a:lnTo>
                <a:lnTo>
                  <a:pt x="949" y="1923"/>
                </a:lnTo>
                <a:lnTo>
                  <a:pt x="951" y="1921"/>
                </a:lnTo>
                <a:lnTo>
                  <a:pt x="953" y="1919"/>
                </a:lnTo>
                <a:lnTo>
                  <a:pt x="955" y="1917"/>
                </a:lnTo>
                <a:close/>
                <a:moveTo>
                  <a:pt x="1324" y="1694"/>
                </a:moveTo>
                <a:lnTo>
                  <a:pt x="1327" y="1692"/>
                </a:lnTo>
                <a:lnTo>
                  <a:pt x="1330" y="1692"/>
                </a:lnTo>
                <a:lnTo>
                  <a:pt x="1335" y="1692"/>
                </a:lnTo>
                <a:lnTo>
                  <a:pt x="1338" y="1693"/>
                </a:lnTo>
                <a:lnTo>
                  <a:pt x="1341" y="1694"/>
                </a:lnTo>
                <a:lnTo>
                  <a:pt x="1343" y="1695"/>
                </a:lnTo>
                <a:lnTo>
                  <a:pt x="1344" y="1696"/>
                </a:lnTo>
                <a:lnTo>
                  <a:pt x="1345" y="1698"/>
                </a:lnTo>
                <a:lnTo>
                  <a:pt x="1347" y="1700"/>
                </a:lnTo>
                <a:lnTo>
                  <a:pt x="1348" y="1703"/>
                </a:lnTo>
                <a:lnTo>
                  <a:pt x="1348" y="1706"/>
                </a:lnTo>
                <a:lnTo>
                  <a:pt x="1348" y="1709"/>
                </a:lnTo>
                <a:lnTo>
                  <a:pt x="1347" y="1712"/>
                </a:lnTo>
                <a:lnTo>
                  <a:pt x="1346" y="1715"/>
                </a:lnTo>
                <a:lnTo>
                  <a:pt x="1344" y="1718"/>
                </a:lnTo>
                <a:lnTo>
                  <a:pt x="1342" y="1720"/>
                </a:lnTo>
                <a:lnTo>
                  <a:pt x="1340" y="1721"/>
                </a:lnTo>
                <a:lnTo>
                  <a:pt x="1338" y="1722"/>
                </a:lnTo>
                <a:lnTo>
                  <a:pt x="1335" y="1723"/>
                </a:lnTo>
                <a:lnTo>
                  <a:pt x="1329" y="1723"/>
                </a:lnTo>
                <a:lnTo>
                  <a:pt x="1327" y="1722"/>
                </a:lnTo>
                <a:lnTo>
                  <a:pt x="1324" y="1721"/>
                </a:lnTo>
                <a:lnTo>
                  <a:pt x="1322" y="1719"/>
                </a:lnTo>
                <a:lnTo>
                  <a:pt x="1321" y="1718"/>
                </a:lnTo>
                <a:lnTo>
                  <a:pt x="1320" y="1717"/>
                </a:lnTo>
                <a:lnTo>
                  <a:pt x="1318" y="1714"/>
                </a:lnTo>
                <a:lnTo>
                  <a:pt x="1317" y="1711"/>
                </a:lnTo>
                <a:lnTo>
                  <a:pt x="1317" y="1708"/>
                </a:lnTo>
                <a:lnTo>
                  <a:pt x="1317" y="1705"/>
                </a:lnTo>
                <a:lnTo>
                  <a:pt x="1317" y="1702"/>
                </a:lnTo>
                <a:lnTo>
                  <a:pt x="1319" y="1699"/>
                </a:lnTo>
                <a:lnTo>
                  <a:pt x="1320" y="1697"/>
                </a:lnTo>
                <a:lnTo>
                  <a:pt x="1323" y="1695"/>
                </a:lnTo>
                <a:lnTo>
                  <a:pt x="1324" y="1694"/>
                </a:lnTo>
                <a:close/>
                <a:moveTo>
                  <a:pt x="3189" y="587"/>
                </a:moveTo>
                <a:lnTo>
                  <a:pt x="3193" y="585"/>
                </a:lnTo>
                <a:lnTo>
                  <a:pt x="3196" y="585"/>
                </a:lnTo>
                <a:lnTo>
                  <a:pt x="3200" y="585"/>
                </a:lnTo>
                <a:lnTo>
                  <a:pt x="3202" y="585"/>
                </a:lnTo>
                <a:lnTo>
                  <a:pt x="3204" y="586"/>
                </a:lnTo>
                <a:lnTo>
                  <a:pt x="3207" y="588"/>
                </a:lnTo>
                <a:lnTo>
                  <a:pt x="3209" y="590"/>
                </a:lnTo>
                <a:lnTo>
                  <a:pt x="3211" y="592"/>
                </a:lnTo>
                <a:lnTo>
                  <a:pt x="3212" y="596"/>
                </a:lnTo>
                <a:lnTo>
                  <a:pt x="3213" y="599"/>
                </a:lnTo>
                <a:lnTo>
                  <a:pt x="3213" y="602"/>
                </a:lnTo>
                <a:lnTo>
                  <a:pt x="3213" y="605"/>
                </a:lnTo>
                <a:lnTo>
                  <a:pt x="3212" y="608"/>
                </a:lnTo>
                <a:lnTo>
                  <a:pt x="3209" y="612"/>
                </a:lnTo>
                <a:lnTo>
                  <a:pt x="3207" y="614"/>
                </a:lnTo>
                <a:lnTo>
                  <a:pt x="3205" y="615"/>
                </a:lnTo>
                <a:lnTo>
                  <a:pt x="3202" y="617"/>
                </a:lnTo>
                <a:lnTo>
                  <a:pt x="3198" y="617"/>
                </a:lnTo>
                <a:lnTo>
                  <a:pt x="3195" y="617"/>
                </a:lnTo>
                <a:lnTo>
                  <a:pt x="3193" y="616"/>
                </a:lnTo>
                <a:lnTo>
                  <a:pt x="3191" y="616"/>
                </a:lnTo>
                <a:lnTo>
                  <a:pt x="3188" y="614"/>
                </a:lnTo>
                <a:lnTo>
                  <a:pt x="3186" y="612"/>
                </a:lnTo>
                <a:lnTo>
                  <a:pt x="3184" y="610"/>
                </a:lnTo>
                <a:lnTo>
                  <a:pt x="3183" y="607"/>
                </a:lnTo>
                <a:lnTo>
                  <a:pt x="3182" y="604"/>
                </a:lnTo>
                <a:lnTo>
                  <a:pt x="3181" y="601"/>
                </a:lnTo>
                <a:lnTo>
                  <a:pt x="3182" y="598"/>
                </a:lnTo>
                <a:lnTo>
                  <a:pt x="3183" y="595"/>
                </a:lnTo>
                <a:lnTo>
                  <a:pt x="3186" y="590"/>
                </a:lnTo>
                <a:lnTo>
                  <a:pt x="3187" y="588"/>
                </a:lnTo>
                <a:lnTo>
                  <a:pt x="3189" y="587"/>
                </a:lnTo>
                <a:close/>
                <a:moveTo>
                  <a:pt x="1433" y="1600"/>
                </a:moveTo>
                <a:lnTo>
                  <a:pt x="1436" y="1599"/>
                </a:lnTo>
                <a:lnTo>
                  <a:pt x="1438" y="1598"/>
                </a:lnTo>
                <a:lnTo>
                  <a:pt x="1441" y="1598"/>
                </a:lnTo>
                <a:lnTo>
                  <a:pt x="1443" y="1598"/>
                </a:lnTo>
                <a:lnTo>
                  <a:pt x="1446" y="1599"/>
                </a:lnTo>
                <a:lnTo>
                  <a:pt x="1448" y="1600"/>
                </a:lnTo>
                <a:lnTo>
                  <a:pt x="1451" y="1601"/>
                </a:lnTo>
                <a:lnTo>
                  <a:pt x="1453" y="1603"/>
                </a:lnTo>
                <a:lnTo>
                  <a:pt x="1455" y="1605"/>
                </a:lnTo>
                <a:lnTo>
                  <a:pt x="1456" y="1608"/>
                </a:lnTo>
                <a:lnTo>
                  <a:pt x="1457" y="1611"/>
                </a:lnTo>
                <a:lnTo>
                  <a:pt x="1457" y="1614"/>
                </a:lnTo>
                <a:lnTo>
                  <a:pt x="1457" y="1617"/>
                </a:lnTo>
                <a:lnTo>
                  <a:pt x="1456" y="1620"/>
                </a:lnTo>
                <a:lnTo>
                  <a:pt x="1454" y="1623"/>
                </a:lnTo>
                <a:lnTo>
                  <a:pt x="1452" y="1625"/>
                </a:lnTo>
                <a:lnTo>
                  <a:pt x="1449" y="1627"/>
                </a:lnTo>
                <a:lnTo>
                  <a:pt x="1447" y="1629"/>
                </a:lnTo>
                <a:lnTo>
                  <a:pt x="1444" y="1629"/>
                </a:lnTo>
                <a:lnTo>
                  <a:pt x="1442" y="1630"/>
                </a:lnTo>
                <a:lnTo>
                  <a:pt x="1439" y="1629"/>
                </a:lnTo>
                <a:lnTo>
                  <a:pt x="1437" y="1629"/>
                </a:lnTo>
                <a:lnTo>
                  <a:pt x="1434" y="1628"/>
                </a:lnTo>
                <a:lnTo>
                  <a:pt x="1432" y="1627"/>
                </a:lnTo>
                <a:lnTo>
                  <a:pt x="1430" y="1625"/>
                </a:lnTo>
                <a:lnTo>
                  <a:pt x="1428" y="1622"/>
                </a:lnTo>
                <a:lnTo>
                  <a:pt x="1426" y="1619"/>
                </a:lnTo>
                <a:lnTo>
                  <a:pt x="1426" y="1617"/>
                </a:lnTo>
                <a:lnTo>
                  <a:pt x="1425" y="1614"/>
                </a:lnTo>
                <a:lnTo>
                  <a:pt x="1426" y="1610"/>
                </a:lnTo>
                <a:lnTo>
                  <a:pt x="1427" y="1608"/>
                </a:lnTo>
                <a:lnTo>
                  <a:pt x="1428" y="1605"/>
                </a:lnTo>
                <a:lnTo>
                  <a:pt x="1430" y="1602"/>
                </a:lnTo>
                <a:lnTo>
                  <a:pt x="1433" y="1600"/>
                </a:lnTo>
                <a:close/>
                <a:moveTo>
                  <a:pt x="1529" y="1493"/>
                </a:moveTo>
                <a:lnTo>
                  <a:pt x="1533" y="1491"/>
                </a:lnTo>
                <a:lnTo>
                  <a:pt x="1538" y="1491"/>
                </a:lnTo>
                <a:lnTo>
                  <a:pt x="1540" y="1491"/>
                </a:lnTo>
                <a:lnTo>
                  <a:pt x="1542" y="1492"/>
                </a:lnTo>
                <a:lnTo>
                  <a:pt x="1544" y="1493"/>
                </a:lnTo>
                <a:lnTo>
                  <a:pt x="1547" y="1494"/>
                </a:lnTo>
                <a:lnTo>
                  <a:pt x="1549" y="1496"/>
                </a:lnTo>
                <a:lnTo>
                  <a:pt x="1551" y="1499"/>
                </a:lnTo>
                <a:lnTo>
                  <a:pt x="1552" y="1502"/>
                </a:lnTo>
                <a:lnTo>
                  <a:pt x="1553" y="1505"/>
                </a:lnTo>
                <a:lnTo>
                  <a:pt x="1553" y="1508"/>
                </a:lnTo>
                <a:lnTo>
                  <a:pt x="1552" y="1511"/>
                </a:lnTo>
                <a:lnTo>
                  <a:pt x="1551" y="1514"/>
                </a:lnTo>
                <a:lnTo>
                  <a:pt x="1549" y="1516"/>
                </a:lnTo>
                <a:lnTo>
                  <a:pt x="1547" y="1519"/>
                </a:lnTo>
                <a:lnTo>
                  <a:pt x="1545" y="1521"/>
                </a:lnTo>
                <a:lnTo>
                  <a:pt x="1541" y="1522"/>
                </a:lnTo>
                <a:lnTo>
                  <a:pt x="1536" y="1523"/>
                </a:lnTo>
                <a:lnTo>
                  <a:pt x="1534" y="1522"/>
                </a:lnTo>
                <a:lnTo>
                  <a:pt x="1531" y="1522"/>
                </a:lnTo>
                <a:lnTo>
                  <a:pt x="1529" y="1521"/>
                </a:lnTo>
                <a:lnTo>
                  <a:pt x="1527" y="1519"/>
                </a:lnTo>
                <a:lnTo>
                  <a:pt x="1525" y="1517"/>
                </a:lnTo>
                <a:lnTo>
                  <a:pt x="1523" y="1515"/>
                </a:lnTo>
                <a:lnTo>
                  <a:pt x="1522" y="1512"/>
                </a:lnTo>
                <a:lnTo>
                  <a:pt x="1521" y="1509"/>
                </a:lnTo>
                <a:lnTo>
                  <a:pt x="1521" y="1506"/>
                </a:lnTo>
                <a:lnTo>
                  <a:pt x="1522" y="1503"/>
                </a:lnTo>
                <a:lnTo>
                  <a:pt x="1523" y="1500"/>
                </a:lnTo>
                <a:lnTo>
                  <a:pt x="1524" y="1497"/>
                </a:lnTo>
                <a:lnTo>
                  <a:pt x="1526" y="1495"/>
                </a:lnTo>
                <a:lnTo>
                  <a:pt x="1529" y="1493"/>
                </a:lnTo>
                <a:close/>
                <a:moveTo>
                  <a:pt x="1606" y="1372"/>
                </a:moveTo>
                <a:lnTo>
                  <a:pt x="1609" y="1371"/>
                </a:lnTo>
                <a:lnTo>
                  <a:pt x="1613" y="1370"/>
                </a:lnTo>
                <a:lnTo>
                  <a:pt x="1617" y="1370"/>
                </a:lnTo>
                <a:lnTo>
                  <a:pt x="1621" y="1372"/>
                </a:lnTo>
                <a:lnTo>
                  <a:pt x="1624" y="1373"/>
                </a:lnTo>
                <a:lnTo>
                  <a:pt x="1626" y="1376"/>
                </a:lnTo>
                <a:lnTo>
                  <a:pt x="1628" y="1378"/>
                </a:lnTo>
                <a:lnTo>
                  <a:pt x="1629" y="1381"/>
                </a:lnTo>
                <a:lnTo>
                  <a:pt x="1630" y="1387"/>
                </a:lnTo>
                <a:lnTo>
                  <a:pt x="1629" y="1390"/>
                </a:lnTo>
                <a:lnTo>
                  <a:pt x="1628" y="1393"/>
                </a:lnTo>
                <a:lnTo>
                  <a:pt x="1627" y="1395"/>
                </a:lnTo>
                <a:lnTo>
                  <a:pt x="1625" y="1397"/>
                </a:lnTo>
                <a:lnTo>
                  <a:pt x="1622" y="1399"/>
                </a:lnTo>
                <a:lnTo>
                  <a:pt x="1618" y="1401"/>
                </a:lnTo>
                <a:lnTo>
                  <a:pt x="1614" y="1402"/>
                </a:lnTo>
                <a:lnTo>
                  <a:pt x="1610" y="1401"/>
                </a:lnTo>
                <a:lnTo>
                  <a:pt x="1607" y="1400"/>
                </a:lnTo>
                <a:lnTo>
                  <a:pt x="1604" y="1398"/>
                </a:lnTo>
                <a:lnTo>
                  <a:pt x="1602" y="1396"/>
                </a:lnTo>
                <a:lnTo>
                  <a:pt x="1600" y="1393"/>
                </a:lnTo>
                <a:lnTo>
                  <a:pt x="1599" y="1391"/>
                </a:lnTo>
                <a:lnTo>
                  <a:pt x="1598" y="1385"/>
                </a:lnTo>
                <a:lnTo>
                  <a:pt x="1599" y="1381"/>
                </a:lnTo>
                <a:lnTo>
                  <a:pt x="1600" y="1378"/>
                </a:lnTo>
                <a:lnTo>
                  <a:pt x="1601" y="1377"/>
                </a:lnTo>
                <a:lnTo>
                  <a:pt x="1602" y="1375"/>
                </a:lnTo>
                <a:lnTo>
                  <a:pt x="1606" y="1372"/>
                </a:lnTo>
                <a:close/>
                <a:moveTo>
                  <a:pt x="3057" y="530"/>
                </a:moveTo>
                <a:lnTo>
                  <a:pt x="3060" y="528"/>
                </a:lnTo>
                <a:lnTo>
                  <a:pt x="3064" y="528"/>
                </a:lnTo>
                <a:lnTo>
                  <a:pt x="3067" y="528"/>
                </a:lnTo>
                <a:lnTo>
                  <a:pt x="3071" y="529"/>
                </a:lnTo>
                <a:lnTo>
                  <a:pt x="3074" y="530"/>
                </a:lnTo>
                <a:lnTo>
                  <a:pt x="3076" y="532"/>
                </a:lnTo>
                <a:lnTo>
                  <a:pt x="3078" y="535"/>
                </a:lnTo>
                <a:lnTo>
                  <a:pt x="3080" y="537"/>
                </a:lnTo>
                <a:lnTo>
                  <a:pt x="3081" y="540"/>
                </a:lnTo>
                <a:lnTo>
                  <a:pt x="3081" y="543"/>
                </a:lnTo>
                <a:lnTo>
                  <a:pt x="3081" y="546"/>
                </a:lnTo>
                <a:lnTo>
                  <a:pt x="3080" y="549"/>
                </a:lnTo>
                <a:lnTo>
                  <a:pt x="3077" y="554"/>
                </a:lnTo>
                <a:lnTo>
                  <a:pt x="3075" y="556"/>
                </a:lnTo>
                <a:lnTo>
                  <a:pt x="3073" y="557"/>
                </a:lnTo>
                <a:lnTo>
                  <a:pt x="3070" y="559"/>
                </a:lnTo>
                <a:lnTo>
                  <a:pt x="3066" y="559"/>
                </a:lnTo>
                <a:lnTo>
                  <a:pt x="3063" y="559"/>
                </a:lnTo>
                <a:lnTo>
                  <a:pt x="3059" y="558"/>
                </a:lnTo>
                <a:lnTo>
                  <a:pt x="3056" y="557"/>
                </a:lnTo>
                <a:lnTo>
                  <a:pt x="3054" y="555"/>
                </a:lnTo>
                <a:lnTo>
                  <a:pt x="3052" y="552"/>
                </a:lnTo>
                <a:lnTo>
                  <a:pt x="3050" y="550"/>
                </a:lnTo>
                <a:lnTo>
                  <a:pt x="3050" y="547"/>
                </a:lnTo>
                <a:lnTo>
                  <a:pt x="3049" y="544"/>
                </a:lnTo>
                <a:lnTo>
                  <a:pt x="3050" y="541"/>
                </a:lnTo>
                <a:lnTo>
                  <a:pt x="3050" y="537"/>
                </a:lnTo>
                <a:lnTo>
                  <a:pt x="3053" y="533"/>
                </a:lnTo>
                <a:lnTo>
                  <a:pt x="3055" y="531"/>
                </a:lnTo>
                <a:lnTo>
                  <a:pt x="3057" y="530"/>
                </a:lnTo>
                <a:close/>
                <a:moveTo>
                  <a:pt x="1660" y="1239"/>
                </a:moveTo>
                <a:lnTo>
                  <a:pt x="1662" y="1238"/>
                </a:lnTo>
                <a:lnTo>
                  <a:pt x="1666" y="1237"/>
                </a:lnTo>
                <a:lnTo>
                  <a:pt x="1669" y="1237"/>
                </a:lnTo>
                <a:lnTo>
                  <a:pt x="1672" y="1237"/>
                </a:lnTo>
                <a:lnTo>
                  <a:pt x="1675" y="1239"/>
                </a:lnTo>
                <a:lnTo>
                  <a:pt x="1678" y="1240"/>
                </a:lnTo>
                <a:lnTo>
                  <a:pt x="1680" y="1243"/>
                </a:lnTo>
                <a:lnTo>
                  <a:pt x="1681" y="1245"/>
                </a:lnTo>
                <a:lnTo>
                  <a:pt x="1683" y="1248"/>
                </a:lnTo>
                <a:lnTo>
                  <a:pt x="1683" y="1251"/>
                </a:lnTo>
                <a:lnTo>
                  <a:pt x="1683" y="1254"/>
                </a:lnTo>
                <a:lnTo>
                  <a:pt x="1683" y="1257"/>
                </a:lnTo>
                <a:lnTo>
                  <a:pt x="1681" y="1260"/>
                </a:lnTo>
                <a:lnTo>
                  <a:pt x="1680" y="1263"/>
                </a:lnTo>
                <a:lnTo>
                  <a:pt x="1678" y="1265"/>
                </a:lnTo>
                <a:lnTo>
                  <a:pt x="1675" y="1266"/>
                </a:lnTo>
                <a:lnTo>
                  <a:pt x="1673" y="1268"/>
                </a:lnTo>
                <a:lnTo>
                  <a:pt x="1669" y="1268"/>
                </a:lnTo>
                <a:lnTo>
                  <a:pt x="1666" y="1268"/>
                </a:lnTo>
                <a:lnTo>
                  <a:pt x="1663" y="1268"/>
                </a:lnTo>
                <a:lnTo>
                  <a:pt x="1660" y="1267"/>
                </a:lnTo>
                <a:lnTo>
                  <a:pt x="1657" y="1265"/>
                </a:lnTo>
                <a:lnTo>
                  <a:pt x="1655" y="1263"/>
                </a:lnTo>
                <a:lnTo>
                  <a:pt x="1654" y="1260"/>
                </a:lnTo>
                <a:lnTo>
                  <a:pt x="1652" y="1257"/>
                </a:lnTo>
                <a:lnTo>
                  <a:pt x="1652" y="1254"/>
                </a:lnTo>
                <a:lnTo>
                  <a:pt x="1652" y="1251"/>
                </a:lnTo>
                <a:lnTo>
                  <a:pt x="1652" y="1248"/>
                </a:lnTo>
                <a:lnTo>
                  <a:pt x="1653" y="1245"/>
                </a:lnTo>
                <a:lnTo>
                  <a:pt x="1655" y="1243"/>
                </a:lnTo>
                <a:lnTo>
                  <a:pt x="1657" y="1241"/>
                </a:lnTo>
                <a:lnTo>
                  <a:pt x="1660" y="1239"/>
                </a:lnTo>
                <a:close/>
                <a:moveTo>
                  <a:pt x="2923" y="479"/>
                </a:moveTo>
                <a:lnTo>
                  <a:pt x="2926" y="477"/>
                </a:lnTo>
                <a:lnTo>
                  <a:pt x="2929" y="476"/>
                </a:lnTo>
                <a:lnTo>
                  <a:pt x="2932" y="476"/>
                </a:lnTo>
                <a:lnTo>
                  <a:pt x="2936" y="477"/>
                </a:lnTo>
                <a:lnTo>
                  <a:pt x="2939" y="479"/>
                </a:lnTo>
                <a:lnTo>
                  <a:pt x="2941" y="481"/>
                </a:lnTo>
                <a:lnTo>
                  <a:pt x="2943" y="483"/>
                </a:lnTo>
                <a:lnTo>
                  <a:pt x="2945" y="485"/>
                </a:lnTo>
                <a:lnTo>
                  <a:pt x="2946" y="488"/>
                </a:lnTo>
                <a:lnTo>
                  <a:pt x="2946" y="491"/>
                </a:lnTo>
                <a:lnTo>
                  <a:pt x="2946" y="494"/>
                </a:lnTo>
                <a:lnTo>
                  <a:pt x="2946" y="497"/>
                </a:lnTo>
                <a:lnTo>
                  <a:pt x="2944" y="500"/>
                </a:lnTo>
                <a:lnTo>
                  <a:pt x="2943" y="502"/>
                </a:lnTo>
                <a:lnTo>
                  <a:pt x="2941" y="504"/>
                </a:lnTo>
                <a:lnTo>
                  <a:pt x="2938" y="506"/>
                </a:lnTo>
                <a:lnTo>
                  <a:pt x="2935" y="507"/>
                </a:lnTo>
                <a:lnTo>
                  <a:pt x="2932" y="508"/>
                </a:lnTo>
                <a:lnTo>
                  <a:pt x="2929" y="508"/>
                </a:lnTo>
                <a:lnTo>
                  <a:pt x="2925" y="507"/>
                </a:lnTo>
                <a:lnTo>
                  <a:pt x="2922" y="506"/>
                </a:lnTo>
                <a:lnTo>
                  <a:pt x="2920" y="504"/>
                </a:lnTo>
                <a:lnTo>
                  <a:pt x="2918" y="502"/>
                </a:lnTo>
                <a:lnTo>
                  <a:pt x="2916" y="499"/>
                </a:lnTo>
                <a:lnTo>
                  <a:pt x="2915" y="496"/>
                </a:lnTo>
                <a:lnTo>
                  <a:pt x="2915" y="493"/>
                </a:lnTo>
                <a:lnTo>
                  <a:pt x="2915" y="490"/>
                </a:lnTo>
                <a:lnTo>
                  <a:pt x="2916" y="487"/>
                </a:lnTo>
                <a:lnTo>
                  <a:pt x="2917" y="484"/>
                </a:lnTo>
                <a:lnTo>
                  <a:pt x="2918" y="482"/>
                </a:lnTo>
                <a:lnTo>
                  <a:pt x="2920" y="480"/>
                </a:lnTo>
                <a:lnTo>
                  <a:pt x="2923" y="479"/>
                </a:lnTo>
                <a:close/>
                <a:moveTo>
                  <a:pt x="1690" y="1098"/>
                </a:moveTo>
                <a:lnTo>
                  <a:pt x="1692" y="1097"/>
                </a:lnTo>
                <a:lnTo>
                  <a:pt x="1695" y="1097"/>
                </a:lnTo>
                <a:lnTo>
                  <a:pt x="1697" y="1096"/>
                </a:lnTo>
                <a:lnTo>
                  <a:pt x="1700" y="1096"/>
                </a:lnTo>
                <a:lnTo>
                  <a:pt x="1703" y="1097"/>
                </a:lnTo>
                <a:lnTo>
                  <a:pt x="1706" y="1099"/>
                </a:lnTo>
                <a:lnTo>
                  <a:pt x="1708" y="1100"/>
                </a:lnTo>
                <a:lnTo>
                  <a:pt x="1710" y="1103"/>
                </a:lnTo>
                <a:lnTo>
                  <a:pt x="1712" y="1105"/>
                </a:lnTo>
                <a:lnTo>
                  <a:pt x="1713" y="1108"/>
                </a:lnTo>
                <a:lnTo>
                  <a:pt x="1714" y="1111"/>
                </a:lnTo>
                <a:lnTo>
                  <a:pt x="1713" y="1114"/>
                </a:lnTo>
                <a:lnTo>
                  <a:pt x="1712" y="1118"/>
                </a:lnTo>
                <a:lnTo>
                  <a:pt x="1711" y="1121"/>
                </a:lnTo>
                <a:lnTo>
                  <a:pt x="1708" y="1124"/>
                </a:lnTo>
                <a:lnTo>
                  <a:pt x="1706" y="1126"/>
                </a:lnTo>
                <a:lnTo>
                  <a:pt x="1703" y="1127"/>
                </a:lnTo>
                <a:lnTo>
                  <a:pt x="1701" y="1128"/>
                </a:lnTo>
                <a:lnTo>
                  <a:pt x="1698" y="1128"/>
                </a:lnTo>
                <a:lnTo>
                  <a:pt x="1695" y="1128"/>
                </a:lnTo>
                <a:lnTo>
                  <a:pt x="1692" y="1127"/>
                </a:lnTo>
                <a:lnTo>
                  <a:pt x="1690" y="1126"/>
                </a:lnTo>
                <a:lnTo>
                  <a:pt x="1687" y="1124"/>
                </a:lnTo>
                <a:lnTo>
                  <a:pt x="1685" y="1122"/>
                </a:lnTo>
                <a:lnTo>
                  <a:pt x="1683" y="1119"/>
                </a:lnTo>
                <a:lnTo>
                  <a:pt x="1682" y="1116"/>
                </a:lnTo>
                <a:lnTo>
                  <a:pt x="1682" y="1113"/>
                </a:lnTo>
                <a:lnTo>
                  <a:pt x="1682" y="1110"/>
                </a:lnTo>
                <a:lnTo>
                  <a:pt x="1683" y="1106"/>
                </a:lnTo>
                <a:lnTo>
                  <a:pt x="1685" y="1103"/>
                </a:lnTo>
                <a:lnTo>
                  <a:pt x="1687" y="1100"/>
                </a:lnTo>
                <a:lnTo>
                  <a:pt x="1690" y="1098"/>
                </a:lnTo>
                <a:close/>
                <a:moveTo>
                  <a:pt x="2786" y="435"/>
                </a:moveTo>
                <a:lnTo>
                  <a:pt x="2788" y="433"/>
                </a:lnTo>
                <a:lnTo>
                  <a:pt x="2791" y="433"/>
                </a:lnTo>
                <a:lnTo>
                  <a:pt x="2795" y="433"/>
                </a:lnTo>
                <a:lnTo>
                  <a:pt x="2798" y="433"/>
                </a:lnTo>
                <a:lnTo>
                  <a:pt x="2801" y="434"/>
                </a:lnTo>
                <a:lnTo>
                  <a:pt x="2803" y="436"/>
                </a:lnTo>
                <a:lnTo>
                  <a:pt x="2806" y="438"/>
                </a:lnTo>
                <a:lnTo>
                  <a:pt x="2807" y="441"/>
                </a:lnTo>
                <a:lnTo>
                  <a:pt x="2809" y="443"/>
                </a:lnTo>
                <a:lnTo>
                  <a:pt x="2809" y="446"/>
                </a:lnTo>
                <a:lnTo>
                  <a:pt x="2809" y="450"/>
                </a:lnTo>
                <a:lnTo>
                  <a:pt x="2809" y="453"/>
                </a:lnTo>
                <a:lnTo>
                  <a:pt x="2808" y="456"/>
                </a:lnTo>
                <a:lnTo>
                  <a:pt x="2806" y="458"/>
                </a:lnTo>
                <a:lnTo>
                  <a:pt x="2804" y="460"/>
                </a:lnTo>
                <a:lnTo>
                  <a:pt x="2801" y="462"/>
                </a:lnTo>
                <a:lnTo>
                  <a:pt x="2799" y="463"/>
                </a:lnTo>
                <a:lnTo>
                  <a:pt x="2796" y="464"/>
                </a:lnTo>
                <a:lnTo>
                  <a:pt x="2792" y="464"/>
                </a:lnTo>
                <a:lnTo>
                  <a:pt x="2789" y="464"/>
                </a:lnTo>
                <a:lnTo>
                  <a:pt x="2786" y="462"/>
                </a:lnTo>
                <a:lnTo>
                  <a:pt x="2784" y="461"/>
                </a:lnTo>
                <a:lnTo>
                  <a:pt x="2781" y="459"/>
                </a:lnTo>
                <a:lnTo>
                  <a:pt x="2780" y="456"/>
                </a:lnTo>
                <a:lnTo>
                  <a:pt x="2778" y="453"/>
                </a:lnTo>
                <a:lnTo>
                  <a:pt x="2778" y="450"/>
                </a:lnTo>
                <a:lnTo>
                  <a:pt x="2778" y="447"/>
                </a:lnTo>
                <a:lnTo>
                  <a:pt x="2778" y="444"/>
                </a:lnTo>
                <a:lnTo>
                  <a:pt x="2779" y="441"/>
                </a:lnTo>
                <a:lnTo>
                  <a:pt x="2781" y="439"/>
                </a:lnTo>
                <a:lnTo>
                  <a:pt x="2783" y="436"/>
                </a:lnTo>
                <a:lnTo>
                  <a:pt x="2786" y="435"/>
                </a:lnTo>
                <a:close/>
                <a:moveTo>
                  <a:pt x="1704" y="955"/>
                </a:moveTo>
                <a:lnTo>
                  <a:pt x="1708" y="953"/>
                </a:lnTo>
                <a:lnTo>
                  <a:pt x="1713" y="953"/>
                </a:lnTo>
                <a:lnTo>
                  <a:pt x="1716" y="954"/>
                </a:lnTo>
                <a:lnTo>
                  <a:pt x="1719" y="955"/>
                </a:lnTo>
                <a:lnTo>
                  <a:pt x="1721" y="956"/>
                </a:lnTo>
                <a:lnTo>
                  <a:pt x="1724" y="958"/>
                </a:lnTo>
                <a:lnTo>
                  <a:pt x="1725" y="961"/>
                </a:lnTo>
                <a:lnTo>
                  <a:pt x="1727" y="964"/>
                </a:lnTo>
                <a:lnTo>
                  <a:pt x="1727" y="967"/>
                </a:lnTo>
                <a:lnTo>
                  <a:pt x="1728" y="970"/>
                </a:lnTo>
                <a:lnTo>
                  <a:pt x="1727" y="974"/>
                </a:lnTo>
                <a:lnTo>
                  <a:pt x="1725" y="977"/>
                </a:lnTo>
                <a:lnTo>
                  <a:pt x="1723" y="980"/>
                </a:lnTo>
                <a:lnTo>
                  <a:pt x="1720" y="983"/>
                </a:lnTo>
                <a:lnTo>
                  <a:pt x="1715" y="984"/>
                </a:lnTo>
                <a:lnTo>
                  <a:pt x="1711" y="985"/>
                </a:lnTo>
                <a:lnTo>
                  <a:pt x="1707" y="984"/>
                </a:lnTo>
                <a:lnTo>
                  <a:pt x="1705" y="983"/>
                </a:lnTo>
                <a:lnTo>
                  <a:pt x="1702" y="981"/>
                </a:lnTo>
                <a:lnTo>
                  <a:pt x="1700" y="979"/>
                </a:lnTo>
                <a:lnTo>
                  <a:pt x="1698" y="977"/>
                </a:lnTo>
                <a:lnTo>
                  <a:pt x="1697" y="974"/>
                </a:lnTo>
                <a:lnTo>
                  <a:pt x="1696" y="971"/>
                </a:lnTo>
                <a:lnTo>
                  <a:pt x="1696" y="968"/>
                </a:lnTo>
                <a:lnTo>
                  <a:pt x="1697" y="964"/>
                </a:lnTo>
                <a:lnTo>
                  <a:pt x="1698" y="960"/>
                </a:lnTo>
                <a:lnTo>
                  <a:pt x="1701" y="957"/>
                </a:lnTo>
                <a:lnTo>
                  <a:pt x="1704" y="955"/>
                </a:lnTo>
                <a:close/>
                <a:moveTo>
                  <a:pt x="2646" y="401"/>
                </a:moveTo>
                <a:lnTo>
                  <a:pt x="2648" y="399"/>
                </a:lnTo>
                <a:lnTo>
                  <a:pt x="2651" y="399"/>
                </a:lnTo>
                <a:lnTo>
                  <a:pt x="2657" y="399"/>
                </a:lnTo>
                <a:lnTo>
                  <a:pt x="2660" y="400"/>
                </a:lnTo>
                <a:lnTo>
                  <a:pt x="2663" y="401"/>
                </a:lnTo>
                <a:lnTo>
                  <a:pt x="2665" y="403"/>
                </a:lnTo>
                <a:lnTo>
                  <a:pt x="2667" y="406"/>
                </a:lnTo>
                <a:lnTo>
                  <a:pt x="2668" y="408"/>
                </a:lnTo>
                <a:lnTo>
                  <a:pt x="2669" y="411"/>
                </a:lnTo>
                <a:lnTo>
                  <a:pt x="2670" y="414"/>
                </a:lnTo>
                <a:lnTo>
                  <a:pt x="2669" y="417"/>
                </a:lnTo>
                <a:lnTo>
                  <a:pt x="2668" y="421"/>
                </a:lnTo>
                <a:lnTo>
                  <a:pt x="2666" y="424"/>
                </a:lnTo>
                <a:lnTo>
                  <a:pt x="2664" y="426"/>
                </a:lnTo>
                <a:lnTo>
                  <a:pt x="2662" y="428"/>
                </a:lnTo>
                <a:lnTo>
                  <a:pt x="2659" y="429"/>
                </a:lnTo>
                <a:lnTo>
                  <a:pt x="2656" y="430"/>
                </a:lnTo>
                <a:lnTo>
                  <a:pt x="2651" y="430"/>
                </a:lnTo>
                <a:lnTo>
                  <a:pt x="2647" y="429"/>
                </a:lnTo>
                <a:lnTo>
                  <a:pt x="2645" y="427"/>
                </a:lnTo>
                <a:lnTo>
                  <a:pt x="2642" y="425"/>
                </a:lnTo>
                <a:lnTo>
                  <a:pt x="2640" y="423"/>
                </a:lnTo>
                <a:lnTo>
                  <a:pt x="2639" y="420"/>
                </a:lnTo>
                <a:lnTo>
                  <a:pt x="2638" y="418"/>
                </a:lnTo>
                <a:lnTo>
                  <a:pt x="2638" y="414"/>
                </a:lnTo>
                <a:lnTo>
                  <a:pt x="2638" y="411"/>
                </a:lnTo>
                <a:lnTo>
                  <a:pt x="2639" y="408"/>
                </a:lnTo>
                <a:lnTo>
                  <a:pt x="2641" y="405"/>
                </a:lnTo>
                <a:lnTo>
                  <a:pt x="2643" y="403"/>
                </a:lnTo>
                <a:lnTo>
                  <a:pt x="2646" y="401"/>
                </a:lnTo>
                <a:close/>
                <a:moveTo>
                  <a:pt x="2504" y="379"/>
                </a:moveTo>
                <a:lnTo>
                  <a:pt x="2506" y="378"/>
                </a:lnTo>
                <a:lnTo>
                  <a:pt x="2508" y="377"/>
                </a:lnTo>
                <a:lnTo>
                  <a:pt x="2510" y="377"/>
                </a:lnTo>
                <a:lnTo>
                  <a:pt x="2513" y="377"/>
                </a:lnTo>
                <a:lnTo>
                  <a:pt x="2516" y="378"/>
                </a:lnTo>
                <a:lnTo>
                  <a:pt x="2519" y="379"/>
                </a:lnTo>
                <a:lnTo>
                  <a:pt x="2522" y="381"/>
                </a:lnTo>
                <a:lnTo>
                  <a:pt x="2524" y="383"/>
                </a:lnTo>
                <a:lnTo>
                  <a:pt x="2525" y="385"/>
                </a:lnTo>
                <a:lnTo>
                  <a:pt x="2527" y="388"/>
                </a:lnTo>
                <a:lnTo>
                  <a:pt x="2527" y="391"/>
                </a:lnTo>
                <a:lnTo>
                  <a:pt x="2527" y="394"/>
                </a:lnTo>
                <a:lnTo>
                  <a:pt x="2526" y="398"/>
                </a:lnTo>
                <a:lnTo>
                  <a:pt x="2525" y="402"/>
                </a:lnTo>
                <a:lnTo>
                  <a:pt x="2522" y="404"/>
                </a:lnTo>
                <a:lnTo>
                  <a:pt x="2519" y="407"/>
                </a:lnTo>
                <a:lnTo>
                  <a:pt x="2517" y="408"/>
                </a:lnTo>
                <a:lnTo>
                  <a:pt x="2515" y="408"/>
                </a:lnTo>
                <a:lnTo>
                  <a:pt x="2512" y="409"/>
                </a:lnTo>
                <a:lnTo>
                  <a:pt x="2510" y="409"/>
                </a:lnTo>
                <a:lnTo>
                  <a:pt x="2507" y="408"/>
                </a:lnTo>
                <a:lnTo>
                  <a:pt x="2504" y="407"/>
                </a:lnTo>
                <a:lnTo>
                  <a:pt x="2501" y="405"/>
                </a:lnTo>
                <a:lnTo>
                  <a:pt x="2499" y="403"/>
                </a:lnTo>
                <a:lnTo>
                  <a:pt x="2497" y="400"/>
                </a:lnTo>
                <a:lnTo>
                  <a:pt x="2496" y="398"/>
                </a:lnTo>
                <a:lnTo>
                  <a:pt x="2496" y="394"/>
                </a:lnTo>
                <a:lnTo>
                  <a:pt x="2496" y="391"/>
                </a:lnTo>
                <a:lnTo>
                  <a:pt x="2497" y="387"/>
                </a:lnTo>
                <a:lnTo>
                  <a:pt x="2498" y="384"/>
                </a:lnTo>
                <a:lnTo>
                  <a:pt x="2501" y="381"/>
                </a:lnTo>
                <a:lnTo>
                  <a:pt x="2504" y="379"/>
                </a:lnTo>
                <a:close/>
                <a:moveTo>
                  <a:pt x="1715" y="812"/>
                </a:moveTo>
                <a:lnTo>
                  <a:pt x="1718" y="811"/>
                </a:lnTo>
                <a:lnTo>
                  <a:pt x="1720" y="810"/>
                </a:lnTo>
                <a:lnTo>
                  <a:pt x="1723" y="810"/>
                </a:lnTo>
                <a:lnTo>
                  <a:pt x="1725" y="810"/>
                </a:lnTo>
                <a:lnTo>
                  <a:pt x="1728" y="810"/>
                </a:lnTo>
                <a:lnTo>
                  <a:pt x="1731" y="812"/>
                </a:lnTo>
                <a:lnTo>
                  <a:pt x="1734" y="813"/>
                </a:lnTo>
                <a:lnTo>
                  <a:pt x="1736" y="816"/>
                </a:lnTo>
                <a:lnTo>
                  <a:pt x="1737" y="818"/>
                </a:lnTo>
                <a:lnTo>
                  <a:pt x="1739" y="821"/>
                </a:lnTo>
                <a:lnTo>
                  <a:pt x="1739" y="824"/>
                </a:lnTo>
                <a:lnTo>
                  <a:pt x="1739" y="827"/>
                </a:lnTo>
                <a:lnTo>
                  <a:pt x="1738" y="831"/>
                </a:lnTo>
                <a:lnTo>
                  <a:pt x="1737" y="834"/>
                </a:lnTo>
                <a:lnTo>
                  <a:pt x="1734" y="837"/>
                </a:lnTo>
                <a:lnTo>
                  <a:pt x="1731" y="839"/>
                </a:lnTo>
                <a:lnTo>
                  <a:pt x="1729" y="840"/>
                </a:lnTo>
                <a:lnTo>
                  <a:pt x="1727" y="841"/>
                </a:lnTo>
                <a:lnTo>
                  <a:pt x="1724" y="841"/>
                </a:lnTo>
                <a:lnTo>
                  <a:pt x="1721" y="841"/>
                </a:lnTo>
                <a:lnTo>
                  <a:pt x="1718" y="840"/>
                </a:lnTo>
                <a:lnTo>
                  <a:pt x="1716" y="839"/>
                </a:lnTo>
                <a:lnTo>
                  <a:pt x="1713" y="837"/>
                </a:lnTo>
                <a:lnTo>
                  <a:pt x="1711" y="835"/>
                </a:lnTo>
                <a:lnTo>
                  <a:pt x="1709" y="833"/>
                </a:lnTo>
                <a:lnTo>
                  <a:pt x="1708" y="830"/>
                </a:lnTo>
                <a:lnTo>
                  <a:pt x="1708" y="827"/>
                </a:lnTo>
                <a:lnTo>
                  <a:pt x="1708" y="823"/>
                </a:lnTo>
                <a:lnTo>
                  <a:pt x="1709" y="820"/>
                </a:lnTo>
                <a:lnTo>
                  <a:pt x="1710" y="817"/>
                </a:lnTo>
                <a:lnTo>
                  <a:pt x="1713" y="814"/>
                </a:lnTo>
                <a:lnTo>
                  <a:pt x="1715" y="812"/>
                </a:lnTo>
                <a:close/>
                <a:moveTo>
                  <a:pt x="2359" y="373"/>
                </a:moveTo>
                <a:lnTo>
                  <a:pt x="2361" y="372"/>
                </a:lnTo>
                <a:lnTo>
                  <a:pt x="2362" y="372"/>
                </a:lnTo>
                <a:lnTo>
                  <a:pt x="2366" y="371"/>
                </a:lnTo>
                <a:lnTo>
                  <a:pt x="2370" y="371"/>
                </a:lnTo>
                <a:lnTo>
                  <a:pt x="2373" y="372"/>
                </a:lnTo>
                <a:lnTo>
                  <a:pt x="2375" y="374"/>
                </a:lnTo>
                <a:lnTo>
                  <a:pt x="2378" y="375"/>
                </a:lnTo>
                <a:lnTo>
                  <a:pt x="2380" y="378"/>
                </a:lnTo>
                <a:lnTo>
                  <a:pt x="2381" y="380"/>
                </a:lnTo>
                <a:lnTo>
                  <a:pt x="2382" y="383"/>
                </a:lnTo>
                <a:lnTo>
                  <a:pt x="2383" y="387"/>
                </a:lnTo>
                <a:lnTo>
                  <a:pt x="2382" y="391"/>
                </a:lnTo>
                <a:lnTo>
                  <a:pt x="2381" y="393"/>
                </a:lnTo>
                <a:lnTo>
                  <a:pt x="2381" y="395"/>
                </a:lnTo>
                <a:lnTo>
                  <a:pt x="2378" y="398"/>
                </a:lnTo>
                <a:lnTo>
                  <a:pt x="2375" y="401"/>
                </a:lnTo>
                <a:lnTo>
                  <a:pt x="2373" y="402"/>
                </a:lnTo>
                <a:lnTo>
                  <a:pt x="2371" y="402"/>
                </a:lnTo>
                <a:lnTo>
                  <a:pt x="2367" y="403"/>
                </a:lnTo>
                <a:lnTo>
                  <a:pt x="2364" y="403"/>
                </a:lnTo>
                <a:lnTo>
                  <a:pt x="2361" y="402"/>
                </a:lnTo>
                <a:lnTo>
                  <a:pt x="2358" y="400"/>
                </a:lnTo>
                <a:lnTo>
                  <a:pt x="2356" y="398"/>
                </a:lnTo>
                <a:lnTo>
                  <a:pt x="2354" y="396"/>
                </a:lnTo>
                <a:lnTo>
                  <a:pt x="2352" y="393"/>
                </a:lnTo>
                <a:lnTo>
                  <a:pt x="2351" y="390"/>
                </a:lnTo>
                <a:lnTo>
                  <a:pt x="2351" y="387"/>
                </a:lnTo>
                <a:lnTo>
                  <a:pt x="2351" y="383"/>
                </a:lnTo>
                <a:lnTo>
                  <a:pt x="2352" y="381"/>
                </a:lnTo>
                <a:lnTo>
                  <a:pt x="2353" y="379"/>
                </a:lnTo>
                <a:lnTo>
                  <a:pt x="2356" y="376"/>
                </a:lnTo>
                <a:lnTo>
                  <a:pt x="2359" y="373"/>
                </a:lnTo>
                <a:close/>
                <a:moveTo>
                  <a:pt x="1747" y="672"/>
                </a:moveTo>
                <a:lnTo>
                  <a:pt x="1750" y="670"/>
                </a:lnTo>
                <a:lnTo>
                  <a:pt x="1754" y="670"/>
                </a:lnTo>
                <a:lnTo>
                  <a:pt x="1757" y="670"/>
                </a:lnTo>
                <a:lnTo>
                  <a:pt x="1761" y="671"/>
                </a:lnTo>
                <a:lnTo>
                  <a:pt x="1764" y="672"/>
                </a:lnTo>
                <a:lnTo>
                  <a:pt x="1766" y="674"/>
                </a:lnTo>
                <a:lnTo>
                  <a:pt x="1768" y="676"/>
                </a:lnTo>
                <a:lnTo>
                  <a:pt x="1769" y="679"/>
                </a:lnTo>
                <a:lnTo>
                  <a:pt x="1770" y="682"/>
                </a:lnTo>
                <a:lnTo>
                  <a:pt x="1771" y="685"/>
                </a:lnTo>
                <a:lnTo>
                  <a:pt x="1771" y="688"/>
                </a:lnTo>
                <a:lnTo>
                  <a:pt x="1770" y="691"/>
                </a:lnTo>
                <a:lnTo>
                  <a:pt x="1767" y="696"/>
                </a:lnTo>
                <a:lnTo>
                  <a:pt x="1765" y="698"/>
                </a:lnTo>
                <a:lnTo>
                  <a:pt x="1763" y="699"/>
                </a:lnTo>
                <a:lnTo>
                  <a:pt x="1760" y="701"/>
                </a:lnTo>
                <a:lnTo>
                  <a:pt x="1756" y="701"/>
                </a:lnTo>
                <a:lnTo>
                  <a:pt x="1753" y="701"/>
                </a:lnTo>
                <a:lnTo>
                  <a:pt x="1749" y="700"/>
                </a:lnTo>
                <a:lnTo>
                  <a:pt x="1746" y="699"/>
                </a:lnTo>
                <a:lnTo>
                  <a:pt x="1744" y="697"/>
                </a:lnTo>
                <a:lnTo>
                  <a:pt x="1742" y="695"/>
                </a:lnTo>
                <a:lnTo>
                  <a:pt x="1741" y="692"/>
                </a:lnTo>
                <a:lnTo>
                  <a:pt x="1740" y="689"/>
                </a:lnTo>
                <a:lnTo>
                  <a:pt x="1739" y="686"/>
                </a:lnTo>
                <a:lnTo>
                  <a:pt x="1739" y="683"/>
                </a:lnTo>
                <a:lnTo>
                  <a:pt x="1740" y="680"/>
                </a:lnTo>
                <a:lnTo>
                  <a:pt x="1743" y="675"/>
                </a:lnTo>
                <a:lnTo>
                  <a:pt x="1745" y="673"/>
                </a:lnTo>
                <a:lnTo>
                  <a:pt x="1747" y="672"/>
                </a:lnTo>
                <a:close/>
                <a:moveTo>
                  <a:pt x="2216" y="386"/>
                </a:moveTo>
                <a:lnTo>
                  <a:pt x="2218" y="385"/>
                </a:lnTo>
                <a:lnTo>
                  <a:pt x="2221" y="384"/>
                </a:lnTo>
                <a:lnTo>
                  <a:pt x="2224" y="384"/>
                </a:lnTo>
                <a:lnTo>
                  <a:pt x="2227" y="384"/>
                </a:lnTo>
                <a:lnTo>
                  <a:pt x="2230" y="385"/>
                </a:lnTo>
                <a:lnTo>
                  <a:pt x="2233" y="387"/>
                </a:lnTo>
                <a:lnTo>
                  <a:pt x="2235" y="389"/>
                </a:lnTo>
                <a:lnTo>
                  <a:pt x="2237" y="391"/>
                </a:lnTo>
                <a:lnTo>
                  <a:pt x="2238" y="394"/>
                </a:lnTo>
                <a:lnTo>
                  <a:pt x="2239" y="397"/>
                </a:lnTo>
                <a:lnTo>
                  <a:pt x="2239" y="402"/>
                </a:lnTo>
                <a:lnTo>
                  <a:pt x="2238" y="406"/>
                </a:lnTo>
                <a:lnTo>
                  <a:pt x="2237" y="408"/>
                </a:lnTo>
                <a:lnTo>
                  <a:pt x="2235" y="410"/>
                </a:lnTo>
                <a:lnTo>
                  <a:pt x="2233" y="412"/>
                </a:lnTo>
                <a:lnTo>
                  <a:pt x="2232" y="413"/>
                </a:lnTo>
                <a:lnTo>
                  <a:pt x="2229" y="414"/>
                </a:lnTo>
                <a:lnTo>
                  <a:pt x="2226" y="415"/>
                </a:lnTo>
                <a:lnTo>
                  <a:pt x="2223" y="415"/>
                </a:lnTo>
                <a:lnTo>
                  <a:pt x="2220" y="415"/>
                </a:lnTo>
                <a:lnTo>
                  <a:pt x="2217" y="414"/>
                </a:lnTo>
                <a:lnTo>
                  <a:pt x="2214" y="412"/>
                </a:lnTo>
                <a:lnTo>
                  <a:pt x="2212" y="410"/>
                </a:lnTo>
                <a:lnTo>
                  <a:pt x="2210" y="408"/>
                </a:lnTo>
                <a:lnTo>
                  <a:pt x="2209" y="405"/>
                </a:lnTo>
                <a:lnTo>
                  <a:pt x="2208" y="402"/>
                </a:lnTo>
                <a:lnTo>
                  <a:pt x="2208" y="397"/>
                </a:lnTo>
                <a:lnTo>
                  <a:pt x="2209" y="393"/>
                </a:lnTo>
                <a:lnTo>
                  <a:pt x="2211" y="391"/>
                </a:lnTo>
                <a:lnTo>
                  <a:pt x="2212" y="389"/>
                </a:lnTo>
                <a:lnTo>
                  <a:pt x="2214" y="387"/>
                </a:lnTo>
                <a:lnTo>
                  <a:pt x="2216" y="386"/>
                </a:lnTo>
                <a:close/>
                <a:moveTo>
                  <a:pt x="2076" y="418"/>
                </a:moveTo>
                <a:lnTo>
                  <a:pt x="2079" y="417"/>
                </a:lnTo>
                <a:lnTo>
                  <a:pt x="2082" y="416"/>
                </a:lnTo>
                <a:lnTo>
                  <a:pt x="2085" y="416"/>
                </a:lnTo>
                <a:lnTo>
                  <a:pt x="2088" y="417"/>
                </a:lnTo>
                <a:lnTo>
                  <a:pt x="2091" y="418"/>
                </a:lnTo>
                <a:lnTo>
                  <a:pt x="2094" y="420"/>
                </a:lnTo>
                <a:lnTo>
                  <a:pt x="2096" y="422"/>
                </a:lnTo>
                <a:lnTo>
                  <a:pt x="2098" y="424"/>
                </a:lnTo>
                <a:lnTo>
                  <a:pt x="2099" y="427"/>
                </a:lnTo>
                <a:lnTo>
                  <a:pt x="2100" y="433"/>
                </a:lnTo>
                <a:lnTo>
                  <a:pt x="2099" y="435"/>
                </a:lnTo>
                <a:lnTo>
                  <a:pt x="2098" y="438"/>
                </a:lnTo>
                <a:lnTo>
                  <a:pt x="2097" y="440"/>
                </a:lnTo>
                <a:lnTo>
                  <a:pt x="2096" y="442"/>
                </a:lnTo>
                <a:lnTo>
                  <a:pt x="2092" y="446"/>
                </a:lnTo>
                <a:lnTo>
                  <a:pt x="2088" y="447"/>
                </a:lnTo>
                <a:lnTo>
                  <a:pt x="2085" y="448"/>
                </a:lnTo>
                <a:lnTo>
                  <a:pt x="2082" y="448"/>
                </a:lnTo>
                <a:lnTo>
                  <a:pt x="2079" y="447"/>
                </a:lnTo>
                <a:lnTo>
                  <a:pt x="2076" y="446"/>
                </a:lnTo>
                <a:lnTo>
                  <a:pt x="2074" y="444"/>
                </a:lnTo>
                <a:lnTo>
                  <a:pt x="2072" y="442"/>
                </a:lnTo>
                <a:lnTo>
                  <a:pt x="2070" y="440"/>
                </a:lnTo>
                <a:lnTo>
                  <a:pt x="2069" y="437"/>
                </a:lnTo>
                <a:lnTo>
                  <a:pt x="2068" y="431"/>
                </a:lnTo>
                <a:lnTo>
                  <a:pt x="2068" y="429"/>
                </a:lnTo>
                <a:lnTo>
                  <a:pt x="2069" y="426"/>
                </a:lnTo>
                <a:lnTo>
                  <a:pt x="2070" y="424"/>
                </a:lnTo>
                <a:lnTo>
                  <a:pt x="2072" y="422"/>
                </a:lnTo>
                <a:lnTo>
                  <a:pt x="2076" y="418"/>
                </a:lnTo>
                <a:close/>
                <a:moveTo>
                  <a:pt x="1824" y="551"/>
                </a:moveTo>
                <a:lnTo>
                  <a:pt x="1827" y="550"/>
                </a:lnTo>
                <a:lnTo>
                  <a:pt x="1829" y="550"/>
                </a:lnTo>
                <a:lnTo>
                  <a:pt x="1832" y="549"/>
                </a:lnTo>
                <a:lnTo>
                  <a:pt x="1834" y="549"/>
                </a:lnTo>
                <a:lnTo>
                  <a:pt x="1839" y="551"/>
                </a:lnTo>
                <a:lnTo>
                  <a:pt x="1841" y="552"/>
                </a:lnTo>
                <a:lnTo>
                  <a:pt x="1843" y="554"/>
                </a:lnTo>
                <a:lnTo>
                  <a:pt x="1845" y="557"/>
                </a:lnTo>
                <a:lnTo>
                  <a:pt x="1847" y="559"/>
                </a:lnTo>
                <a:lnTo>
                  <a:pt x="1848" y="562"/>
                </a:lnTo>
                <a:lnTo>
                  <a:pt x="1848" y="565"/>
                </a:lnTo>
                <a:lnTo>
                  <a:pt x="1848" y="568"/>
                </a:lnTo>
                <a:lnTo>
                  <a:pt x="1847" y="571"/>
                </a:lnTo>
                <a:lnTo>
                  <a:pt x="1845" y="574"/>
                </a:lnTo>
                <a:lnTo>
                  <a:pt x="1843" y="576"/>
                </a:lnTo>
                <a:lnTo>
                  <a:pt x="1840" y="579"/>
                </a:lnTo>
                <a:lnTo>
                  <a:pt x="1838" y="580"/>
                </a:lnTo>
                <a:lnTo>
                  <a:pt x="1835" y="581"/>
                </a:lnTo>
                <a:lnTo>
                  <a:pt x="1833" y="581"/>
                </a:lnTo>
                <a:lnTo>
                  <a:pt x="1830" y="581"/>
                </a:lnTo>
                <a:lnTo>
                  <a:pt x="1825" y="579"/>
                </a:lnTo>
                <a:lnTo>
                  <a:pt x="1823" y="578"/>
                </a:lnTo>
                <a:lnTo>
                  <a:pt x="1821" y="576"/>
                </a:lnTo>
                <a:lnTo>
                  <a:pt x="1819" y="574"/>
                </a:lnTo>
                <a:lnTo>
                  <a:pt x="1817" y="571"/>
                </a:lnTo>
                <a:lnTo>
                  <a:pt x="1817" y="568"/>
                </a:lnTo>
                <a:lnTo>
                  <a:pt x="1816" y="565"/>
                </a:lnTo>
                <a:lnTo>
                  <a:pt x="1817" y="562"/>
                </a:lnTo>
                <a:lnTo>
                  <a:pt x="1817" y="559"/>
                </a:lnTo>
                <a:lnTo>
                  <a:pt x="1819" y="556"/>
                </a:lnTo>
                <a:lnTo>
                  <a:pt x="1821" y="554"/>
                </a:lnTo>
                <a:lnTo>
                  <a:pt x="1824" y="551"/>
                </a:lnTo>
                <a:close/>
                <a:moveTo>
                  <a:pt x="1942" y="471"/>
                </a:moveTo>
                <a:lnTo>
                  <a:pt x="1945" y="469"/>
                </a:lnTo>
                <a:lnTo>
                  <a:pt x="1949" y="469"/>
                </a:lnTo>
                <a:lnTo>
                  <a:pt x="1952" y="469"/>
                </a:lnTo>
                <a:lnTo>
                  <a:pt x="1955" y="469"/>
                </a:lnTo>
                <a:lnTo>
                  <a:pt x="1958" y="471"/>
                </a:lnTo>
                <a:lnTo>
                  <a:pt x="1960" y="472"/>
                </a:lnTo>
                <a:lnTo>
                  <a:pt x="1962" y="475"/>
                </a:lnTo>
                <a:lnTo>
                  <a:pt x="1964" y="477"/>
                </a:lnTo>
                <a:lnTo>
                  <a:pt x="1965" y="480"/>
                </a:lnTo>
                <a:lnTo>
                  <a:pt x="1966" y="483"/>
                </a:lnTo>
                <a:lnTo>
                  <a:pt x="1966" y="486"/>
                </a:lnTo>
                <a:lnTo>
                  <a:pt x="1965" y="489"/>
                </a:lnTo>
                <a:lnTo>
                  <a:pt x="1964" y="492"/>
                </a:lnTo>
                <a:lnTo>
                  <a:pt x="1962" y="494"/>
                </a:lnTo>
                <a:lnTo>
                  <a:pt x="1960" y="496"/>
                </a:lnTo>
                <a:lnTo>
                  <a:pt x="1958" y="498"/>
                </a:lnTo>
                <a:lnTo>
                  <a:pt x="1954" y="499"/>
                </a:lnTo>
                <a:lnTo>
                  <a:pt x="1951" y="500"/>
                </a:lnTo>
                <a:lnTo>
                  <a:pt x="1948" y="500"/>
                </a:lnTo>
                <a:lnTo>
                  <a:pt x="1945" y="499"/>
                </a:lnTo>
                <a:lnTo>
                  <a:pt x="1942" y="498"/>
                </a:lnTo>
                <a:lnTo>
                  <a:pt x="1939" y="496"/>
                </a:lnTo>
                <a:lnTo>
                  <a:pt x="1937" y="494"/>
                </a:lnTo>
                <a:lnTo>
                  <a:pt x="1936" y="491"/>
                </a:lnTo>
                <a:lnTo>
                  <a:pt x="1934" y="488"/>
                </a:lnTo>
                <a:lnTo>
                  <a:pt x="1934" y="485"/>
                </a:lnTo>
                <a:lnTo>
                  <a:pt x="1934" y="483"/>
                </a:lnTo>
                <a:lnTo>
                  <a:pt x="1935" y="480"/>
                </a:lnTo>
                <a:lnTo>
                  <a:pt x="1936" y="477"/>
                </a:lnTo>
                <a:lnTo>
                  <a:pt x="1937" y="475"/>
                </a:lnTo>
                <a:lnTo>
                  <a:pt x="1939" y="472"/>
                </a:lnTo>
                <a:lnTo>
                  <a:pt x="1942" y="471"/>
                </a:lnTo>
                <a:close/>
                <a:moveTo>
                  <a:pt x="4755" y="1575"/>
                </a:moveTo>
                <a:lnTo>
                  <a:pt x="4758" y="1574"/>
                </a:lnTo>
                <a:lnTo>
                  <a:pt x="4761" y="1573"/>
                </a:lnTo>
                <a:lnTo>
                  <a:pt x="4764" y="1573"/>
                </a:lnTo>
                <a:lnTo>
                  <a:pt x="4767" y="1574"/>
                </a:lnTo>
                <a:lnTo>
                  <a:pt x="4770" y="1575"/>
                </a:lnTo>
                <a:lnTo>
                  <a:pt x="4773" y="1576"/>
                </a:lnTo>
                <a:lnTo>
                  <a:pt x="4775" y="1579"/>
                </a:lnTo>
                <a:lnTo>
                  <a:pt x="4777" y="1581"/>
                </a:lnTo>
                <a:lnTo>
                  <a:pt x="4778" y="1584"/>
                </a:lnTo>
                <a:lnTo>
                  <a:pt x="4779" y="1587"/>
                </a:lnTo>
                <a:lnTo>
                  <a:pt x="4779" y="1590"/>
                </a:lnTo>
                <a:lnTo>
                  <a:pt x="4778" y="1593"/>
                </a:lnTo>
                <a:lnTo>
                  <a:pt x="4777" y="1596"/>
                </a:lnTo>
                <a:lnTo>
                  <a:pt x="4775" y="1598"/>
                </a:lnTo>
                <a:lnTo>
                  <a:pt x="4773" y="1601"/>
                </a:lnTo>
                <a:lnTo>
                  <a:pt x="4771" y="1602"/>
                </a:lnTo>
                <a:lnTo>
                  <a:pt x="4768" y="1604"/>
                </a:lnTo>
                <a:lnTo>
                  <a:pt x="4765" y="1604"/>
                </a:lnTo>
                <a:lnTo>
                  <a:pt x="4762" y="1604"/>
                </a:lnTo>
                <a:lnTo>
                  <a:pt x="4759" y="1604"/>
                </a:lnTo>
                <a:lnTo>
                  <a:pt x="4756" y="1603"/>
                </a:lnTo>
                <a:lnTo>
                  <a:pt x="4753" y="1601"/>
                </a:lnTo>
                <a:lnTo>
                  <a:pt x="4751" y="1599"/>
                </a:lnTo>
                <a:lnTo>
                  <a:pt x="4749" y="1596"/>
                </a:lnTo>
                <a:lnTo>
                  <a:pt x="4748" y="1594"/>
                </a:lnTo>
                <a:lnTo>
                  <a:pt x="4747" y="1591"/>
                </a:lnTo>
                <a:lnTo>
                  <a:pt x="4747" y="1588"/>
                </a:lnTo>
                <a:lnTo>
                  <a:pt x="4748" y="1584"/>
                </a:lnTo>
                <a:lnTo>
                  <a:pt x="4749" y="1581"/>
                </a:lnTo>
                <a:lnTo>
                  <a:pt x="4751" y="1579"/>
                </a:lnTo>
                <a:lnTo>
                  <a:pt x="4753" y="1577"/>
                </a:lnTo>
                <a:lnTo>
                  <a:pt x="4755" y="1575"/>
                </a:lnTo>
                <a:close/>
                <a:moveTo>
                  <a:pt x="4617" y="1533"/>
                </a:moveTo>
                <a:lnTo>
                  <a:pt x="4620" y="1531"/>
                </a:lnTo>
                <a:lnTo>
                  <a:pt x="4624" y="1531"/>
                </a:lnTo>
                <a:lnTo>
                  <a:pt x="4627" y="1531"/>
                </a:lnTo>
                <a:lnTo>
                  <a:pt x="4630" y="1531"/>
                </a:lnTo>
                <a:lnTo>
                  <a:pt x="4633" y="1533"/>
                </a:lnTo>
                <a:lnTo>
                  <a:pt x="4636" y="1535"/>
                </a:lnTo>
                <a:lnTo>
                  <a:pt x="4638" y="1537"/>
                </a:lnTo>
                <a:lnTo>
                  <a:pt x="4639" y="1539"/>
                </a:lnTo>
                <a:lnTo>
                  <a:pt x="4640" y="1542"/>
                </a:lnTo>
                <a:lnTo>
                  <a:pt x="4641" y="1545"/>
                </a:lnTo>
                <a:lnTo>
                  <a:pt x="4641" y="1548"/>
                </a:lnTo>
                <a:lnTo>
                  <a:pt x="4640" y="1551"/>
                </a:lnTo>
                <a:lnTo>
                  <a:pt x="4639" y="1554"/>
                </a:lnTo>
                <a:lnTo>
                  <a:pt x="4637" y="1556"/>
                </a:lnTo>
                <a:lnTo>
                  <a:pt x="4635" y="1558"/>
                </a:lnTo>
                <a:lnTo>
                  <a:pt x="4633" y="1560"/>
                </a:lnTo>
                <a:lnTo>
                  <a:pt x="4630" y="1561"/>
                </a:lnTo>
                <a:lnTo>
                  <a:pt x="4627" y="1562"/>
                </a:lnTo>
                <a:lnTo>
                  <a:pt x="4624" y="1562"/>
                </a:lnTo>
                <a:lnTo>
                  <a:pt x="4620" y="1561"/>
                </a:lnTo>
                <a:lnTo>
                  <a:pt x="4617" y="1560"/>
                </a:lnTo>
                <a:lnTo>
                  <a:pt x="4615" y="1558"/>
                </a:lnTo>
                <a:lnTo>
                  <a:pt x="4613" y="1556"/>
                </a:lnTo>
                <a:lnTo>
                  <a:pt x="4611" y="1553"/>
                </a:lnTo>
                <a:lnTo>
                  <a:pt x="4610" y="1551"/>
                </a:lnTo>
                <a:lnTo>
                  <a:pt x="4610" y="1548"/>
                </a:lnTo>
                <a:lnTo>
                  <a:pt x="4610" y="1545"/>
                </a:lnTo>
                <a:lnTo>
                  <a:pt x="4610" y="1541"/>
                </a:lnTo>
                <a:lnTo>
                  <a:pt x="4612" y="1539"/>
                </a:lnTo>
                <a:lnTo>
                  <a:pt x="4613" y="1536"/>
                </a:lnTo>
                <a:lnTo>
                  <a:pt x="4615" y="1534"/>
                </a:lnTo>
                <a:lnTo>
                  <a:pt x="4617" y="1533"/>
                </a:lnTo>
                <a:close/>
                <a:moveTo>
                  <a:pt x="4482" y="1484"/>
                </a:moveTo>
                <a:lnTo>
                  <a:pt x="4485" y="1483"/>
                </a:lnTo>
                <a:lnTo>
                  <a:pt x="4488" y="1482"/>
                </a:lnTo>
                <a:lnTo>
                  <a:pt x="4492" y="1482"/>
                </a:lnTo>
                <a:lnTo>
                  <a:pt x="4495" y="1483"/>
                </a:lnTo>
                <a:lnTo>
                  <a:pt x="4498" y="1485"/>
                </a:lnTo>
                <a:lnTo>
                  <a:pt x="4500" y="1486"/>
                </a:lnTo>
                <a:lnTo>
                  <a:pt x="4502" y="1489"/>
                </a:lnTo>
                <a:lnTo>
                  <a:pt x="4504" y="1491"/>
                </a:lnTo>
                <a:lnTo>
                  <a:pt x="4505" y="1494"/>
                </a:lnTo>
                <a:lnTo>
                  <a:pt x="4505" y="1497"/>
                </a:lnTo>
                <a:lnTo>
                  <a:pt x="4505" y="1500"/>
                </a:lnTo>
                <a:lnTo>
                  <a:pt x="4504" y="1503"/>
                </a:lnTo>
                <a:lnTo>
                  <a:pt x="4503" y="1506"/>
                </a:lnTo>
                <a:lnTo>
                  <a:pt x="4501" y="1508"/>
                </a:lnTo>
                <a:lnTo>
                  <a:pt x="4500" y="1510"/>
                </a:lnTo>
                <a:lnTo>
                  <a:pt x="4497" y="1511"/>
                </a:lnTo>
                <a:lnTo>
                  <a:pt x="4494" y="1513"/>
                </a:lnTo>
                <a:lnTo>
                  <a:pt x="4491" y="1513"/>
                </a:lnTo>
                <a:lnTo>
                  <a:pt x="4487" y="1513"/>
                </a:lnTo>
                <a:lnTo>
                  <a:pt x="4484" y="1512"/>
                </a:lnTo>
                <a:lnTo>
                  <a:pt x="4481" y="1511"/>
                </a:lnTo>
                <a:lnTo>
                  <a:pt x="4479" y="1509"/>
                </a:lnTo>
                <a:lnTo>
                  <a:pt x="4477" y="1507"/>
                </a:lnTo>
                <a:lnTo>
                  <a:pt x="4475" y="1504"/>
                </a:lnTo>
                <a:lnTo>
                  <a:pt x="4474" y="1501"/>
                </a:lnTo>
                <a:lnTo>
                  <a:pt x="4474" y="1498"/>
                </a:lnTo>
                <a:lnTo>
                  <a:pt x="4474" y="1495"/>
                </a:lnTo>
                <a:lnTo>
                  <a:pt x="4475" y="1492"/>
                </a:lnTo>
                <a:lnTo>
                  <a:pt x="4476" y="1490"/>
                </a:lnTo>
                <a:lnTo>
                  <a:pt x="4478" y="1487"/>
                </a:lnTo>
                <a:lnTo>
                  <a:pt x="4480" y="1486"/>
                </a:lnTo>
                <a:lnTo>
                  <a:pt x="4482" y="1484"/>
                </a:lnTo>
                <a:close/>
                <a:moveTo>
                  <a:pt x="4349" y="1428"/>
                </a:moveTo>
                <a:lnTo>
                  <a:pt x="4352" y="1426"/>
                </a:lnTo>
                <a:lnTo>
                  <a:pt x="4356" y="1426"/>
                </a:lnTo>
                <a:lnTo>
                  <a:pt x="4360" y="1426"/>
                </a:lnTo>
                <a:lnTo>
                  <a:pt x="4364" y="1427"/>
                </a:lnTo>
                <a:lnTo>
                  <a:pt x="4366" y="1429"/>
                </a:lnTo>
                <a:lnTo>
                  <a:pt x="4369" y="1431"/>
                </a:lnTo>
                <a:lnTo>
                  <a:pt x="4370" y="1433"/>
                </a:lnTo>
                <a:lnTo>
                  <a:pt x="4372" y="1436"/>
                </a:lnTo>
                <a:lnTo>
                  <a:pt x="4372" y="1439"/>
                </a:lnTo>
                <a:lnTo>
                  <a:pt x="4373" y="1442"/>
                </a:lnTo>
                <a:lnTo>
                  <a:pt x="4372" y="1445"/>
                </a:lnTo>
                <a:lnTo>
                  <a:pt x="4371" y="1448"/>
                </a:lnTo>
                <a:lnTo>
                  <a:pt x="4370" y="1450"/>
                </a:lnTo>
                <a:lnTo>
                  <a:pt x="4368" y="1452"/>
                </a:lnTo>
                <a:lnTo>
                  <a:pt x="4367" y="1454"/>
                </a:lnTo>
                <a:lnTo>
                  <a:pt x="4365" y="1455"/>
                </a:lnTo>
                <a:lnTo>
                  <a:pt x="4361" y="1456"/>
                </a:lnTo>
                <a:lnTo>
                  <a:pt x="4358" y="1457"/>
                </a:lnTo>
                <a:lnTo>
                  <a:pt x="4354" y="1457"/>
                </a:lnTo>
                <a:lnTo>
                  <a:pt x="4350" y="1456"/>
                </a:lnTo>
                <a:lnTo>
                  <a:pt x="4348" y="1454"/>
                </a:lnTo>
                <a:lnTo>
                  <a:pt x="4345" y="1452"/>
                </a:lnTo>
                <a:lnTo>
                  <a:pt x="4343" y="1449"/>
                </a:lnTo>
                <a:lnTo>
                  <a:pt x="4342" y="1447"/>
                </a:lnTo>
                <a:lnTo>
                  <a:pt x="4341" y="1444"/>
                </a:lnTo>
                <a:lnTo>
                  <a:pt x="4341" y="1441"/>
                </a:lnTo>
                <a:lnTo>
                  <a:pt x="4342" y="1438"/>
                </a:lnTo>
                <a:lnTo>
                  <a:pt x="4343" y="1435"/>
                </a:lnTo>
                <a:lnTo>
                  <a:pt x="4344" y="1433"/>
                </a:lnTo>
                <a:lnTo>
                  <a:pt x="4345" y="1431"/>
                </a:lnTo>
                <a:lnTo>
                  <a:pt x="4347" y="1429"/>
                </a:lnTo>
                <a:lnTo>
                  <a:pt x="4349" y="1428"/>
                </a:lnTo>
                <a:close/>
                <a:moveTo>
                  <a:pt x="4221" y="1361"/>
                </a:moveTo>
                <a:lnTo>
                  <a:pt x="4225" y="1359"/>
                </a:lnTo>
                <a:lnTo>
                  <a:pt x="4229" y="1359"/>
                </a:lnTo>
                <a:lnTo>
                  <a:pt x="4233" y="1359"/>
                </a:lnTo>
                <a:lnTo>
                  <a:pt x="4237" y="1361"/>
                </a:lnTo>
                <a:lnTo>
                  <a:pt x="4240" y="1363"/>
                </a:lnTo>
                <a:lnTo>
                  <a:pt x="4242" y="1365"/>
                </a:lnTo>
                <a:lnTo>
                  <a:pt x="4243" y="1368"/>
                </a:lnTo>
                <a:lnTo>
                  <a:pt x="4244" y="1370"/>
                </a:lnTo>
                <a:lnTo>
                  <a:pt x="4245" y="1373"/>
                </a:lnTo>
                <a:lnTo>
                  <a:pt x="4245" y="1376"/>
                </a:lnTo>
                <a:lnTo>
                  <a:pt x="4244" y="1379"/>
                </a:lnTo>
                <a:lnTo>
                  <a:pt x="4243" y="1382"/>
                </a:lnTo>
                <a:lnTo>
                  <a:pt x="4240" y="1386"/>
                </a:lnTo>
                <a:lnTo>
                  <a:pt x="4237" y="1388"/>
                </a:lnTo>
                <a:lnTo>
                  <a:pt x="4233" y="1390"/>
                </a:lnTo>
                <a:lnTo>
                  <a:pt x="4229" y="1390"/>
                </a:lnTo>
                <a:lnTo>
                  <a:pt x="4225" y="1390"/>
                </a:lnTo>
                <a:lnTo>
                  <a:pt x="4221" y="1388"/>
                </a:lnTo>
                <a:lnTo>
                  <a:pt x="4219" y="1386"/>
                </a:lnTo>
                <a:lnTo>
                  <a:pt x="4217" y="1384"/>
                </a:lnTo>
                <a:lnTo>
                  <a:pt x="4215" y="1382"/>
                </a:lnTo>
                <a:lnTo>
                  <a:pt x="4214" y="1379"/>
                </a:lnTo>
                <a:lnTo>
                  <a:pt x="4214" y="1376"/>
                </a:lnTo>
                <a:lnTo>
                  <a:pt x="4214" y="1373"/>
                </a:lnTo>
                <a:lnTo>
                  <a:pt x="4214" y="1370"/>
                </a:lnTo>
                <a:lnTo>
                  <a:pt x="4216" y="1367"/>
                </a:lnTo>
                <a:lnTo>
                  <a:pt x="4218" y="1363"/>
                </a:lnTo>
                <a:lnTo>
                  <a:pt x="4221" y="1361"/>
                </a:lnTo>
                <a:close/>
                <a:moveTo>
                  <a:pt x="4096" y="1290"/>
                </a:moveTo>
                <a:lnTo>
                  <a:pt x="4100" y="1288"/>
                </a:lnTo>
                <a:lnTo>
                  <a:pt x="4104" y="1288"/>
                </a:lnTo>
                <a:lnTo>
                  <a:pt x="4108" y="1288"/>
                </a:lnTo>
                <a:lnTo>
                  <a:pt x="4112" y="1290"/>
                </a:lnTo>
                <a:lnTo>
                  <a:pt x="4114" y="1292"/>
                </a:lnTo>
                <a:lnTo>
                  <a:pt x="4116" y="1294"/>
                </a:lnTo>
                <a:lnTo>
                  <a:pt x="4118" y="1297"/>
                </a:lnTo>
                <a:lnTo>
                  <a:pt x="4119" y="1299"/>
                </a:lnTo>
                <a:lnTo>
                  <a:pt x="4120" y="1302"/>
                </a:lnTo>
                <a:lnTo>
                  <a:pt x="4120" y="1305"/>
                </a:lnTo>
                <a:lnTo>
                  <a:pt x="4119" y="1308"/>
                </a:lnTo>
                <a:lnTo>
                  <a:pt x="4118" y="1311"/>
                </a:lnTo>
                <a:lnTo>
                  <a:pt x="4115" y="1315"/>
                </a:lnTo>
                <a:lnTo>
                  <a:pt x="4112" y="1317"/>
                </a:lnTo>
                <a:lnTo>
                  <a:pt x="4108" y="1319"/>
                </a:lnTo>
                <a:lnTo>
                  <a:pt x="4104" y="1319"/>
                </a:lnTo>
                <a:lnTo>
                  <a:pt x="4100" y="1319"/>
                </a:lnTo>
                <a:lnTo>
                  <a:pt x="4096" y="1317"/>
                </a:lnTo>
                <a:lnTo>
                  <a:pt x="4094" y="1315"/>
                </a:lnTo>
                <a:lnTo>
                  <a:pt x="4092" y="1313"/>
                </a:lnTo>
                <a:lnTo>
                  <a:pt x="4090" y="1311"/>
                </a:lnTo>
                <a:lnTo>
                  <a:pt x="4089" y="1308"/>
                </a:lnTo>
                <a:lnTo>
                  <a:pt x="4088" y="1305"/>
                </a:lnTo>
                <a:lnTo>
                  <a:pt x="4088" y="1302"/>
                </a:lnTo>
                <a:lnTo>
                  <a:pt x="4089" y="1299"/>
                </a:lnTo>
                <a:lnTo>
                  <a:pt x="4090" y="1296"/>
                </a:lnTo>
                <a:lnTo>
                  <a:pt x="4093" y="1293"/>
                </a:lnTo>
                <a:lnTo>
                  <a:pt x="4096" y="1290"/>
                </a:lnTo>
                <a:close/>
                <a:moveTo>
                  <a:pt x="3969" y="1220"/>
                </a:moveTo>
                <a:lnTo>
                  <a:pt x="3973" y="1218"/>
                </a:lnTo>
                <a:lnTo>
                  <a:pt x="3977" y="1218"/>
                </a:lnTo>
                <a:lnTo>
                  <a:pt x="3979" y="1218"/>
                </a:lnTo>
                <a:lnTo>
                  <a:pt x="3981" y="1218"/>
                </a:lnTo>
                <a:lnTo>
                  <a:pt x="3985" y="1220"/>
                </a:lnTo>
                <a:lnTo>
                  <a:pt x="3987" y="1222"/>
                </a:lnTo>
                <a:lnTo>
                  <a:pt x="3989" y="1224"/>
                </a:lnTo>
                <a:lnTo>
                  <a:pt x="3991" y="1226"/>
                </a:lnTo>
                <a:lnTo>
                  <a:pt x="3992" y="1229"/>
                </a:lnTo>
                <a:lnTo>
                  <a:pt x="3993" y="1232"/>
                </a:lnTo>
                <a:lnTo>
                  <a:pt x="3993" y="1235"/>
                </a:lnTo>
                <a:lnTo>
                  <a:pt x="3992" y="1238"/>
                </a:lnTo>
                <a:lnTo>
                  <a:pt x="3991" y="1241"/>
                </a:lnTo>
                <a:lnTo>
                  <a:pt x="3988" y="1245"/>
                </a:lnTo>
                <a:lnTo>
                  <a:pt x="3985" y="1247"/>
                </a:lnTo>
                <a:lnTo>
                  <a:pt x="3981" y="1249"/>
                </a:lnTo>
                <a:lnTo>
                  <a:pt x="3977" y="1249"/>
                </a:lnTo>
                <a:lnTo>
                  <a:pt x="3975" y="1249"/>
                </a:lnTo>
                <a:lnTo>
                  <a:pt x="3973" y="1249"/>
                </a:lnTo>
                <a:lnTo>
                  <a:pt x="3970" y="1247"/>
                </a:lnTo>
                <a:lnTo>
                  <a:pt x="3967" y="1245"/>
                </a:lnTo>
                <a:lnTo>
                  <a:pt x="3965" y="1243"/>
                </a:lnTo>
                <a:lnTo>
                  <a:pt x="3963" y="1241"/>
                </a:lnTo>
                <a:lnTo>
                  <a:pt x="3962" y="1238"/>
                </a:lnTo>
                <a:lnTo>
                  <a:pt x="3962" y="1235"/>
                </a:lnTo>
                <a:lnTo>
                  <a:pt x="3962" y="1232"/>
                </a:lnTo>
                <a:lnTo>
                  <a:pt x="3962" y="1229"/>
                </a:lnTo>
                <a:lnTo>
                  <a:pt x="3963" y="1226"/>
                </a:lnTo>
                <a:lnTo>
                  <a:pt x="3966" y="1223"/>
                </a:lnTo>
                <a:lnTo>
                  <a:pt x="3969" y="1220"/>
                </a:lnTo>
                <a:close/>
                <a:moveTo>
                  <a:pt x="3843" y="1151"/>
                </a:moveTo>
                <a:lnTo>
                  <a:pt x="3846" y="1150"/>
                </a:lnTo>
                <a:lnTo>
                  <a:pt x="3850" y="1149"/>
                </a:lnTo>
                <a:lnTo>
                  <a:pt x="3852" y="1149"/>
                </a:lnTo>
                <a:lnTo>
                  <a:pt x="3854" y="1150"/>
                </a:lnTo>
                <a:lnTo>
                  <a:pt x="3858" y="1151"/>
                </a:lnTo>
                <a:lnTo>
                  <a:pt x="3861" y="1153"/>
                </a:lnTo>
                <a:lnTo>
                  <a:pt x="3863" y="1155"/>
                </a:lnTo>
                <a:lnTo>
                  <a:pt x="3864" y="1157"/>
                </a:lnTo>
                <a:lnTo>
                  <a:pt x="3866" y="1160"/>
                </a:lnTo>
                <a:lnTo>
                  <a:pt x="3866" y="1163"/>
                </a:lnTo>
                <a:lnTo>
                  <a:pt x="3866" y="1166"/>
                </a:lnTo>
                <a:lnTo>
                  <a:pt x="3866" y="1169"/>
                </a:lnTo>
                <a:lnTo>
                  <a:pt x="3864" y="1172"/>
                </a:lnTo>
                <a:lnTo>
                  <a:pt x="3862" y="1176"/>
                </a:lnTo>
                <a:lnTo>
                  <a:pt x="3858" y="1178"/>
                </a:lnTo>
                <a:lnTo>
                  <a:pt x="3855" y="1180"/>
                </a:lnTo>
                <a:lnTo>
                  <a:pt x="3851" y="1180"/>
                </a:lnTo>
                <a:lnTo>
                  <a:pt x="3849" y="1180"/>
                </a:lnTo>
                <a:lnTo>
                  <a:pt x="3847" y="1180"/>
                </a:lnTo>
                <a:lnTo>
                  <a:pt x="3843" y="1179"/>
                </a:lnTo>
                <a:lnTo>
                  <a:pt x="3841" y="1177"/>
                </a:lnTo>
                <a:lnTo>
                  <a:pt x="3838" y="1175"/>
                </a:lnTo>
                <a:lnTo>
                  <a:pt x="3837" y="1172"/>
                </a:lnTo>
                <a:lnTo>
                  <a:pt x="3836" y="1169"/>
                </a:lnTo>
                <a:lnTo>
                  <a:pt x="3835" y="1166"/>
                </a:lnTo>
                <a:lnTo>
                  <a:pt x="3835" y="1163"/>
                </a:lnTo>
                <a:lnTo>
                  <a:pt x="3836" y="1160"/>
                </a:lnTo>
                <a:lnTo>
                  <a:pt x="3837" y="1157"/>
                </a:lnTo>
                <a:lnTo>
                  <a:pt x="3839" y="1154"/>
                </a:lnTo>
                <a:lnTo>
                  <a:pt x="3843" y="1151"/>
                </a:lnTo>
                <a:close/>
                <a:moveTo>
                  <a:pt x="3715" y="1084"/>
                </a:moveTo>
                <a:lnTo>
                  <a:pt x="3717" y="1083"/>
                </a:lnTo>
                <a:lnTo>
                  <a:pt x="3719" y="1083"/>
                </a:lnTo>
                <a:lnTo>
                  <a:pt x="3723" y="1082"/>
                </a:lnTo>
                <a:lnTo>
                  <a:pt x="3726" y="1083"/>
                </a:lnTo>
                <a:lnTo>
                  <a:pt x="3730" y="1084"/>
                </a:lnTo>
                <a:lnTo>
                  <a:pt x="3733" y="1086"/>
                </a:lnTo>
                <a:lnTo>
                  <a:pt x="3735" y="1088"/>
                </a:lnTo>
                <a:lnTo>
                  <a:pt x="3737" y="1090"/>
                </a:lnTo>
                <a:lnTo>
                  <a:pt x="3738" y="1093"/>
                </a:lnTo>
                <a:lnTo>
                  <a:pt x="3739" y="1099"/>
                </a:lnTo>
                <a:lnTo>
                  <a:pt x="3738" y="1102"/>
                </a:lnTo>
                <a:lnTo>
                  <a:pt x="3737" y="1105"/>
                </a:lnTo>
                <a:lnTo>
                  <a:pt x="3736" y="1107"/>
                </a:lnTo>
                <a:lnTo>
                  <a:pt x="3734" y="1109"/>
                </a:lnTo>
                <a:lnTo>
                  <a:pt x="3731" y="1111"/>
                </a:lnTo>
                <a:lnTo>
                  <a:pt x="3729" y="1112"/>
                </a:lnTo>
                <a:lnTo>
                  <a:pt x="3727" y="1113"/>
                </a:lnTo>
                <a:lnTo>
                  <a:pt x="3724" y="1114"/>
                </a:lnTo>
                <a:lnTo>
                  <a:pt x="3720" y="1113"/>
                </a:lnTo>
                <a:lnTo>
                  <a:pt x="3716" y="1112"/>
                </a:lnTo>
                <a:lnTo>
                  <a:pt x="3713" y="1110"/>
                </a:lnTo>
                <a:lnTo>
                  <a:pt x="3711" y="1108"/>
                </a:lnTo>
                <a:lnTo>
                  <a:pt x="3709" y="1105"/>
                </a:lnTo>
                <a:lnTo>
                  <a:pt x="3708" y="1103"/>
                </a:lnTo>
                <a:lnTo>
                  <a:pt x="3707" y="1097"/>
                </a:lnTo>
                <a:lnTo>
                  <a:pt x="3708" y="1094"/>
                </a:lnTo>
                <a:lnTo>
                  <a:pt x="3709" y="1091"/>
                </a:lnTo>
                <a:lnTo>
                  <a:pt x="3710" y="1089"/>
                </a:lnTo>
                <a:lnTo>
                  <a:pt x="3712" y="1087"/>
                </a:lnTo>
                <a:lnTo>
                  <a:pt x="3715" y="1084"/>
                </a:lnTo>
                <a:close/>
                <a:moveTo>
                  <a:pt x="3587" y="1020"/>
                </a:moveTo>
                <a:lnTo>
                  <a:pt x="3588" y="1019"/>
                </a:lnTo>
                <a:lnTo>
                  <a:pt x="3590" y="1018"/>
                </a:lnTo>
                <a:lnTo>
                  <a:pt x="3594" y="1018"/>
                </a:lnTo>
                <a:lnTo>
                  <a:pt x="3597" y="1018"/>
                </a:lnTo>
                <a:lnTo>
                  <a:pt x="3601" y="1019"/>
                </a:lnTo>
                <a:lnTo>
                  <a:pt x="3604" y="1021"/>
                </a:lnTo>
                <a:lnTo>
                  <a:pt x="3606" y="1023"/>
                </a:lnTo>
                <a:lnTo>
                  <a:pt x="3608" y="1026"/>
                </a:lnTo>
                <a:lnTo>
                  <a:pt x="3609" y="1028"/>
                </a:lnTo>
                <a:lnTo>
                  <a:pt x="3610" y="1031"/>
                </a:lnTo>
                <a:lnTo>
                  <a:pt x="3610" y="1034"/>
                </a:lnTo>
                <a:lnTo>
                  <a:pt x="3610" y="1037"/>
                </a:lnTo>
                <a:lnTo>
                  <a:pt x="3608" y="1040"/>
                </a:lnTo>
                <a:lnTo>
                  <a:pt x="3607" y="1042"/>
                </a:lnTo>
                <a:lnTo>
                  <a:pt x="3606" y="1044"/>
                </a:lnTo>
                <a:lnTo>
                  <a:pt x="3604" y="1046"/>
                </a:lnTo>
                <a:lnTo>
                  <a:pt x="3602" y="1047"/>
                </a:lnTo>
                <a:lnTo>
                  <a:pt x="3601" y="1048"/>
                </a:lnTo>
                <a:lnTo>
                  <a:pt x="3599" y="1049"/>
                </a:lnTo>
                <a:lnTo>
                  <a:pt x="3595" y="1049"/>
                </a:lnTo>
                <a:lnTo>
                  <a:pt x="3591" y="1049"/>
                </a:lnTo>
                <a:lnTo>
                  <a:pt x="3588" y="1048"/>
                </a:lnTo>
                <a:lnTo>
                  <a:pt x="3585" y="1046"/>
                </a:lnTo>
                <a:lnTo>
                  <a:pt x="3583" y="1044"/>
                </a:lnTo>
                <a:lnTo>
                  <a:pt x="3581" y="1041"/>
                </a:lnTo>
                <a:lnTo>
                  <a:pt x="3580" y="1039"/>
                </a:lnTo>
                <a:lnTo>
                  <a:pt x="3579" y="1036"/>
                </a:lnTo>
                <a:lnTo>
                  <a:pt x="3579" y="1033"/>
                </a:lnTo>
                <a:lnTo>
                  <a:pt x="3579" y="1030"/>
                </a:lnTo>
                <a:lnTo>
                  <a:pt x="3580" y="1027"/>
                </a:lnTo>
                <a:lnTo>
                  <a:pt x="3581" y="1025"/>
                </a:lnTo>
                <a:lnTo>
                  <a:pt x="3583" y="1023"/>
                </a:lnTo>
                <a:lnTo>
                  <a:pt x="3585" y="1021"/>
                </a:lnTo>
                <a:lnTo>
                  <a:pt x="3587" y="1020"/>
                </a:lnTo>
                <a:close/>
                <a:moveTo>
                  <a:pt x="1349" y="2220"/>
                </a:moveTo>
                <a:lnTo>
                  <a:pt x="1352" y="2219"/>
                </a:lnTo>
                <a:lnTo>
                  <a:pt x="1355" y="2218"/>
                </a:lnTo>
                <a:lnTo>
                  <a:pt x="1359" y="2218"/>
                </a:lnTo>
                <a:lnTo>
                  <a:pt x="1362" y="2219"/>
                </a:lnTo>
                <a:lnTo>
                  <a:pt x="1364" y="2220"/>
                </a:lnTo>
                <a:lnTo>
                  <a:pt x="1367" y="2222"/>
                </a:lnTo>
                <a:lnTo>
                  <a:pt x="1369" y="2224"/>
                </a:lnTo>
                <a:lnTo>
                  <a:pt x="1371" y="2226"/>
                </a:lnTo>
                <a:lnTo>
                  <a:pt x="1372" y="2229"/>
                </a:lnTo>
                <a:lnTo>
                  <a:pt x="1373" y="2232"/>
                </a:lnTo>
                <a:lnTo>
                  <a:pt x="1373" y="2235"/>
                </a:lnTo>
                <a:lnTo>
                  <a:pt x="1372" y="2238"/>
                </a:lnTo>
                <a:lnTo>
                  <a:pt x="1371" y="2241"/>
                </a:lnTo>
                <a:lnTo>
                  <a:pt x="1370" y="2243"/>
                </a:lnTo>
                <a:lnTo>
                  <a:pt x="1367" y="2246"/>
                </a:lnTo>
                <a:lnTo>
                  <a:pt x="1365" y="2247"/>
                </a:lnTo>
                <a:lnTo>
                  <a:pt x="1362" y="2249"/>
                </a:lnTo>
                <a:lnTo>
                  <a:pt x="1359" y="2249"/>
                </a:lnTo>
                <a:lnTo>
                  <a:pt x="1356" y="2249"/>
                </a:lnTo>
                <a:lnTo>
                  <a:pt x="1353" y="2249"/>
                </a:lnTo>
                <a:lnTo>
                  <a:pt x="1350" y="2248"/>
                </a:lnTo>
                <a:lnTo>
                  <a:pt x="1347" y="2246"/>
                </a:lnTo>
                <a:lnTo>
                  <a:pt x="1345" y="2244"/>
                </a:lnTo>
                <a:lnTo>
                  <a:pt x="1343" y="2241"/>
                </a:lnTo>
                <a:lnTo>
                  <a:pt x="1342" y="2238"/>
                </a:lnTo>
                <a:lnTo>
                  <a:pt x="1341" y="2235"/>
                </a:lnTo>
                <a:lnTo>
                  <a:pt x="1341" y="2232"/>
                </a:lnTo>
                <a:lnTo>
                  <a:pt x="1342" y="2230"/>
                </a:lnTo>
                <a:lnTo>
                  <a:pt x="1343" y="2227"/>
                </a:lnTo>
                <a:lnTo>
                  <a:pt x="1345" y="2224"/>
                </a:lnTo>
                <a:lnTo>
                  <a:pt x="1347" y="2222"/>
                </a:lnTo>
                <a:lnTo>
                  <a:pt x="1349" y="2220"/>
                </a:lnTo>
                <a:close/>
                <a:moveTo>
                  <a:pt x="1473" y="2148"/>
                </a:moveTo>
                <a:lnTo>
                  <a:pt x="1476" y="2146"/>
                </a:lnTo>
                <a:lnTo>
                  <a:pt x="1479" y="2146"/>
                </a:lnTo>
                <a:lnTo>
                  <a:pt x="1482" y="2146"/>
                </a:lnTo>
                <a:lnTo>
                  <a:pt x="1485" y="2146"/>
                </a:lnTo>
                <a:lnTo>
                  <a:pt x="1488" y="2147"/>
                </a:lnTo>
                <a:lnTo>
                  <a:pt x="1490" y="2148"/>
                </a:lnTo>
                <a:lnTo>
                  <a:pt x="1493" y="2150"/>
                </a:lnTo>
                <a:lnTo>
                  <a:pt x="1494" y="2153"/>
                </a:lnTo>
                <a:lnTo>
                  <a:pt x="1496" y="2156"/>
                </a:lnTo>
                <a:lnTo>
                  <a:pt x="1497" y="2159"/>
                </a:lnTo>
                <a:lnTo>
                  <a:pt x="1497" y="2162"/>
                </a:lnTo>
                <a:lnTo>
                  <a:pt x="1497" y="2165"/>
                </a:lnTo>
                <a:lnTo>
                  <a:pt x="1496" y="2168"/>
                </a:lnTo>
                <a:lnTo>
                  <a:pt x="1494" y="2170"/>
                </a:lnTo>
                <a:lnTo>
                  <a:pt x="1492" y="2173"/>
                </a:lnTo>
                <a:lnTo>
                  <a:pt x="1490" y="2174"/>
                </a:lnTo>
                <a:lnTo>
                  <a:pt x="1487" y="2176"/>
                </a:lnTo>
                <a:lnTo>
                  <a:pt x="1484" y="2177"/>
                </a:lnTo>
                <a:lnTo>
                  <a:pt x="1481" y="2177"/>
                </a:lnTo>
                <a:lnTo>
                  <a:pt x="1478" y="2176"/>
                </a:lnTo>
                <a:lnTo>
                  <a:pt x="1475" y="2175"/>
                </a:lnTo>
                <a:lnTo>
                  <a:pt x="1472" y="2174"/>
                </a:lnTo>
                <a:lnTo>
                  <a:pt x="1470" y="2172"/>
                </a:lnTo>
                <a:lnTo>
                  <a:pt x="1468" y="2170"/>
                </a:lnTo>
                <a:lnTo>
                  <a:pt x="1467" y="2167"/>
                </a:lnTo>
                <a:lnTo>
                  <a:pt x="1466" y="2164"/>
                </a:lnTo>
                <a:lnTo>
                  <a:pt x="1466" y="2161"/>
                </a:lnTo>
                <a:lnTo>
                  <a:pt x="1466" y="2158"/>
                </a:lnTo>
                <a:lnTo>
                  <a:pt x="1467" y="2155"/>
                </a:lnTo>
                <a:lnTo>
                  <a:pt x="1468" y="2152"/>
                </a:lnTo>
                <a:lnTo>
                  <a:pt x="1470" y="2150"/>
                </a:lnTo>
                <a:lnTo>
                  <a:pt x="1473" y="2148"/>
                </a:lnTo>
                <a:close/>
                <a:moveTo>
                  <a:pt x="1099" y="2362"/>
                </a:moveTo>
                <a:lnTo>
                  <a:pt x="1102" y="2361"/>
                </a:lnTo>
                <a:lnTo>
                  <a:pt x="1105" y="2360"/>
                </a:lnTo>
                <a:lnTo>
                  <a:pt x="1108" y="2360"/>
                </a:lnTo>
                <a:lnTo>
                  <a:pt x="1110" y="2361"/>
                </a:lnTo>
                <a:lnTo>
                  <a:pt x="1113" y="2362"/>
                </a:lnTo>
                <a:lnTo>
                  <a:pt x="1116" y="2363"/>
                </a:lnTo>
                <a:lnTo>
                  <a:pt x="1118" y="2365"/>
                </a:lnTo>
                <a:lnTo>
                  <a:pt x="1120" y="2367"/>
                </a:lnTo>
                <a:lnTo>
                  <a:pt x="1121" y="2369"/>
                </a:lnTo>
                <a:lnTo>
                  <a:pt x="1122" y="2371"/>
                </a:lnTo>
                <a:lnTo>
                  <a:pt x="1123" y="2375"/>
                </a:lnTo>
                <a:lnTo>
                  <a:pt x="1122" y="2379"/>
                </a:lnTo>
                <a:lnTo>
                  <a:pt x="1121" y="2383"/>
                </a:lnTo>
                <a:lnTo>
                  <a:pt x="1093" y="2383"/>
                </a:lnTo>
                <a:lnTo>
                  <a:pt x="1092" y="2380"/>
                </a:lnTo>
                <a:lnTo>
                  <a:pt x="1091" y="2378"/>
                </a:lnTo>
                <a:lnTo>
                  <a:pt x="1091" y="2375"/>
                </a:lnTo>
                <a:lnTo>
                  <a:pt x="1092" y="2372"/>
                </a:lnTo>
                <a:lnTo>
                  <a:pt x="1093" y="2369"/>
                </a:lnTo>
                <a:lnTo>
                  <a:pt x="1094" y="2367"/>
                </a:lnTo>
                <a:lnTo>
                  <a:pt x="1096" y="2365"/>
                </a:lnTo>
                <a:lnTo>
                  <a:pt x="1098" y="2363"/>
                </a:lnTo>
                <a:lnTo>
                  <a:pt x="1099" y="2362"/>
                </a:lnTo>
                <a:close/>
                <a:moveTo>
                  <a:pt x="1222" y="2288"/>
                </a:moveTo>
                <a:lnTo>
                  <a:pt x="1225" y="2286"/>
                </a:lnTo>
                <a:lnTo>
                  <a:pt x="1228" y="2286"/>
                </a:lnTo>
                <a:lnTo>
                  <a:pt x="1231" y="2286"/>
                </a:lnTo>
                <a:lnTo>
                  <a:pt x="1234" y="2286"/>
                </a:lnTo>
                <a:lnTo>
                  <a:pt x="1237" y="2287"/>
                </a:lnTo>
                <a:lnTo>
                  <a:pt x="1240" y="2289"/>
                </a:lnTo>
                <a:lnTo>
                  <a:pt x="1242" y="2291"/>
                </a:lnTo>
                <a:lnTo>
                  <a:pt x="1244" y="2294"/>
                </a:lnTo>
                <a:lnTo>
                  <a:pt x="1245" y="2297"/>
                </a:lnTo>
                <a:lnTo>
                  <a:pt x="1245" y="2300"/>
                </a:lnTo>
                <a:lnTo>
                  <a:pt x="1246" y="2303"/>
                </a:lnTo>
                <a:lnTo>
                  <a:pt x="1245" y="2305"/>
                </a:lnTo>
                <a:lnTo>
                  <a:pt x="1244" y="2308"/>
                </a:lnTo>
                <a:lnTo>
                  <a:pt x="1242" y="2311"/>
                </a:lnTo>
                <a:lnTo>
                  <a:pt x="1240" y="2313"/>
                </a:lnTo>
                <a:lnTo>
                  <a:pt x="1238" y="2315"/>
                </a:lnTo>
                <a:lnTo>
                  <a:pt x="1235" y="2316"/>
                </a:lnTo>
                <a:lnTo>
                  <a:pt x="1232" y="2317"/>
                </a:lnTo>
                <a:lnTo>
                  <a:pt x="1229" y="2317"/>
                </a:lnTo>
                <a:lnTo>
                  <a:pt x="1226" y="2316"/>
                </a:lnTo>
                <a:lnTo>
                  <a:pt x="1223" y="2315"/>
                </a:lnTo>
                <a:lnTo>
                  <a:pt x="1220" y="2314"/>
                </a:lnTo>
                <a:lnTo>
                  <a:pt x="1218" y="2312"/>
                </a:lnTo>
                <a:lnTo>
                  <a:pt x="1216" y="2309"/>
                </a:lnTo>
                <a:lnTo>
                  <a:pt x="1215" y="2306"/>
                </a:lnTo>
                <a:lnTo>
                  <a:pt x="1214" y="2303"/>
                </a:lnTo>
                <a:lnTo>
                  <a:pt x="1214" y="2300"/>
                </a:lnTo>
                <a:lnTo>
                  <a:pt x="1215" y="2297"/>
                </a:lnTo>
                <a:lnTo>
                  <a:pt x="1216" y="2294"/>
                </a:lnTo>
                <a:lnTo>
                  <a:pt x="1217" y="2292"/>
                </a:lnTo>
                <a:lnTo>
                  <a:pt x="1219" y="2290"/>
                </a:lnTo>
                <a:lnTo>
                  <a:pt x="1222" y="2288"/>
                </a:lnTo>
                <a:close/>
                <a:moveTo>
                  <a:pt x="1591" y="2066"/>
                </a:moveTo>
                <a:lnTo>
                  <a:pt x="1594" y="2064"/>
                </a:lnTo>
                <a:lnTo>
                  <a:pt x="1597" y="2064"/>
                </a:lnTo>
                <a:lnTo>
                  <a:pt x="1602" y="2064"/>
                </a:lnTo>
                <a:lnTo>
                  <a:pt x="1605" y="2065"/>
                </a:lnTo>
                <a:lnTo>
                  <a:pt x="1607" y="2066"/>
                </a:lnTo>
                <a:lnTo>
                  <a:pt x="1610" y="2067"/>
                </a:lnTo>
                <a:lnTo>
                  <a:pt x="1611" y="2069"/>
                </a:lnTo>
                <a:lnTo>
                  <a:pt x="1612" y="2070"/>
                </a:lnTo>
                <a:lnTo>
                  <a:pt x="1613" y="2072"/>
                </a:lnTo>
                <a:lnTo>
                  <a:pt x="1614" y="2075"/>
                </a:lnTo>
                <a:lnTo>
                  <a:pt x="1615" y="2078"/>
                </a:lnTo>
                <a:lnTo>
                  <a:pt x="1615" y="2081"/>
                </a:lnTo>
                <a:lnTo>
                  <a:pt x="1614" y="2084"/>
                </a:lnTo>
                <a:lnTo>
                  <a:pt x="1613" y="2087"/>
                </a:lnTo>
                <a:lnTo>
                  <a:pt x="1611" y="2089"/>
                </a:lnTo>
                <a:lnTo>
                  <a:pt x="1609" y="2092"/>
                </a:lnTo>
                <a:lnTo>
                  <a:pt x="1607" y="2093"/>
                </a:lnTo>
                <a:lnTo>
                  <a:pt x="1604" y="2094"/>
                </a:lnTo>
                <a:lnTo>
                  <a:pt x="1602" y="2095"/>
                </a:lnTo>
                <a:lnTo>
                  <a:pt x="1596" y="2095"/>
                </a:lnTo>
                <a:lnTo>
                  <a:pt x="1593" y="2094"/>
                </a:lnTo>
                <a:lnTo>
                  <a:pt x="1591" y="2093"/>
                </a:lnTo>
                <a:lnTo>
                  <a:pt x="1589" y="2091"/>
                </a:lnTo>
                <a:lnTo>
                  <a:pt x="1588" y="2090"/>
                </a:lnTo>
                <a:lnTo>
                  <a:pt x="1587" y="2089"/>
                </a:lnTo>
                <a:lnTo>
                  <a:pt x="1585" y="2086"/>
                </a:lnTo>
                <a:lnTo>
                  <a:pt x="1584" y="2083"/>
                </a:lnTo>
                <a:lnTo>
                  <a:pt x="1583" y="2080"/>
                </a:lnTo>
                <a:lnTo>
                  <a:pt x="1584" y="2077"/>
                </a:lnTo>
                <a:lnTo>
                  <a:pt x="1584" y="2074"/>
                </a:lnTo>
                <a:lnTo>
                  <a:pt x="1585" y="2071"/>
                </a:lnTo>
                <a:lnTo>
                  <a:pt x="1587" y="2069"/>
                </a:lnTo>
                <a:lnTo>
                  <a:pt x="1590" y="2067"/>
                </a:lnTo>
                <a:lnTo>
                  <a:pt x="1591" y="2066"/>
                </a:lnTo>
                <a:close/>
                <a:moveTo>
                  <a:pt x="3456" y="959"/>
                </a:moveTo>
                <a:lnTo>
                  <a:pt x="3460" y="957"/>
                </a:lnTo>
                <a:lnTo>
                  <a:pt x="3463" y="957"/>
                </a:lnTo>
                <a:lnTo>
                  <a:pt x="3467" y="957"/>
                </a:lnTo>
                <a:lnTo>
                  <a:pt x="3469" y="957"/>
                </a:lnTo>
                <a:lnTo>
                  <a:pt x="3471" y="958"/>
                </a:lnTo>
                <a:lnTo>
                  <a:pt x="3473" y="960"/>
                </a:lnTo>
                <a:lnTo>
                  <a:pt x="3476" y="962"/>
                </a:lnTo>
                <a:lnTo>
                  <a:pt x="3477" y="964"/>
                </a:lnTo>
                <a:lnTo>
                  <a:pt x="3479" y="967"/>
                </a:lnTo>
                <a:lnTo>
                  <a:pt x="3480" y="970"/>
                </a:lnTo>
                <a:lnTo>
                  <a:pt x="3480" y="973"/>
                </a:lnTo>
                <a:lnTo>
                  <a:pt x="3479" y="976"/>
                </a:lnTo>
                <a:lnTo>
                  <a:pt x="3478" y="979"/>
                </a:lnTo>
                <a:lnTo>
                  <a:pt x="3476" y="983"/>
                </a:lnTo>
                <a:lnTo>
                  <a:pt x="3474" y="984"/>
                </a:lnTo>
                <a:lnTo>
                  <a:pt x="3472" y="986"/>
                </a:lnTo>
                <a:lnTo>
                  <a:pt x="3469" y="987"/>
                </a:lnTo>
                <a:lnTo>
                  <a:pt x="3465" y="988"/>
                </a:lnTo>
                <a:lnTo>
                  <a:pt x="3461" y="988"/>
                </a:lnTo>
                <a:lnTo>
                  <a:pt x="3459" y="987"/>
                </a:lnTo>
                <a:lnTo>
                  <a:pt x="3458" y="987"/>
                </a:lnTo>
                <a:lnTo>
                  <a:pt x="3455" y="985"/>
                </a:lnTo>
                <a:lnTo>
                  <a:pt x="3453" y="983"/>
                </a:lnTo>
                <a:lnTo>
                  <a:pt x="3451" y="980"/>
                </a:lnTo>
                <a:lnTo>
                  <a:pt x="3449" y="978"/>
                </a:lnTo>
                <a:lnTo>
                  <a:pt x="3449" y="975"/>
                </a:lnTo>
                <a:lnTo>
                  <a:pt x="3448" y="972"/>
                </a:lnTo>
                <a:lnTo>
                  <a:pt x="3449" y="969"/>
                </a:lnTo>
                <a:lnTo>
                  <a:pt x="3450" y="966"/>
                </a:lnTo>
                <a:lnTo>
                  <a:pt x="3452" y="962"/>
                </a:lnTo>
                <a:lnTo>
                  <a:pt x="3454" y="960"/>
                </a:lnTo>
                <a:lnTo>
                  <a:pt x="3456" y="959"/>
                </a:lnTo>
                <a:close/>
                <a:moveTo>
                  <a:pt x="1700" y="1972"/>
                </a:moveTo>
                <a:lnTo>
                  <a:pt x="1702" y="1971"/>
                </a:lnTo>
                <a:lnTo>
                  <a:pt x="1705" y="1970"/>
                </a:lnTo>
                <a:lnTo>
                  <a:pt x="1707" y="1970"/>
                </a:lnTo>
                <a:lnTo>
                  <a:pt x="1710" y="1970"/>
                </a:lnTo>
                <a:lnTo>
                  <a:pt x="1715" y="1972"/>
                </a:lnTo>
                <a:lnTo>
                  <a:pt x="1717" y="1973"/>
                </a:lnTo>
                <a:lnTo>
                  <a:pt x="1719" y="1975"/>
                </a:lnTo>
                <a:lnTo>
                  <a:pt x="1721" y="1977"/>
                </a:lnTo>
                <a:lnTo>
                  <a:pt x="1723" y="1980"/>
                </a:lnTo>
                <a:lnTo>
                  <a:pt x="1723" y="1983"/>
                </a:lnTo>
                <a:lnTo>
                  <a:pt x="1724" y="1986"/>
                </a:lnTo>
                <a:lnTo>
                  <a:pt x="1723" y="1989"/>
                </a:lnTo>
                <a:lnTo>
                  <a:pt x="1722" y="1992"/>
                </a:lnTo>
                <a:lnTo>
                  <a:pt x="1721" y="1994"/>
                </a:lnTo>
                <a:lnTo>
                  <a:pt x="1719" y="1997"/>
                </a:lnTo>
                <a:lnTo>
                  <a:pt x="1716" y="1999"/>
                </a:lnTo>
                <a:lnTo>
                  <a:pt x="1713" y="2000"/>
                </a:lnTo>
                <a:lnTo>
                  <a:pt x="1711" y="2001"/>
                </a:lnTo>
                <a:lnTo>
                  <a:pt x="1708" y="2001"/>
                </a:lnTo>
                <a:lnTo>
                  <a:pt x="1706" y="2001"/>
                </a:lnTo>
                <a:lnTo>
                  <a:pt x="1701" y="2000"/>
                </a:lnTo>
                <a:lnTo>
                  <a:pt x="1699" y="1998"/>
                </a:lnTo>
                <a:lnTo>
                  <a:pt x="1697" y="1997"/>
                </a:lnTo>
                <a:lnTo>
                  <a:pt x="1695" y="1994"/>
                </a:lnTo>
                <a:lnTo>
                  <a:pt x="1693" y="1991"/>
                </a:lnTo>
                <a:lnTo>
                  <a:pt x="1692" y="1988"/>
                </a:lnTo>
                <a:lnTo>
                  <a:pt x="1692" y="1985"/>
                </a:lnTo>
                <a:lnTo>
                  <a:pt x="1693" y="1982"/>
                </a:lnTo>
                <a:lnTo>
                  <a:pt x="1694" y="1980"/>
                </a:lnTo>
                <a:lnTo>
                  <a:pt x="1695" y="1977"/>
                </a:lnTo>
                <a:lnTo>
                  <a:pt x="1697" y="1974"/>
                </a:lnTo>
                <a:lnTo>
                  <a:pt x="1700" y="1972"/>
                </a:lnTo>
                <a:close/>
                <a:moveTo>
                  <a:pt x="1796" y="1865"/>
                </a:moveTo>
                <a:lnTo>
                  <a:pt x="1800" y="1863"/>
                </a:lnTo>
                <a:lnTo>
                  <a:pt x="1805" y="1863"/>
                </a:lnTo>
                <a:lnTo>
                  <a:pt x="1807" y="1863"/>
                </a:lnTo>
                <a:lnTo>
                  <a:pt x="1809" y="1864"/>
                </a:lnTo>
                <a:lnTo>
                  <a:pt x="1813" y="1866"/>
                </a:lnTo>
                <a:lnTo>
                  <a:pt x="1815" y="1868"/>
                </a:lnTo>
                <a:lnTo>
                  <a:pt x="1817" y="1871"/>
                </a:lnTo>
                <a:lnTo>
                  <a:pt x="1818" y="1874"/>
                </a:lnTo>
                <a:lnTo>
                  <a:pt x="1819" y="1877"/>
                </a:lnTo>
                <a:lnTo>
                  <a:pt x="1819" y="1880"/>
                </a:lnTo>
                <a:lnTo>
                  <a:pt x="1819" y="1883"/>
                </a:lnTo>
                <a:lnTo>
                  <a:pt x="1818" y="1886"/>
                </a:lnTo>
                <a:lnTo>
                  <a:pt x="1816" y="1888"/>
                </a:lnTo>
                <a:lnTo>
                  <a:pt x="1814" y="1891"/>
                </a:lnTo>
                <a:lnTo>
                  <a:pt x="1811" y="1892"/>
                </a:lnTo>
                <a:lnTo>
                  <a:pt x="1807" y="1894"/>
                </a:lnTo>
                <a:lnTo>
                  <a:pt x="1803" y="1894"/>
                </a:lnTo>
                <a:lnTo>
                  <a:pt x="1800" y="1894"/>
                </a:lnTo>
                <a:lnTo>
                  <a:pt x="1798" y="1893"/>
                </a:lnTo>
                <a:lnTo>
                  <a:pt x="1794" y="1891"/>
                </a:lnTo>
                <a:lnTo>
                  <a:pt x="1792" y="1889"/>
                </a:lnTo>
                <a:lnTo>
                  <a:pt x="1790" y="1886"/>
                </a:lnTo>
                <a:lnTo>
                  <a:pt x="1789" y="1884"/>
                </a:lnTo>
                <a:lnTo>
                  <a:pt x="1788" y="1881"/>
                </a:lnTo>
                <a:lnTo>
                  <a:pt x="1788" y="1878"/>
                </a:lnTo>
                <a:lnTo>
                  <a:pt x="1788" y="1875"/>
                </a:lnTo>
                <a:lnTo>
                  <a:pt x="1789" y="1872"/>
                </a:lnTo>
                <a:lnTo>
                  <a:pt x="1791" y="1869"/>
                </a:lnTo>
                <a:lnTo>
                  <a:pt x="1793" y="1867"/>
                </a:lnTo>
                <a:lnTo>
                  <a:pt x="1796" y="1865"/>
                </a:lnTo>
                <a:close/>
                <a:moveTo>
                  <a:pt x="1873" y="1743"/>
                </a:moveTo>
                <a:lnTo>
                  <a:pt x="1874" y="1742"/>
                </a:lnTo>
                <a:lnTo>
                  <a:pt x="1876" y="1742"/>
                </a:lnTo>
                <a:lnTo>
                  <a:pt x="1880" y="1741"/>
                </a:lnTo>
                <a:lnTo>
                  <a:pt x="1884" y="1741"/>
                </a:lnTo>
                <a:lnTo>
                  <a:pt x="1888" y="1743"/>
                </a:lnTo>
                <a:lnTo>
                  <a:pt x="1890" y="1744"/>
                </a:lnTo>
                <a:lnTo>
                  <a:pt x="1893" y="1747"/>
                </a:lnTo>
                <a:lnTo>
                  <a:pt x="1894" y="1749"/>
                </a:lnTo>
                <a:lnTo>
                  <a:pt x="1896" y="1752"/>
                </a:lnTo>
                <a:lnTo>
                  <a:pt x="1896" y="1758"/>
                </a:lnTo>
                <a:lnTo>
                  <a:pt x="1896" y="1761"/>
                </a:lnTo>
                <a:lnTo>
                  <a:pt x="1895" y="1764"/>
                </a:lnTo>
                <a:lnTo>
                  <a:pt x="1893" y="1766"/>
                </a:lnTo>
                <a:lnTo>
                  <a:pt x="1892" y="1768"/>
                </a:lnTo>
                <a:lnTo>
                  <a:pt x="1888" y="1770"/>
                </a:lnTo>
                <a:lnTo>
                  <a:pt x="1887" y="1771"/>
                </a:lnTo>
                <a:lnTo>
                  <a:pt x="1885" y="1772"/>
                </a:lnTo>
                <a:lnTo>
                  <a:pt x="1881" y="1772"/>
                </a:lnTo>
                <a:lnTo>
                  <a:pt x="1877" y="1772"/>
                </a:lnTo>
                <a:lnTo>
                  <a:pt x="1873" y="1771"/>
                </a:lnTo>
                <a:lnTo>
                  <a:pt x="1871" y="1769"/>
                </a:lnTo>
                <a:lnTo>
                  <a:pt x="1869" y="1767"/>
                </a:lnTo>
                <a:lnTo>
                  <a:pt x="1867" y="1764"/>
                </a:lnTo>
                <a:lnTo>
                  <a:pt x="1866" y="1761"/>
                </a:lnTo>
                <a:lnTo>
                  <a:pt x="1865" y="1755"/>
                </a:lnTo>
                <a:lnTo>
                  <a:pt x="1865" y="1752"/>
                </a:lnTo>
                <a:lnTo>
                  <a:pt x="1867" y="1749"/>
                </a:lnTo>
                <a:lnTo>
                  <a:pt x="1868" y="1748"/>
                </a:lnTo>
                <a:lnTo>
                  <a:pt x="1869" y="1746"/>
                </a:lnTo>
                <a:lnTo>
                  <a:pt x="1873" y="1743"/>
                </a:lnTo>
                <a:close/>
                <a:moveTo>
                  <a:pt x="3324" y="902"/>
                </a:moveTo>
                <a:lnTo>
                  <a:pt x="3327" y="900"/>
                </a:lnTo>
                <a:lnTo>
                  <a:pt x="3331" y="900"/>
                </a:lnTo>
                <a:lnTo>
                  <a:pt x="3334" y="900"/>
                </a:lnTo>
                <a:lnTo>
                  <a:pt x="3338" y="901"/>
                </a:lnTo>
                <a:lnTo>
                  <a:pt x="3341" y="902"/>
                </a:lnTo>
                <a:lnTo>
                  <a:pt x="3343" y="904"/>
                </a:lnTo>
                <a:lnTo>
                  <a:pt x="3345" y="907"/>
                </a:lnTo>
                <a:lnTo>
                  <a:pt x="3346" y="909"/>
                </a:lnTo>
                <a:lnTo>
                  <a:pt x="3347" y="912"/>
                </a:lnTo>
                <a:lnTo>
                  <a:pt x="3347" y="915"/>
                </a:lnTo>
                <a:lnTo>
                  <a:pt x="3347" y="918"/>
                </a:lnTo>
                <a:lnTo>
                  <a:pt x="3346" y="921"/>
                </a:lnTo>
                <a:lnTo>
                  <a:pt x="3345" y="924"/>
                </a:lnTo>
                <a:lnTo>
                  <a:pt x="3344" y="926"/>
                </a:lnTo>
                <a:lnTo>
                  <a:pt x="3340" y="929"/>
                </a:lnTo>
                <a:lnTo>
                  <a:pt x="3336" y="930"/>
                </a:lnTo>
                <a:lnTo>
                  <a:pt x="3333" y="931"/>
                </a:lnTo>
                <a:lnTo>
                  <a:pt x="3329" y="931"/>
                </a:lnTo>
                <a:lnTo>
                  <a:pt x="3326" y="930"/>
                </a:lnTo>
                <a:lnTo>
                  <a:pt x="3323" y="928"/>
                </a:lnTo>
                <a:lnTo>
                  <a:pt x="3321" y="926"/>
                </a:lnTo>
                <a:lnTo>
                  <a:pt x="3319" y="924"/>
                </a:lnTo>
                <a:lnTo>
                  <a:pt x="3317" y="921"/>
                </a:lnTo>
                <a:lnTo>
                  <a:pt x="3316" y="919"/>
                </a:lnTo>
                <a:lnTo>
                  <a:pt x="3316" y="916"/>
                </a:lnTo>
                <a:lnTo>
                  <a:pt x="3316" y="912"/>
                </a:lnTo>
                <a:lnTo>
                  <a:pt x="3317" y="909"/>
                </a:lnTo>
                <a:lnTo>
                  <a:pt x="3318" y="907"/>
                </a:lnTo>
                <a:lnTo>
                  <a:pt x="3320" y="905"/>
                </a:lnTo>
                <a:lnTo>
                  <a:pt x="3324" y="902"/>
                </a:lnTo>
                <a:close/>
                <a:moveTo>
                  <a:pt x="1926" y="1610"/>
                </a:moveTo>
                <a:lnTo>
                  <a:pt x="1929" y="1609"/>
                </a:lnTo>
                <a:lnTo>
                  <a:pt x="1932" y="1608"/>
                </a:lnTo>
                <a:lnTo>
                  <a:pt x="1935" y="1608"/>
                </a:lnTo>
                <a:lnTo>
                  <a:pt x="1939" y="1609"/>
                </a:lnTo>
                <a:lnTo>
                  <a:pt x="1942" y="1610"/>
                </a:lnTo>
                <a:lnTo>
                  <a:pt x="1944" y="1611"/>
                </a:lnTo>
                <a:lnTo>
                  <a:pt x="1946" y="1614"/>
                </a:lnTo>
                <a:lnTo>
                  <a:pt x="1948" y="1616"/>
                </a:lnTo>
                <a:lnTo>
                  <a:pt x="1949" y="1619"/>
                </a:lnTo>
                <a:lnTo>
                  <a:pt x="1950" y="1622"/>
                </a:lnTo>
                <a:lnTo>
                  <a:pt x="1950" y="1625"/>
                </a:lnTo>
                <a:lnTo>
                  <a:pt x="1949" y="1628"/>
                </a:lnTo>
                <a:lnTo>
                  <a:pt x="1948" y="1631"/>
                </a:lnTo>
                <a:lnTo>
                  <a:pt x="1946" y="1633"/>
                </a:lnTo>
                <a:lnTo>
                  <a:pt x="1944" y="1635"/>
                </a:lnTo>
                <a:lnTo>
                  <a:pt x="1942" y="1637"/>
                </a:lnTo>
                <a:lnTo>
                  <a:pt x="1939" y="1638"/>
                </a:lnTo>
                <a:lnTo>
                  <a:pt x="1936" y="1639"/>
                </a:lnTo>
                <a:lnTo>
                  <a:pt x="1933" y="1639"/>
                </a:lnTo>
                <a:lnTo>
                  <a:pt x="1930" y="1639"/>
                </a:lnTo>
                <a:lnTo>
                  <a:pt x="1927" y="1637"/>
                </a:lnTo>
                <a:lnTo>
                  <a:pt x="1924" y="1636"/>
                </a:lnTo>
                <a:lnTo>
                  <a:pt x="1922" y="1633"/>
                </a:lnTo>
                <a:lnTo>
                  <a:pt x="1920" y="1631"/>
                </a:lnTo>
                <a:lnTo>
                  <a:pt x="1919" y="1628"/>
                </a:lnTo>
                <a:lnTo>
                  <a:pt x="1919" y="1625"/>
                </a:lnTo>
                <a:lnTo>
                  <a:pt x="1919" y="1622"/>
                </a:lnTo>
                <a:lnTo>
                  <a:pt x="1919" y="1619"/>
                </a:lnTo>
                <a:lnTo>
                  <a:pt x="1920" y="1616"/>
                </a:lnTo>
                <a:lnTo>
                  <a:pt x="1922" y="1614"/>
                </a:lnTo>
                <a:lnTo>
                  <a:pt x="1924" y="1612"/>
                </a:lnTo>
                <a:lnTo>
                  <a:pt x="1926" y="1610"/>
                </a:lnTo>
                <a:close/>
                <a:moveTo>
                  <a:pt x="3189" y="851"/>
                </a:moveTo>
                <a:lnTo>
                  <a:pt x="3192" y="849"/>
                </a:lnTo>
                <a:lnTo>
                  <a:pt x="3196" y="849"/>
                </a:lnTo>
                <a:lnTo>
                  <a:pt x="3199" y="849"/>
                </a:lnTo>
                <a:lnTo>
                  <a:pt x="3202" y="849"/>
                </a:lnTo>
                <a:lnTo>
                  <a:pt x="3205" y="851"/>
                </a:lnTo>
                <a:lnTo>
                  <a:pt x="3208" y="853"/>
                </a:lnTo>
                <a:lnTo>
                  <a:pt x="3210" y="855"/>
                </a:lnTo>
                <a:lnTo>
                  <a:pt x="3211" y="857"/>
                </a:lnTo>
                <a:lnTo>
                  <a:pt x="3212" y="860"/>
                </a:lnTo>
                <a:lnTo>
                  <a:pt x="3213" y="863"/>
                </a:lnTo>
                <a:lnTo>
                  <a:pt x="3212" y="869"/>
                </a:lnTo>
                <a:lnTo>
                  <a:pt x="3211" y="872"/>
                </a:lnTo>
                <a:lnTo>
                  <a:pt x="3209" y="874"/>
                </a:lnTo>
                <a:lnTo>
                  <a:pt x="3207" y="876"/>
                </a:lnTo>
                <a:lnTo>
                  <a:pt x="3205" y="878"/>
                </a:lnTo>
                <a:lnTo>
                  <a:pt x="3202" y="879"/>
                </a:lnTo>
                <a:lnTo>
                  <a:pt x="3199" y="880"/>
                </a:lnTo>
                <a:lnTo>
                  <a:pt x="3195" y="880"/>
                </a:lnTo>
                <a:lnTo>
                  <a:pt x="3192" y="879"/>
                </a:lnTo>
                <a:lnTo>
                  <a:pt x="3189" y="878"/>
                </a:lnTo>
                <a:lnTo>
                  <a:pt x="3187" y="876"/>
                </a:lnTo>
                <a:lnTo>
                  <a:pt x="3185" y="873"/>
                </a:lnTo>
                <a:lnTo>
                  <a:pt x="3183" y="871"/>
                </a:lnTo>
                <a:lnTo>
                  <a:pt x="3182" y="868"/>
                </a:lnTo>
                <a:lnTo>
                  <a:pt x="3182" y="865"/>
                </a:lnTo>
                <a:lnTo>
                  <a:pt x="3182" y="859"/>
                </a:lnTo>
                <a:lnTo>
                  <a:pt x="3184" y="856"/>
                </a:lnTo>
                <a:lnTo>
                  <a:pt x="3185" y="854"/>
                </a:lnTo>
                <a:lnTo>
                  <a:pt x="3187" y="852"/>
                </a:lnTo>
                <a:lnTo>
                  <a:pt x="3189" y="851"/>
                </a:lnTo>
                <a:close/>
                <a:moveTo>
                  <a:pt x="1957" y="1469"/>
                </a:moveTo>
                <a:lnTo>
                  <a:pt x="1959" y="1468"/>
                </a:lnTo>
                <a:lnTo>
                  <a:pt x="1961" y="1468"/>
                </a:lnTo>
                <a:lnTo>
                  <a:pt x="1964" y="1467"/>
                </a:lnTo>
                <a:lnTo>
                  <a:pt x="1967" y="1468"/>
                </a:lnTo>
                <a:lnTo>
                  <a:pt x="1970" y="1468"/>
                </a:lnTo>
                <a:lnTo>
                  <a:pt x="1973" y="1470"/>
                </a:lnTo>
                <a:lnTo>
                  <a:pt x="1975" y="1471"/>
                </a:lnTo>
                <a:lnTo>
                  <a:pt x="1977" y="1474"/>
                </a:lnTo>
                <a:lnTo>
                  <a:pt x="1979" y="1476"/>
                </a:lnTo>
                <a:lnTo>
                  <a:pt x="1980" y="1479"/>
                </a:lnTo>
                <a:lnTo>
                  <a:pt x="1980" y="1482"/>
                </a:lnTo>
                <a:lnTo>
                  <a:pt x="1980" y="1485"/>
                </a:lnTo>
                <a:lnTo>
                  <a:pt x="1979" y="1489"/>
                </a:lnTo>
                <a:lnTo>
                  <a:pt x="1977" y="1492"/>
                </a:lnTo>
                <a:lnTo>
                  <a:pt x="1975" y="1495"/>
                </a:lnTo>
                <a:lnTo>
                  <a:pt x="1972" y="1497"/>
                </a:lnTo>
                <a:lnTo>
                  <a:pt x="1970" y="1498"/>
                </a:lnTo>
                <a:lnTo>
                  <a:pt x="1967" y="1498"/>
                </a:lnTo>
                <a:lnTo>
                  <a:pt x="1965" y="1499"/>
                </a:lnTo>
                <a:lnTo>
                  <a:pt x="1962" y="1499"/>
                </a:lnTo>
                <a:lnTo>
                  <a:pt x="1959" y="1498"/>
                </a:lnTo>
                <a:lnTo>
                  <a:pt x="1956" y="1496"/>
                </a:lnTo>
                <a:lnTo>
                  <a:pt x="1954" y="1495"/>
                </a:lnTo>
                <a:lnTo>
                  <a:pt x="1952" y="1492"/>
                </a:lnTo>
                <a:lnTo>
                  <a:pt x="1950" y="1490"/>
                </a:lnTo>
                <a:lnTo>
                  <a:pt x="1949" y="1487"/>
                </a:lnTo>
                <a:lnTo>
                  <a:pt x="1949" y="1484"/>
                </a:lnTo>
                <a:lnTo>
                  <a:pt x="1949" y="1481"/>
                </a:lnTo>
                <a:lnTo>
                  <a:pt x="1950" y="1477"/>
                </a:lnTo>
                <a:lnTo>
                  <a:pt x="1952" y="1474"/>
                </a:lnTo>
                <a:lnTo>
                  <a:pt x="1954" y="1472"/>
                </a:lnTo>
                <a:lnTo>
                  <a:pt x="1957" y="1469"/>
                </a:lnTo>
                <a:close/>
                <a:moveTo>
                  <a:pt x="3052" y="807"/>
                </a:moveTo>
                <a:lnTo>
                  <a:pt x="3055" y="805"/>
                </a:lnTo>
                <a:lnTo>
                  <a:pt x="3058" y="805"/>
                </a:lnTo>
                <a:lnTo>
                  <a:pt x="3061" y="805"/>
                </a:lnTo>
                <a:lnTo>
                  <a:pt x="3064" y="805"/>
                </a:lnTo>
                <a:lnTo>
                  <a:pt x="3067" y="806"/>
                </a:lnTo>
                <a:lnTo>
                  <a:pt x="3070" y="808"/>
                </a:lnTo>
                <a:lnTo>
                  <a:pt x="3072" y="810"/>
                </a:lnTo>
                <a:lnTo>
                  <a:pt x="3074" y="813"/>
                </a:lnTo>
                <a:lnTo>
                  <a:pt x="3075" y="815"/>
                </a:lnTo>
                <a:lnTo>
                  <a:pt x="3076" y="818"/>
                </a:lnTo>
                <a:lnTo>
                  <a:pt x="3076" y="821"/>
                </a:lnTo>
                <a:lnTo>
                  <a:pt x="3075" y="825"/>
                </a:lnTo>
                <a:lnTo>
                  <a:pt x="3074" y="828"/>
                </a:lnTo>
                <a:lnTo>
                  <a:pt x="3072" y="830"/>
                </a:lnTo>
                <a:lnTo>
                  <a:pt x="3070" y="832"/>
                </a:lnTo>
                <a:lnTo>
                  <a:pt x="3068" y="834"/>
                </a:lnTo>
                <a:lnTo>
                  <a:pt x="3065" y="835"/>
                </a:lnTo>
                <a:lnTo>
                  <a:pt x="3062" y="836"/>
                </a:lnTo>
                <a:lnTo>
                  <a:pt x="3059" y="836"/>
                </a:lnTo>
                <a:lnTo>
                  <a:pt x="3056" y="835"/>
                </a:lnTo>
                <a:lnTo>
                  <a:pt x="3053" y="834"/>
                </a:lnTo>
                <a:lnTo>
                  <a:pt x="3050" y="833"/>
                </a:lnTo>
                <a:lnTo>
                  <a:pt x="3048" y="830"/>
                </a:lnTo>
                <a:lnTo>
                  <a:pt x="3046" y="828"/>
                </a:lnTo>
                <a:lnTo>
                  <a:pt x="3045" y="825"/>
                </a:lnTo>
                <a:lnTo>
                  <a:pt x="3045" y="822"/>
                </a:lnTo>
                <a:lnTo>
                  <a:pt x="3045" y="819"/>
                </a:lnTo>
                <a:lnTo>
                  <a:pt x="3045" y="816"/>
                </a:lnTo>
                <a:lnTo>
                  <a:pt x="3046" y="813"/>
                </a:lnTo>
                <a:lnTo>
                  <a:pt x="3048" y="811"/>
                </a:lnTo>
                <a:lnTo>
                  <a:pt x="3050" y="808"/>
                </a:lnTo>
                <a:lnTo>
                  <a:pt x="3052" y="807"/>
                </a:lnTo>
                <a:close/>
                <a:moveTo>
                  <a:pt x="1971" y="1326"/>
                </a:moveTo>
                <a:lnTo>
                  <a:pt x="1975" y="1324"/>
                </a:lnTo>
                <a:lnTo>
                  <a:pt x="1980" y="1324"/>
                </a:lnTo>
                <a:lnTo>
                  <a:pt x="1983" y="1325"/>
                </a:lnTo>
                <a:lnTo>
                  <a:pt x="1986" y="1326"/>
                </a:lnTo>
                <a:lnTo>
                  <a:pt x="1988" y="1327"/>
                </a:lnTo>
                <a:lnTo>
                  <a:pt x="1990" y="1329"/>
                </a:lnTo>
                <a:lnTo>
                  <a:pt x="1992" y="1332"/>
                </a:lnTo>
                <a:lnTo>
                  <a:pt x="1993" y="1335"/>
                </a:lnTo>
                <a:lnTo>
                  <a:pt x="1994" y="1338"/>
                </a:lnTo>
                <a:lnTo>
                  <a:pt x="1994" y="1341"/>
                </a:lnTo>
                <a:lnTo>
                  <a:pt x="1993" y="1345"/>
                </a:lnTo>
                <a:lnTo>
                  <a:pt x="1992" y="1348"/>
                </a:lnTo>
                <a:lnTo>
                  <a:pt x="1989" y="1351"/>
                </a:lnTo>
                <a:lnTo>
                  <a:pt x="1986" y="1353"/>
                </a:lnTo>
                <a:lnTo>
                  <a:pt x="1982" y="1355"/>
                </a:lnTo>
                <a:lnTo>
                  <a:pt x="1977" y="1355"/>
                </a:lnTo>
                <a:lnTo>
                  <a:pt x="1974" y="1355"/>
                </a:lnTo>
                <a:lnTo>
                  <a:pt x="1971" y="1354"/>
                </a:lnTo>
                <a:lnTo>
                  <a:pt x="1969" y="1352"/>
                </a:lnTo>
                <a:lnTo>
                  <a:pt x="1967" y="1350"/>
                </a:lnTo>
                <a:lnTo>
                  <a:pt x="1965" y="1348"/>
                </a:lnTo>
                <a:lnTo>
                  <a:pt x="1964" y="1345"/>
                </a:lnTo>
                <a:lnTo>
                  <a:pt x="1963" y="1342"/>
                </a:lnTo>
                <a:lnTo>
                  <a:pt x="1963" y="1339"/>
                </a:lnTo>
                <a:lnTo>
                  <a:pt x="1964" y="1335"/>
                </a:lnTo>
                <a:lnTo>
                  <a:pt x="1965" y="1331"/>
                </a:lnTo>
                <a:lnTo>
                  <a:pt x="1968" y="1328"/>
                </a:lnTo>
                <a:lnTo>
                  <a:pt x="1971" y="1326"/>
                </a:lnTo>
                <a:close/>
                <a:moveTo>
                  <a:pt x="2913" y="773"/>
                </a:moveTo>
                <a:lnTo>
                  <a:pt x="2915" y="771"/>
                </a:lnTo>
                <a:lnTo>
                  <a:pt x="2918" y="771"/>
                </a:lnTo>
                <a:lnTo>
                  <a:pt x="2923" y="771"/>
                </a:lnTo>
                <a:lnTo>
                  <a:pt x="2926" y="772"/>
                </a:lnTo>
                <a:lnTo>
                  <a:pt x="2929" y="773"/>
                </a:lnTo>
                <a:lnTo>
                  <a:pt x="2932" y="775"/>
                </a:lnTo>
                <a:lnTo>
                  <a:pt x="2933" y="778"/>
                </a:lnTo>
                <a:lnTo>
                  <a:pt x="2935" y="780"/>
                </a:lnTo>
                <a:lnTo>
                  <a:pt x="2936" y="783"/>
                </a:lnTo>
                <a:lnTo>
                  <a:pt x="2936" y="786"/>
                </a:lnTo>
                <a:lnTo>
                  <a:pt x="2936" y="789"/>
                </a:lnTo>
                <a:lnTo>
                  <a:pt x="2935" y="793"/>
                </a:lnTo>
                <a:lnTo>
                  <a:pt x="2933" y="795"/>
                </a:lnTo>
                <a:lnTo>
                  <a:pt x="2931" y="798"/>
                </a:lnTo>
                <a:lnTo>
                  <a:pt x="2928" y="800"/>
                </a:lnTo>
                <a:lnTo>
                  <a:pt x="2926" y="801"/>
                </a:lnTo>
                <a:lnTo>
                  <a:pt x="2923" y="802"/>
                </a:lnTo>
                <a:lnTo>
                  <a:pt x="2917" y="802"/>
                </a:lnTo>
                <a:lnTo>
                  <a:pt x="2914" y="801"/>
                </a:lnTo>
                <a:lnTo>
                  <a:pt x="2912" y="799"/>
                </a:lnTo>
                <a:lnTo>
                  <a:pt x="2909" y="797"/>
                </a:lnTo>
                <a:lnTo>
                  <a:pt x="2907" y="795"/>
                </a:lnTo>
                <a:lnTo>
                  <a:pt x="2906" y="792"/>
                </a:lnTo>
                <a:lnTo>
                  <a:pt x="2905" y="789"/>
                </a:lnTo>
                <a:lnTo>
                  <a:pt x="2905" y="786"/>
                </a:lnTo>
                <a:lnTo>
                  <a:pt x="2905" y="783"/>
                </a:lnTo>
                <a:lnTo>
                  <a:pt x="2906" y="780"/>
                </a:lnTo>
                <a:lnTo>
                  <a:pt x="2908" y="777"/>
                </a:lnTo>
                <a:lnTo>
                  <a:pt x="2910" y="775"/>
                </a:lnTo>
                <a:lnTo>
                  <a:pt x="2913" y="773"/>
                </a:lnTo>
                <a:close/>
                <a:moveTo>
                  <a:pt x="2770" y="751"/>
                </a:moveTo>
                <a:lnTo>
                  <a:pt x="2772" y="750"/>
                </a:lnTo>
                <a:lnTo>
                  <a:pt x="2775" y="749"/>
                </a:lnTo>
                <a:lnTo>
                  <a:pt x="2777" y="749"/>
                </a:lnTo>
                <a:lnTo>
                  <a:pt x="2780" y="749"/>
                </a:lnTo>
                <a:lnTo>
                  <a:pt x="2783" y="750"/>
                </a:lnTo>
                <a:lnTo>
                  <a:pt x="2786" y="751"/>
                </a:lnTo>
                <a:lnTo>
                  <a:pt x="2788" y="753"/>
                </a:lnTo>
                <a:lnTo>
                  <a:pt x="2789" y="754"/>
                </a:lnTo>
                <a:lnTo>
                  <a:pt x="2790" y="755"/>
                </a:lnTo>
                <a:lnTo>
                  <a:pt x="2792" y="757"/>
                </a:lnTo>
                <a:lnTo>
                  <a:pt x="2793" y="760"/>
                </a:lnTo>
                <a:lnTo>
                  <a:pt x="2794" y="763"/>
                </a:lnTo>
                <a:lnTo>
                  <a:pt x="2794" y="766"/>
                </a:lnTo>
                <a:lnTo>
                  <a:pt x="2793" y="770"/>
                </a:lnTo>
                <a:lnTo>
                  <a:pt x="2791" y="773"/>
                </a:lnTo>
                <a:lnTo>
                  <a:pt x="2789" y="776"/>
                </a:lnTo>
                <a:lnTo>
                  <a:pt x="2786" y="778"/>
                </a:lnTo>
                <a:lnTo>
                  <a:pt x="2784" y="779"/>
                </a:lnTo>
                <a:lnTo>
                  <a:pt x="2782" y="780"/>
                </a:lnTo>
                <a:lnTo>
                  <a:pt x="2779" y="780"/>
                </a:lnTo>
                <a:lnTo>
                  <a:pt x="2777" y="780"/>
                </a:lnTo>
                <a:lnTo>
                  <a:pt x="2773" y="780"/>
                </a:lnTo>
                <a:lnTo>
                  <a:pt x="2771" y="778"/>
                </a:lnTo>
                <a:lnTo>
                  <a:pt x="2768" y="777"/>
                </a:lnTo>
                <a:lnTo>
                  <a:pt x="2767" y="776"/>
                </a:lnTo>
                <a:lnTo>
                  <a:pt x="2766" y="775"/>
                </a:lnTo>
                <a:lnTo>
                  <a:pt x="2764" y="772"/>
                </a:lnTo>
                <a:lnTo>
                  <a:pt x="2763" y="769"/>
                </a:lnTo>
                <a:lnTo>
                  <a:pt x="2763" y="766"/>
                </a:lnTo>
                <a:lnTo>
                  <a:pt x="2763" y="763"/>
                </a:lnTo>
                <a:lnTo>
                  <a:pt x="2763" y="759"/>
                </a:lnTo>
                <a:lnTo>
                  <a:pt x="2765" y="756"/>
                </a:lnTo>
                <a:lnTo>
                  <a:pt x="2767" y="753"/>
                </a:lnTo>
                <a:lnTo>
                  <a:pt x="2770" y="751"/>
                </a:lnTo>
                <a:close/>
                <a:moveTo>
                  <a:pt x="1982" y="1183"/>
                </a:moveTo>
                <a:lnTo>
                  <a:pt x="1984" y="1182"/>
                </a:lnTo>
                <a:lnTo>
                  <a:pt x="1987" y="1181"/>
                </a:lnTo>
                <a:lnTo>
                  <a:pt x="1989" y="1181"/>
                </a:lnTo>
                <a:lnTo>
                  <a:pt x="1992" y="1181"/>
                </a:lnTo>
                <a:lnTo>
                  <a:pt x="1995" y="1181"/>
                </a:lnTo>
                <a:lnTo>
                  <a:pt x="1998" y="1183"/>
                </a:lnTo>
                <a:lnTo>
                  <a:pt x="2000" y="1184"/>
                </a:lnTo>
                <a:lnTo>
                  <a:pt x="2002" y="1187"/>
                </a:lnTo>
                <a:lnTo>
                  <a:pt x="2004" y="1189"/>
                </a:lnTo>
                <a:lnTo>
                  <a:pt x="2005" y="1192"/>
                </a:lnTo>
                <a:lnTo>
                  <a:pt x="2006" y="1195"/>
                </a:lnTo>
                <a:lnTo>
                  <a:pt x="2006" y="1198"/>
                </a:lnTo>
                <a:lnTo>
                  <a:pt x="2005" y="1202"/>
                </a:lnTo>
                <a:lnTo>
                  <a:pt x="2003" y="1205"/>
                </a:lnTo>
                <a:lnTo>
                  <a:pt x="2001" y="1208"/>
                </a:lnTo>
                <a:lnTo>
                  <a:pt x="1998" y="1210"/>
                </a:lnTo>
                <a:lnTo>
                  <a:pt x="1996" y="1211"/>
                </a:lnTo>
                <a:lnTo>
                  <a:pt x="1993" y="1212"/>
                </a:lnTo>
                <a:lnTo>
                  <a:pt x="1991" y="1212"/>
                </a:lnTo>
                <a:lnTo>
                  <a:pt x="1988" y="1212"/>
                </a:lnTo>
                <a:lnTo>
                  <a:pt x="1985" y="1211"/>
                </a:lnTo>
                <a:lnTo>
                  <a:pt x="1982" y="1210"/>
                </a:lnTo>
                <a:lnTo>
                  <a:pt x="1980" y="1208"/>
                </a:lnTo>
                <a:lnTo>
                  <a:pt x="1978" y="1206"/>
                </a:lnTo>
                <a:lnTo>
                  <a:pt x="1976" y="1203"/>
                </a:lnTo>
                <a:lnTo>
                  <a:pt x="1975" y="1201"/>
                </a:lnTo>
                <a:lnTo>
                  <a:pt x="1974" y="1198"/>
                </a:lnTo>
                <a:lnTo>
                  <a:pt x="1975" y="1194"/>
                </a:lnTo>
                <a:lnTo>
                  <a:pt x="1975" y="1191"/>
                </a:lnTo>
                <a:lnTo>
                  <a:pt x="1977" y="1188"/>
                </a:lnTo>
                <a:lnTo>
                  <a:pt x="1979" y="1185"/>
                </a:lnTo>
                <a:lnTo>
                  <a:pt x="1982" y="1183"/>
                </a:lnTo>
                <a:close/>
                <a:moveTo>
                  <a:pt x="2627" y="745"/>
                </a:moveTo>
                <a:lnTo>
                  <a:pt x="2628" y="744"/>
                </a:lnTo>
                <a:lnTo>
                  <a:pt x="2630" y="744"/>
                </a:lnTo>
                <a:lnTo>
                  <a:pt x="2634" y="743"/>
                </a:lnTo>
                <a:lnTo>
                  <a:pt x="2637" y="743"/>
                </a:lnTo>
                <a:lnTo>
                  <a:pt x="2640" y="744"/>
                </a:lnTo>
                <a:lnTo>
                  <a:pt x="2643" y="746"/>
                </a:lnTo>
                <a:lnTo>
                  <a:pt x="2645" y="748"/>
                </a:lnTo>
                <a:lnTo>
                  <a:pt x="2647" y="750"/>
                </a:lnTo>
                <a:lnTo>
                  <a:pt x="2649" y="752"/>
                </a:lnTo>
                <a:lnTo>
                  <a:pt x="2650" y="755"/>
                </a:lnTo>
                <a:lnTo>
                  <a:pt x="2650" y="758"/>
                </a:lnTo>
                <a:lnTo>
                  <a:pt x="2650" y="763"/>
                </a:lnTo>
                <a:lnTo>
                  <a:pt x="2648" y="767"/>
                </a:lnTo>
                <a:lnTo>
                  <a:pt x="2646" y="770"/>
                </a:lnTo>
                <a:lnTo>
                  <a:pt x="2642" y="772"/>
                </a:lnTo>
                <a:lnTo>
                  <a:pt x="2641" y="773"/>
                </a:lnTo>
                <a:lnTo>
                  <a:pt x="2639" y="774"/>
                </a:lnTo>
                <a:lnTo>
                  <a:pt x="2635" y="775"/>
                </a:lnTo>
                <a:lnTo>
                  <a:pt x="2632" y="774"/>
                </a:lnTo>
                <a:lnTo>
                  <a:pt x="2629" y="773"/>
                </a:lnTo>
                <a:lnTo>
                  <a:pt x="2626" y="772"/>
                </a:lnTo>
                <a:lnTo>
                  <a:pt x="2624" y="770"/>
                </a:lnTo>
                <a:lnTo>
                  <a:pt x="2622" y="768"/>
                </a:lnTo>
                <a:lnTo>
                  <a:pt x="2620" y="765"/>
                </a:lnTo>
                <a:lnTo>
                  <a:pt x="2619" y="762"/>
                </a:lnTo>
                <a:lnTo>
                  <a:pt x="2619" y="759"/>
                </a:lnTo>
                <a:lnTo>
                  <a:pt x="2619" y="755"/>
                </a:lnTo>
                <a:lnTo>
                  <a:pt x="2621" y="751"/>
                </a:lnTo>
                <a:lnTo>
                  <a:pt x="2623" y="748"/>
                </a:lnTo>
                <a:lnTo>
                  <a:pt x="2627" y="745"/>
                </a:lnTo>
                <a:close/>
                <a:moveTo>
                  <a:pt x="2014" y="1043"/>
                </a:moveTo>
                <a:lnTo>
                  <a:pt x="2017" y="1041"/>
                </a:lnTo>
                <a:lnTo>
                  <a:pt x="2020" y="1041"/>
                </a:lnTo>
                <a:lnTo>
                  <a:pt x="2024" y="1041"/>
                </a:lnTo>
                <a:lnTo>
                  <a:pt x="2027" y="1042"/>
                </a:lnTo>
                <a:lnTo>
                  <a:pt x="2029" y="1042"/>
                </a:lnTo>
                <a:lnTo>
                  <a:pt x="2030" y="1043"/>
                </a:lnTo>
                <a:lnTo>
                  <a:pt x="2033" y="1045"/>
                </a:lnTo>
                <a:lnTo>
                  <a:pt x="2035" y="1047"/>
                </a:lnTo>
                <a:lnTo>
                  <a:pt x="2036" y="1050"/>
                </a:lnTo>
                <a:lnTo>
                  <a:pt x="2037" y="1053"/>
                </a:lnTo>
                <a:lnTo>
                  <a:pt x="2037" y="1056"/>
                </a:lnTo>
                <a:lnTo>
                  <a:pt x="2037" y="1059"/>
                </a:lnTo>
                <a:lnTo>
                  <a:pt x="2036" y="1062"/>
                </a:lnTo>
                <a:lnTo>
                  <a:pt x="2035" y="1065"/>
                </a:lnTo>
                <a:lnTo>
                  <a:pt x="2034" y="1067"/>
                </a:lnTo>
                <a:lnTo>
                  <a:pt x="2032" y="1069"/>
                </a:lnTo>
                <a:lnTo>
                  <a:pt x="2030" y="1070"/>
                </a:lnTo>
                <a:lnTo>
                  <a:pt x="2026" y="1071"/>
                </a:lnTo>
                <a:lnTo>
                  <a:pt x="2023" y="1072"/>
                </a:lnTo>
                <a:lnTo>
                  <a:pt x="2020" y="1072"/>
                </a:lnTo>
                <a:lnTo>
                  <a:pt x="2016" y="1071"/>
                </a:lnTo>
                <a:lnTo>
                  <a:pt x="2015" y="1070"/>
                </a:lnTo>
                <a:lnTo>
                  <a:pt x="2013" y="1070"/>
                </a:lnTo>
                <a:lnTo>
                  <a:pt x="2011" y="1068"/>
                </a:lnTo>
                <a:lnTo>
                  <a:pt x="2009" y="1065"/>
                </a:lnTo>
                <a:lnTo>
                  <a:pt x="2007" y="1063"/>
                </a:lnTo>
                <a:lnTo>
                  <a:pt x="2006" y="1060"/>
                </a:lnTo>
                <a:lnTo>
                  <a:pt x="2006" y="1057"/>
                </a:lnTo>
                <a:lnTo>
                  <a:pt x="2006" y="1054"/>
                </a:lnTo>
                <a:lnTo>
                  <a:pt x="2007" y="1051"/>
                </a:lnTo>
                <a:lnTo>
                  <a:pt x="2008" y="1048"/>
                </a:lnTo>
                <a:lnTo>
                  <a:pt x="2010" y="1046"/>
                </a:lnTo>
                <a:lnTo>
                  <a:pt x="2012" y="1044"/>
                </a:lnTo>
                <a:lnTo>
                  <a:pt x="2014" y="1043"/>
                </a:lnTo>
                <a:close/>
                <a:moveTo>
                  <a:pt x="2483" y="758"/>
                </a:moveTo>
                <a:lnTo>
                  <a:pt x="2486" y="757"/>
                </a:lnTo>
                <a:lnTo>
                  <a:pt x="2489" y="756"/>
                </a:lnTo>
                <a:lnTo>
                  <a:pt x="2492" y="756"/>
                </a:lnTo>
                <a:lnTo>
                  <a:pt x="2495" y="756"/>
                </a:lnTo>
                <a:lnTo>
                  <a:pt x="2498" y="757"/>
                </a:lnTo>
                <a:lnTo>
                  <a:pt x="2501" y="759"/>
                </a:lnTo>
                <a:lnTo>
                  <a:pt x="2503" y="761"/>
                </a:lnTo>
                <a:lnTo>
                  <a:pt x="2505" y="763"/>
                </a:lnTo>
                <a:lnTo>
                  <a:pt x="2506" y="766"/>
                </a:lnTo>
                <a:lnTo>
                  <a:pt x="2507" y="769"/>
                </a:lnTo>
                <a:lnTo>
                  <a:pt x="2507" y="774"/>
                </a:lnTo>
                <a:lnTo>
                  <a:pt x="2505" y="778"/>
                </a:lnTo>
                <a:lnTo>
                  <a:pt x="2503" y="782"/>
                </a:lnTo>
                <a:lnTo>
                  <a:pt x="2501" y="784"/>
                </a:lnTo>
                <a:lnTo>
                  <a:pt x="2499" y="785"/>
                </a:lnTo>
                <a:lnTo>
                  <a:pt x="2497" y="786"/>
                </a:lnTo>
                <a:lnTo>
                  <a:pt x="2494" y="787"/>
                </a:lnTo>
                <a:lnTo>
                  <a:pt x="2491" y="787"/>
                </a:lnTo>
                <a:lnTo>
                  <a:pt x="2488" y="787"/>
                </a:lnTo>
                <a:lnTo>
                  <a:pt x="2485" y="786"/>
                </a:lnTo>
                <a:lnTo>
                  <a:pt x="2482" y="784"/>
                </a:lnTo>
                <a:lnTo>
                  <a:pt x="2480" y="782"/>
                </a:lnTo>
                <a:lnTo>
                  <a:pt x="2478" y="780"/>
                </a:lnTo>
                <a:lnTo>
                  <a:pt x="2477" y="777"/>
                </a:lnTo>
                <a:lnTo>
                  <a:pt x="2476" y="774"/>
                </a:lnTo>
                <a:lnTo>
                  <a:pt x="2476" y="769"/>
                </a:lnTo>
                <a:lnTo>
                  <a:pt x="2477" y="765"/>
                </a:lnTo>
                <a:lnTo>
                  <a:pt x="2480" y="761"/>
                </a:lnTo>
                <a:lnTo>
                  <a:pt x="2482" y="759"/>
                </a:lnTo>
                <a:lnTo>
                  <a:pt x="2483" y="758"/>
                </a:lnTo>
                <a:close/>
                <a:moveTo>
                  <a:pt x="2343" y="790"/>
                </a:moveTo>
                <a:lnTo>
                  <a:pt x="2346" y="789"/>
                </a:lnTo>
                <a:lnTo>
                  <a:pt x="2349" y="788"/>
                </a:lnTo>
                <a:lnTo>
                  <a:pt x="2352" y="788"/>
                </a:lnTo>
                <a:lnTo>
                  <a:pt x="2355" y="789"/>
                </a:lnTo>
                <a:lnTo>
                  <a:pt x="2358" y="790"/>
                </a:lnTo>
                <a:lnTo>
                  <a:pt x="2360" y="792"/>
                </a:lnTo>
                <a:lnTo>
                  <a:pt x="2362" y="794"/>
                </a:lnTo>
                <a:lnTo>
                  <a:pt x="2364" y="796"/>
                </a:lnTo>
                <a:lnTo>
                  <a:pt x="2365" y="799"/>
                </a:lnTo>
                <a:lnTo>
                  <a:pt x="2366" y="805"/>
                </a:lnTo>
                <a:lnTo>
                  <a:pt x="2366" y="807"/>
                </a:lnTo>
                <a:lnTo>
                  <a:pt x="2365" y="810"/>
                </a:lnTo>
                <a:lnTo>
                  <a:pt x="2364" y="812"/>
                </a:lnTo>
                <a:lnTo>
                  <a:pt x="2362" y="814"/>
                </a:lnTo>
                <a:lnTo>
                  <a:pt x="2360" y="816"/>
                </a:lnTo>
                <a:lnTo>
                  <a:pt x="2358" y="818"/>
                </a:lnTo>
                <a:lnTo>
                  <a:pt x="2355" y="819"/>
                </a:lnTo>
                <a:lnTo>
                  <a:pt x="2352" y="820"/>
                </a:lnTo>
                <a:lnTo>
                  <a:pt x="2349" y="820"/>
                </a:lnTo>
                <a:lnTo>
                  <a:pt x="2346" y="819"/>
                </a:lnTo>
                <a:lnTo>
                  <a:pt x="2343" y="818"/>
                </a:lnTo>
                <a:lnTo>
                  <a:pt x="2341" y="816"/>
                </a:lnTo>
                <a:lnTo>
                  <a:pt x="2338" y="814"/>
                </a:lnTo>
                <a:lnTo>
                  <a:pt x="2337" y="812"/>
                </a:lnTo>
                <a:lnTo>
                  <a:pt x="2335" y="809"/>
                </a:lnTo>
                <a:lnTo>
                  <a:pt x="2335" y="803"/>
                </a:lnTo>
                <a:lnTo>
                  <a:pt x="2335" y="801"/>
                </a:lnTo>
                <a:lnTo>
                  <a:pt x="2336" y="798"/>
                </a:lnTo>
                <a:lnTo>
                  <a:pt x="2337" y="796"/>
                </a:lnTo>
                <a:lnTo>
                  <a:pt x="2338" y="794"/>
                </a:lnTo>
                <a:lnTo>
                  <a:pt x="2340" y="792"/>
                </a:lnTo>
                <a:lnTo>
                  <a:pt x="2343" y="790"/>
                </a:lnTo>
                <a:close/>
                <a:moveTo>
                  <a:pt x="2091" y="923"/>
                </a:moveTo>
                <a:lnTo>
                  <a:pt x="2093" y="922"/>
                </a:lnTo>
                <a:lnTo>
                  <a:pt x="2096" y="922"/>
                </a:lnTo>
                <a:lnTo>
                  <a:pt x="2098" y="921"/>
                </a:lnTo>
                <a:lnTo>
                  <a:pt x="2101" y="922"/>
                </a:lnTo>
                <a:lnTo>
                  <a:pt x="2103" y="922"/>
                </a:lnTo>
                <a:lnTo>
                  <a:pt x="2106" y="923"/>
                </a:lnTo>
                <a:lnTo>
                  <a:pt x="2108" y="924"/>
                </a:lnTo>
                <a:lnTo>
                  <a:pt x="2110" y="926"/>
                </a:lnTo>
                <a:lnTo>
                  <a:pt x="2112" y="928"/>
                </a:lnTo>
                <a:lnTo>
                  <a:pt x="2113" y="931"/>
                </a:lnTo>
                <a:lnTo>
                  <a:pt x="2114" y="934"/>
                </a:lnTo>
                <a:lnTo>
                  <a:pt x="2114" y="937"/>
                </a:lnTo>
                <a:lnTo>
                  <a:pt x="2114" y="940"/>
                </a:lnTo>
                <a:lnTo>
                  <a:pt x="2113" y="943"/>
                </a:lnTo>
                <a:lnTo>
                  <a:pt x="2112" y="946"/>
                </a:lnTo>
                <a:lnTo>
                  <a:pt x="2110" y="948"/>
                </a:lnTo>
                <a:lnTo>
                  <a:pt x="2107" y="951"/>
                </a:lnTo>
                <a:lnTo>
                  <a:pt x="2104" y="952"/>
                </a:lnTo>
                <a:lnTo>
                  <a:pt x="2102" y="952"/>
                </a:lnTo>
                <a:lnTo>
                  <a:pt x="2099" y="953"/>
                </a:lnTo>
                <a:lnTo>
                  <a:pt x="2097" y="953"/>
                </a:lnTo>
                <a:lnTo>
                  <a:pt x="2094" y="952"/>
                </a:lnTo>
                <a:lnTo>
                  <a:pt x="2092" y="951"/>
                </a:lnTo>
                <a:lnTo>
                  <a:pt x="2090" y="950"/>
                </a:lnTo>
                <a:lnTo>
                  <a:pt x="2088" y="948"/>
                </a:lnTo>
                <a:lnTo>
                  <a:pt x="2086" y="946"/>
                </a:lnTo>
                <a:lnTo>
                  <a:pt x="2084" y="943"/>
                </a:lnTo>
                <a:lnTo>
                  <a:pt x="2083" y="940"/>
                </a:lnTo>
                <a:lnTo>
                  <a:pt x="2083" y="937"/>
                </a:lnTo>
                <a:lnTo>
                  <a:pt x="2083" y="934"/>
                </a:lnTo>
                <a:lnTo>
                  <a:pt x="2084" y="931"/>
                </a:lnTo>
                <a:lnTo>
                  <a:pt x="2086" y="928"/>
                </a:lnTo>
                <a:lnTo>
                  <a:pt x="2088" y="926"/>
                </a:lnTo>
                <a:lnTo>
                  <a:pt x="2091" y="923"/>
                </a:lnTo>
                <a:close/>
                <a:moveTo>
                  <a:pt x="2209" y="843"/>
                </a:moveTo>
                <a:lnTo>
                  <a:pt x="2212" y="841"/>
                </a:lnTo>
                <a:lnTo>
                  <a:pt x="2215" y="841"/>
                </a:lnTo>
                <a:lnTo>
                  <a:pt x="2218" y="841"/>
                </a:lnTo>
                <a:lnTo>
                  <a:pt x="2222" y="841"/>
                </a:lnTo>
                <a:lnTo>
                  <a:pt x="2224" y="843"/>
                </a:lnTo>
                <a:lnTo>
                  <a:pt x="2227" y="844"/>
                </a:lnTo>
                <a:lnTo>
                  <a:pt x="2229" y="847"/>
                </a:lnTo>
                <a:lnTo>
                  <a:pt x="2231" y="849"/>
                </a:lnTo>
                <a:lnTo>
                  <a:pt x="2232" y="852"/>
                </a:lnTo>
                <a:lnTo>
                  <a:pt x="2232" y="855"/>
                </a:lnTo>
                <a:lnTo>
                  <a:pt x="2232" y="858"/>
                </a:lnTo>
                <a:lnTo>
                  <a:pt x="2231" y="861"/>
                </a:lnTo>
                <a:lnTo>
                  <a:pt x="2230" y="864"/>
                </a:lnTo>
                <a:lnTo>
                  <a:pt x="2229" y="866"/>
                </a:lnTo>
                <a:lnTo>
                  <a:pt x="2227" y="868"/>
                </a:lnTo>
                <a:lnTo>
                  <a:pt x="2224" y="870"/>
                </a:lnTo>
                <a:lnTo>
                  <a:pt x="2221" y="871"/>
                </a:lnTo>
                <a:lnTo>
                  <a:pt x="2218" y="872"/>
                </a:lnTo>
                <a:lnTo>
                  <a:pt x="2215" y="872"/>
                </a:lnTo>
                <a:lnTo>
                  <a:pt x="2211" y="871"/>
                </a:lnTo>
                <a:lnTo>
                  <a:pt x="2209" y="870"/>
                </a:lnTo>
                <a:lnTo>
                  <a:pt x="2206" y="868"/>
                </a:lnTo>
                <a:lnTo>
                  <a:pt x="2204" y="866"/>
                </a:lnTo>
                <a:lnTo>
                  <a:pt x="2202" y="863"/>
                </a:lnTo>
                <a:lnTo>
                  <a:pt x="2201" y="860"/>
                </a:lnTo>
                <a:lnTo>
                  <a:pt x="2201" y="857"/>
                </a:lnTo>
                <a:lnTo>
                  <a:pt x="2201" y="854"/>
                </a:lnTo>
                <a:lnTo>
                  <a:pt x="2202" y="852"/>
                </a:lnTo>
                <a:lnTo>
                  <a:pt x="2203" y="849"/>
                </a:lnTo>
                <a:lnTo>
                  <a:pt x="2204" y="847"/>
                </a:lnTo>
                <a:lnTo>
                  <a:pt x="2206" y="844"/>
                </a:lnTo>
                <a:lnTo>
                  <a:pt x="2209" y="843"/>
                </a:lnTo>
                <a:close/>
                <a:moveTo>
                  <a:pt x="4748" y="1857"/>
                </a:moveTo>
                <a:lnTo>
                  <a:pt x="4751" y="1855"/>
                </a:lnTo>
                <a:lnTo>
                  <a:pt x="4755" y="1855"/>
                </a:lnTo>
                <a:lnTo>
                  <a:pt x="4758" y="1855"/>
                </a:lnTo>
                <a:lnTo>
                  <a:pt x="4762" y="1856"/>
                </a:lnTo>
                <a:lnTo>
                  <a:pt x="4764" y="1857"/>
                </a:lnTo>
                <a:lnTo>
                  <a:pt x="4767" y="1859"/>
                </a:lnTo>
                <a:lnTo>
                  <a:pt x="4769" y="1861"/>
                </a:lnTo>
                <a:lnTo>
                  <a:pt x="4770" y="1864"/>
                </a:lnTo>
                <a:lnTo>
                  <a:pt x="4771" y="1867"/>
                </a:lnTo>
                <a:lnTo>
                  <a:pt x="4772" y="1870"/>
                </a:lnTo>
                <a:lnTo>
                  <a:pt x="4771" y="1873"/>
                </a:lnTo>
                <a:lnTo>
                  <a:pt x="4770" y="1876"/>
                </a:lnTo>
                <a:lnTo>
                  <a:pt x="4769" y="1878"/>
                </a:lnTo>
                <a:lnTo>
                  <a:pt x="4768" y="1880"/>
                </a:lnTo>
                <a:lnTo>
                  <a:pt x="4766" y="1882"/>
                </a:lnTo>
                <a:lnTo>
                  <a:pt x="4764" y="1884"/>
                </a:lnTo>
                <a:lnTo>
                  <a:pt x="4761" y="1885"/>
                </a:lnTo>
                <a:lnTo>
                  <a:pt x="4757" y="1886"/>
                </a:lnTo>
                <a:lnTo>
                  <a:pt x="4754" y="1886"/>
                </a:lnTo>
                <a:lnTo>
                  <a:pt x="4750" y="1885"/>
                </a:lnTo>
                <a:lnTo>
                  <a:pt x="4749" y="1884"/>
                </a:lnTo>
                <a:lnTo>
                  <a:pt x="4747" y="1883"/>
                </a:lnTo>
                <a:lnTo>
                  <a:pt x="4745" y="1881"/>
                </a:lnTo>
                <a:lnTo>
                  <a:pt x="4743" y="1879"/>
                </a:lnTo>
                <a:lnTo>
                  <a:pt x="4742" y="1876"/>
                </a:lnTo>
                <a:lnTo>
                  <a:pt x="4741" y="1874"/>
                </a:lnTo>
                <a:lnTo>
                  <a:pt x="4740" y="1871"/>
                </a:lnTo>
                <a:lnTo>
                  <a:pt x="4741" y="1868"/>
                </a:lnTo>
                <a:lnTo>
                  <a:pt x="4742" y="1865"/>
                </a:lnTo>
                <a:lnTo>
                  <a:pt x="4743" y="1862"/>
                </a:lnTo>
                <a:lnTo>
                  <a:pt x="4744" y="1860"/>
                </a:lnTo>
                <a:lnTo>
                  <a:pt x="4746" y="1858"/>
                </a:lnTo>
                <a:lnTo>
                  <a:pt x="4748" y="1857"/>
                </a:lnTo>
                <a:close/>
                <a:moveTo>
                  <a:pt x="4616" y="1800"/>
                </a:moveTo>
                <a:lnTo>
                  <a:pt x="4619" y="1798"/>
                </a:lnTo>
                <a:lnTo>
                  <a:pt x="4623" y="1798"/>
                </a:lnTo>
                <a:lnTo>
                  <a:pt x="4627" y="1798"/>
                </a:lnTo>
                <a:lnTo>
                  <a:pt x="4630" y="1799"/>
                </a:lnTo>
                <a:lnTo>
                  <a:pt x="4633" y="1801"/>
                </a:lnTo>
                <a:lnTo>
                  <a:pt x="4635" y="1803"/>
                </a:lnTo>
                <a:lnTo>
                  <a:pt x="4637" y="1805"/>
                </a:lnTo>
                <a:lnTo>
                  <a:pt x="4638" y="1808"/>
                </a:lnTo>
                <a:lnTo>
                  <a:pt x="4639" y="1811"/>
                </a:lnTo>
                <a:lnTo>
                  <a:pt x="4639" y="1814"/>
                </a:lnTo>
                <a:lnTo>
                  <a:pt x="4639" y="1817"/>
                </a:lnTo>
                <a:lnTo>
                  <a:pt x="4638" y="1820"/>
                </a:lnTo>
                <a:lnTo>
                  <a:pt x="4636" y="1822"/>
                </a:lnTo>
                <a:lnTo>
                  <a:pt x="4635" y="1824"/>
                </a:lnTo>
                <a:lnTo>
                  <a:pt x="4633" y="1826"/>
                </a:lnTo>
                <a:lnTo>
                  <a:pt x="4631" y="1827"/>
                </a:lnTo>
                <a:lnTo>
                  <a:pt x="4628" y="1828"/>
                </a:lnTo>
                <a:lnTo>
                  <a:pt x="4624" y="1829"/>
                </a:lnTo>
                <a:lnTo>
                  <a:pt x="4621" y="1829"/>
                </a:lnTo>
                <a:lnTo>
                  <a:pt x="4617" y="1827"/>
                </a:lnTo>
                <a:lnTo>
                  <a:pt x="4614" y="1826"/>
                </a:lnTo>
                <a:lnTo>
                  <a:pt x="4612" y="1824"/>
                </a:lnTo>
                <a:lnTo>
                  <a:pt x="4610" y="1821"/>
                </a:lnTo>
                <a:lnTo>
                  <a:pt x="4609" y="1819"/>
                </a:lnTo>
                <a:lnTo>
                  <a:pt x="4608" y="1816"/>
                </a:lnTo>
                <a:lnTo>
                  <a:pt x="4608" y="1813"/>
                </a:lnTo>
                <a:lnTo>
                  <a:pt x="4608" y="1810"/>
                </a:lnTo>
                <a:lnTo>
                  <a:pt x="4609" y="1807"/>
                </a:lnTo>
                <a:lnTo>
                  <a:pt x="4611" y="1805"/>
                </a:lnTo>
                <a:lnTo>
                  <a:pt x="4612" y="1803"/>
                </a:lnTo>
                <a:lnTo>
                  <a:pt x="4614" y="1801"/>
                </a:lnTo>
                <a:lnTo>
                  <a:pt x="4616" y="1800"/>
                </a:lnTo>
                <a:close/>
                <a:moveTo>
                  <a:pt x="4488" y="1732"/>
                </a:moveTo>
                <a:lnTo>
                  <a:pt x="4492" y="1731"/>
                </a:lnTo>
                <a:lnTo>
                  <a:pt x="4496" y="1730"/>
                </a:lnTo>
                <a:lnTo>
                  <a:pt x="4500" y="1730"/>
                </a:lnTo>
                <a:lnTo>
                  <a:pt x="4504" y="1732"/>
                </a:lnTo>
                <a:lnTo>
                  <a:pt x="4506" y="1734"/>
                </a:lnTo>
                <a:lnTo>
                  <a:pt x="4508" y="1736"/>
                </a:lnTo>
                <a:lnTo>
                  <a:pt x="4510" y="1739"/>
                </a:lnTo>
                <a:lnTo>
                  <a:pt x="4511" y="1741"/>
                </a:lnTo>
                <a:lnTo>
                  <a:pt x="4511" y="1744"/>
                </a:lnTo>
                <a:lnTo>
                  <a:pt x="4511" y="1747"/>
                </a:lnTo>
                <a:lnTo>
                  <a:pt x="4511" y="1750"/>
                </a:lnTo>
                <a:lnTo>
                  <a:pt x="4509" y="1753"/>
                </a:lnTo>
                <a:lnTo>
                  <a:pt x="4507" y="1757"/>
                </a:lnTo>
                <a:lnTo>
                  <a:pt x="4504" y="1759"/>
                </a:lnTo>
                <a:lnTo>
                  <a:pt x="4500" y="1760"/>
                </a:lnTo>
                <a:lnTo>
                  <a:pt x="4496" y="1761"/>
                </a:lnTo>
                <a:lnTo>
                  <a:pt x="4492" y="1761"/>
                </a:lnTo>
                <a:lnTo>
                  <a:pt x="4488" y="1759"/>
                </a:lnTo>
                <a:lnTo>
                  <a:pt x="4486" y="1757"/>
                </a:lnTo>
                <a:lnTo>
                  <a:pt x="4484" y="1755"/>
                </a:lnTo>
                <a:lnTo>
                  <a:pt x="4482" y="1752"/>
                </a:lnTo>
                <a:lnTo>
                  <a:pt x="4481" y="1750"/>
                </a:lnTo>
                <a:lnTo>
                  <a:pt x="4480" y="1747"/>
                </a:lnTo>
                <a:lnTo>
                  <a:pt x="4481" y="1744"/>
                </a:lnTo>
                <a:lnTo>
                  <a:pt x="4481" y="1741"/>
                </a:lnTo>
                <a:lnTo>
                  <a:pt x="4482" y="1738"/>
                </a:lnTo>
                <a:lnTo>
                  <a:pt x="4485" y="1735"/>
                </a:lnTo>
                <a:lnTo>
                  <a:pt x="4488" y="1732"/>
                </a:lnTo>
                <a:close/>
                <a:moveTo>
                  <a:pt x="4363" y="1661"/>
                </a:moveTo>
                <a:lnTo>
                  <a:pt x="4367" y="1660"/>
                </a:lnTo>
                <a:lnTo>
                  <a:pt x="4370" y="1659"/>
                </a:lnTo>
                <a:lnTo>
                  <a:pt x="4374" y="1659"/>
                </a:lnTo>
                <a:lnTo>
                  <a:pt x="4378" y="1661"/>
                </a:lnTo>
                <a:lnTo>
                  <a:pt x="4381" y="1663"/>
                </a:lnTo>
                <a:lnTo>
                  <a:pt x="4383" y="1665"/>
                </a:lnTo>
                <a:lnTo>
                  <a:pt x="4385" y="1668"/>
                </a:lnTo>
                <a:lnTo>
                  <a:pt x="4386" y="1670"/>
                </a:lnTo>
                <a:lnTo>
                  <a:pt x="4386" y="1673"/>
                </a:lnTo>
                <a:lnTo>
                  <a:pt x="4386" y="1676"/>
                </a:lnTo>
                <a:lnTo>
                  <a:pt x="4385" y="1679"/>
                </a:lnTo>
                <a:lnTo>
                  <a:pt x="4384" y="1682"/>
                </a:lnTo>
                <a:lnTo>
                  <a:pt x="4383" y="1684"/>
                </a:lnTo>
                <a:lnTo>
                  <a:pt x="4382" y="1685"/>
                </a:lnTo>
                <a:lnTo>
                  <a:pt x="4378" y="1688"/>
                </a:lnTo>
                <a:lnTo>
                  <a:pt x="4375" y="1689"/>
                </a:lnTo>
                <a:lnTo>
                  <a:pt x="4371" y="1690"/>
                </a:lnTo>
                <a:lnTo>
                  <a:pt x="4367" y="1690"/>
                </a:lnTo>
                <a:lnTo>
                  <a:pt x="4363" y="1688"/>
                </a:lnTo>
                <a:lnTo>
                  <a:pt x="4360" y="1686"/>
                </a:lnTo>
                <a:lnTo>
                  <a:pt x="4358" y="1684"/>
                </a:lnTo>
                <a:lnTo>
                  <a:pt x="4357" y="1681"/>
                </a:lnTo>
                <a:lnTo>
                  <a:pt x="4356" y="1679"/>
                </a:lnTo>
                <a:lnTo>
                  <a:pt x="4355" y="1676"/>
                </a:lnTo>
                <a:lnTo>
                  <a:pt x="4355" y="1673"/>
                </a:lnTo>
                <a:lnTo>
                  <a:pt x="4356" y="1670"/>
                </a:lnTo>
                <a:lnTo>
                  <a:pt x="4357" y="1667"/>
                </a:lnTo>
                <a:lnTo>
                  <a:pt x="4358" y="1665"/>
                </a:lnTo>
                <a:lnTo>
                  <a:pt x="4360" y="1664"/>
                </a:lnTo>
                <a:lnTo>
                  <a:pt x="4363" y="1661"/>
                </a:lnTo>
                <a:close/>
                <a:moveTo>
                  <a:pt x="4237" y="1591"/>
                </a:moveTo>
                <a:lnTo>
                  <a:pt x="4241" y="1589"/>
                </a:lnTo>
                <a:lnTo>
                  <a:pt x="4245" y="1589"/>
                </a:lnTo>
                <a:lnTo>
                  <a:pt x="4247" y="1589"/>
                </a:lnTo>
                <a:lnTo>
                  <a:pt x="4249" y="1589"/>
                </a:lnTo>
                <a:lnTo>
                  <a:pt x="4252" y="1591"/>
                </a:lnTo>
                <a:lnTo>
                  <a:pt x="4255" y="1593"/>
                </a:lnTo>
                <a:lnTo>
                  <a:pt x="4257" y="1595"/>
                </a:lnTo>
                <a:lnTo>
                  <a:pt x="4259" y="1597"/>
                </a:lnTo>
                <a:lnTo>
                  <a:pt x="4260" y="1600"/>
                </a:lnTo>
                <a:lnTo>
                  <a:pt x="4260" y="1603"/>
                </a:lnTo>
                <a:lnTo>
                  <a:pt x="4260" y="1606"/>
                </a:lnTo>
                <a:lnTo>
                  <a:pt x="4260" y="1609"/>
                </a:lnTo>
                <a:lnTo>
                  <a:pt x="4258" y="1612"/>
                </a:lnTo>
                <a:lnTo>
                  <a:pt x="4256" y="1615"/>
                </a:lnTo>
                <a:lnTo>
                  <a:pt x="4253" y="1618"/>
                </a:lnTo>
                <a:lnTo>
                  <a:pt x="4249" y="1619"/>
                </a:lnTo>
                <a:lnTo>
                  <a:pt x="4245" y="1620"/>
                </a:lnTo>
                <a:lnTo>
                  <a:pt x="4243" y="1620"/>
                </a:lnTo>
                <a:lnTo>
                  <a:pt x="4241" y="1620"/>
                </a:lnTo>
                <a:lnTo>
                  <a:pt x="4237" y="1618"/>
                </a:lnTo>
                <a:lnTo>
                  <a:pt x="4235" y="1616"/>
                </a:lnTo>
                <a:lnTo>
                  <a:pt x="4233" y="1614"/>
                </a:lnTo>
                <a:lnTo>
                  <a:pt x="4231" y="1612"/>
                </a:lnTo>
                <a:lnTo>
                  <a:pt x="4230" y="1609"/>
                </a:lnTo>
                <a:lnTo>
                  <a:pt x="4229" y="1606"/>
                </a:lnTo>
                <a:lnTo>
                  <a:pt x="4229" y="1603"/>
                </a:lnTo>
                <a:lnTo>
                  <a:pt x="4230" y="1600"/>
                </a:lnTo>
                <a:lnTo>
                  <a:pt x="4231" y="1597"/>
                </a:lnTo>
                <a:lnTo>
                  <a:pt x="4234" y="1594"/>
                </a:lnTo>
                <a:lnTo>
                  <a:pt x="4237" y="1591"/>
                </a:lnTo>
                <a:close/>
                <a:moveTo>
                  <a:pt x="4111" y="1522"/>
                </a:moveTo>
                <a:lnTo>
                  <a:pt x="4112" y="1521"/>
                </a:lnTo>
                <a:lnTo>
                  <a:pt x="4114" y="1521"/>
                </a:lnTo>
                <a:lnTo>
                  <a:pt x="4118" y="1520"/>
                </a:lnTo>
                <a:lnTo>
                  <a:pt x="4120" y="1520"/>
                </a:lnTo>
                <a:lnTo>
                  <a:pt x="4122" y="1521"/>
                </a:lnTo>
                <a:lnTo>
                  <a:pt x="4126" y="1522"/>
                </a:lnTo>
                <a:lnTo>
                  <a:pt x="4128" y="1524"/>
                </a:lnTo>
                <a:lnTo>
                  <a:pt x="4130" y="1526"/>
                </a:lnTo>
                <a:lnTo>
                  <a:pt x="4132" y="1528"/>
                </a:lnTo>
                <a:lnTo>
                  <a:pt x="4133" y="1531"/>
                </a:lnTo>
                <a:lnTo>
                  <a:pt x="4134" y="1534"/>
                </a:lnTo>
                <a:lnTo>
                  <a:pt x="4134" y="1537"/>
                </a:lnTo>
                <a:lnTo>
                  <a:pt x="4133" y="1540"/>
                </a:lnTo>
                <a:lnTo>
                  <a:pt x="4132" y="1543"/>
                </a:lnTo>
                <a:lnTo>
                  <a:pt x="4129" y="1547"/>
                </a:lnTo>
                <a:lnTo>
                  <a:pt x="4128" y="1548"/>
                </a:lnTo>
                <a:lnTo>
                  <a:pt x="4126" y="1549"/>
                </a:lnTo>
                <a:lnTo>
                  <a:pt x="4124" y="1550"/>
                </a:lnTo>
                <a:lnTo>
                  <a:pt x="4123" y="1551"/>
                </a:lnTo>
                <a:lnTo>
                  <a:pt x="4119" y="1551"/>
                </a:lnTo>
                <a:lnTo>
                  <a:pt x="4117" y="1551"/>
                </a:lnTo>
                <a:lnTo>
                  <a:pt x="4115" y="1551"/>
                </a:lnTo>
                <a:lnTo>
                  <a:pt x="4111" y="1549"/>
                </a:lnTo>
                <a:lnTo>
                  <a:pt x="4108" y="1548"/>
                </a:lnTo>
                <a:lnTo>
                  <a:pt x="4106" y="1545"/>
                </a:lnTo>
                <a:lnTo>
                  <a:pt x="4105" y="1543"/>
                </a:lnTo>
                <a:lnTo>
                  <a:pt x="4103" y="1540"/>
                </a:lnTo>
                <a:lnTo>
                  <a:pt x="4103" y="1537"/>
                </a:lnTo>
                <a:lnTo>
                  <a:pt x="4103" y="1534"/>
                </a:lnTo>
                <a:lnTo>
                  <a:pt x="4103" y="1531"/>
                </a:lnTo>
                <a:lnTo>
                  <a:pt x="4105" y="1528"/>
                </a:lnTo>
                <a:lnTo>
                  <a:pt x="4107" y="1525"/>
                </a:lnTo>
                <a:lnTo>
                  <a:pt x="4109" y="1523"/>
                </a:lnTo>
                <a:lnTo>
                  <a:pt x="4111" y="1522"/>
                </a:lnTo>
                <a:close/>
                <a:moveTo>
                  <a:pt x="3982" y="1455"/>
                </a:moveTo>
                <a:lnTo>
                  <a:pt x="3984" y="1454"/>
                </a:lnTo>
                <a:lnTo>
                  <a:pt x="3986" y="1454"/>
                </a:lnTo>
                <a:lnTo>
                  <a:pt x="3989" y="1453"/>
                </a:lnTo>
                <a:lnTo>
                  <a:pt x="3993" y="1454"/>
                </a:lnTo>
                <a:lnTo>
                  <a:pt x="3997" y="1455"/>
                </a:lnTo>
                <a:lnTo>
                  <a:pt x="4000" y="1457"/>
                </a:lnTo>
                <a:lnTo>
                  <a:pt x="4002" y="1459"/>
                </a:lnTo>
                <a:lnTo>
                  <a:pt x="4003" y="1461"/>
                </a:lnTo>
                <a:lnTo>
                  <a:pt x="4005" y="1464"/>
                </a:lnTo>
                <a:lnTo>
                  <a:pt x="4005" y="1470"/>
                </a:lnTo>
                <a:lnTo>
                  <a:pt x="4005" y="1473"/>
                </a:lnTo>
                <a:lnTo>
                  <a:pt x="4004" y="1476"/>
                </a:lnTo>
                <a:lnTo>
                  <a:pt x="4001" y="1480"/>
                </a:lnTo>
                <a:lnTo>
                  <a:pt x="3998" y="1482"/>
                </a:lnTo>
                <a:lnTo>
                  <a:pt x="3996" y="1483"/>
                </a:lnTo>
                <a:lnTo>
                  <a:pt x="3994" y="1484"/>
                </a:lnTo>
                <a:lnTo>
                  <a:pt x="3990" y="1484"/>
                </a:lnTo>
                <a:lnTo>
                  <a:pt x="3987" y="1484"/>
                </a:lnTo>
                <a:lnTo>
                  <a:pt x="3983" y="1483"/>
                </a:lnTo>
                <a:lnTo>
                  <a:pt x="3980" y="1481"/>
                </a:lnTo>
                <a:lnTo>
                  <a:pt x="3978" y="1479"/>
                </a:lnTo>
                <a:lnTo>
                  <a:pt x="3976" y="1476"/>
                </a:lnTo>
                <a:lnTo>
                  <a:pt x="3975" y="1474"/>
                </a:lnTo>
                <a:lnTo>
                  <a:pt x="3974" y="1468"/>
                </a:lnTo>
                <a:lnTo>
                  <a:pt x="3975" y="1465"/>
                </a:lnTo>
                <a:lnTo>
                  <a:pt x="3976" y="1462"/>
                </a:lnTo>
                <a:lnTo>
                  <a:pt x="3979" y="1458"/>
                </a:lnTo>
                <a:lnTo>
                  <a:pt x="3982" y="1455"/>
                </a:lnTo>
                <a:close/>
                <a:moveTo>
                  <a:pt x="3853" y="1391"/>
                </a:moveTo>
                <a:lnTo>
                  <a:pt x="3857" y="1389"/>
                </a:lnTo>
                <a:lnTo>
                  <a:pt x="3860" y="1389"/>
                </a:lnTo>
                <a:lnTo>
                  <a:pt x="3864" y="1389"/>
                </a:lnTo>
                <a:lnTo>
                  <a:pt x="3868" y="1390"/>
                </a:lnTo>
                <a:lnTo>
                  <a:pt x="3871" y="1392"/>
                </a:lnTo>
                <a:lnTo>
                  <a:pt x="3873" y="1394"/>
                </a:lnTo>
                <a:lnTo>
                  <a:pt x="3875" y="1397"/>
                </a:lnTo>
                <a:lnTo>
                  <a:pt x="3876" y="1399"/>
                </a:lnTo>
                <a:lnTo>
                  <a:pt x="3876" y="1402"/>
                </a:lnTo>
                <a:lnTo>
                  <a:pt x="3877" y="1405"/>
                </a:lnTo>
                <a:lnTo>
                  <a:pt x="3876" y="1408"/>
                </a:lnTo>
                <a:lnTo>
                  <a:pt x="3875" y="1411"/>
                </a:lnTo>
                <a:lnTo>
                  <a:pt x="3874" y="1413"/>
                </a:lnTo>
                <a:lnTo>
                  <a:pt x="3872" y="1415"/>
                </a:lnTo>
                <a:lnTo>
                  <a:pt x="3869" y="1418"/>
                </a:lnTo>
                <a:lnTo>
                  <a:pt x="3865" y="1419"/>
                </a:lnTo>
                <a:lnTo>
                  <a:pt x="3862" y="1420"/>
                </a:lnTo>
                <a:lnTo>
                  <a:pt x="3858" y="1420"/>
                </a:lnTo>
                <a:lnTo>
                  <a:pt x="3854" y="1418"/>
                </a:lnTo>
                <a:lnTo>
                  <a:pt x="3852" y="1417"/>
                </a:lnTo>
                <a:lnTo>
                  <a:pt x="3849" y="1415"/>
                </a:lnTo>
                <a:lnTo>
                  <a:pt x="3848" y="1412"/>
                </a:lnTo>
                <a:lnTo>
                  <a:pt x="3846" y="1409"/>
                </a:lnTo>
                <a:lnTo>
                  <a:pt x="3846" y="1407"/>
                </a:lnTo>
                <a:lnTo>
                  <a:pt x="3846" y="1404"/>
                </a:lnTo>
                <a:lnTo>
                  <a:pt x="3846" y="1400"/>
                </a:lnTo>
                <a:lnTo>
                  <a:pt x="3847" y="1398"/>
                </a:lnTo>
                <a:lnTo>
                  <a:pt x="3848" y="1395"/>
                </a:lnTo>
                <a:lnTo>
                  <a:pt x="3850" y="1394"/>
                </a:lnTo>
                <a:lnTo>
                  <a:pt x="3853" y="1391"/>
                </a:lnTo>
                <a:close/>
                <a:moveTo>
                  <a:pt x="3723" y="1330"/>
                </a:moveTo>
                <a:lnTo>
                  <a:pt x="3726" y="1328"/>
                </a:lnTo>
                <a:lnTo>
                  <a:pt x="3730" y="1328"/>
                </a:lnTo>
                <a:lnTo>
                  <a:pt x="3734" y="1328"/>
                </a:lnTo>
                <a:lnTo>
                  <a:pt x="3735" y="1328"/>
                </a:lnTo>
                <a:lnTo>
                  <a:pt x="3737" y="1329"/>
                </a:lnTo>
                <a:lnTo>
                  <a:pt x="3740" y="1331"/>
                </a:lnTo>
                <a:lnTo>
                  <a:pt x="3742" y="1333"/>
                </a:lnTo>
                <a:lnTo>
                  <a:pt x="3744" y="1335"/>
                </a:lnTo>
                <a:lnTo>
                  <a:pt x="3745" y="1338"/>
                </a:lnTo>
                <a:lnTo>
                  <a:pt x="3746" y="1341"/>
                </a:lnTo>
                <a:lnTo>
                  <a:pt x="3746" y="1344"/>
                </a:lnTo>
                <a:lnTo>
                  <a:pt x="3746" y="1347"/>
                </a:lnTo>
                <a:lnTo>
                  <a:pt x="3745" y="1350"/>
                </a:lnTo>
                <a:lnTo>
                  <a:pt x="3744" y="1352"/>
                </a:lnTo>
                <a:lnTo>
                  <a:pt x="3742" y="1354"/>
                </a:lnTo>
                <a:lnTo>
                  <a:pt x="3741" y="1355"/>
                </a:lnTo>
                <a:lnTo>
                  <a:pt x="3739" y="1357"/>
                </a:lnTo>
                <a:lnTo>
                  <a:pt x="3735" y="1358"/>
                </a:lnTo>
                <a:lnTo>
                  <a:pt x="3732" y="1359"/>
                </a:lnTo>
                <a:lnTo>
                  <a:pt x="3728" y="1358"/>
                </a:lnTo>
                <a:lnTo>
                  <a:pt x="3726" y="1358"/>
                </a:lnTo>
                <a:lnTo>
                  <a:pt x="3724" y="1357"/>
                </a:lnTo>
                <a:lnTo>
                  <a:pt x="3722" y="1356"/>
                </a:lnTo>
                <a:lnTo>
                  <a:pt x="3719" y="1354"/>
                </a:lnTo>
                <a:lnTo>
                  <a:pt x="3718" y="1351"/>
                </a:lnTo>
                <a:lnTo>
                  <a:pt x="3716" y="1349"/>
                </a:lnTo>
                <a:lnTo>
                  <a:pt x="3715" y="1346"/>
                </a:lnTo>
                <a:lnTo>
                  <a:pt x="3715" y="1343"/>
                </a:lnTo>
                <a:lnTo>
                  <a:pt x="3716" y="1340"/>
                </a:lnTo>
                <a:lnTo>
                  <a:pt x="3717" y="1337"/>
                </a:lnTo>
                <a:lnTo>
                  <a:pt x="3718" y="1335"/>
                </a:lnTo>
                <a:lnTo>
                  <a:pt x="3719" y="1333"/>
                </a:lnTo>
                <a:lnTo>
                  <a:pt x="3721" y="1331"/>
                </a:lnTo>
                <a:lnTo>
                  <a:pt x="3723" y="1330"/>
                </a:lnTo>
                <a:close/>
                <a:moveTo>
                  <a:pt x="1967" y="2343"/>
                </a:moveTo>
                <a:lnTo>
                  <a:pt x="1969" y="2342"/>
                </a:lnTo>
                <a:lnTo>
                  <a:pt x="1972" y="2341"/>
                </a:lnTo>
                <a:lnTo>
                  <a:pt x="1977" y="2341"/>
                </a:lnTo>
                <a:lnTo>
                  <a:pt x="1979" y="2342"/>
                </a:lnTo>
                <a:lnTo>
                  <a:pt x="1982" y="2343"/>
                </a:lnTo>
                <a:lnTo>
                  <a:pt x="1984" y="2344"/>
                </a:lnTo>
                <a:lnTo>
                  <a:pt x="1986" y="2346"/>
                </a:lnTo>
                <a:lnTo>
                  <a:pt x="1988" y="2348"/>
                </a:lnTo>
                <a:lnTo>
                  <a:pt x="1989" y="2351"/>
                </a:lnTo>
                <a:lnTo>
                  <a:pt x="1990" y="2354"/>
                </a:lnTo>
                <a:lnTo>
                  <a:pt x="1990" y="2357"/>
                </a:lnTo>
                <a:lnTo>
                  <a:pt x="1990" y="2360"/>
                </a:lnTo>
                <a:lnTo>
                  <a:pt x="1989" y="2363"/>
                </a:lnTo>
                <a:lnTo>
                  <a:pt x="1988" y="2365"/>
                </a:lnTo>
                <a:lnTo>
                  <a:pt x="1986" y="2368"/>
                </a:lnTo>
                <a:lnTo>
                  <a:pt x="1982" y="2370"/>
                </a:lnTo>
                <a:lnTo>
                  <a:pt x="1978" y="2372"/>
                </a:lnTo>
                <a:lnTo>
                  <a:pt x="1973" y="2372"/>
                </a:lnTo>
                <a:lnTo>
                  <a:pt x="1970" y="2371"/>
                </a:lnTo>
                <a:lnTo>
                  <a:pt x="1968" y="2370"/>
                </a:lnTo>
                <a:lnTo>
                  <a:pt x="1966" y="2369"/>
                </a:lnTo>
                <a:lnTo>
                  <a:pt x="1964" y="2367"/>
                </a:lnTo>
                <a:lnTo>
                  <a:pt x="1962" y="2365"/>
                </a:lnTo>
                <a:lnTo>
                  <a:pt x="1960" y="2362"/>
                </a:lnTo>
                <a:lnTo>
                  <a:pt x="1959" y="2359"/>
                </a:lnTo>
                <a:lnTo>
                  <a:pt x="1959" y="2356"/>
                </a:lnTo>
                <a:lnTo>
                  <a:pt x="1959" y="2353"/>
                </a:lnTo>
                <a:lnTo>
                  <a:pt x="1960" y="2350"/>
                </a:lnTo>
                <a:lnTo>
                  <a:pt x="1962" y="2348"/>
                </a:lnTo>
                <a:lnTo>
                  <a:pt x="1964" y="2345"/>
                </a:lnTo>
                <a:lnTo>
                  <a:pt x="1967" y="2343"/>
                </a:lnTo>
                <a:close/>
                <a:moveTo>
                  <a:pt x="2063" y="2236"/>
                </a:moveTo>
                <a:lnTo>
                  <a:pt x="2067" y="2234"/>
                </a:lnTo>
                <a:lnTo>
                  <a:pt x="2071" y="2234"/>
                </a:lnTo>
                <a:lnTo>
                  <a:pt x="2073" y="2234"/>
                </a:lnTo>
                <a:lnTo>
                  <a:pt x="2076" y="2235"/>
                </a:lnTo>
                <a:lnTo>
                  <a:pt x="2078" y="2236"/>
                </a:lnTo>
                <a:lnTo>
                  <a:pt x="2080" y="2237"/>
                </a:lnTo>
                <a:lnTo>
                  <a:pt x="2082" y="2239"/>
                </a:lnTo>
                <a:lnTo>
                  <a:pt x="2084" y="2242"/>
                </a:lnTo>
                <a:lnTo>
                  <a:pt x="2085" y="2245"/>
                </a:lnTo>
                <a:lnTo>
                  <a:pt x="2086" y="2248"/>
                </a:lnTo>
                <a:lnTo>
                  <a:pt x="2086" y="2251"/>
                </a:lnTo>
                <a:lnTo>
                  <a:pt x="2085" y="2254"/>
                </a:lnTo>
                <a:lnTo>
                  <a:pt x="2084" y="2256"/>
                </a:lnTo>
                <a:lnTo>
                  <a:pt x="2083" y="2259"/>
                </a:lnTo>
                <a:lnTo>
                  <a:pt x="2081" y="2261"/>
                </a:lnTo>
                <a:lnTo>
                  <a:pt x="2078" y="2263"/>
                </a:lnTo>
                <a:lnTo>
                  <a:pt x="2074" y="2265"/>
                </a:lnTo>
                <a:lnTo>
                  <a:pt x="2069" y="2265"/>
                </a:lnTo>
                <a:lnTo>
                  <a:pt x="2067" y="2265"/>
                </a:lnTo>
                <a:lnTo>
                  <a:pt x="2065" y="2264"/>
                </a:lnTo>
                <a:lnTo>
                  <a:pt x="2063" y="2263"/>
                </a:lnTo>
                <a:lnTo>
                  <a:pt x="2061" y="2262"/>
                </a:lnTo>
                <a:lnTo>
                  <a:pt x="2059" y="2260"/>
                </a:lnTo>
                <a:lnTo>
                  <a:pt x="2057" y="2257"/>
                </a:lnTo>
                <a:lnTo>
                  <a:pt x="2056" y="2255"/>
                </a:lnTo>
                <a:lnTo>
                  <a:pt x="2055" y="2252"/>
                </a:lnTo>
                <a:lnTo>
                  <a:pt x="2055" y="2249"/>
                </a:lnTo>
                <a:lnTo>
                  <a:pt x="2055" y="2246"/>
                </a:lnTo>
                <a:lnTo>
                  <a:pt x="2056" y="2243"/>
                </a:lnTo>
                <a:lnTo>
                  <a:pt x="2058" y="2240"/>
                </a:lnTo>
                <a:lnTo>
                  <a:pt x="2060" y="2238"/>
                </a:lnTo>
                <a:lnTo>
                  <a:pt x="2063" y="2236"/>
                </a:lnTo>
                <a:close/>
                <a:moveTo>
                  <a:pt x="2140" y="2115"/>
                </a:moveTo>
                <a:lnTo>
                  <a:pt x="2141" y="2114"/>
                </a:lnTo>
                <a:lnTo>
                  <a:pt x="2143" y="2114"/>
                </a:lnTo>
                <a:lnTo>
                  <a:pt x="2147" y="2113"/>
                </a:lnTo>
                <a:lnTo>
                  <a:pt x="2151" y="2113"/>
                </a:lnTo>
                <a:lnTo>
                  <a:pt x="2154" y="2115"/>
                </a:lnTo>
                <a:lnTo>
                  <a:pt x="2157" y="2116"/>
                </a:lnTo>
                <a:lnTo>
                  <a:pt x="2159" y="2119"/>
                </a:lnTo>
                <a:lnTo>
                  <a:pt x="2161" y="2121"/>
                </a:lnTo>
                <a:lnTo>
                  <a:pt x="2162" y="2124"/>
                </a:lnTo>
                <a:lnTo>
                  <a:pt x="2163" y="2130"/>
                </a:lnTo>
                <a:lnTo>
                  <a:pt x="2162" y="2133"/>
                </a:lnTo>
                <a:lnTo>
                  <a:pt x="2161" y="2136"/>
                </a:lnTo>
                <a:lnTo>
                  <a:pt x="2159" y="2139"/>
                </a:lnTo>
                <a:lnTo>
                  <a:pt x="2155" y="2142"/>
                </a:lnTo>
                <a:lnTo>
                  <a:pt x="2153" y="2143"/>
                </a:lnTo>
                <a:lnTo>
                  <a:pt x="2152" y="2143"/>
                </a:lnTo>
                <a:lnTo>
                  <a:pt x="2148" y="2144"/>
                </a:lnTo>
                <a:lnTo>
                  <a:pt x="2144" y="2144"/>
                </a:lnTo>
                <a:lnTo>
                  <a:pt x="2140" y="2142"/>
                </a:lnTo>
                <a:lnTo>
                  <a:pt x="2138" y="2141"/>
                </a:lnTo>
                <a:lnTo>
                  <a:pt x="2135" y="2139"/>
                </a:lnTo>
                <a:lnTo>
                  <a:pt x="2134" y="2136"/>
                </a:lnTo>
                <a:lnTo>
                  <a:pt x="2133" y="2133"/>
                </a:lnTo>
                <a:lnTo>
                  <a:pt x="2132" y="2127"/>
                </a:lnTo>
                <a:lnTo>
                  <a:pt x="2132" y="2124"/>
                </a:lnTo>
                <a:lnTo>
                  <a:pt x="2133" y="2121"/>
                </a:lnTo>
                <a:lnTo>
                  <a:pt x="2136" y="2118"/>
                </a:lnTo>
                <a:lnTo>
                  <a:pt x="2140" y="2115"/>
                </a:lnTo>
                <a:close/>
                <a:moveTo>
                  <a:pt x="3591" y="1273"/>
                </a:moveTo>
                <a:lnTo>
                  <a:pt x="3594" y="1271"/>
                </a:lnTo>
                <a:lnTo>
                  <a:pt x="3597" y="1271"/>
                </a:lnTo>
                <a:lnTo>
                  <a:pt x="3601" y="1271"/>
                </a:lnTo>
                <a:lnTo>
                  <a:pt x="3604" y="1272"/>
                </a:lnTo>
                <a:lnTo>
                  <a:pt x="3607" y="1273"/>
                </a:lnTo>
                <a:lnTo>
                  <a:pt x="3610" y="1275"/>
                </a:lnTo>
                <a:lnTo>
                  <a:pt x="3611" y="1278"/>
                </a:lnTo>
                <a:lnTo>
                  <a:pt x="3613" y="1280"/>
                </a:lnTo>
                <a:lnTo>
                  <a:pt x="3614" y="1283"/>
                </a:lnTo>
                <a:lnTo>
                  <a:pt x="3614" y="1286"/>
                </a:lnTo>
                <a:lnTo>
                  <a:pt x="3614" y="1289"/>
                </a:lnTo>
                <a:lnTo>
                  <a:pt x="3613" y="1292"/>
                </a:lnTo>
                <a:lnTo>
                  <a:pt x="3612" y="1294"/>
                </a:lnTo>
                <a:lnTo>
                  <a:pt x="3610" y="1297"/>
                </a:lnTo>
                <a:lnTo>
                  <a:pt x="3608" y="1298"/>
                </a:lnTo>
                <a:lnTo>
                  <a:pt x="3606" y="1300"/>
                </a:lnTo>
                <a:lnTo>
                  <a:pt x="3603" y="1301"/>
                </a:lnTo>
                <a:lnTo>
                  <a:pt x="3600" y="1302"/>
                </a:lnTo>
                <a:lnTo>
                  <a:pt x="3596" y="1302"/>
                </a:lnTo>
                <a:lnTo>
                  <a:pt x="3593" y="1301"/>
                </a:lnTo>
                <a:lnTo>
                  <a:pt x="3590" y="1299"/>
                </a:lnTo>
                <a:lnTo>
                  <a:pt x="3588" y="1297"/>
                </a:lnTo>
                <a:lnTo>
                  <a:pt x="3586" y="1295"/>
                </a:lnTo>
                <a:lnTo>
                  <a:pt x="3584" y="1292"/>
                </a:lnTo>
                <a:lnTo>
                  <a:pt x="3583" y="1289"/>
                </a:lnTo>
                <a:lnTo>
                  <a:pt x="3583" y="1286"/>
                </a:lnTo>
                <a:lnTo>
                  <a:pt x="3583" y="1283"/>
                </a:lnTo>
                <a:lnTo>
                  <a:pt x="3584" y="1280"/>
                </a:lnTo>
                <a:lnTo>
                  <a:pt x="3585" y="1278"/>
                </a:lnTo>
                <a:lnTo>
                  <a:pt x="3587" y="1276"/>
                </a:lnTo>
                <a:lnTo>
                  <a:pt x="3589" y="1274"/>
                </a:lnTo>
                <a:lnTo>
                  <a:pt x="3591" y="1273"/>
                </a:lnTo>
                <a:close/>
                <a:moveTo>
                  <a:pt x="2193" y="1982"/>
                </a:moveTo>
                <a:lnTo>
                  <a:pt x="2196" y="1981"/>
                </a:lnTo>
                <a:lnTo>
                  <a:pt x="2199" y="1980"/>
                </a:lnTo>
                <a:lnTo>
                  <a:pt x="2202" y="1980"/>
                </a:lnTo>
                <a:lnTo>
                  <a:pt x="2205" y="1981"/>
                </a:lnTo>
                <a:lnTo>
                  <a:pt x="2208" y="1982"/>
                </a:lnTo>
                <a:lnTo>
                  <a:pt x="2211" y="1983"/>
                </a:lnTo>
                <a:lnTo>
                  <a:pt x="2212" y="1984"/>
                </a:lnTo>
                <a:lnTo>
                  <a:pt x="2213" y="1986"/>
                </a:lnTo>
                <a:lnTo>
                  <a:pt x="2215" y="1988"/>
                </a:lnTo>
                <a:lnTo>
                  <a:pt x="2216" y="1991"/>
                </a:lnTo>
                <a:lnTo>
                  <a:pt x="2216" y="1994"/>
                </a:lnTo>
                <a:lnTo>
                  <a:pt x="2216" y="1997"/>
                </a:lnTo>
                <a:lnTo>
                  <a:pt x="2216" y="2000"/>
                </a:lnTo>
                <a:lnTo>
                  <a:pt x="2215" y="2003"/>
                </a:lnTo>
                <a:lnTo>
                  <a:pt x="2213" y="2005"/>
                </a:lnTo>
                <a:lnTo>
                  <a:pt x="2211" y="2007"/>
                </a:lnTo>
                <a:lnTo>
                  <a:pt x="2209" y="2009"/>
                </a:lnTo>
                <a:lnTo>
                  <a:pt x="2206" y="2010"/>
                </a:lnTo>
                <a:lnTo>
                  <a:pt x="2203" y="2011"/>
                </a:lnTo>
                <a:lnTo>
                  <a:pt x="2200" y="2011"/>
                </a:lnTo>
                <a:lnTo>
                  <a:pt x="2196" y="2010"/>
                </a:lnTo>
                <a:lnTo>
                  <a:pt x="2194" y="2009"/>
                </a:lnTo>
                <a:lnTo>
                  <a:pt x="2191" y="2007"/>
                </a:lnTo>
                <a:lnTo>
                  <a:pt x="2190" y="2006"/>
                </a:lnTo>
                <a:lnTo>
                  <a:pt x="2189" y="2005"/>
                </a:lnTo>
                <a:lnTo>
                  <a:pt x="2187" y="2003"/>
                </a:lnTo>
                <a:lnTo>
                  <a:pt x="2186" y="2000"/>
                </a:lnTo>
                <a:lnTo>
                  <a:pt x="2185" y="1997"/>
                </a:lnTo>
                <a:lnTo>
                  <a:pt x="2185" y="1994"/>
                </a:lnTo>
                <a:lnTo>
                  <a:pt x="2186" y="1991"/>
                </a:lnTo>
                <a:lnTo>
                  <a:pt x="2187" y="1988"/>
                </a:lnTo>
                <a:lnTo>
                  <a:pt x="2189" y="1986"/>
                </a:lnTo>
                <a:lnTo>
                  <a:pt x="2191" y="1984"/>
                </a:lnTo>
                <a:lnTo>
                  <a:pt x="2193" y="1982"/>
                </a:lnTo>
                <a:close/>
                <a:moveTo>
                  <a:pt x="3456" y="1222"/>
                </a:moveTo>
                <a:lnTo>
                  <a:pt x="3459" y="1220"/>
                </a:lnTo>
                <a:lnTo>
                  <a:pt x="3462" y="1220"/>
                </a:lnTo>
                <a:lnTo>
                  <a:pt x="3466" y="1220"/>
                </a:lnTo>
                <a:lnTo>
                  <a:pt x="3469" y="1220"/>
                </a:lnTo>
                <a:lnTo>
                  <a:pt x="3472" y="1222"/>
                </a:lnTo>
                <a:lnTo>
                  <a:pt x="3474" y="1224"/>
                </a:lnTo>
                <a:lnTo>
                  <a:pt x="3476" y="1226"/>
                </a:lnTo>
                <a:lnTo>
                  <a:pt x="3478" y="1228"/>
                </a:lnTo>
                <a:lnTo>
                  <a:pt x="3479" y="1231"/>
                </a:lnTo>
                <a:lnTo>
                  <a:pt x="3480" y="1234"/>
                </a:lnTo>
                <a:lnTo>
                  <a:pt x="3479" y="1240"/>
                </a:lnTo>
                <a:lnTo>
                  <a:pt x="3477" y="1243"/>
                </a:lnTo>
                <a:lnTo>
                  <a:pt x="3476" y="1245"/>
                </a:lnTo>
                <a:lnTo>
                  <a:pt x="3474" y="1247"/>
                </a:lnTo>
                <a:lnTo>
                  <a:pt x="3472" y="1248"/>
                </a:lnTo>
                <a:lnTo>
                  <a:pt x="3469" y="1250"/>
                </a:lnTo>
                <a:lnTo>
                  <a:pt x="3466" y="1250"/>
                </a:lnTo>
                <a:lnTo>
                  <a:pt x="3462" y="1250"/>
                </a:lnTo>
                <a:lnTo>
                  <a:pt x="3459" y="1250"/>
                </a:lnTo>
                <a:lnTo>
                  <a:pt x="3456" y="1248"/>
                </a:lnTo>
                <a:lnTo>
                  <a:pt x="3454" y="1247"/>
                </a:lnTo>
                <a:lnTo>
                  <a:pt x="3452" y="1244"/>
                </a:lnTo>
                <a:lnTo>
                  <a:pt x="3450" y="1242"/>
                </a:lnTo>
                <a:lnTo>
                  <a:pt x="3449" y="1239"/>
                </a:lnTo>
                <a:lnTo>
                  <a:pt x="3448" y="1236"/>
                </a:lnTo>
                <a:lnTo>
                  <a:pt x="3449" y="1230"/>
                </a:lnTo>
                <a:lnTo>
                  <a:pt x="3451" y="1227"/>
                </a:lnTo>
                <a:lnTo>
                  <a:pt x="3452" y="1225"/>
                </a:lnTo>
                <a:lnTo>
                  <a:pt x="3454" y="1223"/>
                </a:lnTo>
                <a:lnTo>
                  <a:pt x="3456" y="1222"/>
                </a:lnTo>
                <a:close/>
                <a:moveTo>
                  <a:pt x="2223" y="1841"/>
                </a:moveTo>
                <a:lnTo>
                  <a:pt x="2226" y="1840"/>
                </a:lnTo>
                <a:lnTo>
                  <a:pt x="2228" y="1840"/>
                </a:lnTo>
                <a:lnTo>
                  <a:pt x="2231" y="1839"/>
                </a:lnTo>
                <a:lnTo>
                  <a:pt x="2233" y="1840"/>
                </a:lnTo>
                <a:lnTo>
                  <a:pt x="2236" y="1840"/>
                </a:lnTo>
                <a:lnTo>
                  <a:pt x="2239" y="1842"/>
                </a:lnTo>
                <a:lnTo>
                  <a:pt x="2242" y="1843"/>
                </a:lnTo>
                <a:lnTo>
                  <a:pt x="2244" y="1846"/>
                </a:lnTo>
                <a:lnTo>
                  <a:pt x="2245" y="1848"/>
                </a:lnTo>
                <a:lnTo>
                  <a:pt x="2246" y="1851"/>
                </a:lnTo>
                <a:lnTo>
                  <a:pt x="2247" y="1854"/>
                </a:lnTo>
                <a:lnTo>
                  <a:pt x="2247" y="1857"/>
                </a:lnTo>
                <a:lnTo>
                  <a:pt x="2246" y="1861"/>
                </a:lnTo>
                <a:lnTo>
                  <a:pt x="2244" y="1864"/>
                </a:lnTo>
                <a:lnTo>
                  <a:pt x="2242" y="1866"/>
                </a:lnTo>
                <a:lnTo>
                  <a:pt x="2239" y="1868"/>
                </a:lnTo>
                <a:lnTo>
                  <a:pt x="2237" y="1869"/>
                </a:lnTo>
                <a:lnTo>
                  <a:pt x="2234" y="1870"/>
                </a:lnTo>
                <a:lnTo>
                  <a:pt x="2232" y="1870"/>
                </a:lnTo>
                <a:lnTo>
                  <a:pt x="2229" y="1870"/>
                </a:lnTo>
                <a:lnTo>
                  <a:pt x="2226" y="1870"/>
                </a:lnTo>
                <a:lnTo>
                  <a:pt x="2223" y="1868"/>
                </a:lnTo>
                <a:lnTo>
                  <a:pt x="2221" y="1866"/>
                </a:lnTo>
                <a:lnTo>
                  <a:pt x="2219" y="1864"/>
                </a:lnTo>
                <a:lnTo>
                  <a:pt x="2217" y="1862"/>
                </a:lnTo>
                <a:lnTo>
                  <a:pt x="2216" y="1859"/>
                </a:lnTo>
                <a:lnTo>
                  <a:pt x="2216" y="1856"/>
                </a:lnTo>
                <a:lnTo>
                  <a:pt x="2216" y="1853"/>
                </a:lnTo>
                <a:lnTo>
                  <a:pt x="2217" y="1849"/>
                </a:lnTo>
                <a:lnTo>
                  <a:pt x="2218" y="1846"/>
                </a:lnTo>
                <a:lnTo>
                  <a:pt x="2221" y="1844"/>
                </a:lnTo>
                <a:lnTo>
                  <a:pt x="2223" y="1841"/>
                </a:lnTo>
                <a:close/>
                <a:moveTo>
                  <a:pt x="3319" y="1178"/>
                </a:moveTo>
                <a:lnTo>
                  <a:pt x="3322" y="1177"/>
                </a:lnTo>
                <a:lnTo>
                  <a:pt x="3325" y="1176"/>
                </a:lnTo>
                <a:lnTo>
                  <a:pt x="3328" y="1176"/>
                </a:lnTo>
                <a:lnTo>
                  <a:pt x="3331" y="1176"/>
                </a:lnTo>
                <a:lnTo>
                  <a:pt x="3334" y="1177"/>
                </a:lnTo>
                <a:lnTo>
                  <a:pt x="3337" y="1179"/>
                </a:lnTo>
                <a:lnTo>
                  <a:pt x="3339" y="1181"/>
                </a:lnTo>
                <a:lnTo>
                  <a:pt x="3340" y="1184"/>
                </a:lnTo>
                <a:lnTo>
                  <a:pt x="3342" y="1186"/>
                </a:lnTo>
                <a:lnTo>
                  <a:pt x="3342" y="1189"/>
                </a:lnTo>
                <a:lnTo>
                  <a:pt x="3342" y="1192"/>
                </a:lnTo>
                <a:lnTo>
                  <a:pt x="3342" y="1195"/>
                </a:lnTo>
                <a:lnTo>
                  <a:pt x="3341" y="1198"/>
                </a:lnTo>
                <a:lnTo>
                  <a:pt x="3339" y="1201"/>
                </a:lnTo>
                <a:lnTo>
                  <a:pt x="3337" y="1203"/>
                </a:lnTo>
                <a:lnTo>
                  <a:pt x="3335" y="1205"/>
                </a:lnTo>
                <a:lnTo>
                  <a:pt x="3332" y="1206"/>
                </a:lnTo>
                <a:lnTo>
                  <a:pt x="3329" y="1207"/>
                </a:lnTo>
                <a:lnTo>
                  <a:pt x="3326" y="1207"/>
                </a:lnTo>
                <a:lnTo>
                  <a:pt x="3323" y="1206"/>
                </a:lnTo>
                <a:lnTo>
                  <a:pt x="3320" y="1205"/>
                </a:lnTo>
                <a:lnTo>
                  <a:pt x="3317" y="1203"/>
                </a:lnTo>
                <a:lnTo>
                  <a:pt x="3315" y="1201"/>
                </a:lnTo>
                <a:lnTo>
                  <a:pt x="3313" y="1199"/>
                </a:lnTo>
                <a:lnTo>
                  <a:pt x="3312" y="1196"/>
                </a:lnTo>
                <a:lnTo>
                  <a:pt x="3311" y="1193"/>
                </a:lnTo>
                <a:lnTo>
                  <a:pt x="3311" y="1190"/>
                </a:lnTo>
                <a:lnTo>
                  <a:pt x="3312" y="1187"/>
                </a:lnTo>
                <a:lnTo>
                  <a:pt x="3313" y="1184"/>
                </a:lnTo>
                <a:lnTo>
                  <a:pt x="3315" y="1182"/>
                </a:lnTo>
                <a:lnTo>
                  <a:pt x="3317" y="1179"/>
                </a:lnTo>
                <a:lnTo>
                  <a:pt x="3319" y="1178"/>
                </a:lnTo>
                <a:close/>
                <a:moveTo>
                  <a:pt x="2237" y="1697"/>
                </a:moveTo>
                <a:lnTo>
                  <a:pt x="2242" y="1696"/>
                </a:lnTo>
                <a:lnTo>
                  <a:pt x="2246" y="1695"/>
                </a:lnTo>
                <a:lnTo>
                  <a:pt x="2249" y="1696"/>
                </a:lnTo>
                <a:lnTo>
                  <a:pt x="2252" y="1697"/>
                </a:lnTo>
                <a:lnTo>
                  <a:pt x="2255" y="1698"/>
                </a:lnTo>
                <a:lnTo>
                  <a:pt x="2257" y="1700"/>
                </a:lnTo>
                <a:lnTo>
                  <a:pt x="2259" y="1703"/>
                </a:lnTo>
                <a:lnTo>
                  <a:pt x="2260" y="1706"/>
                </a:lnTo>
                <a:lnTo>
                  <a:pt x="2261" y="1709"/>
                </a:lnTo>
                <a:lnTo>
                  <a:pt x="2261" y="1712"/>
                </a:lnTo>
                <a:lnTo>
                  <a:pt x="2260" y="1714"/>
                </a:lnTo>
                <a:lnTo>
                  <a:pt x="2260" y="1716"/>
                </a:lnTo>
                <a:lnTo>
                  <a:pt x="2258" y="1719"/>
                </a:lnTo>
                <a:lnTo>
                  <a:pt x="2256" y="1722"/>
                </a:lnTo>
                <a:lnTo>
                  <a:pt x="2253" y="1724"/>
                </a:lnTo>
                <a:lnTo>
                  <a:pt x="2249" y="1726"/>
                </a:lnTo>
                <a:lnTo>
                  <a:pt x="2244" y="1726"/>
                </a:lnTo>
                <a:lnTo>
                  <a:pt x="2241" y="1726"/>
                </a:lnTo>
                <a:lnTo>
                  <a:pt x="2238" y="1725"/>
                </a:lnTo>
                <a:lnTo>
                  <a:pt x="2236" y="1723"/>
                </a:lnTo>
                <a:lnTo>
                  <a:pt x="2233" y="1721"/>
                </a:lnTo>
                <a:lnTo>
                  <a:pt x="2232" y="1718"/>
                </a:lnTo>
                <a:lnTo>
                  <a:pt x="2230" y="1716"/>
                </a:lnTo>
                <a:lnTo>
                  <a:pt x="2230" y="1713"/>
                </a:lnTo>
                <a:lnTo>
                  <a:pt x="2230" y="1710"/>
                </a:lnTo>
                <a:lnTo>
                  <a:pt x="2230" y="1708"/>
                </a:lnTo>
                <a:lnTo>
                  <a:pt x="2230" y="1706"/>
                </a:lnTo>
                <a:lnTo>
                  <a:pt x="2232" y="1702"/>
                </a:lnTo>
                <a:lnTo>
                  <a:pt x="2234" y="1699"/>
                </a:lnTo>
                <a:lnTo>
                  <a:pt x="2237" y="1697"/>
                </a:lnTo>
                <a:close/>
                <a:moveTo>
                  <a:pt x="3179" y="1144"/>
                </a:moveTo>
                <a:lnTo>
                  <a:pt x="3182" y="1143"/>
                </a:lnTo>
                <a:lnTo>
                  <a:pt x="3184" y="1142"/>
                </a:lnTo>
                <a:lnTo>
                  <a:pt x="3190" y="1142"/>
                </a:lnTo>
                <a:lnTo>
                  <a:pt x="3193" y="1143"/>
                </a:lnTo>
                <a:lnTo>
                  <a:pt x="3196" y="1144"/>
                </a:lnTo>
                <a:lnTo>
                  <a:pt x="3198" y="1146"/>
                </a:lnTo>
                <a:lnTo>
                  <a:pt x="3200" y="1149"/>
                </a:lnTo>
                <a:lnTo>
                  <a:pt x="3201" y="1151"/>
                </a:lnTo>
                <a:lnTo>
                  <a:pt x="3202" y="1154"/>
                </a:lnTo>
                <a:lnTo>
                  <a:pt x="3203" y="1157"/>
                </a:lnTo>
                <a:lnTo>
                  <a:pt x="3202" y="1160"/>
                </a:lnTo>
                <a:lnTo>
                  <a:pt x="3201" y="1163"/>
                </a:lnTo>
                <a:lnTo>
                  <a:pt x="3200" y="1166"/>
                </a:lnTo>
                <a:lnTo>
                  <a:pt x="3197" y="1169"/>
                </a:lnTo>
                <a:lnTo>
                  <a:pt x="3195" y="1171"/>
                </a:lnTo>
                <a:lnTo>
                  <a:pt x="3192" y="1172"/>
                </a:lnTo>
                <a:lnTo>
                  <a:pt x="3190" y="1172"/>
                </a:lnTo>
                <a:lnTo>
                  <a:pt x="3184" y="1172"/>
                </a:lnTo>
                <a:lnTo>
                  <a:pt x="3181" y="1171"/>
                </a:lnTo>
                <a:lnTo>
                  <a:pt x="3178" y="1170"/>
                </a:lnTo>
                <a:lnTo>
                  <a:pt x="3176" y="1168"/>
                </a:lnTo>
                <a:lnTo>
                  <a:pt x="3174" y="1166"/>
                </a:lnTo>
                <a:lnTo>
                  <a:pt x="3173" y="1163"/>
                </a:lnTo>
                <a:lnTo>
                  <a:pt x="3172" y="1160"/>
                </a:lnTo>
                <a:lnTo>
                  <a:pt x="3172" y="1157"/>
                </a:lnTo>
                <a:lnTo>
                  <a:pt x="3172" y="1154"/>
                </a:lnTo>
                <a:lnTo>
                  <a:pt x="3173" y="1151"/>
                </a:lnTo>
                <a:lnTo>
                  <a:pt x="3175" y="1148"/>
                </a:lnTo>
                <a:lnTo>
                  <a:pt x="3177" y="1146"/>
                </a:lnTo>
                <a:lnTo>
                  <a:pt x="3179" y="1144"/>
                </a:lnTo>
                <a:close/>
                <a:moveTo>
                  <a:pt x="3037" y="1122"/>
                </a:moveTo>
                <a:lnTo>
                  <a:pt x="3042" y="1120"/>
                </a:lnTo>
                <a:lnTo>
                  <a:pt x="3044" y="1120"/>
                </a:lnTo>
                <a:lnTo>
                  <a:pt x="3046" y="1120"/>
                </a:lnTo>
                <a:lnTo>
                  <a:pt x="3050" y="1121"/>
                </a:lnTo>
                <a:lnTo>
                  <a:pt x="3052" y="1122"/>
                </a:lnTo>
                <a:lnTo>
                  <a:pt x="3055" y="1124"/>
                </a:lnTo>
                <a:lnTo>
                  <a:pt x="3057" y="1126"/>
                </a:lnTo>
                <a:lnTo>
                  <a:pt x="3059" y="1128"/>
                </a:lnTo>
                <a:lnTo>
                  <a:pt x="3060" y="1131"/>
                </a:lnTo>
                <a:lnTo>
                  <a:pt x="3060" y="1134"/>
                </a:lnTo>
                <a:lnTo>
                  <a:pt x="3060" y="1137"/>
                </a:lnTo>
                <a:lnTo>
                  <a:pt x="3060" y="1141"/>
                </a:lnTo>
                <a:lnTo>
                  <a:pt x="3058" y="1144"/>
                </a:lnTo>
                <a:lnTo>
                  <a:pt x="3056" y="1147"/>
                </a:lnTo>
                <a:lnTo>
                  <a:pt x="3053" y="1149"/>
                </a:lnTo>
                <a:lnTo>
                  <a:pt x="3048" y="1151"/>
                </a:lnTo>
                <a:lnTo>
                  <a:pt x="3046" y="1151"/>
                </a:lnTo>
                <a:lnTo>
                  <a:pt x="3043" y="1151"/>
                </a:lnTo>
                <a:lnTo>
                  <a:pt x="3040" y="1150"/>
                </a:lnTo>
                <a:lnTo>
                  <a:pt x="3037" y="1149"/>
                </a:lnTo>
                <a:lnTo>
                  <a:pt x="3035" y="1148"/>
                </a:lnTo>
                <a:lnTo>
                  <a:pt x="3033" y="1145"/>
                </a:lnTo>
                <a:lnTo>
                  <a:pt x="3031" y="1143"/>
                </a:lnTo>
                <a:lnTo>
                  <a:pt x="3030" y="1140"/>
                </a:lnTo>
                <a:lnTo>
                  <a:pt x="3029" y="1137"/>
                </a:lnTo>
                <a:lnTo>
                  <a:pt x="3029" y="1134"/>
                </a:lnTo>
                <a:lnTo>
                  <a:pt x="3030" y="1130"/>
                </a:lnTo>
                <a:lnTo>
                  <a:pt x="3032" y="1127"/>
                </a:lnTo>
                <a:lnTo>
                  <a:pt x="3034" y="1124"/>
                </a:lnTo>
                <a:lnTo>
                  <a:pt x="3037" y="1122"/>
                </a:lnTo>
                <a:close/>
                <a:moveTo>
                  <a:pt x="2249" y="1554"/>
                </a:moveTo>
                <a:lnTo>
                  <a:pt x="2251" y="1553"/>
                </a:lnTo>
                <a:lnTo>
                  <a:pt x="2254" y="1552"/>
                </a:lnTo>
                <a:lnTo>
                  <a:pt x="2256" y="1552"/>
                </a:lnTo>
                <a:lnTo>
                  <a:pt x="2259" y="1552"/>
                </a:lnTo>
                <a:lnTo>
                  <a:pt x="2262" y="1552"/>
                </a:lnTo>
                <a:lnTo>
                  <a:pt x="2265" y="1554"/>
                </a:lnTo>
                <a:lnTo>
                  <a:pt x="2267" y="1555"/>
                </a:lnTo>
                <a:lnTo>
                  <a:pt x="2269" y="1558"/>
                </a:lnTo>
                <a:lnTo>
                  <a:pt x="2270" y="1559"/>
                </a:lnTo>
                <a:lnTo>
                  <a:pt x="2271" y="1560"/>
                </a:lnTo>
                <a:lnTo>
                  <a:pt x="2272" y="1563"/>
                </a:lnTo>
                <a:lnTo>
                  <a:pt x="2272" y="1566"/>
                </a:lnTo>
                <a:lnTo>
                  <a:pt x="2272" y="1569"/>
                </a:lnTo>
                <a:lnTo>
                  <a:pt x="2271" y="1573"/>
                </a:lnTo>
                <a:lnTo>
                  <a:pt x="2270" y="1576"/>
                </a:lnTo>
                <a:lnTo>
                  <a:pt x="2267" y="1579"/>
                </a:lnTo>
                <a:lnTo>
                  <a:pt x="2265" y="1581"/>
                </a:lnTo>
                <a:lnTo>
                  <a:pt x="2262" y="1582"/>
                </a:lnTo>
                <a:lnTo>
                  <a:pt x="2260" y="1582"/>
                </a:lnTo>
                <a:lnTo>
                  <a:pt x="2258" y="1583"/>
                </a:lnTo>
                <a:lnTo>
                  <a:pt x="2255" y="1583"/>
                </a:lnTo>
                <a:lnTo>
                  <a:pt x="2252" y="1582"/>
                </a:lnTo>
                <a:lnTo>
                  <a:pt x="2249" y="1581"/>
                </a:lnTo>
                <a:lnTo>
                  <a:pt x="2247" y="1579"/>
                </a:lnTo>
                <a:lnTo>
                  <a:pt x="2245" y="1577"/>
                </a:lnTo>
                <a:lnTo>
                  <a:pt x="2244" y="1576"/>
                </a:lnTo>
                <a:lnTo>
                  <a:pt x="2243" y="1574"/>
                </a:lnTo>
                <a:lnTo>
                  <a:pt x="2242" y="1571"/>
                </a:lnTo>
                <a:lnTo>
                  <a:pt x="2241" y="1568"/>
                </a:lnTo>
                <a:lnTo>
                  <a:pt x="2241" y="1565"/>
                </a:lnTo>
                <a:lnTo>
                  <a:pt x="2242" y="1562"/>
                </a:lnTo>
                <a:lnTo>
                  <a:pt x="2244" y="1558"/>
                </a:lnTo>
                <a:lnTo>
                  <a:pt x="2246" y="1556"/>
                </a:lnTo>
                <a:lnTo>
                  <a:pt x="2249" y="1554"/>
                </a:lnTo>
                <a:close/>
                <a:moveTo>
                  <a:pt x="2893" y="1116"/>
                </a:moveTo>
                <a:lnTo>
                  <a:pt x="2895" y="1115"/>
                </a:lnTo>
                <a:lnTo>
                  <a:pt x="2897" y="1115"/>
                </a:lnTo>
                <a:lnTo>
                  <a:pt x="2901" y="1114"/>
                </a:lnTo>
                <a:lnTo>
                  <a:pt x="2904" y="1114"/>
                </a:lnTo>
                <a:lnTo>
                  <a:pt x="2907" y="1115"/>
                </a:lnTo>
                <a:lnTo>
                  <a:pt x="2910" y="1117"/>
                </a:lnTo>
                <a:lnTo>
                  <a:pt x="2912" y="1119"/>
                </a:lnTo>
                <a:lnTo>
                  <a:pt x="2914" y="1121"/>
                </a:lnTo>
                <a:lnTo>
                  <a:pt x="2915" y="1123"/>
                </a:lnTo>
                <a:lnTo>
                  <a:pt x="2916" y="1126"/>
                </a:lnTo>
                <a:lnTo>
                  <a:pt x="2917" y="1129"/>
                </a:lnTo>
                <a:lnTo>
                  <a:pt x="2916" y="1134"/>
                </a:lnTo>
                <a:lnTo>
                  <a:pt x="2915" y="1137"/>
                </a:lnTo>
                <a:lnTo>
                  <a:pt x="2912" y="1141"/>
                </a:lnTo>
                <a:lnTo>
                  <a:pt x="2909" y="1143"/>
                </a:lnTo>
                <a:lnTo>
                  <a:pt x="2907" y="1144"/>
                </a:lnTo>
                <a:lnTo>
                  <a:pt x="2905" y="1145"/>
                </a:lnTo>
                <a:lnTo>
                  <a:pt x="2902" y="1145"/>
                </a:lnTo>
                <a:lnTo>
                  <a:pt x="2898" y="1145"/>
                </a:lnTo>
                <a:lnTo>
                  <a:pt x="2895" y="1144"/>
                </a:lnTo>
                <a:lnTo>
                  <a:pt x="2893" y="1143"/>
                </a:lnTo>
                <a:lnTo>
                  <a:pt x="2890" y="1141"/>
                </a:lnTo>
                <a:lnTo>
                  <a:pt x="2888" y="1139"/>
                </a:lnTo>
                <a:lnTo>
                  <a:pt x="2887" y="1136"/>
                </a:lnTo>
                <a:lnTo>
                  <a:pt x="2886" y="1133"/>
                </a:lnTo>
                <a:lnTo>
                  <a:pt x="2886" y="1130"/>
                </a:lnTo>
                <a:lnTo>
                  <a:pt x="2886" y="1126"/>
                </a:lnTo>
                <a:lnTo>
                  <a:pt x="2888" y="1122"/>
                </a:lnTo>
                <a:lnTo>
                  <a:pt x="2890" y="1119"/>
                </a:lnTo>
                <a:lnTo>
                  <a:pt x="2893" y="1116"/>
                </a:lnTo>
                <a:close/>
                <a:moveTo>
                  <a:pt x="2281" y="1414"/>
                </a:moveTo>
                <a:lnTo>
                  <a:pt x="2284" y="1412"/>
                </a:lnTo>
                <a:lnTo>
                  <a:pt x="2287" y="1412"/>
                </a:lnTo>
                <a:lnTo>
                  <a:pt x="2291" y="1412"/>
                </a:lnTo>
                <a:lnTo>
                  <a:pt x="2294" y="1413"/>
                </a:lnTo>
                <a:lnTo>
                  <a:pt x="2295" y="1413"/>
                </a:lnTo>
                <a:lnTo>
                  <a:pt x="2297" y="1414"/>
                </a:lnTo>
                <a:lnTo>
                  <a:pt x="2299" y="1416"/>
                </a:lnTo>
                <a:lnTo>
                  <a:pt x="2301" y="1418"/>
                </a:lnTo>
                <a:lnTo>
                  <a:pt x="2303" y="1421"/>
                </a:lnTo>
                <a:lnTo>
                  <a:pt x="2304" y="1424"/>
                </a:lnTo>
                <a:lnTo>
                  <a:pt x="2304" y="1427"/>
                </a:lnTo>
                <a:lnTo>
                  <a:pt x="2304" y="1430"/>
                </a:lnTo>
                <a:lnTo>
                  <a:pt x="2303" y="1433"/>
                </a:lnTo>
                <a:lnTo>
                  <a:pt x="2302" y="1435"/>
                </a:lnTo>
                <a:lnTo>
                  <a:pt x="2300" y="1437"/>
                </a:lnTo>
                <a:lnTo>
                  <a:pt x="2298" y="1439"/>
                </a:lnTo>
                <a:lnTo>
                  <a:pt x="2296" y="1441"/>
                </a:lnTo>
                <a:lnTo>
                  <a:pt x="2293" y="1442"/>
                </a:lnTo>
                <a:lnTo>
                  <a:pt x="2290" y="1443"/>
                </a:lnTo>
                <a:lnTo>
                  <a:pt x="2286" y="1443"/>
                </a:lnTo>
                <a:lnTo>
                  <a:pt x="2283" y="1442"/>
                </a:lnTo>
                <a:lnTo>
                  <a:pt x="2281" y="1441"/>
                </a:lnTo>
                <a:lnTo>
                  <a:pt x="2280" y="1440"/>
                </a:lnTo>
                <a:lnTo>
                  <a:pt x="2278" y="1439"/>
                </a:lnTo>
                <a:lnTo>
                  <a:pt x="2276" y="1436"/>
                </a:lnTo>
                <a:lnTo>
                  <a:pt x="2274" y="1434"/>
                </a:lnTo>
                <a:lnTo>
                  <a:pt x="2273" y="1431"/>
                </a:lnTo>
                <a:lnTo>
                  <a:pt x="2273" y="1428"/>
                </a:lnTo>
                <a:lnTo>
                  <a:pt x="2273" y="1425"/>
                </a:lnTo>
                <a:lnTo>
                  <a:pt x="2274" y="1422"/>
                </a:lnTo>
                <a:lnTo>
                  <a:pt x="2275" y="1419"/>
                </a:lnTo>
                <a:lnTo>
                  <a:pt x="2277" y="1417"/>
                </a:lnTo>
                <a:lnTo>
                  <a:pt x="2279" y="1415"/>
                </a:lnTo>
                <a:lnTo>
                  <a:pt x="2281" y="1414"/>
                </a:lnTo>
                <a:close/>
                <a:moveTo>
                  <a:pt x="2750" y="1129"/>
                </a:moveTo>
                <a:lnTo>
                  <a:pt x="2753" y="1128"/>
                </a:lnTo>
                <a:lnTo>
                  <a:pt x="2756" y="1127"/>
                </a:lnTo>
                <a:lnTo>
                  <a:pt x="2759" y="1127"/>
                </a:lnTo>
                <a:lnTo>
                  <a:pt x="2762" y="1127"/>
                </a:lnTo>
                <a:lnTo>
                  <a:pt x="2765" y="1128"/>
                </a:lnTo>
                <a:lnTo>
                  <a:pt x="2767" y="1130"/>
                </a:lnTo>
                <a:lnTo>
                  <a:pt x="2769" y="1132"/>
                </a:lnTo>
                <a:lnTo>
                  <a:pt x="2771" y="1134"/>
                </a:lnTo>
                <a:lnTo>
                  <a:pt x="2773" y="1137"/>
                </a:lnTo>
                <a:lnTo>
                  <a:pt x="2773" y="1140"/>
                </a:lnTo>
                <a:lnTo>
                  <a:pt x="2773" y="1145"/>
                </a:lnTo>
                <a:lnTo>
                  <a:pt x="2772" y="1149"/>
                </a:lnTo>
                <a:lnTo>
                  <a:pt x="2769" y="1153"/>
                </a:lnTo>
                <a:lnTo>
                  <a:pt x="2768" y="1154"/>
                </a:lnTo>
                <a:lnTo>
                  <a:pt x="2766" y="1156"/>
                </a:lnTo>
                <a:lnTo>
                  <a:pt x="2763" y="1157"/>
                </a:lnTo>
                <a:lnTo>
                  <a:pt x="2760" y="1158"/>
                </a:lnTo>
                <a:lnTo>
                  <a:pt x="2757" y="1158"/>
                </a:lnTo>
                <a:lnTo>
                  <a:pt x="2754" y="1157"/>
                </a:lnTo>
                <a:lnTo>
                  <a:pt x="2751" y="1156"/>
                </a:lnTo>
                <a:lnTo>
                  <a:pt x="2749" y="1155"/>
                </a:lnTo>
                <a:lnTo>
                  <a:pt x="2747" y="1153"/>
                </a:lnTo>
                <a:lnTo>
                  <a:pt x="2745" y="1151"/>
                </a:lnTo>
                <a:lnTo>
                  <a:pt x="2743" y="1148"/>
                </a:lnTo>
                <a:lnTo>
                  <a:pt x="2743" y="1145"/>
                </a:lnTo>
                <a:lnTo>
                  <a:pt x="2743" y="1140"/>
                </a:lnTo>
                <a:lnTo>
                  <a:pt x="2744" y="1136"/>
                </a:lnTo>
                <a:lnTo>
                  <a:pt x="2747" y="1132"/>
                </a:lnTo>
                <a:lnTo>
                  <a:pt x="2748" y="1130"/>
                </a:lnTo>
                <a:lnTo>
                  <a:pt x="2750" y="1129"/>
                </a:lnTo>
                <a:close/>
                <a:moveTo>
                  <a:pt x="2610" y="1161"/>
                </a:moveTo>
                <a:lnTo>
                  <a:pt x="2614" y="1160"/>
                </a:lnTo>
                <a:lnTo>
                  <a:pt x="2617" y="1159"/>
                </a:lnTo>
                <a:lnTo>
                  <a:pt x="2620" y="1159"/>
                </a:lnTo>
                <a:lnTo>
                  <a:pt x="2623" y="1160"/>
                </a:lnTo>
                <a:lnTo>
                  <a:pt x="2625" y="1161"/>
                </a:lnTo>
                <a:lnTo>
                  <a:pt x="2628" y="1163"/>
                </a:lnTo>
                <a:lnTo>
                  <a:pt x="2630" y="1165"/>
                </a:lnTo>
                <a:lnTo>
                  <a:pt x="2632" y="1167"/>
                </a:lnTo>
                <a:lnTo>
                  <a:pt x="2633" y="1170"/>
                </a:lnTo>
                <a:lnTo>
                  <a:pt x="2634" y="1176"/>
                </a:lnTo>
                <a:lnTo>
                  <a:pt x="2633" y="1178"/>
                </a:lnTo>
                <a:lnTo>
                  <a:pt x="2633" y="1181"/>
                </a:lnTo>
                <a:lnTo>
                  <a:pt x="2631" y="1183"/>
                </a:lnTo>
                <a:lnTo>
                  <a:pt x="2630" y="1185"/>
                </a:lnTo>
                <a:lnTo>
                  <a:pt x="2628" y="1187"/>
                </a:lnTo>
                <a:lnTo>
                  <a:pt x="2626" y="1188"/>
                </a:lnTo>
                <a:lnTo>
                  <a:pt x="2623" y="1190"/>
                </a:lnTo>
                <a:lnTo>
                  <a:pt x="2620" y="1190"/>
                </a:lnTo>
                <a:lnTo>
                  <a:pt x="2617" y="1190"/>
                </a:lnTo>
                <a:lnTo>
                  <a:pt x="2614" y="1190"/>
                </a:lnTo>
                <a:lnTo>
                  <a:pt x="2611" y="1189"/>
                </a:lnTo>
                <a:lnTo>
                  <a:pt x="2608" y="1187"/>
                </a:lnTo>
                <a:lnTo>
                  <a:pt x="2606" y="1185"/>
                </a:lnTo>
                <a:lnTo>
                  <a:pt x="2605" y="1182"/>
                </a:lnTo>
                <a:lnTo>
                  <a:pt x="2603" y="1180"/>
                </a:lnTo>
                <a:lnTo>
                  <a:pt x="2603" y="1174"/>
                </a:lnTo>
                <a:lnTo>
                  <a:pt x="2603" y="1172"/>
                </a:lnTo>
                <a:lnTo>
                  <a:pt x="2604" y="1169"/>
                </a:lnTo>
                <a:lnTo>
                  <a:pt x="2605" y="1167"/>
                </a:lnTo>
                <a:lnTo>
                  <a:pt x="2606" y="1165"/>
                </a:lnTo>
                <a:lnTo>
                  <a:pt x="2608" y="1163"/>
                </a:lnTo>
                <a:lnTo>
                  <a:pt x="2610" y="1161"/>
                </a:lnTo>
                <a:close/>
                <a:moveTo>
                  <a:pt x="2358" y="1295"/>
                </a:moveTo>
                <a:lnTo>
                  <a:pt x="2360" y="1293"/>
                </a:lnTo>
                <a:lnTo>
                  <a:pt x="2362" y="1293"/>
                </a:lnTo>
                <a:lnTo>
                  <a:pt x="2365" y="1292"/>
                </a:lnTo>
                <a:lnTo>
                  <a:pt x="2367" y="1293"/>
                </a:lnTo>
                <a:lnTo>
                  <a:pt x="2370" y="1293"/>
                </a:lnTo>
                <a:lnTo>
                  <a:pt x="2372" y="1294"/>
                </a:lnTo>
                <a:lnTo>
                  <a:pt x="2375" y="1295"/>
                </a:lnTo>
                <a:lnTo>
                  <a:pt x="2377" y="1297"/>
                </a:lnTo>
                <a:lnTo>
                  <a:pt x="2379" y="1299"/>
                </a:lnTo>
                <a:lnTo>
                  <a:pt x="2380" y="1302"/>
                </a:lnTo>
                <a:lnTo>
                  <a:pt x="2381" y="1305"/>
                </a:lnTo>
                <a:lnTo>
                  <a:pt x="2381" y="1308"/>
                </a:lnTo>
                <a:lnTo>
                  <a:pt x="2381" y="1311"/>
                </a:lnTo>
                <a:lnTo>
                  <a:pt x="2380" y="1314"/>
                </a:lnTo>
                <a:lnTo>
                  <a:pt x="2378" y="1317"/>
                </a:lnTo>
                <a:lnTo>
                  <a:pt x="2376" y="1319"/>
                </a:lnTo>
                <a:lnTo>
                  <a:pt x="2373" y="1321"/>
                </a:lnTo>
                <a:lnTo>
                  <a:pt x="2371" y="1323"/>
                </a:lnTo>
                <a:lnTo>
                  <a:pt x="2369" y="1323"/>
                </a:lnTo>
                <a:lnTo>
                  <a:pt x="2366" y="1324"/>
                </a:lnTo>
                <a:lnTo>
                  <a:pt x="2364" y="1323"/>
                </a:lnTo>
                <a:lnTo>
                  <a:pt x="2361" y="1323"/>
                </a:lnTo>
                <a:lnTo>
                  <a:pt x="2359" y="1322"/>
                </a:lnTo>
                <a:lnTo>
                  <a:pt x="2357" y="1321"/>
                </a:lnTo>
                <a:lnTo>
                  <a:pt x="2354" y="1319"/>
                </a:lnTo>
                <a:lnTo>
                  <a:pt x="2352" y="1316"/>
                </a:lnTo>
                <a:lnTo>
                  <a:pt x="2351" y="1314"/>
                </a:lnTo>
                <a:lnTo>
                  <a:pt x="2350" y="1311"/>
                </a:lnTo>
                <a:lnTo>
                  <a:pt x="2350" y="1308"/>
                </a:lnTo>
                <a:lnTo>
                  <a:pt x="2350" y="1305"/>
                </a:lnTo>
                <a:lnTo>
                  <a:pt x="2351" y="1302"/>
                </a:lnTo>
                <a:lnTo>
                  <a:pt x="2353" y="1299"/>
                </a:lnTo>
                <a:lnTo>
                  <a:pt x="2355" y="1297"/>
                </a:lnTo>
                <a:lnTo>
                  <a:pt x="2358" y="1295"/>
                </a:lnTo>
                <a:close/>
                <a:moveTo>
                  <a:pt x="2476" y="1214"/>
                </a:moveTo>
                <a:lnTo>
                  <a:pt x="2480" y="1212"/>
                </a:lnTo>
                <a:lnTo>
                  <a:pt x="2483" y="1212"/>
                </a:lnTo>
                <a:lnTo>
                  <a:pt x="2486" y="1212"/>
                </a:lnTo>
                <a:lnTo>
                  <a:pt x="2489" y="1213"/>
                </a:lnTo>
                <a:lnTo>
                  <a:pt x="2492" y="1214"/>
                </a:lnTo>
                <a:lnTo>
                  <a:pt x="2494" y="1215"/>
                </a:lnTo>
                <a:lnTo>
                  <a:pt x="2497" y="1218"/>
                </a:lnTo>
                <a:lnTo>
                  <a:pt x="2498" y="1220"/>
                </a:lnTo>
                <a:lnTo>
                  <a:pt x="2499" y="1223"/>
                </a:lnTo>
                <a:lnTo>
                  <a:pt x="2500" y="1226"/>
                </a:lnTo>
                <a:lnTo>
                  <a:pt x="2500" y="1229"/>
                </a:lnTo>
                <a:lnTo>
                  <a:pt x="2499" y="1232"/>
                </a:lnTo>
                <a:lnTo>
                  <a:pt x="2498" y="1234"/>
                </a:lnTo>
                <a:lnTo>
                  <a:pt x="2496" y="1237"/>
                </a:lnTo>
                <a:lnTo>
                  <a:pt x="2494" y="1239"/>
                </a:lnTo>
                <a:lnTo>
                  <a:pt x="2492" y="1241"/>
                </a:lnTo>
                <a:lnTo>
                  <a:pt x="2489" y="1242"/>
                </a:lnTo>
                <a:lnTo>
                  <a:pt x="2485" y="1242"/>
                </a:lnTo>
                <a:lnTo>
                  <a:pt x="2482" y="1242"/>
                </a:lnTo>
                <a:lnTo>
                  <a:pt x="2479" y="1242"/>
                </a:lnTo>
                <a:lnTo>
                  <a:pt x="2476" y="1241"/>
                </a:lnTo>
                <a:lnTo>
                  <a:pt x="2474" y="1239"/>
                </a:lnTo>
                <a:lnTo>
                  <a:pt x="2472" y="1237"/>
                </a:lnTo>
                <a:lnTo>
                  <a:pt x="2470" y="1234"/>
                </a:lnTo>
                <a:lnTo>
                  <a:pt x="2469" y="1231"/>
                </a:lnTo>
                <a:lnTo>
                  <a:pt x="2469" y="1228"/>
                </a:lnTo>
                <a:lnTo>
                  <a:pt x="2469" y="1225"/>
                </a:lnTo>
                <a:lnTo>
                  <a:pt x="2469" y="1223"/>
                </a:lnTo>
                <a:lnTo>
                  <a:pt x="2470" y="1220"/>
                </a:lnTo>
                <a:lnTo>
                  <a:pt x="2472" y="1218"/>
                </a:lnTo>
                <a:lnTo>
                  <a:pt x="2474" y="1215"/>
                </a:lnTo>
                <a:lnTo>
                  <a:pt x="2476" y="1214"/>
                </a:lnTo>
                <a:close/>
                <a:moveTo>
                  <a:pt x="4755" y="2104"/>
                </a:moveTo>
                <a:lnTo>
                  <a:pt x="4757" y="2103"/>
                </a:lnTo>
                <a:lnTo>
                  <a:pt x="4759" y="2103"/>
                </a:lnTo>
                <a:lnTo>
                  <a:pt x="4762" y="2102"/>
                </a:lnTo>
                <a:lnTo>
                  <a:pt x="4766" y="2102"/>
                </a:lnTo>
                <a:lnTo>
                  <a:pt x="4770" y="2104"/>
                </a:lnTo>
                <a:lnTo>
                  <a:pt x="4773" y="2106"/>
                </a:lnTo>
                <a:lnTo>
                  <a:pt x="4775" y="2108"/>
                </a:lnTo>
                <a:lnTo>
                  <a:pt x="4776" y="2111"/>
                </a:lnTo>
                <a:lnTo>
                  <a:pt x="4778" y="2113"/>
                </a:lnTo>
                <a:lnTo>
                  <a:pt x="4778" y="2116"/>
                </a:lnTo>
                <a:lnTo>
                  <a:pt x="4778" y="2119"/>
                </a:lnTo>
                <a:lnTo>
                  <a:pt x="4777" y="2122"/>
                </a:lnTo>
                <a:lnTo>
                  <a:pt x="4776" y="2125"/>
                </a:lnTo>
                <a:lnTo>
                  <a:pt x="4774" y="2128"/>
                </a:lnTo>
                <a:lnTo>
                  <a:pt x="4770" y="2131"/>
                </a:lnTo>
                <a:lnTo>
                  <a:pt x="4769" y="2132"/>
                </a:lnTo>
                <a:lnTo>
                  <a:pt x="4767" y="2132"/>
                </a:lnTo>
                <a:lnTo>
                  <a:pt x="4763" y="2133"/>
                </a:lnTo>
                <a:lnTo>
                  <a:pt x="4759" y="2132"/>
                </a:lnTo>
                <a:lnTo>
                  <a:pt x="4755" y="2131"/>
                </a:lnTo>
                <a:lnTo>
                  <a:pt x="4752" y="2129"/>
                </a:lnTo>
                <a:lnTo>
                  <a:pt x="4750" y="2127"/>
                </a:lnTo>
                <a:lnTo>
                  <a:pt x="4749" y="2124"/>
                </a:lnTo>
                <a:lnTo>
                  <a:pt x="4748" y="2121"/>
                </a:lnTo>
                <a:lnTo>
                  <a:pt x="4747" y="2119"/>
                </a:lnTo>
                <a:lnTo>
                  <a:pt x="4747" y="2116"/>
                </a:lnTo>
                <a:lnTo>
                  <a:pt x="4748" y="2113"/>
                </a:lnTo>
                <a:lnTo>
                  <a:pt x="4749" y="2110"/>
                </a:lnTo>
                <a:lnTo>
                  <a:pt x="4752" y="2107"/>
                </a:lnTo>
                <a:lnTo>
                  <a:pt x="4755" y="2104"/>
                </a:lnTo>
                <a:close/>
                <a:moveTo>
                  <a:pt x="4630" y="2033"/>
                </a:moveTo>
                <a:lnTo>
                  <a:pt x="4633" y="2032"/>
                </a:lnTo>
                <a:lnTo>
                  <a:pt x="4637" y="2031"/>
                </a:lnTo>
                <a:lnTo>
                  <a:pt x="4641" y="2031"/>
                </a:lnTo>
                <a:lnTo>
                  <a:pt x="4645" y="2033"/>
                </a:lnTo>
                <a:lnTo>
                  <a:pt x="4647" y="2035"/>
                </a:lnTo>
                <a:lnTo>
                  <a:pt x="4650" y="2037"/>
                </a:lnTo>
                <a:lnTo>
                  <a:pt x="4651" y="2040"/>
                </a:lnTo>
                <a:lnTo>
                  <a:pt x="4652" y="2042"/>
                </a:lnTo>
                <a:lnTo>
                  <a:pt x="4653" y="2045"/>
                </a:lnTo>
                <a:lnTo>
                  <a:pt x="4653" y="2048"/>
                </a:lnTo>
                <a:lnTo>
                  <a:pt x="4652" y="2051"/>
                </a:lnTo>
                <a:lnTo>
                  <a:pt x="4651" y="2054"/>
                </a:lnTo>
                <a:lnTo>
                  <a:pt x="4648" y="2057"/>
                </a:lnTo>
                <a:lnTo>
                  <a:pt x="4645" y="2060"/>
                </a:lnTo>
                <a:lnTo>
                  <a:pt x="4641" y="2061"/>
                </a:lnTo>
                <a:lnTo>
                  <a:pt x="4638" y="2062"/>
                </a:lnTo>
                <a:lnTo>
                  <a:pt x="4634" y="2061"/>
                </a:lnTo>
                <a:lnTo>
                  <a:pt x="4630" y="2060"/>
                </a:lnTo>
                <a:lnTo>
                  <a:pt x="4627" y="2058"/>
                </a:lnTo>
                <a:lnTo>
                  <a:pt x="4625" y="2056"/>
                </a:lnTo>
                <a:lnTo>
                  <a:pt x="4624" y="2053"/>
                </a:lnTo>
                <a:lnTo>
                  <a:pt x="4623" y="2051"/>
                </a:lnTo>
                <a:lnTo>
                  <a:pt x="4622" y="2048"/>
                </a:lnTo>
                <a:lnTo>
                  <a:pt x="4622" y="2045"/>
                </a:lnTo>
                <a:lnTo>
                  <a:pt x="4623" y="2042"/>
                </a:lnTo>
                <a:lnTo>
                  <a:pt x="4624" y="2039"/>
                </a:lnTo>
                <a:lnTo>
                  <a:pt x="4626" y="2036"/>
                </a:lnTo>
                <a:lnTo>
                  <a:pt x="4630" y="2033"/>
                </a:lnTo>
                <a:close/>
                <a:moveTo>
                  <a:pt x="4504" y="1963"/>
                </a:moveTo>
                <a:lnTo>
                  <a:pt x="4507" y="1962"/>
                </a:lnTo>
                <a:lnTo>
                  <a:pt x="4511" y="1961"/>
                </a:lnTo>
                <a:lnTo>
                  <a:pt x="4513" y="1961"/>
                </a:lnTo>
                <a:lnTo>
                  <a:pt x="4515" y="1961"/>
                </a:lnTo>
                <a:lnTo>
                  <a:pt x="4519" y="1963"/>
                </a:lnTo>
                <a:lnTo>
                  <a:pt x="4522" y="1965"/>
                </a:lnTo>
                <a:lnTo>
                  <a:pt x="4524" y="1967"/>
                </a:lnTo>
                <a:lnTo>
                  <a:pt x="4525" y="1968"/>
                </a:lnTo>
                <a:lnTo>
                  <a:pt x="4525" y="1969"/>
                </a:lnTo>
                <a:lnTo>
                  <a:pt x="4526" y="1972"/>
                </a:lnTo>
                <a:lnTo>
                  <a:pt x="4527" y="1975"/>
                </a:lnTo>
                <a:lnTo>
                  <a:pt x="4527" y="1978"/>
                </a:lnTo>
                <a:lnTo>
                  <a:pt x="4526" y="1981"/>
                </a:lnTo>
                <a:lnTo>
                  <a:pt x="4525" y="1984"/>
                </a:lnTo>
                <a:lnTo>
                  <a:pt x="4523" y="1987"/>
                </a:lnTo>
                <a:lnTo>
                  <a:pt x="4519" y="1990"/>
                </a:lnTo>
                <a:lnTo>
                  <a:pt x="4516" y="1991"/>
                </a:lnTo>
                <a:lnTo>
                  <a:pt x="4512" y="1992"/>
                </a:lnTo>
                <a:lnTo>
                  <a:pt x="4510" y="1992"/>
                </a:lnTo>
                <a:lnTo>
                  <a:pt x="4508" y="1991"/>
                </a:lnTo>
                <a:lnTo>
                  <a:pt x="4504" y="1990"/>
                </a:lnTo>
                <a:lnTo>
                  <a:pt x="4502" y="1988"/>
                </a:lnTo>
                <a:lnTo>
                  <a:pt x="4500" y="1986"/>
                </a:lnTo>
                <a:lnTo>
                  <a:pt x="4499" y="1985"/>
                </a:lnTo>
                <a:lnTo>
                  <a:pt x="4498" y="1983"/>
                </a:lnTo>
                <a:lnTo>
                  <a:pt x="4497" y="1981"/>
                </a:lnTo>
                <a:lnTo>
                  <a:pt x="4496" y="1978"/>
                </a:lnTo>
                <a:lnTo>
                  <a:pt x="4496" y="1975"/>
                </a:lnTo>
                <a:lnTo>
                  <a:pt x="4497" y="1972"/>
                </a:lnTo>
                <a:lnTo>
                  <a:pt x="4498" y="1969"/>
                </a:lnTo>
                <a:lnTo>
                  <a:pt x="4501" y="1966"/>
                </a:lnTo>
                <a:lnTo>
                  <a:pt x="4504" y="1963"/>
                </a:lnTo>
                <a:close/>
                <a:moveTo>
                  <a:pt x="4377" y="1894"/>
                </a:moveTo>
                <a:lnTo>
                  <a:pt x="4379" y="1893"/>
                </a:lnTo>
                <a:lnTo>
                  <a:pt x="4381" y="1893"/>
                </a:lnTo>
                <a:lnTo>
                  <a:pt x="4385" y="1892"/>
                </a:lnTo>
                <a:lnTo>
                  <a:pt x="4387" y="1892"/>
                </a:lnTo>
                <a:lnTo>
                  <a:pt x="4389" y="1893"/>
                </a:lnTo>
                <a:lnTo>
                  <a:pt x="4392" y="1894"/>
                </a:lnTo>
                <a:lnTo>
                  <a:pt x="4395" y="1896"/>
                </a:lnTo>
                <a:lnTo>
                  <a:pt x="4397" y="1898"/>
                </a:lnTo>
                <a:lnTo>
                  <a:pt x="4399" y="1900"/>
                </a:lnTo>
                <a:lnTo>
                  <a:pt x="4400" y="1903"/>
                </a:lnTo>
                <a:lnTo>
                  <a:pt x="4400" y="1906"/>
                </a:lnTo>
                <a:lnTo>
                  <a:pt x="4400" y="1909"/>
                </a:lnTo>
                <a:lnTo>
                  <a:pt x="4400" y="1912"/>
                </a:lnTo>
                <a:lnTo>
                  <a:pt x="4399" y="1915"/>
                </a:lnTo>
                <a:lnTo>
                  <a:pt x="4396" y="1918"/>
                </a:lnTo>
                <a:lnTo>
                  <a:pt x="4393" y="1921"/>
                </a:lnTo>
                <a:lnTo>
                  <a:pt x="4391" y="1922"/>
                </a:lnTo>
                <a:lnTo>
                  <a:pt x="4389" y="1922"/>
                </a:lnTo>
                <a:lnTo>
                  <a:pt x="4385" y="1923"/>
                </a:lnTo>
                <a:lnTo>
                  <a:pt x="4384" y="1923"/>
                </a:lnTo>
                <a:lnTo>
                  <a:pt x="4382" y="1923"/>
                </a:lnTo>
                <a:lnTo>
                  <a:pt x="4378" y="1921"/>
                </a:lnTo>
                <a:lnTo>
                  <a:pt x="4375" y="1919"/>
                </a:lnTo>
                <a:lnTo>
                  <a:pt x="4373" y="1917"/>
                </a:lnTo>
                <a:lnTo>
                  <a:pt x="4371" y="1915"/>
                </a:lnTo>
                <a:lnTo>
                  <a:pt x="4370" y="1912"/>
                </a:lnTo>
                <a:lnTo>
                  <a:pt x="4370" y="1909"/>
                </a:lnTo>
                <a:lnTo>
                  <a:pt x="4370" y="1906"/>
                </a:lnTo>
                <a:lnTo>
                  <a:pt x="4370" y="1903"/>
                </a:lnTo>
                <a:lnTo>
                  <a:pt x="4372" y="1900"/>
                </a:lnTo>
                <a:lnTo>
                  <a:pt x="4374" y="1897"/>
                </a:lnTo>
                <a:lnTo>
                  <a:pt x="4377" y="1894"/>
                </a:lnTo>
                <a:close/>
                <a:moveTo>
                  <a:pt x="4250" y="1827"/>
                </a:moveTo>
                <a:lnTo>
                  <a:pt x="4252" y="1827"/>
                </a:lnTo>
                <a:lnTo>
                  <a:pt x="4253" y="1826"/>
                </a:lnTo>
                <a:lnTo>
                  <a:pt x="4257" y="1825"/>
                </a:lnTo>
                <a:lnTo>
                  <a:pt x="4261" y="1826"/>
                </a:lnTo>
                <a:lnTo>
                  <a:pt x="4265" y="1827"/>
                </a:lnTo>
                <a:lnTo>
                  <a:pt x="4267" y="1829"/>
                </a:lnTo>
                <a:lnTo>
                  <a:pt x="4269" y="1831"/>
                </a:lnTo>
                <a:lnTo>
                  <a:pt x="4271" y="1833"/>
                </a:lnTo>
                <a:lnTo>
                  <a:pt x="4272" y="1836"/>
                </a:lnTo>
                <a:lnTo>
                  <a:pt x="4273" y="1839"/>
                </a:lnTo>
                <a:lnTo>
                  <a:pt x="4273" y="1842"/>
                </a:lnTo>
                <a:lnTo>
                  <a:pt x="4272" y="1845"/>
                </a:lnTo>
                <a:lnTo>
                  <a:pt x="4271" y="1848"/>
                </a:lnTo>
                <a:lnTo>
                  <a:pt x="4269" y="1851"/>
                </a:lnTo>
                <a:lnTo>
                  <a:pt x="4265" y="1854"/>
                </a:lnTo>
                <a:lnTo>
                  <a:pt x="4264" y="1855"/>
                </a:lnTo>
                <a:lnTo>
                  <a:pt x="4262" y="1855"/>
                </a:lnTo>
                <a:lnTo>
                  <a:pt x="4258" y="1856"/>
                </a:lnTo>
                <a:lnTo>
                  <a:pt x="4254" y="1856"/>
                </a:lnTo>
                <a:lnTo>
                  <a:pt x="4251" y="1854"/>
                </a:lnTo>
                <a:lnTo>
                  <a:pt x="4248" y="1853"/>
                </a:lnTo>
                <a:lnTo>
                  <a:pt x="4246" y="1851"/>
                </a:lnTo>
                <a:lnTo>
                  <a:pt x="4244" y="1848"/>
                </a:lnTo>
                <a:lnTo>
                  <a:pt x="4243" y="1845"/>
                </a:lnTo>
                <a:lnTo>
                  <a:pt x="4242" y="1840"/>
                </a:lnTo>
                <a:lnTo>
                  <a:pt x="4243" y="1837"/>
                </a:lnTo>
                <a:lnTo>
                  <a:pt x="4244" y="1834"/>
                </a:lnTo>
                <a:lnTo>
                  <a:pt x="4246" y="1830"/>
                </a:lnTo>
                <a:lnTo>
                  <a:pt x="4250" y="1827"/>
                </a:lnTo>
                <a:close/>
                <a:moveTo>
                  <a:pt x="4121" y="1762"/>
                </a:moveTo>
                <a:lnTo>
                  <a:pt x="4125" y="1760"/>
                </a:lnTo>
                <a:lnTo>
                  <a:pt x="4128" y="1760"/>
                </a:lnTo>
                <a:lnTo>
                  <a:pt x="4132" y="1760"/>
                </a:lnTo>
                <a:lnTo>
                  <a:pt x="4136" y="1761"/>
                </a:lnTo>
                <a:lnTo>
                  <a:pt x="4138" y="1763"/>
                </a:lnTo>
                <a:lnTo>
                  <a:pt x="4140" y="1765"/>
                </a:lnTo>
                <a:lnTo>
                  <a:pt x="4142" y="1768"/>
                </a:lnTo>
                <a:lnTo>
                  <a:pt x="4143" y="1770"/>
                </a:lnTo>
                <a:lnTo>
                  <a:pt x="4144" y="1773"/>
                </a:lnTo>
                <a:lnTo>
                  <a:pt x="4144" y="1776"/>
                </a:lnTo>
                <a:lnTo>
                  <a:pt x="4144" y="1779"/>
                </a:lnTo>
                <a:lnTo>
                  <a:pt x="4143" y="1782"/>
                </a:lnTo>
                <a:lnTo>
                  <a:pt x="4141" y="1784"/>
                </a:lnTo>
                <a:lnTo>
                  <a:pt x="4140" y="1787"/>
                </a:lnTo>
                <a:lnTo>
                  <a:pt x="4137" y="1790"/>
                </a:lnTo>
                <a:lnTo>
                  <a:pt x="4133" y="1791"/>
                </a:lnTo>
                <a:lnTo>
                  <a:pt x="4129" y="1792"/>
                </a:lnTo>
                <a:lnTo>
                  <a:pt x="4126" y="1791"/>
                </a:lnTo>
                <a:lnTo>
                  <a:pt x="4122" y="1790"/>
                </a:lnTo>
                <a:lnTo>
                  <a:pt x="4119" y="1788"/>
                </a:lnTo>
                <a:lnTo>
                  <a:pt x="4117" y="1785"/>
                </a:lnTo>
                <a:lnTo>
                  <a:pt x="4116" y="1783"/>
                </a:lnTo>
                <a:lnTo>
                  <a:pt x="4114" y="1780"/>
                </a:lnTo>
                <a:lnTo>
                  <a:pt x="4114" y="1777"/>
                </a:lnTo>
                <a:lnTo>
                  <a:pt x="4113" y="1774"/>
                </a:lnTo>
                <a:lnTo>
                  <a:pt x="4114" y="1771"/>
                </a:lnTo>
                <a:lnTo>
                  <a:pt x="4115" y="1769"/>
                </a:lnTo>
                <a:lnTo>
                  <a:pt x="4116" y="1766"/>
                </a:lnTo>
                <a:lnTo>
                  <a:pt x="4118" y="1765"/>
                </a:lnTo>
                <a:lnTo>
                  <a:pt x="4121" y="1762"/>
                </a:lnTo>
                <a:close/>
                <a:moveTo>
                  <a:pt x="3990" y="1701"/>
                </a:moveTo>
                <a:lnTo>
                  <a:pt x="3993" y="1699"/>
                </a:lnTo>
                <a:lnTo>
                  <a:pt x="3997" y="1699"/>
                </a:lnTo>
                <a:lnTo>
                  <a:pt x="4000" y="1699"/>
                </a:lnTo>
                <a:lnTo>
                  <a:pt x="4004" y="1700"/>
                </a:lnTo>
                <a:lnTo>
                  <a:pt x="4007" y="1702"/>
                </a:lnTo>
                <a:lnTo>
                  <a:pt x="4010" y="1704"/>
                </a:lnTo>
                <a:lnTo>
                  <a:pt x="4012" y="1706"/>
                </a:lnTo>
                <a:lnTo>
                  <a:pt x="4013" y="1709"/>
                </a:lnTo>
                <a:lnTo>
                  <a:pt x="4014" y="1711"/>
                </a:lnTo>
                <a:lnTo>
                  <a:pt x="4014" y="1714"/>
                </a:lnTo>
                <a:lnTo>
                  <a:pt x="4014" y="1717"/>
                </a:lnTo>
                <a:lnTo>
                  <a:pt x="4013" y="1720"/>
                </a:lnTo>
                <a:lnTo>
                  <a:pt x="4011" y="1723"/>
                </a:lnTo>
                <a:lnTo>
                  <a:pt x="4010" y="1724"/>
                </a:lnTo>
                <a:lnTo>
                  <a:pt x="4008" y="1725"/>
                </a:lnTo>
                <a:lnTo>
                  <a:pt x="4007" y="1726"/>
                </a:lnTo>
                <a:lnTo>
                  <a:pt x="4005" y="1727"/>
                </a:lnTo>
                <a:lnTo>
                  <a:pt x="4002" y="1729"/>
                </a:lnTo>
                <a:lnTo>
                  <a:pt x="3998" y="1729"/>
                </a:lnTo>
                <a:lnTo>
                  <a:pt x="3995" y="1729"/>
                </a:lnTo>
                <a:lnTo>
                  <a:pt x="3991" y="1728"/>
                </a:lnTo>
                <a:lnTo>
                  <a:pt x="3988" y="1727"/>
                </a:lnTo>
                <a:lnTo>
                  <a:pt x="3986" y="1725"/>
                </a:lnTo>
                <a:lnTo>
                  <a:pt x="3984" y="1722"/>
                </a:lnTo>
                <a:lnTo>
                  <a:pt x="3983" y="1719"/>
                </a:lnTo>
                <a:lnTo>
                  <a:pt x="3982" y="1717"/>
                </a:lnTo>
                <a:lnTo>
                  <a:pt x="3982" y="1714"/>
                </a:lnTo>
                <a:lnTo>
                  <a:pt x="3982" y="1711"/>
                </a:lnTo>
                <a:lnTo>
                  <a:pt x="3983" y="1708"/>
                </a:lnTo>
                <a:lnTo>
                  <a:pt x="3985" y="1706"/>
                </a:lnTo>
                <a:lnTo>
                  <a:pt x="3986" y="1704"/>
                </a:lnTo>
                <a:lnTo>
                  <a:pt x="3987" y="1703"/>
                </a:lnTo>
                <a:lnTo>
                  <a:pt x="3988" y="1702"/>
                </a:lnTo>
                <a:lnTo>
                  <a:pt x="3990" y="1701"/>
                </a:lnTo>
                <a:close/>
                <a:moveTo>
                  <a:pt x="3858" y="1644"/>
                </a:moveTo>
                <a:lnTo>
                  <a:pt x="3861" y="1642"/>
                </a:lnTo>
                <a:lnTo>
                  <a:pt x="3864" y="1642"/>
                </a:lnTo>
                <a:lnTo>
                  <a:pt x="3868" y="1642"/>
                </a:lnTo>
                <a:lnTo>
                  <a:pt x="3871" y="1643"/>
                </a:lnTo>
                <a:lnTo>
                  <a:pt x="3874" y="1644"/>
                </a:lnTo>
                <a:lnTo>
                  <a:pt x="3876" y="1646"/>
                </a:lnTo>
                <a:lnTo>
                  <a:pt x="3878" y="1649"/>
                </a:lnTo>
                <a:lnTo>
                  <a:pt x="3879" y="1651"/>
                </a:lnTo>
                <a:lnTo>
                  <a:pt x="3880" y="1654"/>
                </a:lnTo>
                <a:lnTo>
                  <a:pt x="3881" y="1657"/>
                </a:lnTo>
                <a:lnTo>
                  <a:pt x="3880" y="1660"/>
                </a:lnTo>
                <a:lnTo>
                  <a:pt x="3879" y="1663"/>
                </a:lnTo>
                <a:lnTo>
                  <a:pt x="3878" y="1665"/>
                </a:lnTo>
                <a:lnTo>
                  <a:pt x="3877" y="1667"/>
                </a:lnTo>
                <a:lnTo>
                  <a:pt x="3875" y="1669"/>
                </a:lnTo>
                <a:lnTo>
                  <a:pt x="3873" y="1670"/>
                </a:lnTo>
                <a:lnTo>
                  <a:pt x="3870" y="1672"/>
                </a:lnTo>
                <a:lnTo>
                  <a:pt x="3866" y="1672"/>
                </a:lnTo>
                <a:lnTo>
                  <a:pt x="3863" y="1672"/>
                </a:lnTo>
                <a:lnTo>
                  <a:pt x="3859" y="1671"/>
                </a:lnTo>
                <a:lnTo>
                  <a:pt x="3857" y="1670"/>
                </a:lnTo>
                <a:lnTo>
                  <a:pt x="3854" y="1668"/>
                </a:lnTo>
                <a:lnTo>
                  <a:pt x="3852" y="1666"/>
                </a:lnTo>
                <a:lnTo>
                  <a:pt x="3851" y="1663"/>
                </a:lnTo>
                <a:lnTo>
                  <a:pt x="3850" y="1660"/>
                </a:lnTo>
                <a:lnTo>
                  <a:pt x="3850" y="1657"/>
                </a:lnTo>
                <a:lnTo>
                  <a:pt x="3850" y="1654"/>
                </a:lnTo>
                <a:lnTo>
                  <a:pt x="3851" y="1651"/>
                </a:lnTo>
                <a:lnTo>
                  <a:pt x="3852" y="1649"/>
                </a:lnTo>
                <a:lnTo>
                  <a:pt x="3854" y="1647"/>
                </a:lnTo>
                <a:lnTo>
                  <a:pt x="3856" y="1645"/>
                </a:lnTo>
                <a:lnTo>
                  <a:pt x="3858" y="1644"/>
                </a:lnTo>
                <a:close/>
                <a:moveTo>
                  <a:pt x="2461" y="2353"/>
                </a:moveTo>
                <a:lnTo>
                  <a:pt x="2464" y="2352"/>
                </a:lnTo>
                <a:lnTo>
                  <a:pt x="2467" y="2351"/>
                </a:lnTo>
                <a:lnTo>
                  <a:pt x="2470" y="2351"/>
                </a:lnTo>
                <a:lnTo>
                  <a:pt x="2473" y="2352"/>
                </a:lnTo>
                <a:lnTo>
                  <a:pt x="2476" y="2353"/>
                </a:lnTo>
                <a:lnTo>
                  <a:pt x="2478" y="2354"/>
                </a:lnTo>
                <a:lnTo>
                  <a:pt x="2481" y="2357"/>
                </a:lnTo>
                <a:lnTo>
                  <a:pt x="2482" y="2359"/>
                </a:lnTo>
                <a:lnTo>
                  <a:pt x="2483" y="2362"/>
                </a:lnTo>
                <a:lnTo>
                  <a:pt x="2484" y="2365"/>
                </a:lnTo>
                <a:lnTo>
                  <a:pt x="2484" y="2368"/>
                </a:lnTo>
                <a:lnTo>
                  <a:pt x="2483" y="2371"/>
                </a:lnTo>
                <a:lnTo>
                  <a:pt x="2482" y="2374"/>
                </a:lnTo>
                <a:lnTo>
                  <a:pt x="2481" y="2376"/>
                </a:lnTo>
                <a:lnTo>
                  <a:pt x="2479" y="2378"/>
                </a:lnTo>
                <a:lnTo>
                  <a:pt x="2476" y="2380"/>
                </a:lnTo>
                <a:lnTo>
                  <a:pt x="2474" y="2381"/>
                </a:lnTo>
                <a:lnTo>
                  <a:pt x="2471" y="2382"/>
                </a:lnTo>
                <a:lnTo>
                  <a:pt x="2467" y="2382"/>
                </a:lnTo>
                <a:lnTo>
                  <a:pt x="2464" y="2381"/>
                </a:lnTo>
                <a:lnTo>
                  <a:pt x="2461" y="2380"/>
                </a:lnTo>
                <a:lnTo>
                  <a:pt x="2459" y="2378"/>
                </a:lnTo>
                <a:lnTo>
                  <a:pt x="2457" y="2376"/>
                </a:lnTo>
                <a:lnTo>
                  <a:pt x="2455" y="2374"/>
                </a:lnTo>
                <a:lnTo>
                  <a:pt x="2454" y="2371"/>
                </a:lnTo>
                <a:lnTo>
                  <a:pt x="2453" y="2368"/>
                </a:lnTo>
                <a:lnTo>
                  <a:pt x="2453" y="2365"/>
                </a:lnTo>
                <a:lnTo>
                  <a:pt x="2454" y="2362"/>
                </a:lnTo>
                <a:lnTo>
                  <a:pt x="2455" y="2359"/>
                </a:lnTo>
                <a:lnTo>
                  <a:pt x="2457" y="2357"/>
                </a:lnTo>
                <a:lnTo>
                  <a:pt x="2459" y="2355"/>
                </a:lnTo>
                <a:lnTo>
                  <a:pt x="2461" y="2353"/>
                </a:lnTo>
                <a:close/>
                <a:moveTo>
                  <a:pt x="3723" y="1593"/>
                </a:moveTo>
                <a:lnTo>
                  <a:pt x="3726" y="1591"/>
                </a:lnTo>
                <a:lnTo>
                  <a:pt x="3729" y="1591"/>
                </a:lnTo>
                <a:lnTo>
                  <a:pt x="3733" y="1591"/>
                </a:lnTo>
                <a:lnTo>
                  <a:pt x="3736" y="1591"/>
                </a:lnTo>
                <a:lnTo>
                  <a:pt x="3739" y="1593"/>
                </a:lnTo>
                <a:lnTo>
                  <a:pt x="3741" y="1595"/>
                </a:lnTo>
                <a:lnTo>
                  <a:pt x="3743" y="1597"/>
                </a:lnTo>
                <a:lnTo>
                  <a:pt x="3745" y="1599"/>
                </a:lnTo>
                <a:lnTo>
                  <a:pt x="3746" y="1602"/>
                </a:lnTo>
                <a:lnTo>
                  <a:pt x="3746" y="1605"/>
                </a:lnTo>
                <a:lnTo>
                  <a:pt x="3745" y="1611"/>
                </a:lnTo>
                <a:lnTo>
                  <a:pt x="3744" y="1614"/>
                </a:lnTo>
                <a:lnTo>
                  <a:pt x="3742" y="1616"/>
                </a:lnTo>
                <a:lnTo>
                  <a:pt x="3741" y="1618"/>
                </a:lnTo>
                <a:lnTo>
                  <a:pt x="3738" y="1619"/>
                </a:lnTo>
                <a:lnTo>
                  <a:pt x="3735" y="1621"/>
                </a:lnTo>
                <a:lnTo>
                  <a:pt x="3732" y="1621"/>
                </a:lnTo>
                <a:lnTo>
                  <a:pt x="3729" y="1621"/>
                </a:lnTo>
                <a:lnTo>
                  <a:pt x="3726" y="1620"/>
                </a:lnTo>
                <a:lnTo>
                  <a:pt x="3723" y="1619"/>
                </a:lnTo>
                <a:lnTo>
                  <a:pt x="3720" y="1617"/>
                </a:lnTo>
                <a:lnTo>
                  <a:pt x="3718" y="1615"/>
                </a:lnTo>
                <a:lnTo>
                  <a:pt x="3717" y="1613"/>
                </a:lnTo>
                <a:lnTo>
                  <a:pt x="3716" y="1610"/>
                </a:lnTo>
                <a:lnTo>
                  <a:pt x="3715" y="1607"/>
                </a:lnTo>
                <a:lnTo>
                  <a:pt x="3716" y="1601"/>
                </a:lnTo>
                <a:lnTo>
                  <a:pt x="3717" y="1598"/>
                </a:lnTo>
                <a:lnTo>
                  <a:pt x="3719" y="1596"/>
                </a:lnTo>
                <a:lnTo>
                  <a:pt x="3721" y="1594"/>
                </a:lnTo>
                <a:lnTo>
                  <a:pt x="3723" y="1593"/>
                </a:lnTo>
                <a:close/>
                <a:moveTo>
                  <a:pt x="2491" y="2213"/>
                </a:moveTo>
                <a:lnTo>
                  <a:pt x="2493" y="2211"/>
                </a:lnTo>
                <a:lnTo>
                  <a:pt x="2496" y="2211"/>
                </a:lnTo>
                <a:lnTo>
                  <a:pt x="2498" y="2210"/>
                </a:lnTo>
                <a:lnTo>
                  <a:pt x="2501" y="2211"/>
                </a:lnTo>
                <a:lnTo>
                  <a:pt x="2504" y="2211"/>
                </a:lnTo>
                <a:lnTo>
                  <a:pt x="2507" y="2213"/>
                </a:lnTo>
                <a:lnTo>
                  <a:pt x="2509" y="2214"/>
                </a:lnTo>
                <a:lnTo>
                  <a:pt x="2511" y="2217"/>
                </a:lnTo>
                <a:lnTo>
                  <a:pt x="2513" y="2219"/>
                </a:lnTo>
                <a:lnTo>
                  <a:pt x="2514" y="2222"/>
                </a:lnTo>
                <a:lnTo>
                  <a:pt x="2514" y="2225"/>
                </a:lnTo>
                <a:lnTo>
                  <a:pt x="2514" y="2228"/>
                </a:lnTo>
                <a:lnTo>
                  <a:pt x="2513" y="2232"/>
                </a:lnTo>
                <a:lnTo>
                  <a:pt x="2512" y="2235"/>
                </a:lnTo>
                <a:lnTo>
                  <a:pt x="2509" y="2237"/>
                </a:lnTo>
                <a:lnTo>
                  <a:pt x="2507" y="2239"/>
                </a:lnTo>
                <a:lnTo>
                  <a:pt x="2504" y="2240"/>
                </a:lnTo>
                <a:lnTo>
                  <a:pt x="2502" y="2241"/>
                </a:lnTo>
                <a:lnTo>
                  <a:pt x="2499" y="2241"/>
                </a:lnTo>
                <a:lnTo>
                  <a:pt x="2497" y="2241"/>
                </a:lnTo>
                <a:lnTo>
                  <a:pt x="2494" y="2240"/>
                </a:lnTo>
                <a:lnTo>
                  <a:pt x="2491" y="2239"/>
                </a:lnTo>
                <a:lnTo>
                  <a:pt x="2489" y="2237"/>
                </a:lnTo>
                <a:lnTo>
                  <a:pt x="2487" y="2235"/>
                </a:lnTo>
                <a:lnTo>
                  <a:pt x="2485" y="2233"/>
                </a:lnTo>
                <a:lnTo>
                  <a:pt x="2484" y="2230"/>
                </a:lnTo>
                <a:lnTo>
                  <a:pt x="2484" y="2227"/>
                </a:lnTo>
                <a:lnTo>
                  <a:pt x="2484" y="2224"/>
                </a:lnTo>
                <a:lnTo>
                  <a:pt x="2485" y="2220"/>
                </a:lnTo>
                <a:lnTo>
                  <a:pt x="2486" y="2217"/>
                </a:lnTo>
                <a:lnTo>
                  <a:pt x="2488" y="2215"/>
                </a:lnTo>
                <a:lnTo>
                  <a:pt x="2491" y="2213"/>
                </a:lnTo>
                <a:close/>
                <a:moveTo>
                  <a:pt x="3586" y="1549"/>
                </a:moveTo>
                <a:lnTo>
                  <a:pt x="3589" y="1548"/>
                </a:lnTo>
                <a:lnTo>
                  <a:pt x="3592" y="1547"/>
                </a:lnTo>
                <a:lnTo>
                  <a:pt x="3595" y="1547"/>
                </a:lnTo>
                <a:lnTo>
                  <a:pt x="3598" y="1547"/>
                </a:lnTo>
                <a:lnTo>
                  <a:pt x="3601" y="1548"/>
                </a:lnTo>
                <a:lnTo>
                  <a:pt x="3603" y="1550"/>
                </a:lnTo>
                <a:lnTo>
                  <a:pt x="3605" y="1552"/>
                </a:lnTo>
                <a:lnTo>
                  <a:pt x="3607" y="1555"/>
                </a:lnTo>
                <a:lnTo>
                  <a:pt x="3608" y="1557"/>
                </a:lnTo>
                <a:lnTo>
                  <a:pt x="3609" y="1560"/>
                </a:lnTo>
                <a:lnTo>
                  <a:pt x="3609" y="1563"/>
                </a:lnTo>
                <a:lnTo>
                  <a:pt x="3608" y="1566"/>
                </a:lnTo>
                <a:lnTo>
                  <a:pt x="3607" y="1569"/>
                </a:lnTo>
                <a:lnTo>
                  <a:pt x="3606" y="1572"/>
                </a:lnTo>
                <a:lnTo>
                  <a:pt x="3604" y="1574"/>
                </a:lnTo>
                <a:lnTo>
                  <a:pt x="3601" y="1575"/>
                </a:lnTo>
                <a:lnTo>
                  <a:pt x="3599" y="1577"/>
                </a:lnTo>
                <a:lnTo>
                  <a:pt x="3596" y="1577"/>
                </a:lnTo>
                <a:lnTo>
                  <a:pt x="3593" y="1577"/>
                </a:lnTo>
                <a:lnTo>
                  <a:pt x="3589" y="1577"/>
                </a:lnTo>
                <a:lnTo>
                  <a:pt x="3587" y="1576"/>
                </a:lnTo>
                <a:lnTo>
                  <a:pt x="3584" y="1574"/>
                </a:lnTo>
                <a:lnTo>
                  <a:pt x="3582" y="1572"/>
                </a:lnTo>
                <a:lnTo>
                  <a:pt x="3580" y="1570"/>
                </a:lnTo>
                <a:lnTo>
                  <a:pt x="3579" y="1567"/>
                </a:lnTo>
                <a:lnTo>
                  <a:pt x="3578" y="1564"/>
                </a:lnTo>
                <a:lnTo>
                  <a:pt x="3578" y="1561"/>
                </a:lnTo>
                <a:lnTo>
                  <a:pt x="3579" y="1558"/>
                </a:lnTo>
                <a:lnTo>
                  <a:pt x="3580" y="1555"/>
                </a:lnTo>
                <a:lnTo>
                  <a:pt x="3582" y="1553"/>
                </a:lnTo>
                <a:lnTo>
                  <a:pt x="3584" y="1550"/>
                </a:lnTo>
                <a:lnTo>
                  <a:pt x="3586" y="1549"/>
                </a:lnTo>
                <a:close/>
                <a:moveTo>
                  <a:pt x="2505" y="2069"/>
                </a:moveTo>
                <a:lnTo>
                  <a:pt x="2509" y="2068"/>
                </a:lnTo>
                <a:lnTo>
                  <a:pt x="2512" y="2067"/>
                </a:lnTo>
                <a:lnTo>
                  <a:pt x="2514" y="2067"/>
                </a:lnTo>
                <a:lnTo>
                  <a:pt x="2520" y="2069"/>
                </a:lnTo>
                <a:lnTo>
                  <a:pt x="2522" y="2070"/>
                </a:lnTo>
                <a:lnTo>
                  <a:pt x="2524" y="2072"/>
                </a:lnTo>
                <a:lnTo>
                  <a:pt x="2526" y="2075"/>
                </a:lnTo>
                <a:lnTo>
                  <a:pt x="2527" y="2078"/>
                </a:lnTo>
                <a:lnTo>
                  <a:pt x="2528" y="2081"/>
                </a:lnTo>
                <a:lnTo>
                  <a:pt x="2528" y="2084"/>
                </a:lnTo>
                <a:lnTo>
                  <a:pt x="2527" y="2087"/>
                </a:lnTo>
                <a:lnTo>
                  <a:pt x="2526" y="2091"/>
                </a:lnTo>
                <a:lnTo>
                  <a:pt x="2524" y="2094"/>
                </a:lnTo>
                <a:lnTo>
                  <a:pt x="2521" y="2096"/>
                </a:lnTo>
                <a:lnTo>
                  <a:pt x="2516" y="2098"/>
                </a:lnTo>
                <a:lnTo>
                  <a:pt x="2514" y="2098"/>
                </a:lnTo>
                <a:lnTo>
                  <a:pt x="2512" y="2098"/>
                </a:lnTo>
                <a:lnTo>
                  <a:pt x="2506" y="2096"/>
                </a:lnTo>
                <a:lnTo>
                  <a:pt x="2503" y="2095"/>
                </a:lnTo>
                <a:lnTo>
                  <a:pt x="2501" y="2093"/>
                </a:lnTo>
                <a:lnTo>
                  <a:pt x="2500" y="2090"/>
                </a:lnTo>
                <a:lnTo>
                  <a:pt x="2498" y="2088"/>
                </a:lnTo>
                <a:lnTo>
                  <a:pt x="2498" y="2085"/>
                </a:lnTo>
                <a:lnTo>
                  <a:pt x="2498" y="2082"/>
                </a:lnTo>
                <a:lnTo>
                  <a:pt x="2498" y="2078"/>
                </a:lnTo>
                <a:lnTo>
                  <a:pt x="2500" y="2074"/>
                </a:lnTo>
                <a:lnTo>
                  <a:pt x="2502" y="2071"/>
                </a:lnTo>
                <a:lnTo>
                  <a:pt x="2505" y="2069"/>
                </a:lnTo>
                <a:close/>
                <a:moveTo>
                  <a:pt x="3446" y="1515"/>
                </a:moveTo>
                <a:lnTo>
                  <a:pt x="3449" y="1514"/>
                </a:lnTo>
                <a:lnTo>
                  <a:pt x="3451" y="1513"/>
                </a:lnTo>
                <a:lnTo>
                  <a:pt x="3457" y="1513"/>
                </a:lnTo>
                <a:lnTo>
                  <a:pt x="3460" y="1514"/>
                </a:lnTo>
                <a:lnTo>
                  <a:pt x="3462" y="1515"/>
                </a:lnTo>
                <a:lnTo>
                  <a:pt x="3465" y="1517"/>
                </a:lnTo>
                <a:lnTo>
                  <a:pt x="3467" y="1520"/>
                </a:lnTo>
                <a:lnTo>
                  <a:pt x="3468" y="1522"/>
                </a:lnTo>
                <a:lnTo>
                  <a:pt x="3469" y="1525"/>
                </a:lnTo>
                <a:lnTo>
                  <a:pt x="3469" y="1528"/>
                </a:lnTo>
                <a:lnTo>
                  <a:pt x="3469" y="1531"/>
                </a:lnTo>
                <a:lnTo>
                  <a:pt x="3468" y="1534"/>
                </a:lnTo>
                <a:lnTo>
                  <a:pt x="3466" y="1537"/>
                </a:lnTo>
                <a:lnTo>
                  <a:pt x="3464" y="1540"/>
                </a:lnTo>
                <a:lnTo>
                  <a:pt x="3462" y="1541"/>
                </a:lnTo>
                <a:lnTo>
                  <a:pt x="3459" y="1543"/>
                </a:lnTo>
                <a:lnTo>
                  <a:pt x="3456" y="1543"/>
                </a:lnTo>
                <a:lnTo>
                  <a:pt x="3451" y="1543"/>
                </a:lnTo>
                <a:lnTo>
                  <a:pt x="3448" y="1542"/>
                </a:lnTo>
                <a:lnTo>
                  <a:pt x="3445" y="1541"/>
                </a:lnTo>
                <a:lnTo>
                  <a:pt x="3443" y="1539"/>
                </a:lnTo>
                <a:lnTo>
                  <a:pt x="3441" y="1537"/>
                </a:lnTo>
                <a:lnTo>
                  <a:pt x="3440" y="1534"/>
                </a:lnTo>
                <a:lnTo>
                  <a:pt x="3439" y="1531"/>
                </a:lnTo>
                <a:lnTo>
                  <a:pt x="3438" y="1528"/>
                </a:lnTo>
                <a:lnTo>
                  <a:pt x="3439" y="1525"/>
                </a:lnTo>
                <a:lnTo>
                  <a:pt x="3440" y="1522"/>
                </a:lnTo>
                <a:lnTo>
                  <a:pt x="3441" y="1519"/>
                </a:lnTo>
                <a:lnTo>
                  <a:pt x="3444" y="1517"/>
                </a:lnTo>
                <a:lnTo>
                  <a:pt x="3446" y="1515"/>
                </a:lnTo>
                <a:close/>
                <a:moveTo>
                  <a:pt x="3304" y="1493"/>
                </a:moveTo>
                <a:lnTo>
                  <a:pt x="3308" y="1491"/>
                </a:lnTo>
                <a:lnTo>
                  <a:pt x="3311" y="1491"/>
                </a:lnTo>
                <a:lnTo>
                  <a:pt x="3313" y="1491"/>
                </a:lnTo>
                <a:lnTo>
                  <a:pt x="3316" y="1492"/>
                </a:lnTo>
                <a:lnTo>
                  <a:pt x="3319" y="1493"/>
                </a:lnTo>
                <a:lnTo>
                  <a:pt x="3321" y="1495"/>
                </a:lnTo>
                <a:lnTo>
                  <a:pt x="3323" y="1497"/>
                </a:lnTo>
                <a:lnTo>
                  <a:pt x="3325" y="1499"/>
                </a:lnTo>
                <a:lnTo>
                  <a:pt x="3326" y="1502"/>
                </a:lnTo>
                <a:lnTo>
                  <a:pt x="3327" y="1505"/>
                </a:lnTo>
                <a:lnTo>
                  <a:pt x="3327" y="1508"/>
                </a:lnTo>
                <a:lnTo>
                  <a:pt x="3326" y="1512"/>
                </a:lnTo>
                <a:lnTo>
                  <a:pt x="3324" y="1515"/>
                </a:lnTo>
                <a:lnTo>
                  <a:pt x="3322" y="1518"/>
                </a:lnTo>
                <a:lnTo>
                  <a:pt x="3319" y="1520"/>
                </a:lnTo>
                <a:lnTo>
                  <a:pt x="3315" y="1522"/>
                </a:lnTo>
                <a:lnTo>
                  <a:pt x="3313" y="1522"/>
                </a:lnTo>
                <a:lnTo>
                  <a:pt x="3310" y="1522"/>
                </a:lnTo>
                <a:lnTo>
                  <a:pt x="3307" y="1521"/>
                </a:lnTo>
                <a:lnTo>
                  <a:pt x="3304" y="1520"/>
                </a:lnTo>
                <a:lnTo>
                  <a:pt x="3302" y="1518"/>
                </a:lnTo>
                <a:lnTo>
                  <a:pt x="3300" y="1516"/>
                </a:lnTo>
                <a:lnTo>
                  <a:pt x="3298" y="1514"/>
                </a:lnTo>
                <a:lnTo>
                  <a:pt x="3297" y="1511"/>
                </a:lnTo>
                <a:lnTo>
                  <a:pt x="3296" y="1508"/>
                </a:lnTo>
                <a:lnTo>
                  <a:pt x="3296" y="1505"/>
                </a:lnTo>
                <a:lnTo>
                  <a:pt x="3297" y="1501"/>
                </a:lnTo>
                <a:lnTo>
                  <a:pt x="3299" y="1498"/>
                </a:lnTo>
                <a:lnTo>
                  <a:pt x="3301" y="1495"/>
                </a:lnTo>
                <a:lnTo>
                  <a:pt x="3304" y="1493"/>
                </a:lnTo>
                <a:close/>
                <a:moveTo>
                  <a:pt x="2517" y="1926"/>
                </a:moveTo>
                <a:lnTo>
                  <a:pt x="2519" y="1925"/>
                </a:lnTo>
                <a:lnTo>
                  <a:pt x="2521" y="1924"/>
                </a:lnTo>
                <a:lnTo>
                  <a:pt x="2524" y="1924"/>
                </a:lnTo>
                <a:lnTo>
                  <a:pt x="2526" y="1924"/>
                </a:lnTo>
                <a:lnTo>
                  <a:pt x="2529" y="1924"/>
                </a:lnTo>
                <a:lnTo>
                  <a:pt x="2532" y="1926"/>
                </a:lnTo>
                <a:lnTo>
                  <a:pt x="2535" y="1927"/>
                </a:lnTo>
                <a:lnTo>
                  <a:pt x="2536" y="1928"/>
                </a:lnTo>
                <a:lnTo>
                  <a:pt x="2537" y="1930"/>
                </a:lnTo>
                <a:lnTo>
                  <a:pt x="2537" y="1931"/>
                </a:lnTo>
                <a:lnTo>
                  <a:pt x="2538" y="1932"/>
                </a:lnTo>
                <a:lnTo>
                  <a:pt x="2539" y="1935"/>
                </a:lnTo>
                <a:lnTo>
                  <a:pt x="2540" y="1938"/>
                </a:lnTo>
                <a:lnTo>
                  <a:pt x="2540" y="1941"/>
                </a:lnTo>
                <a:lnTo>
                  <a:pt x="2539" y="1944"/>
                </a:lnTo>
                <a:lnTo>
                  <a:pt x="2537" y="1948"/>
                </a:lnTo>
                <a:lnTo>
                  <a:pt x="2535" y="1950"/>
                </a:lnTo>
                <a:lnTo>
                  <a:pt x="2532" y="1952"/>
                </a:lnTo>
                <a:lnTo>
                  <a:pt x="2530" y="1953"/>
                </a:lnTo>
                <a:lnTo>
                  <a:pt x="2528" y="1954"/>
                </a:lnTo>
                <a:lnTo>
                  <a:pt x="2525" y="1954"/>
                </a:lnTo>
                <a:lnTo>
                  <a:pt x="2523" y="1954"/>
                </a:lnTo>
                <a:lnTo>
                  <a:pt x="2520" y="1954"/>
                </a:lnTo>
                <a:lnTo>
                  <a:pt x="2517" y="1952"/>
                </a:lnTo>
                <a:lnTo>
                  <a:pt x="2514" y="1951"/>
                </a:lnTo>
                <a:lnTo>
                  <a:pt x="2513" y="1950"/>
                </a:lnTo>
                <a:lnTo>
                  <a:pt x="2512" y="1949"/>
                </a:lnTo>
                <a:lnTo>
                  <a:pt x="2512" y="1947"/>
                </a:lnTo>
                <a:lnTo>
                  <a:pt x="2511" y="1946"/>
                </a:lnTo>
                <a:lnTo>
                  <a:pt x="2510" y="1943"/>
                </a:lnTo>
                <a:lnTo>
                  <a:pt x="2509" y="1940"/>
                </a:lnTo>
                <a:lnTo>
                  <a:pt x="2509" y="1937"/>
                </a:lnTo>
                <a:lnTo>
                  <a:pt x="2510" y="1934"/>
                </a:lnTo>
                <a:lnTo>
                  <a:pt x="2512" y="1930"/>
                </a:lnTo>
                <a:lnTo>
                  <a:pt x="2514" y="1928"/>
                </a:lnTo>
                <a:lnTo>
                  <a:pt x="2517" y="1926"/>
                </a:lnTo>
                <a:close/>
                <a:moveTo>
                  <a:pt x="3160" y="1487"/>
                </a:moveTo>
                <a:lnTo>
                  <a:pt x="3162" y="1486"/>
                </a:lnTo>
                <a:lnTo>
                  <a:pt x="3164" y="1486"/>
                </a:lnTo>
                <a:lnTo>
                  <a:pt x="3168" y="1485"/>
                </a:lnTo>
                <a:lnTo>
                  <a:pt x="3171" y="1485"/>
                </a:lnTo>
                <a:lnTo>
                  <a:pt x="3174" y="1486"/>
                </a:lnTo>
                <a:lnTo>
                  <a:pt x="3176" y="1488"/>
                </a:lnTo>
                <a:lnTo>
                  <a:pt x="3179" y="1490"/>
                </a:lnTo>
                <a:lnTo>
                  <a:pt x="3181" y="1492"/>
                </a:lnTo>
                <a:lnTo>
                  <a:pt x="3182" y="1494"/>
                </a:lnTo>
                <a:lnTo>
                  <a:pt x="3183" y="1497"/>
                </a:lnTo>
                <a:lnTo>
                  <a:pt x="3183" y="1500"/>
                </a:lnTo>
                <a:lnTo>
                  <a:pt x="3183" y="1505"/>
                </a:lnTo>
                <a:lnTo>
                  <a:pt x="3181" y="1508"/>
                </a:lnTo>
                <a:lnTo>
                  <a:pt x="3179" y="1511"/>
                </a:lnTo>
                <a:lnTo>
                  <a:pt x="3176" y="1514"/>
                </a:lnTo>
                <a:lnTo>
                  <a:pt x="3174" y="1515"/>
                </a:lnTo>
                <a:lnTo>
                  <a:pt x="3172" y="1515"/>
                </a:lnTo>
                <a:lnTo>
                  <a:pt x="3168" y="1516"/>
                </a:lnTo>
                <a:lnTo>
                  <a:pt x="3165" y="1516"/>
                </a:lnTo>
                <a:lnTo>
                  <a:pt x="3162" y="1515"/>
                </a:lnTo>
                <a:lnTo>
                  <a:pt x="3160" y="1514"/>
                </a:lnTo>
                <a:lnTo>
                  <a:pt x="3157" y="1512"/>
                </a:lnTo>
                <a:lnTo>
                  <a:pt x="3155" y="1509"/>
                </a:lnTo>
                <a:lnTo>
                  <a:pt x="3154" y="1507"/>
                </a:lnTo>
                <a:lnTo>
                  <a:pt x="3153" y="1504"/>
                </a:lnTo>
                <a:lnTo>
                  <a:pt x="3153" y="1501"/>
                </a:lnTo>
                <a:lnTo>
                  <a:pt x="3153" y="1497"/>
                </a:lnTo>
                <a:lnTo>
                  <a:pt x="3155" y="1493"/>
                </a:lnTo>
                <a:lnTo>
                  <a:pt x="3157" y="1490"/>
                </a:lnTo>
                <a:lnTo>
                  <a:pt x="3160" y="1487"/>
                </a:lnTo>
                <a:close/>
                <a:moveTo>
                  <a:pt x="2548" y="1785"/>
                </a:moveTo>
                <a:lnTo>
                  <a:pt x="2552" y="1784"/>
                </a:lnTo>
                <a:lnTo>
                  <a:pt x="2555" y="1783"/>
                </a:lnTo>
                <a:lnTo>
                  <a:pt x="2558" y="1783"/>
                </a:lnTo>
                <a:lnTo>
                  <a:pt x="2562" y="1784"/>
                </a:lnTo>
                <a:lnTo>
                  <a:pt x="2563" y="1785"/>
                </a:lnTo>
                <a:lnTo>
                  <a:pt x="2564" y="1785"/>
                </a:lnTo>
                <a:lnTo>
                  <a:pt x="2567" y="1788"/>
                </a:lnTo>
                <a:lnTo>
                  <a:pt x="2569" y="1790"/>
                </a:lnTo>
                <a:lnTo>
                  <a:pt x="2570" y="1793"/>
                </a:lnTo>
                <a:lnTo>
                  <a:pt x="2571" y="1796"/>
                </a:lnTo>
                <a:lnTo>
                  <a:pt x="2572" y="1799"/>
                </a:lnTo>
                <a:lnTo>
                  <a:pt x="2571" y="1802"/>
                </a:lnTo>
                <a:lnTo>
                  <a:pt x="2571" y="1805"/>
                </a:lnTo>
                <a:lnTo>
                  <a:pt x="2569" y="1807"/>
                </a:lnTo>
                <a:lnTo>
                  <a:pt x="2568" y="1809"/>
                </a:lnTo>
                <a:lnTo>
                  <a:pt x="2566" y="1811"/>
                </a:lnTo>
                <a:lnTo>
                  <a:pt x="2564" y="1813"/>
                </a:lnTo>
                <a:lnTo>
                  <a:pt x="2561" y="1814"/>
                </a:lnTo>
                <a:lnTo>
                  <a:pt x="2558" y="1815"/>
                </a:lnTo>
                <a:lnTo>
                  <a:pt x="2554" y="1814"/>
                </a:lnTo>
                <a:lnTo>
                  <a:pt x="2551" y="1814"/>
                </a:lnTo>
                <a:lnTo>
                  <a:pt x="2549" y="1813"/>
                </a:lnTo>
                <a:lnTo>
                  <a:pt x="2548" y="1812"/>
                </a:lnTo>
                <a:lnTo>
                  <a:pt x="2546" y="1810"/>
                </a:lnTo>
                <a:lnTo>
                  <a:pt x="2544" y="1808"/>
                </a:lnTo>
                <a:lnTo>
                  <a:pt x="2542" y="1805"/>
                </a:lnTo>
                <a:lnTo>
                  <a:pt x="2541" y="1803"/>
                </a:lnTo>
                <a:lnTo>
                  <a:pt x="2541" y="1800"/>
                </a:lnTo>
                <a:lnTo>
                  <a:pt x="2541" y="1797"/>
                </a:lnTo>
                <a:lnTo>
                  <a:pt x="2542" y="1794"/>
                </a:lnTo>
                <a:lnTo>
                  <a:pt x="2543" y="1791"/>
                </a:lnTo>
                <a:lnTo>
                  <a:pt x="2545" y="1789"/>
                </a:lnTo>
                <a:lnTo>
                  <a:pt x="2546" y="1787"/>
                </a:lnTo>
                <a:lnTo>
                  <a:pt x="2548" y="1785"/>
                </a:lnTo>
                <a:close/>
                <a:moveTo>
                  <a:pt x="3017" y="1500"/>
                </a:moveTo>
                <a:lnTo>
                  <a:pt x="3020" y="1499"/>
                </a:lnTo>
                <a:lnTo>
                  <a:pt x="3022" y="1498"/>
                </a:lnTo>
                <a:lnTo>
                  <a:pt x="3025" y="1498"/>
                </a:lnTo>
                <a:lnTo>
                  <a:pt x="3028" y="1498"/>
                </a:lnTo>
                <a:lnTo>
                  <a:pt x="3031" y="1499"/>
                </a:lnTo>
                <a:lnTo>
                  <a:pt x="3034" y="1501"/>
                </a:lnTo>
                <a:lnTo>
                  <a:pt x="3036" y="1503"/>
                </a:lnTo>
                <a:lnTo>
                  <a:pt x="3038" y="1505"/>
                </a:lnTo>
                <a:lnTo>
                  <a:pt x="3039" y="1508"/>
                </a:lnTo>
                <a:lnTo>
                  <a:pt x="3040" y="1511"/>
                </a:lnTo>
                <a:lnTo>
                  <a:pt x="3040" y="1516"/>
                </a:lnTo>
                <a:lnTo>
                  <a:pt x="3039" y="1520"/>
                </a:lnTo>
                <a:lnTo>
                  <a:pt x="3036" y="1524"/>
                </a:lnTo>
                <a:lnTo>
                  <a:pt x="3032" y="1527"/>
                </a:lnTo>
                <a:lnTo>
                  <a:pt x="3030" y="1528"/>
                </a:lnTo>
                <a:lnTo>
                  <a:pt x="3027" y="1528"/>
                </a:lnTo>
                <a:lnTo>
                  <a:pt x="3024" y="1529"/>
                </a:lnTo>
                <a:lnTo>
                  <a:pt x="3021" y="1528"/>
                </a:lnTo>
                <a:lnTo>
                  <a:pt x="3018" y="1527"/>
                </a:lnTo>
                <a:lnTo>
                  <a:pt x="3016" y="1526"/>
                </a:lnTo>
                <a:lnTo>
                  <a:pt x="3013" y="1524"/>
                </a:lnTo>
                <a:lnTo>
                  <a:pt x="3012" y="1521"/>
                </a:lnTo>
                <a:lnTo>
                  <a:pt x="3010" y="1519"/>
                </a:lnTo>
                <a:lnTo>
                  <a:pt x="3010" y="1516"/>
                </a:lnTo>
                <a:lnTo>
                  <a:pt x="3010" y="1511"/>
                </a:lnTo>
                <a:lnTo>
                  <a:pt x="3011" y="1506"/>
                </a:lnTo>
                <a:lnTo>
                  <a:pt x="3013" y="1503"/>
                </a:lnTo>
                <a:lnTo>
                  <a:pt x="3017" y="1500"/>
                </a:lnTo>
                <a:close/>
                <a:moveTo>
                  <a:pt x="2877" y="1532"/>
                </a:moveTo>
                <a:lnTo>
                  <a:pt x="2880" y="1531"/>
                </a:lnTo>
                <a:lnTo>
                  <a:pt x="2883" y="1530"/>
                </a:lnTo>
                <a:lnTo>
                  <a:pt x="2886" y="1530"/>
                </a:lnTo>
                <a:lnTo>
                  <a:pt x="2889" y="1531"/>
                </a:lnTo>
                <a:lnTo>
                  <a:pt x="2892" y="1532"/>
                </a:lnTo>
                <a:lnTo>
                  <a:pt x="2894" y="1534"/>
                </a:lnTo>
                <a:lnTo>
                  <a:pt x="2897" y="1536"/>
                </a:lnTo>
                <a:lnTo>
                  <a:pt x="2898" y="1538"/>
                </a:lnTo>
                <a:lnTo>
                  <a:pt x="2900" y="1541"/>
                </a:lnTo>
                <a:lnTo>
                  <a:pt x="2900" y="1546"/>
                </a:lnTo>
                <a:lnTo>
                  <a:pt x="2900" y="1549"/>
                </a:lnTo>
                <a:lnTo>
                  <a:pt x="2899" y="1551"/>
                </a:lnTo>
                <a:lnTo>
                  <a:pt x="2897" y="1556"/>
                </a:lnTo>
                <a:lnTo>
                  <a:pt x="2895" y="1558"/>
                </a:lnTo>
                <a:lnTo>
                  <a:pt x="2893" y="1559"/>
                </a:lnTo>
                <a:lnTo>
                  <a:pt x="2889" y="1560"/>
                </a:lnTo>
                <a:lnTo>
                  <a:pt x="2886" y="1561"/>
                </a:lnTo>
                <a:lnTo>
                  <a:pt x="2883" y="1561"/>
                </a:lnTo>
                <a:lnTo>
                  <a:pt x="2880" y="1561"/>
                </a:lnTo>
                <a:lnTo>
                  <a:pt x="2878" y="1559"/>
                </a:lnTo>
                <a:lnTo>
                  <a:pt x="2875" y="1558"/>
                </a:lnTo>
                <a:lnTo>
                  <a:pt x="2873" y="1556"/>
                </a:lnTo>
                <a:lnTo>
                  <a:pt x="2871" y="1553"/>
                </a:lnTo>
                <a:lnTo>
                  <a:pt x="2870" y="1550"/>
                </a:lnTo>
                <a:lnTo>
                  <a:pt x="2869" y="1545"/>
                </a:lnTo>
                <a:lnTo>
                  <a:pt x="2870" y="1543"/>
                </a:lnTo>
                <a:lnTo>
                  <a:pt x="2871" y="1540"/>
                </a:lnTo>
                <a:lnTo>
                  <a:pt x="2872" y="1538"/>
                </a:lnTo>
                <a:lnTo>
                  <a:pt x="2873" y="1536"/>
                </a:lnTo>
                <a:lnTo>
                  <a:pt x="2875" y="1534"/>
                </a:lnTo>
                <a:lnTo>
                  <a:pt x="2877" y="1532"/>
                </a:lnTo>
                <a:close/>
                <a:moveTo>
                  <a:pt x="2626" y="1666"/>
                </a:moveTo>
                <a:lnTo>
                  <a:pt x="2628" y="1664"/>
                </a:lnTo>
                <a:lnTo>
                  <a:pt x="2630" y="1664"/>
                </a:lnTo>
                <a:lnTo>
                  <a:pt x="2633" y="1664"/>
                </a:lnTo>
                <a:lnTo>
                  <a:pt x="2635" y="1664"/>
                </a:lnTo>
                <a:lnTo>
                  <a:pt x="2638" y="1664"/>
                </a:lnTo>
                <a:lnTo>
                  <a:pt x="2640" y="1665"/>
                </a:lnTo>
                <a:lnTo>
                  <a:pt x="2642" y="1666"/>
                </a:lnTo>
                <a:lnTo>
                  <a:pt x="2644" y="1668"/>
                </a:lnTo>
                <a:lnTo>
                  <a:pt x="2646" y="1670"/>
                </a:lnTo>
                <a:lnTo>
                  <a:pt x="2648" y="1673"/>
                </a:lnTo>
                <a:lnTo>
                  <a:pt x="2648" y="1676"/>
                </a:lnTo>
                <a:lnTo>
                  <a:pt x="2649" y="1679"/>
                </a:lnTo>
                <a:lnTo>
                  <a:pt x="2648" y="1682"/>
                </a:lnTo>
                <a:lnTo>
                  <a:pt x="2647" y="1685"/>
                </a:lnTo>
                <a:lnTo>
                  <a:pt x="2646" y="1687"/>
                </a:lnTo>
                <a:lnTo>
                  <a:pt x="2644" y="1690"/>
                </a:lnTo>
                <a:lnTo>
                  <a:pt x="2641" y="1692"/>
                </a:lnTo>
                <a:lnTo>
                  <a:pt x="2639" y="1693"/>
                </a:lnTo>
                <a:lnTo>
                  <a:pt x="2636" y="1694"/>
                </a:lnTo>
                <a:lnTo>
                  <a:pt x="2634" y="1694"/>
                </a:lnTo>
                <a:lnTo>
                  <a:pt x="2631" y="1694"/>
                </a:lnTo>
                <a:lnTo>
                  <a:pt x="2629" y="1694"/>
                </a:lnTo>
                <a:lnTo>
                  <a:pt x="2627" y="1693"/>
                </a:lnTo>
                <a:lnTo>
                  <a:pt x="2624" y="1691"/>
                </a:lnTo>
                <a:lnTo>
                  <a:pt x="2622" y="1690"/>
                </a:lnTo>
                <a:lnTo>
                  <a:pt x="2620" y="1687"/>
                </a:lnTo>
                <a:lnTo>
                  <a:pt x="2619" y="1685"/>
                </a:lnTo>
                <a:lnTo>
                  <a:pt x="2618" y="1682"/>
                </a:lnTo>
                <a:lnTo>
                  <a:pt x="2618" y="1679"/>
                </a:lnTo>
                <a:lnTo>
                  <a:pt x="2618" y="1676"/>
                </a:lnTo>
                <a:lnTo>
                  <a:pt x="2619" y="1673"/>
                </a:lnTo>
                <a:lnTo>
                  <a:pt x="2620" y="1670"/>
                </a:lnTo>
                <a:lnTo>
                  <a:pt x="2622" y="1668"/>
                </a:lnTo>
                <a:lnTo>
                  <a:pt x="2626" y="1666"/>
                </a:lnTo>
                <a:close/>
                <a:moveTo>
                  <a:pt x="2743" y="1585"/>
                </a:moveTo>
                <a:lnTo>
                  <a:pt x="2746" y="1583"/>
                </a:lnTo>
                <a:lnTo>
                  <a:pt x="2750" y="1583"/>
                </a:lnTo>
                <a:lnTo>
                  <a:pt x="2753" y="1583"/>
                </a:lnTo>
                <a:lnTo>
                  <a:pt x="2756" y="1584"/>
                </a:lnTo>
                <a:lnTo>
                  <a:pt x="2759" y="1585"/>
                </a:lnTo>
                <a:lnTo>
                  <a:pt x="2761" y="1586"/>
                </a:lnTo>
                <a:lnTo>
                  <a:pt x="2763" y="1589"/>
                </a:lnTo>
                <a:lnTo>
                  <a:pt x="2765" y="1591"/>
                </a:lnTo>
                <a:lnTo>
                  <a:pt x="2766" y="1594"/>
                </a:lnTo>
                <a:lnTo>
                  <a:pt x="2766" y="1597"/>
                </a:lnTo>
                <a:lnTo>
                  <a:pt x="2766" y="1600"/>
                </a:lnTo>
                <a:lnTo>
                  <a:pt x="2766" y="1603"/>
                </a:lnTo>
                <a:lnTo>
                  <a:pt x="2765" y="1605"/>
                </a:lnTo>
                <a:lnTo>
                  <a:pt x="2763" y="1608"/>
                </a:lnTo>
                <a:lnTo>
                  <a:pt x="2761" y="1610"/>
                </a:lnTo>
                <a:lnTo>
                  <a:pt x="2759" y="1611"/>
                </a:lnTo>
                <a:lnTo>
                  <a:pt x="2755" y="1613"/>
                </a:lnTo>
                <a:lnTo>
                  <a:pt x="2752" y="1613"/>
                </a:lnTo>
                <a:lnTo>
                  <a:pt x="2749" y="1613"/>
                </a:lnTo>
                <a:lnTo>
                  <a:pt x="2746" y="1613"/>
                </a:lnTo>
                <a:lnTo>
                  <a:pt x="2743" y="1611"/>
                </a:lnTo>
                <a:lnTo>
                  <a:pt x="2741" y="1610"/>
                </a:lnTo>
                <a:lnTo>
                  <a:pt x="2739" y="1607"/>
                </a:lnTo>
                <a:lnTo>
                  <a:pt x="2737" y="1605"/>
                </a:lnTo>
                <a:lnTo>
                  <a:pt x="2736" y="1602"/>
                </a:lnTo>
                <a:lnTo>
                  <a:pt x="2736" y="1599"/>
                </a:lnTo>
                <a:lnTo>
                  <a:pt x="2736" y="1596"/>
                </a:lnTo>
                <a:lnTo>
                  <a:pt x="2736" y="1594"/>
                </a:lnTo>
                <a:lnTo>
                  <a:pt x="2737" y="1591"/>
                </a:lnTo>
                <a:lnTo>
                  <a:pt x="2739" y="1589"/>
                </a:lnTo>
                <a:lnTo>
                  <a:pt x="2741" y="1586"/>
                </a:lnTo>
                <a:lnTo>
                  <a:pt x="2743" y="1585"/>
                </a:lnTo>
                <a:close/>
                <a:moveTo>
                  <a:pt x="4771" y="2334"/>
                </a:moveTo>
                <a:lnTo>
                  <a:pt x="4772" y="2333"/>
                </a:lnTo>
                <a:lnTo>
                  <a:pt x="4774" y="2333"/>
                </a:lnTo>
                <a:lnTo>
                  <a:pt x="4778" y="2332"/>
                </a:lnTo>
                <a:lnTo>
                  <a:pt x="4780" y="2332"/>
                </a:lnTo>
                <a:lnTo>
                  <a:pt x="4782" y="2332"/>
                </a:lnTo>
                <a:lnTo>
                  <a:pt x="4786" y="2334"/>
                </a:lnTo>
                <a:lnTo>
                  <a:pt x="4788" y="2336"/>
                </a:lnTo>
                <a:lnTo>
                  <a:pt x="4790" y="2338"/>
                </a:lnTo>
                <a:lnTo>
                  <a:pt x="4791" y="2339"/>
                </a:lnTo>
                <a:lnTo>
                  <a:pt x="4792" y="2340"/>
                </a:lnTo>
                <a:lnTo>
                  <a:pt x="4793" y="2343"/>
                </a:lnTo>
                <a:lnTo>
                  <a:pt x="4793" y="2346"/>
                </a:lnTo>
                <a:lnTo>
                  <a:pt x="4793" y="2349"/>
                </a:lnTo>
                <a:lnTo>
                  <a:pt x="4793" y="2352"/>
                </a:lnTo>
                <a:lnTo>
                  <a:pt x="4792" y="2355"/>
                </a:lnTo>
                <a:lnTo>
                  <a:pt x="4791" y="2356"/>
                </a:lnTo>
                <a:lnTo>
                  <a:pt x="4789" y="2358"/>
                </a:lnTo>
                <a:lnTo>
                  <a:pt x="4786" y="2360"/>
                </a:lnTo>
                <a:lnTo>
                  <a:pt x="4784" y="2361"/>
                </a:lnTo>
                <a:lnTo>
                  <a:pt x="4782" y="2362"/>
                </a:lnTo>
                <a:lnTo>
                  <a:pt x="4779" y="2362"/>
                </a:lnTo>
                <a:lnTo>
                  <a:pt x="4777" y="2362"/>
                </a:lnTo>
                <a:lnTo>
                  <a:pt x="4775" y="2362"/>
                </a:lnTo>
                <a:lnTo>
                  <a:pt x="4771" y="2361"/>
                </a:lnTo>
                <a:lnTo>
                  <a:pt x="4768" y="2359"/>
                </a:lnTo>
                <a:lnTo>
                  <a:pt x="4766" y="2357"/>
                </a:lnTo>
                <a:lnTo>
                  <a:pt x="4766" y="2355"/>
                </a:lnTo>
                <a:lnTo>
                  <a:pt x="4765" y="2354"/>
                </a:lnTo>
                <a:lnTo>
                  <a:pt x="4764" y="2351"/>
                </a:lnTo>
                <a:lnTo>
                  <a:pt x="4763" y="2349"/>
                </a:lnTo>
                <a:lnTo>
                  <a:pt x="4763" y="2346"/>
                </a:lnTo>
                <a:lnTo>
                  <a:pt x="4764" y="2343"/>
                </a:lnTo>
                <a:lnTo>
                  <a:pt x="4765" y="2340"/>
                </a:lnTo>
                <a:lnTo>
                  <a:pt x="4766" y="2338"/>
                </a:lnTo>
                <a:lnTo>
                  <a:pt x="4767" y="2337"/>
                </a:lnTo>
                <a:lnTo>
                  <a:pt x="4771" y="2334"/>
                </a:lnTo>
                <a:close/>
                <a:moveTo>
                  <a:pt x="4644" y="2265"/>
                </a:moveTo>
                <a:lnTo>
                  <a:pt x="4646" y="2264"/>
                </a:lnTo>
                <a:lnTo>
                  <a:pt x="4648" y="2264"/>
                </a:lnTo>
                <a:lnTo>
                  <a:pt x="4651" y="2263"/>
                </a:lnTo>
                <a:lnTo>
                  <a:pt x="4653" y="2263"/>
                </a:lnTo>
                <a:lnTo>
                  <a:pt x="4655" y="2264"/>
                </a:lnTo>
                <a:lnTo>
                  <a:pt x="4659" y="2265"/>
                </a:lnTo>
                <a:lnTo>
                  <a:pt x="4662" y="2267"/>
                </a:lnTo>
                <a:lnTo>
                  <a:pt x="4663" y="2268"/>
                </a:lnTo>
                <a:lnTo>
                  <a:pt x="4664" y="2269"/>
                </a:lnTo>
                <a:lnTo>
                  <a:pt x="4665" y="2270"/>
                </a:lnTo>
                <a:lnTo>
                  <a:pt x="4665" y="2271"/>
                </a:lnTo>
                <a:lnTo>
                  <a:pt x="4666" y="2274"/>
                </a:lnTo>
                <a:lnTo>
                  <a:pt x="4667" y="2277"/>
                </a:lnTo>
                <a:lnTo>
                  <a:pt x="4667" y="2280"/>
                </a:lnTo>
                <a:lnTo>
                  <a:pt x="4666" y="2283"/>
                </a:lnTo>
                <a:lnTo>
                  <a:pt x="4665" y="2286"/>
                </a:lnTo>
                <a:lnTo>
                  <a:pt x="4663" y="2289"/>
                </a:lnTo>
                <a:lnTo>
                  <a:pt x="4659" y="2292"/>
                </a:lnTo>
                <a:lnTo>
                  <a:pt x="4658" y="2293"/>
                </a:lnTo>
                <a:lnTo>
                  <a:pt x="4656" y="2293"/>
                </a:lnTo>
                <a:lnTo>
                  <a:pt x="4652" y="2294"/>
                </a:lnTo>
                <a:lnTo>
                  <a:pt x="4650" y="2294"/>
                </a:lnTo>
                <a:lnTo>
                  <a:pt x="4648" y="2293"/>
                </a:lnTo>
                <a:lnTo>
                  <a:pt x="4645" y="2292"/>
                </a:lnTo>
                <a:lnTo>
                  <a:pt x="4642" y="2290"/>
                </a:lnTo>
                <a:lnTo>
                  <a:pt x="4641" y="2289"/>
                </a:lnTo>
                <a:lnTo>
                  <a:pt x="4640" y="2288"/>
                </a:lnTo>
                <a:lnTo>
                  <a:pt x="4639" y="2287"/>
                </a:lnTo>
                <a:lnTo>
                  <a:pt x="4638" y="2286"/>
                </a:lnTo>
                <a:lnTo>
                  <a:pt x="4637" y="2283"/>
                </a:lnTo>
                <a:lnTo>
                  <a:pt x="4637" y="2280"/>
                </a:lnTo>
                <a:lnTo>
                  <a:pt x="4637" y="2277"/>
                </a:lnTo>
                <a:lnTo>
                  <a:pt x="4637" y="2274"/>
                </a:lnTo>
                <a:lnTo>
                  <a:pt x="4638" y="2271"/>
                </a:lnTo>
                <a:lnTo>
                  <a:pt x="4641" y="2268"/>
                </a:lnTo>
                <a:lnTo>
                  <a:pt x="4644" y="2265"/>
                </a:lnTo>
                <a:close/>
                <a:moveTo>
                  <a:pt x="4517" y="2198"/>
                </a:moveTo>
                <a:lnTo>
                  <a:pt x="4518" y="2198"/>
                </a:lnTo>
                <a:lnTo>
                  <a:pt x="4520" y="2197"/>
                </a:lnTo>
                <a:lnTo>
                  <a:pt x="4524" y="2196"/>
                </a:lnTo>
                <a:lnTo>
                  <a:pt x="4528" y="2197"/>
                </a:lnTo>
                <a:lnTo>
                  <a:pt x="4531" y="2198"/>
                </a:lnTo>
                <a:lnTo>
                  <a:pt x="4534" y="2200"/>
                </a:lnTo>
                <a:lnTo>
                  <a:pt x="4536" y="2202"/>
                </a:lnTo>
                <a:lnTo>
                  <a:pt x="4538" y="2204"/>
                </a:lnTo>
                <a:lnTo>
                  <a:pt x="4539" y="2207"/>
                </a:lnTo>
                <a:lnTo>
                  <a:pt x="4539" y="2210"/>
                </a:lnTo>
                <a:lnTo>
                  <a:pt x="4539" y="2213"/>
                </a:lnTo>
                <a:lnTo>
                  <a:pt x="4539" y="2216"/>
                </a:lnTo>
                <a:lnTo>
                  <a:pt x="4538" y="2219"/>
                </a:lnTo>
                <a:lnTo>
                  <a:pt x="4535" y="2222"/>
                </a:lnTo>
                <a:lnTo>
                  <a:pt x="4532" y="2225"/>
                </a:lnTo>
                <a:lnTo>
                  <a:pt x="4530" y="2226"/>
                </a:lnTo>
                <a:lnTo>
                  <a:pt x="4528" y="2226"/>
                </a:lnTo>
                <a:lnTo>
                  <a:pt x="4525" y="2227"/>
                </a:lnTo>
                <a:lnTo>
                  <a:pt x="4521" y="2226"/>
                </a:lnTo>
                <a:lnTo>
                  <a:pt x="4517" y="2225"/>
                </a:lnTo>
                <a:lnTo>
                  <a:pt x="4515" y="2223"/>
                </a:lnTo>
                <a:lnTo>
                  <a:pt x="4513" y="2221"/>
                </a:lnTo>
                <a:lnTo>
                  <a:pt x="4511" y="2219"/>
                </a:lnTo>
                <a:lnTo>
                  <a:pt x="4510" y="2216"/>
                </a:lnTo>
                <a:lnTo>
                  <a:pt x="4509" y="2213"/>
                </a:lnTo>
                <a:lnTo>
                  <a:pt x="4509" y="2210"/>
                </a:lnTo>
                <a:lnTo>
                  <a:pt x="4510" y="2207"/>
                </a:lnTo>
                <a:lnTo>
                  <a:pt x="4511" y="2205"/>
                </a:lnTo>
                <a:lnTo>
                  <a:pt x="4513" y="2201"/>
                </a:lnTo>
                <a:lnTo>
                  <a:pt x="4517" y="2198"/>
                </a:lnTo>
                <a:close/>
                <a:moveTo>
                  <a:pt x="4388" y="2134"/>
                </a:moveTo>
                <a:lnTo>
                  <a:pt x="4391" y="2133"/>
                </a:lnTo>
                <a:lnTo>
                  <a:pt x="4395" y="2132"/>
                </a:lnTo>
                <a:lnTo>
                  <a:pt x="4399" y="2132"/>
                </a:lnTo>
                <a:lnTo>
                  <a:pt x="4402" y="2133"/>
                </a:lnTo>
                <a:lnTo>
                  <a:pt x="4405" y="2135"/>
                </a:lnTo>
                <a:lnTo>
                  <a:pt x="4407" y="2137"/>
                </a:lnTo>
                <a:lnTo>
                  <a:pt x="4409" y="2140"/>
                </a:lnTo>
                <a:lnTo>
                  <a:pt x="4410" y="2142"/>
                </a:lnTo>
                <a:lnTo>
                  <a:pt x="4411" y="2145"/>
                </a:lnTo>
                <a:lnTo>
                  <a:pt x="4411" y="2148"/>
                </a:lnTo>
                <a:lnTo>
                  <a:pt x="4410" y="2151"/>
                </a:lnTo>
                <a:lnTo>
                  <a:pt x="4409" y="2154"/>
                </a:lnTo>
                <a:lnTo>
                  <a:pt x="4407" y="2158"/>
                </a:lnTo>
                <a:lnTo>
                  <a:pt x="4403" y="2160"/>
                </a:lnTo>
                <a:lnTo>
                  <a:pt x="4400" y="2162"/>
                </a:lnTo>
                <a:lnTo>
                  <a:pt x="4396" y="2162"/>
                </a:lnTo>
                <a:lnTo>
                  <a:pt x="4393" y="2162"/>
                </a:lnTo>
                <a:lnTo>
                  <a:pt x="4389" y="2161"/>
                </a:lnTo>
                <a:lnTo>
                  <a:pt x="4386" y="2159"/>
                </a:lnTo>
                <a:lnTo>
                  <a:pt x="4384" y="2157"/>
                </a:lnTo>
                <a:lnTo>
                  <a:pt x="4382" y="2155"/>
                </a:lnTo>
                <a:lnTo>
                  <a:pt x="4381" y="2152"/>
                </a:lnTo>
                <a:lnTo>
                  <a:pt x="4380" y="2149"/>
                </a:lnTo>
                <a:lnTo>
                  <a:pt x="4380" y="2146"/>
                </a:lnTo>
                <a:lnTo>
                  <a:pt x="4381" y="2143"/>
                </a:lnTo>
                <a:lnTo>
                  <a:pt x="4382" y="2140"/>
                </a:lnTo>
                <a:lnTo>
                  <a:pt x="4384" y="2137"/>
                </a:lnTo>
                <a:lnTo>
                  <a:pt x="4388" y="2134"/>
                </a:lnTo>
                <a:close/>
                <a:moveTo>
                  <a:pt x="4258" y="2073"/>
                </a:moveTo>
                <a:lnTo>
                  <a:pt x="4261" y="2071"/>
                </a:lnTo>
                <a:lnTo>
                  <a:pt x="4264" y="2071"/>
                </a:lnTo>
                <a:lnTo>
                  <a:pt x="4268" y="2071"/>
                </a:lnTo>
                <a:lnTo>
                  <a:pt x="4271" y="2072"/>
                </a:lnTo>
                <a:lnTo>
                  <a:pt x="4274" y="2074"/>
                </a:lnTo>
                <a:lnTo>
                  <a:pt x="4276" y="2076"/>
                </a:lnTo>
                <a:lnTo>
                  <a:pt x="4278" y="2078"/>
                </a:lnTo>
                <a:lnTo>
                  <a:pt x="4279" y="2081"/>
                </a:lnTo>
                <a:lnTo>
                  <a:pt x="4280" y="2083"/>
                </a:lnTo>
                <a:lnTo>
                  <a:pt x="4280" y="2086"/>
                </a:lnTo>
                <a:lnTo>
                  <a:pt x="4280" y="2089"/>
                </a:lnTo>
                <a:lnTo>
                  <a:pt x="4279" y="2092"/>
                </a:lnTo>
                <a:lnTo>
                  <a:pt x="4278" y="2094"/>
                </a:lnTo>
                <a:lnTo>
                  <a:pt x="4276" y="2096"/>
                </a:lnTo>
                <a:lnTo>
                  <a:pt x="4275" y="2098"/>
                </a:lnTo>
                <a:lnTo>
                  <a:pt x="4273" y="2099"/>
                </a:lnTo>
                <a:lnTo>
                  <a:pt x="4270" y="2101"/>
                </a:lnTo>
                <a:lnTo>
                  <a:pt x="4266" y="2101"/>
                </a:lnTo>
                <a:lnTo>
                  <a:pt x="4263" y="2101"/>
                </a:lnTo>
                <a:lnTo>
                  <a:pt x="4259" y="2100"/>
                </a:lnTo>
                <a:lnTo>
                  <a:pt x="4256" y="2098"/>
                </a:lnTo>
                <a:lnTo>
                  <a:pt x="4254" y="2096"/>
                </a:lnTo>
                <a:lnTo>
                  <a:pt x="4252" y="2094"/>
                </a:lnTo>
                <a:lnTo>
                  <a:pt x="4251" y="2091"/>
                </a:lnTo>
                <a:lnTo>
                  <a:pt x="4250" y="2089"/>
                </a:lnTo>
                <a:lnTo>
                  <a:pt x="4250" y="2086"/>
                </a:lnTo>
                <a:lnTo>
                  <a:pt x="4250" y="2083"/>
                </a:lnTo>
                <a:lnTo>
                  <a:pt x="4251" y="2080"/>
                </a:lnTo>
                <a:lnTo>
                  <a:pt x="4253" y="2078"/>
                </a:lnTo>
                <a:lnTo>
                  <a:pt x="4254" y="2076"/>
                </a:lnTo>
                <a:lnTo>
                  <a:pt x="4256" y="2074"/>
                </a:lnTo>
                <a:lnTo>
                  <a:pt x="4258" y="2073"/>
                </a:lnTo>
                <a:close/>
                <a:moveTo>
                  <a:pt x="4125" y="2016"/>
                </a:moveTo>
                <a:lnTo>
                  <a:pt x="4128" y="2015"/>
                </a:lnTo>
                <a:lnTo>
                  <a:pt x="4132" y="2014"/>
                </a:lnTo>
                <a:lnTo>
                  <a:pt x="4135" y="2014"/>
                </a:lnTo>
                <a:lnTo>
                  <a:pt x="4139" y="2015"/>
                </a:lnTo>
                <a:lnTo>
                  <a:pt x="4141" y="2016"/>
                </a:lnTo>
                <a:lnTo>
                  <a:pt x="4144" y="2018"/>
                </a:lnTo>
                <a:lnTo>
                  <a:pt x="4146" y="2021"/>
                </a:lnTo>
                <a:lnTo>
                  <a:pt x="4147" y="2023"/>
                </a:lnTo>
                <a:lnTo>
                  <a:pt x="4148" y="2026"/>
                </a:lnTo>
                <a:lnTo>
                  <a:pt x="4148" y="2029"/>
                </a:lnTo>
                <a:lnTo>
                  <a:pt x="4148" y="2032"/>
                </a:lnTo>
                <a:lnTo>
                  <a:pt x="4147" y="2035"/>
                </a:lnTo>
                <a:lnTo>
                  <a:pt x="4146" y="2037"/>
                </a:lnTo>
                <a:lnTo>
                  <a:pt x="4144" y="2039"/>
                </a:lnTo>
                <a:lnTo>
                  <a:pt x="4143" y="2041"/>
                </a:lnTo>
                <a:lnTo>
                  <a:pt x="4141" y="2042"/>
                </a:lnTo>
                <a:lnTo>
                  <a:pt x="4137" y="2044"/>
                </a:lnTo>
                <a:lnTo>
                  <a:pt x="4134" y="2044"/>
                </a:lnTo>
                <a:lnTo>
                  <a:pt x="4131" y="2044"/>
                </a:lnTo>
                <a:lnTo>
                  <a:pt x="4127" y="2043"/>
                </a:lnTo>
                <a:lnTo>
                  <a:pt x="4125" y="2042"/>
                </a:lnTo>
                <a:lnTo>
                  <a:pt x="4122" y="2040"/>
                </a:lnTo>
                <a:lnTo>
                  <a:pt x="4120" y="2038"/>
                </a:lnTo>
                <a:lnTo>
                  <a:pt x="4119" y="2035"/>
                </a:lnTo>
                <a:lnTo>
                  <a:pt x="4118" y="2032"/>
                </a:lnTo>
                <a:lnTo>
                  <a:pt x="4118" y="2029"/>
                </a:lnTo>
                <a:lnTo>
                  <a:pt x="4118" y="2026"/>
                </a:lnTo>
                <a:lnTo>
                  <a:pt x="4119" y="2023"/>
                </a:lnTo>
                <a:lnTo>
                  <a:pt x="4120" y="2021"/>
                </a:lnTo>
                <a:lnTo>
                  <a:pt x="4122" y="2019"/>
                </a:lnTo>
                <a:lnTo>
                  <a:pt x="4123" y="2017"/>
                </a:lnTo>
                <a:lnTo>
                  <a:pt x="4125" y="2016"/>
                </a:lnTo>
                <a:close/>
                <a:moveTo>
                  <a:pt x="3990" y="1965"/>
                </a:moveTo>
                <a:lnTo>
                  <a:pt x="3993" y="1963"/>
                </a:lnTo>
                <a:lnTo>
                  <a:pt x="3996" y="1963"/>
                </a:lnTo>
                <a:lnTo>
                  <a:pt x="3999" y="1963"/>
                </a:lnTo>
                <a:lnTo>
                  <a:pt x="4003" y="1963"/>
                </a:lnTo>
                <a:lnTo>
                  <a:pt x="4005" y="1965"/>
                </a:lnTo>
                <a:lnTo>
                  <a:pt x="4008" y="1967"/>
                </a:lnTo>
                <a:lnTo>
                  <a:pt x="4011" y="1969"/>
                </a:lnTo>
                <a:lnTo>
                  <a:pt x="4012" y="1971"/>
                </a:lnTo>
                <a:lnTo>
                  <a:pt x="4013" y="1974"/>
                </a:lnTo>
                <a:lnTo>
                  <a:pt x="4014" y="1977"/>
                </a:lnTo>
                <a:lnTo>
                  <a:pt x="4013" y="1983"/>
                </a:lnTo>
                <a:lnTo>
                  <a:pt x="4012" y="1985"/>
                </a:lnTo>
                <a:lnTo>
                  <a:pt x="4010" y="1988"/>
                </a:lnTo>
                <a:lnTo>
                  <a:pt x="4005" y="1991"/>
                </a:lnTo>
                <a:lnTo>
                  <a:pt x="4002" y="1992"/>
                </a:lnTo>
                <a:lnTo>
                  <a:pt x="3999" y="1993"/>
                </a:lnTo>
                <a:lnTo>
                  <a:pt x="3996" y="1993"/>
                </a:lnTo>
                <a:lnTo>
                  <a:pt x="3992" y="1992"/>
                </a:lnTo>
                <a:lnTo>
                  <a:pt x="3990" y="1991"/>
                </a:lnTo>
                <a:lnTo>
                  <a:pt x="3987" y="1989"/>
                </a:lnTo>
                <a:lnTo>
                  <a:pt x="3985" y="1987"/>
                </a:lnTo>
                <a:lnTo>
                  <a:pt x="3984" y="1984"/>
                </a:lnTo>
                <a:lnTo>
                  <a:pt x="3983" y="1982"/>
                </a:lnTo>
                <a:lnTo>
                  <a:pt x="3982" y="1979"/>
                </a:lnTo>
                <a:lnTo>
                  <a:pt x="3983" y="1973"/>
                </a:lnTo>
                <a:lnTo>
                  <a:pt x="3984" y="1970"/>
                </a:lnTo>
                <a:lnTo>
                  <a:pt x="3986" y="1968"/>
                </a:lnTo>
                <a:lnTo>
                  <a:pt x="3990" y="1965"/>
                </a:lnTo>
                <a:close/>
                <a:moveTo>
                  <a:pt x="3853" y="1921"/>
                </a:moveTo>
                <a:lnTo>
                  <a:pt x="3855" y="1920"/>
                </a:lnTo>
                <a:lnTo>
                  <a:pt x="3858" y="1919"/>
                </a:lnTo>
                <a:lnTo>
                  <a:pt x="3861" y="1919"/>
                </a:lnTo>
                <a:lnTo>
                  <a:pt x="3865" y="1919"/>
                </a:lnTo>
                <a:lnTo>
                  <a:pt x="3867" y="1921"/>
                </a:lnTo>
                <a:lnTo>
                  <a:pt x="3870" y="1922"/>
                </a:lnTo>
                <a:lnTo>
                  <a:pt x="3872" y="1924"/>
                </a:lnTo>
                <a:lnTo>
                  <a:pt x="3874" y="1927"/>
                </a:lnTo>
                <a:lnTo>
                  <a:pt x="3875" y="1929"/>
                </a:lnTo>
                <a:lnTo>
                  <a:pt x="3875" y="1932"/>
                </a:lnTo>
                <a:lnTo>
                  <a:pt x="3876" y="1935"/>
                </a:lnTo>
                <a:lnTo>
                  <a:pt x="3875" y="1938"/>
                </a:lnTo>
                <a:lnTo>
                  <a:pt x="3874" y="1941"/>
                </a:lnTo>
                <a:lnTo>
                  <a:pt x="3872" y="1943"/>
                </a:lnTo>
                <a:lnTo>
                  <a:pt x="3870" y="1946"/>
                </a:lnTo>
                <a:lnTo>
                  <a:pt x="3868" y="1947"/>
                </a:lnTo>
                <a:lnTo>
                  <a:pt x="3865" y="1948"/>
                </a:lnTo>
                <a:lnTo>
                  <a:pt x="3862" y="1949"/>
                </a:lnTo>
                <a:lnTo>
                  <a:pt x="3859" y="1949"/>
                </a:lnTo>
                <a:lnTo>
                  <a:pt x="3856" y="1949"/>
                </a:lnTo>
                <a:lnTo>
                  <a:pt x="3853" y="1948"/>
                </a:lnTo>
                <a:lnTo>
                  <a:pt x="3851" y="1946"/>
                </a:lnTo>
                <a:lnTo>
                  <a:pt x="3849" y="1944"/>
                </a:lnTo>
                <a:lnTo>
                  <a:pt x="3847" y="1941"/>
                </a:lnTo>
                <a:lnTo>
                  <a:pt x="3846" y="1939"/>
                </a:lnTo>
                <a:lnTo>
                  <a:pt x="3845" y="1936"/>
                </a:lnTo>
                <a:lnTo>
                  <a:pt x="3845" y="1933"/>
                </a:lnTo>
                <a:lnTo>
                  <a:pt x="3846" y="1930"/>
                </a:lnTo>
                <a:lnTo>
                  <a:pt x="3847" y="1927"/>
                </a:lnTo>
                <a:lnTo>
                  <a:pt x="3848" y="1925"/>
                </a:lnTo>
                <a:lnTo>
                  <a:pt x="3850" y="1922"/>
                </a:lnTo>
                <a:lnTo>
                  <a:pt x="3853" y="1921"/>
                </a:lnTo>
                <a:close/>
                <a:moveTo>
                  <a:pt x="3713" y="1887"/>
                </a:moveTo>
                <a:lnTo>
                  <a:pt x="3715" y="1886"/>
                </a:lnTo>
                <a:lnTo>
                  <a:pt x="3718" y="1885"/>
                </a:lnTo>
                <a:lnTo>
                  <a:pt x="3724" y="1885"/>
                </a:lnTo>
                <a:lnTo>
                  <a:pt x="3726" y="1886"/>
                </a:lnTo>
                <a:lnTo>
                  <a:pt x="3729" y="1887"/>
                </a:lnTo>
                <a:lnTo>
                  <a:pt x="3731" y="1889"/>
                </a:lnTo>
                <a:lnTo>
                  <a:pt x="3733" y="1892"/>
                </a:lnTo>
                <a:lnTo>
                  <a:pt x="3735" y="1894"/>
                </a:lnTo>
                <a:lnTo>
                  <a:pt x="3735" y="1897"/>
                </a:lnTo>
                <a:lnTo>
                  <a:pt x="3736" y="1900"/>
                </a:lnTo>
                <a:lnTo>
                  <a:pt x="3735" y="1903"/>
                </a:lnTo>
                <a:lnTo>
                  <a:pt x="3734" y="1906"/>
                </a:lnTo>
                <a:lnTo>
                  <a:pt x="3733" y="1909"/>
                </a:lnTo>
                <a:lnTo>
                  <a:pt x="3732" y="1910"/>
                </a:lnTo>
                <a:lnTo>
                  <a:pt x="3731" y="1911"/>
                </a:lnTo>
                <a:lnTo>
                  <a:pt x="3728" y="1913"/>
                </a:lnTo>
                <a:lnTo>
                  <a:pt x="3726" y="1914"/>
                </a:lnTo>
                <a:lnTo>
                  <a:pt x="3723" y="1915"/>
                </a:lnTo>
                <a:lnTo>
                  <a:pt x="3718" y="1915"/>
                </a:lnTo>
                <a:lnTo>
                  <a:pt x="3715" y="1914"/>
                </a:lnTo>
                <a:lnTo>
                  <a:pt x="3712" y="1913"/>
                </a:lnTo>
                <a:lnTo>
                  <a:pt x="3710" y="1911"/>
                </a:lnTo>
                <a:lnTo>
                  <a:pt x="3708" y="1908"/>
                </a:lnTo>
                <a:lnTo>
                  <a:pt x="3706" y="1906"/>
                </a:lnTo>
                <a:lnTo>
                  <a:pt x="3706" y="1903"/>
                </a:lnTo>
                <a:lnTo>
                  <a:pt x="3705" y="1900"/>
                </a:lnTo>
                <a:lnTo>
                  <a:pt x="3706" y="1897"/>
                </a:lnTo>
                <a:lnTo>
                  <a:pt x="3707" y="1894"/>
                </a:lnTo>
                <a:lnTo>
                  <a:pt x="3708" y="1891"/>
                </a:lnTo>
                <a:lnTo>
                  <a:pt x="3709" y="1890"/>
                </a:lnTo>
                <a:lnTo>
                  <a:pt x="3710" y="1889"/>
                </a:lnTo>
                <a:lnTo>
                  <a:pt x="3713" y="1887"/>
                </a:lnTo>
                <a:close/>
                <a:moveTo>
                  <a:pt x="3571" y="1865"/>
                </a:moveTo>
                <a:lnTo>
                  <a:pt x="3575" y="1864"/>
                </a:lnTo>
                <a:lnTo>
                  <a:pt x="3577" y="1863"/>
                </a:lnTo>
                <a:lnTo>
                  <a:pt x="3580" y="1863"/>
                </a:lnTo>
                <a:lnTo>
                  <a:pt x="3583" y="1864"/>
                </a:lnTo>
                <a:lnTo>
                  <a:pt x="3586" y="1865"/>
                </a:lnTo>
                <a:lnTo>
                  <a:pt x="3588" y="1867"/>
                </a:lnTo>
                <a:lnTo>
                  <a:pt x="3590" y="1869"/>
                </a:lnTo>
                <a:lnTo>
                  <a:pt x="3592" y="1871"/>
                </a:lnTo>
                <a:lnTo>
                  <a:pt x="3593" y="1874"/>
                </a:lnTo>
                <a:lnTo>
                  <a:pt x="3593" y="1877"/>
                </a:lnTo>
                <a:lnTo>
                  <a:pt x="3593" y="1880"/>
                </a:lnTo>
                <a:lnTo>
                  <a:pt x="3593" y="1884"/>
                </a:lnTo>
                <a:lnTo>
                  <a:pt x="3591" y="1887"/>
                </a:lnTo>
                <a:lnTo>
                  <a:pt x="3589" y="1889"/>
                </a:lnTo>
                <a:lnTo>
                  <a:pt x="3586" y="1892"/>
                </a:lnTo>
                <a:lnTo>
                  <a:pt x="3582" y="1893"/>
                </a:lnTo>
                <a:lnTo>
                  <a:pt x="3579" y="1894"/>
                </a:lnTo>
                <a:lnTo>
                  <a:pt x="3577" y="1894"/>
                </a:lnTo>
                <a:lnTo>
                  <a:pt x="3574" y="1893"/>
                </a:lnTo>
                <a:lnTo>
                  <a:pt x="3571" y="1892"/>
                </a:lnTo>
                <a:lnTo>
                  <a:pt x="3569" y="1890"/>
                </a:lnTo>
                <a:lnTo>
                  <a:pt x="3567" y="1888"/>
                </a:lnTo>
                <a:lnTo>
                  <a:pt x="3565" y="1886"/>
                </a:lnTo>
                <a:lnTo>
                  <a:pt x="3564" y="1883"/>
                </a:lnTo>
                <a:lnTo>
                  <a:pt x="3563" y="1880"/>
                </a:lnTo>
                <a:lnTo>
                  <a:pt x="3563" y="1877"/>
                </a:lnTo>
                <a:lnTo>
                  <a:pt x="3564" y="1873"/>
                </a:lnTo>
                <a:lnTo>
                  <a:pt x="3566" y="1870"/>
                </a:lnTo>
                <a:lnTo>
                  <a:pt x="3568" y="1867"/>
                </a:lnTo>
                <a:lnTo>
                  <a:pt x="3571" y="1865"/>
                </a:lnTo>
                <a:close/>
                <a:moveTo>
                  <a:pt x="2784" y="2297"/>
                </a:moveTo>
                <a:lnTo>
                  <a:pt x="2786" y="2296"/>
                </a:lnTo>
                <a:lnTo>
                  <a:pt x="2788" y="2295"/>
                </a:lnTo>
                <a:lnTo>
                  <a:pt x="2791" y="2295"/>
                </a:lnTo>
                <a:lnTo>
                  <a:pt x="2793" y="2295"/>
                </a:lnTo>
                <a:lnTo>
                  <a:pt x="2796" y="2295"/>
                </a:lnTo>
                <a:lnTo>
                  <a:pt x="2799" y="2297"/>
                </a:lnTo>
                <a:lnTo>
                  <a:pt x="2801" y="2298"/>
                </a:lnTo>
                <a:lnTo>
                  <a:pt x="2803" y="2301"/>
                </a:lnTo>
                <a:lnTo>
                  <a:pt x="2804" y="2302"/>
                </a:lnTo>
                <a:lnTo>
                  <a:pt x="2805" y="2303"/>
                </a:lnTo>
                <a:lnTo>
                  <a:pt x="2806" y="2306"/>
                </a:lnTo>
                <a:lnTo>
                  <a:pt x="2806" y="2309"/>
                </a:lnTo>
                <a:lnTo>
                  <a:pt x="2806" y="2312"/>
                </a:lnTo>
                <a:lnTo>
                  <a:pt x="2806" y="2315"/>
                </a:lnTo>
                <a:lnTo>
                  <a:pt x="2804" y="2318"/>
                </a:lnTo>
                <a:lnTo>
                  <a:pt x="2802" y="2321"/>
                </a:lnTo>
                <a:lnTo>
                  <a:pt x="2799" y="2323"/>
                </a:lnTo>
                <a:lnTo>
                  <a:pt x="2797" y="2324"/>
                </a:lnTo>
                <a:lnTo>
                  <a:pt x="2794" y="2325"/>
                </a:lnTo>
                <a:lnTo>
                  <a:pt x="2792" y="2325"/>
                </a:lnTo>
                <a:lnTo>
                  <a:pt x="2789" y="2325"/>
                </a:lnTo>
                <a:lnTo>
                  <a:pt x="2786" y="2324"/>
                </a:lnTo>
                <a:lnTo>
                  <a:pt x="2784" y="2323"/>
                </a:lnTo>
                <a:lnTo>
                  <a:pt x="2781" y="2321"/>
                </a:lnTo>
                <a:lnTo>
                  <a:pt x="2779" y="2319"/>
                </a:lnTo>
                <a:lnTo>
                  <a:pt x="2778" y="2318"/>
                </a:lnTo>
                <a:lnTo>
                  <a:pt x="2778" y="2317"/>
                </a:lnTo>
                <a:lnTo>
                  <a:pt x="2777" y="2314"/>
                </a:lnTo>
                <a:lnTo>
                  <a:pt x="2776" y="2311"/>
                </a:lnTo>
                <a:lnTo>
                  <a:pt x="2776" y="2308"/>
                </a:lnTo>
                <a:lnTo>
                  <a:pt x="2777" y="2305"/>
                </a:lnTo>
                <a:lnTo>
                  <a:pt x="2779" y="2301"/>
                </a:lnTo>
                <a:lnTo>
                  <a:pt x="2781" y="2299"/>
                </a:lnTo>
                <a:lnTo>
                  <a:pt x="2784" y="2297"/>
                </a:lnTo>
                <a:close/>
                <a:moveTo>
                  <a:pt x="3427" y="1859"/>
                </a:moveTo>
                <a:lnTo>
                  <a:pt x="3431" y="1858"/>
                </a:lnTo>
                <a:lnTo>
                  <a:pt x="3434" y="1857"/>
                </a:lnTo>
                <a:lnTo>
                  <a:pt x="3437" y="1858"/>
                </a:lnTo>
                <a:lnTo>
                  <a:pt x="3440" y="1858"/>
                </a:lnTo>
                <a:lnTo>
                  <a:pt x="3443" y="1860"/>
                </a:lnTo>
                <a:lnTo>
                  <a:pt x="3445" y="1862"/>
                </a:lnTo>
                <a:lnTo>
                  <a:pt x="3447" y="1864"/>
                </a:lnTo>
                <a:lnTo>
                  <a:pt x="3449" y="1866"/>
                </a:lnTo>
                <a:lnTo>
                  <a:pt x="3450" y="1869"/>
                </a:lnTo>
                <a:lnTo>
                  <a:pt x="3450" y="1872"/>
                </a:lnTo>
                <a:lnTo>
                  <a:pt x="3449" y="1876"/>
                </a:lnTo>
                <a:lnTo>
                  <a:pt x="3448" y="1880"/>
                </a:lnTo>
                <a:lnTo>
                  <a:pt x="3445" y="1883"/>
                </a:lnTo>
                <a:lnTo>
                  <a:pt x="3442" y="1886"/>
                </a:lnTo>
                <a:lnTo>
                  <a:pt x="3439" y="1887"/>
                </a:lnTo>
                <a:lnTo>
                  <a:pt x="3435" y="1888"/>
                </a:lnTo>
                <a:lnTo>
                  <a:pt x="3432" y="1888"/>
                </a:lnTo>
                <a:lnTo>
                  <a:pt x="3429" y="1887"/>
                </a:lnTo>
                <a:lnTo>
                  <a:pt x="3426" y="1885"/>
                </a:lnTo>
                <a:lnTo>
                  <a:pt x="3424" y="1884"/>
                </a:lnTo>
                <a:lnTo>
                  <a:pt x="3422" y="1881"/>
                </a:lnTo>
                <a:lnTo>
                  <a:pt x="3421" y="1879"/>
                </a:lnTo>
                <a:lnTo>
                  <a:pt x="3420" y="1876"/>
                </a:lnTo>
                <a:lnTo>
                  <a:pt x="3419" y="1873"/>
                </a:lnTo>
                <a:lnTo>
                  <a:pt x="3420" y="1869"/>
                </a:lnTo>
                <a:lnTo>
                  <a:pt x="3421" y="1865"/>
                </a:lnTo>
                <a:lnTo>
                  <a:pt x="3424" y="1862"/>
                </a:lnTo>
                <a:lnTo>
                  <a:pt x="3427" y="1859"/>
                </a:lnTo>
                <a:close/>
                <a:moveTo>
                  <a:pt x="2815" y="2157"/>
                </a:moveTo>
                <a:lnTo>
                  <a:pt x="2818" y="2156"/>
                </a:lnTo>
                <a:lnTo>
                  <a:pt x="2822" y="2155"/>
                </a:lnTo>
                <a:lnTo>
                  <a:pt x="2825" y="2155"/>
                </a:lnTo>
                <a:lnTo>
                  <a:pt x="2828" y="2156"/>
                </a:lnTo>
                <a:lnTo>
                  <a:pt x="2830" y="2157"/>
                </a:lnTo>
                <a:lnTo>
                  <a:pt x="2831" y="2157"/>
                </a:lnTo>
                <a:lnTo>
                  <a:pt x="2833" y="2159"/>
                </a:lnTo>
                <a:lnTo>
                  <a:pt x="2835" y="2161"/>
                </a:lnTo>
                <a:lnTo>
                  <a:pt x="2837" y="2164"/>
                </a:lnTo>
                <a:lnTo>
                  <a:pt x="2838" y="2167"/>
                </a:lnTo>
                <a:lnTo>
                  <a:pt x="2838" y="2170"/>
                </a:lnTo>
                <a:lnTo>
                  <a:pt x="2838" y="2173"/>
                </a:lnTo>
                <a:lnTo>
                  <a:pt x="2837" y="2176"/>
                </a:lnTo>
                <a:lnTo>
                  <a:pt x="2836" y="2178"/>
                </a:lnTo>
                <a:lnTo>
                  <a:pt x="2834" y="2180"/>
                </a:lnTo>
                <a:lnTo>
                  <a:pt x="2833" y="2182"/>
                </a:lnTo>
                <a:lnTo>
                  <a:pt x="2831" y="2183"/>
                </a:lnTo>
                <a:lnTo>
                  <a:pt x="2827" y="2185"/>
                </a:lnTo>
                <a:lnTo>
                  <a:pt x="2824" y="2185"/>
                </a:lnTo>
                <a:lnTo>
                  <a:pt x="2821" y="2185"/>
                </a:lnTo>
                <a:lnTo>
                  <a:pt x="2817" y="2184"/>
                </a:lnTo>
                <a:lnTo>
                  <a:pt x="2816" y="2184"/>
                </a:lnTo>
                <a:lnTo>
                  <a:pt x="2815" y="2183"/>
                </a:lnTo>
                <a:lnTo>
                  <a:pt x="2812" y="2181"/>
                </a:lnTo>
                <a:lnTo>
                  <a:pt x="2810" y="2179"/>
                </a:lnTo>
                <a:lnTo>
                  <a:pt x="2809" y="2176"/>
                </a:lnTo>
                <a:lnTo>
                  <a:pt x="2808" y="2174"/>
                </a:lnTo>
                <a:lnTo>
                  <a:pt x="2808" y="2171"/>
                </a:lnTo>
                <a:lnTo>
                  <a:pt x="2808" y="2168"/>
                </a:lnTo>
                <a:lnTo>
                  <a:pt x="2809" y="2165"/>
                </a:lnTo>
                <a:lnTo>
                  <a:pt x="2810" y="2162"/>
                </a:lnTo>
                <a:lnTo>
                  <a:pt x="2811" y="2160"/>
                </a:lnTo>
                <a:lnTo>
                  <a:pt x="2813" y="2158"/>
                </a:lnTo>
                <a:lnTo>
                  <a:pt x="2815" y="2157"/>
                </a:lnTo>
                <a:close/>
                <a:moveTo>
                  <a:pt x="3284" y="1872"/>
                </a:moveTo>
                <a:lnTo>
                  <a:pt x="3286" y="1871"/>
                </a:lnTo>
                <a:lnTo>
                  <a:pt x="3289" y="1870"/>
                </a:lnTo>
                <a:lnTo>
                  <a:pt x="3292" y="1870"/>
                </a:lnTo>
                <a:lnTo>
                  <a:pt x="3295" y="1870"/>
                </a:lnTo>
                <a:lnTo>
                  <a:pt x="3298" y="1871"/>
                </a:lnTo>
                <a:lnTo>
                  <a:pt x="3300" y="1873"/>
                </a:lnTo>
                <a:lnTo>
                  <a:pt x="3303" y="1875"/>
                </a:lnTo>
                <a:lnTo>
                  <a:pt x="3304" y="1877"/>
                </a:lnTo>
                <a:lnTo>
                  <a:pt x="3306" y="1880"/>
                </a:lnTo>
                <a:lnTo>
                  <a:pt x="3307" y="1883"/>
                </a:lnTo>
                <a:lnTo>
                  <a:pt x="3307" y="1887"/>
                </a:lnTo>
                <a:lnTo>
                  <a:pt x="3305" y="1892"/>
                </a:lnTo>
                <a:lnTo>
                  <a:pt x="3303" y="1895"/>
                </a:lnTo>
                <a:lnTo>
                  <a:pt x="3299" y="1898"/>
                </a:lnTo>
                <a:lnTo>
                  <a:pt x="3297" y="1899"/>
                </a:lnTo>
                <a:lnTo>
                  <a:pt x="3294" y="1900"/>
                </a:lnTo>
                <a:lnTo>
                  <a:pt x="3291" y="1900"/>
                </a:lnTo>
                <a:lnTo>
                  <a:pt x="3288" y="1900"/>
                </a:lnTo>
                <a:lnTo>
                  <a:pt x="3285" y="1899"/>
                </a:lnTo>
                <a:lnTo>
                  <a:pt x="3283" y="1897"/>
                </a:lnTo>
                <a:lnTo>
                  <a:pt x="3280" y="1895"/>
                </a:lnTo>
                <a:lnTo>
                  <a:pt x="3279" y="1893"/>
                </a:lnTo>
                <a:lnTo>
                  <a:pt x="3277" y="1890"/>
                </a:lnTo>
                <a:lnTo>
                  <a:pt x="3276" y="1887"/>
                </a:lnTo>
                <a:lnTo>
                  <a:pt x="3276" y="1883"/>
                </a:lnTo>
                <a:lnTo>
                  <a:pt x="3278" y="1878"/>
                </a:lnTo>
                <a:lnTo>
                  <a:pt x="3280" y="1875"/>
                </a:lnTo>
                <a:lnTo>
                  <a:pt x="3284" y="1872"/>
                </a:lnTo>
                <a:close/>
                <a:moveTo>
                  <a:pt x="3144" y="1905"/>
                </a:moveTo>
                <a:lnTo>
                  <a:pt x="3147" y="1903"/>
                </a:lnTo>
                <a:lnTo>
                  <a:pt x="3150" y="1903"/>
                </a:lnTo>
                <a:lnTo>
                  <a:pt x="3153" y="1903"/>
                </a:lnTo>
                <a:lnTo>
                  <a:pt x="3156" y="1903"/>
                </a:lnTo>
                <a:lnTo>
                  <a:pt x="3159" y="1904"/>
                </a:lnTo>
                <a:lnTo>
                  <a:pt x="3161" y="1906"/>
                </a:lnTo>
                <a:lnTo>
                  <a:pt x="3163" y="1908"/>
                </a:lnTo>
                <a:lnTo>
                  <a:pt x="3165" y="1910"/>
                </a:lnTo>
                <a:lnTo>
                  <a:pt x="3166" y="1913"/>
                </a:lnTo>
                <a:lnTo>
                  <a:pt x="3167" y="1918"/>
                </a:lnTo>
                <a:lnTo>
                  <a:pt x="3166" y="1921"/>
                </a:lnTo>
                <a:lnTo>
                  <a:pt x="3166" y="1923"/>
                </a:lnTo>
                <a:lnTo>
                  <a:pt x="3165" y="1926"/>
                </a:lnTo>
                <a:lnTo>
                  <a:pt x="3163" y="1928"/>
                </a:lnTo>
                <a:lnTo>
                  <a:pt x="3161" y="1929"/>
                </a:lnTo>
                <a:lnTo>
                  <a:pt x="3159" y="1931"/>
                </a:lnTo>
                <a:lnTo>
                  <a:pt x="3156" y="1932"/>
                </a:lnTo>
                <a:lnTo>
                  <a:pt x="3153" y="1933"/>
                </a:lnTo>
                <a:lnTo>
                  <a:pt x="3150" y="1933"/>
                </a:lnTo>
                <a:lnTo>
                  <a:pt x="3147" y="1932"/>
                </a:lnTo>
                <a:lnTo>
                  <a:pt x="3144" y="1931"/>
                </a:lnTo>
                <a:lnTo>
                  <a:pt x="3142" y="1930"/>
                </a:lnTo>
                <a:lnTo>
                  <a:pt x="3140" y="1928"/>
                </a:lnTo>
                <a:lnTo>
                  <a:pt x="3138" y="1925"/>
                </a:lnTo>
                <a:lnTo>
                  <a:pt x="3137" y="1922"/>
                </a:lnTo>
                <a:lnTo>
                  <a:pt x="3136" y="1917"/>
                </a:lnTo>
                <a:lnTo>
                  <a:pt x="3137" y="1914"/>
                </a:lnTo>
                <a:lnTo>
                  <a:pt x="3137" y="1912"/>
                </a:lnTo>
                <a:lnTo>
                  <a:pt x="3139" y="1910"/>
                </a:lnTo>
                <a:lnTo>
                  <a:pt x="3140" y="1908"/>
                </a:lnTo>
                <a:lnTo>
                  <a:pt x="3142" y="1906"/>
                </a:lnTo>
                <a:lnTo>
                  <a:pt x="3144" y="1905"/>
                </a:lnTo>
                <a:close/>
                <a:moveTo>
                  <a:pt x="2892" y="2038"/>
                </a:moveTo>
                <a:lnTo>
                  <a:pt x="2895" y="2037"/>
                </a:lnTo>
                <a:lnTo>
                  <a:pt x="2897" y="2036"/>
                </a:lnTo>
                <a:lnTo>
                  <a:pt x="2902" y="2036"/>
                </a:lnTo>
                <a:lnTo>
                  <a:pt x="2907" y="2037"/>
                </a:lnTo>
                <a:lnTo>
                  <a:pt x="2909" y="2038"/>
                </a:lnTo>
                <a:lnTo>
                  <a:pt x="2911" y="2040"/>
                </a:lnTo>
                <a:lnTo>
                  <a:pt x="2913" y="2042"/>
                </a:lnTo>
                <a:lnTo>
                  <a:pt x="2914" y="2045"/>
                </a:lnTo>
                <a:lnTo>
                  <a:pt x="2915" y="2048"/>
                </a:lnTo>
                <a:lnTo>
                  <a:pt x="2915" y="2051"/>
                </a:lnTo>
                <a:lnTo>
                  <a:pt x="2915" y="2054"/>
                </a:lnTo>
                <a:lnTo>
                  <a:pt x="2914" y="2057"/>
                </a:lnTo>
                <a:lnTo>
                  <a:pt x="2913" y="2059"/>
                </a:lnTo>
                <a:lnTo>
                  <a:pt x="2911" y="2062"/>
                </a:lnTo>
                <a:lnTo>
                  <a:pt x="2908" y="2064"/>
                </a:lnTo>
                <a:lnTo>
                  <a:pt x="2905" y="2065"/>
                </a:lnTo>
                <a:lnTo>
                  <a:pt x="2903" y="2066"/>
                </a:lnTo>
                <a:lnTo>
                  <a:pt x="2898" y="2066"/>
                </a:lnTo>
                <a:lnTo>
                  <a:pt x="2896" y="2065"/>
                </a:lnTo>
                <a:lnTo>
                  <a:pt x="2893" y="2064"/>
                </a:lnTo>
                <a:lnTo>
                  <a:pt x="2891" y="2063"/>
                </a:lnTo>
                <a:lnTo>
                  <a:pt x="2889" y="2062"/>
                </a:lnTo>
                <a:lnTo>
                  <a:pt x="2887" y="2059"/>
                </a:lnTo>
                <a:lnTo>
                  <a:pt x="2886" y="2056"/>
                </a:lnTo>
                <a:lnTo>
                  <a:pt x="2885" y="2054"/>
                </a:lnTo>
                <a:lnTo>
                  <a:pt x="2885" y="2051"/>
                </a:lnTo>
                <a:lnTo>
                  <a:pt x="2885" y="2048"/>
                </a:lnTo>
                <a:lnTo>
                  <a:pt x="2886" y="2045"/>
                </a:lnTo>
                <a:lnTo>
                  <a:pt x="2887" y="2042"/>
                </a:lnTo>
                <a:lnTo>
                  <a:pt x="2889" y="2040"/>
                </a:lnTo>
                <a:lnTo>
                  <a:pt x="2892" y="2038"/>
                </a:lnTo>
                <a:close/>
                <a:moveTo>
                  <a:pt x="3010" y="1957"/>
                </a:moveTo>
                <a:lnTo>
                  <a:pt x="3013" y="1956"/>
                </a:lnTo>
                <a:lnTo>
                  <a:pt x="3016" y="1955"/>
                </a:lnTo>
                <a:lnTo>
                  <a:pt x="3020" y="1955"/>
                </a:lnTo>
                <a:lnTo>
                  <a:pt x="3023" y="1956"/>
                </a:lnTo>
                <a:lnTo>
                  <a:pt x="3025" y="1957"/>
                </a:lnTo>
                <a:lnTo>
                  <a:pt x="3028" y="1958"/>
                </a:lnTo>
                <a:lnTo>
                  <a:pt x="3029" y="1960"/>
                </a:lnTo>
                <a:lnTo>
                  <a:pt x="3030" y="1961"/>
                </a:lnTo>
                <a:lnTo>
                  <a:pt x="3031" y="1963"/>
                </a:lnTo>
                <a:lnTo>
                  <a:pt x="3032" y="1966"/>
                </a:lnTo>
                <a:lnTo>
                  <a:pt x="3033" y="1969"/>
                </a:lnTo>
                <a:lnTo>
                  <a:pt x="3033" y="1972"/>
                </a:lnTo>
                <a:lnTo>
                  <a:pt x="3032" y="1974"/>
                </a:lnTo>
                <a:lnTo>
                  <a:pt x="3031" y="1977"/>
                </a:lnTo>
                <a:lnTo>
                  <a:pt x="3030" y="1979"/>
                </a:lnTo>
                <a:lnTo>
                  <a:pt x="3028" y="1981"/>
                </a:lnTo>
                <a:lnTo>
                  <a:pt x="3025" y="1983"/>
                </a:lnTo>
                <a:lnTo>
                  <a:pt x="3022" y="1984"/>
                </a:lnTo>
                <a:lnTo>
                  <a:pt x="3019" y="1985"/>
                </a:lnTo>
                <a:lnTo>
                  <a:pt x="3016" y="1985"/>
                </a:lnTo>
                <a:lnTo>
                  <a:pt x="3013" y="1984"/>
                </a:lnTo>
                <a:lnTo>
                  <a:pt x="3010" y="1983"/>
                </a:lnTo>
                <a:lnTo>
                  <a:pt x="3008" y="1981"/>
                </a:lnTo>
                <a:lnTo>
                  <a:pt x="3006" y="1979"/>
                </a:lnTo>
                <a:lnTo>
                  <a:pt x="3004" y="1977"/>
                </a:lnTo>
                <a:lnTo>
                  <a:pt x="3003" y="1974"/>
                </a:lnTo>
                <a:lnTo>
                  <a:pt x="3002" y="1971"/>
                </a:lnTo>
                <a:lnTo>
                  <a:pt x="3003" y="1968"/>
                </a:lnTo>
                <a:lnTo>
                  <a:pt x="3003" y="1965"/>
                </a:lnTo>
                <a:lnTo>
                  <a:pt x="3004" y="1963"/>
                </a:lnTo>
                <a:lnTo>
                  <a:pt x="3006" y="1961"/>
                </a:lnTo>
                <a:lnTo>
                  <a:pt x="3008" y="1958"/>
                </a:lnTo>
                <a:lnTo>
                  <a:pt x="3010" y="1957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  <a:lvl6pPr marL="0" indent="0">
              <a:buFontTx/>
              <a:buNone/>
              <a:defRPr/>
            </a:lvl6pPr>
            <a:lvl7pPr marL="0" indent="0">
              <a:buFontTx/>
              <a:buNone/>
              <a:defRPr/>
            </a:lvl7pPr>
            <a:lvl8pPr marL="0" indent="0">
              <a:buFontTx/>
              <a:buNone/>
              <a:defRPr/>
            </a:lvl8pPr>
            <a:lvl9pPr marL="0" indent="0">
              <a:buFontTx/>
              <a:buNone/>
              <a:defRPr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9" name="Freeform 8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64601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6886" y="1916113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6886" y="2636912"/>
            <a:ext cx="720601" cy="576064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6886" y="335699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766886" y="407707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766886" y="479715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1487488" y="1920298"/>
            <a:ext cx="4248150" cy="572597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8"/>
          </p:nvPr>
        </p:nvSpPr>
        <p:spPr>
          <a:xfrm>
            <a:off x="1487488" y="2636912"/>
            <a:ext cx="4248150" cy="576064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9"/>
          </p:nvPr>
        </p:nvSpPr>
        <p:spPr>
          <a:xfrm>
            <a:off x="1487488" y="3356992"/>
            <a:ext cx="4248150" cy="572597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0"/>
          </p:nvPr>
        </p:nvSpPr>
        <p:spPr>
          <a:xfrm>
            <a:off x="1487488" y="4077072"/>
            <a:ext cx="4248150" cy="572597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21"/>
          </p:nvPr>
        </p:nvSpPr>
        <p:spPr>
          <a:xfrm>
            <a:off x="1487488" y="4797152"/>
            <a:ext cx="4248150" cy="572597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095999" y="1916113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6095999" y="263691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6095999" y="335699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6095999" y="407707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095999" y="479715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idx="27"/>
          </p:nvPr>
        </p:nvSpPr>
        <p:spPr>
          <a:xfrm>
            <a:off x="6816601" y="1920298"/>
            <a:ext cx="4608637" cy="572597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8"/>
          </p:nvPr>
        </p:nvSpPr>
        <p:spPr>
          <a:xfrm>
            <a:off x="6816601" y="2636912"/>
            <a:ext cx="4608637" cy="576064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29"/>
          </p:nvPr>
        </p:nvSpPr>
        <p:spPr>
          <a:xfrm>
            <a:off x="6816601" y="3356992"/>
            <a:ext cx="4608637" cy="572597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30"/>
          </p:nvPr>
        </p:nvSpPr>
        <p:spPr>
          <a:xfrm>
            <a:off x="6816601" y="4077072"/>
            <a:ext cx="4608637" cy="572597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31"/>
          </p:nvPr>
        </p:nvSpPr>
        <p:spPr>
          <a:xfrm>
            <a:off x="6816601" y="4797152"/>
            <a:ext cx="4608637" cy="572597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28" name="Slide Number Placeholder 27"/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1875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ntroduction 3" preserve="1" userDrawn="1">
  <p:cSld name="Introduction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7895709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015724"/>
                </a:lnTo>
                <a:lnTo>
                  <a:pt x="354771" y="6015724"/>
                </a:lnTo>
                <a:lnTo>
                  <a:pt x="1207497" y="6015724"/>
                </a:lnTo>
                <a:lnTo>
                  <a:pt x="2060222" y="6015724"/>
                </a:lnTo>
                <a:lnTo>
                  <a:pt x="2913972" y="6015724"/>
                </a:lnTo>
                <a:lnTo>
                  <a:pt x="3766698" y="6015724"/>
                </a:lnTo>
                <a:lnTo>
                  <a:pt x="4619423" y="6015724"/>
                </a:lnTo>
                <a:lnTo>
                  <a:pt x="4815970" y="6017772"/>
                </a:lnTo>
                <a:lnTo>
                  <a:pt x="4916291" y="6017772"/>
                </a:lnTo>
                <a:lnTo>
                  <a:pt x="5018659" y="6015724"/>
                </a:lnTo>
                <a:lnTo>
                  <a:pt x="5121027" y="6011629"/>
                </a:lnTo>
                <a:lnTo>
                  <a:pt x="5225442" y="6006510"/>
                </a:lnTo>
                <a:lnTo>
                  <a:pt x="5327810" y="5996271"/>
                </a:lnTo>
                <a:lnTo>
                  <a:pt x="5431202" y="5982961"/>
                </a:lnTo>
                <a:lnTo>
                  <a:pt x="5505931" y="5970675"/>
                </a:lnTo>
                <a:lnTo>
                  <a:pt x="5580659" y="5955317"/>
                </a:lnTo>
                <a:lnTo>
                  <a:pt x="5655388" y="5938935"/>
                </a:lnTo>
                <a:lnTo>
                  <a:pt x="5730117" y="5919482"/>
                </a:lnTo>
                <a:lnTo>
                  <a:pt x="5802798" y="5897981"/>
                </a:lnTo>
                <a:lnTo>
                  <a:pt x="5875479" y="5872385"/>
                </a:lnTo>
                <a:lnTo>
                  <a:pt x="5947137" y="5844741"/>
                </a:lnTo>
                <a:lnTo>
                  <a:pt x="6016747" y="5815049"/>
                </a:lnTo>
                <a:lnTo>
                  <a:pt x="6086357" y="5780238"/>
                </a:lnTo>
                <a:lnTo>
                  <a:pt x="6155968" y="5743379"/>
                </a:lnTo>
                <a:lnTo>
                  <a:pt x="6222507" y="5702425"/>
                </a:lnTo>
                <a:lnTo>
                  <a:pt x="6288022" y="5658399"/>
                </a:lnTo>
                <a:lnTo>
                  <a:pt x="6353538" y="5611302"/>
                </a:lnTo>
                <a:lnTo>
                  <a:pt x="6417006" y="5561133"/>
                </a:lnTo>
                <a:lnTo>
                  <a:pt x="6477403" y="5504821"/>
                </a:lnTo>
                <a:lnTo>
                  <a:pt x="6509137" y="5476153"/>
                </a:lnTo>
                <a:lnTo>
                  <a:pt x="6537800" y="5446461"/>
                </a:lnTo>
                <a:lnTo>
                  <a:pt x="6620719" y="5359434"/>
                </a:lnTo>
                <a:lnTo>
                  <a:pt x="6694424" y="5275478"/>
                </a:lnTo>
                <a:lnTo>
                  <a:pt x="6760963" y="5195617"/>
                </a:lnTo>
                <a:lnTo>
                  <a:pt x="6820336" y="5119852"/>
                </a:lnTo>
                <a:lnTo>
                  <a:pt x="6872544" y="5047158"/>
                </a:lnTo>
                <a:lnTo>
                  <a:pt x="6919633" y="4976512"/>
                </a:lnTo>
                <a:lnTo>
                  <a:pt x="7000504" y="4847507"/>
                </a:lnTo>
                <a:lnTo>
                  <a:pt x="7026096" y="4801433"/>
                </a:lnTo>
                <a:lnTo>
                  <a:pt x="7050664" y="4756384"/>
                </a:lnTo>
                <a:lnTo>
                  <a:pt x="7096730" y="4661165"/>
                </a:lnTo>
                <a:lnTo>
                  <a:pt x="7118227" y="4612020"/>
                </a:lnTo>
                <a:lnTo>
                  <a:pt x="7138701" y="4560827"/>
                </a:lnTo>
                <a:lnTo>
                  <a:pt x="7159174" y="4505539"/>
                </a:lnTo>
                <a:lnTo>
                  <a:pt x="7178624" y="4448203"/>
                </a:lnTo>
                <a:lnTo>
                  <a:pt x="7216501" y="4320222"/>
                </a:lnTo>
                <a:lnTo>
                  <a:pt x="7255400" y="4171762"/>
                </a:lnTo>
                <a:lnTo>
                  <a:pt x="7295324" y="3999755"/>
                </a:lnTo>
                <a:lnTo>
                  <a:pt x="7335247" y="3800103"/>
                </a:lnTo>
                <a:lnTo>
                  <a:pt x="7405881" y="3325035"/>
                </a:lnTo>
                <a:lnTo>
                  <a:pt x="7476515" y="2849966"/>
                </a:lnTo>
                <a:lnTo>
                  <a:pt x="7546126" y="2373874"/>
                </a:lnTo>
                <a:lnTo>
                  <a:pt x="7615736" y="1898806"/>
                </a:lnTo>
                <a:lnTo>
                  <a:pt x="7686370" y="1422713"/>
                </a:lnTo>
                <a:lnTo>
                  <a:pt x="7757004" y="947645"/>
                </a:lnTo>
                <a:lnTo>
                  <a:pt x="7826614" y="47155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620713"/>
            <a:ext cx="5329237" cy="108009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3" y="1916113"/>
            <a:ext cx="5329237" cy="36731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2"/>
          <p:cNvSpPr>
            <a:spLocks noGrp="1" noChangeAspect="1"/>
          </p:cNvSpPr>
          <p:nvPr>
            <p:ph type="body" sz="quarter" idx="19"/>
          </p:nvPr>
        </p:nvSpPr>
        <p:spPr>
          <a:xfrm>
            <a:off x="11559600" y="6382800"/>
            <a:ext cx="442800" cy="28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662128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Picture " preserve="1" userDrawn="1">
  <p:cSld name="Content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620713"/>
            <a:ext cx="5545261" cy="1080095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3" y="1916113"/>
            <a:ext cx="5545261" cy="432117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6456363" y="0"/>
            <a:ext cx="5735637" cy="6021388"/>
          </a:xfrm>
          <a:custGeom>
            <a:avLst/>
            <a:gdLst/>
            <a:ahLst/>
            <a:cxnLst/>
            <a:rect l="l" t="t" r="r" b="b"/>
            <a:pathLst>
              <a:path w="5735637" h="6021388">
                <a:moveTo>
                  <a:pt x="0" y="0"/>
                </a:moveTo>
                <a:lnTo>
                  <a:pt x="5735637" y="0"/>
                </a:lnTo>
                <a:lnTo>
                  <a:pt x="5735637" y="6019341"/>
                </a:lnTo>
                <a:lnTo>
                  <a:pt x="4982335" y="6019341"/>
                </a:lnTo>
                <a:lnTo>
                  <a:pt x="4129595" y="6019341"/>
                </a:lnTo>
                <a:lnTo>
                  <a:pt x="3276855" y="6019341"/>
                </a:lnTo>
                <a:lnTo>
                  <a:pt x="3080306" y="6021388"/>
                </a:lnTo>
                <a:lnTo>
                  <a:pt x="2979983" y="6021388"/>
                </a:lnTo>
                <a:lnTo>
                  <a:pt x="2877613" y="6019341"/>
                </a:lnTo>
                <a:lnTo>
                  <a:pt x="2775244" y="6015245"/>
                </a:lnTo>
                <a:lnTo>
                  <a:pt x="2670827" y="6010126"/>
                </a:lnTo>
                <a:lnTo>
                  <a:pt x="2568457" y="5999887"/>
                </a:lnTo>
                <a:lnTo>
                  <a:pt x="2465063" y="5986577"/>
                </a:lnTo>
                <a:lnTo>
                  <a:pt x="2390334" y="5974290"/>
                </a:lnTo>
                <a:lnTo>
                  <a:pt x="2315604" y="5958932"/>
                </a:lnTo>
                <a:lnTo>
                  <a:pt x="2240874" y="5942550"/>
                </a:lnTo>
                <a:lnTo>
                  <a:pt x="2166144" y="5923097"/>
                </a:lnTo>
                <a:lnTo>
                  <a:pt x="2093461" y="5901595"/>
                </a:lnTo>
                <a:lnTo>
                  <a:pt x="2020779" y="5875999"/>
                </a:lnTo>
                <a:lnTo>
                  <a:pt x="1949120" y="5848354"/>
                </a:lnTo>
                <a:lnTo>
                  <a:pt x="1879509" y="5818662"/>
                </a:lnTo>
                <a:lnTo>
                  <a:pt x="1809897" y="5783850"/>
                </a:lnTo>
                <a:lnTo>
                  <a:pt x="1740286" y="5746991"/>
                </a:lnTo>
                <a:lnTo>
                  <a:pt x="1673745" y="5706036"/>
                </a:lnTo>
                <a:lnTo>
                  <a:pt x="1608229" y="5662009"/>
                </a:lnTo>
                <a:lnTo>
                  <a:pt x="1542712" y="5614911"/>
                </a:lnTo>
                <a:lnTo>
                  <a:pt x="1479243" y="5564742"/>
                </a:lnTo>
                <a:lnTo>
                  <a:pt x="1418845" y="5508429"/>
                </a:lnTo>
                <a:lnTo>
                  <a:pt x="1387110" y="5479760"/>
                </a:lnTo>
                <a:lnTo>
                  <a:pt x="1358447" y="5450068"/>
                </a:lnTo>
                <a:lnTo>
                  <a:pt x="1275527" y="5363039"/>
                </a:lnTo>
                <a:lnTo>
                  <a:pt x="1201821" y="5279081"/>
                </a:lnTo>
                <a:lnTo>
                  <a:pt x="1135281" y="5199220"/>
                </a:lnTo>
                <a:lnTo>
                  <a:pt x="1075906" y="5123453"/>
                </a:lnTo>
                <a:lnTo>
                  <a:pt x="1023698" y="5050758"/>
                </a:lnTo>
                <a:lnTo>
                  <a:pt x="976608" y="4980111"/>
                </a:lnTo>
                <a:lnTo>
                  <a:pt x="895735" y="4851103"/>
                </a:lnTo>
                <a:lnTo>
                  <a:pt x="870143" y="4805029"/>
                </a:lnTo>
                <a:lnTo>
                  <a:pt x="845574" y="4759979"/>
                </a:lnTo>
                <a:lnTo>
                  <a:pt x="799508" y="4664759"/>
                </a:lnTo>
                <a:lnTo>
                  <a:pt x="778010" y="4615613"/>
                </a:lnTo>
                <a:lnTo>
                  <a:pt x="757536" y="4564419"/>
                </a:lnTo>
                <a:lnTo>
                  <a:pt x="737062" y="4509130"/>
                </a:lnTo>
                <a:lnTo>
                  <a:pt x="717612" y="4451793"/>
                </a:lnTo>
                <a:lnTo>
                  <a:pt x="679735" y="4323809"/>
                </a:lnTo>
                <a:lnTo>
                  <a:pt x="640835" y="4175348"/>
                </a:lnTo>
                <a:lnTo>
                  <a:pt x="600911" y="4003338"/>
                </a:lnTo>
                <a:lnTo>
                  <a:pt x="560986" y="3803683"/>
                </a:lnTo>
                <a:lnTo>
                  <a:pt x="490351" y="3328606"/>
                </a:lnTo>
                <a:lnTo>
                  <a:pt x="419716" y="2853530"/>
                </a:lnTo>
                <a:lnTo>
                  <a:pt x="350105" y="2377430"/>
                </a:lnTo>
                <a:lnTo>
                  <a:pt x="280493" y="1902353"/>
                </a:lnTo>
                <a:lnTo>
                  <a:pt x="209858" y="1426253"/>
                </a:lnTo>
                <a:lnTo>
                  <a:pt x="139223" y="951177"/>
                </a:lnTo>
                <a:lnTo>
                  <a:pt x="69612" y="47507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3659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and Picture 2" preserve="1" userDrawn="1">
  <p:cSld name="Content and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620713"/>
            <a:ext cx="5329237" cy="1080095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916113"/>
            <a:ext cx="5329237" cy="432117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735960" cy="6021388"/>
          </a:xfrm>
          <a:custGeom>
            <a:avLst/>
            <a:gdLst/>
            <a:ahLst/>
            <a:cxnLst/>
            <a:rect l="l" t="t" r="r" b="b"/>
            <a:pathLst>
              <a:path w="5735960" h="6021388">
                <a:moveTo>
                  <a:pt x="0" y="0"/>
                </a:moveTo>
                <a:lnTo>
                  <a:pt x="5735960" y="0"/>
                </a:lnTo>
                <a:lnTo>
                  <a:pt x="5666348" y="475076"/>
                </a:lnTo>
                <a:lnTo>
                  <a:pt x="5596737" y="951177"/>
                </a:lnTo>
                <a:lnTo>
                  <a:pt x="5526102" y="1426253"/>
                </a:lnTo>
                <a:lnTo>
                  <a:pt x="5455467" y="1902353"/>
                </a:lnTo>
                <a:lnTo>
                  <a:pt x="5385855" y="2377430"/>
                </a:lnTo>
                <a:lnTo>
                  <a:pt x="5316244" y="2853530"/>
                </a:lnTo>
                <a:lnTo>
                  <a:pt x="5245609" y="3328606"/>
                </a:lnTo>
                <a:lnTo>
                  <a:pt x="5174974" y="3803683"/>
                </a:lnTo>
                <a:lnTo>
                  <a:pt x="5135049" y="4003338"/>
                </a:lnTo>
                <a:lnTo>
                  <a:pt x="5095125" y="4175348"/>
                </a:lnTo>
                <a:lnTo>
                  <a:pt x="5056225" y="4323809"/>
                </a:lnTo>
                <a:lnTo>
                  <a:pt x="5018348" y="4451793"/>
                </a:lnTo>
                <a:lnTo>
                  <a:pt x="4998898" y="4509130"/>
                </a:lnTo>
                <a:lnTo>
                  <a:pt x="4978424" y="4564419"/>
                </a:lnTo>
                <a:lnTo>
                  <a:pt x="4957950" y="4615613"/>
                </a:lnTo>
                <a:lnTo>
                  <a:pt x="4936452" y="4664759"/>
                </a:lnTo>
                <a:lnTo>
                  <a:pt x="4890386" y="4759979"/>
                </a:lnTo>
                <a:lnTo>
                  <a:pt x="4865817" y="4805029"/>
                </a:lnTo>
                <a:lnTo>
                  <a:pt x="4840225" y="4851103"/>
                </a:lnTo>
                <a:lnTo>
                  <a:pt x="4759352" y="4980111"/>
                </a:lnTo>
                <a:lnTo>
                  <a:pt x="4712262" y="5050758"/>
                </a:lnTo>
                <a:lnTo>
                  <a:pt x="4660054" y="5123453"/>
                </a:lnTo>
                <a:lnTo>
                  <a:pt x="4600679" y="5199220"/>
                </a:lnTo>
                <a:lnTo>
                  <a:pt x="4534139" y="5279081"/>
                </a:lnTo>
                <a:lnTo>
                  <a:pt x="4460433" y="5363039"/>
                </a:lnTo>
                <a:lnTo>
                  <a:pt x="4377513" y="5450068"/>
                </a:lnTo>
                <a:lnTo>
                  <a:pt x="4348850" y="5479760"/>
                </a:lnTo>
                <a:lnTo>
                  <a:pt x="4317115" y="5508429"/>
                </a:lnTo>
                <a:lnTo>
                  <a:pt x="4256717" y="5564742"/>
                </a:lnTo>
                <a:lnTo>
                  <a:pt x="4193248" y="5614911"/>
                </a:lnTo>
                <a:lnTo>
                  <a:pt x="4127731" y="5662009"/>
                </a:lnTo>
                <a:lnTo>
                  <a:pt x="4062215" y="5706036"/>
                </a:lnTo>
                <a:lnTo>
                  <a:pt x="3995674" y="5746991"/>
                </a:lnTo>
                <a:lnTo>
                  <a:pt x="3926063" y="5783850"/>
                </a:lnTo>
                <a:lnTo>
                  <a:pt x="3856451" y="5818662"/>
                </a:lnTo>
                <a:lnTo>
                  <a:pt x="3786840" y="5848354"/>
                </a:lnTo>
                <a:lnTo>
                  <a:pt x="3715181" y="5875999"/>
                </a:lnTo>
                <a:lnTo>
                  <a:pt x="3642499" y="5901595"/>
                </a:lnTo>
                <a:lnTo>
                  <a:pt x="3569816" y="5923097"/>
                </a:lnTo>
                <a:lnTo>
                  <a:pt x="3495086" y="5942550"/>
                </a:lnTo>
                <a:lnTo>
                  <a:pt x="3420356" y="5958932"/>
                </a:lnTo>
                <a:lnTo>
                  <a:pt x="3345626" y="5974290"/>
                </a:lnTo>
                <a:lnTo>
                  <a:pt x="3270897" y="5986577"/>
                </a:lnTo>
                <a:lnTo>
                  <a:pt x="3167503" y="5999887"/>
                </a:lnTo>
                <a:lnTo>
                  <a:pt x="3065133" y="6010126"/>
                </a:lnTo>
                <a:lnTo>
                  <a:pt x="2960716" y="6015245"/>
                </a:lnTo>
                <a:lnTo>
                  <a:pt x="2858347" y="6019341"/>
                </a:lnTo>
                <a:lnTo>
                  <a:pt x="2755977" y="6021388"/>
                </a:lnTo>
                <a:lnTo>
                  <a:pt x="2655654" y="6021388"/>
                </a:lnTo>
                <a:lnTo>
                  <a:pt x="2459105" y="6019341"/>
                </a:lnTo>
                <a:lnTo>
                  <a:pt x="1606365" y="6019341"/>
                </a:lnTo>
                <a:lnTo>
                  <a:pt x="753625" y="6019341"/>
                </a:lnTo>
                <a:lnTo>
                  <a:pt x="0" y="601934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9" name="Freeform 8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04397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and Picture 3" preserve="1" userDrawn="1">
  <p:cSld name="Content and 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4" y="620713"/>
            <a:ext cx="3385020" cy="1655762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4" y="2492895"/>
            <a:ext cx="3385020" cy="3744391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4295776" y="0"/>
            <a:ext cx="7896225" cy="6021388"/>
          </a:xfrm>
          <a:custGeom>
            <a:avLst/>
            <a:gdLst/>
            <a:ahLst/>
            <a:cxnLst/>
            <a:rect l="l" t="t" r="r" b="b"/>
            <a:pathLst>
              <a:path w="7896225" h="6021388">
                <a:moveTo>
                  <a:pt x="0" y="0"/>
                </a:moveTo>
                <a:lnTo>
                  <a:pt x="7896225" y="0"/>
                </a:lnTo>
                <a:lnTo>
                  <a:pt x="7896225" y="6019341"/>
                </a:lnTo>
                <a:lnTo>
                  <a:pt x="7541579" y="6019341"/>
                </a:lnTo>
                <a:lnTo>
                  <a:pt x="6688839" y="6019341"/>
                </a:lnTo>
                <a:lnTo>
                  <a:pt x="5836099" y="6019341"/>
                </a:lnTo>
                <a:lnTo>
                  <a:pt x="4982335" y="6019341"/>
                </a:lnTo>
                <a:lnTo>
                  <a:pt x="4129595" y="6019341"/>
                </a:lnTo>
                <a:lnTo>
                  <a:pt x="3276855" y="6019341"/>
                </a:lnTo>
                <a:lnTo>
                  <a:pt x="3080306" y="6021388"/>
                </a:lnTo>
                <a:lnTo>
                  <a:pt x="2979983" y="6021388"/>
                </a:lnTo>
                <a:lnTo>
                  <a:pt x="2877613" y="6019341"/>
                </a:lnTo>
                <a:lnTo>
                  <a:pt x="2775244" y="6015245"/>
                </a:lnTo>
                <a:lnTo>
                  <a:pt x="2670827" y="6010126"/>
                </a:lnTo>
                <a:lnTo>
                  <a:pt x="2568457" y="5999887"/>
                </a:lnTo>
                <a:lnTo>
                  <a:pt x="2465063" y="5986577"/>
                </a:lnTo>
                <a:lnTo>
                  <a:pt x="2390334" y="5974290"/>
                </a:lnTo>
                <a:lnTo>
                  <a:pt x="2315604" y="5958932"/>
                </a:lnTo>
                <a:lnTo>
                  <a:pt x="2240874" y="5942550"/>
                </a:lnTo>
                <a:lnTo>
                  <a:pt x="2166144" y="5923097"/>
                </a:lnTo>
                <a:lnTo>
                  <a:pt x="2093461" y="5901595"/>
                </a:lnTo>
                <a:lnTo>
                  <a:pt x="2020779" y="5875999"/>
                </a:lnTo>
                <a:lnTo>
                  <a:pt x="1949120" y="5848354"/>
                </a:lnTo>
                <a:lnTo>
                  <a:pt x="1879509" y="5818662"/>
                </a:lnTo>
                <a:lnTo>
                  <a:pt x="1809897" y="5783850"/>
                </a:lnTo>
                <a:lnTo>
                  <a:pt x="1740286" y="5746991"/>
                </a:lnTo>
                <a:lnTo>
                  <a:pt x="1673745" y="5706036"/>
                </a:lnTo>
                <a:lnTo>
                  <a:pt x="1608229" y="5662009"/>
                </a:lnTo>
                <a:lnTo>
                  <a:pt x="1542712" y="5614911"/>
                </a:lnTo>
                <a:lnTo>
                  <a:pt x="1479243" y="5564742"/>
                </a:lnTo>
                <a:lnTo>
                  <a:pt x="1418845" y="5508429"/>
                </a:lnTo>
                <a:lnTo>
                  <a:pt x="1387110" y="5479760"/>
                </a:lnTo>
                <a:lnTo>
                  <a:pt x="1358447" y="5450068"/>
                </a:lnTo>
                <a:lnTo>
                  <a:pt x="1275527" y="5363039"/>
                </a:lnTo>
                <a:lnTo>
                  <a:pt x="1201821" y="5279081"/>
                </a:lnTo>
                <a:lnTo>
                  <a:pt x="1135281" y="5199220"/>
                </a:lnTo>
                <a:lnTo>
                  <a:pt x="1075906" y="5123453"/>
                </a:lnTo>
                <a:lnTo>
                  <a:pt x="1023698" y="5050758"/>
                </a:lnTo>
                <a:lnTo>
                  <a:pt x="976608" y="4980111"/>
                </a:lnTo>
                <a:lnTo>
                  <a:pt x="895735" y="4851103"/>
                </a:lnTo>
                <a:lnTo>
                  <a:pt x="870143" y="4805029"/>
                </a:lnTo>
                <a:lnTo>
                  <a:pt x="845574" y="4759979"/>
                </a:lnTo>
                <a:lnTo>
                  <a:pt x="799508" y="4664759"/>
                </a:lnTo>
                <a:lnTo>
                  <a:pt x="778010" y="4615613"/>
                </a:lnTo>
                <a:lnTo>
                  <a:pt x="757536" y="4564419"/>
                </a:lnTo>
                <a:lnTo>
                  <a:pt x="737062" y="4509130"/>
                </a:lnTo>
                <a:lnTo>
                  <a:pt x="717612" y="4451793"/>
                </a:lnTo>
                <a:lnTo>
                  <a:pt x="679735" y="4323809"/>
                </a:lnTo>
                <a:lnTo>
                  <a:pt x="640835" y="4175348"/>
                </a:lnTo>
                <a:lnTo>
                  <a:pt x="600911" y="4003338"/>
                </a:lnTo>
                <a:lnTo>
                  <a:pt x="560986" y="3803683"/>
                </a:lnTo>
                <a:lnTo>
                  <a:pt x="490351" y="3328606"/>
                </a:lnTo>
                <a:lnTo>
                  <a:pt x="419716" y="2853530"/>
                </a:lnTo>
                <a:lnTo>
                  <a:pt x="350105" y="2377430"/>
                </a:lnTo>
                <a:lnTo>
                  <a:pt x="280493" y="1902353"/>
                </a:lnTo>
                <a:lnTo>
                  <a:pt x="209858" y="1426253"/>
                </a:lnTo>
                <a:lnTo>
                  <a:pt x="139223" y="951177"/>
                </a:lnTo>
                <a:lnTo>
                  <a:pt x="69612" y="47507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7697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and Picture 4" preserve="1" userDrawn="1">
  <p:cSld name="Content and 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7896225" cy="6021388"/>
          </a:xfrm>
          <a:custGeom>
            <a:avLst/>
            <a:gdLst/>
            <a:ahLst/>
            <a:cxnLst/>
            <a:rect l="l" t="t" r="r" b="b"/>
            <a:pathLst>
              <a:path w="7896225" h="6021388">
                <a:moveTo>
                  <a:pt x="0" y="0"/>
                </a:moveTo>
                <a:lnTo>
                  <a:pt x="7896225" y="0"/>
                </a:lnTo>
                <a:lnTo>
                  <a:pt x="7826613" y="475076"/>
                </a:lnTo>
                <a:lnTo>
                  <a:pt x="7757002" y="951177"/>
                </a:lnTo>
                <a:lnTo>
                  <a:pt x="7686367" y="1426253"/>
                </a:lnTo>
                <a:lnTo>
                  <a:pt x="7615732" y="1902353"/>
                </a:lnTo>
                <a:lnTo>
                  <a:pt x="7546120" y="2377430"/>
                </a:lnTo>
                <a:lnTo>
                  <a:pt x="7476509" y="2853530"/>
                </a:lnTo>
                <a:lnTo>
                  <a:pt x="7405874" y="3328606"/>
                </a:lnTo>
                <a:lnTo>
                  <a:pt x="7335239" y="3803683"/>
                </a:lnTo>
                <a:lnTo>
                  <a:pt x="7295314" y="4003338"/>
                </a:lnTo>
                <a:lnTo>
                  <a:pt x="7255390" y="4175348"/>
                </a:lnTo>
                <a:lnTo>
                  <a:pt x="7216490" y="4323809"/>
                </a:lnTo>
                <a:lnTo>
                  <a:pt x="7178613" y="4451793"/>
                </a:lnTo>
                <a:lnTo>
                  <a:pt x="7159163" y="4509130"/>
                </a:lnTo>
                <a:lnTo>
                  <a:pt x="7138689" y="4564419"/>
                </a:lnTo>
                <a:lnTo>
                  <a:pt x="7118215" y="4615613"/>
                </a:lnTo>
                <a:lnTo>
                  <a:pt x="7096717" y="4664759"/>
                </a:lnTo>
                <a:lnTo>
                  <a:pt x="7050651" y="4759979"/>
                </a:lnTo>
                <a:lnTo>
                  <a:pt x="7026082" y="4805029"/>
                </a:lnTo>
                <a:lnTo>
                  <a:pt x="7000490" y="4851103"/>
                </a:lnTo>
                <a:lnTo>
                  <a:pt x="6919617" y="4980111"/>
                </a:lnTo>
                <a:lnTo>
                  <a:pt x="6872527" y="5050758"/>
                </a:lnTo>
                <a:lnTo>
                  <a:pt x="6820319" y="5123453"/>
                </a:lnTo>
                <a:lnTo>
                  <a:pt x="6760944" y="5199220"/>
                </a:lnTo>
                <a:lnTo>
                  <a:pt x="6694404" y="5279081"/>
                </a:lnTo>
                <a:lnTo>
                  <a:pt x="6620698" y="5363039"/>
                </a:lnTo>
                <a:lnTo>
                  <a:pt x="6537778" y="5450068"/>
                </a:lnTo>
                <a:lnTo>
                  <a:pt x="6509115" y="5479760"/>
                </a:lnTo>
                <a:lnTo>
                  <a:pt x="6477380" y="5508429"/>
                </a:lnTo>
                <a:lnTo>
                  <a:pt x="6416982" y="5564742"/>
                </a:lnTo>
                <a:lnTo>
                  <a:pt x="6353513" y="5614911"/>
                </a:lnTo>
                <a:lnTo>
                  <a:pt x="6287996" y="5662009"/>
                </a:lnTo>
                <a:lnTo>
                  <a:pt x="6222480" y="5706036"/>
                </a:lnTo>
                <a:lnTo>
                  <a:pt x="6155939" y="5746991"/>
                </a:lnTo>
                <a:lnTo>
                  <a:pt x="6086328" y="5783850"/>
                </a:lnTo>
                <a:lnTo>
                  <a:pt x="6016716" y="5818662"/>
                </a:lnTo>
                <a:lnTo>
                  <a:pt x="5947105" y="5848354"/>
                </a:lnTo>
                <a:lnTo>
                  <a:pt x="5875446" y="5875999"/>
                </a:lnTo>
                <a:lnTo>
                  <a:pt x="5802764" y="5901595"/>
                </a:lnTo>
                <a:lnTo>
                  <a:pt x="5730081" y="5923097"/>
                </a:lnTo>
                <a:lnTo>
                  <a:pt x="5655351" y="5942550"/>
                </a:lnTo>
                <a:lnTo>
                  <a:pt x="5580621" y="5958932"/>
                </a:lnTo>
                <a:lnTo>
                  <a:pt x="5505891" y="5974290"/>
                </a:lnTo>
                <a:lnTo>
                  <a:pt x="5431162" y="5986577"/>
                </a:lnTo>
                <a:lnTo>
                  <a:pt x="5327768" y="5999887"/>
                </a:lnTo>
                <a:lnTo>
                  <a:pt x="5225398" y="6010126"/>
                </a:lnTo>
                <a:lnTo>
                  <a:pt x="5120981" y="6015245"/>
                </a:lnTo>
                <a:lnTo>
                  <a:pt x="5018612" y="6019341"/>
                </a:lnTo>
                <a:lnTo>
                  <a:pt x="4916242" y="6021388"/>
                </a:lnTo>
                <a:lnTo>
                  <a:pt x="4815919" y="6021388"/>
                </a:lnTo>
                <a:lnTo>
                  <a:pt x="4619370" y="6019341"/>
                </a:lnTo>
                <a:lnTo>
                  <a:pt x="3766630" y="6019341"/>
                </a:lnTo>
                <a:lnTo>
                  <a:pt x="2913890" y="6019341"/>
                </a:lnTo>
                <a:lnTo>
                  <a:pt x="2060126" y="6019341"/>
                </a:lnTo>
                <a:lnTo>
                  <a:pt x="1207386" y="6019341"/>
                </a:lnTo>
                <a:lnTo>
                  <a:pt x="354646" y="6019341"/>
                </a:lnTo>
                <a:lnTo>
                  <a:pt x="0" y="601934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56240" y="620713"/>
            <a:ext cx="3168998" cy="1655762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56240" y="2492895"/>
            <a:ext cx="3168998" cy="3744391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9" name="Freeform 8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35205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ntroduction 3" preserve="1" userDrawn="1">
  <p:cSld name="slide_3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7895709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015724"/>
                </a:lnTo>
                <a:lnTo>
                  <a:pt x="354771" y="6015724"/>
                </a:lnTo>
                <a:lnTo>
                  <a:pt x="1207497" y="6015724"/>
                </a:lnTo>
                <a:lnTo>
                  <a:pt x="2060222" y="6015724"/>
                </a:lnTo>
                <a:lnTo>
                  <a:pt x="2913972" y="6015724"/>
                </a:lnTo>
                <a:lnTo>
                  <a:pt x="3766698" y="6015724"/>
                </a:lnTo>
                <a:lnTo>
                  <a:pt x="4619423" y="6015724"/>
                </a:lnTo>
                <a:lnTo>
                  <a:pt x="4815970" y="6017772"/>
                </a:lnTo>
                <a:lnTo>
                  <a:pt x="4916291" y="6017772"/>
                </a:lnTo>
                <a:lnTo>
                  <a:pt x="5018659" y="6015724"/>
                </a:lnTo>
                <a:lnTo>
                  <a:pt x="5121027" y="6011629"/>
                </a:lnTo>
                <a:lnTo>
                  <a:pt x="5225442" y="6006510"/>
                </a:lnTo>
                <a:lnTo>
                  <a:pt x="5327810" y="5996271"/>
                </a:lnTo>
                <a:lnTo>
                  <a:pt x="5431202" y="5982961"/>
                </a:lnTo>
                <a:lnTo>
                  <a:pt x="5505931" y="5970675"/>
                </a:lnTo>
                <a:lnTo>
                  <a:pt x="5580659" y="5955317"/>
                </a:lnTo>
                <a:lnTo>
                  <a:pt x="5655388" y="5938935"/>
                </a:lnTo>
                <a:lnTo>
                  <a:pt x="5730117" y="5919482"/>
                </a:lnTo>
                <a:lnTo>
                  <a:pt x="5802798" y="5897981"/>
                </a:lnTo>
                <a:lnTo>
                  <a:pt x="5875479" y="5872385"/>
                </a:lnTo>
                <a:lnTo>
                  <a:pt x="5947137" y="5844741"/>
                </a:lnTo>
                <a:lnTo>
                  <a:pt x="6016747" y="5815049"/>
                </a:lnTo>
                <a:lnTo>
                  <a:pt x="6086357" y="5780238"/>
                </a:lnTo>
                <a:lnTo>
                  <a:pt x="6155968" y="5743379"/>
                </a:lnTo>
                <a:lnTo>
                  <a:pt x="6222507" y="5702425"/>
                </a:lnTo>
                <a:lnTo>
                  <a:pt x="6288022" y="5658399"/>
                </a:lnTo>
                <a:lnTo>
                  <a:pt x="6353538" y="5611302"/>
                </a:lnTo>
                <a:lnTo>
                  <a:pt x="6417006" y="5561133"/>
                </a:lnTo>
                <a:lnTo>
                  <a:pt x="6477403" y="5504821"/>
                </a:lnTo>
                <a:lnTo>
                  <a:pt x="6509137" y="5476153"/>
                </a:lnTo>
                <a:lnTo>
                  <a:pt x="6537800" y="5446461"/>
                </a:lnTo>
                <a:lnTo>
                  <a:pt x="6620719" y="5359434"/>
                </a:lnTo>
                <a:lnTo>
                  <a:pt x="6694424" y="5275478"/>
                </a:lnTo>
                <a:lnTo>
                  <a:pt x="6760963" y="5195617"/>
                </a:lnTo>
                <a:lnTo>
                  <a:pt x="6820336" y="5119852"/>
                </a:lnTo>
                <a:lnTo>
                  <a:pt x="6872544" y="5047158"/>
                </a:lnTo>
                <a:lnTo>
                  <a:pt x="6919633" y="4976512"/>
                </a:lnTo>
                <a:lnTo>
                  <a:pt x="7000504" y="4847507"/>
                </a:lnTo>
                <a:lnTo>
                  <a:pt x="7026096" y="4801433"/>
                </a:lnTo>
                <a:lnTo>
                  <a:pt x="7050664" y="4756384"/>
                </a:lnTo>
                <a:lnTo>
                  <a:pt x="7096730" y="4661165"/>
                </a:lnTo>
                <a:lnTo>
                  <a:pt x="7118227" y="4612020"/>
                </a:lnTo>
                <a:lnTo>
                  <a:pt x="7138701" y="4560827"/>
                </a:lnTo>
                <a:lnTo>
                  <a:pt x="7159174" y="4505539"/>
                </a:lnTo>
                <a:lnTo>
                  <a:pt x="7178624" y="4448203"/>
                </a:lnTo>
                <a:lnTo>
                  <a:pt x="7216501" y="4320222"/>
                </a:lnTo>
                <a:lnTo>
                  <a:pt x="7255400" y="4171762"/>
                </a:lnTo>
                <a:lnTo>
                  <a:pt x="7295324" y="3999755"/>
                </a:lnTo>
                <a:lnTo>
                  <a:pt x="7335247" y="3800103"/>
                </a:lnTo>
                <a:lnTo>
                  <a:pt x="7405881" y="3325035"/>
                </a:lnTo>
                <a:lnTo>
                  <a:pt x="7476515" y="2849966"/>
                </a:lnTo>
                <a:lnTo>
                  <a:pt x="7546126" y="2373874"/>
                </a:lnTo>
                <a:lnTo>
                  <a:pt x="7615736" y="1898806"/>
                </a:lnTo>
                <a:lnTo>
                  <a:pt x="7686370" y="1422713"/>
                </a:lnTo>
                <a:lnTo>
                  <a:pt x="7757004" y="947645"/>
                </a:lnTo>
                <a:lnTo>
                  <a:pt x="7826614" y="47155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620713"/>
            <a:ext cx="5329237" cy="108009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3" y="1916113"/>
            <a:ext cx="5329237" cy="36731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2"/>
          <p:cNvSpPr>
            <a:spLocks noGrp="1" noChangeAspect="1"/>
          </p:cNvSpPr>
          <p:nvPr>
            <p:ph type="body" sz="quarter" idx="19"/>
          </p:nvPr>
        </p:nvSpPr>
        <p:spPr>
          <a:xfrm>
            <a:off x="11559600" y="6382800"/>
            <a:ext cx="442800" cy="28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986601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and Picture 5" preserve="1" userDrawn="1">
  <p:cSld name="Content and Pictur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620713"/>
            <a:ext cx="7705501" cy="1080095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3" y="1916113"/>
            <a:ext cx="7705501" cy="432117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8616950" y="0"/>
            <a:ext cx="3575050" cy="6021388"/>
          </a:xfrm>
          <a:custGeom>
            <a:avLst/>
            <a:gdLst/>
            <a:ahLst/>
            <a:cxnLst/>
            <a:rect l="l" t="t" r="r" b="b"/>
            <a:pathLst>
              <a:path w="3575050" h="6021388">
                <a:moveTo>
                  <a:pt x="0" y="0"/>
                </a:moveTo>
                <a:lnTo>
                  <a:pt x="3575050" y="0"/>
                </a:lnTo>
                <a:lnTo>
                  <a:pt x="3575050" y="6019341"/>
                </a:lnTo>
                <a:lnTo>
                  <a:pt x="3276855" y="6019341"/>
                </a:lnTo>
                <a:lnTo>
                  <a:pt x="3080306" y="6021388"/>
                </a:lnTo>
                <a:lnTo>
                  <a:pt x="2979983" y="6021388"/>
                </a:lnTo>
                <a:lnTo>
                  <a:pt x="2877613" y="6019341"/>
                </a:lnTo>
                <a:lnTo>
                  <a:pt x="2775244" y="6015245"/>
                </a:lnTo>
                <a:lnTo>
                  <a:pt x="2670827" y="6010126"/>
                </a:lnTo>
                <a:lnTo>
                  <a:pt x="2568457" y="5999887"/>
                </a:lnTo>
                <a:lnTo>
                  <a:pt x="2465063" y="5986577"/>
                </a:lnTo>
                <a:lnTo>
                  <a:pt x="2390334" y="5974290"/>
                </a:lnTo>
                <a:lnTo>
                  <a:pt x="2315604" y="5958932"/>
                </a:lnTo>
                <a:lnTo>
                  <a:pt x="2240874" y="5942550"/>
                </a:lnTo>
                <a:lnTo>
                  <a:pt x="2166144" y="5923097"/>
                </a:lnTo>
                <a:lnTo>
                  <a:pt x="2093461" y="5901595"/>
                </a:lnTo>
                <a:lnTo>
                  <a:pt x="2020779" y="5875999"/>
                </a:lnTo>
                <a:lnTo>
                  <a:pt x="1949120" y="5848354"/>
                </a:lnTo>
                <a:lnTo>
                  <a:pt x="1879509" y="5818662"/>
                </a:lnTo>
                <a:lnTo>
                  <a:pt x="1809897" y="5783850"/>
                </a:lnTo>
                <a:lnTo>
                  <a:pt x="1740286" y="5746991"/>
                </a:lnTo>
                <a:lnTo>
                  <a:pt x="1673745" y="5706036"/>
                </a:lnTo>
                <a:lnTo>
                  <a:pt x="1608229" y="5662009"/>
                </a:lnTo>
                <a:lnTo>
                  <a:pt x="1542712" y="5614911"/>
                </a:lnTo>
                <a:lnTo>
                  <a:pt x="1479243" y="5564742"/>
                </a:lnTo>
                <a:lnTo>
                  <a:pt x="1418845" y="5508429"/>
                </a:lnTo>
                <a:lnTo>
                  <a:pt x="1387110" y="5479760"/>
                </a:lnTo>
                <a:lnTo>
                  <a:pt x="1358447" y="5450068"/>
                </a:lnTo>
                <a:lnTo>
                  <a:pt x="1275527" y="5363039"/>
                </a:lnTo>
                <a:lnTo>
                  <a:pt x="1201821" y="5279081"/>
                </a:lnTo>
                <a:lnTo>
                  <a:pt x="1135281" y="5199220"/>
                </a:lnTo>
                <a:lnTo>
                  <a:pt x="1075906" y="5123453"/>
                </a:lnTo>
                <a:lnTo>
                  <a:pt x="1023698" y="5050758"/>
                </a:lnTo>
                <a:lnTo>
                  <a:pt x="976608" y="4980111"/>
                </a:lnTo>
                <a:lnTo>
                  <a:pt x="895735" y="4851103"/>
                </a:lnTo>
                <a:lnTo>
                  <a:pt x="870143" y="4805029"/>
                </a:lnTo>
                <a:lnTo>
                  <a:pt x="845574" y="4759979"/>
                </a:lnTo>
                <a:lnTo>
                  <a:pt x="799508" y="4664759"/>
                </a:lnTo>
                <a:lnTo>
                  <a:pt x="778010" y="4615613"/>
                </a:lnTo>
                <a:lnTo>
                  <a:pt x="757536" y="4564419"/>
                </a:lnTo>
                <a:lnTo>
                  <a:pt x="737062" y="4509130"/>
                </a:lnTo>
                <a:lnTo>
                  <a:pt x="717612" y="4451793"/>
                </a:lnTo>
                <a:lnTo>
                  <a:pt x="679735" y="4323809"/>
                </a:lnTo>
                <a:lnTo>
                  <a:pt x="640835" y="4175348"/>
                </a:lnTo>
                <a:lnTo>
                  <a:pt x="600911" y="4003338"/>
                </a:lnTo>
                <a:lnTo>
                  <a:pt x="560986" y="3803683"/>
                </a:lnTo>
                <a:lnTo>
                  <a:pt x="490351" y="3328606"/>
                </a:lnTo>
                <a:lnTo>
                  <a:pt x="419716" y="2853530"/>
                </a:lnTo>
                <a:lnTo>
                  <a:pt x="350105" y="2377430"/>
                </a:lnTo>
                <a:lnTo>
                  <a:pt x="280493" y="1902353"/>
                </a:lnTo>
                <a:lnTo>
                  <a:pt x="209858" y="1426253"/>
                </a:lnTo>
                <a:lnTo>
                  <a:pt x="139223" y="951177"/>
                </a:lnTo>
                <a:lnTo>
                  <a:pt x="69612" y="47507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55535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and Picture 6" preserve="1" userDrawn="1">
  <p:cSld name="Content and Pictur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5760" y="620713"/>
            <a:ext cx="7489478" cy="1080095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35760" y="1916113"/>
            <a:ext cx="7489478" cy="432117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3575720" cy="6021388"/>
          </a:xfrm>
          <a:custGeom>
            <a:avLst/>
            <a:gdLst/>
            <a:ahLst/>
            <a:cxnLst/>
            <a:rect l="l" t="t" r="r" b="b"/>
            <a:pathLst>
              <a:path w="3575720" h="6021388">
                <a:moveTo>
                  <a:pt x="0" y="0"/>
                </a:moveTo>
                <a:lnTo>
                  <a:pt x="3575720" y="0"/>
                </a:lnTo>
                <a:lnTo>
                  <a:pt x="3506108" y="475076"/>
                </a:lnTo>
                <a:lnTo>
                  <a:pt x="3436497" y="951177"/>
                </a:lnTo>
                <a:lnTo>
                  <a:pt x="3365862" y="1426253"/>
                </a:lnTo>
                <a:lnTo>
                  <a:pt x="3295227" y="1902353"/>
                </a:lnTo>
                <a:lnTo>
                  <a:pt x="3225615" y="2377430"/>
                </a:lnTo>
                <a:lnTo>
                  <a:pt x="3156004" y="2853530"/>
                </a:lnTo>
                <a:lnTo>
                  <a:pt x="3085369" y="3328606"/>
                </a:lnTo>
                <a:lnTo>
                  <a:pt x="3014734" y="3803683"/>
                </a:lnTo>
                <a:lnTo>
                  <a:pt x="2974809" y="4003338"/>
                </a:lnTo>
                <a:lnTo>
                  <a:pt x="2934885" y="4175348"/>
                </a:lnTo>
                <a:lnTo>
                  <a:pt x="2895985" y="4323809"/>
                </a:lnTo>
                <a:lnTo>
                  <a:pt x="2858108" y="4451793"/>
                </a:lnTo>
                <a:lnTo>
                  <a:pt x="2838658" y="4509130"/>
                </a:lnTo>
                <a:lnTo>
                  <a:pt x="2818184" y="4564419"/>
                </a:lnTo>
                <a:lnTo>
                  <a:pt x="2797710" y="4615613"/>
                </a:lnTo>
                <a:lnTo>
                  <a:pt x="2776212" y="4664759"/>
                </a:lnTo>
                <a:lnTo>
                  <a:pt x="2730146" y="4759979"/>
                </a:lnTo>
                <a:lnTo>
                  <a:pt x="2705577" y="4805029"/>
                </a:lnTo>
                <a:lnTo>
                  <a:pt x="2679985" y="4851103"/>
                </a:lnTo>
                <a:lnTo>
                  <a:pt x="2599112" y="4980111"/>
                </a:lnTo>
                <a:lnTo>
                  <a:pt x="2552022" y="5050758"/>
                </a:lnTo>
                <a:lnTo>
                  <a:pt x="2499814" y="5123453"/>
                </a:lnTo>
                <a:lnTo>
                  <a:pt x="2440439" y="5199220"/>
                </a:lnTo>
                <a:lnTo>
                  <a:pt x="2373899" y="5279081"/>
                </a:lnTo>
                <a:lnTo>
                  <a:pt x="2300193" y="5363039"/>
                </a:lnTo>
                <a:lnTo>
                  <a:pt x="2217273" y="5450068"/>
                </a:lnTo>
                <a:lnTo>
                  <a:pt x="2188610" y="5479760"/>
                </a:lnTo>
                <a:lnTo>
                  <a:pt x="2156875" y="5508429"/>
                </a:lnTo>
                <a:lnTo>
                  <a:pt x="2096477" y="5564742"/>
                </a:lnTo>
                <a:lnTo>
                  <a:pt x="2033008" y="5614911"/>
                </a:lnTo>
                <a:lnTo>
                  <a:pt x="1967491" y="5662009"/>
                </a:lnTo>
                <a:lnTo>
                  <a:pt x="1901975" y="5706036"/>
                </a:lnTo>
                <a:lnTo>
                  <a:pt x="1835434" y="5746991"/>
                </a:lnTo>
                <a:lnTo>
                  <a:pt x="1765823" y="5783850"/>
                </a:lnTo>
                <a:lnTo>
                  <a:pt x="1696211" y="5818662"/>
                </a:lnTo>
                <a:lnTo>
                  <a:pt x="1626600" y="5848354"/>
                </a:lnTo>
                <a:lnTo>
                  <a:pt x="1554941" y="5875999"/>
                </a:lnTo>
                <a:lnTo>
                  <a:pt x="1482259" y="5901595"/>
                </a:lnTo>
                <a:lnTo>
                  <a:pt x="1409576" y="5923097"/>
                </a:lnTo>
                <a:lnTo>
                  <a:pt x="1334846" y="5942550"/>
                </a:lnTo>
                <a:lnTo>
                  <a:pt x="1260116" y="5958932"/>
                </a:lnTo>
                <a:lnTo>
                  <a:pt x="1185386" y="5974290"/>
                </a:lnTo>
                <a:lnTo>
                  <a:pt x="1110657" y="5986577"/>
                </a:lnTo>
                <a:lnTo>
                  <a:pt x="1007263" y="5999887"/>
                </a:lnTo>
                <a:lnTo>
                  <a:pt x="904893" y="6010126"/>
                </a:lnTo>
                <a:lnTo>
                  <a:pt x="800476" y="6015245"/>
                </a:lnTo>
                <a:lnTo>
                  <a:pt x="698107" y="6019341"/>
                </a:lnTo>
                <a:lnTo>
                  <a:pt x="595737" y="6021388"/>
                </a:lnTo>
                <a:lnTo>
                  <a:pt x="495414" y="6021388"/>
                </a:lnTo>
                <a:lnTo>
                  <a:pt x="298865" y="6019341"/>
                </a:lnTo>
                <a:lnTo>
                  <a:pt x="0" y="601934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9" name="Freeform 8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26484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and Picture 7" preserve="1" userDrawn="1">
  <p:cSld name="Content and 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933056"/>
            <a:ext cx="3385021" cy="2304232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9816" y="3933056"/>
            <a:ext cx="6985422" cy="2304232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2"/>
            <a:ext cx="11405557" cy="3428999"/>
          </a:xfrm>
          <a:custGeom>
            <a:avLst/>
            <a:gdLst/>
            <a:ahLst/>
            <a:cxnLst/>
            <a:rect l="l" t="t" r="r" b="b"/>
            <a:pathLst>
              <a:path w="11405557" h="3428999">
                <a:moveTo>
                  <a:pt x="0" y="0"/>
                </a:moveTo>
                <a:lnTo>
                  <a:pt x="11405557" y="0"/>
                </a:lnTo>
                <a:lnTo>
                  <a:pt x="11365915" y="270541"/>
                </a:lnTo>
                <a:lnTo>
                  <a:pt x="11326274" y="541666"/>
                </a:lnTo>
                <a:lnTo>
                  <a:pt x="11286049" y="812207"/>
                </a:lnTo>
                <a:lnTo>
                  <a:pt x="11245825" y="1083332"/>
                </a:lnTo>
                <a:lnTo>
                  <a:pt x="11206183" y="1353874"/>
                </a:lnTo>
                <a:lnTo>
                  <a:pt x="11166541" y="1624999"/>
                </a:lnTo>
                <a:lnTo>
                  <a:pt x="11126317" y="1895540"/>
                </a:lnTo>
                <a:lnTo>
                  <a:pt x="11086092" y="2166082"/>
                </a:lnTo>
                <a:lnTo>
                  <a:pt x="11063357" y="2279780"/>
                </a:lnTo>
                <a:lnTo>
                  <a:pt x="11040621" y="2377734"/>
                </a:lnTo>
                <a:lnTo>
                  <a:pt x="11018468" y="2462279"/>
                </a:lnTo>
                <a:lnTo>
                  <a:pt x="10996899" y="2535162"/>
                </a:lnTo>
                <a:lnTo>
                  <a:pt x="10985822" y="2567813"/>
                </a:lnTo>
                <a:lnTo>
                  <a:pt x="10974163" y="2599299"/>
                </a:lnTo>
                <a:lnTo>
                  <a:pt x="10962504" y="2628452"/>
                </a:lnTo>
                <a:lnTo>
                  <a:pt x="10950261" y="2656439"/>
                </a:lnTo>
                <a:lnTo>
                  <a:pt x="10924028" y="2710664"/>
                </a:lnTo>
                <a:lnTo>
                  <a:pt x="10910037" y="2736319"/>
                </a:lnTo>
                <a:lnTo>
                  <a:pt x="10895463" y="2762557"/>
                </a:lnTo>
                <a:lnTo>
                  <a:pt x="10849408" y="2836023"/>
                </a:lnTo>
                <a:lnTo>
                  <a:pt x="10822592" y="2876254"/>
                </a:lnTo>
                <a:lnTo>
                  <a:pt x="10792861" y="2917652"/>
                </a:lnTo>
                <a:lnTo>
                  <a:pt x="10759049" y="2960799"/>
                </a:lnTo>
                <a:lnTo>
                  <a:pt x="10721156" y="3006278"/>
                </a:lnTo>
                <a:lnTo>
                  <a:pt x="10679183" y="3054089"/>
                </a:lnTo>
                <a:lnTo>
                  <a:pt x="10631962" y="3103649"/>
                </a:lnTo>
                <a:lnTo>
                  <a:pt x="10615640" y="3120558"/>
                </a:lnTo>
                <a:lnTo>
                  <a:pt x="10597568" y="3136884"/>
                </a:lnTo>
                <a:lnTo>
                  <a:pt x="10563173" y="3168952"/>
                </a:lnTo>
                <a:lnTo>
                  <a:pt x="10527029" y="3197523"/>
                </a:lnTo>
                <a:lnTo>
                  <a:pt x="10489719" y="3224344"/>
                </a:lnTo>
                <a:lnTo>
                  <a:pt x="10452409" y="3249415"/>
                </a:lnTo>
                <a:lnTo>
                  <a:pt x="10414517" y="3272738"/>
                </a:lnTo>
                <a:lnTo>
                  <a:pt x="10374875" y="3293728"/>
                </a:lnTo>
                <a:lnTo>
                  <a:pt x="10335233" y="3313552"/>
                </a:lnTo>
                <a:lnTo>
                  <a:pt x="10295592" y="3330461"/>
                </a:lnTo>
                <a:lnTo>
                  <a:pt x="10254784" y="3346204"/>
                </a:lnTo>
                <a:lnTo>
                  <a:pt x="10213394" y="3360781"/>
                </a:lnTo>
                <a:lnTo>
                  <a:pt x="10172003" y="3373025"/>
                </a:lnTo>
                <a:lnTo>
                  <a:pt x="10129447" y="3384103"/>
                </a:lnTo>
                <a:lnTo>
                  <a:pt x="10086890" y="3393432"/>
                </a:lnTo>
                <a:lnTo>
                  <a:pt x="10044334" y="3402178"/>
                </a:lnTo>
                <a:lnTo>
                  <a:pt x="10001777" y="3409175"/>
                </a:lnTo>
                <a:lnTo>
                  <a:pt x="9942898" y="3416755"/>
                </a:lnTo>
                <a:lnTo>
                  <a:pt x="9884601" y="3422585"/>
                </a:lnTo>
                <a:lnTo>
                  <a:pt x="9825139" y="3425501"/>
                </a:lnTo>
                <a:lnTo>
                  <a:pt x="9766842" y="3427833"/>
                </a:lnTo>
                <a:lnTo>
                  <a:pt x="9708546" y="3428999"/>
                </a:lnTo>
                <a:lnTo>
                  <a:pt x="9651415" y="3428999"/>
                </a:lnTo>
                <a:lnTo>
                  <a:pt x="9539486" y="3427833"/>
                </a:lnTo>
                <a:lnTo>
                  <a:pt x="9053876" y="3427833"/>
                </a:lnTo>
                <a:lnTo>
                  <a:pt x="8568266" y="3427833"/>
                </a:lnTo>
                <a:lnTo>
                  <a:pt x="8082074" y="3427833"/>
                </a:lnTo>
                <a:lnTo>
                  <a:pt x="7596464" y="3427833"/>
                </a:lnTo>
                <a:lnTo>
                  <a:pt x="7110854" y="3427833"/>
                </a:lnTo>
                <a:lnTo>
                  <a:pt x="6625245" y="3427833"/>
                </a:lnTo>
                <a:lnTo>
                  <a:pt x="6456363" y="3427833"/>
                </a:lnTo>
                <a:lnTo>
                  <a:pt x="6456363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54211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 " type="twoObj" preserve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5F704C-10DE-4AED-A14D-ABB6130AE4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1BAF1D-3EDA-49AD-A421-3CB24B7FE5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6763" y="1916112"/>
            <a:ext cx="5185221" cy="43211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0AE588-E075-4CD5-8E19-82779BE61C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0016" y="1916112"/>
            <a:ext cx="5185222" cy="43211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B7A4CC-C829-497A-987A-FFF939D257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CFD274-627C-4647-8AA7-B44437219E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F40165-81FB-4C4D-A006-CC2B26D018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0927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5F704C-10DE-4AED-A14D-ABB6130AE4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1BAF1D-3EDA-49AD-A421-3CB24B7FE5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6763" y="1916112"/>
            <a:ext cx="3385021" cy="43211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0AE588-E075-4CD5-8E19-82779BE61C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39816" y="1916112"/>
            <a:ext cx="3312344" cy="43211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B7A4CC-C829-497A-987A-FFF939D257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CFD274-627C-4647-8AA7-B44437219E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F40165-81FB-4C4D-A006-CC2B26D018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8040216" y="1916113"/>
            <a:ext cx="3385022" cy="432117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72355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 " preserve="1" userDrawn="1">
  <p:cSld name="Compari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20DEED-EAB8-426F-889C-7C6756447A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4" y="1916112"/>
            <a:ext cx="5185220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CC0235-AC07-4386-A461-A44FCC73A2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6764" y="2564904"/>
            <a:ext cx="5185220" cy="367238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DB2B8F-08C6-4B45-8AFD-B0B3D921FA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0016" y="1916112"/>
            <a:ext cx="5185222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53E308-0B00-4786-879A-D318C963DBD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40016" y="2564903"/>
            <a:ext cx="5185222" cy="367238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59620D-52FD-455E-9032-D1FBA76E6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74B0A51-BEB2-4F22-8EF3-352F4DD9AB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65C751-1946-4019-A5F4-49D9F2A29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904904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Subheader" preserve="1" userDrawn="1">
  <p:cSld name="Content with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20DEED-EAB8-426F-889C-7C6756447A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4" y="1916112"/>
            <a:ext cx="10658474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CC0235-AC07-4386-A461-A44FCC73A2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6764" y="2564904"/>
            <a:ext cx="10658474" cy="367238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59620D-52FD-455E-9032-D1FBA76E6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74B0A51-BEB2-4F22-8EF3-352F4DD9AB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65C751-1946-4019-A5F4-49D9F2A29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601406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mparison" preserve="1" userDrawn="1">
  <p:cSld name="Three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20DEED-EAB8-426F-889C-7C6756447A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4" y="1916112"/>
            <a:ext cx="3385020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CC0235-AC07-4386-A461-A44FCC73A2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66764" y="2564904"/>
            <a:ext cx="3385020" cy="367238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DB2B8F-08C6-4B45-8AFD-B0B3D921FA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39816" y="1916112"/>
            <a:ext cx="3312368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53E308-0B00-4786-879A-D318C963DBD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39816" y="2564903"/>
            <a:ext cx="3312368" cy="3672385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59620D-52FD-455E-9032-D1FBA76E6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74B0A51-BEB2-4F22-8EF3-352F4DD9AB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765C751-1946-4019-A5F4-49D9F2A29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ADB2B8F-08C6-4B45-8AFD-B0B3D921FA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40216" y="1916112"/>
            <a:ext cx="3385022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4"/>
          </p:nvPr>
        </p:nvSpPr>
        <p:spPr>
          <a:xfrm>
            <a:off x="8040216" y="2564904"/>
            <a:ext cx="3385022" cy="367238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2559873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cess" preserve="1" userDrawn="1">
  <p:cSld name="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6763" y="1916112"/>
            <a:ext cx="10658475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F34E1-4A03-4647-AD6A-109BB455893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66762" y="2564904"/>
            <a:ext cx="3385021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wrap="square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4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#1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439816" y="2566964"/>
            <a:ext cx="3312368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wrap="square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4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#2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8040216" y="2575276"/>
            <a:ext cx="3385022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wrap="square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4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#3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766763" y="3429000"/>
            <a:ext cx="3384550" cy="2808287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800"/>
            </a:lvl1pPr>
            <a:lvl2pPr marL="266700" indent="-266700">
              <a:spcBef>
                <a:spcPts val="200"/>
              </a:spcBef>
              <a:buFont typeface="Arial" panose="020B0604020202020204" pitchFamily="34" charset="0"/>
              <a:buChar char="•"/>
              <a:defRPr sz="1800"/>
            </a:lvl2pPr>
            <a:lvl3pPr marL="539750" indent="-273050">
              <a:spcBef>
                <a:spcPts val="200"/>
              </a:spcBef>
              <a:defRPr sz="1600"/>
            </a:lvl3pPr>
            <a:lvl4pPr marL="806450" indent="-266700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4pPr>
            <a:lvl5pPr marL="1071563" indent="-265113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4439816" y="3429000"/>
            <a:ext cx="3312368" cy="2808287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800"/>
            </a:lvl1pPr>
            <a:lvl2pPr marL="266700" indent="-266700">
              <a:spcBef>
                <a:spcPts val="200"/>
              </a:spcBef>
              <a:buFont typeface="Arial" panose="020B0604020202020204" pitchFamily="34" charset="0"/>
              <a:buChar char="•"/>
              <a:defRPr sz="1800"/>
            </a:lvl2pPr>
            <a:lvl3pPr marL="539750" indent="-273050">
              <a:spcBef>
                <a:spcPts val="200"/>
              </a:spcBef>
              <a:defRPr sz="1600"/>
            </a:lvl3pPr>
            <a:lvl4pPr marL="806450" indent="-266700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4pPr>
            <a:lvl5pPr marL="1071563" indent="-265113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8040216" y="3429000"/>
            <a:ext cx="3385022" cy="2808287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800"/>
            </a:lvl1pPr>
            <a:lvl2pPr marL="266700" indent="-266700">
              <a:spcBef>
                <a:spcPts val="200"/>
              </a:spcBef>
              <a:buFont typeface="Arial" panose="020B0604020202020204" pitchFamily="34" charset="0"/>
              <a:buChar char="•"/>
              <a:defRPr sz="1800"/>
            </a:lvl2pPr>
            <a:lvl3pPr marL="539750" indent="-273050">
              <a:spcBef>
                <a:spcPts val="200"/>
              </a:spcBef>
              <a:defRPr sz="1600"/>
            </a:lvl3pPr>
            <a:lvl4pPr marL="806450" indent="-266700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4pPr>
            <a:lvl5pPr marL="1071563" indent="-265113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3496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ocess 2nd" preserve="1" userDrawn="1">
  <p:cSld name="Process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F34E1-4A03-4647-AD6A-109BB455893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8832304" y="3429000"/>
            <a:ext cx="2592934" cy="2808288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800"/>
            </a:lvl1pPr>
            <a:lvl2pPr marL="266700" indent="-266700">
              <a:spcBef>
                <a:spcPts val="200"/>
              </a:spcBef>
              <a:buFont typeface="Arial" panose="020B0604020202020204" pitchFamily="34" charset="0"/>
              <a:buChar char="•"/>
              <a:defRPr sz="1800"/>
            </a:lvl2pPr>
            <a:lvl3pPr marL="539750" indent="-273050">
              <a:spcBef>
                <a:spcPts val="200"/>
              </a:spcBef>
              <a:defRPr sz="1600"/>
            </a:lvl3pPr>
            <a:lvl4pPr marL="806450" indent="-266700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4pPr>
            <a:lvl5pPr marL="1071563" indent="-265113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766763" y="1916112"/>
            <a:ext cx="10658475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2564904"/>
            <a:ext cx="2593294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wrap="square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4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#1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3503712" y="2566964"/>
            <a:ext cx="2520280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wrap="square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4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#2</a:t>
            </a:r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6168008" y="2575276"/>
            <a:ext cx="2520280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wrap="square" anchor="t" anchorCtr="0">
            <a:spAutoFit/>
          </a:bodyPr>
          <a:lstStyle>
            <a:lvl1pPr marL="0" indent="0" algn="l">
              <a:spcBef>
                <a:spcPts val="0"/>
              </a:spcBef>
              <a:buFontTx/>
              <a:buNone/>
              <a:defRPr sz="4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#3</a:t>
            </a: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766763" y="3429000"/>
            <a:ext cx="2592933" cy="2808287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800"/>
            </a:lvl1pPr>
            <a:lvl2pPr marL="266700" indent="-266700">
              <a:spcBef>
                <a:spcPts val="200"/>
              </a:spcBef>
              <a:buFont typeface="Arial" panose="020B0604020202020204" pitchFamily="34" charset="0"/>
              <a:buChar char="•"/>
              <a:defRPr sz="1800"/>
            </a:lvl2pPr>
            <a:lvl3pPr marL="539750" indent="-273050">
              <a:spcBef>
                <a:spcPts val="200"/>
              </a:spcBef>
              <a:defRPr sz="1600"/>
            </a:lvl3pPr>
            <a:lvl4pPr marL="806450" indent="-266700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4pPr>
            <a:lvl5pPr marL="1071563" indent="-265113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3503712" y="3429000"/>
            <a:ext cx="2520280" cy="2808287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800"/>
            </a:lvl1pPr>
            <a:lvl2pPr marL="266700" indent="-266700">
              <a:spcBef>
                <a:spcPts val="200"/>
              </a:spcBef>
              <a:buFont typeface="Arial" panose="020B0604020202020204" pitchFamily="34" charset="0"/>
              <a:buChar char="•"/>
              <a:defRPr sz="1800"/>
            </a:lvl2pPr>
            <a:lvl3pPr marL="539750" indent="-273050">
              <a:spcBef>
                <a:spcPts val="200"/>
              </a:spcBef>
              <a:defRPr sz="1600"/>
            </a:lvl3pPr>
            <a:lvl4pPr marL="806450" indent="-266700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4pPr>
            <a:lvl5pPr marL="1071563" indent="-265113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6168008" y="3429000"/>
            <a:ext cx="2520280" cy="2808287"/>
          </a:xfrm>
        </p:spPr>
        <p:txBody>
          <a:bodyPr/>
          <a:lstStyle>
            <a:lvl1pPr marL="0" indent="0">
              <a:spcBef>
                <a:spcPts val="200"/>
              </a:spcBef>
              <a:buFontTx/>
              <a:buNone/>
              <a:defRPr sz="1800"/>
            </a:lvl1pPr>
            <a:lvl2pPr marL="266700" indent="-266700">
              <a:spcBef>
                <a:spcPts val="200"/>
              </a:spcBef>
              <a:buFont typeface="Arial" panose="020B0604020202020204" pitchFamily="34" charset="0"/>
              <a:buChar char="•"/>
              <a:defRPr sz="1800"/>
            </a:lvl2pPr>
            <a:lvl3pPr marL="539750" indent="-273050">
              <a:spcBef>
                <a:spcPts val="200"/>
              </a:spcBef>
              <a:defRPr sz="1600"/>
            </a:lvl3pPr>
            <a:lvl4pPr marL="806450" indent="-266700">
              <a:spcBef>
                <a:spcPts val="200"/>
              </a:spcBef>
              <a:buFont typeface="Arial" panose="020B0604020202020204" pitchFamily="34" charset="0"/>
              <a:buChar char="•"/>
              <a:defRPr sz="1400"/>
            </a:lvl4pPr>
            <a:lvl5pPr marL="1071563" indent="-265113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8832304" y="2565400"/>
            <a:ext cx="2592934" cy="615553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4000" b="1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/>
            </a:lvl2pPr>
            <a:lvl3pPr marL="0" indent="0">
              <a:spcBef>
                <a:spcPts val="0"/>
              </a:spcBef>
              <a:buFontTx/>
              <a:buNone/>
              <a:defRPr/>
            </a:lvl3pPr>
            <a:lvl4pPr marL="0" indent="0">
              <a:spcBef>
                <a:spcPts val="0"/>
              </a:spcBef>
              <a:buFontTx/>
              <a:buNone/>
              <a:defRPr/>
            </a:lvl4pPr>
            <a:lvl5pPr marL="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en-US"/>
              <a:t>#4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05957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Picture " preserve="1" userDrawn="1">
  <p:cSld name="slide_3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620713"/>
            <a:ext cx="5545261" cy="1080095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3" y="1916113"/>
            <a:ext cx="5545261" cy="432117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6456363" y="0"/>
            <a:ext cx="5735637" cy="6021388"/>
          </a:xfrm>
          <a:custGeom>
            <a:avLst/>
            <a:gdLst/>
            <a:ahLst/>
            <a:cxnLst/>
            <a:rect l="l" t="t" r="r" b="b"/>
            <a:pathLst>
              <a:path w="5735637" h="6021388">
                <a:moveTo>
                  <a:pt x="0" y="0"/>
                </a:moveTo>
                <a:lnTo>
                  <a:pt x="5735637" y="0"/>
                </a:lnTo>
                <a:lnTo>
                  <a:pt x="5735637" y="6019341"/>
                </a:lnTo>
                <a:lnTo>
                  <a:pt x="4982335" y="6019341"/>
                </a:lnTo>
                <a:lnTo>
                  <a:pt x="4129595" y="6019341"/>
                </a:lnTo>
                <a:lnTo>
                  <a:pt x="3276855" y="6019341"/>
                </a:lnTo>
                <a:lnTo>
                  <a:pt x="3080306" y="6021388"/>
                </a:lnTo>
                <a:lnTo>
                  <a:pt x="2979983" y="6021388"/>
                </a:lnTo>
                <a:lnTo>
                  <a:pt x="2877613" y="6019341"/>
                </a:lnTo>
                <a:lnTo>
                  <a:pt x="2775244" y="6015245"/>
                </a:lnTo>
                <a:lnTo>
                  <a:pt x="2670827" y="6010126"/>
                </a:lnTo>
                <a:lnTo>
                  <a:pt x="2568457" y="5999887"/>
                </a:lnTo>
                <a:lnTo>
                  <a:pt x="2465063" y="5986577"/>
                </a:lnTo>
                <a:lnTo>
                  <a:pt x="2390334" y="5974290"/>
                </a:lnTo>
                <a:lnTo>
                  <a:pt x="2315604" y="5958932"/>
                </a:lnTo>
                <a:lnTo>
                  <a:pt x="2240874" y="5942550"/>
                </a:lnTo>
                <a:lnTo>
                  <a:pt x="2166144" y="5923097"/>
                </a:lnTo>
                <a:lnTo>
                  <a:pt x="2093461" y="5901595"/>
                </a:lnTo>
                <a:lnTo>
                  <a:pt x="2020779" y="5875999"/>
                </a:lnTo>
                <a:lnTo>
                  <a:pt x="1949120" y="5848354"/>
                </a:lnTo>
                <a:lnTo>
                  <a:pt x="1879509" y="5818662"/>
                </a:lnTo>
                <a:lnTo>
                  <a:pt x="1809897" y="5783850"/>
                </a:lnTo>
                <a:lnTo>
                  <a:pt x="1740286" y="5746991"/>
                </a:lnTo>
                <a:lnTo>
                  <a:pt x="1673745" y="5706036"/>
                </a:lnTo>
                <a:lnTo>
                  <a:pt x="1608229" y="5662009"/>
                </a:lnTo>
                <a:lnTo>
                  <a:pt x="1542712" y="5614911"/>
                </a:lnTo>
                <a:lnTo>
                  <a:pt x="1479243" y="5564742"/>
                </a:lnTo>
                <a:lnTo>
                  <a:pt x="1418845" y="5508429"/>
                </a:lnTo>
                <a:lnTo>
                  <a:pt x="1387110" y="5479760"/>
                </a:lnTo>
                <a:lnTo>
                  <a:pt x="1358447" y="5450068"/>
                </a:lnTo>
                <a:lnTo>
                  <a:pt x="1275527" y="5363039"/>
                </a:lnTo>
                <a:lnTo>
                  <a:pt x="1201821" y="5279081"/>
                </a:lnTo>
                <a:lnTo>
                  <a:pt x="1135281" y="5199220"/>
                </a:lnTo>
                <a:lnTo>
                  <a:pt x="1075906" y="5123453"/>
                </a:lnTo>
                <a:lnTo>
                  <a:pt x="1023698" y="5050758"/>
                </a:lnTo>
                <a:lnTo>
                  <a:pt x="976608" y="4980111"/>
                </a:lnTo>
                <a:lnTo>
                  <a:pt x="895735" y="4851103"/>
                </a:lnTo>
                <a:lnTo>
                  <a:pt x="870143" y="4805029"/>
                </a:lnTo>
                <a:lnTo>
                  <a:pt x="845574" y="4759979"/>
                </a:lnTo>
                <a:lnTo>
                  <a:pt x="799508" y="4664759"/>
                </a:lnTo>
                <a:lnTo>
                  <a:pt x="778010" y="4615613"/>
                </a:lnTo>
                <a:lnTo>
                  <a:pt x="757536" y="4564419"/>
                </a:lnTo>
                <a:lnTo>
                  <a:pt x="737062" y="4509130"/>
                </a:lnTo>
                <a:lnTo>
                  <a:pt x="717612" y="4451793"/>
                </a:lnTo>
                <a:lnTo>
                  <a:pt x="679735" y="4323809"/>
                </a:lnTo>
                <a:lnTo>
                  <a:pt x="640835" y="4175348"/>
                </a:lnTo>
                <a:lnTo>
                  <a:pt x="600911" y="4003338"/>
                </a:lnTo>
                <a:lnTo>
                  <a:pt x="560986" y="3803683"/>
                </a:lnTo>
                <a:lnTo>
                  <a:pt x="490351" y="3328606"/>
                </a:lnTo>
                <a:lnTo>
                  <a:pt x="419716" y="2853530"/>
                </a:lnTo>
                <a:lnTo>
                  <a:pt x="350105" y="2377430"/>
                </a:lnTo>
                <a:lnTo>
                  <a:pt x="280493" y="1902353"/>
                </a:lnTo>
                <a:lnTo>
                  <a:pt x="209858" y="1426253"/>
                </a:lnTo>
                <a:lnTo>
                  <a:pt x="139223" y="951177"/>
                </a:lnTo>
                <a:lnTo>
                  <a:pt x="69612" y="47507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86734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rgets" preserve="1" userDrawn="1">
  <p:cSld name="Targ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6"/>
          <p:cNvSpPr>
            <a:spLocks noEditPoints="1"/>
          </p:cNvSpPr>
          <p:nvPr userDrawn="1"/>
        </p:nvSpPr>
        <p:spPr bwMode="auto">
          <a:xfrm>
            <a:off x="7608168" y="4587521"/>
            <a:ext cx="4583832" cy="2270479"/>
          </a:xfrm>
          <a:custGeom>
            <a:avLst/>
            <a:gdLst>
              <a:gd name="T0" fmla="*/ 3697 w 4811"/>
              <a:gd name="T1" fmla="*/ 2229 h 2383"/>
              <a:gd name="T2" fmla="*/ 4135 w 4811"/>
              <a:gd name="T3" fmla="*/ 2292 h 2383"/>
              <a:gd name="T4" fmla="*/ 4664 w 4811"/>
              <a:gd name="T5" fmla="*/ 925 h 2383"/>
              <a:gd name="T6" fmla="*/ 4243 w 4811"/>
              <a:gd name="T7" fmla="*/ 833 h 2383"/>
              <a:gd name="T8" fmla="*/ 3838 w 4811"/>
              <a:gd name="T9" fmla="*/ 694 h 2383"/>
              <a:gd name="T10" fmla="*/ 3455 w 4811"/>
              <a:gd name="T11" fmla="*/ 502 h 2383"/>
              <a:gd name="T12" fmla="*/ 3177 w 4811"/>
              <a:gd name="T13" fmla="*/ 365 h 2383"/>
              <a:gd name="T14" fmla="*/ 3047 w 4811"/>
              <a:gd name="T15" fmla="*/ 284 h 2383"/>
              <a:gd name="T16" fmla="*/ 444 w 4811"/>
              <a:gd name="T17" fmla="*/ 1728 h 2383"/>
              <a:gd name="T18" fmla="*/ 569 w 4811"/>
              <a:gd name="T19" fmla="*/ 1649 h 2383"/>
              <a:gd name="T20" fmla="*/ 2935 w 4811"/>
              <a:gd name="T21" fmla="*/ 245 h 2383"/>
              <a:gd name="T22" fmla="*/ 1360 w 4811"/>
              <a:gd name="T23" fmla="*/ 1024 h 2383"/>
              <a:gd name="T24" fmla="*/ 2672 w 4811"/>
              <a:gd name="T25" fmla="*/ 135 h 2383"/>
              <a:gd name="T26" fmla="*/ 1444 w 4811"/>
              <a:gd name="T27" fmla="*/ 614 h 2383"/>
              <a:gd name="T28" fmla="*/ 1457 w 4811"/>
              <a:gd name="T29" fmla="*/ 469 h 2383"/>
              <a:gd name="T30" fmla="*/ 1962 w 4811"/>
              <a:gd name="T31" fmla="*/ 44 h 2383"/>
              <a:gd name="T32" fmla="*/ 1697 w 4811"/>
              <a:gd name="T33" fmla="*/ 121 h 2383"/>
              <a:gd name="T34" fmla="*/ 4512 w 4811"/>
              <a:gd name="T35" fmla="*/ 1220 h 2383"/>
              <a:gd name="T36" fmla="*/ 4105 w 4811"/>
              <a:gd name="T37" fmla="*/ 1077 h 2383"/>
              <a:gd name="T38" fmla="*/ 3709 w 4811"/>
              <a:gd name="T39" fmla="*/ 878 h 2383"/>
              <a:gd name="T40" fmla="*/ 3339 w 4811"/>
              <a:gd name="T41" fmla="*/ 673 h 2383"/>
              <a:gd name="T42" fmla="*/ 733 w 4811"/>
              <a:gd name="T43" fmla="*/ 2077 h 2383"/>
              <a:gd name="T44" fmla="*/ 835 w 4811"/>
              <a:gd name="T45" fmla="*/ 1990 h 2383"/>
              <a:gd name="T46" fmla="*/ 1324 w 4811"/>
              <a:gd name="T47" fmla="*/ 1694 h 2383"/>
              <a:gd name="T48" fmla="*/ 1522 w 4811"/>
              <a:gd name="T49" fmla="*/ 1503 h 2383"/>
              <a:gd name="T50" fmla="*/ 1660 w 4811"/>
              <a:gd name="T51" fmla="*/ 1239 h 2383"/>
              <a:gd name="T52" fmla="*/ 2781 w 4811"/>
              <a:gd name="T53" fmla="*/ 439 h 2383"/>
              <a:gd name="T54" fmla="*/ 1718 w 4811"/>
              <a:gd name="T55" fmla="*/ 811 h 2383"/>
              <a:gd name="T56" fmla="*/ 2218 w 4811"/>
              <a:gd name="T57" fmla="*/ 385 h 2383"/>
              <a:gd name="T58" fmla="*/ 1945 w 4811"/>
              <a:gd name="T59" fmla="*/ 469 h 2383"/>
              <a:gd name="T60" fmla="*/ 4617 w 4811"/>
              <a:gd name="T61" fmla="*/ 1533 h 2383"/>
              <a:gd name="T62" fmla="*/ 4100 w 4811"/>
              <a:gd name="T63" fmla="*/ 1288 h 2383"/>
              <a:gd name="T64" fmla="*/ 3735 w 4811"/>
              <a:gd name="T65" fmla="*/ 1088 h 2383"/>
              <a:gd name="T66" fmla="*/ 1488 w 4811"/>
              <a:gd name="T67" fmla="*/ 2147 h 2383"/>
              <a:gd name="T68" fmla="*/ 1615 w 4811"/>
              <a:gd name="T69" fmla="*/ 2081 h 2383"/>
              <a:gd name="T70" fmla="*/ 1818 w 4811"/>
              <a:gd name="T71" fmla="*/ 1874 h 2383"/>
              <a:gd name="T72" fmla="*/ 1949 w 4811"/>
              <a:gd name="T73" fmla="*/ 1628 h 2383"/>
              <a:gd name="T74" fmla="*/ 3075 w 4811"/>
              <a:gd name="T75" fmla="*/ 825 h 2383"/>
              <a:gd name="T76" fmla="*/ 2789 w 4811"/>
              <a:gd name="T77" fmla="*/ 776 h 2383"/>
              <a:gd name="T78" fmla="*/ 2035 w 4811"/>
              <a:gd name="T79" fmla="*/ 1065 h 2383"/>
              <a:gd name="T80" fmla="*/ 2114 w 4811"/>
              <a:gd name="T81" fmla="*/ 937 h 2383"/>
              <a:gd name="T82" fmla="*/ 4637 w 4811"/>
              <a:gd name="T83" fmla="*/ 1805 h 2383"/>
              <a:gd name="T84" fmla="*/ 4260 w 4811"/>
              <a:gd name="T85" fmla="*/ 1606 h 2383"/>
              <a:gd name="T86" fmla="*/ 3874 w 4811"/>
              <a:gd name="T87" fmla="*/ 1413 h 2383"/>
              <a:gd name="T88" fmla="*/ 2085 w 4811"/>
              <a:gd name="T89" fmla="*/ 2254 h 2383"/>
              <a:gd name="T90" fmla="*/ 2215 w 4811"/>
              <a:gd name="T91" fmla="*/ 2003 h 2383"/>
              <a:gd name="T92" fmla="*/ 3342 w 4811"/>
              <a:gd name="T93" fmla="*/ 1195 h 2383"/>
              <a:gd name="T94" fmla="*/ 3056 w 4811"/>
              <a:gd name="T95" fmla="*/ 1147 h 2383"/>
              <a:gd name="T96" fmla="*/ 2302 w 4811"/>
              <a:gd name="T97" fmla="*/ 1435 h 2383"/>
              <a:gd name="T98" fmla="*/ 2381 w 4811"/>
              <a:gd name="T99" fmla="*/ 1308 h 2383"/>
              <a:gd name="T100" fmla="*/ 4653 w 4811"/>
              <a:gd name="T101" fmla="*/ 2048 h 2383"/>
              <a:gd name="T102" fmla="*/ 4272 w 4811"/>
              <a:gd name="T103" fmla="*/ 1845 h 2383"/>
              <a:gd name="T104" fmla="*/ 3878 w 4811"/>
              <a:gd name="T105" fmla="*/ 1665 h 2383"/>
              <a:gd name="T106" fmla="*/ 2513 w 4811"/>
              <a:gd name="T107" fmla="*/ 2232 h 2383"/>
              <a:gd name="T108" fmla="*/ 3462 w 4811"/>
              <a:gd name="T109" fmla="*/ 1541 h 2383"/>
              <a:gd name="T110" fmla="*/ 3181 w 4811"/>
              <a:gd name="T111" fmla="*/ 1508 h 2383"/>
              <a:gd name="T112" fmla="*/ 2893 w 4811"/>
              <a:gd name="T113" fmla="*/ 1559 h 2383"/>
              <a:gd name="T114" fmla="*/ 4793 w 4811"/>
              <a:gd name="T115" fmla="*/ 2346 h 2383"/>
              <a:gd name="T116" fmla="*/ 4402 w 4811"/>
              <a:gd name="T117" fmla="*/ 2133 h 2383"/>
              <a:gd name="T118" fmla="*/ 4008 w 4811"/>
              <a:gd name="T119" fmla="*/ 1967 h 2383"/>
              <a:gd name="T120" fmla="*/ 3592 w 4811"/>
              <a:gd name="T121" fmla="*/ 1871 h 2383"/>
              <a:gd name="T122" fmla="*/ 2838 w 4811"/>
              <a:gd name="T123" fmla="*/ 2167 h 2383"/>
              <a:gd name="T124" fmla="*/ 2915 w 4811"/>
              <a:gd name="T125" fmla="*/ 2051 h 2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11" h="2383">
                <a:moveTo>
                  <a:pt x="3277" y="2328"/>
                </a:moveTo>
                <a:lnTo>
                  <a:pt x="3280" y="2327"/>
                </a:lnTo>
                <a:lnTo>
                  <a:pt x="3283" y="2326"/>
                </a:lnTo>
                <a:lnTo>
                  <a:pt x="3286" y="2326"/>
                </a:lnTo>
                <a:lnTo>
                  <a:pt x="3289" y="2327"/>
                </a:lnTo>
                <a:lnTo>
                  <a:pt x="3292" y="2328"/>
                </a:lnTo>
                <a:lnTo>
                  <a:pt x="3294" y="2330"/>
                </a:lnTo>
                <a:lnTo>
                  <a:pt x="3295" y="2331"/>
                </a:lnTo>
                <a:lnTo>
                  <a:pt x="3296" y="2332"/>
                </a:lnTo>
                <a:lnTo>
                  <a:pt x="3298" y="2334"/>
                </a:lnTo>
                <a:lnTo>
                  <a:pt x="3299" y="2340"/>
                </a:lnTo>
                <a:lnTo>
                  <a:pt x="3299" y="2343"/>
                </a:lnTo>
                <a:lnTo>
                  <a:pt x="3299" y="2345"/>
                </a:lnTo>
                <a:lnTo>
                  <a:pt x="3298" y="2348"/>
                </a:lnTo>
                <a:lnTo>
                  <a:pt x="3296" y="2350"/>
                </a:lnTo>
                <a:lnTo>
                  <a:pt x="3294" y="2352"/>
                </a:lnTo>
                <a:lnTo>
                  <a:pt x="3292" y="2354"/>
                </a:lnTo>
                <a:lnTo>
                  <a:pt x="3289" y="2355"/>
                </a:lnTo>
                <a:lnTo>
                  <a:pt x="3286" y="2356"/>
                </a:lnTo>
                <a:lnTo>
                  <a:pt x="3282" y="2356"/>
                </a:lnTo>
                <a:lnTo>
                  <a:pt x="3280" y="2355"/>
                </a:lnTo>
                <a:lnTo>
                  <a:pt x="3277" y="2354"/>
                </a:lnTo>
                <a:lnTo>
                  <a:pt x="3274" y="2352"/>
                </a:lnTo>
                <a:lnTo>
                  <a:pt x="3273" y="2351"/>
                </a:lnTo>
                <a:lnTo>
                  <a:pt x="3272" y="2350"/>
                </a:lnTo>
                <a:lnTo>
                  <a:pt x="3271" y="2347"/>
                </a:lnTo>
                <a:lnTo>
                  <a:pt x="3269" y="2342"/>
                </a:lnTo>
                <a:lnTo>
                  <a:pt x="3269" y="2339"/>
                </a:lnTo>
                <a:lnTo>
                  <a:pt x="3270" y="2336"/>
                </a:lnTo>
                <a:lnTo>
                  <a:pt x="3271" y="2334"/>
                </a:lnTo>
                <a:lnTo>
                  <a:pt x="3273" y="2332"/>
                </a:lnTo>
                <a:lnTo>
                  <a:pt x="3274" y="2329"/>
                </a:lnTo>
                <a:lnTo>
                  <a:pt x="3277" y="2328"/>
                </a:lnTo>
                <a:close/>
                <a:moveTo>
                  <a:pt x="3411" y="2276"/>
                </a:moveTo>
                <a:lnTo>
                  <a:pt x="3414" y="2274"/>
                </a:lnTo>
                <a:lnTo>
                  <a:pt x="3417" y="2274"/>
                </a:lnTo>
                <a:lnTo>
                  <a:pt x="3420" y="2274"/>
                </a:lnTo>
                <a:lnTo>
                  <a:pt x="3423" y="2274"/>
                </a:lnTo>
                <a:lnTo>
                  <a:pt x="3425" y="2275"/>
                </a:lnTo>
                <a:lnTo>
                  <a:pt x="3428" y="2277"/>
                </a:lnTo>
                <a:lnTo>
                  <a:pt x="3430" y="2279"/>
                </a:lnTo>
                <a:lnTo>
                  <a:pt x="3431" y="2281"/>
                </a:lnTo>
                <a:lnTo>
                  <a:pt x="3433" y="2284"/>
                </a:lnTo>
                <a:lnTo>
                  <a:pt x="3433" y="2289"/>
                </a:lnTo>
                <a:lnTo>
                  <a:pt x="3433" y="2292"/>
                </a:lnTo>
                <a:lnTo>
                  <a:pt x="3432" y="2294"/>
                </a:lnTo>
                <a:lnTo>
                  <a:pt x="3431" y="2296"/>
                </a:lnTo>
                <a:lnTo>
                  <a:pt x="3430" y="2298"/>
                </a:lnTo>
                <a:lnTo>
                  <a:pt x="3428" y="2300"/>
                </a:lnTo>
                <a:lnTo>
                  <a:pt x="3426" y="2302"/>
                </a:lnTo>
                <a:lnTo>
                  <a:pt x="3423" y="2303"/>
                </a:lnTo>
                <a:lnTo>
                  <a:pt x="3420" y="2304"/>
                </a:lnTo>
                <a:lnTo>
                  <a:pt x="3417" y="2304"/>
                </a:lnTo>
                <a:lnTo>
                  <a:pt x="3414" y="2303"/>
                </a:lnTo>
                <a:lnTo>
                  <a:pt x="3411" y="2302"/>
                </a:lnTo>
                <a:lnTo>
                  <a:pt x="3409" y="2300"/>
                </a:lnTo>
                <a:lnTo>
                  <a:pt x="3407" y="2298"/>
                </a:lnTo>
                <a:lnTo>
                  <a:pt x="3405" y="2296"/>
                </a:lnTo>
                <a:lnTo>
                  <a:pt x="3404" y="2293"/>
                </a:lnTo>
                <a:lnTo>
                  <a:pt x="3403" y="2288"/>
                </a:lnTo>
                <a:lnTo>
                  <a:pt x="3404" y="2285"/>
                </a:lnTo>
                <a:lnTo>
                  <a:pt x="3404" y="2283"/>
                </a:lnTo>
                <a:lnTo>
                  <a:pt x="3405" y="2281"/>
                </a:lnTo>
                <a:lnTo>
                  <a:pt x="3407" y="2279"/>
                </a:lnTo>
                <a:lnTo>
                  <a:pt x="3409" y="2277"/>
                </a:lnTo>
                <a:lnTo>
                  <a:pt x="3411" y="2276"/>
                </a:lnTo>
                <a:close/>
                <a:moveTo>
                  <a:pt x="3551" y="2243"/>
                </a:moveTo>
                <a:lnTo>
                  <a:pt x="3553" y="2242"/>
                </a:lnTo>
                <a:lnTo>
                  <a:pt x="3556" y="2241"/>
                </a:lnTo>
                <a:lnTo>
                  <a:pt x="3559" y="2241"/>
                </a:lnTo>
                <a:lnTo>
                  <a:pt x="3562" y="2241"/>
                </a:lnTo>
                <a:lnTo>
                  <a:pt x="3565" y="2242"/>
                </a:lnTo>
                <a:lnTo>
                  <a:pt x="3567" y="2244"/>
                </a:lnTo>
                <a:lnTo>
                  <a:pt x="3569" y="2246"/>
                </a:lnTo>
                <a:lnTo>
                  <a:pt x="3571" y="2248"/>
                </a:lnTo>
                <a:lnTo>
                  <a:pt x="3572" y="2251"/>
                </a:lnTo>
                <a:lnTo>
                  <a:pt x="3573" y="2254"/>
                </a:lnTo>
                <a:lnTo>
                  <a:pt x="3573" y="2258"/>
                </a:lnTo>
                <a:lnTo>
                  <a:pt x="3572" y="2263"/>
                </a:lnTo>
                <a:lnTo>
                  <a:pt x="3569" y="2266"/>
                </a:lnTo>
                <a:lnTo>
                  <a:pt x="3566" y="2269"/>
                </a:lnTo>
                <a:lnTo>
                  <a:pt x="3563" y="2270"/>
                </a:lnTo>
                <a:lnTo>
                  <a:pt x="3561" y="2271"/>
                </a:lnTo>
                <a:lnTo>
                  <a:pt x="3557" y="2271"/>
                </a:lnTo>
                <a:lnTo>
                  <a:pt x="3555" y="2271"/>
                </a:lnTo>
                <a:lnTo>
                  <a:pt x="3552" y="2270"/>
                </a:lnTo>
                <a:lnTo>
                  <a:pt x="3549" y="2268"/>
                </a:lnTo>
                <a:lnTo>
                  <a:pt x="3547" y="2266"/>
                </a:lnTo>
                <a:lnTo>
                  <a:pt x="3545" y="2264"/>
                </a:lnTo>
                <a:lnTo>
                  <a:pt x="3544" y="2261"/>
                </a:lnTo>
                <a:lnTo>
                  <a:pt x="3543" y="2258"/>
                </a:lnTo>
                <a:lnTo>
                  <a:pt x="3543" y="2254"/>
                </a:lnTo>
                <a:lnTo>
                  <a:pt x="3545" y="2249"/>
                </a:lnTo>
                <a:lnTo>
                  <a:pt x="3547" y="2246"/>
                </a:lnTo>
                <a:lnTo>
                  <a:pt x="3551" y="2243"/>
                </a:lnTo>
                <a:close/>
                <a:moveTo>
                  <a:pt x="3694" y="2230"/>
                </a:moveTo>
                <a:lnTo>
                  <a:pt x="3697" y="2229"/>
                </a:lnTo>
                <a:lnTo>
                  <a:pt x="3701" y="2228"/>
                </a:lnTo>
                <a:lnTo>
                  <a:pt x="3704" y="2229"/>
                </a:lnTo>
                <a:lnTo>
                  <a:pt x="3707" y="2229"/>
                </a:lnTo>
                <a:lnTo>
                  <a:pt x="3710" y="2231"/>
                </a:lnTo>
                <a:lnTo>
                  <a:pt x="3712" y="2233"/>
                </a:lnTo>
                <a:lnTo>
                  <a:pt x="3714" y="2235"/>
                </a:lnTo>
                <a:lnTo>
                  <a:pt x="3715" y="2237"/>
                </a:lnTo>
                <a:lnTo>
                  <a:pt x="3716" y="2240"/>
                </a:lnTo>
                <a:lnTo>
                  <a:pt x="3716" y="2243"/>
                </a:lnTo>
                <a:lnTo>
                  <a:pt x="3716" y="2247"/>
                </a:lnTo>
                <a:lnTo>
                  <a:pt x="3714" y="2251"/>
                </a:lnTo>
                <a:lnTo>
                  <a:pt x="3712" y="2254"/>
                </a:lnTo>
                <a:lnTo>
                  <a:pt x="3709" y="2256"/>
                </a:lnTo>
                <a:lnTo>
                  <a:pt x="3705" y="2258"/>
                </a:lnTo>
                <a:lnTo>
                  <a:pt x="3702" y="2258"/>
                </a:lnTo>
                <a:lnTo>
                  <a:pt x="3699" y="2258"/>
                </a:lnTo>
                <a:lnTo>
                  <a:pt x="3696" y="2257"/>
                </a:lnTo>
                <a:lnTo>
                  <a:pt x="3693" y="2256"/>
                </a:lnTo>
                <a:lnTo>
                  <a:pt x="3691" y="2254"/>
                </a:lnTo>
                <a:lnTo>
                  <a:pt x="3689" y="2252"/>
                </a:lnTo>
                <a:lnTo>
                  <a:pt x="3688" y="2250"/>
                </a:lnTo>
                <a:lnTo>
                  <a:pt x="3687" y="2247"/>
                </a:lnTo>
                <a:lnTo>
                  <a:pt x="3686" y="2244"/>
                </a:lnTo>
                <a:lnTo>
                  <a:pt x="3687" y="2240"/>
                </a:lnTo>
                <a:lnTo>
                  <a:pt x="3688" y="2236"/>
                </a:lnTo>
                <a:lnTo>
                  <a:pt x="3691" y="2233"/>
                </a:lnTo>
                <a:lnTo>
                  <a:pt x="3694" y="2230"/>
                </a:lnTo>
                <a:close/>
                <a:moveTo>
                  <a:pt x="3838" y="2236"/>
                </a:moveTo>
                <a:lnTo>
                  <a:pt x="3842" y="2235"/>
                </a:lnTo>
                <a:lnTo>
                  <a:pt x="3844" y="2234"/>
                </a:lnTo>
                <a:lnTo>
                  <a:pt x="3847" y="2234"/>
                </a:lnTo>
                <a:lnTo>
                  <a:pt x="3850" y="2235"/>
                </a:lnTo>
                <a:lnTo>
                  <a:pt x="3852" y="2236"/>
                </a:lnTo>
                <a:lnTo>
                  <a:pt x="3855" y="2238"/>
                </a:lnTo>
                <a:lnTo>
                  <a:pt x="3857" y="2240"/>
                </a:lnTo>
                <a:lnTo>
                  <a:pt x="3858" y="2241"/>
                </a:lnTo>
                <a:lnTo>
                  <a:pt x="3858" y="2242"/>
                </a:lnTo>
                <a:lnTo>
                  <a:pt x="3859" y="2245"/>
                </a:lnTo>
                <a:lnTo>
                  <a:pt x="3860" y="2248"/>
                </a:lnTo>
                <a:lnTo>
                  <a:pt x="3860" y="2251"/>
                </a:lnTo>
                <a:lnTo>
                  <a:pt x="3859" y="2254"/>
                </a:lnTo>
                <a:lnTo>
                  <a:pt x="3858" y="2258"/>
                </a:lnTo>
                <a:lnTo>
                  <a:pt x="3855" y="2260"/>
                </a:lnTo>
                <a:lnTo>
                  <a:pt x="3853" y="2262"/>
                </a:lnTo>
                <a:lnTo>
                  <a:pt x="3848" y="2264"/>
                </a:lnTo>
                <a:lnTo>
                  <a:pt x="3846" y="2264"/>
                </a:lnTo>
                <a:lnTo>
                  <a:pt x="3844" y="2264"/>
                </a:lnTo>
                <a:lnTo>
                  <a:pt x="3841" y="2264"/>
                </a:lnTo>
                <a:lnTo>
                  <a:pt x="3838" y="2263"/>
                </a:lnTo>
                <a:lnTo>
                  <a:pt x="3835" y="2261"/>
                </a:lnTo>
                <a:lnTo>
                  <a:pt x="3833" y="2259"/>
                </a:lnTo>
                <a:lnTo>
                  <a:pt x="3833" y="2258"/>
                </a:lnTo>
                <a:lnTo>
                  <a:pt x="3832" y="2256"/>
                </a:lnTo>
                <a:lnTo>
                  <a:pt x="3831" y="2254"/>
                </a:lnTo>
                <a:lnTo>
                  <a:pt x="3830" y="2251"/>
                </a:lnTo>
                <a:lnTo>
                  <a:pt x="3830" y="2248"/>
                </a:lnTo>
                <a:lnTo>
                  <a:pt x="3831" y="2244"/>
                </a:lnTo>
                <a:lnTo>
                  <a:pt x="3832" y="2241"/>
                </a:lnTo>
                <a:lnTo>
                  <a:pt x="3835" y="2238"/>
                </a:lnTo>
                <a:lnTo>
                  <a:pt x="3838" y="2236"/>
                </a:lnTo>
                <a:close/>
                <a:moveTo>
                  <a:pt x="3980" y="2258"/>
                </a:moveTo>
                <a:lnTo>
                  <a:pt x="3982" y="2257"/>
                </a:lnTo>
                <a:lnTo>
                  <a:pt x="3985" y="2256"/>
                </a:lnTo>
                <a:lnTo>
                  <a:pt x="3990" y="2256"/>
                </a:lnTo>
                <a:lnTo>
                  <a:pt x="3993" y="2257"/>
                </a:lnTo>
                <a:lnTo>
                  <a:pt x="3996" y="2258"/>
                </a:lnTo>
                <a:lnTo>
                  <a:pt x="3998" y="2260"/>
                </a:lnTo>
                <a:lnTo>
                  <a:pt x="4000" y="2263"/>
                </a:lnTo>
                <a:lnTo>
                  <a:pt x="4001" y="2265"/>
                </a:lnTo>
                <a:lnTo>
                  <a:pt x="4002" y="2268"/>
                </a:lnTo>
                <a:lnTo>
                  <a:pt x="4002" y="2271"/>
                </a:lnTo>
                <a:lnTo>
                  <a:pt x="4002" y="2274"/>
                </a:lnTo>
                <a:lnTo>
                  <a:pt x="4001" y="2277"/>
                </a:lnTo>
                <a:lnTo>
                  <a:pt x="3999" y="2280"/>
                </a:lnTo>
                <a:lnTo>
                  <a:pt x="3997" y="2282"/>
                </a:lnTo>
                <a:lnTo>
                  <a:pt x="3995" y="2284"/>
                </a:lnTo>
                <a:lnTo>
                  <a:pt x="3992" y="2285"/>
                </a:lnTo>
                <a:lnTo>
                  <a:pt x="3990" y="2286"/>
                </a:lnTo>
                <a:lnTo>
                  <a:pt x="3984" y="2286"/>
                </a:lnTo>
                <a:lnTo>
                  <a:pt x="3981" y="2285"/>
                </a:lnTo>
                <a:lnTo>
                  <a:pt x="3979" y="2283"/>
                </a:lnTo>
                <a:lnTo>
                  <a:pt x="3977" y="2281"/>
                </a:lnTo>
                <a:lnTo>
                  <a:pt x="3975" y="2279"/>
                </a:lnTo>
                <a:lnTo>
                  <a:pt x="3973" y="2277"/>
                </a:lnTo>
                <a:lnTo>
                  <a:pt x="3972" y="2274"/>
                </a:lnTo>
                <a:lnTo>
                  <a:pt x="3972" y="2271"/>
                </a:lnTo>
                <a:lnTo>
                  <a:pt x="3972" y="2268"/>
                </a:lnTo>
                <a:lnTo>
                  <a:pt x="3973" y="2265"/>
                </a:lnTo>
                <a:lnTo>
                  <a:pt x="3975" y="2262"/>
                </a:lnTo>
                <a:lnTo>
                  <a:pt x="3977" y="2260"/>
                </a:lnTo>
                <a:lnTo>
                  <a:pt x="3980" y="2258"/>
                </a:lnTo>
                <a:close/>
                <a:moveTo>
                  <a:pt x="4121" y="2292"/>
                </a:moveTo>
                <a:lnTo>
                  <a:pt x="4123" y="2291"/>
                </a:lnTo>
                <a:lnTo>
                  <a:pt x="4126" y="2290"/>
                </a:lnTo>
                <a:lnTo>
                  <a:pt x="4129" y="2290"/>
                </a:lnTo>
                <a:lnTo>
                  <a:pt x="4132" y="2290"/>
                </a:lnTo>
                <a:lnTo>
                  <a:pt x="4135" y="2292"/>
                </a:lnTo>
                <a:lnTo>
                  <a:pt x="4137" y="2293"/>
                </a:lnTo>
                <a:lnTo>
                  <a:pt x="4140" y="2295"/>
                </a:lnTo>
                <a:lnTo>
                  <a:pt x="4141" y="2298"/>
                </a:lnTo>
                <a:lnTo>
                  <a:pt x="4142" y="2300"/>
                </a:lnTo>
                <a:lnTo>
                  <a:pt x="4143" y="2303"/>
                </a:lnTo>
                <a:lnTo>
                  <a:pt x="4143" y="2306"/>
                </a:lnTo>
                <a:lnTo>
                  <a:pt x="4143" y="2309"/>
                </a:lnTo>
                <a:lnTo>
                  <a:pt x="4141" y="2312"/>
                </a:lnTo>
                <a:lnTo>
                  <a:pt x="4140" y="2314"/>
                </a:lnTo>
                <a:lnTo>
                  <a:pt x="4138" y="2316"/>
                </a:lnTo>
                <a:lnTo>
                  <a:pt x="4136" y="2318"/>
                </a:lnTo>
                <a:lnTo>
                  <a:pt x="4133" y="2319"/>
                </a:lnTo>
                <a:lnTo>
                  <a:pt x="4130" y="2320"/>
                </a:lnTo>
                <a:lnTo>
                  <a:pt x="4127" y="2320"/>
                </a:lnTo>
                <a:lnTo>
                  <a:pt x="4124" y="2319"/>
                </a:lnTo>
                <a:lnTo>
                  <a:pt x="4121" y="2318"/>
                </a:lnTo>
                <a:lnTo>
                  <a:pt x="4119" y="2317"/>
                </a:lnTo>
                <a:lnTo>
                  <a:pt x="4117" y="2315"/>
                </a:lnTo>
                <a:lnTo>
                  <a:pt x="4115" y="2312"/>
                </a:lnTo>
                <a:lnTo>
                  <a:pt x="4114" y="2310"/>
                </a:lnTo>
                <a:lnTo>
                  <a:pt x="4113" y="2307"/>
                </a:lnTo>
                <a:lnTo>
                  <a:pt x="4113" y="2304"/>
                </a:lnTo>
                <a:lnTo>
                  <a:pt x="4114" y="2301"/>
                </a:lnTo>
                <a:lnTo>
                  <a:pt x="4115" y="2298"/>
                </a:lnTo>
                <a:lnTo>
                  <a:pt x="4116" y="2296"/>
                </a:lnTo>
                <a:lnTo>
                  <a:pt x="4118" y="2294"/>
                </a:lnTo>
                <a:lnTo>
                  <a:pt x="4121" y="2292"/>
                </a:lnTo>
                <a:close/>
                <a:moveTo>
                  <a:pt x="4258" y="2336"/>
                </a:moveTo>
                <a:lnTo>
                  <a:pt x="4261" y="2334"/>
                </a:lnTo>
                <a:lnTo>
                  <a:pt x="4264" y="2334"/>
                </a:lnTo>
                <a:lnTo>
                  <a:pt x="4267" y="2334"/>
                </a:lnTo>
                <a:lnTo>
                  <a:pt x="4270" y="2334"/>
                </a:lnTo>
                <a:lnTo>
                  <a:pt x="4273" y="2336"/>
                </a:lnTo>
                <a:lnTo>
                  <a:pt x="4275" y="2338"/>
                </a:lnTo>
                <a:lnTo>
                  <a:pt x="4277" y="2340"/>
                </a:lnTo>
                <a:lnTo>
                  <a:pt x="4279" y="2342"/>
                </a:lnTo>
                <a:lnTo>
                  <a:pt x="4280" y="2348"/>
                </a:lnTo>
                <a:lnTo>
                  <a:pt x="4279" y="2354"/>
                </a:lnTo>
                <a:lnTo>
                  <a:pt x="4278" y="2356"/>
                </a:lnTo>
                <a:lnTo>
                  <a:pt x="4277" y="2358"/>
                </a:lnTo>
                <a:lnTo>
                  <a:pt x="4275" y="2360"/>
                </a:lnTo>
                <a:lnTo>
                  <a:pt x="4273" y="2362"/>
                </a:lnTo>
                <a:lnTo>
                  <a:pt x="4270" y="2363"/>
                </a:lnTo>
                <a:lnTo>
                  <a:pt x="4267" y="2364"/>
                </a:lnTo>
                <a:lnTo>
                  <a:pt x="4263" y="2364"/>
                </a:lnTo>
                <a:lnTo>
                  <a:pt x="4260" y="2363"/>
                </a:lnTo>
                <a:lnTo>
                  <a:pt x="4257" y="2362"/>
                </a:lnTo>
                <a:lnTo>
                  <a:pt x="4255" y="2360"/>
                </a:lnTo>
                <a:lnTo>
                  <a:pt x="4253" y="2358"/>
                </a:lnTo>
                <a:lnTo>
                  <a:pt x="4252" y="2355"/>
                </a:lnTo>
                <a:lnTo>
                  <a:pt x="4250" y="2350"/>
                </a:lnTo>
                <a:lnTo>
                  <a:pt x="4251" y="2344"/>
                </a:lnTo>
                <a:lnTo>
                  <a:pt x="4252" y="2341"/>
                </a:lnTo>
                <a:lnTo>
                  <a:pt x="4254" y="2339"/>
                </a:lnTo>
                <a:lnTo>
                  <a:pt x="4255" y="2337"/>
                </a:lnTo>
                <a:lnTo>
                  <a:pt x="4258" y="2336"/>
                </a:lnTo>
                <a:close/>
                <a:moveTo>
                  <a:pt x="4787" y="946"/>
                </a:moveTo>
                <a:lnTo>
                  <a:pt x="4790" y="945"/>
                </a:lnTo>
                <a:lnTo>
                  <a:pt x="4792" y="944"/>
                </a:lnTo>
                <a:lnTo>
                  <a:pt x="4795" y="944"/>
                </a:lnTo>
                <a:lnTo>
                  <a:pt x="4798" y="944"/>
                </a:lnTo>
                <a:lnTo>
                  <a:pt x="4801" y="945"/>
                </a:lnTo>
                <a:lnTo>
                  <a:pt x="4804" y="946"/>
                </a:lnTo>
                <a:lnTo>
                  <a:pt x="4806" y="948"/>
                </a:lnTo>
                <a:lnTo>
                  <a:pt x="4808" y="950"/>
                </a:lnTo>
                <a:lnTo>
                  <a:pt x="4810" y="953"/>
                </a:lnTo>
                <a:lnTo>
                  <a:pt x="4811" y="956"/>
                </a:lnTo>
                <a:lnTo>
                  <a:pt x="4811" y="959"/>
                </a:lnTo>
                <a:lnTo>
                  <a:pt x="4811" y="962"/>
                </a:lnTo>
                <a:lnTo>
                  <a:pt x="4810" y="966"/>
                </a:lnTo>
                <a:lnTo>
                  <a:pt x="4808" y="969"/>
                </a:lnTo>
                <a:lnTo>
                  <a:pt x="4806" y="972"/>
                </a:lnTo>
                <a:lnTo>
                  <a:pt x="4803" y="974"/>
                </a:lnTo>
                <a:lnTo>
                  <a:pt x="4801" y="975"/>
                </a:lnTo>
                <a:lnTo>
                  <a:pt x="4798" y="976"/>
                </a:lnTo>
                <a:lnTo>
                  <a:pt x="4796" y="976"/>
                </a:lnTo>
                <a:lnTo>
                  <a:pt x="4793" y="976"/>
                </a:lnTo>
                <a:lnTo>
                  <a:pt x="4790" y="975"/>
                </a:lnTo>
                <a:lnTo>
                  <a:pt x="4787" y="974"/>
                </a:lnTo>
                <a:lnTo>
                  <a:pt x="4785" y="972"/>
                </a:lnTo>
                <a:lnTo>
                  <a:pt x="4782" y="969"/>
                </a:lnTo>
                <a:lnTo>
                  <a:pt x="4781" y="967"/>
                </a:lnTo>
                <a:lnTo>
                  <a:pt x="4780" y="964"/>
                </a:lnTo>
                <a:lnTo>
                  <a:pt x="4779" y="961"/>
                </a:lnTo>
                <a:lnTo>
                  <a:pt x="4780" y="958"/>
                </a:lnTo>
                <a:lnTo>
                  <a:pt x="4780" y="954"/>
                </a:lnTo>
                <a:lnTo>
                  <a:pt x="4782" y="951"/>
                </a:lnTo>
                <a:lnTo>
                  <a:pt x="4785" y="948"/>
                </a:lnTo>
                <a:lnTo>
                  <a:pt x="4787" y="946"/>
                </a:lnTo>
                <a:close/>
                <a:moveTo>
                  <a:pt x="4645" y="923"/>
                </a:moveTo>
                <a:lnTo>
                  <a:pt x="4648" y="922"/>
                </a:lnTo>
                <a:lnTo>
                  <a:pt x="4650" y="921"/>
                </a:lnTo>
                <a:lnTo>
                  <a:pt x="4656" y="921"/>
                </a:lnTo>
                <a:lnTo>
                  <a:pt x="4659" y="922"/>
                </a:lnTo>
                <a:lnTo>
                  <a:pt x="4660" y="923"/>
                </a:lnTo>
                <a:lnTo>
                  <a:pt x="4662" y="923"/>
                </a:lnTo>
                <a:lnTo>
                  <a:pt x="4664" y="925"/>
                </a:lnTo>
                <a:lnTo>
                  <a:pt x="4666" y="928"/>
                </a:lnTo>
                <a:lnTo>
                  <a:pt x="4668" y="930"/>
                </a:lnTo>
                <a:lnTo>
                  <a:pt x="4669" y="933"/>
                </a:lnTo>
                <a:lnTo>
                  <a:pt x="4669" y="936"/>
                </a:lnTo>
                <a:lnTo>
                  <a:pt x="4669" y="940"/>
                </a:lnTo>
                <a:lnTo>
                  <a:pt x="4668" y="943"/>
                </a:lnTo>
                <a:lnTo>
                  <a:pt x="4666" y="946"/>
                </a:lnTo>
                <a:lnTo>
                  <a:pt x="4664" y="949"/>
                </a:lnTo>
                <a:lnTo>
                  <a:pt x="4661" y="951"/>
                </a:lnTo>
                <a:lnTo>
                  <a:pt x="4659" y="952"/>
                </a:lnTo>
                <a:lnTo>
                  <a:pt x="4656" y="953"/>
                </a:lnTo>
                <a:lnTo>
                  <a:pt x="4650" y="953"/>
                </a:lnTo>
                <a:lnTo>
                  <a:pt x="4647" y="952"/>
                </a:lnTo>
                <a:lnTo>
                  <a:pt x="4646" y="951"/>
                </a:lnTo>
                <a:lnTo>
                  <a:pt x="4644" y="950"/>
                </a:lnTo>
                <a:lnTo>
                  <a:pt x="4642" y="948"/>
                </a:lnTo>
                <a:lnTo>
                  <a:pt x="4640" y="946"/>
                </a:lnTo>
                <a:lnTo>
                  <a:pt x="4638" y="943"/>
                </a:lnTo>
                <a:lnTo>
                  <a:pt x="4637" y="940"/>
                </a:lnTo>
                <a:lnTo>
                  <a:pt x="4637" y="937"/>
                </a:lnTo>
                <a:lnTo>
                  <a:pt x="4637" y="934"/>
                </a:lnTo>
                <a:lnTo>
                  <a:pt x="4638" y="931"/>
                </a:lnTo>
                <a:lnTo>
                  <a:pt x="4640" y="928"/>
                </a:lnTo>
                <a:lnTo>
                  <a:pt x="4642" y="925"/>
                </a:lnTo>
                <a:lnTo>
                  <a:pt x="4645" y="923"/>
                </a:lnTo>
                <a:close/>
                <a:moveTo>
                  <a:pt x="4503" y="896"/>
                </a:moveTo>
                <a:lnTo>
                  <a:pt x="4506" y="895"/>
                </a:lnTo>
                <a:lnTo>
                  <a:pt x="4509" y="894"/>
                </a:lnTo>
                <a:lnTo>
                  <a:pt x="4515" y="894"/>
                </a:lnTo>
                <a:lnTo>
                  <a:pt x="4518" y="895"/>
                </a:lnTo>
                <a:lnTo>
                  <a:pt x="4521" y="897"/>
                </a:lnTo>
                <a:lnTo>
                  <a:pt x="4523" y="899"/>
                </a:lnTo>
                <a:lnTo>
                  <a:pt x="4525" y="901"/>
                </a:lnTo>
                <a:lnTo>
                  <a:pt x="4526" y="904"/>
                </a:lnTo>
                <a:lnTo>
                  <a:pt x="4527" y="907"/>
                </a:lnTo>
                <a:lnTo>
                  <a:pt x="4527" y="910"/>
                </a:lnTo>
                <a:lnTo>
                  <a:pt x="4527" y="913"/>
                </a:lnTo>
                <a:lnTo>
                  <a:pt x="4526" y="916"/>
                </a:lnTo>
                <a:lnTo>
                  <a:pt x="4524" y="919"/>
                </a:lnTo>
                <a:lnTo>
                  <a:pt x="4522" y="922"/>
                </a:lnTo>
                <a:lnTo>
                  <a:pt x="4519" y="924"/>
                </a:lnTo>
                <a:lnTo>
                  <a:pt x="4517" y="925"/>
                </a:lnTo>
                <a:lnTo>
                  <a:pt x="4514" y="926"/>
                </a:lnTo>
                <a:lnTo>
                  <a:pt x="4508" y="926"/>
                </a:lnTo>
                <a:lnTo>
                  <a:pt x="4505" y="925"/>
                </a:lnTo>
                <a:lnTo>
                  <a:pt x="4502" y="923"/>
                </a:lnTo>
                <a:lnTo>
                  <a:pt x="4500" y="921"/>
                </a:lnTo>
                <a:lnTo>
                  <a:pt x="4498" y="919"/>
                </a:lnTo>
                <a:lnTo>
                  <a:pt x="4497" y="916"/>
                </a:lnTo>
                <a:lnTo>
                  <a:pt x="4496" y="913"/>
                </a:lnTo>
                <a:lnTo>
                  <a:pt x="4495" y="910"/>
                </a:lnTo>
                <a:lnTo>
                  <a:pt x="4496" y="907"/>
                </a:lnTo>
                <a:lnTo>
                  <a:pt x="4497" y="903"/>
                </a:lnTo>
                <a:lnTo>
                  <a:pt x="4499" y="900"/>
                </a:lnTo>
                <a:lnTo>
                  <a:pt x="4501" y="898"/>
                </a:lnTo>
                <a:lnTo>
                  <a:pt x="4503" y="896"/>
                </a:lnTo>
                <a:close/>
                <a:moveTo>
                  <a:pt x="4363" y="865"/>
                </a:moveTo>
                <a:lnTo>
                  <a:pt x="4365" y="864"/>
                </a:lnTo>
                <a:lnTo>
                  <a:pt x="4368" y="863"/>
                </a:lnTo>
                <a:lnTo>
                  <a:pt x="4371" y="863"/>
                </a:lnTo>
                <a:lnTo>
                  <a:pt x="4374" y="863"/>
                </a:lnTo>
                <a:lnTo>
                  <a:pt x="4377" y="864"/>
                </a:lnTo>
                <a:lnTo>
                  <a:pt x="4380" y="866"/>
                </a:lnTo>
                <a:lnTo>
                  <a:pt x="4382" y="868"/>
                </a:lnTo>
                <a:lnTo>
                  <a:pt x="4384" y="870"/>
                </a:lnTo>
                <a:lnTo>
                  <a:pt x="4386" y="873"/>
                </a:lnTo>
                <a:lnTo>
                  <a:pt x="4386" y="876"/>
                </a:lnTo>
                <a:lnTo>
                  <a:pt x="4387" y="879"/>
                </a:lnTo>
                <a:lnTo>
                  <a:pt x="4386" y="882"/>
                </a:lnTo>
                <a:lnTo>
                  <a:pt x="4385" y="886"/>
                </a:lnTo>
                <a:lnTo>
                  <a:pt x="4383" y="888"/>
                </a:lnTo>
                <a:lnTo>
                  <a:pt x="4381" y="891"/>
                </a:lnTo>
                <a:lnTo>
                  <a:pt x="4379" y="893"/>
                </a:lnTo>
                <a:lnTo>
                  <a:pt x="4376" y="894"/>
                </a:lnTo>
                <a:lnTo>
                  <a:pt x="4373" y="895"/>
                </a:lnTo>
                <a:lnTo>
                  <a:pt x="4370" y="895"/>
                </a:lnTo>
                <a:lnTo>
                  <a:pt x="4367" y="894"/>
                </a:lnTo>
                <a:lnTo>
                  <a:pt x="4364" y="893"/>
                </a:lnTo>
                <a:lnTo>
                  <a:pt x="4361" y="892"/>
                </a:lnTo>
                <a:lnTo>
                  <a:pt x="4359" y="890"/>
                </a:lnTo>
                <a:lnTo>
                  <a:pt x="4357" y="887"/>
                </a:lnTo>
                <a:lnTo>
                  <a:pt x="4356" y="884"/>
                </a:lnTo>
                <a:lnTo>
                  <a:pt x="4355" y="881"/>
                </a:lnTo>
                <a:lnTo>
                  <a:pt x="4355" y="878"/>
                </a:lnTo>
                <a:lnTo>
                  <a:pt x="4355" y="875"/>
                </a:lnTo>
                <a:lnTo>
                  <a:pt x="4356" y="872"/>
                </a:lnTo>
                <a:lnTo>
                  <a:pt x="4358" y="869"/>
                </a:lnTo>
                <a:lnTo>
                  <a:pt x="4360" y="867"/>
                </a:lnTo>
                <a:lnTo>
                  <a:pt x="4363" y="865"/>
                </a:lnTo>
                <a:close/>
                <a:moveTo>
                  <a:pt x="4223" y="829"/>
                </a:moveTo>
                <a:lnTo>
                  <a:pt x="4226" y="828"/>
                </a:lnTo>
                <a:lnTo>
                  <a:pt x="4229" y="827"/>
                </a:lnTo>
                <a:lnTo>
                  <a:pt x="4232" y="827"/>
                </a:lnTo>
                <a:lnTo>
                  <a:pt x="4235" y="828"/>
                </a:lnTo>
                <a:lnTo>
                  <a:pt x="4238" y="829"/>
                </a:lnTo>
                <a:lnTo>
                  <a:pt x="4241" y="831"/>
                </a:lnTo>
                <a:lnTo>
                  <a:pt x="4243" y="833"/>
                </a:lnTo>
                <a:lnTo>
                  <a:pt x="4245" y="835"/>
                </a:lnTo>
                <a:lnTo>
                  <a:pt x="4246" y="838"/>
                </a:lnTo>
                <a:lnTo>
                  <a:pt x="4247" y="841"/>
                </a:lnTo>
                <a:lnTo>
                  <a:pt x="4247" y="844"/>
                </a:lnTo>
                <a:lnTo>
                  <a:pt x="4246" y="847"/>
                </a:lnTo>
                <a:lnTo>
                  <a:pt x="4245" y="850"/>
                </a:lnTo>
                <a:lnTo>
                  <a:pt x="4244" y="853"/>
                </a:lnTo>
                <a:lnTo>
                  <a:pt x="4241" y="855"/>
                </a:lnTo>
                <a:lnTo>
                  <a:pt x="4239" y="857"/>
                </a:lnTo>
                <a:lnTo>
                  <a:pt x="4236" y="858"/>
                </a:lnTo>
                <a:lnTo>
                  <a:pt x="4233" y="859"/>
                </a:lnTo>
                <a:lnTo>
                  <a:pt x="4230" y="859"/>
                </a:lnTo>
                <a:lnTo>
                  <a:pt x="4227" y="859"/>
                </a:lnTo>
                <a:lnTo>
                  <a:pt x="4224" y="857"/>
                </a:lnTo>
                <a:lnTo>
                  <a:pt x="4221" y="856"/>
                </a:lnTo>
                <a:lnTo>
                  <a:pt x="4219" y="854"/>
                </a:lnTo>
                <a:lnTo>
                  <a:pt x="4217" y="851"/>
                </a:lnTo>
                <a:lnTo>
                  <a:pt x="4216" y="848"/>
                </a:lnTo>
                <a:lnTo>
                  <a:pt x="4215" y="845"/>
                </a:lnTo>
                <a:lnTo>
                  <a:pt x="4215" y="842"/>
                </a:lnTo>
                <a:lnTo>
                  <a:pt x="4216" y="839"/>
                </a:lnTo>
                <a:lnTo>
                  <a:pt x="4217" y="836"/>
                </a:lnTo>
                <a:lnTo>
                  <a:pt x="4218" y="833"/>
                </a:lnTo>
                <a:lnTo>
                  <a:pt x="4221" y="831"/>
                </a:lnTo>
                <a:lnTo>
                  <a:pt x="4223" y="829"/>
                </a:lnTo>
                <a:close/>
                <a:moveTo>
                  <a:pt x="4085" y="788"/>
                </a:moveTo>
                <a:lnTo>
                  <a:pt x="4088" y="787"/>
                </a:lnTo>
                <a:lnTo>
                  <a:pt x="4091" y="786"/>
                </a:lnTo>
                <a:lnTo>
                  <a:pt x="4094" y="786"/>
                </a:lnTo>
                <a:lnTo>
                  <a:pt x="4098" y="787"/>
                </a:lnTo>
                <a:lnTo>
                  <a:pt x="4101" y="788"/>
                </a:lnTo>
                <a:lnTo>
                  <a:pt x="4103" y="790"/>
                </a:lnTo>
                <a:lnTo>
                  <a:pt x="4105" y="792"/>
                </a:lnTo>
                <a:lnTo>
                  <a:pt x="4107" y="795"/>
                </a:lnTo>
                <a:lnTo>
                  <a:pt x="4108" y="798"/>
                </a:lnTo>
                <a:lnTo>
                  <a:pt x="4109" y="801"/>
                </a:lnTo>
                <a:lnTo>
                  <a:pt x="4109" y="804"/>
                </a:lnTo>
                <a:lnTo>
                  <a:pt x="4108" y="807"/>
                </a:lnTo>
                <a:lnTo>
                  <a:pt x="4107" y="810"/>
                </a:lnTo>
                <a:lnTo>
                  <a:pt x="4105" y="812"/>
                </a:lnTo>
                <a:lnTo>
                  <a:pt x="4103" y="814"/>
                </a:lnTo>
                <a:lnTo>
                  <a:pt x="4101" y="816"/>
                </a:lnTo>
                <a:lnTo>
                  <a:pt x="4098" y="817"/>
                </a:lnTo>
                <a:lnTo>
                  <a:pt x="4095" y="818"/>
                </a:lnTo>
                <a:lnTo>
                  <a:pt x="4091" y="818"/>
                </a:lnTo>
                <a:lnTo>
                  <a:pt x="4088" y="817"/>
                </a:lnTo>
                <a:lnTo>
                  <a:pt x="4085" y="816"/>
                </a:lnTo>
                <a:lnTo>
                  <a:pt x="4082" y="814"/>
                </a:lnTo>
                <a:lnTo>
                  <a:pt x="4080" y="812"/>
                </a:lnTo>
                <a:lnTo>
                  <a:pt x="4079" y="809"/>
                </a:lnTo>
                <a:lnTo>
                  <a:pt x="4077" y="807"/>
                </a:lnTo>
                <a:lnTo>
                  <a:pt x="4077" y="804"/>
                </a:lnTo>
                <a:lnTo>
                  <a:pt x="4077" y="800"/>
                </a:lnTo>
                <a:lnTo>
                  <a:pt x="4078" y="797"/>
                </a:lnTo>
                <a:lnTo>
                  <a:pt x="4079" y="794"/>
                </a:lnTo>
                <a:lnTo>
                  <a:pt x="4080" y="792"/>
                </a:lnTo>
                <a:lnTo>
                  <a:pt x="4082" y="790"/>
                </a:lnTo>
                <a:lnTo>
                  <a:pt x="4085" y="788"/>
                </a:lnTo>
                <a:close/>
                <a:moveTo>
                  <a:pt x="3948" y="741"/>
                </a:moveTo>
                <a:lnTo>
                  <a:pt x="3951" y="739"/>
                </a:lnTo>
                <a:lnTo>
                  <a:pt x="3954" y="739"/>
                </a:lnTo>
                <a:lnTo>
                  <a:pt x="3958" y="739"/>
                </a:lnTo>
                <a:lnTo>
                  <a:pt x="3961" y="740"/>
                </a:lnTo>
                <a:lnTo>
                  <a:pt x="3964" y="741"/>
                </a:lnTo>
                <a:lnTo>
                  <a:pt x="3967" y="743"/>
                </a:lnTo>
                <a:lnTo>
                  <a:pt x="3969" y="745"/>
                </a:lnTo>
                <a:lnTo>
                  <a:pt x="3970" y="748"/>
                </a:lnTo>
                <a:lnTo>
                  <a:pt x="3971" y="751"/>
                </a:lnTo>
                <a:lnTo>
                  <a:pt x="3972" y="754"/>
                </a:lnTo>
                <a:lnTo>
                  <a:pt x="3971" y="757"/>
                </a:lnTo>
                <a:lnTo>
                  <a:pt x="3971" y="760"/>
                </a:lnTo>
                <a:lnTo>
                  <a:pt x="3968" y="765"/>
                </a:lnTo>
                <a:lnTo>
                  <a:pt x="3964" y="769"/>
                </a:lnTo>
                <a:lnTo>
                  <a:pt x="3960" y="770"/>
                </a:lnTo>
                <a:lnTo>
                  <a:pt x="3957" y="771"/>
                </a:lnTo>
                <a:lnTo>
                  <a:pt x="3954" y="771"/>
                </a:lnTo>
                <a:lnTo>
                  <a:pt x="3950" y="770"/>
                </a:lnTo>
                <a:lnTo>
                  <a:pt x="3947" y="768"/>
                </a:lnTo>
                <a:lnTo>
                  <a:pt x="3945" y="766"/>
                </a:lnTo>
                <a:lnTo>
                  <a:pt x="3943" y="764"/>
                </a:lnTo>
                <a:lnTo>
                  <a:pt x="3941" y="761"/>
                </a:lnTo>
                <a:lnTo>
                  <a:pt x="3940" y="758"/>
                </a:lnTo>
                <a:lnTo>
                  <a:pt x="3940" y="755"/>
                </a:lnTo>
                <a:lnTo>
                  <a:pt x="3940" y="752"/>
                </a:lnTo>
                <a:lnTo>
                  <a:pt x="3941" y="749"/>
                </a:lnTo>
                <a:lnTo>
                  <a:pt x="3944" y="744"/>
                </a:lnTo>
                <a:lnTo>
                  <a:pt x="3948" y="741"/>
                </a:lnTo>
                <a:close/>
                <a:moveTo>
                  <a:pt x="3815" y="685"/>
                </a:moveTo>
                <a:lnTo>
                  <a:pt x="3816" y="684"/>
                </a:lnTo>
                <a:lnTo>
                  <a:pt x="3818" y="684"/>
                </a:lnTo>
                <a:lnTo>
                  <a:pt x="3822" y="683"/>
                </a:lnTo>
                <a:lnTo>
                  <a:pt x="3826" y="683"/>
                </a:lnTo>
                <a:lnTo>
                  <a:pt x="3829" y="685"/>
                </a:lnTo>
                <a:lnTo>
                  <a:pt x="3832" y="686"/>
                </a:lnTo>
                <a:lnTo>
                  <a:pt x="3834" y="688"/>
                </a:lnTo>
                <a:lnTo>
                  <a:pt x="3836" y="691"/>
                </a:lnTo>
                <a:lnTo>
                  <a:pt x="3838" y="694"/>
                </a:lnTo>
                <a:lnTo>
                  <a:pt x="3838" y="697"/>
                </a:lnTo>
                <a:lnTo>
                  <a:pt x="3839" y="700"/>
                </a:lnTo>
                <a:lnTo>
                  <a:pt x="3838" y="703"/>
                </a:lnTo>
                <a:lnTo>
                  <a:pt x="3837" y="706"/>
                </a:lnTo>
                <a:lnTo>
                  <a:pt x="3834" y="710"/>
                </a:lnTo>
                <a:lnTo>
                  <a:pt x="3833" y="712"/>
                </a:lnTo>
                <a:lnTo>
                  <a:pt x="3831" y="713"/>
                </a:lnTo>
                <a:lnTo>
                  <a:pt x="3829" y="714"/>
                </a:lnTo>
                <a:lnTo>
                  <a:pt x="3827" y="715"/>
                </a:lnTo>
                <a:lnTo>
                  <a:pt x="3823" y="715"/>
                </a:lnTo>
                <a:lnTo>
                  <a:pt x="3820" y="715"/>
                </a:lnTo>
                <a:lnTo>
                  <a:pt x="3816" y="714"/>
                </a:lnTo>
                <a:lnTo>
                  <a:pt x="3813" y="712"/>
                </a:lnTo>
                <a:lnTo>
                  <a:pt x="3811" y="710"/>
                </a:lnTo>
                <a:lnTo>
                  <a:pt x="3809" y="707"/>
                </a:lnTo>
                <a:lnTo>
                  <a:pt x="3808" y="705"/>
                </a:lnTo>
                <a:lnTo>
                  <a:pt x="3807" y="702"/>
                </a:lnTo>
                <a:lnTo>
                  <a:pt x="3807" y="699"/>
                </a:lnTo>
                <a:lnTo>
                  <a:pt x="3807" y="696"/>
                </a:lnTo>
                <a:lnTo>
                  <a:pt x="3808" y="692"/>
                </a:lnTo>
                <a:lnTo>
                  <a:pt x="3811" y="688"/>
                </a:lnTo>
                <a:lnTo>
                  <a:pt x="3813" y="687"/>
                </a:lnTo>
                <a:lnTo>
                  <a:pt x="3815" y="685"/>
                </a:lnTo>
                <a:close/>
                <a:moveTo>
                  <a:pt x="3687" y="619"/>
                </a:moveTo>
                <a:lnTo>
                  <a:pt x="3691" y="617"/>
                </a:lnTo>
                <a:lnTo>
                  <a:pt x="3695" y="617"/>
                </a:lnTo>
                <a:lnTo>
                  <a:pt x="3699" y="617"/>
                </a:lnTo>
                <a:lnTo>
                  <a:pt x="3703" y="619"/>
                </a:lnTo>
                <a:lnTo>
                  <a:pt x="3705" y="621"/>
                </a:lnTo>
                <a:lnTo>
                  <a:pt x="3707" y="623"/>
                </a:lnTo>
                <a:lnTo>
                  <a:pt x="3709" y="626"/>
                </a:lnTo>
                <a:lnTo>
                  <a:pt x="3710" y="629"/>
                </a:lnTo>
                <a:lnTo>
                  <a:pt x="3711" y="632"/>
                </a:lnTo>
                <a:lnTo>
                  <a:pt x="3711" y="635"/>
                </a:lnTo>
                <a:lnTo>
                  <a:pt x="3710" y="638"/>
                </a:lnTo>
                <a:lnTo>
                  <a:pt x="3709" y="641"/>
                </a:lnTo>
                <a:lnTo>
                  <a:pt x="3706" y="644"/>
                </a:lnTo>
                <a:lnTo>
                  <a:pt x="3703" y="647"/>
                </a:lnTo>
                <a:lnTo>
                  <a:pt x="3699" y="648"/>
                </a:lnTo>
                <a:lnTo>
                  <a:pt x="3695" y="649"/>
                </a:lnTo>
                <a:lnTo>
                  <a:pt x="3691" y="648"/>
                </a:lnTo>
                <a:lnTo>
                  <a:pt x="3687" y="647"/>
                </a:lnTo>
                <a:lnTo>
                  <a:pt x="3684" y="645"/>
                </a:lnTo>
                <a:lnTo>
                  <a:pt x="3682" y="643"/>
                </a:lnTo>
                <a:lnTo>
                  <a:pt x="3680" y="640"/>
                </a:lnTo>
                <a:lnTo>
                  <a:pt x="3679" y="637"/>
                </a:lnTo>
                <a:lnTo>
                  <a:pt x="3679" y="634"/>
                </a:lnTo>
                <a:lnTo>
                  <a:pt x="3679" y="631"/>
                </a:lnTo>
                <a:lnTo>
                  <a:pt x="3680" y="628"/>
                </a:lnTo>
                <a:lnTo>
                  <a:pt x="3681" y="625"/>
                </a:lnTo>
                <a:lnTo>
                  <a:pt x="3683" y="621"/>
                </a:lnTo>
                <a:lnTo>
                  <a:pt x="3687" y="619"/>
                </a:lnTo>
                <a:close/>
                <a:moveTo>
                  <a:pt x="3561" y="547"/>
                </a:moveTo>
                <a:lnTo>
                  <a:pt x="3565" y="545"/>
                </a:lnTo>
                <a:lnTo>
                  <a:pt x="3569" y="545"/>
                </a:lnTo>
                <a:lnTo>
                  <a:pt x="3573" y="545"/>
                </a:lnTo>
                <a:lnTo>
                  <a:pt x="3577" y="547"/>
                </a:lnTo>
                <a:lnTo>
                  <a:pt x="3580" y="549"/>
                </a:lnTo>
                <a:lnTo>
                  <a:pt x="3582" y="551"/>
                </a:lnTo>
                <a:lnTo>
                  <a:pt x="3584" y="554"/>
                </a:lnTo>
                <a:lnTo>
                  <a:pt x="3585" y="556"/>
                </a:lnTo>
                <a:lnTo>
                  <a:pt x="3585" y="560"/>
                </a:lnTo>
                <a:lnTo>
                  <a:pt x="3585" y="563"/>
                </a:lnTo>
                <a:lnTo>
                  <a:pt x="3585" y="566"/>
                </a:lnTo>
                <a:lnTo>
                  <a:pt x="3583" y="569"/>
                </a:lnTo>
                <a:lnTo>
                  <a:pt x="3581" y="572"/>
                </a:lnTo>
                <a:lnTo>
                  <a:pt x="3578" y="575"/>
                </a:lnTo>
                <a:lnTo>
                  <a:pt x="3574" y="576"/>
                </a:lnTo>
                <a:lnTo>
                  <a:pt x="3570" y="577"/>
                </a:lnTo>
                <a:lnTo>
                  <a:pt x="3566" y="576"/>
                </a:lnTo>
                <a:lnTo>
                  <a:pt x="3562" y="575"/>
                </a:lnTo>
                <a:lnTo>
                  <a:pt x="3559" y="573"/>
                </a:lnTo>
                <a:lnTo>
                  <a:pt x="3557" y="571"/>
                </a:lnTo>
                <a:lnTo>
                  <a:pt x="3555" y="568"/>
                </a:lnTo>
                <a:lnTo>
                  <a:pt x="3554" y="565"/>
                </a:lnTo>
                <a:lnTo>
                  <a:pt x="3554" y="562"/>
                </a:lnTo>
                <a:lnTo>
                  <a:pt x="3554" y="559"/>
                </a:lnTo>
                <a:lnTo>
                  <a:pt x="3554" y="556"/>
                </a:lnTo>
                <a:lnTo>
                  <a:pt x="3556" y="553"/>
                </a:lnTo>
                <a:lnTo>
                  <a:pt x="3558" y="550"/>
                </a:lnTo>
                <a:lnTo>
                  <a:pt x="3561" y="547"/>
                </a:lnTo>
                <a:close/>
                <a:moveTo>
                  <a:pt x="3436" y="477"/>
                </a:moveTo>
                <a:lnTo>
                  <a:pt x="3439" y="475"/>
                </a:lnTo>
                <a:lnTo>
                  <a:pt x="3443" y="475"/>
                </a:lnTo>
                <a:lnTo>
                  <a:pt x="3445" y="475"/>
                </a:lnTo>
                <a:lnTo>
                  <a:pt x="3447" y="475"/>
                </a:lnTo>
                <a:lnTo>
                  <a:pt x="3451" y="477"/>
                </a:lnTo>
                <a:lnTo>
                  <a:pt x="3454" y="479"/>
                </a:lnTo>
                <a:lnTo>
                  <a:pt x="3456" y="481"/>
                </a:lnTo>
                <a:lnTo>
                  <a:pt x="3458" y="483"/>
                </a:lnTo>
                <a:lnTo>
                  <a:pt x="3459" y="486"/>
                </a:lnTo>
                <a:lnTo>
                  <a:pt x="3460" y="489"/>
                </a:lnTo>
                <a:lnTo>
                  <a:pt x="3460" y="492"/>
                </a:lnTo>
                <a:lnTo>
                  <a:pt x="3459" y="495"/>
                </a:lnTo>
                <a:lnTo>
                  <a:pt x="3458" y="498"/>
                </a:lnTo>
                <a:lnTo>
                  <a:pt x="3457" y="500"/>
                </a:lnTo>
                <a:lnTo>
                  <a:pt x="3455" y="502"/>
                </a:lnTo>
                <a:lnTo>
                  <a:pt x="3452" y="505"/>
                </a:lnTo>
                <a:lnTo>
                  <a:pt x="3448" y="506"/>
                </a:lnTo>
                <a:lnTo>
                  <a:pt x="3444" y="507"/>
                </a:lnTo>
                <a:lnTo>
                  <a:pt x="3442" y="507"/>
                </a:lnTo>
                <a:lnTo>
                  <a:pt x="3440" y="506"/>
                </a:lnTo>
                <a:lnTo>
                  <a:pt x="3436" y="505"/>
                </a:lnTo>
                <a:lnTo>
                  <a:pt x="3433" y="503"/>
                </a:lnTo>
                <a:lnTo>
                  <a:pt x="3431" y="501"/>
                </a:lnTo>
                <a:lnTo>
                  <a:pt x="3429" y="498"/>
                </a:lnTo>
                <a:lnTo>
                  <a:pt x="3428" y="495"/>
                </a:lnTo>
                <a:lnTo>
                  <a:pt x="3428" y="492"/>
                </a:lnTo>
                <a:lnTo>
                  <a:pt x="3428" y="489"/>
                </a:lnTo>
                <a:lnTo>
                  <a:pt x="3428" y="486"/>
                </a:lnTo>
                <a:lnTo>
                  <a:pt x="3430" y="483"/>
                </a:lnTo>
                <a:lnTo>
                  <a:pt x="3431" y="481"/>
                </a:lnTo>
                <a:lnTo>
                  <a:pt x="3432" y="479"/>
                </a:lnTo>
                <a:lnTo>
                  <a:pt x="3436" y="477"/>
                </a:lnTo>
                <a:close/>
                <a:moveTo>
                  <a:pt x="3309" y="408"/>
                </a:moveTo>
                <a:lnTo>
                  <a:pt x="3313" y="407"/>
                </a:lnTo>
                <a:lnTo>
                  <a:pt x="3317" y="406"/>
                </a:lnTo>
                <a:lnTo>
                  <a:pt x="3319" y="406"/>
                </a:lnTo>
                <a:lnTo>
                  <a:pt x="3321" y="406"/>
                </a:lnTo>
                <a:lnTo>
                  <a:pt x="3325" y="408"/>
                </a:lnTo>
                <a:lnTo>
                  <a:pt x="3327" y="410"/>
                </a:lnTo>
                <a:lnTo>
                  <a:pt x="3330" y="412"/>
                </a:lnTo>
                <a:lnTo>
                  <a:pt x="3331" y="415"/>
                </a:lnTo>
                <a:lnTo>
                  <a:pt x="3332" y="417"/>
                </a:lnTo>
                <a:lnTo>
                  <a:pt x="3333" y="423"/>
                </a:lnTo>
                <a:lnTo>
                  <a:pt x="3333" y="427"/>
                </a:lnTo>
                <a:lnTo>
                  <a:pt x="3331" y="430"/>
                </a:lnTo>
                <a:lnTo>
                  <a:pt x="3329" y="433"/>
                </a:lnTo>
                <a:lnTo>
                  <a:pt x="3325" y="436"/>
                </a:lnTo>
                <a:lnTo>
                  <a:pt x="3322" y="437"/>
                </a:lnTo>
                <a:lnTo>
                  <a:pt x="3318" y="438"/>
                </a:lnTo>
                <a:lnTo>
                  <a:pt x="3316" y="438"/>
                </a:lnTo>
                <a:lnTo>
                  <a:pt x="3314" y="438"/>
                </a:lnTo>
                <a:lnTo>
                  <a:pt x="3310" y="436"/>
                </a:lnTo>
                <a:lnTo>
                  <a:pt x="3307" y="434"/>
                </a:lnTo>
                <a:lnTo>
                  <a:pt x="3305" y="432"/>
                </a:lnTo>
                <a:lnTo>
                  <a:pt x="3303" y="429"/>
                </a:lnTo>
                <a:lnTo>
                  <a:pt x="3302" y="427"/>
                </a:lnTo>
                <a:lnTo>
                  <a:pt x="3301" y="421"/>
                </a:lnTo>
                <a:lnTo>
                  <a:pt x="3302" y="417"/>
                </a:lnTo>
                <a:lnTo>
                  <a:pt x="3303" y="414"/>
                </a:lnTo>
                <a:lnTo>
                  <a:pt x="3306" y="411"/>
                </a:lnTo>
                <a:lnTo>
                  <a:pt x="3309" y="408"/>
                </a:lnTo>
                <a:close/>
                <a:moveTo>
                  <a:pt x="8" y="2264"/>
                </a:moveTo>
                <a:lnTo>
                  <a:pt x="11" y="2262"/>
                </a:lnTo>
                <a:lnTo>
                  <a:pt x="15" y="2262"/>
                </a:lnTo>
                <a:lnTo>
                  <a:pt x="19" y="2262"/>
                </a:lnTo>
                <a:lnTo>
                  <a:pt x="22" y="2263"/>
                </a:lnTo>
                <a:lnTo>
                  <a:pt x="25" y="2264"/>
                </a:lnTo>
                <a:lnTo>
                  <a:pt x="28" y="2266"/>
                </a:lnTo>
                <a:lnTo>
                  <a:pt x="30" y="2269"/>
                </a:lnTo>
                <a:lnTo>
                  <a:pt x="31" y="2272"/>
                </a:lnTo>
                <a:lnTo>
                  <a:pt x="32" y="2275"/>
                </a:lnTo>
                <a:lnTo>
                  <a:pt x="32" y="2278"/>
                </a:lnTo>
                <a:lnTo>
                  <a:pt x="32" y="2281"/>
                </a:lnTo>
                <a:lnTo>
                  <a:pt x="31" y="2284"/>
                </a:lnTo>
                <a:lnTo>
                  <a:pt x="28" y="2288"/>
                </a:lnTo>
                <a:lnTo>
                  <a:pt x="24" y="2291"/>
                </a:lnTo>
                <a:lnTo>
                  <a:pt x="21" y="2293"/>
                </a:lnTo>
                <a:lnTo>
                  <a:pt x="17" y="2293"/>
                </a:lnTo>
                <a:lnTo>
                  <a:pt x="14" y="2293"/>
                </a:lnTo>
                <a:lnTo>
                  <a:pt x="10" y="2292"/>
                </a:lnTo>
                <a:lnTo>
                  <a:pt x="7" y="2291"/>
                </a:lnTo>
                <a:lnTo>
                  <a:pt x="5" y="2289"/>
                </a:lnTo>
                <a:lnTo>
                  <a:pt x="3" y="2286"/>
                </a:lnTo>
                <a:lnTo>
                  <a:pt x="1" y="2283"/>
                </a:lnTo>
                <a:lnTo>
                  <a:pt x="0" y="2280"/>
                </a:lnTo>
                <a:lnTo>
                  <a:pt x="0" y="2277"/>
                </a:lnTo>
                <a:lnTo>
                  <a:pt x="0" y="2274"/>
                </a:lnTo>
                <a:lnTo>
                  <a:pt x="1" y="2271"/>
                </a:lnTo>
                <a:lnTo>
                  <a:pt x="4" y="2267"/>
                </a:lnTo>
                <a:lnTo>
                  <a:pt x="8" y="2264"/>
                </a:lnTo>
                <a:close/>
                <a:moveTo>
                  <a:pt x="3182" y="341"/>
                </a:moveTo>
                <a:lnTo>
                  <a:pt x="3185" y="340"/>
                </a:lnTo>
                <a:lnTo>
                  <a:pt x="3189" y="339"/>
                </a:lnTo>
                <a:lnTo>
                  <a:pt x="3193" y="339"/>
                </a:lnTo>
                <a:lnTo>
                  <a:pt x="3197" y="341"/>
                </a:lnTo>
                <a:lnTo>
                  <a:pt x="3200" y="343"/>
                </a:lnTo>
                <a:lnTo>
                  <a:pt x="3202" y="345"/>
                </a:lnTo>
                <a:lnTo>
                  <a:pt x="3204" y="347"/>
                </a:lnTo>
                <a:lnTo>
                  <a:pt x="3205" y="350"/>
                </a:lnTo>
                <a:lnTo>
                  <a:pt x="3206" y="353"/>
                </a:lnTo>
                <a:lnTo>
                  <a:pt x="3206" y="356"/>
                </a:lnTo>
                <a:lnTo>
                  <a:pt x="3205" y="359"/>
                </a:lnTo>
                <a:lnTo>
                  <a:pt x="3204" y="362"/>
                </a:lnTo>
                <a:lnTo>
                  <a:pt x="3203" y="364"/>
                </a:lnTo>
                <a:lnTo>
                  <a:pt x="3201" y="366"/>
                </a:lnTo>
                <a:lnTo>
                  <a:pt x="3198" y="369"/>
                </a:lnTo>
                <a:lnTo>
                  <a:pt x="3194" y="370"/>
                </a:lnTo>
                <a:lnTo>
                  <a:pt x="3190" y="371"/>
                </a:lnTo>
                <a:lnTo>
                  <a:pt x="3186" y="371"/>
                </a:lnTo>
                <a:lnTo>
                  <a:pt x="3182" y="369"/>
                </a:lnTo>
                <a:lnTo>
                  <a:pt x="3180" y="368"/>
                </a:lnTo>
                <a:lnTo>
                  <a:pt x="3177" y="365"/>
                </a:lnTo>
                <a:lnTo>
                  <a:pt x="3176" y="363"/>
                </a:lnTo>
                <a:lnTo>
                  <a:pt x="3174" y="360"/>
                </a:lnTo>
                <a:lnTo>
                  <a:pt x="3174" y="357"/>
                </a:lnTo>
                <a:lnTo>
                  <a:pt x="3174" y="354"/>
                </a:lnTo>
                <a:lnTo>
                  <a:pt x="3174" y="351"/>
                </a:lnTo>
                <a:lnTo>
                  <a:pt x="3175" y="348"/>
                </a:lnTo>
                <a:lnTo>
                  <a:pt x="3177" y="346"/>
                </a:lnTo>
                <a:lnTo>
                  <a:pt x="3178" y="344"/>
                </a:lnTo>
                <a:lnTo>
                  <a:pt x="3182" y="341"/>
                </a:lnTo>
                <a:close/>
                <a:moveTo>
                  <a:pt x="72" y="2135"/>
                </a:moveTo>
                <a:lnTo>
                  <a:pt x="76" y="2133"/>
                </a:lnTo>
                <a:lnTo>
                  <a:pt x="80" y="2133"/>
                </a:lnTo>
                <a:lnTo>
                  <a:pt x="84" y="2133"/>
                </a:lnTo>
                <a:lnTo>
                  <a:pt x="88" y="2135"/>
                </a:lnTo>
                <a:lnTo>
                  <a:pt x="90" y="2136"/>
                </a:lnTo>
                <a:lnTo>
                  <a:pt x="92" y="2139"/>
                </a:lnTo>
                <a:lnTo>
                  <a:pt x="94" y="2141"/>
                </a:lnTo>
                <a:lnTo>
                  <a:pt x="95" y="2144"/>
                </a:lnTo>
                <a:lnTo>
                  <a:pt x="96" y="2147"/>
                </a:lnTo>
                <a:lnTo>
                  <a:pt x="96" y="2150"/>
                </a:lnTo>
                <a:lnTo>
                  <a:pt x="95" y="2153"/>
                </a:lnTo>
                <a:lnTo>
                  <a:pt x="94" y="2156"/>
                </a:lnTo>
                <a:lnTo>
                  <a:pt x="91" y="2160"/>
                </a:lnTo>
                <a:lnTo>
                  <a:pt x="88" y="2162"/>
                </a:lnTo>
                <a:lnTo>
                  <a:pt x="84" y="2164"/>
                </a:lnTo>
                <a:lnTo>
                  <a:pt x="80" y="2165"/>
                </a:lnTo>
                <a:lnTo>
                  <a:pt x="76" y="2164"/>
                </a:lnTo>
                <a:lnTo>
                  <a:pt x="72" y="2162"/>
                </a:lnTo>
                <a:lnTo>
                  <a:pt x="69" y="2161"/>
                </a:lnTo>
                <a:lnTo>
                  <a:pt x="67" y="2158"/>
                </a:lnTo>
                <a:lnTo>
                  <a:pt x="66" y="2156"/>
                </a:lnTo>
                <a:lnTo>
                  <a:pt x="64" y="2153"/>
                </a:lnTo>
                <a:lnTo>
                  <a:pt x="64" y="2150"/>
                </a:lnTo>
                <a:lnTo>
                  <a:pt x="64" y="2147"/>
                </a:lnTo>
                <a:lnTo>
                  <a:pt x="65" y="2144"/>
                </a:lnTo>
                <a:lnTo>
                  <a:pt x="66" y="2141"/>
                </a:lnTo>
                <a:lnTo>
                  <a:pt x="68" y="2137"/>
                </a:lnTo>
                <a:lnTo>
                  <a:pt x="72" y="2135"/>
                </a:lnTo>
                <a:close/>
                <a:moveTo>
                  <a:pt x="149" y="2013"/>
                </a:moveTo>
                <a:lnTo>
                  <a:pt x="153" y="2012"/>
                </a:lnTo>
                <a:lnTo>
                  <a:pt x="157" y="2011"/>
                </a:lnTo>
                <a:lnTo>
                  <a:pt x="162" y="2012"/>
                </a:lnTo>
                <a:lnTo>
                  <a:pt x="166" y="2014"/>
                </a:lnTo>
                <a:lnTo>
                  <a:pt x="169" y="2016"/>
                </a:lnTo>
                <a:lnTo>
                  <a:pt x="170" y="2019"/>
                </a:lnTo>
                <a:lnTo>
                  <a:pt x="172" y="2022"/>
                </a:lnTo>
                <a:lnTo>
                  <a:pt x="173" y="2024"/>
                </a:lnTo>
                <a:lnTo>
                  <a:pt x="173" y="2028"/>
                </a:lnTo>
                <a:lnTo>
                  <a:pt x="172" y="2031"/>
                </a:lnTo>
                <a:lnTo>
                  <a:pt x="172" y="2034"/>
                </a:lnTo>
                <a:lnTo>
                  <a:pt x="170" y="2036"/>
                </a:lnTo>
                <a:lnTo>
                  <a:pt x="168" y="2039"/>
                </a:lnTo>
                <a:lnTo>
                  <a:pt x="165" y="2041"/>
                </a:lnTo>
                <a:lnTo>
                  <a:pt x="161" y="2043"/>
                </a:lnTo>
                <a:lnTo>
                  <a:pt x="156" y="2043"/>
                </a:lnTo>
                <a:lnTo>
                  <a:pt x="152" y="2042"/>
                </a:lnTo>
                <a:lnTo>
                  <a:pt x="148" y="2040"/>
                </a:lnTo>
                <a:lnTo>
                  <a:pt x="145" y="2038"/>
                </a:lnTo>
                <a:lnTo>
                  <a:pt x="143" y="2036"/>
                </a:lnTo>
                <a:lnTo>
                  <a:pt x="142" y="2033"/>
                </a:lnTo>
                <a:lnTo>
                  <a:pt x="141" y="2030"/>
                </a:lnTo>
                <a:lnTo>
                  <a:pt x="141" y="2027"/>
                </a:lnTo>
                <a:lnTo>
                  <a:pt x="141" y="2024"/>
                </a:lnTo>
                <a:lnTo>
                  <a:pt x="142" y="2021"/>
                </a:lnTo>
                <a:lnTo>
                  <a:pt x="144" y="2018"/>
                </a:lnTo>
                <a:lnTo>
                  <a:pt x="146" y="2015"/>
                </a:lnTo>
                <a:lnTo>
                  <a:pt x="149" y="2013"/>
                </a:lnTo>
                <a:close/>
                <a:moveTo>
                  <a:pt x="3053" y="277"/>
                </a:moveTo>
                <a:lnTo>
                  <a:pt x="3055" y="276"/>
                </a:lnTo>
                <a:lnTo>
                  <a:pt x="3056" y="275"/>
                </a:lnTo>
                <a:lnTo>
                  <a:pt x="3060" y="275"/>
                </a:lnTo>
                <a:lnTo>
                  <a:pt x="3064" y="275"/>
                </a:lnTo>
                <a:lnTo>
                  <a:pt x="3068" y="276"/>
                </a:lnTo>
                <a:lnTo>
                  <a:pt x="3071" y="278"/>
                </a:lnTo>
                <a:lnTo>
                  <a:pt x="3073" y="280"/>
                </a:lnTo>
                <a:lnTo>
                  <a:pt x="3075" y="283"/>
                </a:lnTo>
                <a:lnTo>
                  <a:pt x="3076" y="285"/>
                </a:lnTo>
                <a:lnTo>
                  <a:pt x="3077" y="288"/>
                </a:lnTo>
                <a:lnTo>
                  <a:pt x="3077" y="291"/>
                </a:lnTo>
                <a:lnTo>
                  <a:pt x="3076" y="295"/>
                </a:lnTo>
                <a:lnTo>
                  <a:pt x="3075" y="298"/>
                </a:lnTo>
                <a:lnTo>
                  <a:pt x="3073" y="302"/>
                </a:lnTo>
                <a:lnTo>
                  <a:pt x="3071" y="303"/>
                </a:lnTo>
                <a:lnTo>
                  <a:pt x="3069" y="304"/>
                </a:lnTo>
                <a:lnTo>
                  <a:pt x="3067" y="305"/>
                </a:lnTo>
                <a:lnTo>
                  <a:pt x="3065" y="306"/>
                </a:lnTo>
                <a:lnTo>
                  <a:pt x="3062" y="307"/>
                </a:lnTo>
                <a:lnTo>
                  <a:pt x="3058" y="306"/>
                </a:lnTo>
                <a:lnTo>
                  <a:pt x="3054" y="305"/>
                </a:lnTo>
                <a:lnTo>
                  <a:pt x="3051" y="303"/>
                </a:lnTo>
                <a:lnTo>
                  <a:pt x="3049" y="301"/>
                </a:lnTo>
                <a:lnTo>
                  <a:pt x="3047" y="299"/>
                </a:lnTo>
                <a:lnTo>
                  <a:pt x="3046" y="296"/>
                </a:lnTo>
                <a:lnTo>
                  <a:pt x="3045" y="293"/>
                </a:lnTo>
                <a:lnTo>
                  <a:pt x="3045" y="290"/>
                </a:lnTo>
                <a:lnTo>
                  <a:pt x="3045" y="287"/>
                </a:lnTo>
                <a:lnTo>
                  <a:pt x="3047" y="284"/>
                </a:lnTo>
                <a:lnTo>
                  <a:pt x="3049" y="280"/>
                </a:lnTo>
                <a:lnTo>
                  <a:pt x="3051" y="278"/>
                </a:lnTo>
                <a:lnTo>
                  <a:pt x="3053" y="277"/>
                </a:lnTo>
                <a:close/>
                <a:moveTo>
                  <a:pt x="238" y="1901"/>
                </a:moveTo>
                <a:lnTo>
                  <a:pt x="240" y="1900"/>
                </a:lnTo>
                <a:lnTo>
                  <a:pt x="243" y="1899"/>
                </a:lnTo>
                <a:lnTo>
                  <a:pt x="245" y="1899"/>
                </a:lnTo>
                <a:lnTo>
                  <a:pt x="248" y="1899"/>
                </a:lnTo>
                <a:lnTo>
                  <a:pt x="250" y="1899"/>
                </a:lnTo>
                <a:lnTo>
                  <a:pt x="252" y="1900"/>
                </a:lnTo>
                <a:lnTo>
                  <a:pt x="255" y="1901"/>
                </a:lnTo>
                <a:lnTo>
                  <a:pt x="257" y="1902"/>
                </a:lnTo>
                <a:lnTo>
                  <a:pt x="259" y="1905"/>
                </a:lnTo>
                <a:lnTo>
                  <a:pt x="261" y="1908"/>
                </a:lnTo>
                <a:lnTo>
                  <a:pt x="262" y="1910"/>
                </a:lnTo>
                <a:lnTo>
                  <a:pt x="262" y="1913"/>
                </a:lnTo>
                <a:lnTo>
                  <a:pt x="262" y="1917"/>
                </a:lnTo>
                <a:lnTo>
                  <a:pt x="261" y="1920"/>
                </a:lnTo>
                <a:lnTo>
                  <a:pt x="260" y="1922"/>
                </a:lnTo>
                <a:lnTo>
                  <a:pt x="258" y="1925"/>
                </a:lnTo>
                <a:lnTo>
                  <a:pt x="256" y="1927"/>
                </a:lnTo>
                <a:lnTo>
                  <a:pt x="254" y="1928"/>
                </a:lnTo>
                <a:lnTo>
                  <a:pt x="252" y="1929"/>
                </a:lnTo>
                <a:lnTo>
                  <a:pt x="250" y="1930"/>
                </a:lnTo>
                <a:lnTo>
                  <a:pt x="247" y="1930"/>
                </a:lnTo>
                <a:lnTo>
                  <a:pt x="245" y="1930"/>
                </a:lnTo>
                <a:lnTo>
                  <a:pt x="242" y="1930"/>
                </a:lnTo>
                <a:lnTo>
                  <a:pt x="240" y="1929"/>
                </a:lnTo>
                <a:lnTo>
                  <a:pt x="238" y="1928"/>
                </a:lnTo>
                <a:lnTo>
                  <a:pt x="236" y="1927"/>
                </a:lnTo>
                <a:lnTo>
                  <a:pt x="233" y="1924"/>
                </a:lnTo>
                <a:lnTo>
                  <a:pt x="232" y="1921"/>
                </a:lnTo>
                <a:lnTo>
                  <a:pt x="231" y="1919"/>
                </a:lnTo>
                <a:lnTo>
                  <a:pt x="230" y="1916"/>
                </a:lnTo>
                <a:lnTo>
                  <a:pt x="230" y="1912"/>
                </a:lnTo>
                <a:lnTo>
                  <a:pt x="231" y="1909"/>
                </a:lnTo>
                <a:lnTo>
                  <a:pt x="232" y="1907"/>
                </a:lnTo>
                <a:lnTo>
                  <a:pt x="234" y="1904"/>
                </a:lnTo>
                <a:lnTo>
                  <a:pt x="236" y="1902"/>
                </a:lnTo>
                <a:lnTo>
                  <a:pt x="238" y="1901"/>
                </a:lnTo>
                <a:close/>
                <a:moveTo>
                  <a:pt x="338" y="1797"/>
                </a:moveTo>
                <a:lnTo>
                  <a:pt x="341" y="1796"/>
                </a:lnTo>
                <a:lnTo>
                  <a:pt x="343" y="1796"/>
                </a:lnTo>
                <a:lnTo>
                  <a:pt x="349" y="1796"/>
                </a:lnTo>
                <a:lnTo>
                  <a:pt x="351" y="1796"/>
                </a:lnTo>
                <a:lnTo>
                  <a:pt x="354" y="1797"/>
                </a:lnTo>
                <a:lnTo>
                  <a:pt x="358" y="1800"/>
                </a:lnTo>
                <a:lnTo>
                  <a:pt x="360" y="1803"/>
                </a:lnTo>
                <a:lnTo>
                  <a:pt x="361" y="1806"/>
                </a:lnTo>
                <a:lnTo>
                  <a:pt x="362" y="1809"/>
                </a:lnTo>
                <a:lnTo>
                  <a:pt x="362" y="1812"/>
                </a:lnTo>
                <a:lnTo>
                  <a:pt x="362" y="1815"/>
                </a:lnTo>
                <a:lnTo>
                  <a:pt x="361" y="1818"/>
                </a:lnTo>
                <a:lnTo>
                  <a:pt x="359" y="1821"/>
                </a:lnTo>
                <a:lnTo>
                  <a:pt x="357" y="1823"/>
                </a:lnTo>
                <a:lnTo>
                  <a:pt x="354" y="1825"/>
                </a:lnTo>
                <a:lnTo>
                  <a:pt x="352" y="1826"/>
                </a:lnTo>
                <a:lnTo>
                  <a:pt x="349" y="1827"/>
                </a:lnTo>
                <a:lnTo>
                  <a:pt x="344" y="1827"/>
                </a:lnTo>
                <a:lnTo>
                  <a:pt x="341" y="1827"/>
                </a:lnTo>
                <a:lnTo>
                  <a:pt x="339" y="1826"/>
                </a:lnTo>
                <a:lnTo>
                  <a:pt x="337" y="1824"/>
                </a:lnTo>
                <a:lnTo>
                  <a:pt x="335" y="1822"/>
                </a:lnTo>
                <a:lnTo>
                  <a:pt x="333" y="1820"/>
                </a:lnTo>
                <a:lnTo>
                  <a:pt x="331" y="1817"/>
                </a:lnTo>
                <a:lnTo>
                  <a:pt x="331" y="1814"/>
                </a:lnTo>
                <a:lnTo>
                  <a:pt x="330" y="1811"/>
                </a:lnTo>
                <a:lnTo>
                  <a:pt x="331" y="1808"/>
                </a:lnTo>
                <a:lnTo>
                  <a:pt x="332" y="1805"/>
                </a:lnTo>
                <a:lnTo>
                  <a:pt x="333" y="1802"/>
                </a:lnTo>
                <a:lnTo>
                  <a:pt x="335" y="1800"/>
                </a:lnTo>
                <a:lnTo>
                  <a:pt x="338" y="1797"/>
                </a:lnTo>
                <a:close/>
                <a:moveTo>
                  <a:pt x="448" y="1703"/>
                </a:moveTo>
                <a:lnTo>
                  <a:pt x="450" y="1702"/>
                </a:lnTo>
                <a:lnTo>
                  <a:pt x="453" y="1701"/>
                </a:lnTo>
                <a:lnTo>
                  <a:pt x="459" y="1701"/>
                </a:lnTo>
                <a:lnTo>
                  <a:pt x="461" y="1702"/>
                </a:lnTo>
                <a:lnTo>
                  <a:pt x="464" y="1703"/>
                </a:lnTo>
                <a:lnTo>
                  <a:pt x="466" y="1705"/>
                </a:lnTo>
                <a:lnTo>
                  <a:pt x="467" y="1706"/>
                </a:lnTo>
                <a:lnTo>
                  <a:pt x="468" y="1707"/>
                </a:lnTo>
                <a:lnTo>
                  <a:pt x="470" y="1710"/>
                </a:lnTo>
                <a:lnTo>
                  <a:pt x="471" y="1713"/>
                </a:lnTo>
                <a:lnTo>
                  <a:pt x="472" y="1716"/>
                </a:lnTo>
                <a:lnTo>
                  <a:pt x="471" y="1719"/>
                </a:lnTo>
                <a:lnTo>
                  <a:pt x="471" y="1722"/>
                </a:lnTo>
                <a:lnTo>
                  <a:pt x="470" y="1725"/>
                </a:lnTo>
                <a:lnTo>
                  <a:pt x="468" y="1727"/>
                </a:lnTo>
                <a:lnTo>
                  <a:pt x="465" y="1730"/>
                </a:lnTo>
                <a:lnTo>
                  <a:pt x="464" y="1731"/>
                </a:lnTo>
                <a:lnTo>
                  <a:pt x="461" y="1732"/>
                </a:lnTo>
                <a:lnTo>
                  <a:pt x="458" y="1733"/>
                </a:lnTo>
                <a:lnTo>
                  <a:pt x="453" y="1733"/>
                </a:lnTo>
                <a:lnTo>
                  <a:pt x="450" y="1732"/>
                </a:lnTo>
                <a:lnTo>
                  <a:pt x="447" y="1731"/>
                </a:lnTo>
                <a:lnTo>
                  <a:pt x="445" y="1729"/>
                </a:lnTo>
                <a:lnTo>
                  <a:pt x="444" y="1728"/>
                </a:lnTo>
                <a:lnTo>
                  <a:pt x="443" y="1727"/>
                </a:lnTo>
                <a:lnTo>
                  <a:pt x="441" y="1724"/>
                </a:lnTo>
                <a:lnTo>
                  <a:pt x="440" y="1721"/>
                </a:lnTo>
                <a:lnTo>
                  <a:pt x="440" y="1718"/>
                </a:lnTo>
                <a:lnTo>
                  <a:pt x="440" y="1715"/>
                </a:lnTo>
                <a:lnTo>
                  <a:pt x="440" y="1712"/>
                </a:lnTo>
                <a:lnTo>
                  <a:pt x="442" y="1709"/>
                </a:lnTo>
                <a:lnTo>
                  <a:pt x="443" y="1707"/>
                </a:lnTo>
                <a:lnTo>
                  <a:pt x="446" y="1704"/>
                </a:lnTo>
                <a:lnTo>
                  <a:pt x="448" y="1703"/>
                </a:lnTo>
                <a:close/>
                <a:moveTo>
                  <a:pt x="816" y="1477"/>
                </a:moveTo>
                <a:lnTo>
                  <a:pt x="819" y="1476"/>
                </a:lnTo>
                <a:lnTo>
                  <a:pt x="822" y="1475"/>
                </a:lnTo>
                <a:lnTo>
                  <a:pt x="825" y="1475"/>
                </a:lnTo>
                <a:lnTo>
                  <a:pt x="828" y="1476"/>
                </a:lnTo>
                <a:lnTo>
                  <a:pt x="831" y="1477"/>
                </a:lnTo>
                <a:lnTo>
                  <a:pt x="834" y="1479"/>
                </a:lnTo>
                <a:lnTo>
                  <a:pt x="836" y="1481"/>
                </a:lnTo>
                <a:lnTo>
                  <a:pt x="838" y="1483"/>
                </a:lnTo>
                <a:lnTo>
                  <a:pt x="839" y="1486"/>
                </a:lnTo>
                <a:lnTo>
                  <a:pt x="840" y="1489"/>
                </a:lnTo>
                <a:lnTo>
                  <a:pt x="840" y="1492"/>
                </a:lnTo>
                <a:lnTo>
                  <a:pt x="839" y="1495"/>
                </a:lnTo>
                <a:lnTo>
                  <a:pt x="838" y="1498"/>
                </a:lnTo>
                <a:lnTo>
                  <a:pt x="836" y="1501"/>
                </a:lnTo>
                <a:lnTo>
                  <a:pt x="834" y="1503"/>
                </a:lnTo>
                <a:lnTo>
                  <a:pt x="832" y="1505"/>
                </a:lnTo>
                <a:lnTo>
                  <a:pt x="829" y="1506"/>
                </a:lnTo>
                <a:lnTo>
                  <a:pt x="825" y="1507"/>
                </a:lnTo>
                <a:lnTo>
                  <a:pt x="822" y="1507"/>
                </a:lnTo>
                <a:lnTo>
                  <a:pt x="819" y="1506"/>
                </a:lnTo>
                <a:lnTo>
                  <a:pt x="816" y="1505"/>
                </a:lnTo>
                <a:lnTo>
                  <a:pt x="814" y="1504"/>
                </a:lnTo>
                <a:lnTo>
                  <a:pt x="811" y="1501"/>
                </a:lnTo>
                <a:lnTo>
                  <a:pt x="810" y="1499"/>
                </a:lnTo>
                <a:lnTo>
                  <a:pt x="808" y="1496"/>
                </a:lnTo>
                <a:lnTo>
                  <a:pt x="808" y="1493"/>
                </a:lnTo>
                <a:lnTo>
                  <a:pt x="808" y="1490"/>
                </a:lnTo>
                <a:lnTo>
                  <a:pt x="808" y="1487"/>
                </a:lnTo>
                <a:lnTo>
                  <a:pt x="809" y="1484"/>
                </a:lnTo>
                <a:lnTo>
                  <a:pt x="811" y="1481"/>
                </a:lnTo>
                <a:lnTo>
                  <a:pt x="813" y="1479"/>
                </a:lnTo>
                <a:lnTo>
                  <a:pt x="816" y="1477"/>
                </a:lnTo>
                <a:close/>
                <a:moveTo>
                  <a:pt x="940" y="1405"/>
                </a:moveTo>
                <a:lnTo>
                  <a:pt x="943" y="1403"/>
                </a:lnTo>
                <a:lnTo>
                  <a:pt x="946" y="1403"/>
                </a:lnTo>
                <a:lnTo>
                  <a:pt x="949" y="1402"/>
                </a:lnTo>
                <a:lnTo>
                  <a:pt x="952" y="1403"/>
                </a:lnTo>
                <a:lnTo>
                  <a:pt x="954" y="1404"/>
                </a:lnTo>
                <a:lnTo>
                  <a:pt x="957" y="1405"/>
                </a:lnTo>
                <a:lnTo>
                  <a:pt x="959" y="1407"/>
                </a:lnTo>
                <a:lnTo>
                  <a:pt x="961" y="1410"/>
                </a:lnTo>
                <a:lnTo>
                  <a:pt x="963" y="1413"/>
                </a:lnTo>
                <a:lnTo>
                  <a:pt x="964" y="1416"/>
                </a:lnTo>
                <a:lnTo>
                  <a:pt x="964" y="1419"/>
                </a:lnTo>
                <a:lnTo>
                  <a:pt x="963" y="1422"/>
                </a:lnTo>
                <a:lnTo>
                  <a:pt x="962" y="1425"/>
                </a:lnTo>
                <a:lnTo>
                  <a:pt x="961" y="1428"/>
                </a:lnTo>
                <a:lnTo>
                  <a:pt x="959" y="1430"/>
                </a:lnTo>
                <a:lnTo>
                  <a:pt x="956" y="1432"/>
                </a:lnTo>
                <a:lnTo>
                  <a:pt x="953" y="1433"/>
                </a:lnTo>
                <a:lnTo>
                  <a:pt x="950" y="1434"/>
                </a:lnTo>
                <a:lnTo>
                  <a:pt x="947" y="1434"/>
                </a:lnTo>
                <a:lnTo>
                  <a:pt x="944" y="1434"/>
                </a:lnTo>
                <a:lnTo>
                  <a:pt x="941" y="1433"/>
                </a:lnTo>
                <a:lnTo>
                  <a:pt x="939" y="1431"/>
                </a:lnTo>
                <a:lnTo>
                  <a:pt x="936" y="1429"/>
                </a:lnTo>
                <a:lnTo>
                  <a:pt x="934" y="1427"/>
                </a:lnTo>
                <a:lnTo>
                  <a:pt x="933" y="1424"/>
                </a:lnTo>
                <a:lnTo>
                  <a:pt x="932" y="1421"/>
                </a:lnTo>
                <a:lnTo>
                  <a:pt x="932" y="1418"/>
                </a:lnTo>
                <a:lnTo>
                  <a:pt x="932" y="1415"/>
                </a:lnTo>
                <a:lnTo>
                  <a:pt x="933" y="1412"/>
                </a:lnTo>
                <a:lnTo>
                  <a:pt x="935" y="1409"/>
                </a:lnTo>
                <a:lnTo>
                  <a:pt x="937" y="1407"/>
                </a:lnTo>
                <a:lnTo>
                  <a:pt x="939" y="1405"/>
                </a:lnTo>
                <a:lnTo>
                  <a:pt x="940" y="1405"/>
                </a:lnTo>
                <a:close/>
                <a:moveTo>
                  <a:pt x="564" y="1619"/>
                </a:moveTo>
                <a:lnTo>
                  <a:pt x="567" y="1618"/>
                </a:lnTo>
                <a:lnTo>
                  <a:pt x="570" y="1617"/>
                </a:lnTo>
                <a:lnTo>
                  <a:pt x="573" y="1617"/>
                </a:lnTo>
                <a:lnTo>
                  <a:pt x="576" y="1618"/>
                </a:lnTo>
                <a:lnTo>
                  <a:pt x="579" y="1619"/>
                </a:lnTo>
                <a:lnTo>
                  <a:pt x="581" y="1620"/>
                </a:lnTo>
                <a:lnTo>
                  <a:pt x="584" y="1622"/>
                </a:lnTo>
                <a:lnTo>
                  <a:pt x="586" y="1624"/>
                </a:lnTo>
                <a:lnTo>
                  <a:pt x="587" y="1627"/>
                </a:lnTo>
                <a:lnTo>
                  <a:pt x="588" y="1630"/>
                </a:lnTo>
                <a:lnTo>
                  <a:pt x="588" y="1633"/>
                </a:lnTo>
                <a:lnTo>
                  <a:pt x="588" y="1636"/>
                </a:lnTo>
                <a:lnTo>
                  <a:pt x="587" y="1639"/>
                </a:lnTo>
                <a:lnTo>
                  <a:pt x="586" y="1642"/>
                </a:lnTo>
                <a:lnTo>
                  <a:pt x="584" y="1645"/>
                </a:lnTo>
                <a:lnTo>
                  <a:pt x="581" y="1647"/>
                </a:lnTo>
                <a:lnTo>
                  <a:pt x="578" y="1648"/>
                </a:lnTo>
                <a:lnTo>
                  <a:pt x="575" y="1649"/>
                </a:lnTo>
                <a:lnTo>
                  <a:pt x="569" y="1649"/>
                </a:lnTo>
                <a:lnTo>
                  <a:pt x="566" y="1648"/>
                </a:lnTo>
                <a:lnTo>
                  <a:pt x="563" y="1646"/>
                </a:lnTo>
                <a:lnTo>
                  <a:pt x="561" y="1644"/>
                </a:lnTo>
                <a:lnTo>
                  <a:pt x="559" y="1642"/>
                </a:lnTo>
                <a:lnTo>
                  <a:pt x="558" y="1639"/>
                </a:lnTo>
                <a:lnTo>
                  <a:pt x="557" y="1636"/>
                </a:lnTo>
                <a:lnTo>
                  <a:pt x="556" y="1633"/>
                </a:lnTo>
                <a:lnTo>
                  <a:pt x="557" y="1630"/>
                </a:lnTo>
                <a:lnTo>
                  <a:pt x="558" y="1627"/>
                </a:lnTo>
                <a:lnTo>
                  <a:pt x="559" y="1624"/>
                </a:lnTo>
                <a:lnTo>
                  <a:pt x="561" y="1622"/>
                </a:lnTo>
                <a:lnTo>
                  <a:pt x="564" y="1620"/>
                </a:lnTo>
                <a:lnTo>
                  <a:pt x="564" y="1619"/>
                </a:lnTo>
                <a:close/>
                <a:moveTo>
                  <a:pt x="687" y="1545"/>
                </a:moveTo>
                <a:lnTo>
                  <a:pt x="690" y="1543"/>
                </a:lnTo>
                <a:lnTo>
                  <a:pt x="694" y="1543"/>
                </a:lnTo>
                <a:lnTo>
                  <a:pt x="697" y="1543"/>
                </a:lnTo>
                <a:lnTo>
                  <a:pt x="700" y="1543"/>
                </a:lnTo>
                <a:lnTo>
                  <a:pt x="703" y="1544"/>
                </a:lnTo>
                <a:lnTo>
                  <a:pt x="705" y="1546"/>
                </a:lnTo>
                <a:lnTo>
                  <a:pt x="708" y="1548"/>
                </a:lnTo>
                <a:lnTo>
                  <a:pt x="709" y="1551"/>
                </a:lnTo>
                <a:lnTo>
                  <a:pt x="711" y="1554"/>
                </a:lnTo>
                <a:lnTo>
                  <a:pt x="711" y="1557"/>
                </a:lnTo>
                <a:lnTo>
                  <a:pt x="711" y="1560"/>
                </a:lnTo>
                <a:lnTo>
                  <a:pt x="711" y="1563"/>
                </a:lnTo>
                <a:lnTo>
                  <a:pt x="710" y="1566"/>
                </a:lnTo>
                <a:lnTo>
                  <a:pt x="708" y="1568"/>
                </a:lnTo>
                <a:lnTo>
                  <a:pt x="706" y="1571"/>
                </a:lnTo>
                <a:lnTo>
                  <a:pt x="703" y="1572"/>
                </a:lnTo>
                <a:lnTo>
                  <a:pt x="700" y="1574"/>
                </a:lnTo>
                <a:lnTo>
                  <a:pt x="697" y="1574"/>
                </a:lnTo>
                <a:lnTo>
                  <a:pt x="694" y="1574"/>
                </a:lnTo>
                <a:lnTo>
                  <a:pt x="691" y="1574"/>
                </a:lnTo>
                <a:lnTo>
                  <a:pt x="688" y="1573"/>
                </a:lnTo>
                <a:lnTo>
                  <a:pt x="686" y="1571"/>
                </a:lnTo>
                <a:lnTo>
                  <a:pt x="683" y="1569"/>
                </a:lnTo>
                <a:lnTo>
                  <a:pt x="681" y="1566"/>
                </a:lnTo>
                <a:lnTo>
                  <a:pt x="680" y="1563"/>
                </a:lnTo>
                <a:lnTo>
                  <a:pt x="680" y="1560"/>
                </a:lnTo>
                <a:lnTo>
                  <a:pt x="679" y="1557"/>
                </a:lnTo>
                <a:lnTo>
                  <a:pt x="680" y="1554"/>
                </a:lnTo>
                <a:lnTo>
                  <a:pt x="681" y="1551"/>
                </a:lnTo>
                <a:lnTo>
                  <a:pt x="683" y="1549"/>
                </a:lnTo>
                <a:lnTo>
                  <a:pt x="685" y="1547"/>
                </a:lnTo>
                <a:lnTo>
                  <a:pt x="687" y="1545"/>
                </a:lnTo>
                <a:close/>
                <a:moveTo>
                  <a:pt x="1058" y="1323"/>
                </a:moveTo>
                <a:lnTo>
                  <a:pt x="1060" y="1321"/>
                </a:lnTo>
                <a:lnTo>
                  <a:pt x="1063" y="1321"/>
                </a:lnTo>
                <a:lnTo>
                  <a:pt x="1069" y="1321"/>
                </a:lnTo>
                <a:lnTo>
                  <a:pt x="1071" y="1321"/>
                </a:lnTo>
                <a:lnTo>
                  <a:pt x="1074" y="1323"/>
                </a:lnTo>
                <a:lnTo>
                  <a:pt x="1076" y="1324"/>
                </a:lnTo>
                <a:lnTo>
                  <a:pt x="1078" y="1327"/>
                </a:lnTo>
                <a:lnTo>
                  <a:pt x="1080" y="1329"/>
                </a:lnTo>
                <a:lnTo>
                  <a:pt x="1081" y="1332"/>
                </a:lnTo>
                <a:lnTo>
                  <a:pt x="1082" y="1335"/>
                </a:lnTo>
                <a:lnTo>
                  <a:pt x="1081" y="1338"/>
                </a:lnTo>
                <a:lnTo>
                  <a:pt x="1081" y="1341"/>
                </a:lnTo>
                <a:lnTo>
                  <a:pt x="1080" y="1344"/>
                </a:lnTo>
                <a:lnTo>
                  <a:pt x="1078" y="1347"/>
                </a:lnTo>
                <a:lnTo>
                  <a:pt x="1075" y="1349"/>
                </a:lnTo>
                <a:lnTo>
                  <a:pt x="1074" y="1350"/>
                </a:lnTo>
                <a:lnTo>
                  <a:pt x="1071" y="1351"/>
                </a:lnTo>
                <a:lnTo>
                  <a:pt x="1068" y="1352"/>
                </a:lnTo>
                <a:lnTo>
                  <a:pt x="1063" y="1352"/>
                </a:lnTo>
                <a:lnTo>
                  <a:pt x="1060" y="1351"/>
                </a:lnTo>
                <a:lnTo>
                  <a:pt x="1057" y="1350"/>
                </a:lnTo>
                <a:lnTo>
                  <a:pt x="1055" y="1348"/>
                </a:lnTo>
                <a:lnTo>
                  <a:pt x="1053" y="1346"/>
                </a:lnTo>
                <a:lnTo>
                  <a:pt x="1051" y="1343"/>
                </a:lnTo>
                <a:lnTo>
                  <a:pt x="1050" y="1340"/>
                </a:lnTo>
                <a:lnTo>
                  <a:pt x="1050" y="1337"/>
                </a:lnTo>
                <a:lnTo>
                  <a:pt x="1050" y="1334"/>
                </a:lnTo>
                <a:lnTo>
                  <a:pt x="1050" y="1331"/>
                </a:lnTo>
                <a:lnTo>
                  <a:pt x="1052" y="1328"/>
                </a:lnTo>
                <a:lnTo>
                  <a:pt x="1054" y="1326"/>
                </a:lnTo>
                <a:lnTo>
                  <a:pt x="1056" y="1324"/>
                </a:lnTo>
                <a:lnTo>
                  <a:pt x="1058" y="1323"/>
                </a:lnTo>
                <a:close/>
                <a:moveTo>
                  <a:pt x="2923" y="216"/>
                </a:moveTo>
                <a:lnTo>
                  <a:pt x="2926" y="214"/>
                </a:lnTo>
                <a:lnTo>
                  <a:pt x="2930" y="213"/>
                </a:lnTo>
                <a:lnTo>
                  <a:pt x="2933" y="214"/>
                </a:lnTo>
                <a:lnTo>
                  <a:pt x="2935" y="214"/>
                </a:lnTo>
                <a:lnTo>
                  <a:pt x="2937" y="215"/>
                </a:lnTo>
                <a:lnTo>
                  <a:pt x="2940" y="216"/>
                </a:lnTo>
                <a:lnTo>
                  <a:pt x="2942" y="219"/>
                </a:lnTo>
                <a:lnTo>
                  <a:pt x="2944" y="221"/>
                </a:lnTo>
                <a:lnTo>
                  <a:pt x="2946" y="224"/>
                </a:lnTo>
                <a:lnTo>
                  <a:pt x="2946" y="227"/>
                </a:lnTo>
                <a:lnTo>
                  <a:pt x="2947" y="230"/>
                </a:lnTo>
                <a:lnTo>
                  <a:pt x="2946" y="233"/>
                </a:lnTo>
                <a:lnTo>
                  <a:pt x="2945" y="236"/>
                </a:lnTo>
                <a:lnTo>
                  <a:pt x="2942" y="240"/>
                </a:lnTo>
                <a:lnTo>
                  <a:pt x="2941" y="242"/>
                </a:lnTo>
                <a:lnTo>
                  <a:pt x="2939" y="243"/>
                </a:lnTo>
                <a:lnTo>
                  <a:pt x="2935" y="245"/>
                </a:lnTo>
                <a:lnTo>
                  <a:pt x="2932" y="245"/>
                </a:lnTo>
                <a:lnTo>
                  <a:pt x="2928" y="245"/>
                </a:lnTo>
                <a:lnTo>
                  <a:pt x="2926" y="245"/>
                </a:lnTo>
                <a:lnTo>
                  <a:pt x="2924" y="244"/>
                </a:lnTo>
                <a:lnTo>
                  <a:pt x="2921" y="242"/>
                </a:lnTo>
                <a:lnTo>
                  <a:pt x="2919" y="240"/>
                </a:lnTo>
                <a:lnTo>
                  <a:pt x="2917" y="238"/>
                </a:lnTo>
                <a:lnTo>
                  <a:pt x="2916" y="235"/>
                </a:lnTo>
                <a:lnTo>
                  <a:pt x="2915" y="232"/>
                </a:lnTo>
                <a:lnTo>
                  <a:pt x="2915" y="229"/>
                </a:lnTo>
                <a:lnTo>
                  <a:pt x="2915" y="226"/>
                </a:lnTo>
                <a:lnTo>
                  <a:pt x="2916" y="223"/>
                </a:lnTo>
                <a:lnTo>
                  <a:pt x="2919" y="219"/>
                </a:lnTo>
                <a:lnTo>
                  <a:pt x="2921" y="217"/>
                </a:lnTo>
                <a:lnTo>
                  <a:pt x="2923" y="216"/>
                </a:lnTo>
                <a:close/>
                <a:moveTo>
                  <a:pt x="1167" y="1229"/>
                </a:moveTo>
                <a:lnTo>
                  <a:pt x="1169" y="1228"/>
                </a:lnTo>
                <a:lnTo>
                  <a:pt x="1171" y="1227"/>
                </a:lnTo>
                <a:lnTo>
                  <a:pt x="1174" y="1227"/>
                </a:lnTo>
                <a:lnTo>
                  <a:pt x="1177" y="1227"/>
                </a:lnTo>
                <a:lnTo>
                  <a:pt x="1179" y="1228"/>
                </a:lnTo>
                <a:lnTo>
                  <a:pt x="1182" y="1229"/>
                </a:lnTo>
                <a:lnTo>
                  <a:pt x="1184" y="1230"/>
                </a:lnTo>
                <a:lnTo>
                  <a:pt x="1186" y="1232"/>
                </a:lnTo>
                <a:lnTo>
                  <a:pt x="1188" y="1234"/>
                </a:lnTo>
                <a:lnTo>
                  <a:pt x="1189" y="1237"/>
                </a:lnTo>
                <a:lnTo>
                  <a:pt x="1190" y="1240"/>
                </a:lnTo>
                <a:lnTo>
                  <a:pt x="1191" y="1243"/>
                </a:lnTo>
                <a:lnTo>
                  <a:pt x="1190" y="1246"/>
                </a:lnTo>
                <a:lnTo>
                  <a:pt x="1189" y="1249"/>
                </a:lnTo>
                <a:lnTo>
                  <a:pt x="1188" y="1252"/>
                </a:lnTo>
                <a:lnTo>
                  <a:pt x="1186" y="1254"/>
                </a:lnTo>
                <a:lnTo>
                  <a:pt x="1182" y="1257"/>
                </a:lnTo>
                <a:lnTo>
                  <a:pt x="1180" y="1258"/>
                </a:lnTo>
                <a:lnTo>
                  <a:pt x="1178" y="1259"/>
                </a:lnTo>
                <a:lnTo>
                  <a:pt x="1175" y="1259"/>
                </a:lnTo>
                <a:lnTo>
                  <a:pt x="1172" y="1259"/>
                </a:lnTo>
                <a:lnTo>
                  <a:pt x="1170" y="1258"/>
                </a:lnTo>
                <a:lnTo>
                  <a:pt x="1167" y="1257"/>
                </a:lnTo>
                <a:lnTo>
                  <a:pt x="1165" y="1256"/>
                </a:lnTo>
                <a:lnTo>
                  <a:pt x="1163" y="1254"/>
                </a:lnTo>
                <a:lnTo>
                  <a:pt x="1161" y="1251"/>
                </a:lnTo>
                <a:lnTo>
                  <a:pt x="1160" y="1249"/>
                </a:lnTo>
                <a:lnTo>
                  <a:pt x="1159" y="1246"/>
                </a:lnTo>
                <a:lnTo>
                  <a:pt x="1159" y="1243"/>
                </a:lnTo>
                <a:lnTo>
                  <a:pt x="1159" y="1240"/>
                </a:lnTo>
                <a:lnTo>
                  <a:pt x="1160" y="1237"/>
                </a:lnTo>
                <a:lnTo>
                  <a:pt x="1161" y="1234"/>
                </a:lnTo>
                <a:lnTo>
                  <a:pt x="1163" y="1231"/>
                </a:lnTo>
                <a:lnTo>
                  <a:pt x="1167" y="1229"/>
                </a:lnTo>
                <a:close/>
                <a:moveTo>
                  <a:pt x="1262" y="1122"/>
                </a:moveTo>
                <a:lnTo>
                  <a:pt x="1266" y="1120"/>
                </a:lnTo>
                <a:lnTo>
                  <a:pt x="1271" y="1120"/>
                </a:lnTo>
                <a:lnTo>
                  <a:pt x="1273" y="1120"/>
                </a:lnTo>
                <a:lnTo>
                  <a:pt x="1276" y="1121"/>
                </a:lnTo>
                <a:lnTo>
                  <a:pt x="1278" y="1122"/>
                </a:lnTo>
                <a:lnTo>
                  <a:pt x="1280" y="1123"/>
                </a:lnTo>
                <a:lnTo>
                  <a:pt x="1282" y="1125"/>
                </a:lnTo>
                <a:lnTo>
                  <a:pt x="1284" y="1128"/>
                </a:lnTo>
                <a:lnTo>
                  <a:pt x="1285" y="1131"/>
                </a:lnTo>
                <a:lnTo>
                  <a:pt x="1286" y="1134"/>
                </a:lnTo>
                <a:lnTo>
                  <a:pt x="1286" y="1137"/>
                </a:lnTo>
                <a:lnTo>
                  <a:pt x="1286" y="1140"/>
                </a:lnTo>
                <a:lnTo>
                  <a:pt x="1285" y="1143"/>
                </a:lnTo>
                <a:lnTo>
                  <a:pt x="1283" y="1146"/>
                </a:lnTo>
                <a:lnTo>
                  <a:pt x="1281" y="1148"/>
                </a:lnTo>
                <a:lnTo>
                  <a:pt x="1278" y="1150"/>
                </a:lnTo>
                <a:lnTo>
                  <a:pt x="1274" y="1151"/>
                </a:lnTo>
                <a:lnTo>
                  <a:pt x="1269" y="1152"/>
                </a:lnTo>
                <a:lnTo>
                  <a:pt x="1267" y="1152"/>
                </a:lnTo>
                <a:lnTo>
                  <a:pt x="1265" y="1151"/>
                </a:lnTo>
                <a:lnTo>
                  <a:pt x="1263" y="1150"/>
                </a:lnTo>
                <a:lnTo>
                  <a:pt x="1260" y="1149"/>
                </a:lnTo>
                <a:lnTo>
                  <a:pt x="1258" y="1146"/>
                </a:lnTo>
                <a:lnTo>
                  <a:pt x="1256" y="1144"/>
                </a:lnTo>
                <a:lnTo>
                  <a:pt x="1255" y="1141"/>
                </a:lnTo>
                <a:lnTo>
                  <a:pt x="1254" y="1138"/>
                </a:lnTo>
                <a:lnTo>
                  <a:pt x="1254" y="1135"/>
                </a:lnTo>
                <a:lnTo>
                  <a:pt x="1255" y="1132"/>
                </a:lnTo>
                <a:lnTo>
                  <a:pt x="1256" y="1129"/>
                </a:lnTo>
                <a:lnTo>
                  <a:pt x="1257" y="1126"/>
                </a:lnTo>
                <a:lnTo>
                  <a:pt x="1260" y="1124"/>
                </a:lnTo>
                <a:lnTo>
                  <a:pt x="1262" y="1122"/>
                </a:lnTo>
                <a:close/>
                <a:moveTo>
                  <a:pt x="1339" y="1001"/>
                </a:moveTo>
                <a:lnTo>
                  <a:pt x="1343" y="999"/>
                </a:lnTo>
                <a:lnTo>
                  <a:pt x="1347" y="999"/>
                </a:lnTo>
                <a:lnTo>
                  <a:pt x="1351" y="999"/>
                </a:lnTo>
                <a:lnTo>
                  <a:pt x="1354" y="1001"/>
                </a:lnTo>
                <a:lnTo>
                  <a:pt x="1357" y="1002"/>
                </a:lnTo>
                <a:lnTo>
                  <a:pt x="1359" y="1005"/>
                </a:lnTo>
                <a:lnTo>
                  <a:pt x="1361" y="1007"/>
                </a:lnTo>
                <a:lnTo>
                  <a:pt x="1362" y="1010"/>
                </a:lnTo>
                <a:lnTo>
                  <a:pt x="1363" y="1013"/>
                </a:lnTo>
                <a:lnTo>
                  <a:pt x="1363" y="1016"/>
                </a:lnTo>
                <a:lnTo>
                  <a:pt x="1363" y="1019"/>
                </a:lnTo>
                <a:lnTo>
                  <a:pt x="1361" y="1022"/>
                </a:lnTo>
                <a:lnTo>
                  <a:pt x="1360" y="1024"/>
                </a:lnTo>
                <a:lnTo>
                  <a:pt x="1359" y="1026"/>
                </a:lnTo>
                <a:lnTo>
                  <a:pt x="1355" y="1029"/>
                </a:lnTo>
                <a:lnTo>
                  <a:pt x="1352" y="1030"/>
                </a:lnTo>
                <a:lnTo>
                  <a:pt x="1348" y="1031"/>
                </a:lnTo>
                <a:lnTo>
                  <a:pt x="1344" y="1030"/>
                </a:lnTo>
                <a:lnTo>
                  <a:pt x="1340" y="1029"/>
                </a:lnTo>
                <a:lnTo>
                  <a:pt x="1337" y="1027"/>
                </a:lnTo>
                <a:lnTo>
                  <a:pt x="1335" y="1025"/>
                </a:lnTo>
                <a:lnTo>
                  <a:pt x="1333" y="1023"/>
                </a:lnTo>
                <a:lnTo>
                  <a:pt x="1332" y="1020"/>
                </a:lnTo>
                <a:lnTo>
                  <a:pt x="1331" y="1014"/>
                </a:lnTo>
                <a:lnTo>
                  <a:pt x="1332" y="1011"/>
                </a:lnTo>
                <a:lnTo>
                  <a:pt x="1333" y="1008"/>
                </a:lnTo>
                <a:lnTo>
                  <a:pt x="1334" y="1006"/>
                </a:lnTo>
                <a:lnTo>
                  <a:pt x="1336" y="1004"/>
                </a:lnTo>
                <a:lnTo>
                  <a:pt x="1339" y="1001"/>
                </a:lnTo>
                <a:close/>
                <a:moveTo>
                  <a:pt x="2790" y="159"/>
                </a:moveTo>
                <a:lnTo>
                  <a:pt x="2794" y="157"/>
                </a:lnTo>
                <a:lnTo>
                  <a:pt x="2797" y="157"/>
                </a:lnTo>
                <a:lnTo>
                  <a:pt x="2801" y="157"/>
                </a:lnTo>
                <a:lnTo>
                  <a:pt x="2804" y="158"/>
                </a:lnTo>
                <a:lnTo>
                  <a:pt x="2807" y="159"/>
                </a:lnTo>
                <a:lnTo>
                  <a:pt x="2810" y="161"/>
                </a:lnTo>
                <a:lnTo>
                  <a:pt x="2812" y="164"/>
                </a:lnTo>
                <a:lnTo>
                  <a:pt x="2813" y="166"/>
                </a:lnTo>
                <a:lnTo>
                  <a:pt x="2814" y="169"/>
                </a:lnTo>
                <a:lnTo>
                  <a:pt x="2814" y="172"/>
                </a:lnTo>
                <a:lnTo>
                  <a:pt x="2814" y="175"/>
                </a:lnTo>
                <a:lnTo>
                  <a:pt x="2813" y="179"/>
                </a:lnTo>
                <a:lnTo>
                  <a:pt x="2810" y="183"/>
                </a:lnTo>
                <a:lnTo>
                  <a:pt x="2808" y="185"/>
                </a:lnTo>
                <a:lnTo>
                  <a:pt x="2806" y="186"/>
                </a:lnTo>
                <a:lnTo>
                  <a:pt x="2803" y="188"/>
                </a:lnTo>
                <a:lnTo>
                  <a:pt x="2800" y="189"/>
                </a:lnTo>
                <a:lnTo>
                  <a:pt x="2796" y="188"/>
                </a:lnTo>
                <a:lnTo>
                  <a:pt x="2792" y="187"/>
                </a:lnTo>
                <a:lnTo>
                  <a:pt x="2789" y="186"/>
                </a:lnTo>
                <a:lnTo>
                  <a:pt x="2787" y="184"/>
                </a:lnTo>
                <a:lnTo>
                  <a:pt x="2785" y="181"/>
                </a:lnTo>
                <a:lnTo>
                  <a:pt x="2784" y="179"/>
                </a:lnTo>
                <a:lnTo>
                  <a:pt x="2783" y="176"/>
                </a:lnTo>
                <a:lnTo>
                  <a:pt x="2782" y="173"/>
                </a:lnTo>
                <a:lnTo>
                  <a:pt x="2783" y="170"/>
                </a:lnTo>
                <a:lnTo>
                  <a:pt x="2784" y="167"/>
                </a:lnTo>
                <a:lnTo>
                  <a:pt x="2786" y="162"/>
                </a:lnTo>
                <a:lnTo>
                  <a:pt x="2788" y="160"/>
                </a:lnTo>
                <a:lnTo>
                  <a:pt x="2790" y="159"/>
                </a:lnTo>
                <a:close/>
                <a:moveTo>
                  <a:pt x="1393" y="868"/>
                </a:moveTo>
                <a:lnTo>
                  <a:pt x="1396" y="867"/>
                </a:lnTo>
                <a:lnTo>
                  <a:pt x="1399" y="866"/>
                </a:lnTo>
                <a:lnTo>
                  <a:pt x="1402" y="866"/>
                </a:lnTo>
                <a:lnTo>
                  <a:pt x="1405" y="866"/>
                </a:lnTo>
                <a:lnTo>
                  <a:pt x="1408" y="868"/>
                </a:lnTo>
                <a:lnTo>
                  <a:pt x="1411" y="869"/>
                </a:lnTo>
                <a:lnTo>
                  <a:pt x="1413" y="872"/>
                </a:lnTo>
                <a:lnTo>
                  <a:pt x="1415" y="874"/>
                </a:lnTo>
                <a:lnTo>
                  <a:pt x="1416" y="877"/>
                </a:lnTo>
                <a:lnTo>
                  <a:pt x="1417" y="880"/>
                </a:lnTo>
                <a:lnTo>
                  <a:pt x="1417" y="883"/>
                </a:lnTo>
                <a:lnTo>
                  <a:pt x="1416" y="886"/>
                </a:lnTo>
                <a:lnTo>
                  <a:pt x="1415" y="889"/>
                </a:lnTo>
                <a:lnTo>
                  <a:pt x="1413" y="892"/>
                </a:lnTo>
                <a:lnTo>
                  <a:pt x="1411" y="894"/>
                </a:lnTo>
                <a:lnTo>
                  <a:pt x="1409" y="896"/>
                </a:lnTo>
                <a:lnTo>
                  <a:pt x="1406" y="897"/>
                </a:lnTo>
                <a:lnTo>
                  <a:pt x="1403" y="898"/>
                </a:lnTo>
                <a:lnTo>
                  <a:pt x="1399" y="898"/>
                </a:lnTo>
                <a:lnTo>
                  <a:pt x="1396" y="897"/>
                </a:lnTo>
                <a:lnTo>
                  <a:pt x="1393" y="896"/>
                </a:lnTo>
                <a:lnTo>
                  <a:pt x="1391" y="894"/>
                </a:lnTo>
                <a:lnTo>
                  <a:pt x="1388" y="892"/>
                </a:lnTo>
                <a:lnTo>
                  <a:pt x="1387" y="889"/>
                </a:lnTo>
                <a:lnTo>
                  <a:pt x="1385" y="886"/>
                </a:lnTo>
                <a:lnTo>
                  <a:pt x="1385" y="883"/>
                </a:lnTo>
                <a:lnTo>
                  <a:pt x="1385" y="880"/>
                </a:lnTo>
                <a:lnTo>
                  <a:pt x="1385" y="877"/>
                </a:lnTo>
                <a:lnTo>
                  <a:pt x="1387" y="874"/>
                </a:lnTo>
                <a:lnTo>
                  <a:pt x="1388" y="872"/>
                </a:lnTo>
                <a:lnTo>
                  <a:pt x="1390" y="870"/>
                </a:lnTo>
                <a:lnTo>
                  <a:pt x="1393" y="868"/>
                </a:lnTo>
                <a:close/>
                <a:moveTo>
                  <a:pt x="2656" y="107"/>
                </a:moveTo>
                <a:lnTo>
                  <a:pt x="2659" y="106"/>
                </a:lnTo>
                <a:lnTo>
                  <a:pt x="2662" y="105"/>
                </a:lnTo>
                <a:lnTo>
                  <a:pt x="2666" y="105"/>
                </a:lnTo>
                <a:lnTo>
                  <a:pt x="2669" y="106"/>
                </a:lnTo>
                <a:lnTo>
                  <a:pt x="2672" y="108"/>
                </a:lnTo>
                <a:lnTo>
                  <a:pt x="2675" y="109"/>
                </a:lnTo>
                <a:lnTo>
                  <a:pt x="2677" y="112"/>
                </a:lnTo>
                <a:lnTo>
                  <a:pt x="2678" y="114"/>
                </a:lnTo>
                <a:lnTo>
                  <a:pt x="2679" y="117"/>
                </a:lnTo>
                <a:lnTo>
                  <a:pt x="2680" y="120"/>
                </a:lnTo>
                <a:lnTo>
                  <a:pt x="2680" y="123"/>
                </a:lnTo>
                <a:lnTo>
                  <a:pt x="2679" y="127"/>
                </a:lnTo>
                <a:lnTo>
                  <a:pt x="2678" y="129"/>
                </a:lnTo>
                <a:lnTo>
                  <a:pt x="2676" y="132"/>
                </a:lnTo>
                <a:lnTo>
                  <a:pt x="2674" y="134"/>
                </a:lnTo>
                <a:lnTo>
                  <a:pt x="2672" y="135"/>
                </a:lnTo>
                <a:lnTo>
                  <a:pt x="2669" y="137"/>
                </a:lnTo>
                <a:lnTo>
                  <a:pt x="2665" y="137"/>
                </a:lnTo>
                <a:lnTo>
                  <a:pt x="2662" y="137"/>
                </a:lnTo>
                <a:lnTo>
                  <a:pt x="2659" y="136"/>
                </a:lnTo>
                <a:lnTo>
                  <a:pt x="2656" y="135"/>
                </a:lnTo>
                <a:lnTo>
                  <a:pt x="2653" y="133"/>
                </a:lnTo>
                <a:lnTo>
                  <a:pt x="2651" y="131"/>
                </a:lnTo>
                <a:lnTo>
                  <a:pt x="2649" y="128"/>
                </a:lnTo>
                <a:lnTo>
                  <a:pt x="2648" y="125"/>
                </a:lnTo>
                <a:lnTo>
                  <a:pt x="2648" y="122"/>
                </a:lnTo>
                <a:lnTo>
                  <a:pt x="2648" y="119"/>
                </a:lnTo>
                <a:lnTo>
                  <a:pt x="2649" y="116"/>
                </a:lnTo>
                <a:lnTo>
                  <a:pt x="2652" y="111"/>
                </a:lnTo>
                <a:lnTo>
                  <a:pt x="2654" y="109"/>
                </a:lnTo>
                <a:lnTo>
                  <a:pt x="2656" y="107"/>
                </a:lnTo>
                <a:close/>
                <a:moveTo>
                  <a:pt x="1423" y="727"/>
                </a:moveTo>
                <a:lnTo>
                  <a:pt x="1428" y="726"/>
                </a:lnTo>
                <a:lnTo>
                  <a:pt x="1431" y="725"/>
                </a:lnTo>
                <a:lnTo>
                  <a:pt x="1433" y="725"/>
                </a:lnTo>
                <a:lnTo>
                  <a:pt x="1436" y="726"/>
                </a:lnTo>
                <a:lnTo>
                  <a:pt x="1439" y="728"/>
                </a:lnTo>
                <a:lnTo>
                  <a:pt x="1442" y="729"/>
                </a:lnTo>
                <a:lnTo>
                  <a:pt x="1444" y="732"/>
                </a:lnTo>
                <a:lnTo>
                  <a:pt x="1445" y="734"/>
                </a:lnTo>
                <a:lnTo>
                  <a:pt x="1446" y="737"/>
                </a:lnTo>
                <a:lnTo>
                  <a:pt x="1447" y="740"/>
                </a:lnTo>
                <a:lnTo>
                  <a:pt x="1447" y="744"/>
                </a:lnTo>
                <a:lnTo>
                  <a:pt x="1446" y="747"/>
                </a:lnTo>
                <a:lnTo>
                  <a:pt x="1444" y="750"/>
                </a:lnTo>
                <a:lnTo>
                  <a:pt x="1442" y="753"/>
                </a:lnTo>
                <a:lnTo>
                  <a:pt x="1439" y="755"/>
                </a:lnTo>
                <a:lnTo>
                  <a:pt x="1434" y="757"/>
                </a:lnTo>
                <a:lnTo>
                  <a:pt x="1431" y="757"/>
                </a:lnTo>
                <a:lnTo>
                  <a:pt x="1429" y="757"/>
                </a:lnTo>
                <a:lnTo>
                  <a:pt x="1426" y="756"/>
                </a:lnTo>
                <a:lnTo>
                  <a:pt x="1423" y="755"/>
                </a:lnTo>
                <a:lnTo>
                  <a:pt x="1420" y="753"/>
                </a:lnTo>
                <a:lnTo>
                  <a:pt x="1418" y="751"/>
                </a:lnTo>
                <a:lnTo>
                  <a:pt x="1417" y="748"/>
                </a:lnTo>
                <a:lnTo>
                  <a:pt x="1416" y="745"/>
                </a:lnTo>
                <a:lnTo>
                  <a:pt x="1415" y="742"/>
                </a:lnTo>
                <a:lnTo>
                  <a:pt x="1415" y="739"/>
                </a:lnTo>
                <a:lnTo>
                  <a:pt x="1416" y="735"/>
                </a:lnTo>
                <a:lnTo>
                  <a:pt x="1418" y="732"/>
                </a:lnTo>
                <a:lnTo>
                  <a:pt x="1420" y="729"/>
                </a:lnTo>
                <a:lnTo>
                  <a:pt x="1423" y="727"/>
                </a:lnTo>
                <a:close/>
                <a:moveTo>
                  <a:pt x="2519" y="64"/>
                </a:moveTo>
                <a:lnTo>
                  <a:pt x="2522" y="62"/>
                </a:lnTo>
                <a:lnTo>
                  <a:pt x="2525" y="62"/>
                </a:lnTo>
                <a:lnTo>
                  <a:pt x="2528" y="62"/>
                </a:lnTo>
                <a:lnTo>
                  <a:pt x="2531" y="62"/>
                </a:lnTo>
                <a:lnTo>
                  <a:pt x="2534" y="63"/>
                </a:lnTo>
                <a:lnTo>
                  <a:pt x="2537" y="65"/>
                </a:lnTo>
                <a:lnTo>
                  <a:pt x="2539" y="67"/>
                </a:lnTo>
                <a:lnTo>
                  <a:pt x="2541" y="70"/>
                </a:lnTo>
                <a:lnTo>
                  <a:pt x="2542" y="73"/>
                </a:lnTo>
                <a:lnTo>
                  <a:pt x="2543" y="76"/>
                </a:lnTo>
                <a:lnTo>
                  <a:pt x="2543" y="79"/>
                </a:lnTo>
                <a:lnTo>
                  <a:pt x="2542" y="82"/>
                </a:lnTo>
                <a:lnTo>
                  <a:pt x="2541" y="85"/>
                </a:lnTo>
                <a:lnTo>
                  <a:pt x="2539" y="87"/>
                </a:lnTo>
                <a:lnTo>
                  <a:pt x="2537" y="90"/>
                </a:lnTo>
                <a:lnTo>
                  <a:pt x="2535" y="91"/>
                </a:lnTo>
                <a:lnTo>
                  <a:pt x="2532" y="93"/>
                </a:lnTo>
                <a:lnTo>
                  <a:pt x="2529" y="93"/>
                </a:lnTo>
                <a:lnTo>
                  <a:pt x="2526" y="93"/>
                </a:lnTo>
                <a:lnTo>
                  <a:pt x="2522" y="93"/>
                </a:lnTo>
                <a:lnTo>
                  <a:pt x="2519" y="92"/>
                </a:lnTo>
                <a:lnTo>
                  <a:pt x="2517" y="90"/>
                </a:lnTo>
                <a:lnTo>
                  <a:pt x="2514" y="88"/>
                </a:lnTo>
                <a:lnTo>
                  <a:pt x="2513" y="85"/>
                </a:lnTo>
                <a:lnTo>
                  <a:pt x="2512" y="83"/>
                </a:lnTo>
                <a:lnTo>
                  <a:pt x="2511" y="79"/>
                </a:lnTo>
                <a:lnTo>
                  <a:pt x="2511" y="76"/>
                </a:lnTo>
                <a:lnTo>
                  <a:pt x="2511" y="73"/>
                </a:lnTo>
                <a:lnTo>
                  <a:pt x="2513" y="70"/>
                </a:lnTo>
                <a:lnTo>
                  <a:pt x="2514" y="68"/>
                </a:lnTo>
                <a:lnTo>
                  <a:pt x="2516" y="65"/>
                </a:lnTo>
                <a:lnTo>
                  <a:pt x="2519" y="64"/>
                </a:lnTo>
                <a:close/>
                <a:moveTo>
                  <a:pt x="1437" y="583"/>
                </a:moveTo>
                <a:lnTo>
                  <a:pt x="1441" y="581"/>
                </a:lnTo>
                <a:lnTo>
                  <a:pt x="1446" y="581"/>
                </a:lnTo>
                <a:lnTo>
                  <a:pt x="1449" y="582"/>
                </a:lnTo>
                <a:lnTo>
                  <a:pt x="1452" y="583"/>
                </a:lnTo>
                <a:lnTo>
                  <a:pt x="1455" y="584"/>
                </a:lnTo>
                <a:lnTo>
                  <a:pt x="1457" y="586"/>
                </a:lnTo>
                <a:lnTo>
                  <a:pt x="1459" y="589"/>
                </a:lnTo>
                <a:lnTo>
                  <a:pt x="1460" y="592"/>
                </a:lnTo>
                <a:lnTo>
                  <a:pt x="1461" y="596"/>
                </a:lnTo>
                <a:lnTo>
                  <a:pt x="1461" y="599"/>
                </a:lnTo>
                <a:lnTo>
                  <a:pt x="1461" y="601"/>
                </a:lnTo>
                <a:lnTo>
                  <a:pt x="1460" y="603"/>
                </a:lnTo>
                <a:lnTo>
                  <a:pt x="1458" y="607"/>
                </a:lnTo>
                <a:lnTo>
                  <a:pt x="1456" y="610"/>
                </a:lnTo>
                <a:lnTo>
                  <a:pt x="1453" y="612"/>
                </a:lnTo>
                <a:lnTo>
                  <a:pt x="1449" y="614"/>
                </a:lnTo>
                <a:lnTo>
                  <a:pt x="1444" y="614"/>
                </a:lnTo>
                <a:lnTo>
                  <a:pt x="1441" y="613"/>
                </a:lnTo>
                <a:lnTo>
                  <a:pt x="1438" y="612"/>
                </a:lnTo>
                <a:lnTo>
                  <a:pt x="1435" y="611"/>
                </a:lnTo>
                <a:lnTo>
                  <a:pt x="1433" y="608"/>
                </a:lnTo>
                <a:lnTo>
                  <a:pt x="1431" y="606"/>
                </a:lnTo>
                <a:lnTo>
                  <a:pt x="1430" y="603"/>
                </a:lnTo>
                <a:lnTo>
                  <a:pt x="1429" y="600"/>
                </a:lnTo>
                <a:lnTo>
                  <a:pt x="1429" y="597"/>
                </a:lnTo>
                <a:lnTo>
                  <a:pt x="1429" y="595"/>
                </a:lnTo>
                <a:lnTo>
                  <a:pt x="1430" y="592"/>
                </a:lnTo>
                <a:lnTo>
                  <a:pt x="1431" y="588"/>
                </a:lnTo>
                <a:lnTo>
                  <a:pt x="1434" y="585"/>
                </a:lnTo>
                <a:lnTo>
                  <a:pt x="1437" y="583"/>
                </a:lnTo>
                <a:close/>
                <a:moveTo>
                  <a:pt x="2378" y="30"/>
                </a:moveTo>
                <a:lnTo>
                  <a:pt x="2380" y="28"/>
                </a:lnTo>
                <a:lnTo>
                  <a:pt x="2383" y="28"/>
                </a:lnTo>
                <a:lnTo>
                  <a:pt x="2389" y="28"/>
                </a:lnTo>
                <a:lnTo>
                  <a:pt x="2392" y="29"/>
                </a:lnTo>
                <a:lnTo>
                  <a:pt x="2395" y="30"/>
                </a:lnTo>
                <a:lnTo>
                  <a:pt x="2397" y="32"/>
                </a:lnTo>
                <a:lnTo>
                  <a:pt x="2399" y="35"/>
                </a:lnTo>
                <a:lnTo>
                  <a:pt x="2401" y="37"/>
                </a:lnTo>
                <a:lnTo>
                  <a:pt x="2402" y="40"/>
                </a:lnTo>
                <a:lnTo>
                  <a:pt x="2402" y="43"/>
                </a:lnTo>
                <a:lnTo>
                  <a:pt x="2402" y="47"/>
                </a:lnTo>
                <a:lnTo>
                  <a:pt x="2401" y="50"/>
                </a:lnTo>
                <a:lnTo>
                  <a:pt x="2399" y="53"/>
                </a:lnTo>
                <a:lnTo>
                  <a:pt x="2397" y="55"/>
                </a:lnTo>
                <a:lnTo>
                  <a:pt x="2394" y="57"/>
                </a:lnTo>
                <a:lnTo>
                  <a:pt x="2391" y="58"/>
                </a:lnTo>
                <a:lnTo>
                  <a:pt x="2389" y="59"/>
                </a:lnTo>
                <a:lnTo>
                  <a:pt x="2383" y="59"/>
                </a:lnTo>
                <a:lnTo>
                  <a:pt x="2380" y="58"/>
                </a:lnTo>
                <a:lnTo>
                  <a:pt x="2377" y="57"/>
                </a:lnTo>
                <a:lnTo>
                  <a:pt x="2375" y="55"/>
                </a:lnTo>
                <a:lnTo>
                  <a:pt x="2373" y="52"/>
                </a:lnTo>
                <a:lnTo>
                  <a:pt x="2371" y="50"/>
                </a:lnTo>
                <a:lnTo>
                  <a:pt x="2370" y="47"/>
                </a:lnTo>
                <a:lnTo>
                  <a:pt x="2370" y="44"/>
                </a:lnTo>
                <a:lnTo>
                  <a:pt x="2370" y="40"/>
                </a:lnTo>
                <a:lnTo>
                  <a:pt x="2371" y="37"/>
                </a:lnTo>
                <a:lnTo>
                  <a:pt x="2373" y="34"/>
                </a:lnTo>
                <a:lnTo>
                  <a:pt x="2375" y="32"/>
                </a:lnTo>
                <a:lnTo>
                  <a:pt x="2378" y="30"/>
                </a:lnTo>
                <a:close/>
                <a:moveTo>
                  <a:pt x="2236" y="8"/>
                </a:moveTo>
                <a:lnTo>
                  <a:pt x="2238" y="7"/>
                </a:lnTo>
                <a:lnTo>
                  <a:pt x="2240" y="6"/>
                </a:lnTo>
                <a:lnTo>
                  <a:pt x="2243" y="6"/>
                </a:lnTo>
                <a:lnTo>
                  <a:pt x="2245" y="6"/>
                </a:lnTo>
                <a:lnTo>
                  <a:pt x="2248" y="7"/>
                </a:lnTo>
                <a:lnTo>
                  <a:pt x="2251" y="8"/>
                </a:lnTo>
                <a:lnTo>
                  <a:pt x="2254" y="10"/>
                </a:lnTo>
                <a:lnTo>
                  <a:pt x="2256" y="12"/>
                </a:lnTo>
                <a:lnTo>
                  <a:pt x="2258" y="14"/>
                </a:lnTo>
                <a:lnTo>
                  <a:pt x="2259" y="17"/>
                </a:lnTo>
                <a:lnTo>
                  <a:pt x="2260" y="20"/>
                </a:lnTo>
                <a:lnTo>
                  <a:pt x="2260" y="23"/>
                </a:lnTo>
                <a:lnTo>
                  <a:pt x="2259" y="27"/>
                </a:lnTo>
                <a:lnTo>
                  <a:pt x="2257" y="31"/>
                </a:lnTo>
                <a:lnTo>
                  <a:pt x="2255" y="34"/>
                </a:lnTo>
                <a:lnTo>
                  <a:pt x="2252" y="36"/>
                </a:lnTo>
                <a:lnTo>
                  <a:pt x="2250" y="37"/>
                </a:lnTo>
                <a:lnTo>
                  <a:pt x="2247" y="38"/>
                </a:lnTo>
                <a:lnTo>
                  <a:pt x="2245" y="38"/>
                </a:lnTo>
                <a:lnTo>
                  <a:pt x="2242" y="38"/>
                </a:lnTo>
                <a:lnTo>
                  <a:pt x="2239" y="37"/>
                </a:lnTo>
                <a:lnTo>
                  <a:pt x="2236" y="36"/>
                </a:lnTo>
                <a:lnTo>
                  <a:pt x="2233" y="34"/>
                </a:lnTo>
                <a:lnTo>
                  <a:pt x="2231" y="32"/>
                </a:lnTo>
                <a:lnTo>
                  <a:pt x="2230" y="30"/>
                </a:lnTo>
                <a:lnTo>
                  <a:pt x="2228" y="27"/>
                </a:lnTo>
                <a:lnTo>
                  <a:pt x="2228" y="24"/>
                </a:lnTo>
                <a:lnTo>
                  <a:pt x="2228" y="20"/>
                </a:lnTo>
                <a:lnTo>
                  <a:pt x="2229" y="17"/>
                </a:lnTo>
                <a:lnTo>
                  <a:pt x="2230" y="13"/>
                </a:lnTo>
                <a:lnTo>
                  <a:pt x="2233" y="10"/>
                </a:lnTo>
                <a:lnTo>
                  <a:pt x="2236" y="8"/>
                </a:lnTo>
                <a:close/>
                <a:moveTo>
                  <a:pt x="1449" y="440"/>
                </a:moveTo>
                <a:lnTo>
                  <a:pt x="1451" y="439"/>
                </a:lnTo>
                <a:lnTo>
                  <a:pt x="1453" y="438"/>
                </a:lnTo>
                <a:lnTo>
                  <a:pt x="1456" y="437"/>
                </a:lnTo>
                <a:lnTo>
                  <a:pt x="1459" y="438"/>
                </a:lnTo>
                <a:lnTo>
                  <a:pt x="1462" y="438"/>
                </a:lnTo>
                <a:lnTo>
                  <a:pt x="1465" y="440"/>
                </a:lnTo>
                <a:lnTo>
                  <a:pt x="1467" y="441"/>
                </a:lnTo>
                <a:lnTo>
                  <a:pt x="1469" y="444"/>
                </a:lnTo>
                <a:lnTo>
                  <a:pt x="1471" y="446"/>
                </a:lnTo>
                <a:lnTo>
                  <a:pt x="1472" y="449"/>
                </a:lnTo>
                <a:lnTo>
                  <a:pt x="1473" y="452"/>
                </a:lnTo>
                <a:lnTo>
                  <a:pt x="1473" y="455"/>
                </a:lnTo>
                <a:lnTo>
                  <a:pt x="1472" y="459"/>
                </a:lnTo>
                <a:lnTo>
                  <a:pt x="1470" y="462"/>
                </a:lnTo>
                <a:lnTo>
                  <a:pt x="1468" y="465"/>
                </a:lnTo>
                <a:lnTo>
                  <a:pt x="1465" y="467"/>
                </a:lnTo>
                <a:lnTo>
                  <a:pt x="1462" y="468"/>
                </a:lnTo>
                <a:lnTo>
                  <a:pt x="1460" y="469"/>
                </a:lnTo>
                <a:lnTo>
                  <a:pt x="1457" y="469"/>
                </a:lnTo>
                <a:lnTo>
                  <a:pt x="1455" y="469"/>
                </a:lnTo>
                <a:lnTo>
                  <a:pt x="1452" y="469"/>
                </a:lnTo>
                <a:lnTo>
                  <a:pt x="1449" y="467"/>
                </a:lnTo>
                <a:lnTo>
                  <a:pt x="1446" y="466"/>
                </a:lnTo>
                <a:lnTo>
                  <a:pt x="1444" y="463"/>
                </a:lnTo>
                <a:lnTo>
                  <a:pt x="1442" y="461"/>
                </a:lnTo>
                <a:lnTo>
                  <a:pt x="1441" y="458"/>
                </a:lnTo>
                <a:lnTo>
                  <a:pt x="1441" y="455"/>
                </a:lnTo>
                <a:lnTo>
                  <a:pt x="1441" y="452"/>
                </a:lnTo>
                <a:lnTo>
                  <a:pt x="1442" y="448"/>
                </a:lnTo>
                <a:lnTo>
                  <a:pt x="1443" y="445"/>
                </a:lnTo>
                <a:lnTo>
                  <a:pt x="1446" y="442"/>
                </a:lnTo>
                <a:lnTo>
                  <a:pt x="1449" y="440"/>
                </a:lnTo>
                <a:close/>
                <a:moveTo>
                  <a:pt x="2092" y="2"/>
                </a:moveTo>
                <a:lnTo>
                  <a:pt x="2094" y="1"/>
                </a:lnTo>
                <a:lnTo>
                  <a:pt x="2096" y="1"/>
                </a:lnTo>
                <a:lnTo>
                  <a:pt x="2100" y="0"/>
                </a:lnTo>
                <a:lnTo>
                  <a:pt x="2103" y="0"/>
                </a:lnTo>
                <a:lnTo>
                  <a:pt x="2106" y="1"/>
                </a:lnTo>
                <a:lnTo>
                  <a:pt x="2107" y="2"/>
                </a:lnTo>
                <a:lnTo>
                  <a:pt x="2109" y="3"/>
                </a:lnTo>
                <a:lnTo>
                  <a:pt x="2111" y="4"/>
                </a:lnTo>
                <a:lnTo>
                  <a:pt x="2113" y="7"/>
                </a:lnTo>
                <a:lnTo>
                  <a:pt x="2115" y="9"/>
                </a:lnTo>
                <a:lnTo>
                  <a:pt x="2116" y="12"/>
                </a:lnTo>
                <a:lnTo>
                  <a:pt x="2116" y="16"/>
                </a:lnTo>
                <a:lnTo>
                  <a:pt x="2116" y="20"/>
                </a:lnTo>
                <a:lnTo>
                  <a:pt x="2115" y="22"/>
                </a:lnTo>
                <a:lnTo>
                  <a:pt x="2114" y="24"/>
                </a:lnTo>
                <a:lnTo>
                  <a:pt x="2111" y="27"/>
                </a:lnTo>
                <a:lnTo>
                  <a:pt x="2108" y="30"/>
                </a:lnTo>
                <a:lnTo>
                  <a:pt x="2106" y="31"/>
                </a:lnTo>
                <a:lnTo>
                  <a:pt x="2104" y="31"/>
                </a:lnTo>
                <a:lnTo>
                  <a:pt x="2100" y="32"/>
                </a:lnTo>
                <a:lnTo>
                  <a:pt x="2097" y="32"/>
                </a:lnTo>
                <a:lnTo>
                  <a:pt x="2094" y="31"/>
                </a:lnTo>
                <a:lnTo>
                  <a:pt x="2093" y="30"/>
                </a:lnTo>
                <a:lnTo>
                  <a:pt x="2091" y="29"/>
                </a:lnTo>
                <a:lnTo>
                  <a:pt x="2089" y="28"/>
                </a:lnTo>
                <a:lnTo>
                  <a:pt x="2087" y="25"/>
                </a:lnTo>
                <a:lnTo>
                  <a:pt x="2085" y="23"/>
                </a:lnTo>
                <a:lnTo>
                  <a:pt x="2084" y="20"/>
                </a:lnTo>
                <a:lnTo>
                  <a:pt x="2084" y="16"/>
                </a:lnTo>
                <a:lnTo>
                  <a:pt x="2085" y="12"/>
                </a:lnTo>
                <a:lnTo>
                  <a:pt x="2085" y="10"/>
                </a:lnTo>
                <a:lnTo>
                  <a:pt x="2086" y="8"/>
                </a:lnTo>
                <a:lnTo>
                  <a:pt x="2089" y="5"/>
                </a:lnTo>
                <a:lnTo>
                  <a:pt x="2092" y="2"/>
                </a:lnTo>
                <a:close/>
                <a:moveTo>
                  <a:pt x="1480" y="300"/>
                </a:moveTo>
                <a:lnTo>
                  <a:pt x="1483" y="298"/>
                </a:lnTo>
                <a:lnTo>
                  <a:pt x="1487" y="298"/>
                </a:lnTo>
                <a:lnTo>
                  <a:pt x="1490" y="298"/>
                </a:lnTo>
                <a:lnTo>
                  <a:pt x="1494" y="299"/>
                </a:lnTo>
                <a:lnTo>
                  <a:pt x="1497" y="300"/>
                </a:lnTo>
                <a:lnTo>
                  <a:pt x="1499" y="302"/>
                </a:lnTo>
                <a:lnTo>
                  <a:pt x="1501" y="304"/>
                </a:lnTo>
                <a:lnTo>
                  <a:pt x="1503" y="307"/>
                </a:lnTo>
                <a:lnTo>
                  <a:pt x="1504" y="310"/>
                </a:lnTo>
                <a:lnTo>
                  <a:pt x="1504" y="313"/>
                </a:lnTo>
                <a:lnTo>
                  <a:pt x="1504" y="316"/>
                </a:lnTo>
                <a:lnTo>
                  <a:pt x="1503" y="319"/>
                </a:lnTo>
                <a:lnTo>
                  <a:pt x="1500" y="324"/>
                </a:lnTo>
                <a:lnTo>
                  <a:pt x="1496" y="327"/>
                </a:lnTo>
                <a:lnTo>
                  <a:pt x="1493" y="329"/>
                </a:lnTo>
                <a:lnTo>
                  <a:pt x="1490" y="330"/>
                </a:lnTo>
                <a:lnTo>
                  <a:pt x="1486" y="329"/>
                </a:lnTo>
                <a:lnTo>
                  <a:pt x="1483" y="329"/>
                </a:lnTo>
                <a:lnTo>
                  <a:pt x="1480" y="327"/>
                </a:lnTo>
                <a:lnTo>
                  <a:pt x="1477" y="325"/>
                </a:lnTo>
                <a:lnTo>
                  <a:pt x="1475" y="323"/>
                </a:lnTo>
                <a:lnTo>
                  <a:pt x="1474" y="320"/>
                </a:lnTo>
                <a:lnTo>
                  <a:pt x="1473" y="317"/>
                </a:lnTo>
                <a:lnTo>
                  <a:pt x="1472" y="314"/>
                </a:lnTo>
                <a:lnTo>
                  <a:pt x="1472" y="311"/>
                </a:lnTo>
                <a:lnTo>
                  <a:pt x="1473" y="308"/>
                </a:lnTo>
                <a:lnTo>
                  <a:pt x="1476" y="303"/>
                </a:lnTo>
                <a:lnTo>
                  <a:pt x="1480" y="300"/>
                </a:lnTo>
                <a:close/>
                <a:moveTo>
                  <a:pt x="1949" y="15"/>
                </a:moveTo>
                <a:lnTo>
                  <a:pt x="1951" y="14"/>
                </a:lnTo>
                <a:lnTo>
                  <a:pt x="1954" y="13"/>
                </a:lnTo>
                <a:lnTo>
                  <a:pt x="1958" y="13"/>
                </a:lnTo>
                <a:lnTo>
                  <a:pt x="1961" y="13"/>
                </a:lnTo>
                <a:lnTo>
                  <a:pt x="1964" y="14"/>
                </a:lnTo>
                <a:lnTo>
                  <a:pt x="1966" y="16"/>
                </a:lnTo>
                <a:lnTo>
                  <a:pt x="1969" y="18"/>
                </a:lnTo>
                <a:lnTo>
                  <a:pt x="1970" y="20"/>
                </a:lnTo>
                <a:lnTo>
                  <a:pt x="1972" y="23"/>
                </a:lnTo>
                <a:lnTo>
                  <a:pt x="1972" y="25"/>
                </a:lnTo>
                <a:lnTo>
                  <a:pt x="1973" y="26"/>
                </a:lnTo>
                <a:lnTo>
                  <a:pt x="1973" y="31"/>
                </a:lnTo>
                <a:lnTo>
                  <a:pt x="1972" y="33"/>
                </a:lnTo>
                <a:lnTo>
                  <a:pt x="1971" y="36"/>
                </a:lnTo>
                <a:lnTo>
                  <a:pt x="1970" y="38"/>
                </a:lnTo>
                <a:lnTo>
                  <a:pt x="1969" y="40"/>
                </a:lnTo>
                <a:lnTo>
                  <a:pt x="1967" y="41"/>
                </a:lnTo>
                <a:lnTo>
                  <a:pt x="1965" y="42"/>
                </a:lnTo>
                <a:lnTo>
                  <a:pt x="1962" y="44"/>
                </a:lnTo>
                <a:lnTo>
                  <a:pt x="1959" y="44"/>
                </a:lnTo>
                <a:lnTo>
                  <a:pt x="1956" y="45"/>
                </a:lnTo>
                <a:lnTo>
                  <a:pt x="1953" y="44"/>
                </a:lnTo>
                <a:lnTo>
                  <a:pt x="1950" y="43"/>
                </a:lnTo>
                <a:lnTo>
                  <a:pt x="1947" y="42"/>
                </a:lnTo>
                <a:lnTo>
                  <a:pt x="1945" y="40"/>
                </a:lnTo>
                <a:lnTo>
                  <a:pt x="1943" y="37"/>
                </a:lnTo>
                <a:lnTo>
                  <a:pt x="1942" y="34"/>
                </a:lnTo>
                <a:lnTo>
                  <a:pt x="1941" y="33"/>
                </a:lnTo>
                <a:lnTo>
                  <a:pt x="1941" y="31"/>
                </a:lnTo>
                <a:lnTo>
                  <a:pt x="1941" y="26"/>
                </a:lnTo>
                <a:lnTo>
                  <a:pt x="1942" y="24"/>
                </a:lnTo>
                <a:lnTo>
                  <a:pt x="1942" y="22"/>
                </a:lnTo>
                <a:lnTo>
                  <a:pt x="1944" y="20"/>
                </a:lnTo>
                <a:lnTo>
                  <a:pt x="1945" y="18"/>
                </a:lnTo>
                <a:lnTo>
                  <a:pt x="1947" y="16"/>
                </a:lnTo>
                <a:lnTo>
                  <a:pt x="1949" y="15"/>
                </a:lnTo>
                <a:close/>
                <a:moveTo>
                  <a:pt x="1809" y="47"/>
                </a:moveTo>
                <a:lnTo>
                  <a:pt x="1812" y="46"/>
                </a:lnTo>
                <a:lnTo>
                  <a:pt x="1815" y="45"/>
                </a:lnTo>
                <a:lnTo>
                  <a:pt x="1819" y="45"/>
                </a:lnTo>
                <a:lnTo>
                  <a:pt x="1822" y="46"/>
                </a:lnTo>
                <a:lnTo>
                  <a:pt x="1824" y="47"/>
                </a:lnTo>
                <a:lnTo>
                  <a:pt x="1827" y="49"/>
                </a:lnTo>
                <a:lnTo>
                  <a:pt x="1829" y="51"/>
                </a:lnTo>
                <a:lnTo>
                  <a:pt x="1831" y="53"/>
                </a:lnTo>
                <a:lnTo>
                  <a:pt x="1832" y="56"/>
                </a:lnTo>
                <a:lnTo>
                  <a:pt x="1833" y="62"/>
                </a:lnTo>
                <a:lnTo>
                  <a:pt x="1833" y="65"/>
                </a:lnTo>
                <a:lnTo>
                  <a:pt x="1832" y="67"/>
                </a:lnTo>
                <a:lnTo>
                  <a:pt x="1831" y="69"/>
                </a:lnTo>
                <a:lnTo>
                  <a:pt x="1829" y="72"/>
                </a:lnTo>
                <a:lnTo>
                  <a:pt x="1825" y="75"/>
                </a:lnTo>
                <a:lnTo>
                  <a:pt x="1822" y="76"/>
                </a:lnTo>
                <a:lnTo>
                  <a:pt x="1819" y="77"/>
                </a:lnTo>
                <a:lnTo>
                  <a:pt x="1815" y="77"/>
                </a:lnTo>
                <a:lnTo>
                  <a:pt x="1812" y="77"/>
                </a:lnTo>
                <a:lnTo>
                  <a:pt x="1810" y="75"/>
                </a:lnTo>
                <a:lnTo>
                  <a:pt x="1807" y="74"/>
                </a:lnTo>
                <a:lnTo>
                  <a:pt x="1805" y="72"/>
                </a:lnTo>
                <a:lnTo>
                  <a:pt x="1803" y="69"/>
                </a:lnTo>
                <a:lnTo>
                  <a:pt x="1802" y="66"/>
                </a:lnTo>
                <a:lnTo>
                  <a:pt x="1801" y="60"/>
                </a:lnTo>
                <a:lnTo>
                  <a:pt x="1801" y="58"/>
                </a:lnTo>
                <a:lnTo>
                  <a:pt x="1802" y="55"/>
                </a:lnTo>
                <a:lnTo>
                  <a:pt x="1803" y="53"/>
                </a:lnTo>
                <a:lnTo>
                  <a:pt x="1805" y="51"/>
                </a:lnTo>
                <a:lnTo>
                  <a:pt x="1809" y="47"/>
                </a:lnTo>
                <a:close/>
                <a:moveTo>
                  <a:pt x="1557" y="180"/>
                </a:moveTo>
                <a:lnTo>
                  <a:pt x="1560" y="179"/>
                </a:lnTo>
                <a:lnTo>
                  <a:pt x="1562" y="179"/>
                </a:lnTo>
                <a:lnTo>
                  <a:pt x="1565" y="178"/>
                </a:lnTo>
                <a:lnTo>
                  <a:pt x="1567" y="178"/>
                </a:lnTo>
                <a:lnTo>
                  <a:pt x="1570" y="179"/>
                </a:lnTo>
                <a:lnTo>
                  <a:pt x="1572" y="180"/>
                </a:lnTo>
                <a:lnTo>
                  <a:pt x="1575" y="181"/>
                </a:lnTo>
                <a:lnTo>
                  <a:pt x="1577" y="183"/>
                </a:lnTo>
                <a:lnTo>
                  <a:pt x="1579" y="186"/>
                </a:lnTo>
                <a:lnTo>
                  <a:pt x="1580" y="188"/>
                </a:lnTo>
                <a:lnTo>
                  <a:pt x="1581" y="191"/>
                </a:lnTo>
                <a:lnTo>
                  <a:pt x="1581" y="194"/>
                </a:lnTo>
                <a:lnTo>
                  <a:pt x="1581" y="197"/>
                </a:lnTo>
                <a:lnTo>
                  <a:pt x="1580" y="200"/>
                </a:lnTo>
                <a:lnTo>
                  <a:pt x="1579" y="203"/>
                </a:lnTo>
                <a:lnTo>
                  <a:pt x="1577" y="206"/>
                </a:lnTo>
                <a:lnTo>
                  <a:pt x="1573" y="208"/>
                </a:lnTo>
                <a:lnTo>
                  <a:pt x="1571" y="209"/>
                </a:lnTo>
                <a:lnTo>
                  <a:pt x="1568" y="210"/>
                </a:lnTo>
                <a:lnTo>
                  <a:pt x="1566" y="210"/>
                </a:lnTo>
                <a:lnTo>
                  <a:pt x="1563" y="210"/>
                </a:lnTo>
                <a:lnTo>
                  <a:pt x="1561" y="210"/>
                </a:lnTo>
                <a:lnTo>
                  <a:pt x="1558" y="209"/>
                </a:lnTo>
                <a:lnTo>
                  <a:pt x="1556" y="207"/>
                </a:lnTo>
                <a:lnTo>
                  <a:pt x="1554" y="206"/>
                </a:lnTo>
                <a:lnTo>
                  <a:pt x="1552" y="203"/>
                </a:lnTo>
                <a:lnTo>
                  <a:pt x="1550" y="200"/>
                </a:lnTo>
                <a:lnTo>
                  <a:pt x="1550" y="197"/>
                </a:lnTo>
                <a:lnTo>
                  <a:pt x="1549" y="194"/>
                </a:lnTo>
                <a:lnTo>
                  <a:pt x="1550" y="191"/>
                </a:lnTo>
                <a:lnTo>
                  <a:pt x="1551" y="188"/>
                </a:lnTo>
                <a:lnTo>
                  <a:pt x="1552" y="185"/>
                </a:lnTo>
                <a:lnTo>
                  <a:pt x="1554" y="183"/>
                </a:lnTo>
                <a:lnTo>
                  <a:pt x="1557" y="180"/>
                </a:lnTo>
                <a:close/>
                <a:moveTo>
                  <a:pt x="1675" y="100"/>
                </a:moveTo>
                <a:lnTo>
                  <a:pt x="1678" y="98"/>
                </a:lnTo>
                <a:lnTo>
                  <a:pt x="1682" y="98"/>
                </a:lnTo>
                <a:lnTo>
                  <a:pt x="1685" y="98"/>
                </a:lnTo>
                <a:lnTo>
                  <a:pt x="1688" y="98"/>
                </a:lnTo>
                <a:lnTo>
                  <a:pt x="1691" y="100"/>
                </a:lnTo>
                <a:lnTo>
                  <a:pt x="1694" y="101"/>
                </a:lnTo>
                <a:lnTo>
                  <a:pt x="1696" y="104"/>
                </a:lnTo>
                <a:lnTo>
                  <a:pt x="1697" y="106"/>
                </a:lnTo>
                <a:lnTo>
                  <a:pt x="1699" y="109"/>
                </a:lnTo>
                <a:lnTo>
                  <a:pt x="1699" y="112"/>
                </a:lnTo>
                <a:lnTo>
                  <a:pt x="1699" y="115"/>
                </a:lnTo>
                <a:lnTo>
                  <a:pt x="1698" y="118"/>
                </a:lnTo>
                <a:lnTo>
                  <a:pt x="1697" y="121"/>
                </a:lnTo>
                <a:lnTo>
                  <a:pt x="1696" y="123"/>
                </a:lnTo>
                <a:lnTo>
                  <a:pt x="1694" y="126"/>
                </a:lnTo>
                <a:lnTo>
                  <a:pt x="1691" y="127"/>
                </a:lnTo>
                <a:lnTo>
                  <a:pt x="1688" y="129"/>
                </a:lnTo>
                <a:lnTo>
                  <a:pt x="1684" y="129"/>
                </a:lnTo>
                <a:lnTo>
                  <a:pt x="1681" y="129"/>
                </a:lnTo>
                <a:lnTo>
                  <a:pt x="1678" y="129"/>
                </a:lnTo>
                <a:lnTo>
                  <a:pt x="1675" y="127"/>
                </a:lnTo>
                <a:lnTo>
                  <a:pt x="1673" y="125"/>
                </a:lnTo>
                <a:lnTo>
                  <a:pt x="1670" y="123"/>
                </a:lnTo>
                <a:lnTo>
                  <a:pt x="1669" y="120"/>
                </a:lnTo>
                <a:lnTo>
                  <a:pt x="1668" y="118"/>
                </a:lnTo>
                <a:lnTo>
                  <a:pt x="1667" y="115"/>
                </a:lnTo>
                <a:lnTo>
                  <a:pt x="1667" y="112"/>
                </a:lnTo>
                <a:lnTo>
                  <a:pt x="1668" y="109"/>
                </a:lnTo>
                <a:lnTo>
                  <a:pt x="1669" y="106"/>
                </a:lnTo>
                <a:lnTo>
                  <a:pt x="1670" y="104"/>
                </a:lnTo>
                <a:lnTo>
                  <a:pt x="1673" y="101"/>
                </a:lnTo>
                <a:lnTo>
                  <a:pt x="1675" y="100"/>
                </a:lnTo>
                <a:close/>
                <a:moveTo>
                  <a:pt x="4769" y="1270"/>
                </a:moveTo>
                <a:lnTo>
                  <a:pt x="4772" y="1269"/>
                </a:lnTo>
                <a:lnTo>
                  <a:pt x="4775" y="1268"/>
                </a:lnTo>
                <a:lnTo>
                  <a:pt x="4780" y="1268"/>
                </a:lnTo>
                <a:lnTo>
                  <a:pt x="4783" y="1269"/>
                </a:lnTo>
                <a:lnTo>
                  <a:pt x="4786" y="1271"/>
                </a:lnTo>
                <a:lnTo>
                  <a:pt x="4789" y="1273"/>
                </a:lnTo>
                <a:lnTo>
                  <a:pt x="4790" y="1275"/>
                </a:lnTo>
                <a:lnTo>
                  <a:pt x="4792" y="1278"/>
                </a:lnTo>
                <a:lnTo>
                  <a:pt x="4793" y="1281"/>
                </a:lnTo>
                <a:lnTo>
                  <a:pt x="4793" y="1284"/>
                </a:lnTo>
                <a:lnTo>
                  <a:pt x="4793" y="1287"/>
                </a:lnTo>
                <a:lnTo>
                  <a:pt x="4792" y="1290"/>
                </a:lnTo>
                <a:lnTo>
                  <a:pt x="4790" y="1293"/>
                </a:lnTo>
                <a:lnTo>
                  <a:pt x="4788" y="1296"/>
                </a:lnTo>
                <a:lnTo>
                  <a:pt x="4785" y="1298"/>
                </a:lnTo>
                <a:lnTo>
                  <a:pt x="4783" y="1299"/>
                </a:lnTo>
                <a:lnTo>
                  <a:pt x="4780" y="1300"/>
                </a:lnTo>
                <a:lnTo>
                  <a:pt x="4777" y="1300"/>
                </a:lnTo>
                <a:lnTo>
                  <a:pt x="4774" y="1299"/>
                </a:lnTo>
                <a:lnTo>
                  <a:pt x="4771" y="1298"/>
                </a:lnTo>
                <a:lnTo>
                  <a:pt x="4768" y="1297"/>
                </a:lnTo>
                <a:lnTo>
                  <a:pt x="4766" y="1295"/>
                </a:lnTo>
                <a:lnTo>
                  <a:pt x="4764" y="1293"/>
                </a:lnTo>
                <a:lnTo>
                  <a:pt x="4762" y="1290"/>
                </a:lnTo>
                <a:lnTo>
                  <a:pt x="4762" y="1287"/>
                </a:lnTo>
                <a:lnTo>
                  <a:pt x="4761" y="1284"/>
                </a:lnTo>
                <a:lnTo>
                  <a:pt x="4762" y="1281"/>
                </a:lnTo>
                <a:lnTo>
                  <a:pt x="4763" y="1277"/>
                </a:lnTo>
                <a:lnTo>
                  <a:pt x="4764" y="1275"/>
                </a:lnTo>
                <a:lnTo>
                  <a:pt x="4767" y="1272"/>
                </a:lnTo>
                <a:lnTo>
                  <a:pt x="4769" y="1270"/>
                </a:lnTo>
                <a:close/>
                <a:moveTo>
                  <a:pt x="4629" y="1238"/>
                </a:moveTo>
                <a:lnTo>
                  <a:pt x="4631" y="1237"/>
                </a:lnTo>
                <a:lnTo>
                  <a:pt x="4634" y="1237"/>
                </a:lnTo>
                <a:lnTo>
                  <a:pt x="4637" y="1236"/>
                </a:lnTo>
                <a:lnTo>
                  <a:pt x="4640" y="1237"/>
                </a:lnTo>
                <a:lnTo>
                  <a:pt x="4643" y="1238"/>
                </a:lnTo>
                <a:lnTo>
                  <a:pt x="4646" y="1239"/>
                </a:lnTo>
                <a:lnTo>
                  <a:pt x="4648" y="1242"/>
                </a:lnTo>
                <a:lnTo>
                  <a:pt x="4650" y="1244"/>
                </a:lnTo>
                <a:lnTo>
                  <a:pt x="4651" y="1247"/>
                </a:lnTo>
                <a:lnTo>
                  <a:pt x="4652" y="1250"/>
                </a:lnTo>
                <a:lnTo>
                  <a:pt x="4652" y="1253"/>
                </a:lnTo>
                <a:lnTo>
                  <a:pt x="4652" y="1256"/>
                </a:lnTo>
                <a:lnTo>
                  <a:pt x="4651" y="1259"/>
                </a:lnTo>
                <a:lnTo>
                  <a:pt x="4649" y="1262"/>
                </a:lnTo>
                <a:lnTo>
                  <a:pt x="4647" y="1264"/>
                </a:lnTo>
                <a:lnTo>
                  <a:pt x="4644" y="1266"/>
                </a:lnTo>
                <a:lnTo>
                  <a:pt x="4642" y="1267"/>
                </a:lnTo>
                <a:lnTo>
                  <a:pt x="4639" y="1268"/>
                </a:lnTo>
                <a:lnTo>
                  <a:pt x="4636" y="1268"/>
                </a:lnTo>
                <a:lnTo>
                  <a:pt x="4633" y="1268"/>
                </a:lnTo>
                <a:lnTo>
                  <a:pt x="4630" y="1267"/>
                </a:lnTo>
                <a:lnTo>
                  <a:pt x="4627" y="1265"/>
                </a:lnTo>
                <a:lnTo>
                  <a:pt x="4625" y="1263"/>
                </a:lnTo>
                <a:lnTo>
                  <a:pt x="4623" y="1260"/>
                </a:lnTo>
                <a:lnTo>
                  <a:pt x="4622" y="1258"/>
                </a:lnTo>
                <a:lnTo>
                  <a:pt x="4621" y="1255"/>
                </a:lnTo>
                <a:lnTo>
                  <a:pt x="4621" y="1252"/>
                </a:lnTo>
                <a:lnTo>
                  <a:pt x="4621" y="1248"/>
                </a:lnTo>
                <a:lnTo>
                  <a:pt x="4622" y="1245"/>
                </a:lnTo>
                <a:lnTo>
                  <a:pt x="4624" y="1243"/>
                </a:lnTo>
                <a:lnTo>
                  <a:pt x="4626" y="1240"/>
                </a:lnTo>
                <a:lnTo>
                  <a:pt x="4629" y="1238"/>
                </a:lnTo>
                <a:close/>
                <a:moveTo>
                  <a:pt x="4489" y="1202"/>
                </a:moveTo>
                <a:lnTo>
                  <a:pt x="4492" y="1201"/>
                </a:lnTo>
                <a:lnTo>
                  <a:pt x="4495" y="1200"/>
                </a:lnTo>
                <a:lnTo>
                  <a:pt x="4498" y="1200"/>
                </a:lnTo>
                <a:lnTo>
                  <a:pt x="4501" y="1201"/>
                </a:lnTo>
                <a:lnTo>
                  <a:pt x="4504" y="1202"/>
                </a:lnTo>
                <a:lnTo>
                  <a:pt x="4507" y="1203"/>
                </a:lnTo>
                <a:lnTo>
                  <a:pt x="4509" y="1206"/>
                </a:lnTo>
                <a:lnTo>
                  <a:pt x="4511" y="1208"/>
                </a:lnTo>
                <a:lnTo>
                  <a:pt x="4512" y="1211"/>
                </a:lnTo>
                <a:lnTo>
                  <a:pt x="4513" y="1214"/>
                </a:lnTo>
                <a:lnTo>
                  <a:pt x="4513" y="1217"/>
                </a:lnTo>
                <a:lnTo>
                  <a:pt x="4512" y="1220"/>
                </a:lnTo>
                <a:lnTo>
                  <a:pt x="4511" y="1223"/>
                </a:lnTo>
                <a:lnTo>
                  <a:pt x="4509" y="1226"/>
                </a:lnTo>
                <a:lnTo>
                  <a:pt x="4507" y="1228"/>
                </a:lnTo>
                <a:lnTo>
                  <a:pt x="4505" y="1230"/>
                </a:lnTo>
                <a:lnTo>
                  <a:pt x="4502" y="1231"/>
                </a:lnTo>
                <a:lnTo>
                  <a:pt x="4499" y="1232"/>
                </a:lnTo>
                <a:lnTo>
                  <a:pt x="4496" y="1232"/>
                </a:lnTo>
                <a:lnTo>
                  <a:pt x="4493" y="1231"/>
                </a:lnTo>
                <a:lnTo>
                  <a:pt x="4490" y="1230"/>
                </a:lnTo>
                <a:lnTo>
                  <a:pt x="4487" y="1228"/>
                </a:lnTo>
                <a:lnTo>
                  <a:pt x="4485" y="1226"/>
                </a:lnTo>
                <a:lnTo>
                  <a:pt x="4483" y="1224"/>
                </a:lnTo>
                <a:lnTo>
                  <a:pt x="4482" y="1221"/>
                </a:lnTo>
                <a:lnTo>
                  <a:pt x="4481" y="1218"/>
                </a:lnTo>
                <a:lnTo>
                  <a:pt x="4481" y="1215"/>
                </a:lnTo>
                <a:lnTo>
                  <a:pt x="4482" y="1212"/>
                </a:lnTo>
                <a:lnTo>
                  <a:pt x="4483" y="1209"/>
                </a:lnTo>
                <a:lnTo>
                  <a:pt x="4485" y="1206"/>
                </a:lnTo>
                <a:lnTo>
                  <a:pt x="4487" y="1204"/>
                </a:lnTo>
                <a:lnTo>
                  <a:pt x="4489" y="1202"/>
                </a:lnTo>
                <a:close/>
                <a:moveTo>
                  <a:pt x="4351" y="1161"/>
                </a:moveTo>
                <a:lnTo>
                  <a:pt x="4354" y="1159"/>
                </a:lnTo>
                <a:lnTo>
                  <a:pt x="4357" y="1158"/>
                </a:lnTo>
                <a:lnTo>
                  <a:pt x="4361" y="1158"/>
                </a:lnTo>
                <a:lnTo>
                  <a:pt x="4364" y="1159"/>
                </a:lnTo>
                <a:lnTo>
                  <a:pt x="4367" y="1160"/>
                </a:lnTo>
                <a:lnTo>
                  <a:pt x="4369" y="1162"/>
                </a:lnTo>
                <a:lnTo>
                  <a:pt x="4372" y="1164"/>
                </a:lnTo>
                <a:lnTo>
                  <a:pt x="4373" y="1167"/>
                </a:lnTo>
                <a:lnTo>
                  <a:pt x="4374" y="1170"/>
                </a:lnTo>
                <a:lnTo>
                  <a:pt x="4375" y="1173"/>
                </a:lnTo>
                <a:lnTo>
                  <a:pt x="4375" y="1176"/>
                </a:lnTo>
                <a:lnTo>
                  <a:pt x="4374" y="1179"/>
                </a:lnTo>
                <a:lnTo>
                  <a:pt x="4373" y="1182"/>
                </a:lnTo>
                <a:lnTo>
                  <a:pt x="4371" y="1184"/>
                </a:lnTo>
                <a:lnTo>
                  <a:pt x="4369" y="1186"/>
                </a:lnTo>
                <a:lnTo>
                  <a:pt x="4367" y="1188"/>
                </a:lnTo>
                <a:lnTo>
                  <a:pt x="4364" y="1189"/>
                </a:lnTo>
                <a:lnTo>
                  <a:pt x="4361" y="1190"/>
                </a:lnTo>
                <a:lnTo>
                  <a:pt x="4357" y="1190"/>
                </a:lnTo>
                <a:lnTo>
                  <a:pt x="4354" y="1189"/>
                </a:lnTo>
                <a:lnTo>
                  <a:pt x="4351" y="1188"/>
                </a:lnTo>
                <a:lnTo>
                  <a:pt x="4349" y="1186"/>
                </a:lnTo>
                <a:lnTo>
                  <a:pt x="4347" y="1184"/>
                </a:lnTo>
                <a:lnTo>
                  <a:pt x="4345" y="1181"/>
                </a:lnTo>
                <a:lnTo>
                  <a:pt x="4344" y="1179"/>
                </a:lnTo>
                <a:lnTo>
                  <a:pt x="4343" y="1176"/>
                </a:lnTo>
                <a:lnTo>
                  <a:pt x="4343" y="1172"/>
                </a:lnTo>
                <a:lnTo>
                  <a:pt x="4344" y="1169"/>
                </a:lnTo>
                <a:lnTo>
                  <a:pt x="4345" y="1167"/>
                </a:lnTo>
                <a:lnTo>
                  <a:pt x="4347" y="1164"/>
                </a:lnTo>
                <a:lnTo>
                  <a:pt x="4349" y="1162"/>
                </a:lnTo>
                <a:lnTo>
                  <a:pt x="4351" y="1161"/>
                </a:lnTo>
                <a:close/>
                <a:moveTo>
                  <a:pt x="4215" y="1112"/>
                </a:moveTo>
                <a:lnTo>
                  <a:pt x="4218" y="1111"/>
                </a:lnTo>
                <a:lnTo>
                  <a:pt x="4222" y="1110"/>
                </a:lnTo>
                <a:lnTo>
                  <a:pt x="4225" y="1111"/>
                </a:lnTo>
                <a:lnTo>
                  <a:pt x="4229" y="1111"/>
                </a:lnTo>
                <a:lnTo>
                  <a:pt x="4232" y="1113"/>
                </a:lnTo>
                <a:lnTo>
                  <a:pt x="4234" y="1115"/>
                </a:lnTo>
                <a:lnTo>
                  <a:pt x="4236" y="1117"/>
                </a:lnTo>
                <a:lnTo>
                  <a:pt x="4238" y="1120"/>
                </a:lnTo>
                <a:lnTo>
                  <a:pt x="4239" y="1123"/>
                </a:lnTo>
                <a:lnTo>
                  <a:pt x="4239" y="1126"/>
                </a:lnTo>
                <a:lnTo>
                  <a:pt x="4239" y="1129"/>
                </a:lnTo>
                <a:lnTo>
                  <a:pt x="4238" y="1132"/>
                </a:lnTo>
                <a:lnTo>
                  <a:pt x="4235" y="1137"/>
                </a:lnTo>
                <a:lnTo>
                  <a:pt x="4233" y="1138"/>
                </a:lnTo>
                <a:lnTo>
                  <a:pt x="4231" y="1140"/>
                </a:lnTo>
                <a:lnTo>
                  <a:pt x="4228" y="1141"/>
                </a:lnTo>
                <a:lnTo>
                  <a:pt x="4224" y="1142"/>
                </a:lnTo>
                <a:lnTo>
                  <a:pt x="4221" y="1142"/>
                </a:lnTo>
                <a:lnTo>
                  <a:pt x="4217" y="1141"/>
                </a:lnTo>
                <a:lnTo>
                  <a:pt x="4215" y="1140"/>
                </a:lnTo>
                <a:lnTo>
                  <a:pt x="4212" y="1138"/>
                </a:lnTo>
                <a:lnTo>
                  <a:pt x="4210" y="1135"/>
                </a:lnTo>
                <a:lnTo>
                  <a:pt x="4209" y="1133"/>
                </a:lnTo>
                <a:lnTo>
                  <a:pt x="4208" y="1130"/>
                </a:lnTo>
                <a:lnTo>
                  <a:pt x="4207" y="1127"/>
                </a:lnTo>
                <a:lnTo>
                  <a:pt x="4207" y="1124"/>
                </a:lnTo>
                <a:lnTo>
                  <a:pt x="4208" y="1121"/>
                </a:lnTo>
                <a:lnTo>
                  <a:pt x="4211" y="1116"/>
                </a:lnTo>
                <a:lnTo>
                  <a:pt x="4213" y="1114"/>
                </a:lnTo>
                <a:lnTo>
                  <a:pt x="4215" y="1112"/>
                </a:lnTo>
                <a:close/>
                <a:moveTo>
                  <a:pt x="4082" y="1057"/>
                </a:moveTo>
                <a:lnTo>
                  <a:pt x="4086" y="1055"/>
                </a:lnTo>
                <a:lnTo>
                  <a:pt x="4089" y="1054"/>
                </a:lnTo>
                <a:lnTo>
                  <a:pt x="4093" y="1055"/>
                </a:lnTo>
                <a:lnTo>
                  <a:pt x="4097" y="1056"/>
                </a:lnTo>
                <a:lnTo>
                  <a:pt x="4100" y="1058"/>
                </a:lnTo>
                <a:lnTo>
                  <a:pt x="4102" y="1060"/>
                </a:lnTo>
                <a:lnTo>
                  <a:pt x="4104" y="1062"/>
                </a:lnTo>
                <a:lnTo>
                  <a:pt x="4105" y="1065"/>
                </a:lnTo>
                <a:lnTo>
                  <a:pt x="4106" y="1068"/>
                </a:lnTo>
                <a:lnTo>
                  <a:pt x="4106" y="1071"/>
                </a:lnTo>
                <a:lnTo>
                  <a:pt x="4106" y="1074"/>
                </a:lnTo>
                <a:lnTo>
                  <a:pt x="4105" y="1077"/>
                </a:lnTo>
                <a:lnTo>
                  <a:pt x="4102" y="1081"/>
                </a:lnTo>
                <a:lnTo>
                  <a:pt x="4100" y="1083"/>
                </a:lnTo>
                <a:lnTo>
                  <a:pt x="4098" y="1084"/>
                </a:lnTo>
                <a:lnTo>
                  <a:pt x="4095" y="1085"/>
                </a:lnTo>
                <a:lnTo>
                  <a:pt x="4091" y="1086"/>
                </a:lnTo>
                <a:lnTo>
                  <a:pt x="4087" y="1086"/>
                </a:lnTo>
                <a:lnTo>
                  <a:pt x="4084" y="1085"/>
                </a:lnTo>
                <a:lnTo>
                  <a:pt x="4081" y="1083"/>
                </a:lnTo>
                <a:lnTo>
                  <a:pt x="4079" y="1081"/>
                </a:lnTo>
                <a:lnTo>
                  <a:pt x="4077" y="1078"/>
                </a:lnTo>
                <a:lnTo>
                  <a:pt x="4075" y="1076"/>
                </a:lnTo>
                <a:lnTo>
                  <a:pt x="4075" y="1073"/>
                </a:lnTo>
                <a:lnTo>
                  <a:pt x="4074" y="1070"/>
                </a:lnTo>
                <a:lnTo>
                  <a:pt x="4075" y="1067"/>
                </a:lnTo>
                <a:lnTo>
                  <a:pt x="4076" y="1064"/>
                </a:lnTo>
                <a:lnTo>
                  <a:pt x="4079" y="1059"/>
                </a:lnTo>
                <a:lnTo>
                  <a:pt x="4080" y="1058"/>
                </a:lnTo>
                <a:lnTo>
                  <a:pt x="4082" y="1057"/>
                </a:lnTo>
                <a:close/>
                <a:moveTo>
                  <a:pt x="3954" y="990"/>
                </a:moveTo>
                <a:lnTo>
                  <a:pt x="3957" y="988"/>
                </a:lnTo>
                <a:lnTo>
                  <a:pt x="3961" y="988"/>
                </a:lnTo>
                <a:lnTo>
                  <a:pt x="3965" y="988"/>
                </a:lnTo>
                <a:lnTo>
                  <a:pt x="3969" y="990"/>
                </a:lnTo>
                <a:lnTo>
                  <a:pt x="3972" y="992"/>
                </a:lnTo>
                <a:lnTo>
                  <a:pt x="3974" y="994"/>
                </a:lnTo>
                <a:lnTo>
                  <a:pt x="3976" y="997"/>
                </a:lnTo>
                <a:lnTo>
                  <a:pt x="3977" y="1000"/>
                </a:lnTo>
                <a:lnTo>
                  <a:pt x="3977" y="1003"/>
                </a:lnTo>
                <a:lnTo>
                  <a:pt x="3977" y="1006"/>
                </a:lnTo>
                <a:lnTo>
                  <a:pt x="3977" y="1009"/>
                </a:lnTo>
                <a:lnTo>
                  <a:pt x="3975" y="1012"/>
                </a:lnTo>
                <a:lnTo>
                  <a:pt x="3974" y="1013"/>
                </a:lnTo>
                <a:lnTo>
                  <a:pt x="3973" y="1015"/>
                </a:lnTo>
                <a:lnTo>
                  <a:pt x="3969" y="1017"/>
                </a:lnTo>
                <a:lnTo>
                  <a:pt x="3966" y="1019"/>
                </a:lnTo>
                <a:lnTo>
                  <a:pt x="3962" y="1020"/>
                </a:lnTo>
                <a:lnTo>
                  <a:pt x="3958" y="1019"/>
                </a:lnTo>
                <a:lnTo>
                  <a:pt x="3954" y="1017"/>
                </a:lnTo>
                <a:lnTo>
                  <a:pt x="3951" y="1016"/>
                </a:lnTo>
                <a:lnTo>
                  <a:pt x="3949" y="1013"/>
                </a:lnTo>
                <a:lnTo>
                  <a:pt x="3947" y="1011"/>
                </a:lnTo>
                <a:lnTo>
                  <a:pt x="3946" y="1008"/>
                </a:lnTo>
                <a:lnTo>
                  <a:pt x="3946" y="1005"/>
                </a:lnTo>
                <a:lnTo>
                  <a:pt x="3946" y="1002"/>
                </a:lnTo>
                <a:lnTo>
                  <a:pt x="3946" y="999"/>
                </a:lnTo>
                <a:lnTo>
                  <a:pt x="3948" y="996"/>
                </a:lnTo>
                <a:lnTo>
                  <a:pt x="3949" y="994"/>
                </a:lnTo>
                <a:lnTo>
                  <a:pt x="3950" y="992"/>
                </a:lnTo>
                <a:lnTo>
                  <a:pt x="3954" y="990"/>
                </a:lnTo>
                <a:close/>
                <a:moveTo>
                  <a:pt x="3828" y="919"/>
                </a:moveTo>
                <a:lnTo>
                  <a:pt x="3832" y="917"/>
                </a:lnTo>
                <a:lnTo>
                  <a:pt x="3836" y="917"/>
                </a:lnTo>
                <a:lnTo>
                  <a:pt x="3840" y="917"/>
                </a:lnTo>
                <a:lnTo>
                  <a:pt x="3844" y="919"/>
                </a:lnTo>
                <a:lnTo>
                  <a:pt x="3847" y="921"/>
                </a:lnTo>
                <a:lnTo>
                  <a:pt x="3849" y="923"/>
                </a:lnTo>
                <a:lnTo>
                  <a:pt x="3850" y="926"/>
                </a:lnTo>
                <a:lnTo>
                  <a:pt x="3851" y="928"/>
                </a:lnTo>
                <a:lnTo>
                  <a:pt x="3852" y="931"/>
                </a:lnTo>
                <a:lnTo>
                  <a:pt x="3852" y="934"/>
                </a:lnTo>
                <a:lnTo>
                  <a:pt x="3851" y="938"/>
                </a:lnTo>
                <a:lnTo>
                  <a:pt x="3850" y="940"/>
                </a:lnTo>
                <a:lnTo>
                  <a:pt x="3847" y="944"/>
                </a:lnTo>
                <a:lnTo>
                  <a:pt x="3844" y="946"/>
                </a:lnTo>
                <a:lnTo>
                  <a:pt x="3840" y="948"/>
                </a:lnTo>
                <a:lnTo>
                  <a:pt x="3836" y="949"/>
                </a:lnTo>
                <a:lnTo>
                  <a:pt x="3832" y="948"/>
                </a:lnTo>
                <a:lnTo>
                  <a:pt x="3828" y="947"/>
                </a:lnTo>
                <a:lnTo>
                  <a:pt x="3826" y="945"/>
                </a:lnTo>
                <a:lnTo>
                  <a:pt x="3824" y="942"/>
                </a:lnTo>
                <a:lnTo>
                  <a:pt x="3822" y="940"/>
                </a:lnTo>
                <a:lnTo>
                  <a:pt x="3821" y="937"/>
                </a:lnTo>
                <a:lnTo>
                  <a:pt x="3820" y="934"/>
                </a:lnTo>
                <a:lnTo>
                  <a:pt x="3820" y="931"/>
                </a:lnTo>
                <a:lnTo>
                  <a:pt x="3821" y="928"/>
                </a:lnTo>
                <a:lnTo>
                  <a:pt x="3822" y="925"/>
                </a:lnTo>
                <a:lnTo>
                  <a:pt x="3825" y="922"/>
                </a:lnTo>
                <a:lnTo>
                  <a:pt x="3828" y="919"/>
                </a:lnTo>
                <a:close/>
                <a:moveTo>
                  <a:pt x="3702" y="849"/>
                </a:moveTo>
                <a:lnTo>
                  <a:pt x="3706" y="847"/>
                </a:lnTo>
                <a:lnTo>
                  <a:pt x="3710" y="847"/>
                </a:lnTo>
                <a:lnTo>
                  <a:pt x="3712" y="847"/>
                </a:lnTo>
                <a:lnTo>
                  <a:pt x="3714" y="847"/>
                </a:lnTo>
                <a:lnTo>
                  <a:pt x="3718" y="849"/>
                </a:lnTo>
                <a:lnTo>
                  <a:pt x="3721" y="851"/>
                </a:lnTo>
                <a:lnTo>
                  <a:pt x="3723" y="853"/>
                </a:lnTo>
                <a:lnTo>
                  <a:pt x="3725" y="855"/>
                </a:lnTo>
                <a:lnTo>
                  <a:pt x="3726" y="858"/>
                </a:lnTo>
                <a:lnTo>
                  <a:pt x="3726" y="861"/>
                </a:lnTo>
                <a:lnTo>
                  <a:pt x="3726" y="864"/>
                </a:lnTo>
                <a:lnTo>
                  <a:pt x="3726" y="867"/>
                </a:lnTo>
                <a:lnTo>
                  <a:pt x="3724" y="870"/>
                </a:lnTo>
                <a:lnTo>
                  <a:pt x="3722" y="874"/>
                </a:lnTo>
                <a:lnTo>
                  <a:pt x="3718" y="876"/>
                </a:lnTo>
                <a:lnTo>
                  <a:pt x="3715" y="878"/>
                </a:lnTo>
                <a:lnTo>
                  <a:pt x="3711" y="878"/>
                </a:lnTo>
                <a:lnTo>
                  <a:pt x="3709" y="878"/>
                </a:lnTo>
                <a:lnTo>
                  <a:pt x="3707" y="878"/>
                </a:lnTo>
                <a:lnTo>
                  <a:pt x="3703" y="877"/>
                </a:lnTo>
                <a:lnTo>
                  <a:pt x="3700" y="875"/>
                </a:lnTo>
                <a:lnTo>
                  <a:pt x="3698" y="872"/>
                </a:lnTo>
                <a:lnTo>
                  <a:pt x="3696" y="870"/>
                </a:lnTo>
                <a:lnTo>
                  <a:pt x="3695" y="867"/>
                </a:lnTo>
                <a:lnTo>
                  <a:pt x="3695" y="864"/>
                </a:lnTo>
                <a:lnTo>
                  <a:pt x="3695" y="861"/>
                </a:lnTo>
                <a:lnTo>
                  <a:pt x="3695" y="858"/>
                </a:lnTo>
                <a:lnTo>
                  <a:pt x="3697" y="855"/>
                </a:lnTo>
                <a:lnTo>
                  <a:pt x="3699" y="851"/>
                </a:lnTo>
                <a:lnTo>
                  <a:pt x="3702" y="849"/>
                </a:lnTo>
                <a:close/>
                <a:moveTo>
                  <a:pt x="3576" y="780"/>
                </a:moveTo>
                <a:lnTo>
                  <a:pt x="3578" y="779"/>
                </a:lnTo>
                <a:lnTo>
                  <a:pt x="3580" y="779"/>
                </a:lnTo>
                <a:lnTo>
                  <a:pt x="3584" y="778"/>
                </a:lnTo>
                <a:lnTo>
                  <a:pt x="3586" y="778"/>
                </a:lnTo>
                <a:lnTo>
                  <a:pt x="3588" y="778"/>
                </a:lnTo>
                <a:lnTo>
                  <a:pt x="3591" y="780"/>
                </a:lnTo>
                <a:lnTo>
                  <a:pt x="3594" y="782"/>
                </a:lnTo>
                <a:lnTo>
                  <a:pt x="3596" y="784"/>
                </a:lnTo>
                <a:lnTo>
                  <a:pt x="3598" y="786"/>
                </a:lnTo>
                <a:lnTo>
                  <a:pt x="3599" y="789"/>
                </a:lnTo>
                <a:lnTo>
                  <a:pt x="3600" y="792"/>
                </a:lnTo>
                <a:lnTo>
                  <a:pt x="3600" y="795"/>
                </a:lnTo>
                <a:lnTo>
                  <a:pt x="3599" y="798"/>
                </a:lnTo>
                <a:lnTo>
                  <a:pt x="3598" y="801"/>
                </a:lnTo>
                <a:lnTo>
                  <a:pt x="3597" y="803"/>
                </a:lnTo>
                <a:lnTo>
                  <a:pt x="3595" y="805"/>
                </a:lnTo>
                <a:lnTo>
                  <a:pt x="3592" y="808"/>
                </a:lnTo>
                <a:lnTo>
                  <a:pt x="3590" y="808"/>
                </a:lnTo>
                <a:lnTo>
                  <a:pt x="3588" y="809"/>
                </a:lnTo>
                <a:lnTo>
                  <a:pt x="3584" y="810"/>
                </a:lnTo>
                <a:lnTo>
                  <a:pt x="3582" y="810"/>
                </a:lnTo>
                <a:lnTo>
                  <a:pt x="3580" y="809"/>
                </a:lnTo>
                <a:lnTo>
                  <a:pt x="3576" y="808"/>
                </a:lnTo>
                <a:lnTo>
                  <a:pt x="3574" y="806"/>
                </a:lnTo>
                <a:lnTo>
                  <a:pt x="3572" y="804"/>
                </a:lnTo>
                <a:lnTo>
                  <a:pt x="3570" y="801"/>
                </a:lnTo>
                <a:lnTo>
                  <a:pt x="3569" y="798"/>
                </a:lnTo>
                <a:lnTo>
                  <a:pt x="3568" y="796"/>
                </a:lnTo>
                <a:lnTo>
                  <a:pt x="3568" y="792"/>
                </a:lnTo>
                <a:lnTo>
                  <a:pt x="3569" y="789"/>
                </a:lnTo>
                <a:lnTo>
                  <a:pt x="3570" y="786"/>
                </a:lnTo>
                <a:lnTo>
                  <a:pt x="3571" y="785"/>
                </a:lnTo>
                <a:lnTo>
                  <a:pt x="3573" y="783"/>
                </a:lnTo>
                <a:lnTo>
                  <a:pt x="3576" y="780"/>
                </a:lnTo>
                <a:close/>
                <a:moveTo>
                  <a:pt x="3448" y="713"/>
                </a:moveTo>
                <a:lnTo>
                  <a:pt x="3452" y="712"/>
                </a:lnTo>
                <a:lnTo>
                  <a:pt x="3456" y="711"/>
                </a:lnTo>
                <a:lnTo>
                  <a:pt x="3460" y="712"/>
                </a:lnTo>
                <a:lnTo>
                  <a:pt x="3464" y="713"/>
                </a:lnTo>
                <a:lnTo>
                  <a:pt x="3466" y="715"/>
                </a:lnTo>
                <a:lnTo>
                  <a:pt x="3469" y="717"/>
                </a:lnTo>
                <a:lnTo>
                  <a:pt x="3470" y="719"/>
                </a:lnTo>
                <a:lnTo>
                  <a:pt x="3472" y="722"/>
                </a:lnTo>
                <a:lnTo>
                  <a:pt x="3472" y="728"/>
                </a:lnTo>
                <a:lnTo>
                  <a:pt x="3472" y="731"/>
                </a:lnTo>
                <a:lnTo>
                  <a:pt x="3471" y="734"/>
                </a:lnTo>
                <a:lnTo>
                  <a:pt x="3469" y="736"/>
                </a:lnTo>
                <a:lnTo>
                  <a:pt x="3468" y="738"/>
                </a:lnTo>
                <a:lnTo>
                  <a:pt x="3464" y="741"/>
                </a:lnTo>
                <a:lnTo>
                  <a:pt x="3461" y="742"/>
                </a:lnTo>
                <a:lnTo>
                  <a:pt x="3457" y="743"/>
                </a:lnTo>
                <a:lnTo>
                  <a:pt x="3453" y="742"/>
                </a:lnTo>
                <a:lnTo>
                  <a:pt x="3449" y="741"/>
                </a:lnTo>
                <a:lnTo>
                  <a:pt x="3446" y="739"/>
                </a:lnTo>
                <a:lnTo>
                  <a:pt x="3444" y="737"/>
                </a:lnTo>
                <a:lnTo>
                  <a:pt x="3443" y="735"/>
                </a:lnTo>
                <a:lnTo>
                  <a:pt x="3441" y="732"/>
                </a:lnTo>
                <a:lnTo>
                  <a:pt x="3441" y="726"/>
                </a:lnTo>
                <a:lnTo>
                  <a:pt x="3441" y="723"/>
                </a:lnTo>
                <a:lnTo>
                  <a:pt x="3442" y="720"/>
                </a:lnTo>
                <a:lnTo>
                  <a:pt x="3444" y="718"/>
                </a:lnTo>
                <a:lnTo>
                  <a:pt x="3445" y="716"/>
                </a:lnTo>
                <a:lnTo>
                  <a:pt x="3448" y="713"/>
                </a:lnTo>
                <a:close/>
                <a:moveTo>
                  <a:pt x="418" y="2383"/>
                </a:moveTo>
                <a:lnTo>
                  <a:pt x="421" y="2382"/>
                </a:lnTo>
                <a:lnTo>
                  <a:pt x="424" y="2382"/>
                </a:lnTo>
                <a:lnTo>
                  <a:pt x="426" y="2382"/>
                </a:lnTo>
                <a:lnTo>
                  <a:pt x="429" y="2383"/>
                </a:lnTo>
                <a:lnTo>
                  <a:pt x="418" y="2383"/>
                </a:lnTo>
                <a:close/>
                <a:moveTo>
                  <a:pt x="3320" y="649"/>
                </a:moveTo>
                <a:lnTo>
                  <a:pt x="3321" y="648"/>
                </a:lnTo>
                <a:lnTo>
                  <a:pt x="3323" y="647"/>
                </a:lnTo>
                <a:lnTo>
                  <a:pt x="3327" y="647"/>
                </a:lnTo>
                <a:lnTo>
                  <a:pt x="3331" y="647"/>
                </a:lnTo>
                <a:lnTo>
                  <a:pt x="3335" y="648"/>
                </a:lnTo>
                <a:lnTo>
                  <a:pt x="3337" y="650"/>
                </a:lnTo>
                <a:lnTo>
                  <a:pt x="3340" y="652"/>
                </a:lnTo>
                <a:lnTo>
                  <a:pt x="3341" y="655"/>
                </a:lnTo>
                <a:lnTo>
                  <a:pt x="3343" y="657"/>
                </a:lnTo>
                <a:lnTo>
                  <a:pt x="3343" y="660"/>
                </a:lnTo>
                <a:lnTo>
                  <a:pt x="3343" y="663"/>
                </a:lnTo>
                <a:lnTo>
                  <a:pt x="3343" y="666"/>
                </a:lnTo>
                <a:lnTo>
                  <a:pt x="3342" y="669"/>
                </a:lnTo>
                <a:lnTo>
                  <a:pt x="3339" y="673"/>
                </a:lnTo>
                <a:lnTo>
                  <a:pt x="3338" y="675"/>
                </a:lnTo>
                <a:lnTo>
                  <a:pt x="3336" y="676"/>
                </a:lnTo>
                <a:lnTo>
                  <a:pt x="3334" y="677"/>
                </a:lnTo>
                <a:lnTo>
                  <a:pt x="3332" y="678"/>
                </a:lnTo>
                <a:lnTo>
                  <a:pt x="3328" y="678"/>
                </a:lnTo>
                <a:lnTo>
                  <a:pt x="3325" y="678"/>
                </a:lnTo>
                <a:lnTo>
                  <a:pt x="3321" y="677"/>
                </a:lnTo>
                <a:lnTo>
                  <a:pt x="3318" y="675"/>
                </a:lnTo>
                <a:lnTo>
                  <a:pt x="3316" y="673"/>
                </a:lnTo>
                <a:lnTo>
                  <a:pt x="3314" y="670"/>
                </a:lnTo>
                <a:lnTo>
                  <a:pt x="3313" y="668"/>
                </a:lnTo>
                <a:lnTo>
                  <a:pt x="3312" y="665"/>
                </a:lnTo>
                <a:lnTo>
                  <a:pt x="3312" y="662"/>
                </a:lnTo>
                <a:lnTo>
                  <a:pt x="3312" y="659"/>
                </a:lnTo>
                <a:lnTo>
                  <a:pt x="3313" y="656"/>
                </a:lnTo>
                <a:lnTo>
                  <a:pt x="3316" y="652"/>
                </a:lnTo>
                <a:lnTo>
                  <a:pt x="3318" y="650"/>
                </a:lnTo>
                <a:lnTo>
                  <a:pt x="3320" y="649"/>
                </a:lnTo>
                <a:close/>
                <a:moveTo>
                  <a:pt x="505" y="2272"/>
                </a:moveTo>
                <a:lnTo>
                  <a:pt x="507" y="2271"/>
                </a:lnTo>
                <a:lnTo>
                  <a:pt x="510" y="2270"/>
                </a:lnTo>
                <a:lnTo>
                  <a:pt x="512" y="2270"/>
                </a:lnTo>
                <a:lnTo>
                  <a:pt x="514" y="2270"/>
                </a:lnTo>
                <a:lnTo>
                  <a:pt x="517" y="2270"/>
                </a:lnTo>
                <a:lnTo>
                  <a:pt x="519" y="2271"/>
                </a:lnTo>
                <a:lnTo>
                  <a:pt x="521" y="2272"/>
                </a:lnTo>
                <a:lnTo>
                  <a:pt x="523" y="2273"/>
                </a:lnTo>
                <a:lnTo>
                  <a:pt x="526" y="2276"/>
                </a:lnTo>
                <a:lnTo>
                  <a:pt x="526" y="2277"/>
                </a:lnTo>
                <a:lnTo>
                  <a:pt x="527" y="2279"/>
                </a:lnTo>
                <a:lnTo>
                  <a:pt x="528" y="2281"/>
                </a:lnTo>
                <a:lnTo>
                  <a:pt x="529" y="2284"/>
                </a:lnTo>
                <a:lnTo>
                  <a:pt x="529" y="2287"/>
                </a:lnTo>
                <a:lnTo>
                  <a:pt x="528" y="2290"/>
                </a:lnTo>
                <a:lnTo>
                  <a:pt x="527" y="2293"/>
                </a:lnTo>
                <a:lnTo>
                  <a:pt x="525" y="2296"/>
                </a:lnTo>
                <a:lnTo>
                  <a:pt x="523" y="2298"/>
                </a:lnTo>
                <a:lnTo>
                  <a:pt x="521" y="2299"/>
                </a:lnTo>
                <a:lnTo>
                  <a:pt x="519" y="2300"/>
                </a:lnTo>
                <a:lnTo>
                  <a:pt x="516" y="2301"/>
                </a:lnTo>
                <a:lnTo>
                  <a:pt x="514" y="2301"/>
                </a:lnTo>
                <a:lnTo>
                  <a:pt x="511" y="2301"/>
                </a:lnTo>
                <a:lnTo>
                  <a:pt x="509" y="2301"/>
                </a:lnTo>
                <a:lnTo>
                  <a:pt x="507" y="2300"/>
                </a:lnTo>
                <a:lnTo>
                  <a:pt x="505" y="2299"/>
                </a:lnTo>
                <a:lnTo>
                  <a:pt x="502" y="2297"/>
                </a:lnTo>
                <a:lnTo>
                  <a:pt x="500" y="2295"/>
                </a:lnTo>
                <a:lnTo>
                  <a:pt x="499" y="2294"/>
                </a:lnTo>
                <a:lnTo>
                  <a:pt x="499" y="2292"/>
                </a:lnTo>
                <a:lnTo>
                  <a:pt x="498" y="2289"/>
                </a:lnTo>
                <a:lnTo>
                  <a:pt x="497" y="2286"/>
                </a:lnTo>
                <a:lnTo>
                  <a:pt x="497" y="2283"/>
                </a:lnTo>
                <a:lnTo>
                  <a:pt x="498" y="2280"/>
                </a:lnTo>
                <a:lnTo>
                  <a:pt x="499" y="2278"/>
                </a:lnTo>
                <a:lnTo>
                  <a:pt x="501" y="2275"/>
                </a:lnTo>
                <a:lnTo>
                  <a:pt x="503" y="2273"/>
                </a:lnTo>
                <a:lnTo>
                  <a:pt x="505" y="2272"/>
                </a:lnTo>
                <a:close/>
                <a:moveTo>
                  <a:pt x="605" y="2169"/>
                </a:moveTo>
                <a:lnTo>
                  <a:pt x="608" y="2167"/>
                </a:lnTo>
                <a:lnTo>
                  <a:pt x="610" y="2167"/>
                </a:lnTo>
                <a:lnTo>
                  <a:pt x="615" y="2167"/>
                </a:lnTo>
                <a:lnTo>
                  <a:pt x="618" y="2167"/>
                </a:lnTo>
                <a:lnTo>
                  <a:pt x="620" y="2168"/>
                </a:lnTo>
                <a:lnTo>
                  <a:pt x="623" y="2170"/>
                </a:lnTo>
                <a:lnTo>
                  <a:pt x="625" y="2171"/>
                </a:lnTo>
                <a:lnTo>
                  <a:pt x="627" y="2174"/>
                </a:lnTo>
                <a:lnTo>
                  <a:pt x="628" y="2177"/>
                </a:lnTo>
                <a:lnTo>
                  <a:pt x="629" y="2180"/>
                </a:lnTo>
                <a:lnTo>
                  <a:pt x="629" y="2183"/>
                </a:lnTo>
                <a:lnTo>
                  <a:pt x="628" y="2186"/>
                </a:lnTo>
                <a:lnTo>
                  <a:pt x="628" y="2189"/>
                </a:lnTo>
                <a:lnTo>
                  <a:pt x="626" y="2191"/>
                </a:lnTo>
                <a:lnTo>
                  <a:pt x="624" y="2194"/>
                </a:lnTo>
                <a:lnTo>
                  <a:pt x="621" y="2196"/>
                </a:lnTo>
                <a:lnTo>
                  <a:pt x="619" y="2197"/>
                </a:lnTo>
                <a:lnTo>
                  <a:pt x="616" y="2198"/>
                </a:lnTo>
                <a:lnTo>
                  <a:pt x="611" y="2198"/>
                </a:lnTo>
                <a:lnTo>
                  <a:pt x="608" y="2197"/>
                </a:lnTo>
                <a:lnTo>
                  <a:pt x="606" y="2196"/>
                </a:lnTo>
                <a:lnTo>
                  <a:pt x="604" y="2195"/>
                </a:lnTo>
                <a:lnTo>
                  <a:pt x="601" y="2193"/>
                </a:lnTo>
                <a:lnTo>
                  <a:pt x="600" y="2191"/>
                </a:lnTo>
                <a:lnTo>
                  <a:pt x="598" y="2188"/>
                </a:lnTo>
                <a:lnTo>
                  <a:pt x="597" y="2185"/>
                </a:lnTo>
                <a:lnTo>
                  <a:pt x="597" y="2182"/>
                </a:lnTo>
                <a:lnTo>
                  <a:pt x="598" y="2179"/>
                </a:lnTo>
                <a:lnTo>
                  <a:pt x="599" y="2176"/>
                </a:lnTo>
                <a:lnTo>
                  <a:pt x="600" y="2173"/>
                </a:lnTo>
                <a:lnTo>
                  <a:pt x="602" y="2171"/>
                </a:lnTo>
                <a:lnTo>
                  <a:pt x="605" y="2169"/>
                </a:lnTo>
                <a:close/>
                <a:moveTo>
                  <a:pt x="714" y="2075"/>
                </a:moveTo>
                <a:lnTo>
                  <a:pt x="717" y="2074"/>
                </a:lnTo>
                <a:lnTo>
                  <a:pt x="720" y="2073"/>
                </a:lnTo>
                <a:lnTo>
                  <a:pt x="725" y="2073"/>
                </a:lnTo>
                <a:lnTo>
                  <a:pt x="728" y="2074"/>
                </a:lnTo>
                <a:lnTo>
                  <a:pt x="730" y="2075"/>
                </a:lnTo>
                <a:lnTo>
                  <a:pt x="733" y="2077"/>
                </a:lnTo>
                <a:lnTo>
                  <a:pt x="734" y="2078"/>
                </a:lnTo>
                <a:lnTo>
                  <a:pt x="735" y="2079"/>
                </a:lnTo>
                <a:lnTo>
                  <a:pt x="737" y="2082"/>
                </a:lnTo>
                <a:lnTo>
                  <a:pt x="738" y="2085"/>
                </a:lnTo>
                <a:lnTo>
                  <a:pt x="738" y="2088"/>
                </a:lnTo>
                <a:lnTo>
                  <a:pt x="738" y="2091"/>
                </a:lnTo>
                <a:lnTo>
                  <a:pt x="737" y="2094"/>
                </a:lnTo>
                <a:lnTo>
                  <a:pt x="736" y="2097"/>
                </a:lnTo>
                <a:lnTo>
                  <a:pt x="734" y="2099"/>
                </a:lnTo>
                <a:lnTo>
                  <a:pt x="732" y="2101"/>
                </a:lnTo>
                <a:lnTo>
                  <a:pt x="730" y="2103"/>
                </a:lnTo>
                <a:lnTo>
                  <a:pt x="728" y="2104"/>
                </a:lnTo>
                <a:lnTo>
                  <a:pt x="725" y="2105"/>
                </a:lnTo>
                <a:lnTo>
                  <a:pt x="719" y="2104"/>
                </a:lnTo>
                <a:lnTo>
                  <a:pt x="717" y="2104"/>
                </a:lnTo>
                <a:lnTo>
                  <a:pt x="714" y="2102"/>
                </a:lnTo>
                <a:lnTo>
                  <a:pt x="712" y="2101"/>
                </a:lnTo>
                <a:lnTo>
                  <a:pt x="711" y="2100"/>
                </a:lnTo>
                <a:lnTo>
                  <a:pt x="710" y="2099"/>
                </a:lnTo>
                <a:lnTo>
                  <a:pt x="708" y="2096"/>
                </a:lnTo>
                <a:lnTo>
                  <a:pt x="707" y="2093"/>
                </a:lnTo>
                <a:lnTo>
                  <a:pt x="707" y="2090"/>
                </a:lnTo>
                <a:lnTo>
                  <a:pt x="707" y="2087"/>
                </a:lnTo>
                <a:lnTo>
                  <a:pt x="707" y="2084"/>
                </a:lnTo>
                <a:lnTo>
                  <a:pt x="708" y="2081"/>
                </a:lnTo>
                <a:lnTo>
                  <a:pt x="710" y="2079"/>
                </a:lnTo>
                <a:lnTo>
                  <a:pt x="713" y="2076"/>
                </a:lnTo>
                <a:lnTo>
                  <a:pt x="714" y="2075"/>
                </a:lnTo>
                <a:close/>
                <a:moveTo>
                  <a:pt x="1082" y="1849"/>
                </a:moveTo>
                <a:lnTo>
                  <a:pt x="1086" y="1848"/>
                </a:lnTo>
                <a:lnTo>
                  <a:pt x="1089" y="1847"/>
                </a:lnTo>
                <a:lnTo>
                  <a:pt x="1092" y="1847"/>
                </a:lnTo>
                <a:lnTo>
                  <a:pt x="1095" y="1848"/>
                </a:lnTo>
                <a:lnTo>
                  <a:pt x="1098" y="1849"/>
                </a:lnTo>
                <a:lnTo>
                  <a:pt x="1100" y="1851"/>
                </a:lnTo>
                <a:lnTo>
                  <a:pt x="1102" y="1853"/>
                </a:lnTo>
                <a:lnTo>
                  <a:pt x="1104" y="1855"/>
                </a:lnTo>
                <a:lnTo>
                  <a:pt x="1106" y="1858"/>
                </a:lnTo>
                <a:lnTo>
                  <a:pt x="1106" y="1861"/>
                </a:lnTo>
                <a:lnTo>
                  <a:pt x="1106" y="1864"/>
                </a:lnTo>
                <a:lnTo>
                  <a:pt x="1106" y="1867"/>
                </a:lnTo>
                <a:lnTo>
                  <a:pt x="1105" y="1870"/>
                </a:lnTo>
                <a:lnTo>
                  <a:pt x="1103" y="1873"/>
                </a:lnTo>
                <a:lnTo>
                  <a:pt x="1101" y="1875"/>
                </a:lnTo>
                <a:lnTo>
                  <a:pt x="1098" y="1877"/>
                </a:lnTo>
                <a:lnTo>
                  <a:pt x="1095" y="1878"/>
                </a:lnTo>
                <a:lnTo>
                  <a:pt x="1092" y="1879"/>
                </a:lnTo>
                <a:lnTo>
                  <a:pt x="1089" y="1879"/>
                </a:lnTo>
                <a:lnTo>
                  <a:pt x="1086" y="1878"/>
                </a:lnTo>
                <a:lnTo>
                  <a:pt x="1083" y="1877"/>
                </a:lnTo>
                <a:lnTo>
                  <a:pt x="1080" y="1875"/>
                </a:lnTo>
                <a:lnTo>
                  <a:pt x="1078" y="1873"/>
                </a:lnTo>
                <a:lnTo>
                  <a:pt x="1076" y="1870"/>
                </a:lnTo>
                <a:lnTo>
                  <a:pt x="1075" y="1868"/>
                </a:lnTo>
                <a:lnTo>
                  <a:pt x="1075" y="1865"/>
                </a:lnTo>
                <a:lnTo>
                  <a:pt x="1075" y="1862"/>
                </a:lnTo>
                <a:lnTo>
                  <a:pt x="1075" y="1859"/>
                </a:lnTo>
                <a:lnTo>
                  <a:pt x="1076" y="1856"/>
                </a:lnTo>
                <a:lnTo>
                  <a:pt x="1078" y="1853"/>
                </a:lnTo>
                <a:lnTo>
                  <a:pt x="1080" y="1851"/>
                </a:lnTo>
                <a:lnTo>
                  <a:pt x="1082" y="1849"/>
                </a:lnTo>
                <a:close/>
                <a:moveTo>
                  <a:pt x="1207" y="1776"/>
                </a:moveTo>
                <a:lnTo>
                  <a:pt x="1209" y="1774"/>
                </a:lnTo>
                <a:lnTo>
                  <a:pt x="1212" y="1774"/>
                </a:lnTo>
                <a:lnTo>
                  <a:pt x="1215" y="1773"/>
                </a:lnTo>
                <a:lnTo>
                  <a:pt x="1218" y="1774"/>
                </a:lnTo>
                <a:lnTo>
                  <a:pt x="1221" y="1775"/>
                </a:lnTo>
                <a:lnTo>
                  <a:pt x="1224" y="1776"/>
                </a:lnTo>
                <a:lnTo>
                  <a:pt x="1226" y="1778"/>
                </a:lnTo>
                <a:lnTo>
                  <a:pt x="1228" y="1781"/>
                </a:lnTo>
                <a:lnTo>
                  <a:pt x="1229" y="1784"/>
                </a:lnTo>
                <a:lnTo>
                  <a:pt x="1230" y="1788"/>
                </a:lnTo>
                <a:lnTo>
                  <a:pt x="1230" y="1791"/>
                </a:lnTo>
                <a:lnTo>
                  <a:pt x="1230" y="1794"/>
                </a:lnTo>
                <a:lnTo>
                  <a:pt x="1229" y="1797"/>
                </a:lnTo>
                <a:lnTo>
                  <a:pt x="1228" y="1799"/>
                </a:lnTo>
                <a:lnTo>
                  <a:pt x="1226" y="1802"/>
                </a:lnTo>
                <a:lnTo>
                  <a:pt x="1223" y="1804"/>
                </a:lnTo>
                <a:lnTo>
                  <a:pt x="1220" y="1805"/>
                </a:lnTo>
                <a:lnTo>
                  <a:pt x="1217" y="1806"/>
                </a:lnTo>
                <a:lnTo>
                  <a:pt x="1214" y="1806"/>
                </a:lnTo>
                <a:lnTo>
                  <a:pt x="1211" y="1806"/>
                </a:lnTo>
                <a:lnTo>
                  <a:pt x="1208" y="1805"/>
                </a:lnTo>
                <a:lnTo>
                  <a:pt x="1205" y="1803"/>
                </a:lnTo>
                <a:lnTo>
                  <a:pt x="1203" y="1801"/>
                </a:lnTo>
                <a:lnTo>
                  <a:pt x="1201" y="1799"/>
                </a:lnTo>
                <a:lnTo>
                  <a:pt x="1200" y="1796"/>
                </a:lnTo>
                <a:lnTo>
                  <a:pt x="1199" y="1793"/>
                </a:lnTo>
                <a:lnTo>
                  <a:pt x="1199" y="1790"/>
                </a:lnTo>
                <a:lnTo>
                  <a:pt x="1199" y="1787"/>
                </a:lnTo>
                <a:lnTo>
                  <a:pt x="1200" y="1783"/>
                </a:lnTo>
                <a:lnTo>
                  <a:pt x="1201" y="1780"/>
                </a:lnTo>
                <a:lnTo>
                  <a:pt x="1203" y="1778"/>
                </a:lnTo>
                <a:lnTo>
                  <a:pt x="1206" y="1776"/>
                </a:lnTo>
                <a:lnTo>
                  <a:pt x="1207" y="1776"/>
                </a:lnTo>
                <a:close/>
                <a:moveTo>
                  <a:pt x="832" y="1991"/>
                </a:moveTo>
                <a:lnTo>
                  <a:pt x="835" y="1990"/>
                </a:lnTo>
                <a:lnTo>
                  <a:pt x="838" y="1989"/>
                </a:lnTo>
                <a:lnTo>
                  <a:pt x="841" y="1989"/>
                </a:lnTo>
                <a:lnTo>
                  <a:pt x="844" y="1990"/>
                </a:lnTo>
                <a:lnTo>
                  <a:pt x="847" y="1991"/>
                </a:lnTo>
                <a:lnTo>
                  <a:pt x="849" y="1992"/>
                </a:lnTo>
                <a:lnTo>
                  <a:pt x="851" y="1994"/>
                </a:lnTo>
                <a:lnTo>
                  <a:pt x="853" y="1996"/>
                </a:lnTo>
                <a:lnTo>
                  <a:pt x="855" y="1999"/>
                </a:lnTo>
                <a:lnTo>
                  <a:pt x="856" y="2002"/>
                </a:lnTo>
                <a:lnTo>
                  <a:pt x="856" y="2008"/>
                </a:lnTo>
                <a:lnTo>
                  <a:pt x="855" y="2011"/>
                </a:lnTo>
                <a:lnTo>
                  <a:pt x="853" y="2014"/>
                </a:lnTo>
                <a:lnTo>
                  <a:pt x="851" y="2016"/>
                </a:lnTo>
                <a:lnTo>
                  <a:pt x="849" y="2018"/>
                </a:lnTo>
                <a:lnTo>
                  <a:pt x="846" y="2020"/>
                </a:lnTo>
                <a:lnTo>
                  <a:pt x="843" y="2021"/>
                </a:lnTo>
                <a:lnTo>
                  <a:pt x="837" y="2020"/>
                </a:lnTo>
                <a:lnTo>
                  <a:pt x="834" y="2020"/>
                </a:lnTo>
                <a:lnTo>
                  <a:pt x="831" y="2018"/>
                </a:lnTo>
                <a:lnTo>
                  <a:pt x="829" y="2016"/>
                </a:lnTo>
                <a:lnTo>
                  <a:pt x="827" y="2014"/>
                </a:lnTo>
                <a:lnTo>
                  <a:pt x="825" y="2011"/>
                </a:lnTo>
                <a:lnTo>
                  <a:pt x="825" y="2008"/>
                </a:lnTo>
                <a:lnTo>
                  <a:pt x="825" y="2002"/>
                </a:lnTo>
                <a:lnTo>
                  <a:pt x="826" y="1999"/>
                </a:lnTo>
                <a:lnTo>
                  <a:pt x="827" y="1996"/>
                </a:lnTo>
                <a:lnTo>
                  <a:pt x="829" y="1994"/>
                </a:lnTo>
                <a:lnTo>
                  <a:pt x="831" y="1992"/>
                </a:lnTo>
                <a:lnTo>
                  <a:pt x="832" y="1991"/>
                </a:lnTo>
                <a:close/>
                <a:moveTo>
                  <a:pt x="955" y="1917"/>
                </a:moveTo>
                <a:lnTo>
                  <a:pt x="958" y="1915"/>
                </a:lnTo>
                <a:lnTo>
                  <a:pt x="961" y="1915"/>
                </a:lnTo>
                <a:lnTo>
                  <a:pt x="964" y="1915"/>
                </a:lnTo>
                <a:lnTo>
                  <a:pt x="967" y="1915"/>
                </a:lnTo>
                <a:lnTo>
                  <a:pt x="970" y="1916"/>
                </a:lnTo>
                <a:lnTo>
                  <a:pt x="973" y="1918"/>
                </a:lnTo>
                <a:lnTo>
                  <a:pt x="975" y="1920"/>
                </a:lnTo>
                <a:lnTo>
                  <a:pt x="977" y="1923"/>
                </a:lnTo>
                <a:lnTo>
                  <a:pt x="978" y="1926"/>
                </a:lnTo>
                <a:lnTo>
                  <a:pt x="979" y="1929"/>
                </a:lnTo>
                <a:lnTo>
                  <a:pt x="979" y="1932"/>
                </a:lnTo>
                <a:lnTo>
                  <a:pt x="978" y="1935"/>
                </a:lnTo>
                <a:lnTo>
                  <a:pt x="977" y="1937"/>
                </a:lnTo>
                <a:lnTo>
                  <a:pt x="976" y="1940"/>
                </a:lnTo>
                <a:lnTo>
                  <a:pt x="974" y="1942"/>
                </a:lnTo>
                <a:lnTo>
                  <a:pt x="971" y="1944"/>
                </a:lnTo>
                <a:lnTo>
                  <a:pt x="968" y="1945"/>
                </a:lnTo>
                <a:lnTo>
                  <a:pt x="965" y="1946"/>
                </a:lnTo>
                <a:lnTo>
                  <a:pt x="962" y="1946"/>
                </a:lnTo>
                <a:lnTo>
                  <a:pt x="959" y="1946"/>
                </a:lnTo>
                <a:lnTo>
                  <a:pt x="956" y="1945"/>
                </a:lnTo>
                <a:lnTo>
                  <a:pt x="953" y="1943"/>
                </a:lnTo>
                <a:lnTo>
                  <a:pt x="951" y="1941"/>
                </a:lnTo>
                <a:lnTo>
                  <a:pt x="949" y="1938"/>
                </a:lnTo>
                <a:lnTo>
                  <a:pt x="948" y="1935"/>
                </a:lnTo>
                <a:lnTo>
                  <a:pt x="947" y="1932"/>
                </a:lnTo>
                <a:lnTo>
                  <a:pt x="947" y="1929"/>
                </a:lnTo>
                <a:lnTo>
                  <a:pt x="948" y="1926"/>
                </a:lnTo>
                <a:lnTo>
                  <a:pt x="949" y="1923"/>
                </a:lnTo>
                <a:lnTo>
                  <a:pt x="951" y="1921"/>
                </a:lnTo>
                <a:lnTo>
                  <a:pt x="953" y="1919"/>
                </a:lnTo>
                <a:lnTo>
                  <a:pt x="955" y="1917"/>
                </a:lnTo>
                <a:close/>
                <a:moveTo>
                  <a:pt x="1324" y="1694"/>
                </a:moveTo>
                <a:lnTo>
                  <a:pt x="1327" y="1692"/>
                </a:lnTo>
                <a:lnTo>
                  <a:pt x="1330" y="1692"/>
                </a:lnTo>
                <a:lnTo>
                  <a:pt x="1335" y="1692"/>
                </a:lnTo>
                <a:lnTo>
                  <a:pt x="1338" y="1693"/>
                </a:lnTo>
                <a:lnTo>
                  <a:pt x="1341" y="1694"/>
                </a:lnTo>
                <a:lnTo>
                  <a:pt x="1343" y="1695"/>
                </a:lnTo>
                <a:lnTo>
                  <a:pt x="1344" y="1696"/>
                </a:lnTo>
                <a:lnTo>
                  <a:pt x="1345" y="1698"/>
                </a:lnTo>
                <a:lnTo>
                  <a:pt x="1347" y="1700"/>
                </a:lnTo>
                <a:lnTo>
                  <a:pt x="1348" y="1703"/>
                </a:lnTo>
                <a:lnTo>
                  <a:pt x="1348" y="1706"/>
                </a:lnTo>
                <a:lnTo>
                  <a:pt x="1348" y="1709"/>
                </a:lnTo>
                <a:lnTo>
                  <a:pt x="1347" y="1712"/>
                </a:lnTo>
                <a:lnTo>
                  <a:pt x="1346" y="1715"/>
                </a:lnTo>
                <a:lnTo>
                  <a:pt x="1344" y="1718"/>
                </a:lnTo>
                <a:lnTo>
                  <a:pt x="1342" y="1720"/>
                </a:lnTo>
                <a:lnTo>
                  <a:pt x="1340" y="1721"/>
                </a:lnTo>
                <a:lnTo>
                  <a:pt x="1338" y="1722"/>
                </a:lnTo>
                <a:lnTo>
                  <a:pt x="1335" y="1723"/>
                </a:lnTo>
                <a:lnTo>
                  <a:pt x="1329" y="1723"/>
                </a:lnTo>
                <a:lnTo>
                  <a:pt x="1327" y="1722"/>
                </a:lnTo>
                <a:lnTo>
                  <a:pt x="1324" y="1721"/>
                </a:lnTo>
                <a:lnTo>
                  <a:pt x="1322" y="1719"/>
                </a:lnTo>
                <a:lnTo>
                  <a:pt x="1321" y="1718"/>
                </a:lnTo>
                <a:lnTo>
                  <a:pt x="1320" y="1717"/>
                </a:lnTo>
                <a:lnTo>
                  <a:pt x="1318" y="1714"/>
                </a:lnTo>
                <a:lnTo>
                  <a:pt x="1317" y="1711"/>
                </a:lnTo>
                <a:lnTo>
                  <a:pt x="1317" y="1708"/>
                </a:lnTo>
                <a:lnTo>
                  <a:pt x="1317" y="1705"/>
                </a:lnTo>
                <a:lnTo>
                  <a:pt x="1317" y="1702"/>
                </a:lnTo>
                <a:lnTo>
                  <a:pt x="1319" y="1699"/>
                </a:lnTo>
                <a:lnTo>
                  <a:pt x="1320" y="1697"/>
                </a:lnTo>
                <a:lnTo>
                  <a:pt x="1323" y="1695"/>
                </a:lnTo>
                <a:lnTo>
                  <a:pt x="1324" y="1694"/>
                </a:lnTo>
                <a:close/>
                <a:moveTo>
                  <a:pt x="3189" y="587"/>
                </a:moveTo>
                <a:lnTo>
                  <a:pt x="3193" y="585"/>
                </a:lnTo>
                <a:lnTo>
                  <a:pt x="3196" y="585"/>
                </a:lnTo>
                <a:lnTo>
                  <a:pt x="3200" y="585"/>
                </a:lnTo>
                <a:lnTo>
                  <a:pt x="3202" y="585"/>
                </a:lnTo>
                <a:lnTo>
                  <a:pt x="3204" y="586"/>
                </a:lnTo>
                <a:lnTo>
                  <a:pt x="3207" y="588"/>
                </a:lnTo>
                <a:lnTo>
                  <a:pt x="3209" y="590"/>
                </a:lnTo>
                <a:lnTo>
                  <a:pt x="3211" y="592"/>
                </a:lnTo>
                <a:lnTo>
                  <a:pt x="3212" y="596"/>
                </a:lnTo>
                <a:lnTo>
                  <a:pt x="3213" y="599"/>
                </a:lnTo>
                <a:lnTo>
                  <a:pt x="3213" y="602"/>
                </a:lnTo>
                <a:lnTo>
                  <a:pt x="3213" y="605"/>
                </a:lnTo>
                <a:lnTo>
                  <a:pt x="3212" y="608"/>
                </a:lnTo>
                <a:lnTo>
                  <a:pt x="3209" y="612"/>
                </a:lnTo>
                <a:lnTo>
                  <a:pt x="3207" y="614"/>
                </a:lnTo>
                <a:lnTo>
                  <a:pt x="3205" y="615"/>
                </a:lnTo>
                <a:lnTo>
                  <a:pt x="3202" y="617"/>
                </a:lnTo>
                <a:lnTo>
                  <a:pt x="3198" y="617"/>
                </a:lnTo>
                <a:lnTo>
                  <a:pt x="3195" y="617"/>
                </a:lnTo>
                <a:lnTo>
                  <a:pt x="3193" y="616"/>
                </a:lnTo>
                <a:lnTo>
                  <a:pt x="3191" y="616"/>
                </a:lnTo>
                <a:lnTo>
                  <a:pt x="3188" y="614"/>
                </a:lnTo>
                <a:lnTo>
                  <a:pt x="3186" y="612"/>
                </a:lnTo>
                <a:lnTo>
                  <a:pt x="3184" y="610"/>
                </a:lnTo>
                <a:lnTo>
                  <a:pt x="3183" y="607"/>
                </a:lnTo>
                <a:lnTo>
                  <a:pt x="3182" y="604"/>
                </a:lnTo>
                <a:lnTo>
                  <a:pt x="3181" y="601"/>
                </a:lnTo>
                <a:lnTo>
                  <a:pt x="3182" y="598"/>
                </a:lnTo>
                <a:lnTo>
                  <a:pt x="3183" y="595"/>
                </a:lnTo>
                <a:lnTo>
                  <a:pt x="3186" y="590"/>
                </a:lnTo>
                <a:lnTo>
                  <a:pt x="3187" y="588"/>
                </a:lnTo>
                <a:lnTo>
                  <a:pt x="3189" y="587"/>
                </a:lnTo>
                <a:close/>
                <a:moveTo>
                  <a:pt x="1433" y="1600"/>
                </a:moveTo>
                <a:lnTo>
                  <a:pt x="1436" y="1599"/>
                </a:lnTo>
                <a:lnTo>
                  <a:pt x="1438" y="1598"/>
                </a:lnTo>
                <a:lnTo>
                  <a:pt x="1441" y="1598"/>
                </a:lnTo>
                <a:lnTo>
                  <a:pt x="1443" y="1598"/>
                </a:lnTo>
                <a:lnTo>
                  <a:pt x="1446" y="1599"/>
                </a:lnTo>
                <a:lnTo>
                  <a:pt x="1448" y="1600"/>
                </a:lnTo>
                <a:lnTo>
                  <a:pt x="1451" y="1601"/>
                </a:lnTo>
                <a:lnTo>
                  <a:pt x="1453" y="1603"/>
                </a:lnTo>
                <a:lnTo>
                  <a:pt x="1455" y="1605"/>
                </a:lnTo>
                <a:lnTo>
                  <a:pt x="1456" y="1608"/>
                </a:lnTo>
                <a:lnTo>
                  <a:pt x="1457" y="1611"/>
                </a:lnTo>
                <a:lnTo>
                  <a:pt x="1457" y="1614"/>
                </a:lnTo>
                <a:lnTo>
                  <a:pt x="1457" y="1617"/>
                </a:lnTo>
                <a:lnTo>
                  <a:pt x="1456" y="1620"/>
                </a:lnTo>
                <a:lnTo>
                  <a:pt x="1454" y="1623"/>
                </a:lnTo>
                <a:lnTo>
                  <a:pt x="1452" y="1625"/>
                </a:lnTo>
                <a:lnTo>
                  <a:pt x="1449" y="1627"/>
                </a:lnTo>
                <a:lnTo>
                  <a:pt x="1447" y="1629"/>
                </a:lnTo>
                <a:lnTo>
                  <a:pt x="1444" y="1629"/>
                </a:lnTo>
                <a:lnTo>
                  <a:pt x="1442" y="1630"/>
                </a:lnTo>
                <a:lnTo>
                  <a:pt x="1439" y="1629"/>
                </a:lnTo>
                <a:lnTo>
                  <a:pt x="1437" y="1629"/>
                </a:lnTo>
                <a:lnTo>
                  <a:pt x="1434" y="1628"/>
                </a:lnTo>
                <a:lnTo>
                  <a:pt x="1432" y="1627"/>
                </a:lnTo>
                <a:lnTo>
                  <a:pt x="1430" y="1625"/>
                </a:lnTo>
                <a:lnTo>
                  <a:pt x="1428" y="1622"/>
                </a:lnTo>
                <a:lnTo>
                  <a:pt x="1426" y="1619"/>
                </a:lnTo>
                <a:lnTo>
                  <a:pt x="1426" y="1617"/>
                </a:lnTo>
                <a:lnTo>
                  <a:pt x="1425" y="1614"/>
                </a:lnTo>
                <a:lnTo>
                  <a:pt x="1426" y="1610"/>
                </a:lnTo>
                <a:lnTo>
                  <a:pt x="1427" y="1608"/>
                </a:lnTo>
                <a:lnTo>
                  <a:pt x="1428" y="1605"/>
                </a:lnTo>
                <a:lnTo>
                  <a:pt x="1430" y="1602"/>
                </a:lnTo>
                <a:lnTo>
                  <a:pt x="1433" y="1600"/>
                </a:lnTo>
                <a:close/>
                <a:moveTo>
                  <a:pt x="1529" y="1493"/>
                </a:moveTo>
                <a:lnTo>
                  <a:pt x="1533" y="1491"/>
                </a:lnTo>
                <a:lnTo>
                  <a:pt x="1538" y="1491"/>
                </a:lnTo>
                <a:lnTo>
                  <a:pt x="1540" y="1491"/>
                </a:lnTo>
                <a:lnTo>
                  <a:pt x="1542" y="1492"/>
                </a:lnTo>
                <a:lnTo>
                  <a:pt x="1544" y="1493"/>
                </a:lnTo>
                <a:lnTo>
                  <a:pt x="1547" y="1494"/>
                </a:lnTo>
                <a:lnTo>
                  <a:pt x="1549" y="1496"/>
                </a:lnTo>
                <a:lnTo>
                  <a:pt x="1551" y="1499"/>
                </a:lnTo>
                <a:lnTo>
                  <a:pt x="1552" y="1502"/>
                </a:lnTo>
                <a:lnTo>
                  <a:pt x="1553" y="1505"/>
                </a:lnTo>
                <a:lnTo>
                  <a:pt x="1553" y="1508"/>
                </a:lnTo>
                <a:lnTo>
                  <a:pt x="1552" y="1511"/>
                </a:lnTo>
                <a:lnTo>
                  <a:pt x="1551" y="1514"/>
                </a:lnTo>
                <a:lnTo>
                  <a:pt x="1549" y="1516"/>
                </a:lnTo>
                <a:lnTo>
                  <a:pt x="1547" y="1519"/>
                </a:lnTo>
                <a:lnTo>
                  <a:pt x="1545" y="1521"/>
                </a:lnTo>
                <a:lnTo>
                  <a:pt x="1541" y="1522"/>
                </a:lnTo>
                <a:lnTo>
                  <a:pt x="1536" y="1523"/>
                </a:lnTo>
                <a:lnTo>
                  <a:pt x="1534" y="1522"/>
                </a:lnTo>
                <a:lnTo>
                  <a:pt x="1531" y="1522"/>
                </a:lnTo>
                <a:lnTo>
                  <a:pt x="1529" y="1521"/>
                </a:lnTo>
                <a:lnTo>
                  <a:pt x="1527" y="1519"/>
                </a:lnTo>
                <a:lnTo>
                  <a:pt x="1525" y="1517"/>
                </a:lnTo>
                <a:lnTo>
                  <a:pt x="1523" y="1515"/>
                </a:lnTo>
                <a:lnTo>
                  <a:pt x="1522" y="1512"/>
                </a:lnTo>
                <a:lnTo>
                  <a:pt x="1521" y="1509"/>
                </a:lnTo>
                <a:lnTo>
                  <a:pt x="1521" y="1506"/>
                </a:lnTo>
                <a:lnTo>
                  <a:pt x="1522" y="1503"/>
                </a:lnTo>
                <a:lnTo>
                  <a:pt x="1523" y="1500"/>
                </a:lnTo>
                <a:lnTo>
                  <a:pt x="1524" y="1497"/>
                </a:lnTo>
                <a:lnTo>
                  <a:pt x="1526" y="1495"/>
                </a:lnTo>
                <a:lnTo>
                  <a:pt x="1529" y="1493"/>
                </a:lnTo>
                <a:close/>
                <a:moveTo>
                  <a:pt x="1606" y="1372"/>
                </a:moveTo>
                <a:lnTo>
                  <a:pt x="1609" y="1371"/>
                </a:lnTo>
                <a:lnTo>
                  <a:pt x="1613" y="1370"/>
                </a:lnTo>
                <a:lnTo>
                  <a:pt x="1617" y="1370"/>
                </a:lnTo>
                <a:lnTo>
                  <a:pt x="1621" y="1372"/>
                </a:lnTo>
                <a:lnTo>
                  <a:pt x="1624" y="1373"/>
                </a:lnTo>
                <a:lnTo>
                  <a:pt x="1626" y="1376"/>
                </a:lnTo>
                <a:lnTo>
                  <a:pt x="1628" y="1378"/>
                </a:lnTo>
                <a:lnTo>
                  <a:pt x="1629" y="1381"/>
                </a:lnTo>
                <a:lnTo>
                  <a:pt x="1630" y="1387"/>
                </a:lnTo>
                <a:lnTo>
                  <a:pt x="1629" y="1390"/>
                </a:lnTo>
                <a:lnTo>
                  <a:pt x="1628" y="1393"/>
                </a:lnTo>
                <a:lnTo>
                  <a:pt x="1627" y="1395"/>
                </a:lnTo>
                <a:lnTo>
                  <a:pt x="1625" y="1397"/>
                </a:lnTo>
                <a:lnTo>
                  <a:pt x="1622" y="1399"/>
                </a:lnTo>
                <a:lnTo>
                  <a:pt x="1618" y="1401"/>
                </a:lnTo>
                <a:lnTo>
                  <a:pt x="1614" y="1402"/>
                </a:lnTo>
                <a:lnTo>
                  <a:pt x="1610" y="1401"/>
                </a:lnTo>
                <a:lnTo>
                  <a:pt x="1607" y="1400"/>
                </a:lnTo>
                <a:lnTo>
                  <a:pt x="1604" y="1398"/>
                </a:lnTo>
                <a:lnTo>
                  <a:pt x="1602" y="1396"/>
                </a:lnTo>
                <a:lnTo>
                  <a:pt x="1600" y="1393"/>
                </a:lnTo>
                <a:lnTo>
                  <a:pt x="1599" y="1391"/>
                </a:lnTo>
                <a:lnTo>
                  <a:pt x="1598" y="1385"/>
                </a:lnTo>
                <a:lnTo>
                  <a:pt x="1599" y="1381"/>
                </a:lnTo>
                <a:lnTo>
                  <a:pt x="1600" y="1378"/>
                </a:lnTo>
                <a:lnTo>
                  <a:pt x="1601" y="1377"/>
                </a:lnTo>
                <a:lnTo>
                  <a:pt x="1602" y="1375"/>
                </a:lnTo>
                <a:lnTo>
                  <a:pt x="1606" y="1372"/>
                </a:lnTo>
                <a:close/>
                <a:moveTo>
                  <a:pt x="3057" y="530"/>
                </a:moveTo>
                <a:lnTo>
                  <a:pt x="3060" y="528"/>
                </a:lnTo>
                <a:lnTo>
                  <a:pt x="3064" y="528"/>
                </a:lnTo>
                <a:lnTo>
                  <a:pt x="3067" y="528"/>
                </a:lnTo>
                <a:lnTo>
                  <a:pt x="3071" y="529"/>
                </a:lnTo>
                <a:lnTo>
                  <a:pt x="3074" y="530"/>
                </a:lnTo>
                <a:lnTo>
                  <a:pt x="3076" y="532"/>
                </a:lnTo>
                <a:lnTo>
                  <a:pt x="3078" y="535"/>
                </a:lnTo>
                <a:lnTo>
                  <a:pt x="3080" y="537"/>
                </a:lnTo>
                <a:lnTo>
                  <a:pt x="3081" y="540"/>
                </a:lnTo>
                <a:lnTo>
                  <a:pt x="3081" y="543"/>
                </a:lnTo>
                <a:lnTo>
                  <a:pt x="3081" y="546"/>
                </a:lnTo>
                <a:lnTo>
                  <a:pt x="3080" y="549"/>
                </a:lnTo>
                <a:lnTo>
                  <a:pt x="3077" y="554"/>
                </a:lnTo>
                <a:lnTo>
                  <a:pt x="3075" y="556"/>
                </a:lnTo>
                <a:lnTo>
                  <a:pt x="3073" y="557"/>
                </a:lnTo>
                <a:lnTo>
                  <a:pt x="3070" y="559"/>
                </a:lnTo>
                <a:lnTo>
                  <a:pt x="3066" y="559"/>
                </a:lnTo>
                <a:lnTo>
                  <a:pt x="3063" y="559"/>
                </a:lnTo>
                <a:lnTo>
                  <a:pt x="3059" y="558"/>
                </a:lnTo>
                <a:lnTo>
                  <a:pt x="3056" y="557"/>
                </a:lnTo>
                <a:lnTo>
                  <a:pt x="3054" y="555"/>
                </a:lnTo>
                <a:lnTo>
                  <a:pt x="3052" y="552"/>
                </a:lnTo>
                <a:lnTo>
                  <a:pt x="3050" y="550"/>
                </a:lnTo>
                <a:lnTo>
                  <a:pt x="3050" y="547"/>
                </a:lnTo>
                <a:lnTo>
                  <a:pt x="3049" y="544"/>
                </a:lnTo>
                <a:lnTo>
                  <a:pt x="3050" y="541"/>
                </a:lnTo>
                <a:lnTo>
                  <a:pt x="3050" y="537"/>
                </a:lnTo>
                <a:lnTo>
                  <a:pt x="3053" y="533"/>
                </a:lnTo>
                <a:lnTo>
                  <a:pt x="3055" y="531"/>
                </a:lnTo>
                <a:lnTo>
                  <a:pt x="3057" y="530"/>
                </a:lnTo>
                <a:close/>
                <a:moveTo>
                  <a:pt x="1660" y="1239"/>
                </a:moveTo>
                <a:lnTo>
                  <a:pt x="1662" y="1238"/>
                </a:lnTo>
                <a:lnTo>
                  <a:pt x="1666" y="1237"/>
                </a:lnTo>
                <a:lnTo>
                  <a:pt x="1669" y="1237"/>
                </a:lnTo>
                <a:lnTo>
                  <a:pt x="1672" y="1237"/>
                </a:lnTo>
                <a:lnTo>
                  <a:pt x="1675" y="1239"/>
                </a:lnTo>
                <a:lnTo>
                  <a:pt x="1678" y="1240"/>
                </a:lnTo>
                <a:lnTo>
                  <a:pt x="1680" y="1243"/>
                </a:lnTo>
                <a:lnTo>
                  <a:pt x="1681" y="1245"/>
                </a:lnTo>
                <a:lnTo>
                  <a:pt x="1683" y="1248"/>
                </a:lnTo>
                <a:lnTo>
                  <a:pt x="1683" y="1251"/>
                </a:lnTo>
                <a:lnTo>
                  <a:pt x="1683" y="1254"/>
                </a:lnTo>
                <a:lnTo>
                  <a:pt x="1683" y="1257"/>
                </a:lnTo>
                <a:lnTo>
                  <a:pt x="1681" y="1260"/>
                </a:lnTo>
                <a:lnTo>
                  <a:pt x="1680" y="1263"/>
                </a:lnTo>
                <a:lnTo>
                  <a:pt x="1678" y="1265"/>
                </a:lnTo>
                <a:lnTo>
                  <a:pt x="1675" y="1266"/>
                </a:lnTo>
                <a:lnTo>
                  <a:pt x="1673" y="1268"/>
                </a:lnTo>
                <a:lnTo>
                  <a:pt x="1669" y="1268"/>
                </a:lnTo>
                <a:lnTo>
                  <a:pt x="1666" y="1268"/>
                </a:lnTo>
                <a:lnTo>
                  <a:pt x="1663" y="1268"/>
                </a:lnTo>
                <a:lnTo>
                  <a:pt x="1660" y="1267"/>
                </a:lnTo>
                <a:lnTo>
                  <a:pt x="1657" y="1265"/>
                </a:lnTo>
                <a:lnTo>
                  <a:pt x="1655" y="1263"/>
                </a:lnTo>
                <a:lnTo>
                  <a:pt x="1654" y="1260"/>
                </a:lnTo>
                <a:lnTo>
                  <a:pt x="1652" y="1257"/>
                </a:lnTo>
                <a:lnTo>
                  <a:pt x="1652" y="1254"/>
                </a:lnTo>
                <a:lnTo>
                  <a:pt x="1652" y="1251"/>
                </a:lnTo>
                <a:lnTo>
                  <a:pt x="1652" y="1248"/>
                </a:lnTo>
                <a:lnTo>
                  <a:pt x="1653" y="1245"/>
                </a:lnTo>
                <a:lnTo>
                  <a:pt x="1655" y="1243"/>
                </a:lnTo>
                <a:lnTo>
                  <a:pt x="1657" y="1241"/>
                </a:lnTo>
                <a:lnTo>
                  <a:pt x="1660" y="1239"/>
                </a:lnTo>
                <a:close/>
                <a:moveTo>
                  <a:pt x="2923" y="479"/>
                </a:moveTo>
                <a:lnTo>
                  <a:pt x="2926" y="477"/>
                </a:lnTo>
                <a:lnTo>
                  <a:pt x="2929" y="476"/>
                </a:lnTo>
                <a:lnTo>
                  <a:pt x="2932" y="476"/>
                </a:lnTo>
                <a:lnTo>
                  <a:pt x="2936" y="477"/>
                </a:lnTo>
                <a:lnTo>
                  <a:pt x="2939" y="479"/>
                </a:lnTo>
                <a:lnTo>
                  <a:pt x="2941" y="481"/>
                </a:lnTo>
                <a:lnTo>
                  <a:pt x="2943" y="483"/>
                </a:lnTo>
                <a:lnTo>
                  <a:pt x="2945" y="485"/>
                </a:lnTo>
                <a:lnTo>
                  <a:pt x="2946" y="488"/>
                </a:lnTo>
                <a:lnTo>
                  <a:pt x="2946" y="491"/>
                </a:lnTo>
                <a:lnTo>
                  <a:pt x="2946" y="494"/>
                </a:lnTo>
                <a:lnTo>
                  <a:pt x="2946" y="497"/>
                </a:lnTo>
                <a:lnTo>
                  <a:pt x="2944" y="500"/>
                </a:lnTo>
                <a:lnTo>
                  <a:pt x="2943" y="502"/>
                </a:lnTo>
                <a:lnTo>
                  <a:pt x="2941" y="504"/>
                </a:lnTo>
                <a:lnTo>
                  <a:pt x="2938" y="506"/>
                </a:lnTo>
                <a:lnTo>
                  <a:pt x="2935" y="507"/>
                </a:lnTo>
                <a:lnTo>
                  <a:pt x="2932" y="508"/>
                </a:lnTo>
                <a:lnTo>
                  <a:pt x="2929" y="508"/>
                </a:lnTo>
                <a:lnTo>
                  <a:pt x="2925" y="507"/>
                </a:lnTo>
                <a:lnTo>
                  <a:pt x="2922" y="506"/>
                </a:lnTo>
                <a:lnTo>
                  <a:pt x="2920" y="504"/>
                </a:lnTo>
                <a:lnTo>
                  <a:pt x="2918" y="502"/>
                </a:lnTo>
                <a:lnTo>
                  <a:pt x="2916" y="499"/>
                </a:lnTo>
                <a:lnTo>
                  <a:pt x="2915" y="496"/>
                </a:lnTo>
                <a:lnTo>
                  <a:pt x="2915" y="493"/>
                </a:lnTo>
                <a:lnTo>
                  <a:pt x="2915" y="490"/>
                </a:lnTo>
                <a:lnTo>
                  <a:pt x="2916" y="487"/>
                </a:lnTo>
                <a:lnTo>
                  <a:pt x="2917" y="484"/>
                </a:lnTo>
                <a:lnTo>
                  <a:pt x="2918" y="482"/>
                </a:lnTo>
                <a:lnTo>
                  <a:pt x="2920" y="480"/>
                </a:lnTo>
                <a:lnTo>
                  <a:pt x="2923" y="479"/>
                </a:lnTo>
                <a:close/>
                <a:moveTo>
                  <a:pt x="1690" y="1098"/>
                </a:moveTo>
                <a:lnTo>
                  <a:pt x="1692" y="1097"/>
                </a:lnTo>
                <a:lnTo>
                  <a:pt x="1695" y="1097"/>
                </a:lnTo>
                <a:lnTo>
                  <a:pt x="1697" y="1096"/>
                </a:lnTo>
                <a:lnTo>
                  <a:pt x="1700" y="1096"/>
                </a:lnTo>
                <a:lnTo>
                  <a:pt x="1703" y="1097"/>
                </a:lnTo>
                <a:lnTo>
                  <a:pt x="1706" y="1099"/>
                </a:lnTo>
                <a:lnTo>
                  <a:pt x="1708" y="1100"/>
                </a:lnTo>
                <a:lnTo>
                  <a:pt x="1710" y="1103"/>
                </a:lnTo>
                <a:lnTo>
                  <a:pt x="1712" y="1105"/>
                </a:lnTo>
                <a:lnTo>
                  <a:pt x="1713" y="1108"/>
                </a:lnTo>
                <a:lnTo>
                  <a:pt x="1714" y="1111"/>
                </a:lnTo>
                <a:lnTo>
                  <a:pt x="1713" y="1114"/>
                </a:lnTo>
                <a:lnTo>
                  <a:pt x="1712" y="1118"/>
                </a:lnTo>
                <a:lnTo>
                  <a:pt x="1711" y="1121"/>
                </a:lnTo>
                <a:lnTo>
                  <a:pt x="1708" y="1124"/>
                </a:lnTo>
                <a:lnTo>
                  <a:pt x="1706" y="1126"/>
                </a:lnTo>
                <a:lnTo>
                  <a:pt x="1703" y="1127"/>
                </a:lnTo>
                <a:lnTo>
                  <a:pt x="1701" y="1128"/>
                </a:lnTo>
                <a:lnTo>
                  <a:pt x="1698" y="1128"/>
                </a:lnTo>
                <a:lnTo>
                  <a:pt x="1695" y="1128"/>
                </a:lnTo>
                <a:lnTo>
                  <a:pt x="1692" y="1127"/>
                </a:lnTo>
                <a:lnTo>
                  <a:pt x="1690" y="1126"/>
                </a:lnTo>
                <a:lnTo>
                  <a:pt x="1687" y="1124"/>
                </a:lnTo>
                <a:lnTo>
                  <a:pt x="1685" y="1122"/>
                </a:lnTo>
                <a:lnTo>
                  <a:pt x="1683" y="1119"/>
                </a:lnTo>
                <a:lnTo>
                  <a:pt x="1682" y="1116"/>
                </a:lnTo>
                <a:lnTo>
                  <a:pt x="1682" y="1113"/>
                </a:lnTo>
                <a:lnTo>
                  <a:pt x="1682" y="1110"/>
                </a:lnTo>
                <a:lnTo>
                  <a:pt x="1683" y="1106"/>
                </a:lnTo>
                <a:lnTo>
                  <a:pt x="1685" y="1103"/>
                </a:lnTo>
                <a:lnTo>
                  <a:pt x="1687" y="1100"/>
                </a:lnTo>
                <a:lnTo>
                  <a:pt x="1690" y="1098"/>
                </a:lnTo>
                <a:close/>
                <a:moveTo>
                  <a:pt x="2786" y="435"/>
                </a:moveTo>
                <a:lnTo>
                  <a:pt x="2788" y="433"/>
                </a:lnTo>
                <a:lnTo>
                  <a:pt x="2791" y="433"/>
                </a:lnTo>
                <a:lnTo>
                  <a:pt x="2795" y="433"/>
                </a:lnTo>
                <a:lnTo>
                  <a:pt x="2798" y="433"/>
                </a:lnTo>
                <a:lnTo>
                  <a:pt x="2801" y="434"/>
                </a:lnTo>
                <a:lnTo>
                  <a:pt x="2803" y="436"/>
                </a:lnTo>
                <a:lnTo>
                  <a:pt x="2806" y="438"/>
                </a:lnTo>
                <a:lnTo>
                  <a:pt x="2807" y="441"/>
                </a:lnTo>
                <a:lnTo>
                  <a:pt x="2809" y="443"/>
                </a:lnTo>
                <a:lnTo>
                  <a:pt x="2809" y="446"/>
                </a:lnTo>
                <a:lnTo>
                  <a:pt x="2809" y="450"/>
                </a:lnTo>
                <a:lnTo>
                  <a:pt x="2809" y="453"/>
                </a:lnTo>
                <a:lnTo>
                  <a:pt x="2808" y="456"/>
                </a:lnTo>
                <a:lnTo>
                  <a:pt x="2806" y="458"/>
                </a:lnTo>
                <a:lnTo>
                  <a:pt x="2804" y="460"/>
                </a:lnTo>
                <a:lnTo>
                  <a:pt x="2801" y="462"/>
                </a:lnTo>
                <a:lnTo>
                  <a:pt x="2799" y="463"/>
                </a:lnTo>
                <a:lnTo>
                  <a:pt x="2796" y="464"/>
                </a:lnTo>
                <a:lnTo>
                  <a:pt x="2792" y="464"/>
                </a:lnTo>
                <a:lnTo>
                  <a:pt x="2789" y="464"/>
                </a:lnTo>
                <a:lnTo>
                  <a:pt x="2786" y="462"/>
                </a:lnTo>
                <a:lnTo>
                  <a:pt x="2784" y="461"/>
                </a:lnTo>
                <a:lnTo>
                  <a:pt x="2781" y="459"/>
                </a:lnTo>
                <a:lnTo>
                  <a:pt x="2780" y="456"/>
                </a:lnTo>
                <a:lnTo>
                  <a:pt x="2778" y="453"/>
                </a:lnTo>
                <a:lnTo>
                  <a:pt x="2778" y="450"/>
                </a:lnTo>
                <a:lnTo>
                  <a:pt x="2778" y="447"/>
                </a:lnTo>
                <a:lnTo>
                  <a:pt x="2778" y="444"/>
                </a:lnTo>
                <a:lnTo>
                  <a:pt x="2779" y="441"/>
                </a:lnTo>
                <a:lnTo>
                  <a:pt x="2781" y="439"/>
                </a:lnTo>
                <a:lnTo>
                  <a:pt x="2783" y="436"/>
                </a:lnTo>
                <a:lnTo>
                  <a:pt x="2786" y="435"/>
                </a:lnTo>
                <a:close/>
                <a:moveTo>
                  <a:pt x="1704" y="955"/>
                </a:moveTo>
                <a:lnTo>
                  <a:pt x="1708" y="953"/>
                </a:lnTo>
                <a:lnTo>
                  <a:pt x="1713" y="953"/>
                </a:lnTo>
                <a:lnTo>
                  <a:pt x="1716" y="954"/>
                </a:lnTo>
                <a:lnTo>
                  <a:pt x="1719" y="955"/>
                </a:lnTo>
                <a:lnTo>
                  <a:pt x="1721" y="956"/>
                </a:lnTo>
                <a:lnTo>
                  <a:pt x="1724" y="958"/>
                </a:lnTo>
                <a:lnTo>
                  <a:pt x="1725" y="961"/>
                </a:lnTo>
                <a:lnTo>
                  <a:pt x="1727" y="964"/>
                </a:lnTo>
                <a:lnTo>
                  <a:pt x="1727" y="967"/>
                </a:lnTo>
                <a:lnTo>
                  <a:pt x="1728" y="970"/>
                </a:lnTo>
                <a:lnTo>
                  <a:pt x="1727" y="974"/>
                </a:lnTo>
                <a:lnTo>
                  <a:pt x="1725" y="977"/>
                </a:lnTo>
                <a:lnTo>
                  <a:pt x="1723" y="980"/>
                </a:lnTo>
                <a:lnTo>
                  <a:pt x="1720" y="983"/>
                </a:lnTo>
                <a:lnTo>
                  <a:pt x="1715" y="984"/>
                </a:lnTo>
                <a:lnTo>
                  <a:pt x="1711" y="985"/>
                </a:lnTo>
                <a:lnTo>
                  <a:pt x="1707" y="984"/>
                </a:lnTo>
                <a:lnTo>
                  <a:pt x="1705" y="983"/>
                </a:lnTo>
                <a:lnTo>
                  <a:pt x="1702" y="981"/>
                </a:lnTo>
                <a:lnTo>
                  <a:pt x="1700" y="979"/>
                </a:lnTo>
                <a:lnTo>
                  <a:pt x="1698" y="977"/>
                </a:lnTo>
                <a:lnTo>
                  <a:pt x="1697" y="974"/>
                </a:lnTo>
                <a:lnTo>
                  <a:pt x="1696" y="971"/>
                </a:lnTo>
                <a:lnTo>
                  <a:pt x="1696" y="968"/>
                </a:lnTo>
                <a:lnTo>
                  <a:pt x="1697" y="964"/>
                </a:lnTo>
                <a:lnTo>
                  <a:pt x="1698" y="960"/>
                </a:lnTo>
                <a:lnTo>
                  <a:pt x="1701" y="957"/>
                </a:lnTo>
                <a:lnTo>
                  <a:pt x="1704" y="955"/>
                </a:lnTo>
                <a:close/>
                <a:moveTo>
                  <a:pt x="2646" y="401"/>
                </a:moveTo>
                <a:lnTo>
                  <a:pt x="2648" y="399"/>
                </a:lnTo>
                <a:lnTo>
                  <a:pt x="2651" y="399"/>
                </a:lnTo>
                <a:lnTo>
                  <a:pt x="2657" y="399"/>
                </a:lnTo>
                <a:lnTo>
                  <a:pt x="2660" y="400"/>
                </a:lnTo>
                <a:lnTo>
                  <a:pt x="2663" y="401"/>
                </a:lnTo>
                <a:lnTo>
                  <a:pt x="2665" y="403"/>
                </a:lnTo>
                <a:lnTo>
                  <a:pt x="2667" y="406"/>
                </a:lnTo>
                <a:lnTo>
                  <a:pt x="2668" y="408"/>
                </a:lnTo>
                <a:lnTo>
                  <a:pt x="2669" y="411"/>
                </a:lnTo>
                <a:lnTo>
                  <a:pt x="2670" y="414"/>
                </a:lnTo>
                <a:lnTo>
                  <a:pt x="2669" y="417"/>
                </a:lnTo>
                <a:lnTo>
                  <a:pt x="2668" y="421"/>
                </a:lnTo>
                <a:lnTo>
                  <a:pt x="2666" y="424"/>
                </a:lnTo>
                <a:lnTo>
                  <a:pt x="2664" y="426"/>
                </a:lnTo>
                <a:lnTo>
                  <a:pt x="2662" y="428"/>
                </a:lnTo>
                <a:lnTo>
                  <a:pt x="2659" y="429"/>
                </a:lnTo>
                <a:lnTo>
                  <a:pt x="2656" y="430"/>
                </a:lnTo>
                <a:lnTo>
                  <a:pt x="2651" y="430"/>
                </a:lnTo>
                <a:lnTo>
                  <a:pt x="2647" y="429"/>
                </a:lnTo>
                <a:lnTo>
                  <a:pt x="2645" y="427"/>
                </a:lnTo>
                <a:lnTo>
                  <a:pt x="2642" y="425"/>
                </a:lnTo>
                <a:lnTo>
                  <a:pt x="2640" y="423"/>
                </a:lnTo>
                <a:lnTo>
                  <a:pt x="2639" y="420"/>
                </a:lnTo>
                <a:lnTo>
                  <a:pt x="2638" y="418"/>
                </a:lnTo>
                <a:lnTo>
                  <a:pt x="2638" y="414"/>
                </a:lnTo>
                <a:lnTo>
                  <a:pt x="2638" y="411"/>
                </a:lnTo>
                <a:lnTo>
                  <a:pt x="2639" y="408"/>
                </a:lnTo>
                <a:lnTo>
                  <a:pt x="2641" y="405"/>
                </a:lnTo>
                <a:lnTo>
                  <a:pt x="2643" y="403"/>
                </a:lnTo>
                <a:lnTo>
                  <a:pt x="2646" y="401"/>
                </a:lnTo>
                <a:close/>
                <a:moveTo>
                  <a:pt x="2504" y="379"/>
                </a:moveTo>
                <a:lnTo>
                  <a:pt x="2506" y="378"/>
                </a:lnTo>
                <a:lnTo>
                  <a:pt x="2508" y="377"/>
                </a:lnTo>
                <a:lnTo>
                  <a:pt x="2510" y="377"/>
                </a:lnTo>
                <a:lnTo>
                  <a:pt x="2513" y="377"/>
                </a:lnTo>
                <a:lnTo>
                  <a:pt x="2516" y="378"/>
                </a:lnTo>
                <a:lnTo>
                  <a:pt x="2519" y="379"/>
                </a:lnTo>
                <a:lnTo>
                  <a:pt x="2522" y="381"/>
                </a:lnTo>
                <a:lnTo>
                  <a:pt x="2524" y="383"/>
                </a:lnTo>
                <a:lnTo>
                  <a:pt x="2525" y="385"/>
                </a:lnTo>
                <a:lnTo>
                  <a:pt x="2527" y="388"/>
                </a:lnTo>
                <a:lnTo>
                  <a:pt x="2527" y="391"/>
                </a:lnTo>
                <a:lnTo>
                  <a:pt x="2527" y="394"/>
                </a:lnTo>
                <a:lnTo>
                  <a:pt x="2526" y="398"/>
                </a:lnTo>
                <a:lnTo>
                  <a:pt x="2525" y="402"/>
                </a:lnTo>
                <a:lnTo>
                  <a:pt x="2522" y="404"/>
                </a:lnTo>
                <a:lnTo>
                  <a:pt x="2519" y="407"/>
                </a:lnTo>
                <a:lnTo>
                  <a:pt x="2517" y="408"/>
                </a:lnTo>
                <a:lnTo>
                  <a:pt x="2515" y="408"/>
                </a:lnTo>
                <a:lnTo>
                  <a:pt x="2512" y="409"/>
                </a:lnTo>
                <a:lnTo>
                  <a:pt x="2510" y="409"/>
                </a:lnTo>
                <a:lnTo>
                  <a:pt x="2507" y="408"/>
                </a:lnTo>
                <a:lnTo>
                  <a:pt x="2504" y="407"/>
                </a:lnTo>
                <a:lnTo>
                  <a:pt x="2501" y="405"/>
                </a:lnTo>
                <a:lnTo>
                  <a:pt x="2499" y="403"/>
                </a:lnTo>
                <a:lnTo>
                  <a:pt x="2497" y="400"/>
                </a:lnTo>
                <a:lnTo>
                  <a:pt x="2496" y="398"/>
                </a:lnTo>
                <a:lnTo>
                  <a:pt x="2496" y="394"/>
                </a:lnTo>
                <a:lnTo>
                  <a:pt x="2496" y="391"/>
                </a:lnTo>
                <a:lnTo>
                  <a:pt x="2497" y="387"/>
                </a:lnTo>
                <a:lnTo>
                  <a:pt x="2498" y="384"/>
                </a:lnTo>
                <a:lnTo>
                  <a:pt x="2501" y="381"/>
                </a:lnTo>
                <a:lnTo>
                  <a:pt x="2504" y="379"/>
                </a:lnTo>
                <a:close/>
                <a:moveTo>
                  <a:pt x="1715" y="812"/>
                </a:moveTo>
                <a:lnTo>
                  <a:pt x="1718" y="811"/>
                </a:lnTo>
                <a:lnTo>
                  <a:pt x="1720" y="810"/>
                </a:lnTo>
                <a:lnTo>
                  <a:pt x="1723" y="810"/>
                </a:lnTo>
                <a:lnTo>
                  <a:pt x="1725" y="810"/>
                </a:lnTo>
                <a:lnTo>
                  <a:pt x="1728" y="810"/>
                </a:lnTo>
                <a:lnTo>
                  <a:pt x="1731" y="812"/>
                </a:lnTo>
                <a:lnTo>
                  <a:pt x="1734" y="813"/>
                </a:lnTo>
                <a:lnTo>
                  <a:pt x="1736" y="816"/>
                </a:lnTo>
                <a:lnTo>
                  <a:pt x="1737" y="818"/>
                </a:lnTo>
                <a:lnTo>
                  <a:pt x="1739" y="821"/>
                </a:lnTo>
                <a:lnTo>
                  <a:pt x="1739" y="824"/>
                </a:lnTo>
                <a:lnTo>
                  <a:pt x="1739" y="827"/>
                </a:lnTo>
                <a:lnTo>
                  <a:pt x="1738" y="831"/>
                </a:lnTo>
                <a:lnTo>
                  <a:pt x="1737" y="834"/>
                </a:lnTo>
                <a:lnTo>
                  <a:pt x="1734" y="837"/>
                </a:lnTo>
                <a:lnTo>
                  <a:pt x="1731" y="839"/>
                </a:lnTo>
                <a:lnTo>
                  <a:pt x="1729" y="840"/>
                </a:lnTo>
                <a:lnTo>
                  <a:pt x="1727" y="841"/>
                </a:lnTo>
                <a:lnTo>
                  <a:pt x="1724" y="841"/>
                </a:lnTo>
                <a:lnTo>
                  <a:pt x="1721" y="841"/>
                </a:lnTo>
                <a:lnTo>
                  <a:pt x="1718" y="840"/>
                </a:lnTo>
                <a:lnTo>
                  <a:pt x="1716" y="839"/>
                </a:lnTo>
                <a:lnTo>
                  <a:pt x="1713" y="837"/>
                </a:lnTo>
                <a:lnTo>
                  <a:pt x="1711" y="835"/>
                </a:lnTo>
                <a:lnTo>
                  <a:pt x="1709" y="833"/>
                </a:lnTo>
                <a:lnTo>
                  <a:pt x="1708" y="830"/>
                </a:lnTo>
                <a:lnTo>
                  <a:pt x="1708" y="827"/>
                </a:lnTo>
                <a:lnTo>
                  <a:pt x="1708" y="823"/>
                </a:lnTo>
                <a:lnTo>
                  <a:pt x="1709" y="820"/>
                </a:lnTo>
                <a:lnTo>
                  <a:pt x="1710" y="817"/>
                </a:lnTo>
                <a:lnTo>
                  <a:pt x="1713" y="814"/>
                </a:lnTo>
                <a:lnTo>
                  <a:pt x="1715" y="812"/>
                </a:lnTo>
                <a:close/>
                <a:moveTo>
                  <a:pt x="2359" y="373"/>
                </a:moveTo>
                <a:lnTo>
                  <a:pt x="2361" y="372"/>
                </a:lnTo>
                <a:lnTo>
                  <a:pt x="2362" y="372"/>
                </a:lnTo>
                <a:lnTo>
                  <a:pt x="2366" y="371"/>
                </a:lnTo>
                <a:lnTo>
                  <a:pt x="2370" y="371"/>
                </a:lnTo>
                <a:lnTo>
                  <a:pt x="2373" y="372"/>
                </a:lnTo>
                <a:lnTo>
                  <a:pt x="2375" y="374"/>
                </a:lnTo>
                <a:lnTo>
                  <a:pt x="2378" y="375"/>
                </a:lnTo>
                <a:lnTo>
                  <a:pt x="2380" y="378"/>
                </a:lnTo>
                <a:lnTo>
                  <a:pt x="2381" y="380"/>
                </a:lnTo>
                <a:lnTo>
                  <a:pt x="2382" y="383"/>
                </a:lnTo>
                <a:lnTo>
                  <a:pt x="2383" y="387"/>
                </a:lnTo>
                <a:lnTo>
                  <a:pt x="2382" y="391"/>
                </a:lnTo>
                <a:lnTo>
                  <a:pt x="2381" y="393"/>
                </a:lnTo>
                <a:lnTo>
                  <a:pt x="2381" y="395"/>
                </a:lnTo>
                <a:lnTo>
                  <a:pt x="2378" y="398"/>
                </a:lnTo>
                <a:lnTo>
                  <a:pt x="2375" y="401"/>
                </a:lnTo>
                <a:lnTo>
                  <a:pt x="2373" y="402"/>
                </a:lnTo>
                <a:lnTo>
                  <a:pt x="2371" y="402"/>
                </a:lnTo>
                <a:lnTo>
                  <a:pt x="2367" y="403"/>
                </a:lnTo>
                <a:lnTo>
                  <a:pt x="2364" y="403"/>
                </a:lnTo>
                <a:lnTo>
                  <a:pt x="2361" y="402"/>
                </a:lnTo>
                <a:lnTo>
                  <a:pt x="2358" y="400"/>
                </a:lnTo>
                <a:lnTo>
                  <a:pt x="2356" y="398"/>
                </a:lnTo>
                <a:lnTo>
                  <a:pt x="2354" y="396"/>
                </a:lnTo>
                <a:lnTo>
                  <a:pt x="2352" y="393"/>
                </a:lnTo>
                <a:lnTo>
                  <a:pt x="2351" y="390"/>
                </a:lnTo>
                <a:lnTo>
                  <a:pt x="2351" y="387"/>
                </a:lnTo>
                <a:lnTo>
                  <a:pt x="2351" y="383"/>
                </a:lnTo>
                <a:lnTo>
                  <a:pt x="2352" y="381"/>
                </a:lnTo>
                <a:lnTo>
                  <a:pt x="2353" y="379"/>
                </a:lnTo>
                <a:lnTo>
                  <a:pt x="2356" y="376"/>
                </a:lnTo>
                <a:lnTo>
                  <a:pt x="2359" y="373"/>
                </a:lnTo>
                <a:close/>
                <a:moveTo>
                  <a:pt x="1747" y="672"/>
                </a:moveTo>
                <a:lnTo>
                  <a:pt x="1750" y="670"/>
                </a:lnTo>
                <a:lnTo>
                  <a:pt x="1754" y="670"/>
                </a:lnTo>
                <a:lnTo>
                  <a:pt x="1757" y="670"/>
                </a:lnTo>
                <a:lnTo>
                  <a:pt x="1761" y="671"/>
                </a:lnTo>
                <a:lnTo>
                  <a:pt x="1764" y="672"/>
                </a:lnTo>
                <a:lnTo>
                  <a:pt x="1766" y="674"/>
                </a:lnTo>
                <a:lnTo>
                  <a:pt x="1768" y="676"/>
                </a:lnTo>
                <a:lnTo>
                  <a:pt x="1769" y="679"/>
                </a:lnTo>
                <a:lnTo>
                  <a:pt x="1770" y="682"/>
                </a:lnTo>
                <a:lnTo>
                  <a:pt x="1771" y="685"/>
                </a:lnTo>
                <a:lnTo>
                  <a:pt x="1771" y="688"/>
                </a:lnTo>
                <a:lnTo>
                  <a:pt x="1770" y="691"/>
                </a:lnTo>
                <a:lnTo>
                  <a:pt x="1767" y="696"/>
                </a:lnTo>
                <a:lnTo>
                  <a:pt x="1765" y="698"/>
                </a:lnTo>
                <a:lnTo>
                  <a:pt x="1763" y="699"/>
                </a:lnTo>
                <a:lnTo>
                  <a:pt x="1760" y="701"/>
                </a:lnTo>
                <a:lnTo>
                  <a:pt x="1756" y="701"/>
                </a:lnTo>
                <a:lnTo>
                  <a:pt x="1753" y="701"/>
                </a:lnTo>
                <a:lnTo>
                  <a:pt x="1749" y="700"/>
                </a:lnTo>
                <a:lnTo>
                  <a:pt x="1746" y="699"/>
                </a:lnTo>
                <a:lnTo>
                  <a:pt x="1744" y="697"/>
                </a:lnTo>
                <a:lnTo>
                  <a:pt x="1742" y="695"/>
                </a:lnTo>
                <a:lnTo>
                  <a:pt x="1741" y="692"/>
                </a:lnTo>
                <a:lnTo>
                  <a:pt x="1740" y="689"/>
                </a:lnTo>
                <a:lnTo>
                  <a:pt x="1739" y="686"/>
                </a:lnTo>
                <a:lnTo>
                  <a:pt x="1739" y="683"/>
                </a:lnTo>
                <a:lnTo>
                  <a:pt x="1740" y="680"/>
                </a:lnTo>
                <a:lnTo>
                  <a:pt x="1743" y="675"/>
                </a:lnTo>
                <a:lnTo>
                  <a:pt x="1745" y="673"/>
                </a:lnTo>
                <a:lnTo>
                  <a:pt x="1747" y="672"/>
                </a:lnTo>
                <a:close/>
                <a:moveTo>
                  <a:pt x="2216" y="386"/>
                </a:moveTo>
                <a:lnTo>
                  <a:pt x="2218" y="385"/>
                </a:lnTo>
                <a:lnTo>
                  <a:pt x="2221" y="384"/>
                </a:lnTo>
                <a:lnTo>
                  <a:pt x="2224" y="384"/>
                </a:lnTo>
                <a:lnTo>
                  <a:pt x="2227" y="384"/>
                </a:lnTo>
                <a:lnTo>
                  <a:pt x="2230" y="385"/>
                </a:lnTo>
                <a:lnTo>
                  <a:pt x="2233" y="387"/>
                </a:lnTo>
                <a:lnTo>
                  <a:pt x="2235" y="389"/>
                </a:lnTo>
                <a:lnTo>
                  <a:pt x="2237" y="391"/>
                </a:lnTo>
                <a:lnTo>
                  <a:pt x="2238" y="394"/>
                </a:lnTo>
                <a:lnTo>
                  <a:pt x="2239" y="397"/>
                </a:lnTo>
                <a:lnTo>
                  <a:pt x="2239" y="402"/>
                </a:lnTo>
                <a:lnTo>
                  <a:pt x="2238" y="406"/>
                </a:lnTo>
                <a:lnTo>
                  <a:pt x="2237" y="408"/>
                </a:lnTo>
                <a:lnTo>
                  <a:pt x="2235" y="410"/>
                </a:lnTo>
                <a:lnTo>
                  <a:pt x="2233" y="412"/>
                </a:lnTo>
                <a:lnTo>
                  <a:pt x="2232" y="413"/>
                </a:lnTo>
                <a:lnTo>
                  <a:pt x="2229" y="414"/>
                </a:lnTo>
                <a:lnTo>
                  <a:pt x="2226" y="415"/>
                </a:lnTo>
                <a:lnTo>
                  <a:pt x="2223" y="415"/>
                </a:lnTo>
                <a:lnTo>
                  <a:pt x="2220" y="415"/>
                </a:lnTo>
                <a:lnTo>
                  <a:pt x="2217" y="414"/>
                </a:lnTo>
                <a:lnTo>
                  <a:pt x="2214" y="412"/>
                </a:lnTo>
                <a:lnTo>
                  <a:pt x="2212" y="410"/>
                </a:lnTo>
                <a:lnTo>
                  <a:pt x="2210" y="408"/>
                </a:lnTo>
                <a:lnTo>
                  <a:pt x="2209" y="405"/>
                </a:lnTo>
                <a:lnTo>
                  <a:pt x="2208" y="402"/>
                </a:lnTo>
                <a:lnTo>
                  <a:pt x="2208" y="397"/>
                </a:lnTo>
                <a:lnTo>
                  <a:pt x="2209" y="393"/>
                </a:lnTo>
                <a:lnTo>
                  <a:pt x="2211" y="391"/>
                </a:lnTo>
                <a:lnTo>
                  <a:pt x="2212" y="389"/>
                </a:lnTo>
                <a:lnTo>
                  <a:pt x="2214" y="387"/>
                </a:lnTo>
                <a:lnTo>
                  <a:pt x="2216" y="386"/>
                </a:lnTo>
                <a:close/>
                <a:moveTo>
                  <a:pt x="2076" y="418"/>
                </a:moveTo>
                <a:lnTo>
                  <a:pt x="2079" y="417"/>
                </a:lnTo>
                <a:lnTo>
                  <a:pt x="2082" y="416"/>
                </a:lnTo>
                <a:lnTo>
                  <a:pt x="2085" y="416"/>
                </a:lnTo>
                <a:lnTo>
                  <a:pt x="2088" y="417"/>
                </a:lnTo>
                <a:lnTo>
                  <a:pt x="2091" y="418"/>
                </a:lnTo>
                <a:lnTo>
                  <a:pt x="2094" y="420"/>
                </a:lnTo>
                <a:lnTo>
                  <a:pt x="2096" y="422"/>
                </a:lnTo>
                <a:lnTo>
                  <a:pt x="2098" y="424"/>
                </a:lnTo>
                <a:lnTo>
                  <a:pt x="2099" y="427"/>
                </a:lnTo>
                <a:lnTo>
                  <a:pt x="2100" y="433"/>
                </a:lnTo>
                <a:lnTo>
                  <a:pt x="2099" y="435"/>
                </a:lnTo>
                <a:lnTo>
                  <a:pt x="2098" y="438"/>
                </a:lnTo>
                <a:lnTo>
                  <a:pt x="2097" y="440"/>
                </a:lnTo>
                <a:lnTo>
                  <a:pt x="2096" y="442"/>
                </a:lnTo>
                <a:lnTo>
                  <a:pt x="2092" y="446"/>
                </a:lnTo>
                <a:lnTo>
                  <a:pt x="2088" y="447"/>
                </a:lnTo>
                <a:lnTo>
                  <a:pt x="2085" y="448"/>
                </a:lnTo>
                <a:lnTo>
                  <a:pt x="2082" y="448"/>
                </a:lnTo>
                <a:lnTo>
                  <a:pt x="2079" y="447"/>
                </a:lnTo>
                <a:lnTo>
                  <a:pt x="2076" y="446"/>
                </a:lnTo>
                <a:lnTo>
                  <a:pt x="2074" y="444"/>
                </a:lnTo>
                <a:lnTo>
                  <a:pt x="2072" y="442"/>
                </a:lnTo>
                <a:lnTo>
                  <a:pt x="2070" y="440"/>
                </a:lnTo>
                <a:lnTo>
                  <a:pt x="2069" y="437"/>
                </a:lnTo>
                <a:lnTo>
                  <a:pt x="2068" y="431"/>
                </a:lnTo>
                <a:lnTo>
                  <a:pt x="2068" y="429"/>
                </a:lnTo>
                <a:lnTo>
                  <a:pt x="2069" y="426"/>
                </a:lnTo>
                <a:lnTo>
                  <a:pt x="2070" y="424"/>
                </a:lnTo>
                <a:lnTo>
                  <a:pt x="2072" y="422"/>
                </a:lnTo>
                <a:lnTo>
                  <a:pt x="2076" y="418"/>
                </a:lnTo>
                <a:close/>
                <a:moveTo>
                  <a:pt x="1824" y="551"/>
                </a:moveTo>
                <a:lnTo>
                  <a:pt x="1827" y="550"/>
                </a:lnTo>
                <a:lnTo>
                  <a:pt x="1829" y="550"/>
                </a:lnTo>
                <a:lnTo>
                  <a:pt x="1832" y="549"/>
                </a:lnTo>
                <a:lnTo>
                  <a:pt x="1834" y="549"/>
                </a:lnTo>
                <a:lnTo>
                  <a:pt x="1839" y="551"/>
                </a:lnTo>
                <a:lnTo>
                  <a:pt x="1841" y="552"/>
                </a:lnTo>
                <a:lnTo>
                  <a:pt x="1843" y="554"/>
                </a:lnTo>
                <a:lnTo>
                  <a:pt x="1845" y="557"/>
                </a:lnTo>
                <a:lnTo>
                  <a:pt x="1847" y="559"/>
                </a:lnTo>
                <a:lnTo>
                  <a:pt x="1848" y="562"/>
                </a:lnTo>
                <a:lnTo>
                  <a:pt x="1848" y="565"/>
                </a:lnTo>
                <a:lnTo>
                  <a:pt x="1848" y="568"/>
                </a:lnTo>
                <a:lnTo>
                  <a:pt x="1847" y="571"/>
                </a:lnTo>
                <a:lnTo>
                  <a:pt x="1845" y="574"/>
                </a:lnTo>
                <a:lnTo>
                  <a:pt x="1843" y="576"/>
                </a:lnTo>
                <a:lnTo>
                  <a:pt x="1840" y="579"/>
                </a:lnTo>
                <a:lnTo>
                  <a:pt x="1838" y="580"/>
                </a:lnTo>
                <a:lnTo>
                  <a:pt x="1835" y="581"/>
                </a:lnTo>
                <a:lnTo>
                  <a:pt x="1833" y="581"/>
                </a:lnTo>
                <a:lnTo>
                  <a:pt x="1830" y="581"/>
                </a:lnTo>
                <a:lnTo>
                  <a:pt x="1825" y="579"/>
                </a:lnTo>
                <a:lnTo>
                  <a:pt x="1823" y="578"/>
                </a:lnTo>
                <a:lnTo>
                  <a:pt x="1821" y="576"/>
                </a:lnTo>
                <a:lnTo>
                  <a:pt x="1819" y="574"/>
                </a:lnTo>
                <a:lnTo>
                  <a:pt x="1817" y="571"/>
                </a:lnTo>
                <a:lnTo>
                  <a:pt x="1817" y="568"/>
                </a:lnTo>
                <a:lnTo>
                  <a:pt x="1816" y="565"/>
                </a:lnTo>
                <a:lnTo>
                  <a:pt x="1817" y="562"/>
                </a:lnTo>
                <a:lnTo>
                  <a:pt x="1817" y="559"/>
                </a:lnTo>
                <a:lnTo>
                  <a:pt x="1819" y="556"/>
                </a:lnTo>
                <a:lnTo>
                  <a:pt x="1821" y="554"/>
                </a:lnTo>
                <a:lnTo>
                  <a:pt x="1824" y="551"/>
                </a:lnTo>
                <a:close/>
                <a:moveTo>
                  <a:pt x="1942" y="471"/>
                </a:moveTo>
                <a:lnTo>
                  <a:pt x="1945" y="469"/>
                </a:lnTo>
                <a:lnTo>
                  <a:pt x="1949" y="469"/>
                </a:lnTo>
                <a:lnTo>
                  <a:pt x="1952" y="469"/>
                </a:lnTo>
                <a:lnTo>
                  <a:pt x="1955" y="469"/>
                </a:lnTo>
                <a:lnTo>
                  <a:pt x="1958" y="471"/>
                </a:lnTo>
                <a:lnTo>
                  <a:pt x="1960" y="472"/>
                </a:lnTo>
                <a:lnTo>
                  <a:pt x="1962" y="475"/>
                </a:lnTo>
                <a:lnTo>
                  <a:pt x="1964" y="477"/>
                </a:lnTo>
                <a:lnTo>
                  <a:pt x="1965" y="480"/>
                </a:lnTo>
                <a:lnTo>
                  <a:pt x="1966" y="483"/>
                </a:lnTo>
                <a:lnTo>
                  <a:pt x="1966" y="486"/>
                </a:lnTo>
                <a:lnTo>
                  <a:pt x="1965" y="489"/>
                </a:lnTo>
                <a:lnTo>
                  <a:pt x="1964" y="492"/>
                </a:lnTo>
                <a:lnTo>
                  <a:pt x="1962" y="494"/>
                </a:lnTo>
                <a:lnTo>
                  <a:pt x="1960" y="496"/>
                </a:lnTo>
                <a:lnTo>
                  <a:pt x="1958" y="498"/>
                </a:lnTo>
                <a:lnTo>
                  <a:pt x="1954" y="499"/>
                </a:lnTo>
                <a:lnTo>
                  <a:pt x="1951" y="500"/>
                </a:lnTo>
                <a:lnTo>
                  <a:pt x="1948" y="500"/>
                </a:lnTo>
                <a:lnTo>
                  <a:pt x="1945" y="499"/>
                </a:lnTo>
                <a:lnTo>
                  <a:pt x="1942" y="498"/>
                </a:lnTo>
                <a:lnTo>
                  <a:pt x="1939" y="496"/>
                </a:lnTo>
                <a:lnTo>
                  <a:pt x="1937" y="494"/>
                </a:lnTo>
                <a:lnTo>
                  <a:pt x="1936" y="491"/>
                </a:lnTo>
                <a:lnTo>
                  <a:pt x="1934" y="488"/>
                </a:lnTo>
                <a:lnTo>
                  <a:pt x="1934" y="485"/>
                </a:lnTo>
                <a:lnTo>
                  <a:pt x="1934" y="483"/>
                </a:lnTo>
                <a:lnTo>
                  <a:pt x="1935" y="480"/>
                </a:lnTo>
                <a:lnTo>
                  <a:pt x="1936" y="477"/>
                </a:lnTo>
                <a:lnTo>
                  <a:pt x="1937" y="475"/>
                </a:lnTo>
                <a:lnTo>
                  <a:pt x="1939" y="472"/>
                </a:lnTo>
                <a:lnTo>
                  <a:pt x="1942" y="471"/>
                </a:lnTo>
                <a:close/>
                <a:moveTo>
                  <a:pt x="4755" y="1575"/>
                </a:moveTo>
                <a:lnTo>
                  <a:pt x="4758" y="1574"/>
                </a:lnTo>
                <a:lnTo>
                  <a:pt x="4761" y="1573"/>
                </a:lnTo>
                <a:lnTo>
                  <a:pt x="4764" y="1573"/>
                </a:lnTo>
                <a:lnTo>
                  <a:pt x="4767" y="1574"/>
                </a:lnTo>
                <a:lnTo>
                  <a:pt x="4770" y="1575"/>
                </a:lnTo>
                <a:lnTo>
                  <a:pt x="4773" y="1576"/>
                </a:lnTo>
                <a:lnTo>
                  <a:pt x="4775" y="1579"/>
                </a:lnTo>
                <a:lnTo>
                  <a:pt x="4777" y="1581"/>
                </a:lnTo>
                <a:lnTo>
                  <a:pt x="4778" y="1584"/>
                </a:lnTo>
                <a:lnTo>
                  <a:pt x="4779" y="1587"/>
                </a:lnTo>
                <a:lnTo>
                  <a:pt x="4779" y="1590"/>
                </a:lnTo>
                <a:lnTo>
                  <a:pt x="4778" y="1593"/>
                </a:lnTo>
                <a:lnTo>
                  <a:pt x="4777" y="1596"/>
                </a:lnTo>
                <a:lnTo>
                  <a:pt x="4775" y="1598"/>
                </a:lnTo>
                <a:lnTo>
                  <a:pt x="4773" y="1601"/>
                </a:lnTo>
                <a:lnTo>
                  <a:pt x="4771" y="1602"/>
                </a:lnTo>
                <a:lnTo>
                  <a:pt x="4768" y="1604"/>
                </a:lnTo>
                <a:lnTo>
                  <a:pt x="4765" y="1604"/>
                </a:lnTo>
                <a:lnTo>
                  <a:pt x="4762" y="1604"/>
                </a:lnTo>
                <a:lnTo>
                  <a:pt x="4759" y="1604"/>
                </a:lnTo>
                <a:lnTo>
                  <a:pt x="4756" y="1603"/>
                </a:lnTo>
                <a:lnTo>
                  <a:pt x="4753" y="1601"/>
                </a:lnTo>
                <a:lnTo>
                  <a:pt x="4751" y="1599"/>
                </a:lnTo>
                <a:lnTo>
                  <a:pt x="4749" y="1596"/>
                </a:lnTo>
                <a:lnTo>
                  <a:pt x="4748" y="1594"/>
                </a:lnTo>
                <a:lnTo>
                  <a:pt x="4747" y="1591"/>
                </a:lnTo>
                <a:lnTo>
                  <a:pt x="4747" y="1588"/>
                </a:lnTo>
                <a:lnTo>
                  <a:pt x="4748" y="1584"/>
                </a:lnTo>
                <a:lnTo>
                  <a:pt x="4749" y="1581"/>
                </a:lnTo>
                <a:lnTo>
                  <a:pt x="4751" y="1579"/>
                </a:lnTo>
                <a:lnTo>
                  <a:pt x="4753" y="1577"/>
                </a:lnTo>
                <a:lnTo>
                  <a:pt x="4755" y="1575"/>
                </a:lnTo>
                <a:close/>
                <a:moveTo>
                  <a:pt x="4617" y="1533"/>
                </a:moveTo>
                <a:lnTo>
                  <a:pt x="4620" y="1531"/>
                </a:lnTo>
                <a:lnTo>
                  <a:pt x="4624" y="1531"/>
                </a:lnTo>
                <a:lnTo>
                  <a:pt x="4627" y="1531"/>
                </a:lnTo>
                <a:lnTo>
                  <a:pt x="4630" y="1531"/>
                </a:lnTo>
                <a:lnTo>
                  <a:pt x="4633" y="1533"/>
                </a:lnTo>
                <a:lnTo>
                  <a:pt x="4636" y="1535"/>
                </a:lnTo>
                <a:lnTo>
                  <a:pt x="4638" y="1537"/>
                </a:lnTo>
                <a:lnTo>
                  <a:pt x="4639" y="1539"/>
                </a:lnTo>
                <a:lnTo>
                  <a:pt x="4640" y="1542"/>
                </a:lnTo>
                <a:lnTo>
                  <a:pt x="4641" y="1545"/>
                </a:lnTo>
                <a:lnTo>
                  <a:pt x="4641" y="1548"/>
                </a:lnTo>
                <a:lnTo>
                  <a:pt x="4640" y="1551"/>
                </a:lnTo>
                <a:lnTo>
                  <a:pt x="4639" y="1554"/>
                </a:lnTo>
                <a:lnTo>
                  <a:pt x="4637" y="1556"/>
                </a:lnTo>
                <a:lnTo>
                  <a:pt x="4635" y="1558"/>
                </a:lnTo>
                <a:lnTo>
                  <a:pt x="4633" y="1560"/>
                </a:lnTo>
                <a:lnTo>
                  <a:pt x="4630" y="1561"/>
                </a:lnTo>
                <a:lnTo>
                  <a:pt x="4627" y="1562"/>
                </a:lnTo>
                <a:lnTo>
                  <a:pt x="4624" y="1562"/>
                </a:lnTo>
                <a:lnTo>
                  <a:pt x="4620" y="1561"/>
                </a:lnTo>
                <a:lnTo>
                  <a:pt x="4617" y="1560"/>
                </a:lnTo>
                <a:lnTo>
                  <a:pt x="4615" y="1558"/>
                </a:lnTo>
                <a:lnTo>
                  <a:pt x="4613" y="1556"/>
                </a:lnTo>
                <a:lnTo>
                  <a:pt x="4611" y="1553"/>
                </a:lnTo>
                <a:lnTo>
                  <a:pt x="4610" y="1551"/>
                </a:lnTo>
                <a:lnTo>
                  <a:pt x="4610" y="1548"/>
                </a:lnTo>
                <a:lnTo>
                  <a:pt x="4610" y="1545"/>
                </a:lnTo>
                <a:lnTo>
                  <a:pt x="4610" y="1541"/>
                </a:lnTo>
                <a:lnTo>
                  <a:pt x="4612" y="1539"/>
                </a:lnTo>
                <a:lnTo>
                  <a:pt x="4613" y="1536"/>
                </a:lnTo>
                <a:lnTo>
                  <a:pt x="4615" y="1534"/>
                </a:lnTo>
                <a:lnTo>
                  <a:pt x="4617" y="1533"/>
                </a:lnTo>
                <a:close/>
                <a:moveTo>
                  <a:pt x="4482" y="1484"/>
                </a:moveTo>
                <a:lnTo>
                  <a:pt x="4485" y="1483"/>
                </a:lnTo>
                <a:lnTo>
                  <a:pt x="4488" y="1482"/>
                </a:lnTo>
                <a:lnTo>
                  <a:pt x="4492" y="1482"/>
                </a:lnTo>
                <a:lnTo>
                  <a:pt x="4495" y="1483"/>
                </a:lnTo>
                <a:lnTo>
                  <a:pt x="4498" y="1485"/>
                </a:lnTo>
                <a:lnTo>
                  <a:pt x="4500" y="1486"/>
                </a:lnTo>
                <a:lnTo>
                  <a:pt x="4502" y="1489"/>
                </a:lnTo>
                <a:lnTo>
                  <a:pt x="4504" y="1491"/>
                </a:lnTo>
                <a:lnTo>
                  <a:pt x="4505" y="1494"/>
                </a:lnTo>
                <a:lnTo>
                  <a:pt x="4505" y="1497"/>
                </a:lnTo>
                <a:lnTo>
                  <a:pt x="4505" y="1500"/>
                </a:lnTo>
                <a:lnTo>
                  <a:pt x="4504" y="1503"/>
                </a:lnTo>
                <a:lnTo>
                  <a:pt x="4503" y="1506"/>
                </a:lnTo>
                <a:lnTo>
                  <a:pt x="4501" y="1508"/>
                </a:lnTo>
                <a:lnTo>
                  <a:pt x="4500" y="1510"/>
                </a:lnTo>
                <a:lnTo>
                  <a:pt x="4497" y="1511"/>
                </a:lnTo>
                <a:lnTo>
                  <a:pt x="4494" y="1513"/>
                </a:lnTo>
                <a:lnTo>
                  <a:pt x="4491" y="1513"/>
                </a:lnTo>
                <a:lnTo>
                  <a:pt x="4487" y="1513"/>
                </a:lnTo>
                <a:lnTo>
                  <a:pt x="4484" y="1512"/>
                </a:lnTo>
                <a:lnTo>
                  <a:pt x="4481" y="1511"/>
                </a:lnTo>
                <a:lnTo>
                  <a:pt x="4479" y="1509"/>
                </a:lnTo>
                <a:lnTo>
                  <a:pt x="4477" y="1507"/>
                </a:lnTo>
                <a:lnTo>
                  <a:pt x="4475" y="1504"/>
                </a:lnTo>
                <a:lnTo>
                  <a:pt x="4474" y="1501"/>
                </a:lnTo>
                <a:lnTo>
                  <a:pt x="4474" y="1498"/>
                </a:lnTo>
                <a:lnTo>
                  <a:pt x="4474" y="1495"/>
                </a:lnTo>
                <a:lnTo>
                  <a:pt x="4475" y="1492"/>
                </a:lnTo>
                <a:lnTo>
                  <a:pt x="4476" y="1490"/>
                </a:lnTo>
                <a:lnTo>
                  <a:pt x="4478" y="1487"/>
                </a:lnTo>
                <a:lnTo>
                  <a:pt x="4480" y="1486"/>
                </a:lnTo>
                <a:lnTo>
                  <a:pt x="4482" y="1484"/>
                </a:lnTo>
                <a:close/>
                <a:moveTo>
                  <a:pt x="4349" y="1428"/>
                </a:moveTo>
                <a:lnTo>
                  <a:pt x="4352" y="1426"/>
                </a:lnTo>
                <a:lnTo>
                  <a:pt x="4356" y="1426"/>
                </a:lnTo>
                <a:lnTo>
                  <a:pt x="4360" y="1426"/>
                </a:lnTo>
                <a:lnTo>
                  <a:pt x="4364" y="1427"/>
                </a:lnTo>
                <a:lnTo>
                  <a:pt x="4366" y="1429"/>
                </a:lnTo>
                <a:lnTo>
                  <a:pt x="4369" y="1431"/>
                </a:lnTo>
                <a:lnTo>
                  <a:pt x="4370" y="1433"/>
                </a:lnTo>
                <a:lnTo>
                  <a:pt x="4372" y="1436"/>
                </a:lnTo>
                <a:lnTo>
                  <a:pt x="4372" y="1439"/>
                </a:lnTo>
                <a:lnTo>
                  <a:pt x="4373" y="1442"/>
                </a:lnTo>
                <a:lnTo>
                  <a:pt x="4372" y="1445"/>
                </a:lnTo>
                <a:lnTo>
                  <a:pt x="4371" y="1448"/>
                </a:lnTo>
                <a:lnTo>
                  <a:pt x="4370" y="1450"/>
                </a:lnTo>
                <a:lnTo>
                  <a:pt x="4368" y="1452"/>
                </a:lnTo>
                <a:lnTo>
                  <a:pt x="4367" y="1454"/>
                </a:lnTo>
                <a:lnTo>
                  <a:pt x="4365" y="1455"/>
                </a:lnTo>
                <a:lnTo>
                  <a:pt x="4361" y="1456"/>
                </a:lnTo>
                <a:lnTo>
                  <a:pt x="4358" y="1457"/>
                </a:lnTo>
                <a:lnTo>
                  <a:pt x="4354" y="1457"/>
                </a:lnTo>
                <a:lnTo>
                  <a:pt x="4350" y="1456"/>
                </a:lnTo>
                <a:lnTo>
                  <a:pt x="4348" y="1454"/>
                </a:lnTo>
                <a:lnTo>
                  <a:pt x="4345" y="1452"/>
                </a:lnTo>
                <a:lnTo>
                  <a:pt x="4343" y="1449"/>
                </a:lnTo>
                <a:lnTo>
                  <a:pt x="4342" y="1447"/>
                </a:lnTo>
                <a:lnTo>
                  <a:pt x="4341" y="1444"/>
                </a:lnTo>
                <a:lnTo>
                  <a:pt x="4341" y="1441"/>
                </a:lnTo>
                <a:lnTo>
                  <a:pt x="4342" y="1438"/>
                </a:lnTo>
                <a:lnTo>
                  <a:pt x="4343" y="1435"/>
                </a:lnTo>
                <a:lnTo>
                  <a:pt x="4344" y="1433"/>
                </a:lnTo>
                <a:lnTo>
                  <a:pt x="4345" y="1431"/>
                </a:lnTo>
                <a:lnTo>
                  <a:pt x="4347" y="1429"/>
                </a:lnTo>
                <a:lnTo>
                  <a:pt x="4349" y="1428"/>
                </a:lnTo>
                <a:close/>
                <a:moveTo>
                  <a:pt x="4221" y="1361"/>
                </a:moveTo>
                <a:lnTo>
                  <a:pt x="4225" y="1359"/>
                </a:lnTo>
                <a:lnTo>
                  <a:pt x="4229" y="1359"/>
                </a:lnTo>
                <a:lnTo>
                  <a:pt x="4233" y="1359"/>
                </a:lnTo>
                <a:lnTo>
                  <a:pt x="4237" y="1361"/>
                </a:lnTo>
                <a:lnTo>
                  <a:pt x="4240" y="1363"/>
                </a:lnTo>
                <a:lnTo>
                  <a:pt x="4242" y="1365"/>
                </a:lnTo>
                <a:lnTo>
                  <a:pt x="4243" y="1368"/>
                </a:lnTo>
                <a:lnTo>
                  <a:pt x="4244" y="1370"/>
                </a:lnTo>
                <a:lnTo>
                  <a:pt x="4245" y="1373"/>
                </a:lnTo>
                <a:lnTo>
                  <a:pt x="4245" y="1376"/>
                </a:lnTo>
                <a:lnTo>
                  <a:pt x="4244" y="1379"/>
                </a:lnTo>
                <a:lnTo>
                  <a:pt x="4243" y="1382"/>
                </a:lnTo>
                <a:lnTo>
                  <a:pt x="4240" y="1386"/>
                </a:lnTo>
                <a:lnTo>
                  <a:pt x="4237" y="1388"/>
                </a:lnTo>
                <a:lnTo>
                  <a:pt x="4233" y="1390"/>
                </a:lnTo>
                <a:lnTo>
                  <a:pt x="4229" y="1390"/>
                </a:lnTo>
                <a:lnTo>
                  <a:pt x="4225" y="1390"/>
                </a:lnTo>
                <a:lnTo>
                  <a:pt x="4221" y="1388"/>
                </a:lnTo>
                <a:lnTo>
                  <a:pt x="4219" y="1386"/>
                </a:lnTo>
                <a:lnTo>
                  <a:pt x="4217" y="1384"/>
                </a:lnTo>
                <a:lnTo>
                  <a:pt x="4215" y="1382"/>
                </a:lnTo>
                <a:lnTo>
                  <a:pt x="4214" y="1379"/>
                </a:lnTo>
                <a:lnTo>
                  <a:pt x="4214" y="1376"/>
                </a:lnTo>
                <a:lnTo>
                  <a:pt x="4214" y="1373"/>
                </a:lnTo>
                <a:lnTo>
                  <a:pt x="4214" y="1370"/>
                </a:lnTo>
                <a:lnTo>
                  <a:pt x="4216" y="1367"/>
                </a:lnTo>
                <a:lnTo>
                  <a:pt x="4218" y="1363"/>
                </a:lnTo>
                <a:lnTo>
                  <a:pt x="4221" y="1361"/>
                </a:lnTo>
                <a:close/>
                <a:moveTo>
                  <a:pt x="4096" y="1290"/>
                </a:moveTo>
                <a:lnTo>
                  <a:pt x="4100" y="1288"/>
                </a:lnTo>
                <a:lnTo>
                  <a:pt x="4104" y="1288"/>
                </a:lnTo>
                <a:lnTo>
                  <a:pt x="4108" y="1288"/>
                </a:lnTo>
                <a:lnTo>
                  <a:pt x="4112" y="1290"/>
                </a:lnTo>
                <a:lnTo>
                  <a:pt x="4114" y="1292"/>
                </a:lnTo>
                <a:lnTo>
                  <a:pt x="4116" y="1294"/>
                </a:lnTo>
                <a:lnTo>
                  <a:pt x="4118" y="1297"/>
                </a:lnTo>
                <a:lnTo>
                  <a:pt x="4119" y="1299"/>
                </a:lnTo>
                <a:lnTo>
                  <a:pt x="4120" y="1302"/>
                </a:lnTo>
                <a:lnTo>
                  <a:pt x="4120" y="1305"/>
                </a:lnTo>
                <a:lnTo>
                  <a:pt x="4119" y="1308"/>
                </a:lnTo>
                <a:lnTo>
                  <a:pt x="4118" y="1311"/>
                </a:lnTo>
                <a:lnTo>
                  <a:pt x="4115" y="1315"/>
                </a:lnTo>
                <a:lnTo>
                  <a:pt x="4112" y="1317"/>
                </a:lnTo>
                <a:lnTo>
                  <a:pt x="4108" y="1319"/>
                </a:lnTo>
                <a:lnTo>
                  <a:pt x="4104" y="1319"/>
                </a:lnTo>
                <a:lnTo>
                  <a:pt x="4100" y="1319"/>
                </a:lnTo>
                <a:lnTo>
                  <a:pt x="4096" y="1317"/>
                </a:lnTo>
                <a:lnTo>
                  <a:pt x="4094" y="1315"/>
                </a:lnTo>
                <a:lnTo>
                  <a:pt x="4092" y="1313"/>
                </a:lnTo>
                <a:lnTo>
                  <a:pt x="4090" y="1311"/>
                </a:lnTo>
                <a:lnTo>
                  <a:pt x="4089" y="1308"/>
                </a:lnTo>
                <a:lnTo>
                  <a:pt x="4088" y="1305"/>
                </a:lnTo>
                <a:lnTo>
                  <a:pt x="4088" y="1302"/>
                </a:lnTo>
                <a:lnTo>
                  <a:pt x="4089" y="1299"/>
                </a:lnTo>
                <a:lnTo>
                  <a:pt x="4090" y="1296"/>
                </a:lnTo>
                <a:lnTo>
                  <a:pt x="4093" y="1293"/>
                </a:lnTo>
                <a:lnTo>
                  <a:pt x="4096" y="1290"/>
                </a:lnTo>
                <a:close/>
                <a:moveTo>
                  <a:pt x="3969" y="1220"/>
                </a:moveTo>
                <a:lnTo>
                  <a:pt x="3973" y="1218"/>
                </a:lnTo>
                <a:lnTo>
                  <a:pt x="3977" y="1218"/>
                </a:lnTo>
                <a:lnTo>
                  <a:pt x="3979" y="1218"/>
                </a:lnTo>
                <a:lnTo>
                  <a:pt x="3981" y="1218"/>
                </a:lnTo>
                <a:lnTo>
                  <a:pt x="3985" y="1220"/>
                </a:lnTo>
                <a:lnTo>
                  <a:pt x="3987" y="1222"/>
                </a:lnTo>
                <a:lnTo>
                  <a:pt x="3989" y="1224"/>
                </a:lnTo>
                <a:lnTo>
                  <a:pt x="3991" y="1226"/>
                </a:lnTo>
                <a:lnTo>
                  <a:pt x="3992" y="1229"/>
                </a:lnTo>
                <a:lnTo>
                  <a:pt x="3993" y="1232"/>
                </a:lnTo>
                <a:lnTo>
                  <a:pt x="3993" y="1235"/>
                </a:lnTo>
                <a:lnTo>
                  <a:pt x="3992" y="1238"/>
                </a:lnTo>
                <a:lnTo>
                  <a:pt x="3991" y="1241"/>
                </a:lnTo>
                <a:lnTo>
                  <a:pt x="3988" y="1245"/>
                </a:lnTo>
                <a:lnTo>
                  <a:pt x="3985" y="1247"/>
                </a:lnTo>
                <a:lnTo>
                  <a:pt x="3981" y="1249"/>
                </a:lnTo>
                <a:lnTo>
                  <a:pt x="3977" y="1249"/>
                </a:lnTo>
                <a:lnTo>
                  <a:pt x="3975" y="1249"/>
                </a:lnTo>
                <a:lnTo>
                  <a:pt x="3973" y="1249"/>
                </a:lnTo>
                <a:lnTo>
                  <a:pt x="3970" y="1247"/>
                </a:lnTo>
                <a:lnTo>
                  <a:pt x="3967" y="1245"/>
                </a:lnTo>
                <a:lnTo>
                  <a:pt x="3965" y="1243"/>
                </a:lnTo>
                <a:lnTo>
                  <a:pt x="3963" y="1241"/>
                </a:lnTo>
                <a:lnTo>
                  <a:pt x="3962" y="1238"/>
                </a:lnTo>
                <a:lnTo>
                  <a:pt x="3962" y="1235"/>
                </a:lnTo>
                <a:lnTo>
                  <a:pt x="3962" y="1232"/>
                </a:lnTo>
                <a:lnTo>
                  <a:pt x="3962" y="1229"/>
                </a:lnTo>
                <a:lnTo>
                  <a:pt x="3963" y="1226"/>
                </a:lnTo>
                <a:lnTo>
                  <a:pt x="3966" y="1223"/>
                </a:lnTo>
                <a:lnTo>
                  <a:pt x="3969" y="1220"/>
                </a:lnTo>
                <a:close/>
                <a:moveTo>
                  <a:pt x="3843" y="1151"/>
                </a:moveTo>
                <a:lnTo>
                  <a:pt x="3846" y="1150"/>
                </a:lnTo>
                <a:lnTo>
                  <a:pt x="3850" y="1149"/>
                </a:lnTo>
                <a:lnTo>
                  <a:pt x="3852" y="1149"/>
                </a:lnTo>
                <a:lnTo>
                  <a:pt x="3854" y="1150"/>
                </a:lnTo>
                <a:lnTo>
                  <a:pt x="3858" y="1151"/>
                </a:lnTo>
                <a:lnTo>
                  <a:pt x="3861" y="1153"/>
                </a:lnTo>
                <a:lnTo>
                  <a:pt x="3863" y="1155"/>
                </a:lnTo>
                <a:lnTo>
                  <a:pt x="3864" y="1157"/>
                </a:lnTo>
                <a:lnTo>
                  <a:pt x="3866" y="1160"/>
                </a:lnTo>
                <a:lnTo>
                  <a:pt x="3866" y="1163"/>
                </a:lnTo>
                <a:lnTo>
                  <a:pt x="3866" y="1166"/>
                </a:lnTo>
                <a:lnTo>
                  <a:pt x="3866" y="1169"/>
                </a:lnTo>
                <a:lnTo>
                  <a:pt x="3864" y="1172"/>
                </a:lnTo>
                <a:lnTo>
                  <a:pt x="3862" y="1176"/>
                </a:lnTo>
                <a:lnTo>
                  <a:pt x="3858" y="1178"/>
                </a:lnTo>
                <a:lnTo>
                  <a:pt x="3855" y="1180"/>
                </a:lnTo>
                <a:lnTo>
                  <a:pt x="3851" y="1180"/>
                </a:lnTo>
                <a:lnTo>
                  <a:pt x="3849" y="1180"/>
                </a:lnTo>
                <a:lnTo>
                  <a:pt x="3847" y="1180"/>
                </a:lnTo>
                <a:lnTo>
                  <a:pt x="3843" y="1179"/>
                </a:lnTo>
                <a:lnTo>
                  <a:pt x="3841" y="1177"/>
                </a:lnTo>
                <a:lnTo>
                  <a:pt x="3838" y="1175"/>
                </a:lnTo>
                <a:lnTo>
                  <a:pt x="3837" y="1172"/>
                </a:lnTo>
                <a:lnTo>
                  <a:pt x="3836" y="1169"/>
                </a:lnTo>
                <a:lnTo>
                  <a:pt x="3835" y="1166"/>
                </a:lnTo>
                <a:lnTo>
                  <a:pt x="3835" y="1163"/>
                </a:lnTo>
                <a:lnTo>
                  <a:pt x="3836" y="1160"/>
                </a:lnTo>
                <a:lnTo>
                  <a:pt x="3837" y="1157"/>
                </a:lnTo>
                <a:lnTo>
                  <a:pt x="3839" y="1154"/>
                </a:lnTo>
                <a:lnTo>
                  <a:pt x="3843" y="1151"/>
                </a:lnTo>
                <a:close/>
                <a:moveTo>
                  <a:pt x="3715" y="1084"/>
                </a:moveTo>
                <a:lnTo>
                  <a:pt x="3717" y="1083"/>
                </a:lnTo>
                <a:lnTo>
                  <a:pt x="3719" y="1083"/>
                </a:lnTo>
                <a:lnTo>
                  <a:pt x="3723" y="1082"/>
                </a:lnTo>
                <a:lnTo>
                  <a:pt x="3726" y="1083"/>
                </a:lnTo>
                <a:lnTo>
                  <a:pt x="3730" y="1084"/>
                </a:lnTo>
                <a:lnTo>
                  <a:pt x="3733" y="1086"/>
                </a:lnTo>
                <a:lnTo>
                  <a:pt x="3735" y="1088"/>
                </a:lnTo>
                <a:lnTo>
                  <a:pt x="3737" y="1090"/>
                </a:lnTo>
                <a:lnTo>
                  <a:pt x="3738" y="1093"/>
                </a:lnTo>
                <a:lnTo>
                  <a:pt x="3739" y="1099"/>
                </a:lnTo>
                <a:lnTo>
                  <a:pt x="3738" y="1102"/>
                </a:lnTo>
                <a:lnTo>
                  <a:pt x="3737" y="1105"/>
                </a:lnTo>
                <a:lnTo>
                  <a:pt x="3736" y="1107"/>
                </a:lnTo>
                <a:lnTo>
                  <a:pt x="3734" y="1109"/>
                </a:lnTo>
                <a:lnTo>
                  <a:pt x="3731" y="1111"/>
                </a:lnTo>
                <a:lnTo>
                  <a:pt x="3729" y="1112"/>
                </a:lnTo>
                <a:lnTo>
                  <a:pt x="3727" y="1113"/>
                </a:lnTo>
                <a:lnTo>
                  <a:pt x="3724" y="1114"/>
                </a:lnTo>
                <a:lnTo>
                  <a:pt x="3720" y="1113"/>
                </a:lnTo>
                <a:lnTo>
                  <a:pt x="3716" y="1112"/>
                </a:lnTo>
                <a:lnTo>
                  <a:pt x="3713" y="1110"/>
                </a:lnTo>
                <a:lnTo>
                  <a:pt x="3711" y="1108"/>
                </a:lnTo>
                <a:lnTo>
                  <a:pt x="3709" y="1105"/>
                </a:lnTo>
                <a:lnTo>
                  <a:pt x="3708" y="1103"/>
                </a:lnTo>
                <a:lnTo>
                  <a:pt x="3707" y="1097"/>
                </a:lnTo>
                <a:lnTo>
                  <a:pt x="3708" y="1094"/>
                </a:lnTo>
                <a:lnTo>
                  <a:pt x="3709" y="1091"/>
                </a:lnTo>
                <a:lnTo>
                  <a:pt x="3710" y="1089"/>
                </a:lnTo>
                <a:lnTo>
                  <a:pt x="3712" y="1087"/>
                </a:lnTo>
                <a:lnTo>
                  <a:pt x="3715" y="1084"/>
                </a:lnTo>
                <a:close/>
                <a:moveTo>
                  <a:pt x="3587" y="1020"/>
                </a:moveTo>
                <a:lnTo>
                  <a:pt x="3588" y="1019"/>
                </a:lnTo>
                <a:lnTo>
                  <a:pt x="3590" y="1018"/>
                </a:lnTo>
                <a:lnTo>
                  <a:pt x="3594" y="1018"/>
                </a:lnTo>
                <a:lnTo>
                  <a:pt x="3597" y="1018"/>
                </a:lnTo>
                <a:lnTo>
                  <a:pt x="3601" y="1019"/>
                </a:lnTo>
                <a:lnTo>
                  <a:pt x="3604" y="1021"/>
                </a:lnTo>
                <a:lnTo>
                  <a:pt x="3606" y="1023"/>
                </a:lnTo>
                <a:lnTo>
                  <a:pt x="3608" y="1026"/>
                </a:lnTo>
                <a:lnTo>
                  <a:pt x="3609" y="1028"/>
                </a:lnTo>
                <a:lnTo>
                  <a:pt x="3610" y="1031"/>
                </a:lnTo>
                <a:lnTo>
                  <a:pt x="3610" y="1034"/>
                </a:lnTo>
                <a:lnTo>
                  <a:pt x="3610" y="1037"/>
                </a:lnTo>
                <a:lnTo>
                  <a:pt x="3608" y="1040"/>
                </a:lnTo>
                <a:lnTo>
                  <a:pt x="3607" y="1042"/>
                </a:lnTo>
                <a:lnTo>
                  <a:pt x="3606" y="1044"/>
                </a:lnTo>
                <a:lnTo>
                  <a:pt x="3604" y="1046"/>
                </a:lnTo>
                <a:lnTo>
                  <a:pt x="3602" y="1047"/>
                </a:lnTo>
                <a:lnTo>
                  <a:pt x="3601" y="1048"/>
                </a:lnTo>
                <a:lnTo>
                  <a:pt x="3599" y="1049"/>
                </a:lnTo>
                <a:lnTo>
                  <a:pt x="3595" y="1049"/>
                </a:lnTo>
                <a:lnTo>
                  <a:pt x="3591" y="1049"/>
                </a:lnTo>
                <a:lnTo>
                  <a:pt x="3588" y="1048"/>
                </a:lnTo>
                <a:lnTo>
                  <a:pt x="3585" y="1046"/>
                </a:lnTo>
                <a:lnTo>
                  <a:pt x="3583" y="1044"/>
                </a:lnTo>
                <a:lnTo>
                  <a:pt x="3581" y="1041"/>
                </a:lnTo>
                <a:lnTo>
                  <a:pt x="3580" y="1039"/>
                </a:lnTo>
                <a:lnTo>
                  <a:pt x="3579" y="1036"/>
                </a:lnTo>
                <a:lnTo>
                  <a:pt x="3579" y="1033"/>
                </a:lnTo>
                <a:lnTo>
                  <a:pt x="3579" y="1030"/>
                </a:lnTo>
                <a:lnTo>
                  <a:pt x="3580" y="1027"/>
                </a:lnTo>
                <a:lnTo>
                  <a:pt x="3581" y="1025"/>
                </a:lnTo>
                <a:lnTo>
                  <a:pt x="3583" y="1023"/>
                </a:lnTo>
                <a:lnTo>
                  <a:pt x="3585" y="1021"/>
                </a:lnTo>
                <a:lnTo>
                  <a:pt x="3587" y="1020"/>
                </a:lnTo>
                <a:close/>
                <a:moveTo>
                  <a:pt x="1349" y="2220"/>
                </a:moveTo>
                <a:lnTo>
                  <a:pt x="1352" y="2219"/>
                </a:lnTo>
                <a:lnTo>
                  <a:pt x="1355" y="2218"/>
                </a:lnTo>
                <a:lnTo>
                  <a:pt x="1359" y="2218"/>
                </a:lnTo>
                <a:lnTo>
                  <a:pt x="1362" y="2219"/>
                </a:lnTo>
                <a:lnTo>
                  <a:pt x="1364" y="2220"/>
                </a:lnTo>
                <a:lnTo>
                  <a:pt x="1367" y="2222"/>
                </a:lnTo>
                <a:lnTo>
                  <a:pt x="1369" y="2224"/>
                </a:lnTo>
                <a:lnTo>
                  <a:pt x="1371" y="2226"/>
                </a:lnTo>
                <a:lnTo>
                  <a:pt x="1372" y="2229"/>
                </a:lnTo>
                <a:lnTo>
                  <a:pt x="1373" y="2232"/>
                </a:lnTo>
                <a:lnTo>
                  <a:pt x="1373" y="2235"/>
                </a:lnTo>
                <a:lnTo>
                  <a:pt x="1372" y="2238"/>
                </a:lnTo>
                <a:lnTo>
                  <a:pt x="1371" y="2241"/>
                </a:lnTo>
                <a:lnTo>
                  <a:pt x="1370" y="2243"/>
                </a:lnTo>
                <a:lnTo>
                  <a:pt x="1367" y="2246"/>
                </a:lnTo>
                <a:lnTo>
                  <a:pt x="1365" y="2247"/>
                </a:lnTo>
                <a:lnTo>
                  <a:pt x="1362" y="2249"/>
                </a:lnTo>
                <a:lnTo>
                  <a:pt x="1359" y="2249"/>
                </a:lnTo>
                <a:lnTo>
                  <a:pt x="1356" y="2249"/>
                </a:lnTo>
                <a:lnTo>
                  <a:pt x="1353" y="2249"/>
                </a:lnTo>
                <a:lnTo>
                  <a:pt x="1350" y="2248"/>
                </a:lnTo>
                <a:lnTo>
                  <a:pt x="1347" y="2246"/>
                </a:lnTo>
                <a:lnTo>
                  <a:pt x="1345" y="2244"/>
                </a:lnTo>
                <a:lnTo>
                  <a:pt x="1343" y="2241"/>
                </a:lnTo>
                <a:lnTo>
                  <a:pt x="1342" y="2238"/>
                </a:lnTo>
                <a:lnTo>
                  <a:pt x="1341" y="2235"/>
                </a:lnTo>
                <a:lnTo>
                  <a:pt x="1341" y="2232"/>
                </a:lnTo>
                <a:lnTo>
                  <a:pt x="1342" y="2230"/>
                </a:lnTo>
                <a:lnTo>
                  <a:pt x="1343" y="2227"/>
                </a:lnTo>
                <a:lnTo>
                  <a:pt x="1345" y="2224"/>
                </a:lnTo>
                <a:lnTo>
                  <a:pt x="1347" y="2222"/>
                </a:lnTo>
                <a:lnTo>
                  <a:pt x="1349" y="2220"/>
                </a:lnTo>
                <a:close/>
                <a:moveTo>
                  <a:pt x="1473" y="2148"/>
                </a:moveTo>
                <a:lnTo>
                  <a:pt x="1476" y="2146"/>
                </a:lnTo>
                <a:lnTo>
                  <a:pt x="1479" y="2146"/>
                </a:lnTo>
                <a:lnTo>
                  <a:pt x="1482" y="2146"/>
                </a:lnTo>
                <a:lnTo>
                  <a:pt x="1485" y="2146"/>
                </a:lnTo>
                <a:lnTo>
                  <a:pt x="1488" y="2147"/>
                </a:lnTo>
                <a:lnTo>
                  <a:pt x="1490" y="2148"/>
                </a:lnTo>
                <a:lnTo>
                  <a:pt x="1493" y="2150"/>
                </a:lnTo>
                <a:lnTo>
                  <a:pt x="1494" y="2153"/>
                </a:lnTo>
                <a:lnTo>
                  <a:pt x="1496" y="2156"/>
                </a:lnTo>
                <a:lnTo>
                  <a:pt x="1497" y="2159"/>
                </a:lnTo>
                <a:lnTo>
                  <a:pt x="1497" y="2162"/>
                </a:lnTo>
                <a:lnTo>
                  <a:pt x="1497" y="2165"/>
                </a:lnTo>
                <a:lnTo>
                  <a:pt x="1496" y="2168"/>
                </a:lnTo>
                <a:lnTo>
                  <a:pt x="1494" y="2170"/>
                </a:lnTo>
                <a:lnTo>
                  <a:pt x="1492" y="2173"/>
                </a:lnTo>
                <a:lnTo>
                  <a:pt x="1490" y="2174"/>
                </a:lnTo>
                <a:lnTo>
                  <a:pt x="1487" y="2176"/>
                </a:lnTo>
                <a:lnTo>
                  <a:pt x="1484" y="2177"/>
                </a:lnTo>
                <a:lnTo>
                  <a:pt x="1481" y="2177"/>
                </a:lnTo>
                <a:lnTo>
                  <a:pt x="1478" y="2176"/>
                </a:lnTo>
                <a:lnTo>
                  <a:pt x="1475" y="2175"/>
                </a:lnTo>
                <a:lnTo>
                  <a:pt x="1472" y="2174"/>
                </a:lnTo>
                <a:lnTo>
                  <a:pt x="1470" y="2172"/>
                </a:lnTo>
                <a:lnTo>
                  <a:pt x="1468" y="2170"/>
                </a:lnTo>
                <a:lnTo>
                  <a:pt x="1467" y="2167"/>
                </a:lnTo>
                <a:lnTo>
                  <a:pt x="1466" y="2164"/>
                </a:lnTo>
                <a:lnTo>
                  <a:pt x="1466" y="2161"/>
                </a:lnTo>
                <a:lnTo>
                  <a:pt x="1466" y="2158"/>
                </a:lnTo>
                <a:lnTo>
                  <a:pt x="1467" y="2155"/>
                </a:lnTo>
                <a:lnTo>
                  <a:pt x="1468" y="2152"/>
                </a:lnTo>
                <a:lnTo>
                  <a:pt x="1470" y="2150"/>
                </a:lnTo>
                <a:lnTo>
                  <a:pt x="1473" y="2148"/>
                </a:lnTo>
                <a:close/>
                <a:moveTo>
                  <a:pt x="1099" y="2362"/>
                </a:moveTo>
                <a:lnTo>
                  <a:pt x="1102" y="2361"/>
                </a:lnTo>
                <a:lnTo>
                  <a:pt x="1105" y="2360"/>
                </a:lnTo>
                <a:lnTo>
                  <a:pt x="1108" y="2360"/>
                </a:lnTo>
                <a:lnTo>
                  <a:pt x="1110" y="2361"/>
                </a:lnTo>
                <a:lnTo>
                  <a:pt x="1113" y="2362"/>
                </a:lnTo>
                <a:lnTo>
                  <a:pt x="1116" y="2363"/>
                </a:lnTo>
                <a:lnTo>
                  <a:pt x="1118" y="2365"/>
                </a:lnTo>
                <a:lnTo>
                  <a:pt x="1120" y="2367"/>
                </a:lnTo>
                <a:lnTo>
                  <a:pt x="1121" y="2369"/>
                </a:lnTo>
                <a:lnTo>
                  <a:pt x="1122" y="2371"/>
                </a:lnTo>
                <a:lnTo>
                  <a:pt x="1123" y="2375"/>
                </a:lnTo>
                <a:lnTo>
                  <a:pt x="1122" y="2379"/>
                </a:lnTo>
                <a:lnTo>
                  <a:pt x="1121" y="2383"/>
                </a:lnTo>
                <a:lnTo>
                  <a:pt x="1093" y="2383"/>
                </a:lnTo>
                <a:lnTo>
                  <a:pt x="1092" y="2380"/>
                </a:lnTo>
                <a:lnTo>
                  <a:pt x="1091" y="2378"/>
                </a:lnTo>
                <a:lnTo>
                  <a:pt x="1091" y="2375"/>
                </a:lnTo>
                <a:lnTo>
                  <a:pt x="1092" y="2372"/>
                </a:lnTo>
                <a:lnTo>
                  <a:pt x="1093" y="2369"/>
                </a:lnTo>
                <a:lnTo>
                  <a:pt x="1094" y="2367"/>
                </a:lnTo>
                <a:lnTo>
                  <a:pt x="1096" y="2365"/>
                </a:lnTo>
                <a:lnTo>
                  <a:pt x="1098" y="2363"/>
                </a:lnTo>
                <a:lnTo>
                  <a:pt x="1099" y="2362"/>
                </a:lnTo>
                <a:close/>
                <a:moveTo>
                  <a:pt x="1222" y="2288"/>
                </a:moveTo>
                <a:lnTo>
                  <a:pt x="1225" y="2286"/>
                </a:lnTo>
                <a:lnTo>
                  <a:pt x="1228" y="2286"/>
                </a:lnTo>
                <a:lnTo>
                  <a:pt x="1231" y="2286"/>
                </a:lnTo>
                <a:lnTo>
                  <a:pt x="1234" y="2286"/>
                </a:lnTo>
                <a:lnTo>
                  <a:pt x="1237" y="2287"/>
                </a:lnTo>
                <a:lnTo>
                  <a:pt x="1240" y="2289"/>
                </a:lnTo>
                <a:lnTo>
                  <a:pt x="1242" y="2291"/>
                </a:lnTo>
                <a:lnTo>
                  <a:pt x="1244" y="2294"/>
                </a:lnTo>
                <a:lnTo>
                  <a:pt x="1245" y="2297"/>
                </a:lnTo>
                <a:lnTo>
                  <a:pt x="1245" y="2300"/>
                </a:lnTo>
                <a:lnTo>
                  <a:pt x="1246" y="2303"/>
                </a:lnTo>
                <a:lnTo>
                  <a:pt x="1245" y="2305"/>
                </a:lnTo>
                <a:lnTo>
                  <a:pt x="1244" y="2308"/>
                </a:lnTo>
                <a:lnTo>
                  <a:pt x="1242" y="2311"/>
                </a:lnTo>
                <a:lnTo>
                  <a:pt x="1240" y="2313"/>
                </a:lnTo>
                <a:lnTo>
                  <a:pt x="1238" y="2315"/>
                </a:lnTo>
                <a:lnTo>
                  <a:pt x="1235" y="2316"/>
                </a:lnTo>
                <a:lnTo>
                  <a:pt x="1232" y="2317"/>
                </a:lnTo>
                <a:lnTo>
                  <a:pt x="1229" y="2317"/>
                </a:lnTo>
                <a:lnTo>
                  <a:pt x="1226" y="2316"/>
                </a:lnTo>
                <a:lnTo>
                  <a:pt x="1223" y="2315"/>
                </a:lnTo>
                <a:lnTo>
                  <a:pt x="1220" y="2314"/>
                </a:lnTo>
                <a:lnTo>
                  <a:pt x="1218" y="2312"/>
                </a:lnTo>
                <a:lnTo>
                  <a:pt x="1216" y="2309"/>
                </a:lnTo>
                <a:lnTo>
                  <a:pt x="1215" y="2306"/>
                </a:lnTo>
                <a:lnTo>
                  <a:pt x="1214" y="2303"/>
                </a:lnTo>
                <a:lnTo>
                  <a:pt x="1214" y="2300"/>
                </a:lnTo>
                <a:lnTo>
                  <a:pt x="1215" y="2297"/>
                </a:lnTo>
                <a:lnTo>
                  <a:pt x="1216" y="2294"/>
                </a:lnTo>
                <a:lnTo>
                  <a:pt x="1217" y="2292"/>
                </a:lnTo>
                <a:lnTo>
                  <a:pt x="1219" y="2290"/>
                </a:lnTo>
                <a:lnTo>
                  <a:pt x="1222" y="2288"/>
                </a:lnTo>
                <a:close/>
                <a:moveTo>
                  <a:pt x="1591" y="2066"/>
                </a:moveTo>
                <a:lnTo>
                  <a:pt x="1594" y="2064"/>
                </a:lnTo>
                <a:lnTo>
                  <a:pt x="1597" y="2064"/>
                </a:lnTo>
                <a:lnTo>
                  <a:pt x="1602" y="2064"/>
                </a:lnTo>
                <a:lnTo>
                  <a:pt x="1605" y="2065"/>
                </a:lnTo>
                <a:lnTo>
                  <a:pt x="1607" y="2066"/>
                </a:lnTo>
                <a:lnTo>
                  <a:pt x="1610" y="2067"/>
                </a:lnTo>
                <a:lnTo>
                  <a:pt x="1611" y="2069"/>
                </a:lnTo>
                <a:lnTo>
                  <a:pt x="1612" y="2070"/>
                </a:lnTo>
                <a:lnTo>
                  <a:pt x="1613" y="2072"/>
                </a:lnTo>
                <a:lnTo>
                  <a:pt x="1614" y="2075"/>
                </a:lnTo>
                <a:lnTo>
                  <a:pt x="1615" y="2078"/>
                </a:lnTo>
                <a:lnTo>
                  <a:pt x="1615" y="2081"/>
                </a:lnTo>
                <a:lnTo>
                  <a:pt x="1614" y="2084"/>
                </a:lnTo>
                <a:lnTo>
                  <a:pt x="1613" y="2087"/>
                </a:lnTo>
                <a:lnTo>
                  <a:pt x="1611" y="2089"/>
                </a:lnTo>
                <a:lnTo>
                  <a:pt x="1609" y="2092"/>
                </a:lnTo>
                <a:lnTo>
                  <a:pt x="1607" y="2093"/>
                </a:lnTo>
                <a:lnTo>
                  <a:pt x="1604" y="2094"/>
                </a:lnTo>
                <a:lnTo>
                  <a:pt x="1602" y="2095"/>
                </a:lnTo>
                <a:lnTo>
                  <a:pt x="1596" y="2095"/>
                </a:lnTo>
                <a:lnTo>
                  <a:pt x="1593" y="2094"/>
                </a:lnTo>
                <a:lnTo>
                  <a:pt x="1591" y="2093"/>
                </a:lnTo>
                <a:lnTo>
                  <a:pt x="1589" y="2091"/>
                </a:lnTo>
                <a:lnTo>
                  <a:pt x="1588" y="2090"/>
                </a:lnTo>
                <a:lnTo>
                  <a:pt x="1587" y="2089"/>
                </a:lnTo>
                <a:lnTo>
                  <a:pt x="1585" y="2086"/>
                </a:lnTo>
                <a:lnTo>
                  <a:pt x="1584" y="2083"/>
                </a:lnTo>
                <a:lnTo>
                  <a:pt x="1583" y="2080"/>
                </a:lnTo>
                <a:lnTo>
                  <a:pt x="1584" y="2077"/>
                </a:lnTo>
                <a:lnTo>
                  <a:pt x="1584" y="2074"/>
                </a:lnTo>
                <a:lnTo>
                  <a:pt x="1585" y="2071"/>
                </a:lnTo>
                <a:lnTo>
                  <a:pt x="1587" y="2069"/>
                </a:lnTo>
                <a:lnTo>
                  <a:pt x="1590" y="2067"/>
                </a:lnTo>
                <a:lnTo>
                  <a:pt x="1591" y="2066"/>
                </a:lnTo>
                <a:close/>
                <a:moveTo>
                  <a:pt x="3456" y="959"/>
                </a:moveTo>
                <a:lnTo>
                  <a:pt x="3460" y="957"/>
                </a:lnTo>
                <a:lnTo>
                  <a:pt x="3463" y="957"/>
                </a:lnTo>
                <a:lnTo>
                  <a:pt x="3467" y="957"/>
                </a:lnTo>
                <a:lnTo>
                  <a:pt x="3469" y="957"/>
                </a:lnTo>
                <a:lnTo>
                  <a:pt x="3471" y="958"/>
                </a:lnTo>
                <a:lnTo>
                  <a:pt x="3473" y="960"/>
                </a:lnTo>
                <a:lnTo>
                  <a:pt x="3476" y="962"/>
                </a:lnTo>
                <a:lnTo>
                  <a:pt x="3477" y="964"/>
                </a:lnTo>
                <a:lnTo>
                  <a:pt x="3479" y="967"/>
                </a:lnTo>
                <a:lnTo>
                  <a:pt x="3480" y="970"/>
                </a:lnTo>
                <a:lnTo>
                  <a:pt x="3480" y="973"/>
                </a:lnTo>
                <a:lnTo>
                  <a:pt x="3479" y="976"/>
                </a:lnTo>
                <a:lnTo>
                  <a:pt x="3478" y="979"/>
                </a:lnTo>
                <a:lnTo>
                  <a:pt x="3476" y="983"/>
                </a:lnTo>
                <a:lnTo>
                  <a:pt x="3474" y="984"/>
                </a:lnTo>
                <a:lnTo>
                  <a:pt x="3472" y="986"/>
                </a:lnTo>
                <a:lnTo>
                  <a:pt x="3469" y="987"/>
                </a:lnTo>
                <a:lnTo>
                  <a:pt x="3465" y="988"/>
                </a:lnTo>
                <a:lnTo>
                  <a:pt x="3461" y="988"/>
                </a:lnTo>
                <a:lnTo>
                  <a:pt x="3459" y="987"/>
                </a:lnTo>
                <a:lnTo>
                  <a:pt x="3458" y="987"/>
                </a:lnTo>
                <a:lnTo>
                  <a:pt x="3455" y="985"/>
                </a:lnTo>
                <a:lnTo>
                  <a:pt x="3453" y="983"/>
                </a:lnTo>
                <a:lnTo>
                  <a:pt x="3451" y="980"/>
                </a:lnTo>
                <a:lnTo>
                  <a:pt x="3449" y="978"/>
                </a:lnTo>
                <a:lnTo>
                  <a:pt x="3449" y="975"/>
                </a:lnTo>
                <a:lnTo>
                  <a:pt x="3448" y="972"/>
                </a:lnTo>
                <a:lnTo>
                  <a:pt x="3449" y="969"/>
                </a:lnTo>
                <a:lnTo>
                  <a:pt x="3450" y="966"/>
                </a:lnTo>
                <a:lnTo>
                  <a:pt x="3452" y="962"/>
                </a:lnTo>
                <a:lnTo>
                  <a:pt x="3454" y="960"/>
                </a:lnTo>
                <a:lnTo>
                  <a:pt x="3456" y="959"/>
                </a:lnTo>
                <a:close/>
                <a:moveTo>
                  <a:pt x="1700" y="1972"/>
                </a:moveTo>
                <a:lnTo>
                  <a:pt x="1702" y="1971"/>
                </a:lnTo>
                <a:lnTo>
                  <a:pt x="1705" y="1970"/>
                </a:lnTo>
                <a:lnTo>
                  <a:pt x="1707" y="1970"/>
                </a:lnTo>
                <a:lnTo>
                  <a:pt x="1710" y="1970"/>
                </a:lnTo>
                <a:lnTo>
                  <a:pt x="1715" y="1972"/>
                </a:lnTo>
                <a:lnTo>
                  <a:pt x="1717" y="1973"/>
                </a:lnTo>
                <a:lnTo>
                  <a:pt x="1719" y="1975"/>
                </a:lnTo>
                <a:lnTo>
                  <a:pt x="1721" y="1977"/>
                </a:lnTo>
                <a:lnTo>
                  <a:pt x="1723" y="1980"/>
                </a:lnTo>
                <a:lnTo>
                  <a:pt x="1723" y="1983"/>
                </a:lnTo>
                <a:lnTo>
                  <a:pt x="1724" y="1986"/>
                </a:lnTo>
                <a:lnTo>
                  <a:pt x="1723" y="1989"/>
                </a:lnTo>
                <a:lnTo>
                  <a:pt x="1722" y="1992"/>
                </a:lnTo>
                <a:lnTo>
                  <a:pt x="1721" y="1994"/>
                </a:lnTo>
                <a:lnTo>
                  <a:pt x="1719" y="1997"/>
                </a:lnTo>
                <a:lnTo>
                  <a:pt x="1716" y="1999"/>
                </a:lnTo>
                <a:lnTo>
                  <a:pt x="1713" y="2000"/>
                </a:lnTo>
                <a:lnTo>
                  <a:pt x="1711" y="2001"/>
                </a:lnTo>
                <a:lnTo>
                  <a:pt x="1708" y="2001"/>
                </a:lnTo>
                <a:lnTo>
                  <a:pt x="1706" y="2001"/>
                </a:lnTo>
                <a:lnTo>
                  <a:pt x="1701" y="2000"/>
                </a:lnTo>
                <a:lnTo>
                  <a:pt x="1699" y="1998"/>
                </a:lnTo>
                <a:lnTo>
                  <a:pt x="1697" y="1997"/>
                </a:lnTo>
                <a:lnTo>
                  <a:pt x="1695" y="1994"/>
                </a:lnTo>
                <a:lnTo>
                  <a:pt x="1693" y="1991"/>
                </a:lnTo>
                <a:lnTo>
                  <a:pt x="1692" y="1988"/>
                </a:lnTo>
                <a:lnTo>
                  <a:pt x="1692" y="1985"/>
                </a:lnTo>
                <a:lnTo>
                  <a:pt x="1693" y="1982"/>
                </a:lnTo>
                <a:lnTo>
                  <a:pt x="1694" y="1980"/>
                </a:lnTo>
                <a:lnTo>
                  <a:pt x="1695" y="1977"/>
                </a:lnTo>
                <a:lnTo>
                  <a:pt x="1697" y="1974"/>
                </a:lnTo>
                <a:lnTo>
                  <a:pt x="1700" y="1972"/>
                </a:lnTo>
                <a:close/>
                <a:moveTo>
                  <a:pt x="1796" y="1865"/>
                </a:moveTo>
                <a:lnTo>
                  <a:pt x="1800" y="1863"/>
                </a:lnTo>
                <a:lnTo>
                  <a:pt x="1805" y="1863"/>
                </a:lnTo>
                <a:lnTo>
                  <a:pt x="1807" y="1863"/>
                </a:lnTo>
                <a:lnTo>
                  <a:pt x="1809" y="1864"/>
                </a:lnTo>
                <a:lnTo>
                  <a:pt x="1813" y="1866"/>
                </a:lnTo>
                <a:lnTo>
                  <a:pt x="1815" y="1868"/>
                </a:lnTo>
                <a:lnTo>
                  <a:pt x="1817" y="1871"/>
                </a:lnTo>
                <a:lnTo>
                  <a:pt x="1818" y="1874"/>
                </a:lnTo>
                <a:lnTo>
                  <a:pt x="1819" y="1877"/>
                </a:lnTo>
                <a:lnTo>
                  <a:pt x="1819" y="1880"/>
                </a:lnTo>
                <a:lnTo>
                  <a:pt x="1819" y="1883"/>
                </a:lnTo>
                <a:lnTo>
                  <a:pt x="1818" y="1886"/>
                </a:lnTo>
                <a:lnTo>
                  <a:pt x="1816" y="1888"/>
                </a:lnTo>
                <a:lnTo>
                  <a:pt x="1814" y="1891"/>
                </a:lnTo>
                <a:lnTo>
                  <a:pt x="1811" y="1892"/>
                </a:lnTo>
                <a:lnTo>
                  <a:pt x="1807" y="1894"/>
                </a:lnTo>
                <a:lnTo>
                  <a:pt x="1803" y="1894"/>
                </a:lnTo>
                <a:lnTo>
                  <a:pt x="1800" y="1894"/>
                </a:lnTo>
                <a:lnTo>
                  <a:pt x="1798" y="1893"/>
                </a:lnTo>
                <a:lnTo>
                  <a:pt x="1794" y="1891"/>
                </a:lnTo>
                <a:lnTo>
                  <a:pt x="1792" y="1889"/>
                </a:lnTo>
                <a:lnTo>
                  <a:pt x="1790" y="1886"/>
                </a:lnTo>
                <a:lnTo>
                  <a:pt x="1789" y="1884"/>
                </a:lnTo>
                <a:lnTo>
                  <a:pt x="1788" y="1881"/>
                </a:lnTo>
                <a:lnTo>
                  <a:pt x="1788" y="1878"/>
                </a:lnTo>
                <a:lnTo>
                  <a:pt x="1788" y="1875"/>
                </a:lnTo>
                <a:lnTo>
                  <a:pt x="1789" y="1872"/>
                </a:lnTo>
                <a:lnTo>
                  <a:pt x="1791" y="1869"/>
                </a:lnTo>
                <a:lnTo>
                  <a:pt x="1793" y="1867"/>
                </a:lnTo>
                <a:lnTo>
                  <a:pt x="1796" y="1865"/>
                </a:lnTo>
                <a:close/>
                <a:moveTo>
                  <a:pt x="1873" y="1743"/>
                </a:moveTo>
                <a:lnTo>
                  <a:pt x="1874" y="1742"/>
                </a:lnTo>
                <a:lnTo>
                  <a:pt x="1876" y="1742"/>
                </a:lnTo>
                <a:lnTo>
                  <a:pt x="1880" y="1741"/>
                </a:lnTo>
                <a:lnTo>
                  <a:pt x="1884" y="1741"/>
                </a:lnTo>
                <a:lnTo>
                  <a:pt x="1888" y="1743"/>
                </a:lnTo>
                <a:lnTo>
                  <a:pt x="1890" y="1744"/>
                </a:lnTo>
                <a:lnTo>
                  <a:pt x="1893" y="1747"/>
                </a:lnTo>
                <a:lnTo>
                  <a:pt x="1894" y="1749"/>
                </a:lnTo>
                <a:lnTo>
                  <a:pt x="1896" y="1752"/>
                </a:lnTo>
                <a:lnTo>
                  <a:pt x="1896" y="1758"/>
                </a:lnTo>
                <a:lnTo>
                  <a:pt x="1896" y="1761"/>
                </a:lnTo>
                <a:lnTo>
                  <a:pt x="1895" y="1764"/>
                </a:lnTo>
                <a:lnTo>
                  <a:pt x="1893" y="1766"/>
                </a:lnTo>
                <a:lnTo>
                  <a:pt x="1892" y="1768"/>
                </a:lnTo>
                <a:lnTo>
                  <a:pt x="1888" y="1770"/>
                </a:lnTo>
                <a:lnTo>
                  <a:pt x="1887" y="1771"/>
                </a:lnTo>
                <a:lnTo>
                  <a:pt x="1885" y="1772"/>
                </a:lnTo>
                <a:lnTo>
                  <a:pt x="1881" y="1772"/>
                </a:lnTo>
                <a:lnTo>
                  <a:pt x="1877" y="1772"/>
                </a:lnTo>
                <a:lnTo>
                  <a:pt x="1873" y="1771"/>
                </a:lnTo>
                <a:lnTo>
                  <a:pt x="1871" y="1769"/>
                </a:lnTo>
                <a:lnTo>
                  <a:pt x="1869" y="1767"/>
                </a:lnTo>
                <a:lnTo>
                  <a:pt x="1867" y="1764"/>
                </a:lnTo>
                <a:lnTo>
                  <a:pt x="1866" y="1761"/>
                </a:lnTo>
                <a:lnTo>
                  <a:pt x="1865" y="1755"/>
                </a:lnTo>
                <a:lnTo>
                  <a:pt x="1865" y="1752"/>
                </a:lnTo>
                <a:lnTo>
                  <a:pt x="1867" y="1749"/>
                </a:lnTo>
                <a:lnTo>
                  <a:pt x="1868" y="1748"/>
                </a:lnTo>
                <a:lnTo>
                  <a:pt x="1869" y="1746"/>
                </a:lnTo>
                <a:lnTo>
                  <a:pt x="1873" y="1743"/>
                </a:lnTo>
                <a:close/>
                <a:moveTo>
                  <a:pt x="3324" y="902"/>
                </a:moveTo>
                <a:lnTo>
                  <a:pt x="3327" y="900"/>
                </a:lnTo>
                <a:lnTo>
                  <a:pt x="3331" y="900"/>
                </a:lnTo>
                <a:lnTo>
                  <a:pt x="3334" y="900"/>
                </a:lnTo>
                <a:lnTo>
                  <a:pt x="3338" y="901"/>
                </a:lnTo>
                <a:lnTo>
                  <a:pt x="3341" y="902"/>
                </a:lnTo>
                <a:lnTo>
                  <a:pt x="3343" y="904"/>
                </a:lnTo>
                <a:lnTo>
                  <a:pt x="3345" y="907"/>
                </a:lnTo>
                <a:lnTo>
                  <a:pt x="3346" y="909"/>
                </a:lnTo>
                <a:lnTo>
                  <a:pt x="3347" y="912"/>
                </a:lnTo>
                <a:lnTo>
                  <a:pt x="3347" y="915"/>
                </a:lnTo>
                <a:lnTo>
                  <a:pt x="3347" y="918"/>
                </a:lnTo>
                <a:lnTo>
                  <a:pt x="3346" y="921"/>
                </a:lnTo>
                <a:lnTo>
                  <a:pt x="3345" y="924"/>
                </a:lnTo>
                <a:lnTo>
                  <a:pt x="3344" y="926"/>
                </a:lnTo>
                <a:lnTo>
                  <a:pt x="3340" y="929"/>
                </a:lnTo>
                <a:lnTo>
                  <a:pt x="3336" y="930"/>
                </a:lnTo>
                <a:lnTo>
                  <a:pt x="3333" y="931"/>
                </a:lnTo>
                <a:lnTo>
                  <a:pt x="3329" y="931"/>
                </a:lnTo>
                <a:lnTo>
                  <a:pt x="3326" y="930"/>
                </a:lnTo>
                <a:lnTo>
                  <a:pt x="3323" y="928"/>
                </a:lnTo>
                <a:lnTo>
                  <a:pt x="3321" y="926"/>
                </a:lnTo>
                <a:lnTo>
                  <a:pt x="3319" y="924"/>
                </a:lnTo>
                <a:lnTo>
                  <a:pt x="3317" y="921"/>
                </a:lnTo>
                <a:lnTo>
                  <a:pt x="3316" y="919"/>
                </a:lnTo>
                <a:lnTo>
                  <a:pt x="3316" y="916"/>
                </a:lnTo>
                <a:lnTo>
                  <a:pt x="3316" y="912"/>
                </a:lnTo>
                <a:lnTo>
                  <a:pt x="3317" y="909"/>
                </a:lnTo>
                <a:lnTo>
                  <a:pt x="3318" y="907"/>
                </a:lnTo>
                <a:lnTo>
                  <a:pt x="3320" y="905"/>
                </a:lnTo>
                <a:lnTo>
                  <a:pt x="3324" y="902"/>
                </a:lnTo>
                <a:close/>
                <a:moveTo>
                  <a:pt x="1926" y="1610"/>
                </a:moveTo>
                <a:lnTo>
                  <a:pt x="1929" y="1609"/>
                </a:lnTo>
                <a:lnTo>
                  <a:pt x="1932" y="1608"/>
                </a:lnTo>
                <a:lnTo>
                  <a:pt x="1935" y="1608"/>
                </a:lnTo>
                <a:lnTo>
                  <a:pt x="1939" y="1609"/>
                </a:lnTo>
                <a:lnTo>
                  <a:pt x="1942" y="1610"/>
                </a:lnTo>
                <a:lnTo>
                  <a:pt x="1944" y="1611"/>
                </a:lnTo>
                <a:lnTo>
                  <a:pt x="1946" y="1614"/>
                </a:lnTo>
                <a:lnTo>
                  <a:pt x="1948" y="1616"/>
                </a:lnTo>
                <a:lnTo>
                  <a:pt x="1949" y="1619"/>
                </a:lnTo>
                <a:lnTo>
                  <a:pt x="1950" y="1622"/>
                </a:lnTo>
                <a:lnTo>
                  <a:pt x="1950" y="1625"/>
                </a:lnTo>
                <a:lnTo>
                  <a:pt x="1949" y="1628"/>
                </a:lnTo>
                <a:lnTo>
                  <a:pt x="1948" y="1631"/>
                </a:lnTo>
                <a:lnTo>
                  <a:pt x="1946" y="1633"/>
                </a:lnTo>
                <a:lnTo>
                  <a:pt x="1944" y="1635"/>
                </a:lnTo>
                <a:lnTo>
                  <a:pt x="1942" y="1637"/>
                </a:lnTo>
                <a:lnTo>
                  <a:pt x="1939" y="1638"/>
                </a:lnTo>
                <a:lnTo>
                  <a:pt x="1936" y="1639"/>
                </a:lnTo>
                <a:lnTo>
                  <a:pt x="1933" y="1639"/>
                </a:lnTo>
                <a:lnTo>
                  <a:pt x="1930" y="1639"/>
                </a:lnTo>
                <a:lnTo>
                  <a:pt x="1927" y="1637"/>
                </a:lnTo>
                <a:lnTo>
                  <a:pt x="1924" y="1636"/>
                </a:lnTo>
                <a:lnTo>
                  <a:pt x="1922" y="1633"/>
                </a:lnTo>
                <a:lnTo>
                  <a:pt x="1920" y="1631"/>
                </a:lnTo>
                <a:lnTo>
                  <a:pt x="1919" y="1628"/>
                </a:lnTo>
                <a:lnTo>
                  <a:pt x="1919" y="1625"/>
                </a:lnTo>
                <a:lnTo>
                  <a:pt x="1919" y="1622"/>
                </a:lnTo>
                <a:lnTo>
                  <a:pt x="1919" y="1619"/>
                </a:lnTo>
                <a:lnTo>
                  <a:pt x="1920" y="1616"/>
                </a:lnTo>
                <a:lnTo>
                  <a:pt x="1922" y="1614"/>
                </a:lnTo>
                <a:lnTo>
                  <a:pt x="1924" y="1612"/>
                </a:lnTo>
                <a:lnTo>
                  <a:pt x="1926" y="1610"/>
                </a:lnTo>
                <a:close/>
                <a:moveTo>
                  <a:pt x="3189" y="851"/>
                </a:moveTo>
                <a:lnTo>
                  <a:pt x="3192" y="849"/>
                </a:lnTo>
                <a:lnTo>
                  <a:pt x="3196" y="849"/>
                </a:lnTo>
                <a:lnTo>
                  <a:pt x="3199" y="849"/>
                </a:lnTo>
                <a:lnTo>
                  <a:pt x="3202" y="849"/>
                </a:lnTo>
                <a:lnTo>
                  <a:pt x="3205" y="851"/>
                </a:lnTo>
                <a:lnTo>
                  <a:pt x="3208" y="853"/>
                </a:lnTo>
                <a:lnTo>
                  <a:pt x="3210" y="855"/>
                </a:lnTo>
                <a:lnTo>
                  <a:pt x="3211" y="857"/>
                </a:lnTo>
                <a:lnTo>
                  <a:pt x="3212" y="860"/>
                </a:lnTo>
                <a:lnTo>
                  <a:pt x="3213" y="863"/>
                </a:lnTo>
                <a:lnTo>
                  <a:pt x="3212" y="869"/>
                </a:lnTo>
                <a:lnTo>
                  <a:pt x="3211" y="872"/>
                </a:lnTo>
                <a:lnTo>
                  <a:pt x="3209" y="874"/>
                </a:lnTo>
                <a:lnTo>
                  <a:pt x="3207" y="876"/>
                </a:lnTo>
                <a:lnTo>
                  <a:pt x="3205" y="878"/>
                </a:lnTo>
                <a:lnTo>
                  <a:pt x="3202" y="879"/>
                </a:lnTo>
                <a:lnTo>
                  <a:pt x="3199" y="880"/>
                </a:lnTo>
                <a:lnTo>
                  <a:pt x="3195" y="880"/>
                </a:lnTo>
                <a:lnTo>
                  <a:pt x="3192" y="879"/>
                </a:lnTo>
                <a:lnTo>
                  <a:pt x="3189" y="878"/>
                </a:lnTo>
                <a:lnTo>
                  <a:pt x="3187" y="876"/>
                </a:lnTo>
                <a:lnTo>
                  <a:pt x="3185" y="873"/>
                </a:lnTo>
                <a:lnTo>
                  <a:pt x="3183" y="871"/>
                </a:lnTo>
                <a:lnTo>
                  <a:pt x="3182" y="868"/>
                </a:lnTo>
                <a:lnTo>
                  <a:pt x="3182" y="865"/>
                </a:lnTo>
                <a:lnTo>
                  <a:pt x="3182" y="859"/>
                </a:lnTo>
                <a:lnTo>
                  <a:pt x="3184" y="856"/>
                </a:lnTo>
                <a:lnTo>
                  <a:pt x="3185" y="854"/>
                </a:lnTo>
                <a:lnTo>
                  <a:pt x="3187" y="852"/>
                </a:lnTo>
                <a:lnTo>
                  <a:pt x="3189" y="851"/>
                </a:lnTo>
                <a:close/>
                <a:moveTo>
                  <a:pt x="1957" y="1469"/>
                </a:moveTo>
                <a:lnTo>
                  <a:pt x="1959" y="1468"/>
                </a:lnTo>
                <a:lnTo>
                  <a:pt x="1961" y="1468"/>
                </a:lnTo>
                <a:lnTo>
                  <a:pt x="1964" y="1467"/>
                </a:lnTo>
                <a:lnTo>
                  <a:pt x="1967" y="1468"/>
                </a:lnTo>
                <a:lnTo>
                  <a:pt x="1970" y="1468"/>
                </a:lnTo>
                <a:lnTo>
                  <a:pt x="1973" y="1470"/>
                </a:lnTo>
                <a:lnTo>
                  <a:pt x="1975" y="1471"/>
                </a:lnTo>
                <a:lnTo>
                  <a:pt x="1977" y="1474"/>
                </a:lnTo>
                <a:lnTo>
                  <a:pt x="1979" y="1476"/>
                </a:lnTo>
                <a:lnTo>
                  <a:pt x="1980" y="1479"/>
                </a:lnTo>
                <a:lnTo>
                  <a:pt x="1980" y="1482"/>
                </a:lnTo>
                <a:lnTo>
                  <a:pt x="1980" y="1485"/>
                </a:lnTo>
                <a:lnTo>
                  <a:pt x="1979" y="1489"/>
                </a:lnTo>
                <a:lnTo>
                  <a:pt x="1977" y="1492"/>
                </a:lnTo>
                <a:lnTo>
                  <a:pt x="1975" y="1495"/>
                </a:lnTo>
                <a:lnTo>
                  <a:pt x="1972" y="1497"/>
                </a:lnTo>
                <a:lnTo>
                  <a:pt x="1970" y="1498"/>
                </a:lnTo>
                <a:lnTo>
                  <a:pt x="1967" y="1498"/>
                </a:lnTo>
                <a:lnTo>
                  <a:pt x="1965" y="1499"/>
                </a:lnTo>
                <a:lnTo>
                  <a:pt x="1962" y="1499"/>
                </a:lnTo>
                <a:lnTo>
                  <a:pt x="1959" y="1498"/>
                </a:lnTo>
                <a:lnTo>
                  <a:pt x="1956" y="1496"/>
                </a:lnTo>
                <a:lnTo>
                  <a:pt x="1954" y="1495"/>
                </a:lnTo>
                <a:lnTo>
                  <a:pt x="1952" y="1492"/>
                </a:lnTo>
                <a:lnTo>
                  <a:pt x="1950" y="1490"/>
                </a:lnTo>
                <a:lnTo>
                  <a:pt x="1949" y="1487"/>
                </a:lnTo>
                <a:lnTo>
                  <a:pt x="1949" y="1484"/>
                </a:lnTo>
                <a:lnTo>
                  <a:pt x="1949" y="1481"/>
                </a:lnTo>
                <a:lnTo>
                  <a:pt x="1950" y="1477"/>
                </a:lnTo>
                <a:lnTo>
                  <a:pt x="1952" y="1474"/>
                </a:lnTo>
                <a:lnTo>
                  <a:pt x="1954" y="1472"/>
                </a:lnTo>
                <a:lnTo>
                  <a:pt x="1957" y="1469"/>
                </a:lnTo>
                <a:close/>
                <a:moveTo>
                  <a:pt x="3052" y="807"/>
                </a:moveTo>
                <a:lnTo>
                  <a:pt x="3055" y="805"/>
                </a:lnTo>
                <a:lnTo>
                  <a:pt x="3058" y="805"/>
                </a:lnTo>
                <a:lnTo>
                  <a:pt x="3061" y="805"/>
                </a:lnTo>
                <a:lnTo>
                  <a:pt x="3064" y="805"/>
                </a:lnTo>
                <a:lnTo>
                  <a:pt x="3067" y="806"/>
                </a:lnTo>
                <a:lnTo>
                  <a:pt x="3070" y="808"/>
                </a:lnTo>
                <a:lnTo>
                  <a:pt x="3072" y="810"/>
                </a:lnTo>
                <a:lnTo>
                  <a:pt x="3074" y="813"/>
                </a:lnTo>
                <a:lnTo>
                  <a:pt x="3075" y="815"/>
                </a:lnTo>
                <a:lnTo>
                  <a:pt x="3076" y="818"/>
                </a:lnTo>
                <a:lnTo>
                  <a:pt x="3076" y="821"/>
                </a:lnTo>
                <a:lnTo>
                  <a:pt x="3075" y="825"/>
                </a:lnTo>
                <a:lnTo>
                  <a:pt x="3074" y="828"/>
                </a:lnTo>
                <a:lnTo>
                  <a:pt x="3072" y="830"/>
                </a:lnTo>
                <a:lnTo>
                  <a:pt x="3070" y="832"/>
                </a:lnTo>
                <a:lnTo>
                  <a:pt x="3068" y="834"/>
                </a:lnTo>
                <a:lnTo>
                  <a:pt x="3065" y="835"/>
                </a:lnTo>
                <a:lnTo>
                  <a:pt x="3062" y="836"/>
                </a:lnTo>
                <a:lnTo>
                  <a:pt x="3059" y="836"/>
                </a:lnTo>
                <a:lnTo>
                  <a:pt x="3056" y="835"/>
                </a:lnTo>
                <a:lnTo>
                  <a:pt x="3053" y="834"/>
                </a:lnTo>
                <a:lnTo>
                  <a:pt x="3050" y="833"/>
                </a:lnTo>
                <a:lnTo>
                  <a:pt x="3048" y="830"/>
                </a:lnTo>
                <a:lnTo>
                  <a:pt x="3046" y="828"/>
                </a:lnTo>
                <a:lnTo>
                  <a:pt x="3045" y="825"/>
                </a:lnTo>
                <a:lnTo>
                  <a:pt x="3045" y="822"/>
                </a:lnTo>
                <a:lnTo>
                  <a:pt x="3045" y="819"/>
                </a:lnTo>
                <a:lnTo>
                  <a:pt x="3045" y="816"/>
                </a:lnTo>
                <a:lnTo>
                  <a:pt x="3046" y="813"/>
                </a:lnTo>
                <a:lnTo>
                  <a:pt x="3048" y="811"/>
                </a:lnTo>
                <a:lnTo>
                  <a:pt x="3050" y="808"/>
                </a:lnTo>
                <a:lnTo>
                  <a:pt x="3052" y="807"/>
                </a:lnTo>
                <a:close/>
                <a:moveTo>
                  <a:pt x="1971" y="1326"/>
                </a:moveTo>
                <a:lnTo>
                  <a:pt x="1975" y="1324"/>
                </a:lnTo>
                <a:lnTo>
                  <a:pt x="1980" y="1324"/>
                </a:lnTo>
                <a:lnTo>
                  <a:pt x="1983" y="1325"/>
                </a:lnTo>
                <a:lnTo>
                  <a:pt x="1986" y="1326"/>
                </a:lnTo>
                <a:lnTo>
                  <a:pt x="1988" y="1327"/>
                </a:lnTo>
                <a:lnTo>
                  <a:pt x="1990" y="1329"/>
                </a:lnTo>
                <a:lnTo>
                  <a:pt x="1992" y="1332"/>
                </a:lnTo>
                <a:lnTo>
                  <a:pt x="1993" y="1335"/>
                </a:lnTo>
                <a:lnTo>
                  <a:pt x="1994" y="1338"/>
                </a:lnTo>
                <a:lnTo>
                  <a:pt x="1994" y="1341"/>
                </a:lnTo>
                <a:lnTo>
                  <a:pt x="1993" y="1345"/>
                </a:lnTo>
                <a:lnTo>
                  <a:pt x="1992" y="1348"/>
                </a:lnTo>
                <a:lnTo>
                  <a:pt x="1989" y="1351"/>
                </a:lnTo>
                <a:lnTo>
                  <a:pt x="1986" y="1353"/>
                </a:lnTo>
                <a:lnTo>
                  <a:pt x="1982" y="1355"/>
                </a:lnTo>
                <a:lnTo>
                  <a:pt x="1977" y="1355"/>
                </a:lnTo>
                <a:lnTo>
                  <a:pt x="1974" y="1355"/>
                </a:lnTo>
                <a:lnTo>
                  <a:pt x="1971" y="1354"/>
                </a:lnTo>
                <a:lnTo>
                  <a:pt x="1969" y="1352"/>
                </a:lnTo>
                <a:lnTo>
                  <a:pt x="1967" y="1350"/>
                </a:lnTo>
                <a:lnTo>
                  <a:pt x="1965" y="1348"/>
                </a:lnTo>
                <a:lnTo>
                  <a:pt x="1964" y="1345"/>
                </a:lnTo>
                <a:lnTo>
                  <a:pt x="1963" y="1342"/>
                </a:lnTo>
                <a:lnTo>
                  <a:pt x="1963" y="1339"/>
                </a:lnTo>
                <a:lnTo>
                  <a:pt x="1964" y="1335"/>
                </a:lnTo>
                <a:lnTo>
                  <a:pt x="1965" y="1331"/>
                </a:lnTo>
                <a:lnTo>
                  <a:pt x="1968" y="1328"/>
                </a:lnTo>
                <a:lnTo>
                  <a:pt x="1971" y="1326"/>
                </a:lnTo>
                <a:close/>
                <a:moveTo>
                  <a:pt x="2913" y="773"/>
                </a:moveTo>
                <a:lnTo>
                  <a:pt x="2915" y="771"/>
                </a:lnTo>
                <a:lnTo>
                  <a:pt x="2918" y="771"/>
                </a:lnTo>
                <a:lnTo>
                  <a:pt x="2923" y="771"/>
                </a:lnTo>
                <a:lnTo>
                  <a:pt x="2926" y="772"/>
                </a:lnTo>
                <a:lnTo>
                  <a:pt x="2929" y="773"/>
                </a:lnTo>
                <a:lnTo>
                  <a:pt x="2932" y="775"/>
                </a:lnTo>
                <a:lnTo>
                  <a:pt x="2933" y="778"/>
                </a:lnTo>
                <a:lnTo>
                  <a:pt x="2935" y="780"/>
                </a:lnTo>
                <a:lnTo>
                  <a:pt x="2936" y="783"/>
                </a:lnTo>
                <a:lnTo>
                  <a:pt x="2936" y="786"/>
                </a:lnTo>
                <a:lnTo>
                  <a:pt x="2936" y="789"/>
                </a:lnTo>
                <a:lnTo>
                  <a:pt x="2935" y="793"/>
                </a:lnTo>
                <a:lnTo>
                  <a:pt x="2933" y="795"/>
                </a:lnTo>
                <a:lnTo>
                  <a:pt x="2931" y="798"/>
                </a:lnTo>
                <a:lnTo>
                  <a:pt x="2928" y="800"/>
                </a:lnTo>
                <a:lnTo>
                  <a:pt x="2926" y="801"/>
                </a:lnTo>
                <a:lnTo>
                  <a:pt x="2923" y="802"/>
                </a:lnTo>
                <a:lnTo>
                  <a:pt x="2917" y="802"/>
                </a:lnTo>
                <a:lnTo>
                  <a:pt x="2914" y="801"/>
                </a:lnTo>
                <a:lnTo>
                  <a:pt x="2912" y="799"/>
                </a:lnTo>
                <a:lnTo>
                  <a:pt x="2909" y="797"/>
                </a:lnTo>
                <a:lnTo>
                  <a:pt x="2907" y="795"/>
                </a:lnTo>
                <a:lnTo>
                  <a:pt x="2906" y="792"/>
                </a:lnTo>
                <a:lnTo>
                  <a:pt x="2905" y="789"/>
                </a:lnTo>
                <a:lnTo>
                  <a:pt x="2905" y="786"/>
                </a:lnTo>
                <a:lnTo>
                  <a:pt x="2905" y="783"/>
                </a:lnTo>
                <a:lnTo>
                  <a:pt x="2906" y="780"/>
                </a:lnTo>
                <a:lnTo>
                  <a:pt x="2908" y="777"/>
                </a:lnTo>
                <a:lnTo>
                  <a:pt x="2910" y="775"/>
                </a:lnTo>
                <a:lnTo>
                  <a:pt x="2913" y="773"/>
                </a:lnTo>
                <a:close/>
                <a:moveTo>
                  <a:pt x="2770" y="751"/>
                </a:moveTo>
                <a:lnTo>
                  <a:pt x="2772" y="750"/>
                </a:lnTo>
                <a:lnTo>
                  <a:pt x="2775" y="749"/>
                </a:lnTo>
                <a:lnTo>
                  <a:pt x="2777" y="749"/>
                </a:lnTo>
                <a:lnTo>
                  <a:pt x="2780" y="749"/>
                </a:lnTo>
                <a:lnTo>
                  <a:pt x="2783" y="750"/>
                </a:lnTo>
                <a:lnTo>
                  <a:pt x="2786" y="751"/>
                </a:lnTo>
                <a:lnTo>
                  <a:pt x="2788" y="753"/>
                </a:lnTo>
                <a:lnTo>
                  <a:pt x="2789" y="754"/>
                </a:lnTo>
                <a:lnTo>
                  <a:pt x="2790" y="755"/>
                </a:lnTo>
                <a:lnTo>
                  <a:pt x="2792" y="757"/>
                </a:lnTo>
                <a:lnTo>
                  <a:pt x="2793" y="760"/>
                </a:lnTo>
                <a:lnTo>
                  <a:pt x="2794" y="763"/>
                </a:lnTo>
                <a:lnTo>
                  <a:pt x="2794" y="766"/>
                </a:lnTo>
                <a:lnTo>
                  <a:pt x="2793" y="770"/>
                </a:lnTo>
                <a:lnTo>
                  <a:pt x="2791" y="773"/>
                </a:lnTo>
                <a:lnTo>
                  <a:pt x="2789" y="776"/>
                </a:lnTo>
                <a:lnTo>
                  <a:pt x="2786" y="778"/>
                </a:lnTo>
                <a:lnTo>
                  <a:pt x="2784" y="779"/>
                </a:lnTo>
                <a:lnTo>
                  <a:pt x="2782" y="780"/>
                </a:lnTo>
                <a:lnTo>
                  <a:pt x="2779" y="780"/>
                </a:lnTo>
                <a:lnTo>
                  <a:pt x="2777" y="780"/>
                </a:lnTo>
                <a:lnTo>
                  <a:pt x="2773" y="780"/>
                </a:lnTo>
                <a:lnTo>
                  <a:pt x="2771" y="778"/>
                </a:lnTo>
                <a:lnTo>
                  <a:pt x="2768" y="777"/>
                </a:lnTo>
                <a:lnTo>
                  <a:pt x="2767" y="776"/>
                </a:lnTo>
                <a:lnTo>
                  <a:pt x="2766" y="775"/>
                </a:lnTo>
                <a:lnTo>
                  <a:pt x="2764" y="772"/>
                </a:lnTo>
                <a:lnTo>
                  <a:pt x="2763" y="769"/>
                </a:lnTo>
                <a:lnTo>
                  <a:pt x="2763" y="766"/>
                </a:lnTo>
                <a:lnTo>
                  <a:pt x="2763" y="763"/>
                </a:lnTo>
                <a:lnTo>
                  <a:pt x="2763" y="759"/>
                </a:lnTo>
                <a:lnTo>
                  <a:pt x="2765" y="756"/>
                </a:lnTo>
                <a:lnTo>
                  <a:pt x="2767" y="753"/>
                </a:lnTo>
                <a:lnTo>
                  <a:pt x="2770" y="751"/>
                </a:lnTo>
                <a:close/>
                <a:moveTo>
                  <a:pt x="1982" y="1183"/>
                </a:moveTo>
                <a:lnTo>
                  <a:pt x="1984" y="1182"/>
                </a:lnTo>
                <a:lnTo>
                  <a:pt x="1987" y="1181"/>
                </a:lnTo>
                <a:lnTo>
                  <a:pt x="1989" y="1181"/>
                </a:lnTo>
                <a:lnTo>
                  <a:pt x="1992" y="1181"/>
                </a:lnTo>
                <a:lnTo>
                  <a:pt x="1995" y="1181"/>
                </a:lnTo>
                <a:lnTo>
                  <a:pt x="1998" y="1183"/>
                </a:lnTo>
                <a:lnTo>
                  <a:pt x="2000" y="1184"/>
                </a:lnTo>
                <a:lnTo>
                  <a:pt x="2002" y="1187"/>
                </a:lnTo>
                <a:lnTo>
                  <a:pt x="2004" y="1189"/>
                </a:lnTo>
                <a:lnTo>
                  <a:pt x="2005" y="1192"/>
                </a:lnTo>
                <a:lnTo>
                  <a:pt x="2006" y="1195"/>
                </a:lnTo>
                <a:lnTo>
                  <a:pt x="2006" y="1198"/>
                </a:lnTo>
                <a:lnTo>
                  <a:pt x="2005" y="1202"/>
                </a:lnTo>
                <a:lnTo>
                  <a:pt x="2003" y="1205"/>
                </a:lnTo>
                <a:lnTo>
                  <a:pt x="2001" y="1208"/>
                </a:lnTo>
                <a:lnTo>
                  <a:pt x="1998" y="1210"/>
                </a:lnTo>
                <a:lnTo>
                  <a:pt x="1996" y="1211"/>
                </a:lnTo>
                <a:lnTo>
                  <a:pt x="1993" y="1212"/>
                </a:lnTo>
                <a:lnTo>
                  <a:pt x="1991" y="1212"/>
                </a:lnTo>
                <a:lnTo>
                  <a:pt x="1988" y="1212"/>
                </a:lnTo>
                <a:lnTo>
                  <a:pt x="1985" y="1211"/>
                </a:lnTo>
                <a:lnTo>
                  <a:pt x="1982" y="1210"/>
                </a:lnTo>
                <a:lnTo>
                  <a:pt x="1980" y="1208"/>
                </a:lnTo>
                <a:lnTo>
                  <a:pt x="1978" y="1206"/>
                </a:lnTo>
                <a:lnTo>
                  <a:pt x="1976" y="1203"/>
                </a:lnTo>
                <a:lnTo>
                  <a:pt x="1975" y="1201"/>
                </a:lnTo>
                <a:lnTo>
                  <a:pt x="1974" y="1198"/>
                </a:lnTo>
                <a:lnTo>
                  <a:pt x="1975" y="1194"/>
                </a:lnTo>
                <a:lnTo>
                  <a:pt x="1975" y="1191"/>
                </a:lnTo>
                <a:lnTo>
                  <a:pt x="1977" y="1188"/>
                </a:lnTo>
                <a:lnTo>
                  <a:pt x="1979" y="1185"/>
                </a:lnTo>
                <a:lnTo>
                  <a:pt x="1982" y="1183"/>
                </a:lnTo>
                <a:close/>
                <a:moveTo>
                  <a:pt x="2627" y="745"/>
                </a:moveTo>
                <a:lnTo>
                  <a:pt x="2628" y="744"/>
                </a:lnTo>
                <a:lnTo>
                  <a:pt x="2630" y="744"/>
                </a:lnTo>
                <a:lnTo>
                  <a:pt x="2634" y="743"/>
                </a:lnTo>
                <a:lnTo>
                  <a:pt x="2637" y="743"/>
                </a:lnTo>
                <a:lnTo>
                  <a:pt x="2640" y="744"/>
                </a:lnTo>
                <a:lnTo>
                  <a:pt x="2643" y="746"/>
                </a:lnTo>
                <a:lnTo>
                  <a:pt x="2645" y="748"/>
                </a:lnTo>
                <a:lnTo>
                  <a:pt x="2647" y="750"/>
                </a:lnTo>
                <a:lnTo>
                  <a:pt x="2649" y="752"/>
                </a:lnTo>
                <a:lnTo>
                  <a:pt x="2650" y="755"/>
                </a:lnTo>
                <a:lnTo>
                  <a:pt x="2650" y="758"/>
                </a:lnTo>
                <a:lnTo>
                  <a:pt x="2650" y="763"/>
                </a:lnTo>
                <a:lnTo>
                  <a:pt x="2648" y="767"/>
                </a:lnTo>
                <a:lnTo>
                  <a:pt x="2646" y="770"/>
                </a:lnTo>
                <a:lnTo>
                  <a:pt x="2642" y="772"/>
                </a:lnTo>
                <a:lnTo>
                  <a:pt x="2641" y="773"/>
                </a:lnTo>
                <a:lnTo>
                  <a:pt x="2639" y="774"/>
                </a:lnTo>
                <a:lnTo>
                  <a:pt x="2635" y="775"/>
                </a:lnTo>
                <a:lnTo>
                  <a:pt x="2632" y="774"/>
                </a:lnTo>
                <a:lnTo>
                  <a:pt x="2629" y="773"/>
                </a:lnTo>
                <a:lnTo>
                  <a:pt x="2626" y="772"/>
                </a:lnTo>
                <a:lnTo>
                  <a:pt x="2624" y="770"/>
                </a:lnTo>
                <a:lnTo>
                  <a:pt x="2622" y="768"/>
                </a:lnTo>
                <a:lnTo>
                  <a:pt x="2620" y="765"/>
                </a:lnTo>
                <a:lnTo>
                  <a:pt x="2619" y="762"/>
                </a:lnTo>
                <a:lnTo>
                  <a:pt x="2619" y="759"/>
                </a:lnTo>
                <a:lnTo>
                  <a:pt x="2619" y="755"/>
                </a:lnTo>
                <a:lnTo>
                  <a:pt x="2621" y="751"/>
                </a:lnTo>
                <a:lnTo>
                  <a:pt x="2623" y="748"/>
                </a:lnTo>
                <a:lnTo>
                  <a:pt x="2627" y="745"/>
                </a:lnTo>
                <a:close/>
                <a:moveTo>
                  <a:pt x="2014" y="1043"/>
                </a:moveTo>
                <a:lnTo>
                  <a:pt x="2017" y="1041"/>
                </a:lnTo>
                <a:lnTo>
                  <a:pt x="2020" y="1041"/>
                </a:lnTo>
                <a:lnTo>
                  <a:pt x="2024" y="1041"/>
                </a:lnTo>
                <a:lnTo>
                  <a:pt x="2027" y="1042"/>
                </a:lnTo>
                <a:lnTo>
                  <a:pt x="2029" y="1042"/>
                </a:lnTo>
                <a:lnTo>
                  <a:pt x="2030" y="1043"/>
                </a:lnTo>
                <a:lnTo>
                  <a:pt x="2033" y="1045"/>
                </a:lnTo>
                <a:lnTo>
                  <a:pt x="2035" y="1047"/>
                </a:lnTo>
                <a:lnTo>
                  <a:pt x="2036" y="1050"/>
                </a:lnTo>
                <a:lnTo>
                  <a:pt x="2037" y="1053"/>
                </a:lnTo>
                <a:lnTo>
                  <a:pt x="2037" y="1056"/>
                </a:lnTo>
                <a:lnTo>
                  <a:pt x="2037" y="1059"/>
                </a:lnTo>
                <a:lnTo>
                  <a:pt x="2036" y="1062"/>
                </a:lnTo>
                <a:lnTo>
                  <a:pt x="2035" y="1065"/>
                </a:lnTo>
                <a:lnTo>
                  <a:pt x="2034" y="1067"/>
                </a:lnTo>
                <a:lnTo>
                  <a:pt x="2032" y="1069"/>
                </a:lnTo>
                <a:lnTo>
                  <a:pt x="2030" y="1070"/>
                </a:lnTo>
                <a:lnTo>
                  <a:pt x="2026" y="1071"/>
                </a:lnTo>
                <a:lnTo>
                  <a:pt x="2023" y="1072"/>
                </a:lnTo>
                <a:lnTo>
                  <a:pt x="2020" y="1072"/>
                </a:lnTo>
                <a:lnTo>
                  <a:pt x="2016" y="1071"/>
                </a:lnTo>
                <a:lnTo>
                  <a:pt x="2015" y="1070"/>
                </a:lnTo>
                <a:lnTo>
                  <a:pt x="2013" y="1070"/>
                </a:lnTo>
                <a:lnTo>
                  <a:pt x="2011" y="1068"/>
                </a:lnTo>
                <a:lnTo>
                  <a:pt x="2009" y="1065"/>
                </a:lnTo>
                <a:lnTo>
                  <a:pt x="2007" y="1063"/>
                </a:lnTo>
                <a:lnTo>
                  <a:pt x="2006" y="1060"/>
                </a:lnTo>
                <a:lnTo>
                  <a:pt x="2006" y="1057"/>
                </a:lnTo>
                <a:lnTo>
                  <a:pt x="2006" y="1054"/>
                </a:lnTo>
                <a:lnTo>
                  <a:pt x="2007" y="1051"/>
                </a:lnTo>
                <a:lnTo>
                  <a:pt x="2008" y="1048"/>
                </a:lnTo>
                <a:lnTo>
                  <a:pt x="2010" y="1046"/>
                </a:lnTo>
                <a:lnTo>
                  <a:pt x="2012" y="1044"/>
                </a:lnTo>
                <a:lnTo>
                  <a:pt x="2014" y="1043"/>
                </a:lnTo>
                <a:close/>
                <a:moveTo>
                  <a:pt x="2483" y="758"/>
                </a:moveTo>
                <a:lnTo>
                  <a:pt x="2486" y="757"/>
                </a:lnTo>
                <a:lnTo>
                  <a:pt x="2489" y="756"/>
                </a:lnTo>
                <a:lnTo>
                  <a:pt x="2492" y="756"/>
                </a:lnTo>
                <a:lnTo>
                  <a:pt x="2495" y="756"/>
                </a:lnTo>
                <a:lnTo>
                  <a:pt x="2498" y="757"/>
                </a:lnTo>
                <a:lnTo>
                  <a:pt x="2501" y="759"/>
                </a:lnTo>
                <a:lnTo>
                  <a:pt x="2503" y="761"/>
                </a:lnTo>
                <a:lnTo>
                  <a:pt x="2505" y="763"/>
                </a:lnTo>
                <a:lnTo>
                  <a:pt x="2506" y="766"/>
                </a:lnTo>
                <a:lnTo>
                  <a:pt x="2507" y="769"/>
                </a:lnTo>
                <a:lnTo>
                  <a:pt x="2507" y="774"/>
                </a:lnTo>
                <a:lnTo>
                  <a:pt x="2505" y="778"/>
                </a:lnTo>
                <a:lnTo>
                  <a:pt x="2503" y="782"/>
                </a:lnTo>
                <a:lnTo>
                  <a:pt x="2501" y="784"/>
                </a:lnTo>
                <a:lnTo>
                  <a:pt x="2499" y="785"/>
                </a:lnTo>
                <a:lnTo>
                  <a:pt x="2497" y="786"/>
                </a:lnTo>
                <a:lnTo>
                  <a:pt x="2494" y="787"/>
                </a:lnTo>
                <a:lnTo>
                  <a:pt x="2491" y="787"/>
                </a:lnTo>
                <a:lnTo>
                  <a:pt x="2488" y="787"/>
                </a:lnTo>
                <a:lnTo>
                  <a:pt x="2485" y="786"/>
                </a:lnTo>
                <a:lnTo>
                  <a:pt x="2482" y="784"/>
                </a:lnTo>
                <a:lnTo>
                  <a:pt x="2480" y="782"/>
                </a:lnTo>
                <a:lnTo>
                  <a:pt x="2478" y="780"/>
                </a:lnTo>
                <a:lnTo>
                  <a:pt x="2477" y="777"/>
                </a:lnTo>
                <a:lnTo>
                  <a:pt x="2476" y="774"/>
                </a:lnTo>
                <a:lnTo>
                  <a:pt x="2476" y="769"/>
                </a:lnTo>
                <a:lnTo>
                  <a:pt x="2477" y="765"/>
                </a:lnTo>
                <a:lnTo>
                  <a:pt x="2480" y="761"/>
                </a:lnTo>
                <a:lnTo>
                  <a:pt x="2482" y="759"/>
                </a:lnTo>
                <a:lnTo>
                  <a:pt x="2483" y="758"/>
                </a:lnTo>
                <a:close/>
                <a:moveTo>
                  <a:pt x="2343" y="790"/>
                </a:moveTo>
                <a:lnTo>
                  <a:pt x="2346" y="789"/>
                </a:lnTo>
                <a:lnTo>
                  <a:pt x="2349" y="788"/>
                </a:lnTo>
                <a:lnTo>
                  <a:pt x="2352" y="788"/>
                </a:lnTo>
                <a:lnTo>
                  <a:pt x="2355" y="789"/>
                </a:lnTo>
                <a:lnTo>
                  <a:pt x="2358" y="790"/>
                </a:lnTo>
                <a:lnTo>
                  <a:pt x="2360" y="792"/>
                </a:lnTo>
                <a:lnTo>
                  <a:pt x="2362" y="794"/>
                </a:lnTo>
                <a:lnTo>
                  <a:pt x="2364" y="796"/>
                </a:lnTo>
                <a:lnTo>
                  <a:pt x="2365" y="799"/>
                </a:lnTo>
                <a:lnTo>
                  <a:pt x="2366" y="805"/>
                </a:lnTo>
                <a:lnTo>
                  <a:pt x="2366" y="807"/>
                </a:lnTo>
                <a:lnTo>
                  <a:pt x="2365" y="810"/>
                </a:lnTo>
                <a:lnTo>
                  <a:pt x="2364" y="812"/>
                </a:lnTo>
                <a:lnTo>
                  <a:pt x="2362" y="814"/>
                </a:lnTo>
                <a:lnTo>
                  <a:pt x="2360" y="816"/>
                </a:lnTo>
                <a:lnTo>
                  <a:pt x="2358" y="818"/>
                </a:lnTo>
                <a:lnTo>
                  <a:pt x="2355" y="819"/>
                </a:lnTo>
                <a:lnTo>
                  <a:pt x="2352" y="820"/>
                </a:lnTo>
                <a:lnTo>
                  <a:pt x="2349" y="820"/>
                </a:lnTo>
                <a:lnTo>
                  <a:pt x="2346" y="819"/>
                </a:lnTo>
                <a:lnTo>
                  <a:pt x="2343" y="818"/>
                </a:lnTo>
                <a:lnTo>
                  <a:pt x="2341" y="816"/>
                </a:lnTo>
                <a:lnTo>
                  <a:pt x="2338" y="814"/>
                </a:lnTo>
                <a:lnTo>
                  <a:pt x="2337" y="812"/>
                </a:lnTo>
                <a:lnTo>
                  <a:pt x="2335" y="809"/>
                </a:lnTo>
                <a:lnTo>
                  <a:pt x="2335" y="803"/>
                </a:lnTo>
                <a:lnTo>
                  <a:pt x="2335" y="801"/>
                </a:lnTo>
                <a:lnTo>
                  <a:pt x="2336" y="798"/>
                </a:lnTo>
                <a:lnTo>
                  <a:pt x="2337" y="796"/>
                </a:lnTo>
                <a:lnTo>
                  <a:pt x="2338" y="794"/>
                </a:lnTo>
                <a:lnTo>
                  <a:pt x="2340" y="792"/>
                </a:lnTo>
                <a:lnTo>
                  <a:pt x="2343" y="790"/>
                </a:lnTo>
                <a:close/>
                <a:moveTo>
                  <a:pt x="2091" y="923"/>
                </a:moveTo>
                <a:lnTo>
                  <a:pt x="2093" y="922"/>
                </a:lnTo>
                <a:lnTo>
                  <a:pt x="2096" y="922"/>
                </a:lnTo>
                <a:lnTo>
                  <a:pt x="2098" y="921"/>
                </a:lnTo>
                <a:lnTo>
                  <a:pt x="2101" y="922"/>
                </a:lnTo>
                <a:lnTo>
                  <a:pt x="2103" y="922"/>
                </a:lnTo>
                <a:lnTo>
                  <a:pt x="2106" y="923"/>
                </a:lnTo>
                <a:lnTo>
                  <a:pt x="2108" y="924"/>
                </a:lnTo>
                <a:lnTo>
                  <a:pt x="2110" y="926"/>
                </a:lnTo>
                <a:lnTo>
                  <a:pt x="2112" y="928"/>
                </a:lnTo>
                <a:lnTo>
                  <a:pt x="2113" y="931"/>
                </a:lnTo>
                <a:lnTo>
                  <a:pt x="2114" y="934"/>
                </a:lnTo>
                <a:lnTo>
                  <a:pt x="2114" y="937"/>
                </a:lnTo>
                <a:lnTo>
                  <a:pt x="2114" y="940"/>
                </a:lnTo>
                <a:lnTo>
                  <a:pt x="2113" y="943"/>
                </a:lnTo>
                <a:lnTo>
                  <a:pt x="2112" y="946"/>
                </a:lnTo>
                <a:lnTo>
                  <a:pt x="2110" y="948"/>
                </a:lnTo>
                <a:lnTo>
                  <a:pt x="2107" y="951"/>
                </a:lnTo>
                <a:lnTo>
                  <a:pt x="2104" y="952"/>
                </a:lnTo>
                <a:lnTo>
                  <a:pt x="2102" y="952"/>
                </a:lnTo>
                <a:lnTo>
                  <a:pt x="2099" y="953"/>
                </a:lnTo>
                <a:lnTo>
                  <a:pt x="2097" y="953"/>
                </a:lnTo>
                <a:lnTo>
                  <a:pt x="2094" y="952"/>
                </a:lnTo>
                <a:lnTo>
                  <a:pt x="2092" y="951"/>
                </a:lnTo>
                <a:lnTo>
                  <a:pt x="2090" y="950"/>
                </a:lnTo>
                <a:lnTo>
                  <a:pt x="2088" y="948"/>
                </a:lnTo>
                <a:lnTo>
                  <a:pt x="2086" y="946"/>
                </a:lnTo>
                <a:lnTo>
                  <a:pt x="2084" y="943"/>
                </a:lnTo>
                <a:lnTo>
                  <a:pt x="2083" y="940"/>
                </a:lnTo>
                <a:lnTo>
                  <a:pt x="2083" y="937"/>
                </a:lnTo>
                <a:lnTo>
                  <a:pt x="2083" y="934"/>
                </a:lnTo>
                <a:lnTo>
                  <a:pt x="2084" y="931"/>
                </a:lnTo>
                <a:lnTo>
                  <a:pt x="2086" y="928"/>
                </a:lnTo>
                <a:lnTo>
                  <a:pt x="2088" y="926"/>
                </a:lnTo>
                <a:lnTo>
                  <a:pt x="2091" y="923"/>
                </a:lnTo>
                <a:close/>
                <a:moveTo>
                  <a:pt x="2209" y="843"/>
                </a:moveTo>
                <a:lnTo>
                  <a:pt x="2212" y="841"/>
                </a:lnTo>
                <a:lnTo>
                  <a:pt x="2215" y="841"/>
                </a:lnTo>
                <a:lnTo>
                  <a:pt x="2218" y="841"/>
                </a:lnTo>
                <a:lnTo>
                  <a:pt x="2222" y="841"/>
                </a:lnTo>
                <a:lnTo>
                  <a:pt x="2224" y="843"/>
                </a:lnTo>
                <a:lnTo>
                  <a:pt x="2227" y="844"/>
                </a:lnTo>
                <a:lnTo>
                  <a:pt x="2229" y="847"/>
                </a:lnTo>
                <a:lnTo>
                  <a:pt x="2231" y="849"/>
                </a:lnTo>
                <a:lnTo>
                  <a:pt x="2232" y="852"/>
                </a:lnTo>
                <a:lnTo>
                  <a:pt x="2232" y="855"/>
                </a:lnTo>
                <a:lnTo>
                  <a:pt x="2232" y="858"/>
                </a:lnTo>
                <a:lnTo>
                  <a:pt x="2231" y="861"/>
                </a:lnTo>
                <a:lnTo>
                  <a:pt x="2230" y="864"/>
                </a:lnTo>
                <a:lnTo>
                  <a:pt x="2229" y="866"/>
                </a:lnTo>
                <a:lnTo>
                  <a:pt x="2227" y="868"/>
                </a:lnTo>
                <a:lnTo>
                  <a:pt x="2224" y="870"/>
                </a:lnTo>
                <a:lnTo>
                  <a:pt x="2221" y="871"/>
                </a:lnTo>
                <a:lnTo>
                  <a:pt x="2218" y="872"/>
                </a:lnTo>
                <a:lnTo>
                  <a:pt x="2215" y="872"/>
                </a:lnTo>
                <a:lnTo>
                  <a:pt x="2211" y="871"/>
                </a:lnTo>
                <a:lnTo>
                  <a:pt x="2209" y="870"/>
                </a:lnTo>
                <a:lnTo>
                  <a:pt x="2206" y="868"/>
                </a:lnTo>
                <a:lnTo>
                  <a:pt x="2204" y="866"/>
                </a:lnTo>
                <a:lnTo>
                  <a:pt x="2202" y="863"/>
                </a:lnTo>
                <a:lnTo>
                  <a:pt x="2201" y="860"/>
                </a:lnTo>
                <a:lnTo>
                  <a:pt x="2201" y="857"/>
                </a:lnTo>
                <a:lnTo>
                  <a:pt x="2201" y="854"/>
                </a:lnTo>
                <a:lnTo>
                  <a:pt x="2202" y="852"/>
                </a:lnTo>
                <a:lnTo>
                  <a:pt x="2203" y="849"/>
                </a:lnTo>
                <a:lnTo>
                  <a:pt x="2204" y="847"/>
                </a:lnTo>
                <a:lnTo>
                  <a:pt x="2206" y="844"/>
                </a:lnTo>
                <a:lnTo>
                  <a:pt x="2209" y="843"/>
                </a:lnTo>
                <a:close/>
                <a:moveTo>
                  <a:pt x="4748" y="1857"/>
                </a:moveTo>
                <a:lnTo>
                  <a:pt x="4751" y="1855"/>
                </a:lnTo>
                <a:lnTo>
                  <a:pt x="4755" y="1855"/>
                </a:lnTo>
                <a:lnTo>
                  <a:pt x="4758" y="1855"/>
                </a:lnTo>
                <a:lnTo>
                  <a:pt x="4762" y="1856"/>
                </a:lnTo>
                <a:lnTo>
                  <a:pt x="4764" y="1857"/>
                </a:lnTo>
                <a:lnTo>
                  <a:pt x="4767" y="1859"/>
                </a:lnTo>
                <a:lnTo>
                  <a:pt x="4769" y="1861"/>
                </a:lnTo>
                <a:lnTo>
                  <a:pt x="4770" y="1864"/>
                </a:lnTo>
                <a:lnTo>
                  <a:pt x="4771" y="1867"/>
                </a:lnTo>
                <a:lnTo>
                  <a:pt x="4772" y="1870"/>
                </a:lnTo>
                <a:lnTo>
                  <a:pt x="4771" y="1873"/>
                </a:lnTo>
                <a:lnTo>
                  <a:pt x="4770" y="1876"/>
                </a:lnTo>
                <a:lnTo>
                  <a:pt x="4769" y="1878"/>
                </a:lnTo>
                <a:lnTo>
                  <a:pt x="4768" y="1880"/>
                </a:lnTo>
                <a:lnTo>
                  <a:pt x="4766" y="1882"/>
                </a:lnTo>
                <a:lnTo>
                  <a:pt x="4764" y="1884"/>
                </a:lnTo>
                <a:lnTo>
                  <a:pt x="4761" y="1885"/>
                </a:lnTo>
                <a:lnTo>
                  <a:pt x="4757" y="1886"/>
                </a:lnTo>
                <a:lnTo>
                  <a:pt x="4754" y="1886"/>
                </a:lnTo>
                <a:lnTo>
                  <a:pt x="4750" y="1885"/>
                </a:lnTo>
                <a:lnTo>
                  <a:pt x="4749" y="1884"/>
                </a:lnTo>
                <a:lnTo>
                  <a:pt x="4747" y="1883"/>
                </a:lnTo>
                <a:lnTo>
                  <a:pt x="4745" y="1881"/>
                </a:lnTo>
                <a:lnTo>
                  <a:pt x="4743" y="1879"/>
                </a:lnTo>
                <a:lnTo>
                  <a:pt x="4742" y="1876"/>
                </a:lnTo>
                <a:lnTo>
                  <a:pt x="4741" y="1874"/>
                </a:lnTo>
                <a:lnTo>
                  <a:pt x="4740" y="1871"/>
                </a:lnTo>
                <a:lnTo>
                  <a:pt x="4741" y="1868"/>
                </a:lnTo>
                <a:lnTo>
                  <a:pt x="4742" y="1865"/>
                </a:lnTo>
                <a:lnTo>
                  <a:pt x="4743" y="1862"/>
                </a:lnTo>
                <a:lnTo>
                  <a:pt x="4744" y="1860"/>
                </a:lnTo>
                <a:lnTo>
                  <a:pt x="4746" y="1858"/>
                </a:lnTo>
                <a:lnTo>
                  <a:pt x="4748" y="1857"/>
                </a:lnTo>
                <a:close/>
                <a:moveTo>
                  <a:pt x="4616" y="1800"/>
                </a:moveTo>
                <a:lnTo>
                  <a:pt x="4619" y="1798"/>
                </a:lnTo>
                <a:lnTo>
                  <a:pt x="4623" y="1798"/>
                </a:lnTo>
                <a:lnTo>
                  <a:pt x="4627" y="1798"/>
                </a:lnTo>
                <a:lnTo>
                  <a:pt x="4630" y="1799"/>
                </a:lnTo>
                <a:lnTo>
                  <a:pt x="4633" y="1801"/>
                </a:lnTo>
                <a:lnTo>
                  <a:pt x="4635" y="1803"/>
                </a:lnTo>
                <a:lnTo>
                  <a:pt x="4637" y="1805"/>
                </a:lnTo>
                <a:lnTo>
                  <a:pt x="4638" y="1808"/>
                </a:lnTo>
                <a:lnTo>
                  <a:pt x="4639" y="1811"/>
                </a:lnTo>
                <a:lnTo>
                  <a:pt x="4639" y="1814"/>
                </a:lnTo>
                <a:lnTo>
                  <a:pt x="4639" y="1817"/>
                </a:lnTo>
                <a:lnTo>
                  <a:pt x="4638" y="1820"/>
                </a:lnTo>
                <a:lnTo>
                  <a:pt x="4636" y="1822"/>
                </a:lnTo>
                <a:lnTo>
                  <a:pt x="4635" y="1824"/>
                </a:lnTo>
                <a:lnTo>
                  <a:pt x="4633" y="1826"/>
                </a:lnTo>
                <a:lnTo>
                  <a:pt x="4631" y="1827"/>
                </a:lnTo>
                <a:lnTo>
                  <a:pt x="4628" y="1828"/>
                </a:lnTo>
                <a:lnTo>
                  <a:pt x="4624" y="1829"/>
                </a:lnTo>
                <a:lnTo>
                  <a:pt x="4621" y="1829"/>
                </a:lnTo>
                <a:lnTo>
                  <a:pt x="4617" y="1827"/>
                </a:lnTo>
                <a:lnTo>
                  <a:pt x="4614" y="1826"/>
                </a:lnTo>
                <a:lnTo>
                  <a:pt x="4612" y="1824"/>
                </a:lnTo>
                <a:lnTo>
                  <a:pt x="4610" y="1821"/>
                </a:lnTo>
                <a:lnTo>
                  <a:pt x="4609" y="1819"/>
                </a:lnTo>
                <a:lnTo>
                  <a:pt x="4608" y="1816"/>
                </a:lnTo>
                <a:lnTo>
                  <a:pt x="4608" y="1813"/>
                </a:lnTo>
                <a:lnTo>
                  <a:pt x="4608" y="1810"/>
                </a:lnTo>
                <a:lnTo>
                  <a:pt x="4609" y="1807"/>
                </a:lnTo>
                <a:lnTo>
                  <a:pt x="4611" y="1805"/>
                </a:lnTo>
                <a:lnTo>
                  <a:pt x="4612" y="1803"/>
                </a:lnTo>
                <a:lnTo>
                  <a:pt x="4614" y="1801"/>
                </a:lnTo>
                <a:lnTo>
                  <a:pt x="4616" y="1800"/>
                </a:lnTo>
                <a:close/>
                <a:moveTo>
                  <a:pt x="4488" y="1732"/>
                </a:moveTo>
                <a:lnTo>
                  <a:pt x="4492" y="1731"/>
                </a:lnTo>
                <a:lnTo>
                  <a:pt x="4496" y="1730"/>
                </a:lnTo>
                <a:lnTo>
                  <a:pt x="4500" y="1730"/>
                </a:lnTo>
                <a:lnTo>
                  <a:pt x="4504" y="1732"/>
                </a:lnTo>
                <a:lnTo>
                  <a:pt x="4506" y="1734"/>
                </a:lnTo>
                <a:lnTo>
                  <a:pt x="4508" y="1736"/>
                </a:lnTo>
                <a:lnTo>
                  <a:pt x="4510" y="1739"/>
                </a:lnTo>
                <a:lnTo>
                  <a:pt x="4511" y="1741"/>
                </a:lnTo>
                <a:lnTo>
                  <a:pt x="4511" y="1744"/>
                </a:lnTo>
                <a:lnTo>
                  <a:pt x="4511" y="1747"/>
                </a:lnTo>
                <a:lnTo>
                  <a:pt x="4511" y="1750"/>
                </a:lnTo>
                <a:lnTo>
                  <a:pt x="4509" y="1753"/>
                </a:lnTo>
                <a:lnTo>
                  <a:pt x="4507" y="1757"/>
                </a:lnTo>
                <a:lnTo>
                  <a:pt x="4504" y="1759"/>
                </a:lnTo>
                <a:lnTo>
                  <a:pt x="4500" y="1760"/>
                </a:lnTo>
                <a:lnTo>
                  <a:pt x="4496" y="1761"/>
                </a:lnTo>
                <a:lnTo>
                  <a:pt x="4492" y="1761"/>
                </a:lnTo>
                <a:lnTo>
                  <a:pt x="4488" y="1759"/>
                </a:lnTo>
                <a:lnTo>
                  <a:pt x="4486" y="1757"/>
                </a:lnTo>
                <a:lnTo>
                  <a:pt x="4484" y="1755"/>
                </a:lnTo>
                <a:lnTo>
                  <a:pt x="4482" y="1752"/>
                </a:lnTo>
                <a:lnTo>
                  <a:pt x="4481" y="1750"/>
                </a:lnTo>
                <a:lnTo>
                  <a:pt x="4480" y="1747"/>
                </a:lnTo>
                <a:lnTo>
                  <a:pt x="4481" y="1744"/>
                </a:lnTo>
                <a:lnTo>
                  <a:pt x="4481" y="1741"/>
                </a:lnTo>
                <a:lnTo>
                  <a:pt x="4482" y="1738"/>
                </a:lnTo>
                <a:lnTo>
                  <a:pt x="4485" y="1735"/>
                </a:lnTo>
                <a:lnTo>
                  <a:pt x="4488" y="1732"/>
                </a:lnTo>
                <a:close/>
                <a:moveTo>
                  <a:pt x="4363" y="1661"/>
                </a:moveTo>
                <a:lnTo>
                  <a:pt x="4367" y="1660"/>
                </a:lnTo>
                <a:lnTo>
                  <a:pt x="4370" y="1659"/>
                </a:lnTo>
                <a:lnTo>
                  <a:pt x="4374" y="1659"/>
                </a:lnTo>
                <a:lnTo>
                  <a:pt x="4378" y="1661"/>
                </a:lnTo>
                <a:lnTo>
                  <a:pt x="4381" y="1663"/>
                </a:lnTo>
                <a:lnTo>
                  <a:pt x="4383" y="1665"/>
                </a:lnTo>
                <a:lnTo>
                  <a:pt x="4385" y="1668"/>
                </a:lnTo>
                <a:lnTo>
                  <a:pt x="4386" y="1670"/>
                </a:lnTo>
                <a:lnTo>
                  <a:pt x="4386" y="1673"/>
                </a:lnTo>
                <a:lnTo>
                  <a:pt x="4386" y="1676"/>
                </a:lnTo>
                <a:lnTo>
                  <a:pt x="4385" y="1679"/>
                </a:lnTo>
                <a:lnTo>
                  <a:pt x="4384" y="1682"/>
                </a:lnTo>
                <a:lnTo>
                  <a:pt x="4383" y="1684"/>
                </a:lnTo>
                <a:lnTo>
                  <a:pt x="4382" y="1685"/>
                </a:lnTo>
                <a:lnTo>
                  <a:pt x="4378" y="1688"/>
                </a:lnTo>
                <a:lnTo>
                  <a:pt x="4375" y="1689"/>
                </a:lnTo>
                <a:lnTo>
                  <a:pt x="4371" y="1690"/>
                </a:lnTo>
                <a:lnTo>
                  <a:pt x="4367" y="1690"/>
                </a:lnTo>
                <a:lnTo>
                  <a:pt x="4363" y="1688"/>
                </a:lnTo>
                <a:lnTo>
                  <a:pt x="4360" y="1686"/>
                </a:lnTo>
                <a:lnTo>
                  <a:pt x="4358" y="1684"/>
                </a:lnTo>
                <a:lnTo>
                  <a:pt x="4357" y="1681"/>
                </a:lnTo>
                <a:lnTo>
                  <a:pt x="4356" y="1679"/>
                </a:lnTo>
                <a:lnTo>
                  <a:pt x="4355" y="1676"/>
                </a:lnTo>
                <a:lnTo>
                  <a:pt x="4355" y="1673"/>
                </a:lnTo>
                <a:lnTo>
                  <a:pt x="4356" y="1670"/>
                </a:lnTo>
                <a:lnTo>
                  <a:pt x="4357" y="1667"/>
                </a:lnTo>
                <a:lnTo>
                  <a:pt x="4358" y="1665"/>
                </a:lnTo>
                <a:lnTo>
                  <a:pt x="4360" y="1664"/>
                </a:lnTo>
                <a:lnTo>
                  <a:pt x="4363" y="1661"/>
                </a:lnTo>
                <a:close/>
                <a:moveTo>
                  <a:pt x="4237" y="1591"/>
                </a:moveTo>
                <a:lnTo>
                  <a:pt x="4241" y="1589"/>
                </a:lnTo>
                <a:lnTo>
                  <a:pt x="4245" y="1589"/>
                </a:lnTo>
                <a:lnTo>
                  <a:pt x="4247" y="1589"/>
                </a:lnTo>
                <a:lnTo>
                  <a:pt x="4249" y="1589"/>
                </a:lnTo>
                <a:lnTo>
                  <a:pt x="4252" y="1591"/>
                </a:lnTo>
                <a:lnTo>
                  <a:pt x="4255" y="1593"/>
                </a:lnTo>
                <a:lnTo>
                  <a:pt x="4257" y="1595"/>
                </a:lnTo>
                <a:lnTo>
                  <a:pt x="4259" y="1597"/>
                </a:lnTo>
                <a:lnTo>
                  <a:pt x="4260" y="1600"/>
                </a:lnTo>
                <a:lnTo>
                  <a:pt x="4260" y="1603"/>
                </a:lnTo>
                <a:lnTo>
                  <a:pt x="4260" y="1606"/>
                </a:lnTo>
                <a:lnTo>
                  <a:pt x="4260" y="1609"/>
                </a:lnTo>
                <a:lnTo>
                  <a:pt x="4258" y="1612"/>
                </a:lnTo>
                <a:lnTo>
                  <a:pt x="4256" y="1615"/>
                </a:lnTo>
                <a:lnTo>
                  <a:pt x="4253" y="1618"/>
                </a:lnTo>
                <a:lnTo>
                  <a:pt x="4249" y="1619"/>
                </a:lnTo>
                <a:lnTo>
                  <a:pt x="4245" y="1620"/>
                </a:lnTo>
                <a:lnTo>
                  <a:pt x="4243" y="1620"/>
                </a:lnTo>
                <a:lnTo>
                  <a:pt x="4241" y="1620"/>
                </a:lnTo>
                <a:lnTo>
                  <a:pt x="4237" y="1618"/>
                </a:lnTo>
                <a:lnTo>
                  <a:pt x="4235" y="1616"/>
                </a:lnTo>
                <a:lnTo>
                  <a:pt x="4233" y="1614"/>
                </a:lnTo>
                <a:lnTo>
                  <a:pt x="4231" y="1612"/>
                </a:lnTo>
                <a:lnTo>
                  <a:pt x="4230" y="1609"/>
                </a:lnTo>
                <a:lnTo>
                  <a:pt x="4229" y="1606"/>
                </a:lnTo>
                <a:lnTo>
                  <a:pt x="4229" y="1603"/>
                </a:lnTo>
                <a:lnTo>
                  <a:pt x="4230" y="1600"/>
                </a:lnTo>
                <a:lnTo>
                  <a:pt x="4231" y="1597"/>
                </a:lnTo>
                <a:lnTo>
                  <a:pt x="4234" y="1594"/>
                </a:lnTo>
                <a:lnTo>
                  <a:pt x="4237" y="1591"/>
                </a:lnTo>
                <a:close/>
                <a:moveTo>
                  <a:pt x="4111" y="1522"/>
                </a:moveTo>
                <a:lnTo>
                  <a:pt x="4112" y="1521"/>
                </a:lnTo>
                <a:lnTo>
                  <a:pt x="4114" y="1521"/>
                </a:lnTo>
                <a:lnTo>
                  <a:pt x="4118" y="1520"/>
                </a:lnTo>
                <a:lnTo>
                  <a:pt x="4120" y="1520"/>
                </a:lnTo>
                <a:lnTo>
                  <a:pt x="4122" y="1521"/>
                </a:lnTo>
                <a:lnTo>
                  <a:pt x="4126" y="1522"/>
                </a:lnTo>
                <a:lnTo>
                  <a:pt x="4128" y="1524"/>
                </a:lnTo>
                <a:lnTo>
                  <a:pt x="4130" y="1526"/>
                </a:lnTo>
                <a:lnTo>
                  <a:pt x="4132" y="1528"/>
                </a:lnTo>
                <a:lnTo>
                  <a:pt x="4133" y="1531"/>
                </a:lnTo>
                <a:lnTo>
                  <a:pt x="4134" y="1534"/>
                </a:lnTo>
                <a:lnTo>
                  <a:pt x="4134" y="1537"/>
                </a:lnTo>
                <a:lnTo>
                  <a:pt x="4133" y="1540"/>
                </a:lnTo>
                <a:lnTo>
                  <a:pt x="4132" y="1543"/>
                </a:lnTo>
                <a:lnTo>
                  <a:pt x="4129" y="1547"/>
                </a:lnTo>
                <a:lnTo>
                  <a:pt x="4128" y="1548"/>
                </a:lnTo>
                <a:lnTo>
                  <a:pt x="4126" y="1549"/>
                </a:lnTo>
                <a:lnTo>
                  <a:pt x="4124" y="1550"/>
                </a:lnTo>
                <a:lnTo>
                  <a:pt x="4123" y="1551"/>
                </a:lnTo>
                <a:lnTo>
                  <a:pt x="4119" y="1551"/>
                </a:lnTo>
                <a:lnTo>
                  <a:pt x="4117" y="1551"/>
                </a:lnTo>
                <a:lnTo>
                  <a:pt x="4115" y="1551"/>
                </a:lnTo>
                <a:lnTo>
                  <a:pt x="4111" y="1549"/>
                </a:lnTo>
                <a:lnTo>
                  <a:pt x="4108" y="1548"/>
                </a:lnTo>
                <a:lnTo>
                  <a:pt x="4106" y="1545"/>
                </a:lnTo>
                <a:lnTo>
                  <a:pt x="4105" y="1543"/>
                </a:lnTo>
                <a:lnTo>
                  <a:pt x="4103" y="1540"/>
                </a:lnTo>
                <a:lnTo>
                  <a:pt x="4103" y="1537"/>
                </a:lnTo>
                <a:lnTo>
                  <a:pt x="4103" y="1534"/>
                </a:lnTo>
                <a:lnTo>
                  <a:pt x="4103" y="1531"/>
                </a:lnTo>
                <a:lnTo>
                  <a:pt x="4105" y="1528"/>
                </a:lnTo>
                <a:lnTo>
                  <a:pt x="4107" y="1525"/>
                </a:lnTo>
                <a:lnTo>
                  <a:pt x="4109" y="1523"/>
                </a:lnTo>
                <a:lnTo>
                  <a:pt x="4111" y="1522"/>
                </a:lnTo>
                <a:close/>
                <a:moveTo>
                  <a:pt x="3982" y="1455"/>
                </a:moveTo>
                <a:lnTo>
                  <a:pt x="3984" y="1454"/>
                </a:lnTo>
                <a:lnTo>
                  <a:pt x="3986" y="1454"/>
                </a:lnTo>
                <a:lnTo>
                  <a:pt x="3989" y="1453"/>
                </a:lnTo>
                <a:lnTo>
                  <a:pt x="3993" y="1454"/>
                </a:lnTo>
                <a:lnTo>
                  <a:pt x="3997" y="1455"/>
                </a:lnTo>
                <a:lnTo>
                  <a:pt x="4000" y="1457"/>
                </a:lnTo>
                <a:lnTo>
                  <a:pt x="4002" y="1459"/>
                </a:lnTo>
                <a:lnTo>
                  <a:pt x="4003" y="1461"/>
                </a:lnTo>
                <a:lnTo>
                  <a:pt x="4005" y="1464"/>
                </a:lnTo>
                <a:lnTo>
                  <a:pt x="4005" y="1470"/>
                </a:lnTo>
                <a:lnTo>
                  <a:pt x="4005" y="1473"/>
                </a:lnTo>
                <a:lnTo>
                  <a:pt x="4004" y="1476"/>
                </a:lnTo>
                <a:lnTo>
                  <a:pt x="4001" y="1480"/>
                </a:lnTo>
                <a:lnTo>
                  <a:pt x="3998" y="1482"/>
                </a:lnTo>
                <a:lnTo>
                  <a:pt x="3996" y="1483"/>
                </a:lnTo>
                <a:lnTo>
                  <a:pt x="3994" y="1484"/>
                </a:lnTo>
                <a:lnTo>
                  <a:pt x="3990" y="1484"/>
                </a:lnTo>
                <a:lnTo>
                  <a:pt x="3987" y="1484"/>
                </a:lnTo>
                <a:lnTo>
                  <a:pt x="3983" y="1483"/>
                </a:lnTo>
                <a:lnTo>
                  <a:pt x="3980" y="1481"/>
                </a:lnTo>
                <a:lnTo>
                  <a:pt x="3978" y="1479"/>
                </a:lnTo>
                <a:lnTo>
                  <a:pt x="3976" y="1476"/>
                </a:lnTo>
                <a:lnTo>
                  <a:pt x="3975" y="1474"/>
                </a:lnTo>
                <a:lnTo>
                  <a:pt x="3974" y="1468"/>
                </a:lnTo>
                <a:lnTo>
                  <a:pt x="3975" y="1465"/>
                </a:lnTo>
                <a:lnTo>
                  <a:pt x="3976" y="1462"/>
                </a:lnTo>
                <a:lnTo>
                  <a:pt x="3979" y="1458"/>
                </a:lnTo>
                <a:lnTo>
                  <a:pt x="3982" y="1455"/>
                </a:lnTo>
                <a:close/>
                <a:moveTo>
                  <a:pt x="3853" y="1391"/>
                </a:moveTo>
                <a:lnTo>
                  <a:pt x="3857" y="1389"/>
                </a:lnTo>
                <a:lnTo>
                  <a:pt x="3860" y="1389"/>
                </a:lnTo>
                <a:lnTo>
                  <a:pt x="3864" y="1389"/>
                </a:lnTo>
                <a:lnTo>
                  <a:pt x="3868" y="1390"/>
                </a:lnTo>
                <a:lnTo>
                  <a:pt x="3871" y="1392"/>
                </a:lnTo>
                <a:lnTo>
                  <a:pt x="3873" y="1394"/>
                </a:lnTo>
                <a:lnTo>
                  <a:pt x="3875" y="1397"/>
                </a:lnTo>
                <a:lnTo>
                  <a:pt x="3876" y="1399"/>
                </a:lnTo>
                <a:lnTo>
                  <a:pt x="3876" y="1402"/>
                </a:lnTo>
                <a:lnTo>
                  <a:pt x="3877" y="1405"/>
                </a:lnTo>
                <a:lnTo>
                  <a:pt x="3876" y="1408"/>
                </a:lnTo>
                <a:lnTo>
                  <a:pt x="3875" y="1411"/>
                </a:lnTo>
                <a:lnTo>
                  <a:pt x="3874" y="1413"/>
                </a:lnTo>
                <a:lnTo>
                  <a:pt x="3872" y="1415"/>
                </a:lnTo>
                <a:lnTo>
                  <a:pt x="3869" y="1418"/>
                </a:lnTo>
                <a:lnTo>
                  <a:pt x="3865" y="1419"/>
                </a:lnTo>
                <a:lnTo>
                  <a:pt x="3862" y="1420"/>
                </a:lnTo>
                <a:lnTo>
                  <a:pt x="3858" y="1420"/>
                </a:lnTo>
                <a:lnTo>
                  <a:pt x="3854" y="1418"/>
                </a:lnTo>
                <a:lnTo>
                  <a:pt x="3852" y="1417"/>
                </a:lnTo>
                <a:lnTo>
                  <a:pt x="3849" y="1415"/>
                </a:lnTo>
                <a:lnTo>
                  <a:pt x="3848" y="1412"/>
                </a:lnTo>
                <a:lnTo>
                  <a:pt x="3846" y="1409"/>
                </a:lnTo>
                <a:lnTo>
                  <a:pt x="3846" y="1407"/>
                </a:lnTo>
                <a:lnTo>
                  <a:pt x="3846" y="1404"/>
                </a:lnTo>
                <a:lnTo>
                  <a:pt x="3846" y="1400"/>
                </a:lnTo>
                <a:lnTo>
                  <a:pt x="3847" y="1398"/>
                </a:lnTo>
                <a:lnTo>
                  <a:pt x="3848" y="1395"/>
                </a:lnTo>
                <a:lnTo>
                  <a:pt x="3850" y="1394"/>
                </a:lnTo>
                <a:lnTo>
                  <a:pt x="3853" y="1391"/>
                </a:lnTo>
                <a:close/>
                <a:moveTo>
                  <a:pt x="3723" y="1330"/>
                </a:moveTo>
                <a:lnTo>
                  <a:pt x="3726" y="1328"/>
                </a:lnTo>
                <a:lnTo>
                  <a:pt x="3730" y="1328"/>
                </a:lnTo>
                <a:lnTo>
                  <a:pt x="3734" y="1328"/>
                </a:lnTo>
                <a:lnTo>
                  <a:pt x="3735" y="1328"/>
                </a:lnTo>
                <a:lnTo>
                  <a:pt x="3737" y="1329"/>
                </a:lnTo>
                <a:lnTo>
                  <a:pt x="3740" y="1331"/>
                </a:lnTo>
                <a:lnTo>
                  <a:pt x="3742" y="1333"/>
                </a:lnTo>
                <a:lnTo>
                  <a:pt x="3744" y="1335"/>
                </a:lnTo>
                <a:lnTo>
                  <a:pt x="3745" y="1338"/>
                </a:lnTo>
                <a:lnTo>
                  <a:pt x="3746" y="1341"/>
                </a:lnTo>
                <a:lnTo>
                  <a:pt x="3746" y="1344"/>
                </a:lnTo>
                <a:lnTo>
                  <a:pt x="3746" y="1347"/>
                </a:lnTo>
                <a:lnTo>
                  <a:pt x="3745" y="1350"/>
                </a:lnTo>
                <a:lnTo>
                  <a:pt x="3744" y="1352"/>
                </a:lnTo>
                <a:lnTo>
                  <a:pt x="3742" y="1354"/>
                </a:lnTo>
                <a:lnTo>
                  <a:pt x="3741" y="1355"/>
                </a:lnTo>
                <a:lnTo>
                  <a:pt x="3739" y="1357"/>
                </a:lnTo>
                <a:lnTo>
                  <a:pt x="3735" y="1358"/>
                </a:lnTo>
                <a:lnTo>
                  <a:pt x="3732" y="1359"/>
                </a:lnTo>
                <a:lnTo>
                  <a:pt x="3728" y="1358"/>
                </a:lnTo>
                <a:lnTo>
                  <a:pt x="3726" y="1358"/>
                </a:lnTo>
                <a:lnTo>
                  <a:pt x="3724" y="1357"/>
                </a:lnTo>
                <a:lnTo>
                  <a:pt x="3722" y="1356"/>
                </a:lnTo>
                <a:lnTo>
                  <a:pt x="3719" y="1354"/>
                </a:lnTo>
                <a:lnTo>
                  <a:pt x="3718" y="1351"/>
                </a:lnTo>
                <a:lnTo>
                  <a:pt x="3716" y="1349"/>
                </a:lnTo>
                <a:lnTo>
                  <a:pt x="3715" y="1346"/>
                </a:lnTo>
                <a:lnTo>
                  <a:pt x="3715" y="1343"/>
                </a:lnTo>
                <a:lnTo>
                  <a:pt x="3716" y="1340"/>
                </a:lnTo>
                <a:lnTo>
                  <a:pt x="3717" y="1337"/>
                </a:lnTo>
                <a:lnTo>
                  <a:pt x="3718" y="1335"/>
                </a:lnTo>
                <a:lnTo>
                  <a:pt x="3719" y="1333"/>
                </a:lnTo>
                <a:lnTo>
                  <a:pt x="3721" y="1331"/>
                </a:lnTo>
                <a:lnTo>
                  <a:pt x="3723" y="1330"/>
                </a:lnTo>
                <a:close/>
                <a:moveTo>
                  <a:pt x="1967" y="2343"/>
                </a:moveTo>
                <a:lnTo>
                  <a:pt x="1969" y="2342"/>
                </a:lnTo>
                <a:lnTo>
                  <a:pt x="1972" y="2341"/>
                </a:lnTo>
                <a:lnTo>
                  <a:pt x="1977" y="2341"/>
                </a:lnTo>
                <a:lnTo>
                  <a:pt x="1979" y="2342"/>
                </a:lnTo>
                <a:lnTo>
                  <a:pt x="1982" y="2343"/>
                </a:lnTo>
                <a:lnTo>
                  <a:pt x="1984" y="2344"/>
                </a:lnTo>
                <a:lnTo>
                  <a:pt x="1986" y="2346"/>
                </a:lnTo>
                <a:lnTo>
                  <a:pt x="1988" y="2348"/>
                </a:lnTo>
                <a:lnTo>
                  <a:pt x="1989" y="2351"/>
                </a:lnTo>
                <a:lnTo>
                  <a:pt x="1990" y="2354"/>
                </a:lnTo>
                <a:lnTo>
                  <a:pt x="1990" y="2357"/>
                </a:lnTo>
                <a:lnTo>
                  <a:pt x="1990" y="2360"/>
                </a:lnTo>
                <a:lnTo>
                  <a:pt x="1989" y="2363"/>
                </a:lnTo>
                <a:lnTo>
                  <a:pt x="1988" y="2365"/>
                </a:lnTo>
                <a:lnTo>
                  <a:pt x="1986" y="2368"/>
                </a:lnTo>
                <a:lnTo>
                  <a:pt x="1982" y="2370"/>
                </a:lnTo>
                <a:lnTo>
                  <a:pt x="1978" y="2372"/>
                </a:lnTo>
                <a:lnTo>
                  <a:pt x="1973" y="2372"/>
                </a:lnTo>
                <a:lnTo>
                  <a:pt x="1970" y="2371"/>
                </a:lnTo>
                <a:lnTo>
                  <a:pt x="1968" y="2370"/>
                </a:lnTo>
                <a:lnTo>
                  <a:pt x="1966" y="2369"/>
                </a:lnTo>
                <a:lnTo>
                  <a:pt x="1964" y="2367"/>
                </a:lnTo>
                <a:lnTo>
                  <a:pt x="1962" y="2365"/>
                </a:lnTo>
                <a:lnTo>
                  <a:pt x="1960" y="2362"/>
                </a:lnTo>
                <a:lnTo>
                  <a:pt x="1959" y="2359"/>
                </a:lnTo>
                <a:lnTo>
                  <a:pt x="1959" y="2356"/>
                </a:lnTo>
                <a:lnTo>
                  <a:pt x="1959" y="2353"/>
                </a:lnTo>
                <a:lnTo>
                  <a:pt x="1960" y="2350"/>
                </a:lnTo>
                <a:lnTo>
                  <a:pt x="1962" y="2348"/>
                </a:lnTo>
                <a:lnTo>
                  <a:pt x="1964" y="2345"/>
                </a:lnTo>
                <a:lnTo>
                  <a:pt x="1967" y="2343"/>
                </a:lnTo>
                <a:close/>
                <a:moveTo>
                  <a:pt x="2063" y="2236"/>
                </a:moveTo>
                <a:lnTo>
                  <a:pt x="2067" y="2234"/>
                </a:lnTo>
                <a:lnTo>
                  <a:pt x="2071" y="2234"/>
                </a:lnTo>
                <a:lnTo>
                  <a:pt x="2073" y="2234"/>
                </a:lnTo>
                <a:lnTo>
                  <a:pt x="2076" y="2235"/>
                </a:lnTo>
                <a:lnTo>
                  <a:pt x="2078" y="2236"/>
                </a:lnTo>
                <a:lnTo>
                  <a:pt x="2080" y="2237"/>
                </a:lnTo>
                <a:lnTo>
                  <a:pt x="2082" y="2239"/>
                </a:lnTo>
                <a:lnTo>
                  <a:pt x="2084" y="2242"/>
                </a:lnTo>
                <a:lnTo>
                  <a:pt x="2085" y="2245"/>
                </a:lnTo>
                <a:lnTo>
                  <a:pt x="2086" y="2248"/>
                </a:lnTo>
                <a:lnTo>
                  <a:pt x="2086" y="2251"/>
                </a:lnTo>
                <a:lnTo>
                  <a:pt x="2085" y="2254"/>
                </a:lnTo>
                <a:lnTo>
                  <a:pt x="2084" y="2256"/>
                </a:lnTo>
                <a:lnTo>
                  <a:pt x="2083" y="2259"/>
                </a:lnTo>
                <a:lnTo>
                  <a:pt x="2081" y="2261"/>
                </a:lnTo>
                <a:lnTo>
                  <a:pt x="2078" y="2263"/>
                </a:lnTo>
                <a:lnTo>
                  <a:pt x="2074" y="2265"/>
                </a:lnTo>
                <a:lnTo>
                  <a:pt x="2069" y="2265"/>
                </a:lnTo>
                <a:lnTo>
                  <a:pt x="2067" y="2265"/>
                </a:lnTo>
                <a:lnTo>
                  <a:pt x="2065" y="2264"/>
                </a:lnTo>
                <a:lnTo>
                  <a:pt x="2063" y="2263"/>
                </a:lnTo>
                <a:lnTo>
                  <a:pt x="2061" y="2262"/>
                </a:lnTo>
                <a:lnTo>
                  <a:pt x="2059" y="2260"/>
                </a:lnTo>
                <a:lnTo>
                  <a:pt x="2057" y="2257"/>
                </a:lnTo>
                <a:lnTo>
                  <a:pt x="2056" y="2255"/>
                </a:lnTo>
                <a:lnTo>
                  <a:pt x="2055" y="2252"/>
                </a:lnTo>
                <a:lnTo>
                  <a:pt x="2055" y="2249"/>
                </a:lnTo>
                <a:lnTo>
                  <a:pt x="2055" y="2246"/>
                </a:lnTo>
                <a:lnTo>
                  <a:pt x="2056" y="2243"/>
                </a:lnTo>
                <a:lnTo>
                  <a:pt x="2058" y="2240"/>
                </a:lnTo>
                <a:lnTo>
                  <a:pt x="2060" y="2238"/>
                </a:lnTo>
                <a:lnTo>
                  <a:pt x="2063" y="2236"/>
                </a:lnTo>
                <a:close/>
                <a:moveTo>
                  <a:pt x="2140" y="2115"/>
                </a:moveTo>
                <a:lnTo>
                  <a:pt x="2141" y="2114"/>
                </a:lnTo>
                <a:lnTo>
                  <a:pt x="2143" y="2114"/>
                </a:lnTo>
                <a:lnTo>
                  <a:pt x="2147" y="2113"/>
                </a:lnTo>
                <a:lnTo>
                  <a:pt x="2151" y="2113"/>
                </a:lnTo>
                <a:lnTo>
                  <a:pt x="2154" y="2115"/>
                </a:lnTo>
                <a:lnTo>
                  <a:pt x="2157" y="2116"/>
                </a:lnTo>
                <a:lnTo>
                  <a:pt x="2159" y="2119"/>
                </a:lnTo>
                <a:lnTo>
                  <a:pt x="2161" y="2121"/>
                </a:lnTo>
                <a:lnTo>
                  <a:pt x="2162" y="2124"/>
                </a:lnTo>
                <a:lnTo>
                  <a:pt x="2163" y="2130"/>
                </a:lnTo>
                <a:lnTo>
                  <a:pt x="2162" y="2133"/>
                </a:lnTo>
                <a:lnTo>
                  <a:pt x="2161" y="2136"/>
                </a:lnTo>
                <a:lnTo>
                  <a:pt x="2159" y="2139"/>
                </a:lnTo>
                <a:lnTo>
                  <a:pt x="2155" y="2142"/>
                </a:lnTo>
                <a:lnTo>
                  <a:pt x="2153" y="2143"/>
                </a:lnTo>
                <a:lnTo>
                  <a:pt x="2152" y="2143"/>
                </a:lnTo>
                <a:lnTo>
                  <a:pt x="2148" y="2144"/>
                </a:lnTo>
                <a:lnTo>
                  <a:pt x="2144" y="2144"/>
                </a:lnTo>
                <a:lnTo>
                  <a:pt x="2140" y="2142"/>
                </a:lnTo>
                <a:lnTo>
                  <a:pt x="2138" y="2141"/>
                </a:lnTo>
                <a:lnTo>
                  <a:pt x="2135" y="2139"/>
                </a:lnTo>
                <a:lnTo>
                  <a:pt x="2134" y="2136"/>
                </a:lnTo>
                <a:lnTo>
                  <a:pt x="2133" y="2133"/>
                </a:lnTo>
                <a:lnTo>
                  <a:pt x="2132" y="2127"/>
                </a:lnTo>
                <a:lnTo>
                  <a:pt x="2132" y="2124"/>
                </a:lnTo>
                <a:lnTo>
                  <a:pt x="2133" y="2121"/>
                </a:lnTo>
                <a:lnTo>
                  <a:pt x="2136" y="2118"/>
                </a:lnTo>
                <a:lnTo>
                  <a:pt x="2140" y="2115"/>
                </a:lnTo>
                <a:close/>
                <a:moveTo>
                  <a:pt x="3591" y="1273"/>
                </a:moveTo>
                <a:lnTo>
                  <a:pt x="3594" y="1271"/>
                </a:lnTo>
                <a:lnTo>
                  <a:pt x="3597" y="1271"/>
                </a:lnTo>
                <a:lnTo>
                  <a:pt x="3601" y="1271"/>
                </a:lnTo>
                <a:lnTo>
                  <a:pt x="3604" y="1272"/>
                </a:lnTo>
                <a:lnTo>
                  <a:pt x="3607" y="1273"/>
                </a:lnTo>
                <a:lnTo>
                  <a:pt x="3610" y="1275"/>
                </a:lnTo>
                <a:lnTo>
                  <a:pt x="3611" y="1278"/>
                </a:lnTo>
                <a:lnTo>
                  <a:pt x="3613" y="1280"/>
                </a:lnTo>
                <a:lnTo>
                  <a:pt x="3614" y="1283"/>
                </a:lnTo>
                <a:lnTo>
                  <a:pt x="3614" y="1286"/>
                </a:lnTo>
                <a:lnTo>
                  <a:pt x="3614" y="1289"/>
                </a:lnTo>
                <a:lnTo>
                  <a:pt x="3613" y="1292"/>
                </a:lnTo>
                <a:lnTo>
                  <a:pt x="3612" y="1294"/>
                </a:lnTo>
                <a:lnTo>
                  <a:pt x="3610" y="1297"/>
                </a:lnTo>
                <a:lnTo>
                  <a:pt x="3608" y="1298"/>
                </a:lnTo>
                <a:lnTo>
                  <a:pt x="3606" y="1300"/>
                </a:lnTo>
                <a:lnTo>
                  <a:pt x="3603" y="1301"/>
                </a:lnTo>
                <a:lnTo>
                  <a:pt x="3600" y="1302"/>
                </a:lnTo>
                <a:lnTo>
                  <a:pt x="3596" y="1302"/>
                </a:lnTo>
                <a:lnTo>
                  <a:pt x="3593" y="1301"/>
                </a:lnTo>
                <a:lnTo>
                  <a:pt x="3590" y="1299"/>
                </a:lnTo>
                <a:lnTo>
                  <a:pt x="3588" y="1297"/>
                </a:lnTo>
                <a:lnTo>
                  <a:pt x="3586" y="1295"/>
                </a:lnTo>
                <a:lnTo>
                  <a:pt x="3584" y="1292"/>
                </a:lnTo>
                <a:lnTo>
                  <a:pt x="3583" y="1289"/>
                </a:lnTo>
                <a:lnTo>
                  <a:pt x="3583" y="1286"/>
                </a:lnTo>
                <a:lnTo>
                  <a:pt x="3583" y="1283"/>
                </a:lnTo>
                <a:lnTo>
                  <a:pt x="3584" y="1280"/>
                </a:lnTo>
                <a:lnTo>
                  <a:pt x="3585" y="1278"/>
                </a:lnTo>
                <a:lnTo>
                  <a:pt x="3587" y="1276"/>
                </a:lnTo>
                <a:lnTo>
                  <a:pt x="3589" y="1274"/>
                </a:lnTo>
                <a:lnTo>
                  <a:pt x="3591" y="1273"/>
                </a:lnTo>
                <a:close/>
                <a:moveTo>
                  <a:pt x="2193" y="1982"/>
                </a:moveTo>
                <a:lnTo>
                  <a:pt x="2196" y="1981"/>
                </a:lnTo>
                <a:lnTo>
                  <a:pt x="2199" y="1980"/>
                </a:lnTo>
                <a:lnTo>
                  <a:pt x="2202" y="1980"/>
                </a:lnTo>
                <a:lnTo>
                  <a:pt x="2205" y="1981"/>
                </a:lnTo>
                <a:lnTo>
                  <a:pt x="2208" y="1982"/>
                </a:lnTo>
                <a:lnTo>
                  <a:pt x="2211" y="1983"/>
                </a:lnTo>
                <a:lnTo>
                  <a:pt x="2212" y="1984"/>
                </a:lnTo>
                <a:lnTo>
                  <a:pt x="2213" y="1986"/>
                </a:lnTo>
                <a:lnTo>
                  <a:pt x="2215" y="1988"/>
                </a:lnTo>
                <a:lnTo>
                  <a:pt x="2216" y="1991"/>
                </a:lnTo>
                <a:lnTo>
                  <a:pt x="2216" y="1994"/>
                </a:lnTo>
                <a:lnTo>
                  <a:pt x="2216" y="1997"/>
                </a:lnTo>
                <a:lnTo>
                  <a:pt x="2216" y="2000"/>
                </a:lnTo>
                <a:lnTo>
                  <a:pt x="2215" y="2003"/>
                </a:lnTo>
                <a:lnTo>
                  <a:pt x="2213" y="2005"/>
                </a:lnTo>
                <a:lnTo>
                  <a:pt x="2211" y="2007"/>
                </a:lnTo>
                <a:lnTo>
                  <a:pt x="2209" y="2009"/>
                </a:lnTo>
                <a:lnTo>
                  <a:pt x="2206" y="2010"/>
                </a:lnTo>
                <a:lnTo>
                  <a:pt x="2203" y="2011"/>
                </a:lnTo>
                <a:lnTo>
                  <a:pt x="2200" y="2011"/>
                </a:lnTo>
                <a:lnTo>
                  <a:pt x="2196" y="2010"/>
                </a:lnTo>
                <a:lnTo>
                  <a:pt x="2194" y="2009"/>
                </a:lnTo>
                <a:lnTo>
                  <a:pt x="2191" y="2007"/>
                </a:lnTo>
                <a:lnTo>
                  <a:pt x="2190" y="2006"/>
                </a:lnTo>
                <a:lnTo>
                  <a:pt x="2189" y="2005"/>
                </a:lnTo>
                <a:lnTo>
                  <a:pt x="2187" y="2003"/>
                </a:lnTo>
                <a:lnTo>
                  <a:pt x="2186" y="2000"/>
                </a:lnTo>
                <a:lnTo>
                  <a:pt x="2185" y="1997"/>
                </a:lnTo>
                <a:lnTo>
                  <a:pt x="2185" y="1994"/>
                </a:lnTo>
                <a:lnTo>
                  <a:pt x="2186" y="1991"/>
                </a:lnTo>
                <a:lnTo>
                  <a:pt x="2187" y="1988"/>
                </a:lnTo>
                <a:lnTo>
                  <a:pt x="2189" y="1986"/>
                </a:lnTo>
                <a:lnTo>
                  <a:pt x="2191" y="1984"/>
                </a:lnTo>
                <a:lnTo>
                  <a:pt x="2193" y="1982"/>
                </a:lnTo>
                <a:close/>
                <a:moveTo>
                  <a:pt x="3456" y="1222"/>
                </a:moveTo>
                <a:lnTo>
                  <a:pt x="3459" y="1220"/>
                </a:lnTo>
                <a:lnTo>
                  <a:pt x="3462" y="1220"/>
                </a:lnTo>
                <a:lnTo>
                  <a:pt x="3466" y="1220"/>
                </a:lnTo>
                <a:lnTo>
                  <a:pt x="3469" y="1220"/>
                </a:lnTo>
                <a:lnTo>
                  <a:pt x="3472" y="1222"/>
                </a:lnTo>
                <a:lnTo>
                  <a:pt x="3474" y="1224"/>
                </a:lnTo>
                <a:lnTo>
                  <a:pt x="3476" y="1226"/>
                </a:lnTo>
                <a:lnTo>
                  <a:pt x="3478" y="1228"/>
                </a:lnTo>
                <a:lnTo>
                  <a:pt x="3479" y="1231"/>
                </a:lnTo>
                <a:lnTo>
                  <a:pt x="3480" y="1234"/>
                </a:lnTo>
                <a:lnTo>
                  <a:pt x="3479" y="1240"/>
                </a:lnTo>
                <a:lnTo>
                  <a:pt x="3477" y="1243"/>
                </a:lnTo>
                <a:lnTo>
                  <a:pt x="3476" y="1245"/>
                </a:lnTo>
                <a:lnTo>
                  <a:pt x="3474" y="1247"/>
                </a:lnTo>
                <a:lnTo>
                  <a:pt x="3472" y="1248"/>
                </a:lnTo>
                <a:lnTo>
                  <a:pt x="3469" y="1250"/>
                </a:lnTo>
                <a:lnTo>
                  <a:pt x="3466" y="1250"/>
                </a:lnTo>
                <a:lnTo>
                  <a:pt x="3462" y="1250"/>
                </a:lnTo>
                <a:lnTo>
                  <a:pt x="3459" y="1250"/>
                </a:lnTo>
                <a:lnTo>
                  <a:pt x="3456" y="1248"/>
                </a:lnTo>
                <a:lnTo>
                  <a:pt x="3454" y="1247"/>
                </a:lnTo>
                <a:lnTo>
                  <a:pt x="3452" y="1244"/>
                </a:lnTo>
                <a:lnTo>
                  <a:pt x="3450" y="1242"/>
                </a:lnTo>
                <a:lnTo>
                  <a:pt x="3449" y="1239"/>
                </a:lnTo>
                <a:lnTo>
                  <a:pt x="3448" y="1236"/>
                </a:lnTo>
                <a:lnTo>
                  <a:pt x="3449" y="1230"/>
                </a:lnTo>
                <a:lnTo>
                  <a:pt x="3451" y="1227"/>
                </a:lnTo>
                <a:lnTo>
                  <a:pt x="3452" y="1225"/>
                </a:lnTo>
                <a:lnTo>
                  <a:pt x="3454" y="1223"/>
                </a:lnTo>
                <a:lnTo>
                  <a:pt x="3456" y="1222"/>
                </a:lnTo>
                <a:close/>
                <a:moveTo>
                  <a:pt x="2223" y="1841"/>
                </a:moveTo>
                <a:lnTo>
                  <a:pt x="2226" y="1840"/>
                </a:lnTo>
                <a:lnTo>
                  <a:pt x="2228" y="1840"/>
                </a:lnTo>
                <a:lnTo>
                  <a:pt x="2231" y="1839"/>
                </a:lnTo>
                <a:lnTo>
                  <a:pt x="2233" y="1840"/>
                </a:lnTo>
                <a:lnTo>
                  <a:pt x="2236" y="1840"/>
                </a:lnTo>
                <a:lnTo>
                  <a:pt x="2239" y="1842"/>
                </a:lnTo>
                <a:lnTo>
                  <a:pt x="2242" y="1843"/>
                </a:lnTo>
                <a:lnTo>
                  <a:pt x="2244" y="1846"/>
                </a:lnTo>
                <a:lnTo>
                  <a:pt x="2245" y="1848"/>
                </a:lnTo>
                <a:lnTo>
                  <a:pt x="2246" y="1851"/>
                </a:lnTo>
                <a:lnTo>
                  <a:pt x="2247" y="1854"/>
                </a:lnTo>
                <a:lnTo>
                  <a:pt x="2247" y="1857"/>
                </a:lnTo>
                <a:lnTo>
                  <a:pt x="2246" y="1861"/>
                </a:lnTo>
                <a:lnTo>
                  <a:pt x="2244" y="1864"/>
                </a:lnTo>
                <a:lnTo>
                  <a:pt x="2242" y="1866"/>
                </a:lnTo>
                <a:lnTo>
                  <a:pt x="2239" y="1868"/>
                </a:lnTo>
                <a:lnTo>
                  <a:pt x="2237" y="1869"/>
                </a:lnTo>
                <a:lnTo>
                  <a:pt x="2234" y="1870"/>
                </a:lnTo>
                <a:lnTo>
                  <a:pt x="2232" y="1870"/>
                </a:lnTo>
                <a:lnTo>
                  <a:pt x="2229" y="1870"/>
                </a:lnTo>
                <a:lnTo>
                  <a:pt x="2226" y="1870"/>
                </a:lnTo>
                <a:lnTo>
                  <a:pt x="2223" y="1868"/>
                </a:lnTo>
                <a:lnTo>
                  <a:pt x="2221" y="1866"/>
                </a:lnTo>
                <a:lnTo>
                  <a:pt x="2219" y="1864"/>
                </a:lnTo>
                <a:lnTo>
                  <a:pt x="2217" y="1862"/>
                </a:lnTo>
                <a:lnTo>
                  <a:pt x="2216" y="1859"/>
                </a:lnTo>
                <a:lnTo>
                  <a:pt x="2216" y="1856"/>
                </a:lnTo>
                <a:lnTo>
                  <a:pt x="2216" y="1853"/>
                </a:lnTo>
                <a:lnTo>
                  <a:pt x="2217" y="1849"/>
                </a:lnTo>
                <a:lnTo>
                  <a:pt x="2218" y="1846"/>
                </a:lnTo>
                <a:lnTo>
                  <a:pt x="2221" y="1844"/>
                </a:lnTo>
                <a:lnTo>
                  <a:pt x="2223" y="1841"/>
                </a:lnTo>
                <a:close/>
                <a:moveTo>
                  <a:pt x="3319" y="1178"/>
                </a:moveTo>
                <a:lnTo>
                  <a:pt x="3322" y="1177"/>
                </a:lnTo>
                <a:lnTo>
                  <a:pt x="3325" y="1176"/>
                </a:lnTo>
                <a:lnTo>
                  <a:pt x="3328" y="1176"/>
                </a:lnTo>
                <a:lnTo>
                  <a:pt x="3331" y="1176"/>
                </a:lnTo>
                <a:lnTo>
                  <a:pt x="3334" y="1177"/>
                </a:lnTo>
                <a:lnTo>
                  <a:pt x="3337" y="1179"/>
                </a:lnTo>
                <a:lnTo>
                  <a:pt x="3339" y="1181"/>
                </a:lnTo>
                <a:lnTo>
                  <a:pt x="3340" y="1184"/>
                </a:lnTo>
                <a:lnTo>
                  <a:pt x="3342" y="1186"/>
                </a:lnTo>
                <a:lnTo>
                  <a:pt x="3342" y="1189"/>
                </a:lnTo>
                <a:lnTo>
                  <a:pt x="3342" y="1192"/>
                </a:lnTo>
                <a:lnTo>
                  <a:pt x="3342" y="1195"/>
                </a:lnTo>
                <a:lnTo>
                  <a:pt x="3341" y="1198"/>
                </a:lnTo>
                <a:lnTo>
                  <a:pt x="3339" y="1201"/>
                </a:lnTo>
                <a:lnTo>
                  <a:pt x="3337" y="1203"/>
                </a:lnTo>
                <a:lnTo>
                  <a:pt x="3335" y="1205"/>
                </a:lnTo>
                <a:lnTo>
                  <a:pt x="3332" y="1206"/>
                </a:lnTo>
                <a:lnTo>
                  <a:pt x="3329" y="1207"/>
                </a:lnTo>
                <a:lnTo>
                  <a:pt x="3326" y="1207"/>
                </a:lnTo>
                <a:lnTo>
                  <a:pt x="3323" y="1206"/>
                </a:lnTo>
                <a:lnTo>
                  <a:pt x="3320" y="1205"/>
                </a:lnTo>
                <a:lnTo>
                  <a:pt x="3317" y="1203"/>
                </a:lnTo>
                <a:lnTo>
                  <a:pt x="3315" y="1201"/>
                </a:lnTo>
                <a:lnTo>
                  <a:pt x="3313" y="1199"/>
                </a:lnTo>
                <a:lnTo>
                  <a:pt x="3312" y="1196"/>
                </a:lnTo>
                <a:lnTo>
                  <a:pt x="3311" y="1193"/>
                </a:lnTo>
                <a:lnTo>
                  <a:pt x="3311" y="1190"/>
                </a:lnTo>
                <a:lnTo>
                  <a:pt x="3312" y="1187"/>
                </a:lnTo>
                <a:lnTo>
                  <a:pt x="3313" y="1184"/>
                </a:lnTo>
                <a:lnTo>
                  <a:pt x="3315" y="1182"/>
                </a:lnTo>
                <a:lnTo>
                  <a:pt x="3317" y="1179"/>
                </a:lnTo>
                <a:lnTo>
                  <a:pt x="3319" y="1178"/>
                </a:lnTo>
                <a:close/>
                <a:moveTo>
                  <a:pt x="2237" y="1697"/>
                </a:moveTo>
                <a:lnTo>
                  <a:pt x="2242" y="1696"/>
                </a:lnTo>
                <a:lnTo>
                  <a:pt x="2246" y="1695"/>
                </a:lnTo>
                <a:lnTo>
                  <a:pt x="2249" y="1696"/>
                </a:lnTo>
                <a:lnTo>
                  <a:pt x="2252" y="1697"/>
                </a:lnTo>
                <a:lnTo>
                  <a:pt x="2255" y="1698"/>
                </a:lnTo>
                <a:lnTo>
                  <a:pt x="2257" y="1700"/>
                </a:lnTo>
                <a:lnTo>
                  <a:pt x="2259" y="1703"/>
                </a:lnTo>
                <a:lnTo>
                  <a:pt x="2260" y="1706"/>
                </a:lnTo>
                <a:lnTo>
                  <a:pt x="2261" y="1709"/>
                </a:lnTo>
                <a:lnTo>
                  <a:pt x="2261" y="1712"/>
                </a:lnTo>
                <a:lnTo>
                  <a:pt x="2260" y="1714"/>
                </a:lnTo>
                <a:lnTo>
                  <a:pt x="2260" y="1716"/>
                </a:lnTo>
                <a:lnTo>
                  <a:pt x="2258" y="1719"/>
                </a:lnTo>
                <a:lnTo>
                  <a:pt x="2256" y="1722"/>
                </a:lnTo>
                <a:lnTo>
                  <a:pt x="2253" y="1724"/>
                </a:lnTo>
                <a:lnTo>
                  <a:pt x="2249" y="1726"/>
                </a:lnTo>
                <a:lnTo>
                  <a:pt x="2244" y="1726"/>
                </a:lnTo>
                <a:lnTo>
                  <a:pt x="2241" y="1726"/>
                </a:lnTo>
                <a:lnTo>
                  <a:pt x="2238" y="1725"/>
                </a:lnTo>
                <a:lnTo>
                  <a:pt x="2236" y="1723"/>
                </a:lnTo>
                <a:lnTo>
                  <a:pt x="2233" y="1721"/>
                </a:lnTo>
                <a:lnTo>
                  <a:pt x="2232" y="1718"/>
                </a:lnTo>
                <a:lnTo>
                  <a:pt x="2230" y="1716"/>
                </a:lnTo>
                <a:lnTo>
                  <a:pt x="2230" y="1713"/>
                </a:lnTo>
                <a:lnTo>
                  <a:pt x="2230" y="1710"/>
                </a:lnTo>
                <a:lnTo>
                  <a:pt x="2230" y="1708"/>
                </a:lnTo>
                <a:lnTo>
                  <a:pt x="2230" y="1706"/>
                </a:lnTo>
                <a:lnTo>
                  <a:pt x="2232" y="1702"/>
                </a:lnTo>
                <a:lnTo>
                  <a:pt x="2234" y="1699"/>
                </a:lnTo>
                <a:lnTo>
                  <a:pt x="2237" y="1697"/>
                </a:lnTo>
                <a:close/>
                <a:moveTo>
                  <a:pt x="3179" y="1144"/>
                </a:moveTo>
                <a:lnTo>
                  <a:pt x="3182" y="1143"/>
                </a:lnTo>
                <a:lnTo>
                  <a:pt x="3184" y="1142"/>
                </a:lnTo>
                <a:lnTo>
                  <a:pt x="3190" y="1142"/>
                </a:lnTo>
                <a:lnTo>
                  <a:pt x="3193" y="1143"/>
                </a:lnTo>
                <a:lnTo>
                  <a:pt x="3196" y="1144"/>
                </a:lnTo>
                <a:lnTo>
                  <a:pt x="3198" y="1146"/>
                </a:lnTo>
                <a:lnTo>
                  <a:pt x="3200" y="1149"/>
                </a:lnTo>
                <a:lnTo>
                  <a:pt x="3201" y="1151"/>
                </a:lnTo>
                <a:lnTo>
                  <a:pt x="3202" y="1154"/>
                </a:lnTo>
                <a:lnTo>
                  <a:pt x="3203" y="1157"/>
                </a:lnTo>
                <a:lnTo>
                  <a:pt x="3202" y="1160"/>
                </a:lnTo>
                <a:lnTo>
                  <a:pt x="3201" y="1163"/>
                </a:lnTo>
                <a:lnTo>
                  <a:pt x="3200" y="1166"/>
                </a:lnTo>
                <a:lnTo>
                  <a:pt x="3197" y="1169"/>
                </a:lnTo>
                <a:lnTo>
                  <a:pt x="3195" y="1171"/>
                </a:lnTo>
                <a:lnTo>
                  <a:pt x="3192" y="1172"/>
                </a:lnTo>
                <a:lnTo>
                  <a:pt x="3190" y="1172"/>
                </a:lnTo>
                <a:lnTo>
                  <a:pt x="3184" y="1172"/>
                </a:lnTo>
                <a:lnTo>
                  <a:pt x="3181" y="1171"/>
                </a:lnTo>
                <a:lnTo>
                  <a:pt x="3178" y="1170"/>
                </a:lnTo>
                <a:lnTo>
                  <a:pt x="3176" y="1168"/>
                </a:lnTo>
                <a:lnTo>
                  <a:pt x="3174" y="1166"/>
                </a:lnTo>
                <a:lnTo>
                  <a:pt x="3173" y="1163"/>
                </a:lnTo>
                <a:lnTo>
                  <a:pt x="3172" y="1160"/>
                </a:lnTo>
                <a:lnTo>
                  <a:pt x="3172" y="1157"/>
                </a:lnTo>
                <a:lnTo>
                  <a:pt x="3172" y="1154"/>
                </a:lnTo>
                <a:lnTo>
                  <a:pt x="3173" y="1151"/>
                </a:lnTo>
                <a:lnTo>
                  <a:pt x="3175" y="1148"/>
                </a:lnTo>
                <a:lnTo>
                  <a:pt x="3177" y="1146"/>
                </a:lnTo>
                <a:lnTo>
                  <a:pt x="3179" y="1144"/>
                </a:lnTo>
                <a:close/>
                <a:moveTo>
                  <a:pt x="3037" y="1122"/>
                </a:moveTo>
                <a:lnTo>
                  <a:pt x="3042" y="1120"/>
                </a:lnTo>
                <a:lnTo>
                  <a:pt x="3044" y="1120"/>
                </a:lnTo>
                <a:lnTo>
                  <a:pt x="3046" y="1120"/>
                </a:lnTo>
                <a:lnTo>
                  <a:pt x="3050" y="1121"/>
                </a:lnTo>
                <a:lnTo>
                  <a:pt x="3052" y="1122"/>
                </a:lnTo>
                <a:lnTo>
                  <a:pt x="3055" y="1124"/>
                </a:lnTo>
                <a:lnTo>
                  <a:pt x="3057" y="1126"/>
                </a:lnTo>
                <a:lnTo>
                  <a:pt x="3059" y="1128"/>
                </a:lnTo>
                <a:lnTo>
                  <a:pt x="3060" y="1131"/>
                </a:lnTo>
                <a:lnTo>
                  <a:pt x="3060" y="1134"/>
                </a:lnTo>
                <a:lnTo>
                  <a:pt x="3060" y="1137"/>
                </a:lnTo>
                <a:lnTo>
                  <a:pt x="3060" y="1141"/>
                </a:lnTo>
                <a:lnTo>
                  <a:pt x="3058" y="1144"/>
                </a:lnTo>
                <a:lnTo>
                  <a:pt x="3056" y="1147"/>
                </a:lnTo>
                <a:lnTo>
                  <a:pt x="3053" y="1149"/>
                </a:lnTo>
                <a:lnTo>
                  <a:pt x="3048" y="1151"/>
                </a:lnTo>
                <a:lnTo>
                  <a:pt x="3046" y="1151"/>
                </a:lnTo>
                <a:lnTo>
                  <a:pt x="3043" y="1151"/>
                </a:lnTo>
                <a:lnTo>
                  <a:pt x="3040" y="1150"/>
                </a:lnTo>
                <a:lnTo>
                  <a:pt x="3037" y="1149"/>
                </a:lnTo>
                <a:lnTo>
                  <a:pt x="3035" y="1148"/>
                </a:lnTo>
                <a:lnTo>
                  <a:pt x="3033" y="1145"/>
                </a:lnTo>
                <a:lnTo>
                  <a:pt x="3031" y="1143"/>
                </a:lnTo>
                <a:lnTo>
                  <a:pt x="3030" y="1140"/>
                </a:lnTo>
                <a:lnTo>
                  <a:pt x="3029" y="1137"/>
                </a:lnTo>
                <a:lnTo>
                  <a:pt x="3029" y="1134"/>
                </a:lnTo>
                <a:lnTo>
                  <a:pt x="3030" y="1130"/>
                </a:lnTo>
                <a:lnTo>
                  <a:pt x="3032" y="1127"/>
                </a:lnTo>
                <a:lnTo>
                  <a:pt x="3034" y="1124"/>
                </a:lnTo>
                <a:lnTo>
                  <a:pt x="3037" y="1122"/>
                </a:lnTo>
                <a:close/>
                <a:moveTo>
                  <a:pt x="2249" y="1554"/>
                </a:moveTo>
                <a:lnTo>
                  <a:pt x="2251" y="1553"/>
                </a:lnTo>
                <a:lnTo>
                  <a:pt x="2254" y="1552"/>
                </a:lnTo>
                <a:lnTo>
                  <a:pt x="2256" y="1552"/>
                </a:lnTo>
                <a:lnTo>
                  <a:pt x="2259" y="1552"/>
                </a:lnTo>
                <a:lnTo>
                  <a:pt x="2262" y="1552"/>
                </a:lnTo>
                <a:lnTo>
                  <a:pt x="2265" y="1554"/>
                </a:lnTo>
                <a:lnTo>
                  <a:pt x="2267" y="1555"/>
                </a:lnTo>
                <a:lnTo>
                  <a:pt x="2269" y="1558"/>
                </a:lnTo>
                <a:lnTo>
                  <a:pt x="2270" y="1559"/>
                </a:lnTo>
                <a:lnTo>
                  <a:pt x="2271" y="1560"/>
                </a:lnTo>
                <a:lnTo>
                  <a:pt x="2272" y="1563"/>
                </a:lnTo>
                <a:lnTo>
                  <a:pt x="2272" y="1566"/>
                </a:lnTo>
                <a:lnTo>
                  <a:pt x="2272" y="1569"/>
                </a:lnTo>
                <a:lnTo>
                  <a:pt x="2271" y="1573"/>
                </a:lnTo>
                <a:lnTo>
                  <a:pt x="2270" y="1576"/>
                </a:lnTo>
                <a:lnTo>
                  <a:pt x="2267" y="1579"/>
                </a:lnTo>
                <a:lnTo>
                  <a:pt x="2265" y="1581"/>
                </a:lnTo>
                <a:lnTo>
                  <a:pt x="2262" y="1582"/>
                </a:lnTo>
                <a:lnTo>
                  <a:pt x="2260" y="1582"/>
                </a:lnTo>
                <a:lnTo>
                  <a:pt x="2258" y="1583"/>
                </a:lnTo>
                <a:lnTo>
                  <a:pt x="2255" y="1583"/>
                </a:lnTo>
                <a:lnTo>
                  <a:pt x="2252" y="1582"/>
                </a:lnTo>
                <a:lnTo>
                  <a:pt x="2249" y="1581"/>
                </a:lnTo>
                <a:lnTo>
                  <a:pt x="2247" y="1579"/>
                </a:lnTo>
                <a:lnTo>
                  <a:pt x="2245" y="1577"/>
                </a:lnTo>
                <a:lnTo>
                  <a:pt x="2244" y="1576"/>
                </a:lnTo>
                <a:lnTo>
                  <a:pt x="2243" y="1574"/>
                </a:lnTo>
                <a:lnTo>
                  <a:pt x="2242" y="1571"/>
                </a:lnTo>
                <a:lnTo>
                  <a:pt x="2241" y="1568"/>
                </a:lnTo>
                <a:lnTo>
                  <a:pt x="2241" y="1565"/>
                </a:lnTo>
                <a:lnTo>
                  <a:pt x="2242" y="1562"/>
                </a:lnTo>
                <a:lnTo>
                  <a:pt x="2244" y="1558"/>
                </a:lnTo>
                <a:lnTo>
                  <a:pt x="2246" y="1556"/>
                </a:lnTo>
                <a:lnTo>
                  <a:pt x="2249" y="1554"/>
                </a:lnTo>
                <a:close/>
                <a:moveTo>
                  <a:pt x="2893" y="1116"/>
                </a:moveTo>
                <a:lnTo>
                  <a:pt x="2895" y="1115"/>
                </a:lnTo>
                <a:lnTo>
                  <a:pt x="2897" y="1115"/>
                </a:lnTo>
                <a:lnTo>
                  <a:pt x="2901" y="1114"/>
                </a:lnTo>
                <a:lnTo>
                  <a:pt x="2904" y="1114"/>
                </a:lnTo>
                <a:lnTo>
                  <a:pt x="2907" y="1115"/>
                </a:lnTo>
                <a:lnTo>
                  <a:pt x="2910" y="1117"/>
                </a:lnTo>
                <a:lnTo>
                  <a:pt x="2912" y="1119"/>
                </a:lnTo>
                <a:lnTo>
                  <a:pt x="2914" y="1121"/>
                </a:lnTo>
                <a:lnTo>
                  <a:pt x="2915" y="1123"/>
                </a:lnTo>
                <a:lnTo>
                  <a:pt x="2916" y="1126"/>
                </a:lnTo>
                <a:lnTo>
                  <a:pt x="2917" y="1129"/>
                </a:lnTo>
                <a:lnTo>
                  <a:pt x="2916" y="1134"/>
                </a:lnTo>
                <a:lnTo>
                  <a:pt x="2915" y="1137"/>
                </a:lnTo>
                <a:lnTo>
                  <a:pt x="2912" y="1141"/>
                </a:lnTo>
                <a:lnTo>
                  <a:pt x="2909" y="1143"/>
                </a:lnTo>
                <a:lnTo>
                  <a:pt x="2907" y="1144"/>
                </a:lnTo>
                <a:lnTo>
                  <a:pt x="2905" y="1145"/>
                </a:lnTo>
                <a:lnTo>
                  <a:pt x="2902" y="1145"/>
                </a:lnTo>
                <a:lnTo>
                  <a:pt x="2898" y="1145"/>
                </a:lnTo>
                <a:lnTo>
                  <a:pt x="2895" y="1144"/>
                </a:lnTo>
                <a:lnTo>
                  <a:pt x="2893" y="1143"/>
                </a:lnTo>
                <a:lnTo>
                  <a:pt x="2890" y="1141"/>
                </a:lnTo>
                <a:lnTo>
                  <a:pt x="2888" y="1139"/>
                </a:lnTo>
                <a:lnTo>
                  <a:pt x="2887" y="1136"/>
                </a:lnTo>
                <a:lnTo>
                  <a:pt x="2886" y="1133"/>
                </a:lnTo>
                <a:lnTo>
                  <a:pt x="2886" y="1130"/>
                </a:lnTo>
                <a:lnTo>
                  <a:pt x="2886" y="1126"/>
                </a:lnTo>
                <a:lnTo>
                  <a:pt x="2888" y="1122"/>
                </a:lnTo>
                <a:lnTo>
                  <a:pt x="2890" y="1119"/>
                </a:lnTo>
                <a:lnTo>
                  <a:pt x="2893" y="1116"/>
                </a:lnTo>
                <a:close/>
                <a:moveTo>
                  <a:pt x="2281" y="1414"/>
                </a:moveTo>
                <a:lnTo>
                  <a:pt x="2284" y="1412"/>
                </a:lnTo>
                <a:lnTo>
                  <a:pt x="2287" y="1412"/>
                </a:lnTo>
                <a:lnTo>
                  <a:pt x="2291" y="1412"/>
                </a:lnTo>
                <a:lnTo>
                  <a:pt x="2294" y="1413"/>
                </a:lnTo>
                <a:lnTo>
                  <a:pt x="2295" y="1413"/>
                </a:lnTo>
                <a:lnTo>
                  <a:pt x="2297" y="1414"/>
                </a:lnTo>
                <a:lnTo>
                  <a:pt x="2299" y="1416"/>
                </a:lnTo>
                <a:lnTo>
                  <a:pt x="2301" y="1418"/>
                </a:lnTo>
                <a:lnTo>
                  <a:pt x="2303" y="1421"/>
                </a:lnTo>
                <a:lnTo>
                  <a:pt x="2304" y="1424"/>
                </a:lnTo>
                <a:lnTo>
                  <a:pt x="2304" y="1427"/>
                </a:lnTo>
                <a:lnTo>
                  <a:pt x="2304" y="1430"/>
                </a:lnTo>
                <a:lnTo>
                  <a:pt x="2303" y="1433"/>
                </a:lnTo>
                <a:lnTo>
                  <a:pt x="2302" y="1435"/>
                </a:lnTo>
                <a:lnTo>
                  <a:pt x="2300" y="1437"/>
                </a:lnTo>
                <a:lnTo>
                  <a:pt x="2298" y="1439"/>
                </a:lnTo>
                <a:lnTo>
                  <a:pt x="2296" y="1441"/>
                </a:lnTo>
                <a:lnTo>
                  <a:pt x="2293" y="1442"/>
                </a:lnTo>
                <a:lnTo>
                  <a:pt x="2290" y="1443"/>
                </a:lnTo>
                <a:lnTo>
                  <a:pt x="2286" y="1443"/>
                </a:lnTo>
                <a:lnTo>
                  <a:pt x="2283" y="1442"/>
                </a:lnTo>
                <a:lnTo>
                  <a:pt x="2281" y="1441"/>
                </a:lnTo>
                <a:lnTo>
                  <a:pt x="2280" y="1440"/>
                </a:lnTo>
                <a:lnTo>
                  <a:pt x="2278" y="1439"/>
                </a:lnTo>
                <a:lnTo>
                  <a:pt x="2276" y="1436"/>
                </a:lnTo>
                <a:lnTo>
                  <a:pt x="2274" y="1434"/>
                </a:lnTo>
                <a:lnTo>
                  <a:pt x="2273" y="1431"/>
                </a:lnTo>
                <a:lnTo>
                  <a:pt x="2273" y="1428"/>
                </a:lnTo>
                <a:lnTo>
                  <a:pt x="2273" y="1425"/>
                </a:lnTo>
                <a:lnTo>
                  <a:pt x="2274" y="1422"/>
                </a:lnTo>
                <a:lnTo>
                  <a:pt x="2275" y="1419"/>
                </a:lnTo>
                <a:lnTo>
                  <a:pt x="2277" y="1417"/>
                </a:lnTo>
                <a:lnTo>
                  <a:pt x="2279" y="1415"/>
                </a:lnTo>
                <a:lnTo>
                  <a:pt x="2281" y="1414"/>
                </a:lnTo>
                <a:close/>
                <a:moveTo>
                  <a:pt x="2750" y="1129"/>
                </a:moveTo>
                <a:lnTo>
                  <a:pt x="2753" y="1128"/>
                </a:lnTo>
                <a:lnTo>
                  <a:pt x="2756" y="1127"/>
                </a:lnTo>
                <a:lnTo>
                  <a:pt x="2759" y="1127"/>
                </a:lnTo>
                <a:lnTo>
                  <a:pt x="2762" y="1127"/>
                </a:lnTo>
                <a:lnTo>
                  <a:pt x="2765" y="1128"/>
                </a:lnTo>
                <a:lnTo>
                  <a:pt x="2767" y="1130"/>
                </a:lnTo>
                <a:lnTo>
                  <a:pt x="2769" y="1132"/>
                </a:lnTo>
                <a:lnTo>
                  <a:pt x="2771" y="1134"/>
                </a:lnTo>
                <a:lnTo>
                  <a:pt x="2773" y="1137"/>
                </a:lnTo>
                <a:lnTo>
                  <a:pt x="2773" y="1140"/>
                </a:lnTo>
                <a:lnTo>
                  <a:pt x="2773" y="1145"/>
                </a:lnTo>
                <a:lnTo>
                  <a:pt x="2772" y="1149"/>
                </a:lnTo>
                <a:lnTo>
                  <a:pt x="2769" y="1153"/>
                </a:lnTo>
                <a:lnTo>
                  <a:pt x="2768" y="1154"/>
                </a:lnTo>
                <a:lnTo>
                  <a:pt x="2766" y="1156"/>
                </a:lnTo>
                <a:lnTo>
                  <a:pt x="2763" y="1157"/>
                </a:lnTo>
                <a:lnTo>
                  <a:pt x="2760" y="1158"/>
                </a:lnTo>
                <a:lnTo>
                  <a:pt x="2757" y="1158"/>
                </a:lnTo>
                <a:lnTo>
                  <a:pt x="2754" y="1157"/>
                </a:lnTo>
                <a:lnTo>
                  <a:pt x="2751" y="1156"/>
                </a:lnTo>
                <a:lnTo>
                  <a:pt x="2749" y="1155"/>
                </a:lnTo>
                <a:lnTo>
                  <a:pt x="2747" y="1153"/>
                </a:lnTo>
                <a:lnTo>
                  <a:pt x="2745" y="1151"/>
                </a:lnTo>
                <a:lnTo>
                  <a:pt x="2743" y="1148"/>
                </a:lnTo>
                <a:lnTo>
                  <a:pt x="2743" y="1145"/>
                </a:lnTo>
                <a:lnTo>
                  <a:pt x="2743" y="1140"/>
                </a:lnTo>
                <a:lnTo>
                  <a:pt x="2744" y="1136"/>
                </a:lnTo>
                <a:lnTo>
                  <a:pt x="2747" y="1132"/>
                </a:lnTo>
                <a:lnTo>
                  <a:pt x="2748" y="1130"/>
                </a:lnTo>
                <a:lnTo>
                  <a:pt x="2750" y="1129"/>
                </a:lnTo>
                <a:close/>
                <a:moveTo>
                  <a:pt x="2610" y="1161"/>
                </a:moveTo>
                <a:lnTo>
                  <a:pt x="2614" y="1160"/>
                </a:lnTo>
                <a:lnTo>
                  <a:pt x="2617" y="1159"/>
                </a:lnTo>
                <a:lnTo>
                  <a:pt x="2620" y="1159"/>
                </a:lnTo>
                <a:lnTo>
                  <a:pt x="2623" y="1160"/>
                </a:lnTo>
                <a:lnTo>
                  <a:pt x="2625" y="1161"/>
                </a:lnTo>
                <a:lnTo>
                  <a:pt x="2628" y="1163"/>
                </a:lnTo>
                <a:lnTo>
                  <a:pt x="2630" y="1165"/>
                </a:lnTo>
                <a:lnTo>
                  <a:pt x="2632" y="1167"/>
                </a:lnTo>
                <a:lnTo>
                  <a:pt x="2633" y="1170"/>
                </a:lnTo>
                <a:lnTo>
                  <a:pt x="2634" y="1176"/>
                </a:lnTo>
                <a:lnTo>
                  <a:pt x="2633" y="1178"/>
                </a:lnTo>
                <a:lnTo>
                  <a:pt x="2633" y="1181"/>
                </a:lnTo>
                <a:lnTo>
                  <a:pt x="2631" y="1183"/>
                </a:lnTo>
                <a:lnTo>
                  <a:pt x="2630" y="1185"/>
                </a:lnTo>
                <a:lnTo>
                  <a:pt x="2628" y="1187"/>
                </a:lnTo>
                <a:lnTo>
                  <a:pt x="2626" y="1188"/>
                </a:lnTo>
                <a:lnTo>
                  <a:pt x="2623" y="1190"/>
                </a:lnTo>
                <a:lnTo>
                  <a:pt x="2620" y="1190"/>
                </a:lnTo>
                <a:lnTo>
                  <a:pt x="2617" y="1190"/>
                </a:lnTo>
                <a:lnTo>
                  <a:pt x="2614" y="1190"/>
                </a:lnTo>
                <a:lnTo>
                  <a:pt x="2611" y="1189"/>
                </a:lnTo>
                <a:lnTo>
                  <a:pt x="2608" y="1187"/>
                </a:lnTo>
                <a:lnTo>
                  <a:pt x="2606" y="1185"/>
                </a:lnTo>
                <a:lnTo>
                  <a:pt x="2605" y="1182"/>
                </a:lnTo>
                <a:lnTo>
                  <a:pt x="2603" y="1180"/>
                </a:lnTo>
                <a:lnTo>
                  <a:pt x="2603" y="1174"/>
                </a:lnTo>
                <a:lnTo>
                  <a:pt x="2603" y="1172"/>
                </a:lnTo>
                <a:lnTo>
                  <a:pt x="2604" y="1169"/>
                </a:lnTo>
                <a:lnTo>
                  <a:pt x="2605" y="1167"/>
                </a:lnTo>
                <a:lnTo>
                  <a:pt x="2606" y="1165"/>
                </a:lnTo>
                <a:lnTo>
                  <a:pt x="2608" y="1163"/>
                </a:lnTo>
                <a:lnTo>
                  <a:pt x="2610" y="1161"/>
                </a:lnTo>
                <a:close/>
                <a:moveTo>
                  <a:pt x="2358" y="1295"/>
                </a:moveTo>
                <a:lnTo>
                  <a:pt x="2360" y="1293"/>
                </a:lnTo>
                <a:lnTo>
                  <a:pt x="2362" y="1293"/>
                </a:lnTo>
                <a:lnTo>
                  <a:pt x="2365" y="1292"/>
                </a:lnTo>
                <a:lnTo>
                  <a:pt x="2367" y="1293"/>
                </a:lnTo>
                <a:lnTo>
                  <a:pt x="2370" y="1293"/>
                </a:lnTo>
                <a:lnTo>
                  <a:pt x="2372" y="1294"/>
                </a:lnTo>
                <a:lnTo>
                  <a:pt x="2375" y="1295"/>
                </a:lnTo>
                <a:lnTo>
                  <a:pt x="2377" y="1297"/>
                </a:lnTo>
                <a:lnTo>
                  <a:pt x="2379" y="1299"/>
                </a:lnTo>
                <a:lnTo>
                  <a:pt x="2380" y="1302"/>
                </a:lnTo>
                <a:lnTo>
                  <a:pt x="2381" y="1305"/>
                </a:lnTo>
                <a:lnTo>
                  <a:pt x="2381" y="1308"/>
                </a:lnTo>
                <a:lnTo>
                  <a:pt x="2381" y="1311"/>
                </a:lnTo>
                <a:lnTo>
                  <a:pt x="2380" y="1314"/>
                </a:lnTo>
                <a:lnTo>
                  <a:pt x="2378" y="1317"/>
                </a:lnTo>
                <a:lnTo>
                  <a:pt x="2376" y="1319"/>
                </a:lnTo>
                <a:lnTo>
                  <a:pt x="2373" y="1321"/>
                </a:lnTo>
                <a:lnTo>
                  <a:pt x="2371" y="1323"/>
                </a:lnTo>
                <a:lnTo>
                  <a:pt x="2369" y="1323"/>
                </a:lnTo>
                <a:lnTo>
                  <a:pt x="2366" y="1324"/>
                </a:lnTo>
                <a:lnTo>
                  <a:pt x="2364" y="1323"/>
                </a:lnTo>
                <a:lnTo>
                  <a:pt x="2361" y="1323"/>
                </a:lnTo>
                <a:lnTo>
                  <a:pt x="2359" y="1322"/>
                </a:lnTo>
                <a:lnTo>
                  <a:pt x="2357" y="1321"/>
                </a:lnTo>
                <a:lnTo>
                  <a:pt x="2354" y="1319"/>
                </a:lnTo>
                <a:lnTo>
                  <a:pt x="2352" y="1316"/>
                </a:lnTo>
                <a:lnTo>
                  <a:pt x="2351" y="1314"/>
                </a:lnTo>
                <a:lnTo>
                  <a:pt x="2350" y="1311"/>
                </a:lnTo>
                <a:lnTo>
                  <a:pt x="2350" y="1308"/>
                </a:lnTo>
                <a:lnTo>
                  <a:pt x="2350" y="1305"/>
                </a:lnTo>
                <a:lnTo>
                  <a:pt x="2351" y="1302"/>
                </a:lnTo>
                <a:lnTo>
                  <a:pt x="2353" y="1299"/>
                </a:lnTo>
                <a:lnTo>
                  <a:pt x="2355" y="1297"/>
                </a:lnTo>
                <a:lnTo>
                  <a:pt x="2358" y="1295"/>
                </a:lnTo>
                <a:close/>
                <a:moveTo>
                  <a:pt x="2476" y="1214"/>
                </a:moveTo>
                <a:lnTo>
                  <a:pt x="2480" y="1212"/>
                </a:lnTo>
                <a:lnTo>
                  <a:pt x="2483" y="1212"/>
                </a:lnTo>
                <a:lnTo>
                  <a:pt x="2486" y="1212"/>
                </a:lnTo>
                <a:lnTo>
                  <a:pt x="2489" y="1213"/>
                </a:lnTo>
                <a:lnTo>
                  <a:pt x="2492" y="1214"/>
                </a:lnTo>
                <a:lnTo>
                  <a:pt x="2494" y="1215"/>
                </a:lnTo>
                <a:lnTo>
                  <a:pt x="2497" y="1218"/>
                </a:lnTo>
                <a:lnTo>
                  <a:pt x="2498" y="1220"/>
                </a:lnTo>
                <a:lnTo>
                  <a:pt x="2499" y="1223"/>
                </a:lnTo>
                <a:lnTo>
                  <a:pt x="2500" y="1226"/>
                </a:lnTo>
                <a:lnTo>
                  <a:pt x="2500" y="1229"/>
                </a:lnTo>
                <a:lnTo>
                  <a:pt x="2499" y="1232"/>
                </a:lnTo>
                <a:lnTo>
                  <a:pt x="2498" y="1234"/>
                </a:lnTo>
                <a:lnTo>
                  <a:pt x="2496" y="1237"/>
                </a:lnTo>
                <a:lnTo>
                  <a:pt x="2494" y="1239"/>
                </a:lnTo>
                <a:lnTo>
                  <a:pt x="2492" y="1241"/>
                </a:lnTo>
                <a:lnTo>
                  <a:pt x="2489" y="1242"/>
                </a:lnTo>
                <a:lnTo>
                  <a:pt x="2485" y="1242"/>
                </a:lnTo>
                <a:lnTo>
                  <a:pt x="2482" y="1242"/>
                </a:lnTo>
                <a:lnTo>
                  <a:pt x="2479" y="1242"/>
                </a:lnTo>
                <a:lnTo>
                  <a:pt x="2476" y="1241"/>
                </a:lnTo>
                <a:lnTo>
                  <a:pt x="2474" y="1239"/>
                </a:lnTo>
                <a:lnTo>
                  <a:pt x="2472" y="1237"/>
                </a:lnTo>
                <a:lnTo>
                  <a:pt x="2470" y="1234"/>
                </a:lnTo>
                <a:lnTo>
                  <a:pt x="2469" y="1231"/>
                </a:lnTo>
                <a:lnTo>
                  <a:pt x="2469" y="1228"/>
                </a:lnTo>
                <a:lnTo>
                  <a:pt x="2469" y="1225"/>
                </a:lnTo>
                <a:lnTo>
                  <a:pt x="2469" y="1223"/>
                </a:lnTo>
                <a:lnTo>
                  <a:pt x="2470" y="1220"/>
                </a:lnTo>
                <a:lnTo>
                  <a:pt x="2472" y="1218"/>
                </a:lnTo>
                <a:lnTo>
                  <a:pt x="2474" y="1215"/>
                </a:lnTo>
                <a:lnTo>
                  <a:pt x="2476" y="1214"/>
                </a:lnTo>
                <a:close/>
                <a:moveTo>
                  <a:pt x="4755" y="2104"/>
                </a:moveTo>
                <a:lnTo>
                  <a:pt x="4757" y="2103"/>
                </a:lnTo>
                <a:lnTo>
                  <a:pt x="4759" y="2103"/>
                </a:lnTo>
                <a:lnTo>
                  <a:pt x="4762" y="2102"/>
                </a:lnTo>
                <a:lnTo>
                  <a:pt x="4766" y="2102"/>
                </a:lnTo>
                <a:lnTo>
                  <a:pt x="4770" y="2104"/>
                </a:lnTo>
                <a:lnTo>
                  <a:pt x="4773" y="2106"/>
                </a:lnTo>
                <a:lnTo>
                  <a:pt x="4775" y="2108"/>
                </a:lnTo>
                <a:lnTo>
                  <a:pt x="4776" y="2111"/>
                </a:lnTo>
                <a:lnTo>
                  <a:pt x="4778" y="2113"/>
                </a:lnTo>
                <a:lnTo>
                  <a:pt x="4778" y="2116"/>
                </a:lnTo>
                <a:lnTo>
                  <a:pt x="4778" y="2119"/>
                </a:lnTo>
                <a:lnTo>
                  <a:pt x="4777" y="2122"/>
                </a:lnTo>
                <a:lnTo>
                  <a:pt x="4776" y="2125"/>
                </a:lnTo>
                <a:lnTo>
                  <a:pt x="4774" y="2128"/>
                </a:lnTo>
                <a:lnTo>
                  <a:pt x="4770" y="2131"/>
                </a:lnTo>
                <a:lnTo>
                  <a:pt x="4769" y="2132"/>
                </a:lnTo>
                <a:lnTo>
                  <a:pt x="4767" y="2132"/>
                </a:lnTo>
                <a:lnTo>
                  <a:pt x="4763" y="2133"/>
                </a:lnTo>
                <a:lnTo>
                  <a:pt x="4759" y="2132"/>
                </a:lnTo>
                <a:lnTo>
                  <a:pt x="4755" y="2131"/>
                </a:lnTo>
                <a:lnTo>
                  <a:pt x="4752" y="2129"/>
                </a:lnTo>
                <a:lnTo>
                  <a:pt x="4750" y="2127"/>
                </a:lnTo>
                <a:lnTo>
                  <a:pt x="4749" y="2124"/>
                </a:lnTo>
                <a:lnTo>
                  <a:pt x="4748" y="2121"/>
                </a:lnTo>
                <a:lnTo>
                  <a:pt x="4747" y="2119"/>
                </a:lnTo>
                <a:lnTo>
                  <a:pt x="4747" y="2116"/>
                </a:lnTo>
                <a:lnTo>
                  <a:pt x="4748" y="2113"/>
                </a:lnTo>
                <a:lnTo>
                  <a:pt x="4749" y="2110"/>
                </a:lnTo>
                <a:lnTo>
                  <a:pt x="4752" y="2107"/>
                </a:lnTo>
                <a:lnTo>
                  <a:pt x="4755" y="2104"/>
                </a:lnTo>
                <a:close/>
                <a:moveTo>
                  <a:pt x="4630" y="2033"/>
                </a:moveTo>
                <a:lnTo>
                  <a:pt x="4633" y="2032"/>
                </a:lnTo>
                <a:lnTo>
                  <a:pt x="4637" y="2031"/>
                </a:lnTo>
                <a:lnTo>
                  <a:pt x="4641" y="2031"/>
                </a:lnTo>
                <a:lnTo>
                  <a:pt x="4645" y="2033"/>
                </a:lnTo>
                <a:lnTo>
                  <a:pt x="4647" y="2035"/>
                </a:lnTo>
                <a:lnTo>
                  <a:pt x="4650" y="2037"/>
                </a:lnTo>
                <a:lnTo>
                  <a:pt x="4651" y="2040"/>
                </a:lnTo>
                <a:lnTo>
                  <a:pt x="4652" y="2042"/>
                </a:lnTo>
                <a:lnTo>
                  <a:pt x="4653" y="2045"/>
                </a:lnTo>
                <a:lnTo>
                  <a:pt x="4653" y="2048"/>
                </a:lnTo>
                <a:lnTo>
                  <a:pt x="4652" y="2051"/>
                </a:lnTo>
                <a:lnTo>
                  <a:pt x="4651" y="2054"/>
                </a:lnTo>
                <a:lnTo>
                  <a:pt x="4648" y="2057"/>
                </a:lnTo>
                <a:lnTo>
                  <a:pt x="4645" y="2060"/>
                </a:lnTo>
                <a:lnTo>
                  <a:pt x="4641" y="2061"/>
                </a:lnTo>
                <a:lnTo>
                  <a:pt x="4638" y="2062"/>
                </a:lnTo>
                <a:lnTo>
                  <a:pt x="4634" y="2061"/>
                </a:lnTo>
                <a:lnTo>
                  <a:pt x="4630" y="2060"/>
                </a:lnTo>
                <a:lnTo>
                  <a:pt x="4627" y="2058"/>
                </a:lnTo>
                <a:lnTo>
                  <a:pt x="4625" y="2056"/>
                </a:lnTo>
                <a:lnTo>
                  <a:pt x="4624" y="2053"/>
                </a:lnTo>
                <a:lnTo>
                  <a:pt x="4623" y="2051"/>
                </a:lnTo>
                <a:lnTo>
                  <a:pt x="4622" y="2048"/>
                </a:lnTo>
                <a:lnTo>
                  <a:pt x="4622" y="2045"/>
                </a:lnTo>
                <a:lnTo>
                  <a:pt x="4623" y="2042"/>
                </a:lnTo>
                <a:lnTo>
                  <a:pt x="4624" y="2039"/>
                </a:lnTo>
                <a:lnTo>
                  <a:pt x="4626" y="2036"/>
                </a:lnTo>
                <a:lnTo>
                  <a:pt x="4630" y="2033"/>
                </a:lnTo>
                <a:close/>
                <a:moveTo>
                  <a:pt x="4504" y="1963"/>
                </a:moveTo>
                <a:lnTo>
                  <a:pt x="4507" y="1962"/>
                </a:lnTo>
                <a:lnTo>
                  <a:pt x="4511" y="1961"/>
                </a:lnTo>
                <a:lnTo>
                  <a:pt x="4513" y="1961"/>
                </a:lnTo>
                <a:lnTo>
                  <a:pt x="4515" y="1961"/>
                </a:lnTo>
                <a:lnTo>
                  <a:pt x="4519" y="1963"/>
                </a:lnTo>
                <a:lnTo>
                  <a:pt x="4522" y="1965"/>
                </a:lnTo>
                <a:lnTo>
                  <a:pt x="4524" y="1967"/>
                </a:lnTo>
                <a:lnTo>
                  <a:pt x="4525" y="1968"/>
                </a:lnTo>
                <a:lnTo>
                  <a:pt x="4525" y="1969"/>
                </a:lnTo>
                <a:lnTo>
                  <a:pt x="4526" y="1972"/>
                </a:lnTo>
                <a:lnTo>
                  <a:pt x="4527" y="1975"/>
                </a:lnTo>
                <a:lnTo>
                  <a:pt x="4527" y="1978"/>
                </a:lnTo>
                <a:lnTo>
                  <a:pt x="4526" y="1981"/>
                </a:lnTo>
                <a:lnTo>
                  <a:pt x="4525" y="1984"/>
                </a:lnTo>
                <a:lnTo>
                  <a:pt x="4523" y="1987"/>
                </a:lnTo>
                <a:lnTo>
                  <a:pt x="4519" y="1990"/>
                </a:lnTo>
                <a:lnTo>
                  <a:pt x="4516" y="1991"/>
                </a:lnTo>
                <a:lnTo>
                  <a:pt x="4512" y="1992"/>
                </a:lnTo>
                <a:lnTo>
                  <a:pt x="4510" y="1992"/>
                </a:lnTo>
                <a:lnTo>
                  <a:pt x="4508" y="1991"/>
                </a:lnTo>
                <a:lnTo>
                  <a:pt x="4504" y="1990"/>
                </a:lnTo>
                <a:lnTo>
                  <a:pt x="4502" y="1988"/>
                </a:lnTo>
                <a:lnTo>
                  <a:pt x="4500" y="1986"/>
                </a:lnTo>
                <a:lnTo>
                  <a:pt x="4499" y="1985"/>
                </a:lnTo>
                <a:lnTo>
                  <a:pt x="4498" y="1983"/>
                </a:lnTo>
                <a:lnTo>
                  <a:pt x="4497" y="1981"/>
                </a:lnTo>
                <a:lnTo>
                  <a:pt x="4496" y="1978"/>
                </a:lnTo>
                <a:lnTo>
                  <a:pt x="4496" y="1975"/>
                </a:lnTo>
                <a:lnTo>
                  <a:pt x="4497" y="1972"/>
                </a:lnTo>
                <a:lnTo>
                  <a:pt x="4498" y="1969"/>
                </a:lnTo>
                <a:lnTo>
                  <a:pt x="4501" y="1966"/>
                </a:lnTo>
                <a:lnTo>
                  <a:pt x="4504" y="1963"/>
                </a:lnTo>
                <a:close/>
                <a:moveTo>
                  <a:pt x="4377" y="1894"/>
                </a:moveTo>
                <a:lnTo>
                  <a:pt x="4379" y="1893"/>
                </a:lnTo>
                <a:lnTo>
                  <a:pt x="4381" y="1893"/>
                </a:lnTo>
                <a:lnTo>
                  <a:pt x="4385" y="1892"/>
                </a:lnTo>
                <a:lnTo>
                  <a:pt x="4387" y="1892"/>
                </a:lnTo>
                <a:lnTo>
                  <a:pt x="4389" y="1893"/>
                </a:lnTo>
                <a:lnTo>
                  <a:pt x="4392" y="1894"/>
                </a:lnTo>
                <a:lnTo>
                  <a:pt x="4395" y="1896"/>
                </a:lnTo>
                <a:lnTo>
                  <a:pt x="4397" y="1898"/>
                </a:lnTo>
                <a:lnTo>
                  <a:pt x="4399" y="1900"/>
                </a:lnTo>
                <a:lnTo>
                  <a:pt x="4400" y="1903"/>
                </a:lnTo>
                <a:lnTo>
                  <a:pt x="4400" y="1906"/>
                </a:lnTo>
                <a:lnTo>
                  <a:pt x="4400" y="1909"/>
                </a:lnTo>
                <a:lnTo>
                  <a:pt x="4400" y="1912"/>
                </a:lnTo>
                <a:lnTo>
                  <a:pt x="4399" y="1915"/>
                </a:lnTo>
                <a:lnTo>
                  <a:pt x="4396" y="1918"/>
                </a:lnTo>
                <a:lnTo>
                  <a:pt x="4393" y="1921"/>
                </a:lnTo>
                <a:lnTo>
                  <a:pt x="4391" y="1922"/>
                </a:lnTo>
                <a:lnTo>
                  <a:pt x="4389" y="1922"/>
                </a:lnTo>
                <a:lnTo>
                  <a:pt x="4385" y="1923"/>
                </a:lnTo>
                <a:lnTo>
                  <a:pt x="4384" y="1923"/>
                </a:lnTo>
                <a:lnTo>
                  <a:pt x="4382" y="1923"/>
                </a:lnTo>
                <a:lnTo>
                  <a:pt x="4378" y="1921"/>
                </a:lnTo>
                <a:lnTo>
                  <a:pt x="4375" y="1919"/>
                </a:lnTo>
                <a:lnTo>
                  <a:pt x="4373" y="1917"/>
                </a:lnTo>
                <a:lnTo>
                  <a:pt x="4371" y="1915"/>
                </a:lnTo>
                <a:lnTo>
                  <a:pt x="4370" y="1912"/>
                </a:lnTo>
                <a:lnTo>
                  <a:pt x="4370" y="1909"/>
                </a:lnTo>
                <a:lnTo>
                  <a:pt x="4370" y="1906"/>
                </a:lnTo>
                <a:lnTo>
                  <a:pt x="4370" y="1903"/>
                </a:lnTo>
                <a:lnTo>
                  <a:pt x="4372" y="1900"/>
                </a:lnTo>
                <a:lnTo>
                  <a:pt x="4374" y="1897"/>
                </a:lnTo>
                <a:lnTo>
                  <a:pt x="4377" y="1894"/>
                </a:lnTo>
                <a:close/>
                <a:moveTo>
                  <a:pt x="4250" y="1827"/>
                </a:moveTo>
                <a:lnTo>
                  <a:pt x="4252" y="1827"/>
                </a:lnTo>
                <a:lnTo>
                  <a:pt x="4253" y="1826"/>
                </a:lnTo>
                <a:lnTo>
                  <a:pt x="4257" y="1825"/>
                </a:lnTo>
                <a:lnTo>
                  <a:pt x="4261" y="1826"/>
                </a:lnTo>
                <a:lnTo>
                  <a:pt x="4265" y="1827"/>
                </a:lnTo>
                <a:lnTo>
                  <a:pt x="4267" y="1829"/>
                </a:lnTo>
                <a:lnTo>
                  <a:pt x="4269" y="1831"/>
                </a:lnTo>
                <a:lnTo>
                  <a:pt x="4271" y="1833"/>
                </a:lnTo>
                <a:lnTo>
                  <a:pt x="4272" y="1836"/>
                </a:lnTo>
                <a:lnTo>
                  <a:pt x="4273" y="1839"/>
                </a:lnTo>
                <a:lnTo>
                  <a:pt x="4273" y="1842"/>
                </a:lnTo>
                <a:lnTo>
                  <a:pt x="4272" y="1845"/>
                </a:lnTo>
                <a:lnTo>
                  <a:pt x="4271" y="1848"/>
                </a:lnTo>
                <a:lnTo>
                  <a:pt x="4269" y="1851"/>
                </a:lnTo>
                <a:lnTo>
                  <a:pt x="4265" y="1854"/>
                </a:lnTo>
                <a:lnTo>
                  <a:pt x="4264" y="1855"/>
                </a:lnTo>
                <a:lnTo>
                  <a:pt x="4262" y="1855"/>
                </a:lnTo>
                <a:lnTo>
                  <a:pt x="4258" y="1856"/>
                </a:lnTo>
                <a:lnTo>
                  <a:pt x="4254" y="1856"/>
                </a:lnTo>
                <a:lnTo>
                  <a:pt x="4251" y="1854"/>
                </a:lnTo>
                <a:lnTo>
                  <a:pt x="4248" y="1853"/>
                </a:lnTo>
                <a:lnTo>
                  <a:pt x="4246" y="1851"/>
                </a:lnTo>
                <a:lnTo>
                  <a:pt x="4244" y="1848"/>
                </a:lnTo>
                <a:lnTo>
                  <a:pt x="4243" y="1845"/>
                </a:lnTo>
                <a:lnTo>
                  <a:pt x="4242" y="1840"/>
                </a:lnTo>
                <a:lnTo>
                  <a:pt x="4243" y="1837"/>
                </a:lnTo>
                <a:lnTo>
                  <a:pt x="4244" y="1834"/>
                </a:lnTo>
                <a:lnTo>
                  <a:pt x="4246" y="1830"/>
                </a:lnTo>
                <a:lnTo>
                  <a:pt x="4250" y="1827"/>
                </a:lnTo>
                <a:close/>
                <a:moveTo>
                  <a:pt x="4121" y="1762"/>
                </a:moveTo>
                <a:lnTo>
                  <a:pt x="4125" y="1760"/>
                </a:lnTo>
                <a:lnTo>
                  <a:pt x="4128" y="1760"/>
                </a:lnTo>
                <a:lnTo>
                  <a:pt x="4132" y="1760"/>
                </a:lnTo>
                <a:lnTo>
                  <a:pt x="4136" y="1761"/>
                </a:lnTo>
                <a:lnTo>
                  <a:pt x="4138" y="1763"/>
                </a:lnTo>
                <a:lnTo>
                  <a:pt x="4140" y="1765"/>
                </a:lnTo>
                <a:lnTo>
                  <a:pt x="4142" y="1768"/>
                </a:lnTo>
                <a:lnTo>
                  <a:pt x="4143" y="1770"/>
                </a:lnTo>
                <a:lnTo>
                  <a:pt x="4144" y="1773"/>
                </a:lnTo>
                <a:lnTo>
                  <a:pt x="4144" y="1776"/>
                </a:lnTo>
                <a:lnTo>
                  <a:pt x="4144" y="1779"/>
                </a:lnTo>
                <a:lnTo>
                  <a:pt x="4143" y="1782"/>
                </a:lnTo>
                <a:lnTo>
                  <a:pt x="4141" y="1784"/>
                </a:lnTo>
                <a:lnTo>
                  <a:pt x="4140" y="1787"/>
                </a:lnTo>
                <a:lnTo>
                  <a:pt x="4137" y="1790"/>
                </a:lnTo>
                <a:lnTo>
                  <a:pt x="4133" y="1791"/>
                </a:lnTo>
                <a:lnTo>
                  <a:pt x="4129" y="1792"/>
                </a:lnTo>
                <a:lnTo>
                  <a:pt x="4126" y="1791"/>
                </a:lnTo>
                <a:lnTo>
                  <a:pt x="4122" y="1790"/>
                </a:lnTo>
                <a:lnTo>
                  <a:pt x="4119" y="1788"/>
                </a:lnTo>
                <a:lnTo>
                  <a:pt x="4117" y="1785"/>
                </a:lnTo>
                <a:lnTo>
                  <a:pt x="4116" y="1783"/>
                </a:lnTo>
                <a:lnTo>
                  <a:pt x="4114" y="1780"/>
                </a:lnTo>
                <a:lnTo>
                  <a:pt x="4114" y="1777"/>
                </a:lnTo>
                <a:lnTo>
                  <a:pt x="4113" y="1774"/>
                </a:lnTo>
                <a:lnTo>
                  <a:pt x="4114" y="1771"/>
                </a:lnTo>
                <a:lnTo>
                  <a:pt x="4115" y="1769"/>
                </a:lnTo>
                <a:lnTo>
                  <a:pt x="4116" y="1766"/>
                </a:lnTo>
                <a:lnTo>
                  <a:pt x="4118" y="1765"/>
                </a:lnTo>
                <a:lnTo>
                  <a:pt x="4121" y="1762"/>
                </a:lnTo>
                <a:close/>
                <a:moveTo>
                  <a:pt x="3990" y="1701"/>
                </a:moveTo>
                <a:lnTo>
                  <a:pt x="3993" y="1699"/>
                </a:lnTo>
                <a:lnTo>
                  <a:pt x="3997" y="1699"/>
                </a:lnTo>
                <a:lnTo>
                  <a:pt x="4000" y="1699"/>
                </a:lnTo>
                <a:lnTo>
                  <a:pt x="4004" y="1700"/>
                </a:lnTo>
                <a:lnTo>
                  <a:pt x="4007" y="1702"/>
                </a:lnTo>
                <a:lnTo>
                  <a:pt x="4010" y="1704"/>
                </a:lnTo>
                <a:lnTo>
                  <a:pt x="4012" y="1706"/>
                </a:lnTo>
                <a:lnTo>
                  <a:pt x="4013" y="1709"/>
                </a:lnTo>
                <a:lnTo>
                  <a:pt x="4014" y="1711"/>
                </a:lnTo>
                <a:lnTo>
                  <a:pt x="4014" y="1714"/>
                </a:lnTo>
                <a:lnTo>
                  <a:pt x="4014" y="1717"/>
                </a:lnTo>
                <a:lnTo>
                  <a:pt x="4013" y="1720"/>
                </a:lnTo>
                <a:lnTo>
                  <a:pt x="4011" y="1723"/>
                </a:lnTo>
                <a:lnTo>
                  <a:pt x="4010" y="1724"/>
                </a:lnTo>
                <a:lnTo>
                  <a:pt x="4008" y="1725"/>
                </a:lnTo>
                <a:lnTo>
                  <a:pt x="4007" y="1726"/>
                </a:lnTo>
                <a:lnTo>
                  <a:pt x="4005" y="1727"/>
                </a:lnTo>
                <a:lnTo>
                  <a:pt x="4002" y="1729"/>
                </a:lnTo>
                <a:lnTo>
                  <a:pt x="3998" y="1729"/>
                </a:lnTo>
                <a:lnTo>
                  <a:pt x="3995" y="1729"/>
                </a:lnTo>
                <a:lnTo>
                  <a:pt x="3991" y="1728"/>
                </a:lnTo>
                <a:lnTo>
                  <a:pt x="3988" y="1727"/>
                </a:lnTo>
                <a:lnTo>
                  <a:pt x="3986" y="1725"/>
                </a:lnTo>
                <a:lnTo>
                  <a:pt x="3984" y="1722"/>
                </a:lnTo>
                <a:lnTo>
                  <a:pt x="3983" y="1719"/>
                </a:lnTo>
                <a:lnTo>
                  <a:pt x="3982" y="1717"/>
                </a:lnTo>
                <a:lnTo>
                  <a:pt x="3982" y="1714"/>
                </a:lnTo>
                <a:lnTo>
                  <a:pt x="3982" y="1711"/>
                </a:lnTo>
                <a:lnTo>
                  <a:pt x="3983" y="1708"/>
                </a:lnTo>
                <a:lnTo>
                  <a:pt x="3985" y="1706"/>
                </a:lnTo>
                <a:lnTo>
                  <a:pt x="3986" y="1704"/>
                </a:lnTo>
                <a:lnTo>
                  <a:pt x="3987" y="1703"/>
                </a:lnTo>
                <a:lnTo>
                  <a:pt x="3988" y="1702"/>
                </a:lnTo>
                <a:lnTo>
                  <a:pt x="3990" y="1701"/>
                </a:lnTo>
                <a:close/>
                <a:moveTo>
                  <a:pt x="3858" y="1644"/>
                </a:moveTo>
                <a:lnTo>
                  <a:pt x="3861" y="1642"/>
                </a:lnTo>
                <a:lnTo>
                  <a:pt x="3864" y="1642"/>
                </a:lnTo>
                <a:lnTo>
                  <a:pt x="3868" y="1642"/>
                </a:lnTo>
                <a:lnTo>
                  <a:pt x="3871" y="1643"/>
                </a:lnTo>
                <a:lnTo>
                  <a:pt x="3874" y="1644"/>
                </a:lnTo>
                <a:lnTo>
                  <a:pt x="3876" y="1646"/>
                </a:lnTo>
                <a:lnTo>
                  <a:pt x="3878" y="1649"/>
                </a:lnTo>
                <a:lnTo>
                  <a:pt x="3879" y="1651"/>
                </a:lnTo>
                <a:lnTo>
                  <a:pt x="3880" y="1654"/>
                </a:lnTo>
                <a:lnTo>
                  <a:pt x="3881" y="1657"/>
                </a:lnTo>
                <a:lnTo>
                  <a:pt x="3880" y="1660"/>
                </a:lnTo>
                <a:lnTo>
                  <a:pt x="3879" y="1663"/>
                </a:lnTo>
                <a:lnTo>
                  <a:pt x="3878" y="1665"/>
                </a:lnTo>
                <a:lnTo>
                  <a:pt x="3877" y="1667"/>
                </a:lnTo>
                <a:lnTo>
                  <a:pt x="3875" y="1669"/>
                </a:lnTo>
                <a:lnTo>
                  <a:pt x="3873" y="1670"/>
                </a:lnTo>
                <a:lnTo>
                  <a:pt x="3870" y="1672"/>
                </a:lnTo>
                <a:lnTo>
                  <a:pt x="3866" y="1672"/>
                </a:lnTo>
                <a:lnTo>
                  <a:pt x="3863" y="1672"/>
                </a:lnTo>
                <a:lnTo>
                  <a:pt x="3859" y="1671"/>
                </a:lnTo>
                <a:lnTo>
                  <a:pt x="3857" y="1670"/>
                </a:lnTo>
                <a:lnTo>
                  <a:pt x="3854" y="1668"/>
                </a:lnTo>
                <a:lnTo>
                  <a:pt x="3852" y="1666"/>
                </a:lnTo>
                <a:lnTo>
                  <a:pt x="3851" y="1663"/>
                </a:lnTo>
                <a:lnTo>
                  <a:pt x="3850" y="1660"/>
                </a:lnTo>
                <a:lnTo>
                  <a:pt x="3850" y="1657"/>
                </a:lnTo>
                <a:lnTo>
                  <a:pt x="3850" y="1654"/>
                </a:lnTo>
                <a:lnTo>
                  <a:pt x="3851" y="1651"/>
                </a:lnTo>
                <a:lnTo>
                  <a:pt x="3852" y="1649"/>
                </a:lnTo>
                <a:lnTo>
                  <a:pt x="3854" y="1647"/>
                </a:lnTo>
                <a:lnTo>
                  <a:pt x="3856" y="1645"/>
                </a:lnTo>
                <a:lnTo>
                  <a:pt x="3858" y="1644"/>
                </a:lnTo>
                <a:close/>
                <a:moveTo>
                  <a:pt x="2461" y="2353"/>
                </a:moveTo>
                <a:lnTo>
                  <a:pt x="2464" y="2352"/>
                </a:lnTo>
                <a:lnTo>
                  <a:pt x="2467" y="2351"/>
                </a:lnTo>
                <a:lnTo>
                  <a:pt x="2470" y="2351"/>
                </a:lnTo>
                <a:lnTo>
                  <a:pt x="2473" y="2352"/>
                </a:lnTo>
                <a:lnTo>
                  <a:pt x="2476" y="2353"/>
                </a:lnTo>
                <a:lnTo>
                  <a:pt x="2478" y="2354"/>
                </a:lnTo>
                <a:lnTo>
                  <a:pt x="2481" y="2357"/>
                </a:lnTo>
                <a:lnTo>
                  <a:pt x="2482" y="2359"/>
                </a:lnTo>
                <a:lnTo>
                  <a:pt x="2483" y="2362"/>
                </a:lnTo>
                <a:lnTo>
                  <a:pt x="2484" y="2365"/>
                </a:lnTo>
                <a:lnTo>
                  <a:pt x="2484" y="2368"/>
                </a:lnTo>
                <a:lnTo>
                  <a:pt x="2483" y="2371"/>
                </a:lnTo>
                <a:lnTo>
                  <a:pt x="2482" y="2374"/>
                </a:lnTo>
                <a:lnTo>
                  <a:pt x="2481" y="2376"/>
                </a:lnTo>
                <a:lnTo>
                  <a:pt x="2479" y="2378"/>
                </a:lnTo>
                <a:lnTo>
                  <a:pt x="2476" y="2380"/>
                </a:lnTo>
                <a:lnTo>
                  <a:pt x="2474" y="2381"/>
                </a:lnTo>
                <a:lnTo>
                  <a:pt x="2471" y="2382"/>
                </a:lnTo>
                <a:lnTo>
                  <a:pt x="2467" y="2382"/>
                </a:lnTo>
                <a:lnTo>
                  <a:pt x="2464" y="2381"/>
                </a:lnTo>
                <a:lnTo>
                  <a:pt x="2461" y="2380"/>
                </a:lnTo>
                <a:lnTo>
                  <a:pt x="2459" y="2378"/>
                </a:lnTo>
                <a:lnTo>
                  <a:pt x="2457" y="2376"/>
                </a:lnTo>
                <a:lnTo>
                  <a:pt x="2455" y="2374"/>
                </a:lnTo>
                <a:lnTo>
                  <a:pt x="2454" y="2371"/>
                </a:lnTo>
                <a:lnTo>
                  <a:pt x="2453" y="2368"/>
                </a:lnTo>
                <a:lnTo>
                  <a:pt x="2453" y="2365"/>
                </a:lnTo>
                <a:lnTo>
                  <a:pt x="2454" y="2362"/>
                </a:lnTo>
                <a:lnTo>
                  <a:pt x="2455" y="2359"/>
                </a:lnTo>
                <a:lnTo>
                  <a:pt x="2457" y="2357"/>
                </a:lnTo>
                <a:lnTo>
                  <a:pt x="2459" y="2355"/>
                </a:lnTo>
                <a:lnTo>
                  <a:pt x="2461" y="2353"/>
                </a:lnTo>
                <a:close/>
                <a:moveTo>
                  <a:pt x="3723" y="1593"/>
                </a:moveTo>
                <a:lnTo>
                  <a:pt x="3726" y="1591"/>
                </a:lnTo>
                <a:lnTo>
                  <a:pt x="3729" y="1591"/>
                </a:lnTo>
                <a:lnTo>
                  <a:pt x="3733" y="1591"/>
                </a:lnTo>
                <a:lnTo>
                  <a:pt x="3736" y="1591"/>
                </a:lnTo>
                <a:lnTo>
                  <a:pt x="3739" y="1593"/>
                </a:lnTo>
                <a:lnTo>
                  <a:pt x="3741" y="1595"/>
                </a:lnTo>
                <a:lnTo>
                  <a:pt x="3743" y="1597"/>
                </a:lnTo>
                <a:lnTo>
                  <a:pt x="3745" y="1599"/>
                </a:lnTo>
                <a:lnTo>
                  <a:pt x="3746" y="1602"/>
                </a:lnTo>
                <a:lnTo>
                  <a:pt x="3746" y="1605"/>
                </a:lnTo>
                <a:lnTo>
                  <a:pt x="3745" y="1611"/>
                </a:lnTo>
                <a:lnTo>
                  <a:pt x="3744" y="1614"/>
                </a:lnTo>
                <a:lnTo>
                  <a:pt x="3742" y="1616"/>
                </a:lnTo>
                <a:lnTo>
                  <a:pt x="3741" y="1618"/>
                </a:lnTo>
                <a:lnTo>
                  <a:pt x="3738" y="1619"/>
                </a:lnTo>
                <a:lnTo>
                  <a:pt x="3735" y="1621"/>
                </a:lnTo>
                <a:lnTo>
                  <a:pt x="3732" y="1621"/>
                </a:lnTo>
                <a:lnTo>
                  <a:pt x="3729" y="1621"/>
                </a:lnTo>
                <a:lnTo>
                  <a:pt x="3726" y="1620"/>
                </a:lnTo>
                <a:lnTo>
                  <a:pt x="3723" y="1619"/>
                </a:lnTo>
                <a:lnTo>
                  <a:pt x="3720" y="1617"/>
                </a:lnTo>
                <a:lnTo>
                  <a:pt x="3718" y="1615"/>
                </a:lnTo>
                <a:lnTo>
                  <a:pt x="3717" y="1613"/>
                </a:lnTo>
                <a:lnTo>
                  <a:pt x="3716" y="1610"/>
                </a:lnTo>
                <a:lnTo>
                  <a:pt x="3715" y="1607"/>
                </a:lnTo>
                <a:lnTo>
                  <a:pt x="3716" y="1601"/>
                </a:lnTo>
                <a:lnTo>
                  <a:pt x="3717" y="1598"/>
                </a:lnTo>
                <a:lnTo>
                  <a:pt x="3719" y="1596"/>
                </a:lnTo>
                <a:lnTo>
                  <a:pt x="3721" y="1594"/>
                </a:lnTo>
                <a:lnTo>
                  <a:pt x="3723" y="1593"/>
                </a:lnTo>
                <a:close/>
                <a:moveTo>
                  <a:pt x="2491" y="2213"/>
                </a:moveTo>
                <a:lnTo>
                  <a:pt x="2493" y="2211"/>
                </a:lnTo>
                <a:lnTo>
                  <a:pt x="2496" y="2211"/>
                </a:lnTo>
                <a:lnTo>
                  <a:pt x="2498" y="2210"/>
                </a:lnTo>
                <a:lnTo>
                  <a:pt x="2501" y="2211"/>
                </a:lnTo>
                <a:lnTo>
                  <a:pt x="2504" y="2211"/>
                </a:lnTo>
                <a:lnTo>
                  <a:pt x="2507" y="2213"/>
                </a:lnTo>
                <a:lnTo>
                  <a:pt x="2509" y="2214"/>
                </a:lnTo>
                <a:lnTo>
                  <a:pt x="2511" y="2217"/>
                </a:lnTo>
                <a:lnTo>
                  <a:pt x="2513" y="2219"/>
                </a:lnTo>
                <a:lnTo>
                  <a:pt x="2514" y="2222"/>
                </a:lnTo>
                <a:lnTo>
                  <a:pt x="2514" y="2225"/>
                </a:lnTo>
                <a:lnTo>
                  <a:pt x="2514" y="2228"/>
                </a:lnTo>
                <a:lnTo>
                  <a:pt x="2513" y="2232"/>
                </a:lnTo>
                <a:lnTo>
                  <a:pt x="2512" y="2235"/>
                </a:lnTo>
                <a:lnTo>
                  <a:pt x="2509" y="2237"/>
                </a:lnTo>
                <a:lnTo>
                  <a:pt x="2507" y="2239"/>
                </a:lnTo>
                <a:lnTo>
                  <a:pt x="2504" y="2240"/>
                </a:lnTo>
                <a:lnTo>
                  <a:pt x="2502" y="2241"/>
                </a:lnTo>
                <a:lnTo>
                  <a:pt x="2499" y="2241"/>
                </a:lnTo>
                <a:lnTo>
                  <a:pt x="2497" y="2241"/>
                </a:lnTo>
                <a:lnTo>
                  <a:pt x="2494" y="2240"/>
                </a:lnTo>
                <a:lnTo>
                  <a:pt x="2491" y="2239"/>
                </a:lnTo>
                <a:lnTo>
                  <a:pt x="2489" y="2237"/>
                </a:lnTo>
                <a:lnTo>
                  <a:pt x="2487" y="2235"/>
                </a:lnTo>
                <a:lnTo>
                  <a:pt x="2485" y="2233"/>
                </a:lnTo>
                <a:lnTo>
                  <a:pt x="2484" y="2230"/>
                </a:lnTo>
                <a:lnTo>
                  <a:pt x="2484" y="2227"/>
                </a:lnTo>
                <a:lnTo>
                  <a:pt x="2484" y="2224"/>
                </a:lnTo>
                <a:lnTo>
                  <a:pt x="2485" y="2220"/>
                </a:lnTo>
                <a:lnTo>
                  <a:pt x="2486" y="2217"/>
                </a:lnTo>
                <a:lnTo>
                  <a:pt x="2488" y="2215"/>
                </a:lnTo>
                <a:lnTo>
                  <a:pt x="2491" y="2213"/>
                </a:lnTo>
                <a:close/>
                <a:moveTo>
                  <a:pt x="3586" y="1549"/>
                </a:moveTo>
                <a:lnTo>
                  <a:pt x="3589" y="1548"/>
                </a:lnTo>
                <a:lnTo>
                  <a:pt x="3592" y="1547"/>
                </a:lnTo>
                <a:lnTo>
                  <a:pt x="3595" y="1547"/>
                </a:lnTo>
                <a:lnTo>
                  <a:pt x="3598" y="1547"/>
                </a:lnTo>
                <a:lnTo>
                  <a:pt x="3601" y="1548"/>
                </a:lnTo>
                <a:lnTo>
                  <a:pt x="3603" y="1550"/>
                </a:lnTo>
                <a:lnTo>
                  <a:pt x="3605" y="1552"/>
                </a:lnTo>
                <a:lnTo>
                  <a:pt x="3607" y="1555"/>
                </a:lnTo>
                <a:lnTo>
                  <a:pt x="3608" y="1557"/>
                </a:lnTo>
                <a:lnTo>
                  <a:pt x="3609" y="1560"/>
                </a:lnTo>
                <a:lnTo>
                  <a:pt x="3609" y="1563"/>
                </a:lnTo>
                <a:lnTo>
                  <a:pt x="3608" y="1566"/>
                </a:lnTo>
                <a:lnTo>
                  <a:pt x="3607" y="1569"/>
                </a:lnTo>
                <a:lnTo>
                  <a:pt x="3606" y="1572"/>
                </a:lnTo>
                <a:lnTo>
                  <a:pt x="3604" y="1574"/>
                </a:lnTo>
                <a:lnTo>
                  <a:pt x="3601" y="1575"/>
                </a:lnTo>
                <a:lnTo>
                  <a:pt x="3599" y="1577"/>
                </a:lnTo>
                <a:lnTo>
                  <a:pt x="3596" y="1577"/>
                </a:lnTo>
                <a:lnTo>
                  <a:pt x="3593" y="1577"/>
                </a:lnTo>
                <a:lnTo>
                  <a:pt x="3589" y="1577"/>
                </a:lnTo>
                <a:lnTo>
                  <a:pt x="3587" y="1576"/>
                </a:lnTo>
                <a:lnTo>
                  <a:pt x="3584" y="1574"/>
                </a:lnTo>
                <a:lnTo>
                  <a:pt x="3582" y="1572"/>
                </a:lnTo>
                <a:lnTo>
                  <a:pt x="3580" y="1570"/>
                </a:lnTo>
                <a:lnTo>
                  <a:pt x="3579" y="1567"/>
                </a:lnTo>
                <a:lnTo>
                  <a:pt x="3578" y="1564"/>
                </a:lnTo>
                <a:lnTo>
                  <a:pt x="3578" y="1561"/>
                </a:lnTo>
                <a:lnTo>
                  <a:pt x="3579" y="1558"/>
                </a:lnTo>
                <a:lnTo>
                  <a:pt x="3580" y="1555"/>
                </a:lnTo>
                <a:lnTo>
                  <a:pt x="3582" y="1553"/>
                </a:lnTo>
                <a:lnTo>
                  <a:pt x="3584" y="1550"/>
                </a:lnTo>
                <a:lnTo>
                  <a:pt x="3586" y="1549"/>
                </a:lnTo>
                <a:close/>
                <a:moveTo>
                  <a:pt x="2505" y="2069"/>
                </a:moveTo>
                <a:lnTo>
                  <a:pt x="2509" y="2068"/>
                </a:lnTo>
                <a:lnTo>
                  <a:pt x="2512" y="2067"/>
                </a:lnTo>
                <a:lnTo>
                  <a:pt x="2514" y="2067"/>
                </a:lnTo>
                <a:lnTo>
                  <a:pt x="2520" y="2069"/>
                </a:lnTo>
                <a:lnTo>
                  <a:pt x="2522" y="2070"/>
                </a:lnTo>
                <a:lnTo>
                  <a:pt x="2524" y="2072"/>
                </a:lnTo>
                <a:lnTo>
                  <a:pt x="2526" y="2075"/>
                </a:lnTo>
                <a:lnTo>
                  <a:pt x="2527" y="2078"/>
                </a:lnTo>
                <a:lnTo>
                  <a:pt x="2528" y="2081"/>
                </a:lnTo>
                <a:lnTo>
                  <a:pt x="2528" y="2084"/>
                </a:lnTo>
                <a:lnTo>
                  <a:pt x="2527" y="2087"/>
                </a:lnTo>
                <a:lnTo>
                  <a:pt x="2526" y="2091"/>
                </a:lnTo>
                <a:lnTo>
                  <a:pt x="2524" y="2094"/>
                </a:lnTo>
                <a:lnTo>
                  <a:pt x="2521" y="2096"/>
                </a:lnTo>
                <a:lnTo>
                  <a:pt x="2516" y="2098"/>
                </a:lnTo>
                <a:lnTo>
                  <a:pt x="2514" y="2098"/>
                </a:lnTo>
                <a:lnTo>
                  <a:pt x="2512" y="2098"/>
                </a:lnTo>
                <a:lnTo>
                  <a:pt x="2506" y="2096"/>
                </a:lnTo>
                <a:lnTo>
                  <a:pt x="2503" y="2095"/>
                </a:lnTo>
                <a:lnTo>
                  <a:pt x="2501" y="2093"/>
                </a:lnTo>
                <a:lnTo>
                  <a:pt x="2500" y="2090"/>
                </a:lnTo>
                <a:lnTo>
                  <a:pt x="2498" y="2088"/>
                </a:lnTo>
                <a:lnTo>
                  <a:pt x="2498" y="2085"/>
                </a:lnTo>
                <a:lnTo>
                  <a:pt x="2498" y="2082"/>
                </a:lnTo>
                <a:lnTo>
                  <a:pt x="2498" y="2078"/>
                </a:lnTo>
                <a:lnTo>
                  <a:pt x="2500" y="2074"/>
                </a:lnTo>
                <a:lnTo>
                  <a:pt x="2502" y="2071"/>
                </a:lnTo>
                <a:lnTo>
                  <a:pt x="2505" y="2069"/>
                </a:lnTo>
                <a:close/>
                <a:moveTo>
                  <a:pt x="3446" y="1515"/>
                </a:moveTo>
                <a:lnTo>
                  <a:pt x="3449" y="1514"/>
                </a:lnTo>
                <a:lnTo>
                  <a:pt x="3451" y="1513"/>
                </a:lnTo>
                <a:lnTo>
                  <a:pt x="3457" y="1513"/>
                </a:lnTo>
                <a:lnTo>
                  <a:pt x="3460" y="1514"/>
                </a:lnTo>
                <a:lnTo>
                  <a:pt x="3462" y="1515"/>
                </a:lnTo>
                <a:lnTo>
                  <a:pt x="3465" y="1517"/>
                </a:lnTo>
                <a:lnTo>
                  <a:pt x="3467" y="1520"/>
                </a:lnTo>
                <a:lnTo>
                  <a:pt x="3468" y="1522"/>
                </a:lnTo>
                <a:lnTo>
                  <a:pt x="3469" y="1525"/>
                </a:lnTo>
                <a:lnTo>
                  <a:pt x="3469" y="1528"/>
                </a:lnTo>
                <a:lnTo>
                  <a:pt x="3469" y="1531"/>
                </a:lnTo>
                <a:lnTo>
                  <a:pt x="3468" y="1534"/>
                </a:lnTo>
                <a:lnTo>
                  <a:pt x="3466" y="1537"/>
                </a:lnTo>
                <a:lnTo>
                  <a:pt x="3464" y="1540"/>
                </a:lnTo>
                <a:lnTo>
                  <a:pt x="3462" y="1541"/>
                </a:lnTo>
                <a:lnTo>
                  <a:pt x="3459" y="1543"/>
                </a:lnTo>
                <a:lnTo>
                  <a:pt x="3456" y="1543"/>
                </a:lnTo>
                <a:lnTo>
                  <a:pt x="3451" y="1543"/>
                </a:lnTo>
                <a:lnTo>
                  <a:pt x="3448" y="1542"/>
                </a:lnTo>
                <a:lnTo>
                  <a:pt x="3445" y="1541"/>
                </a:lnTo>
                <a:lnTo>
                  <a:pt x="3443" y="1539"/>
                </a:lnTo>
                <a:lnTo>
                  <a:pt x="3441" y="1537"/>
                </a:lnTo>
                <a:lnTo>
                  <a:pt x="3440" y="1534"/>
                </a:lnTo>
                <a:lnTo>
                  <a:pt x="3439" y="1531"/>
                </a:lnTo>
                <a:lnTo>
                  <a:pt x="3438" y="1528"/>
                </a:lnTo>
                <a:lnTo>
                  <a:pt x="3439" y="1525"/>
                </a:lnTo>
                <a:lnTo>
                  <a:pt x="3440" y="1522"/>
                </a:lnTo>
                <a:lnTo>
                  <a:pt x="3441" y="1519"/>
                </a:lnTo>
                <a:lnTo>
                  <a:pt x="3444" y="1517"/>
                </a:lnTo>
                <a:lnTo>
                  <a:pt x="3446" y="1515"/>
                </a:lnTo>
                <a:close/>
                <a:moveTo>
                  <a:pt x="3304" y="1493"/>
                </a:moveTo>
                <a:lnTo>
                  <a:pt x="3308" y="1491"/>
                </a:lnTo>
                <a:lnTo>
                  <a:pt x="3311" y="1491"/>
                </a:lnTo>
                <a:lnTo>
                  <a:pt x="3313" y="1491"/>
                </a:lnTo>
                <a:lnTo>
                  <a:pt x="3316" y="1492"/>
                </a:lnTo>
                <a:lnTo>
                  <a:pt x="3319" y="1493"/>
                </a:lnTo>
                <a:lnTo>
                  <a:pt x="3321" y="1495"/>
                </a:lnTo>
                <a:lnTo>
                  <a:pt x="3323" y="1497"/>
                </a:lnTo>
                <a:lnTo>
                  <a:pt x="3325" y="1499"/>
                </a:lnTo>
                <a:lnTo>
                  <a:pt x="3326" y="1502"/>
                </a:lnTo>
                <a:lnTo>
                  <a:pt x="3327" y="1505"/>
                </a:lnTo>
                <a:lnTo>
                  <a:pt x="3327" y="1508"/>
                </a:lnTo>
                <a:lnTo>
                  <a:pt x="3326" y="1512"/>
                </a:lnTo>
                <a:lnTo>
                  <a:pt x="3324" y="1515"/>
                </a:lnTo>
                <a:lnTo>
                  <a:pt x="3322" y="1518"/>
                </a:lnTo>
                <a:lnTo>
                  <a:pt x="3319" y="1520"/>
                </a:lnTo>
                <a:lnTo>
                  <a:pt x="3315" y="1522"/>
                </a:lnTo>
                <a:lnTo>
                  <a:pt x="3313" y="1522"/>
                </a:lnTo>
                <a:lnTo>
                  <a:pt x="3310" y="1522"/>
                </a:lnTo>
                <a:lnTo>
                  <a:pt x="3307" y="1521"/>
                </a:lnTo>
                <a:lnTo>
                  <a:pt x="3304" y="1520"/>
                </a:lnTo>
                <a:lnTo>
                  <a:pt x="3302" y="1518"/>
                </a:lnTo>
                <a:lnTo>
                  <a:pt x="3300" y="1516"/>
                </a:lnTo>
                <a:lnTo>
                  <a:pt x="3298" y="1514"/>
                </a:lnTo>
                <a:lnTo>
                  <a:pt x="3297" y="1511"/>
                </a:lnTo>
                <a:lnTo>
                  <a:pt x="3296" y="1508"/>
                </a:lnTo>
                <a:lnTo>
                  <a:pt x="3296" y="1505"/>
                </a:lnTo>
                <a:lnTo>
                  <a:pt x="3297" y="1501"/>
                </a:lnTo>
                <a:lnTo>
                  <a:pt x="3299" y="1498"/>
                </a:lnTo>
                <a:lnTo>
                  <a:pt x="3301" y="1495"/>
                </a:lnTo>
                <a:lnTo>
                  <a:pt x="3304" y="1493"/>
                </a:lnTo>
                <a:close/>
                <a:moveTo>
                  <a:pt x="2517" y="1926"/>
                </a:moveTo>
                <a:lnTo>
                  <a:pt x="2519" y="1925"/>
                </a:lnTo>
                <a:lnTo>
                  <a:pt x="2521" y="1924"/>
                </a:lnTo>
                <a:lnTo>
                  <a:pt x="2524" y="1924"/>
                </a:lnTo>
                <a:lnTo>
                  <a:pt x="2526" y="1924"/>
                </a:lnTo>
                <a:lnTo>
                  <a:pt x="2529" y="1924"/>
                </a:lnTo>
                <a:lnTo>
                  <a:pt x="2532" y="1926"/>
                </a:lnTo>
                <a:lnTo>
                  <a:pt x="2535" y="1927"/>
                </a:lnTo>
                <a:lnTo>
                  <a:pt x="2536" y="1928"/>
                </a:lnTo>
                <a:lnTo>
                  <a:pt x="2537" y="1930"/>
                </a:lnTo>
                <a:lnTo>
                  <a:pt x="2537" y="1931"/>
                </a:lnTo>
                <a:lnTo>
                  <a:pt x="2538" y="1932"/>
                </a:lnTo>
                <a:lnTo>
                  <a:pt x="2539" y="1935"/>
                </a:lnTo>
                <a:lnTo>
                  <a:pt x="2540" y="1938"/>
                </a:lnTo>
                <a:lnTo>
                  <a:pt x="2540" y="1941"/>
                </a:lnTo>
                <a:lnTo>
                  <a:pt x="2539" y="1944"/>
                </a:lnTo>
                <a:lnTo>
                  <a:pt x="2537" y="1948"/>
                </a:lnTo>
                <a:lnTo>
                  <a:pt x="2535" y="1950"/>
                </a:lnTo>
                <a:lnTo>
                  <a:pt x="2532" y="1952"/>
                </a:lnTo>
                <a:lnTo>
                  <a:pt x="2530" y="1953"/>
                </a:lnTo>
                <a:lnTo>
                  <a:pt x="2528" y="1954"/>
                </a:lnTo>
                <a:lnTo>
                  <a:pt x="2525" y="1954"/>
                </a:lnTo>
                <a:lnTo>
                  <a:pt x="2523" y="1954"/>
                </a:lnTo>
                <a:lnTo>
                  <a:pt x="2520" y="1954"/>
                </a:lnTo>
                <a:lnTo>
                  <a:pt x="2517" y="1952"/>
                </a:lnTo>
                <a:lnTo>
                  <a:pt x="2514" y="1951"/>
                </a:lnTo>
                <a:lnTo>
                  <a:pt x="2513" y="1950"/>
                </a:lnTo>
                <a:lnTo>
                  <a:pt x="2512" y="1949"/>
                </a:lnTo>
                <a:lnTo>
                  <a:pt x="2512" y="1947"/>
                </a:lnTo>
                <a:lnTo>
                  <a:pt x="2511" y="1946"/>
                </a:lnTo>
                <a:lnTo>
                  <a:pt x="2510" y="1943"/>
                </a:lnTo>
                <a:lnTo>
                  <a:pt x="2509" y="1940"/>
                </a:lnTo>
                <a:lnTo>
                  <a:pt x="2509" y="1937"/>
                </a:lnTo>
                <a:lnTo>
                  <a:pt x="2510" y="1934"/>
                </a:lnTo>
                <a:lnTo>
                  <a:pt x="2512" y="1930"/>
                </a:lnTo>
                <a:lnTo>
                  <a:pt x="2514" y="1928"/>
                </a:lnTo>
                <a:lnTo>
                  <a:pt x="2517" y="1926"/>
                </a:lnTo>
                <a:close/>
                <a:moveTo>
                  <a:pt x="3160" y="1487"/>
                </a:moveTo>
                <a:lnTo>
                  <a:pt x="3162" y="1486"/>
                </a:lnTo>
                <a:lnTo>
                  <a:pt x="3164" y="1486"/>
                </a:lnTo>
                <a:lnTo>
                  <a:pt x="3168" y="1485"/>
                </a:lnTo>
                <a:lnTo>
                  <a:pt x="3171" y="1485"/>
                </a:lnTo>
                <a:lnTo>
                  <a:pt x="3174" y="1486"/>
                </a:lnTo>
                <a:lnTo>
                  <a:pt x="3176" y="1488"/>
                </a:lnTo>
                <a:lnTo>
                  <a:pt x="3179" y="1490"/>
                </a:lnTo>
                <a:lnTo>
                  <a:pt x="3181" y="1492"/>
                </a:lnTo>
                <a:lnTo>
                  <a:pt x="3182" y="1494"/>
                </a:lnTo>
                <a:lnTo>
                  <a:pt x="3183" y="1497"/>
                </a:lnTo>
                <a:lnTo>
                  <a:pt x="3183" y="1500"/>
                </a:lnTo>
                <a:lnTo>
                  <a:pt x="3183" y="1505"/>
                </a:lnTo>
                <a:lnTo>
                  <a:pt x="3181" y="1508"/>
                </a:lnTo>
                <a:lnTo>
                  <a:pt x="3179" y="1511"/>
                </a:lnTo>
                <a:lnTo>
                  <a:pt x="3176" y="1514"/>
                </a:lnTo>
                <a:lnTo>
                  <a:pt x="3174" y="1515"/>
                </a:lnTo>
                <a:lnTo>
                  <a:pt x="3172" y="1515"/>
                </a:lnTo>
                <a:lnTo>
                  <a:pt x="3168" y="1516"/>
                </a:lnTo>
                <a:lnTo>
                  <a:pt x="3165" y="1516"/>
                </a:lnTo>
                <a:lnTo>
                  <a:pt x="3162" y="1515"/>
                </a:lnTo>
                <a:lnTo>
                  <a:pt x="3160" y="1514"/>
                </a:lnTo>
                <a:lnTo>
                  <a:pt x="3157" y="1512"/>
                </a:lnTo>
                <a:lnTo>
                  <a:pt x="3155" y="1509"/>
                </a:lnTo>
                <a:lnTo>
                  <a:pt x="3154" y="1507"/>
                </a:lnTo>
                <a:lnTo>
                  <a:pt x="3153" y="1504"/>
                </a:lnTo>
                <a:lnTo>
                  <a:pt x="3153" y="1501"/>
                </a:lnTo>
                <a:lnTo>
                  <a:pt x="3153" y="1497"/>
                </a:lnTo>
                <a:lnTo>
                  <a:pt x="3155" y="1493"/>
                </a:lnTo>
                <a:lnTo>
                  <a:pt x="3157" y="1490"/>
                </a:lnTo>
                <a:lnTo>
                  <a:pt x="3160" y="1487"/>
                </a:lnTo>
                <a:close/>
                <a:moveTo>
                  <a:pt x="2548" y="1785"/>
                </a:moveTo>
                <a:lnTo>
                  <a:pt x="2552" y="1784"/>
                </a:lnTo>
                <a:lnTo>
                  <a:pt x="2555" y="1783"/>
                </a:lnTo>
                <a:lnTo>
                  <a:pt x="2558" y="1783"/>
                </a:lnTo>
                <a:lnTo>
                  <a:pt x="2562" y="1784"/>
                </a:lnTo>
                <a:lnTo>
                  <a:pt x="2563" y="1785"/>
                </a:lnTo>
                <a:lnTo>
                  <a:pt x="2564" y="1785"/>
                </a:lnTo>
                <a:lnTo>
                  <a:pt x="2567" y="1788"/>
                </a:lnTo>
                <a:lnTo>
                  <a:pt x="2569" y="1790"/>
                </a:lnTo>
                <a:lnTo>
                  <a:pt x="2570" y="1793"/>
                </a:lnTo>
                <a:lnTo>
                  <a:pt x="2571" y="1796"/>
                </a:lnTo>
                <a:lnTo>
                  <a:pt x="2572" y="1799"/>
                </a:lnTo>
                <a:lnTo>
                  <a:pt x="2571" y="1802"/>
                </a:lnTo>
                <a:lnTo>
                  <a:pt x="2571" y="1805"/>
                </a:lnTo>
                <a:lnTo>
                  <a:pt x="2569" y="1807"/>
                </a:lnTo>
                <a:lnTo>
                  <a:pt x="2568" y="1809"/>
                </a:lnTo>
                <a:lnTo>
                  <a:pt x="2566" y="1811"/>
                </a:lnTo>
                <a:lnTo>
                  <a:pt x="2564" y="1813"/>
                </a:lnTo>
                <a:lnTo>
                  <a:pt x="2561" y="1814"/>
                </a:lnTo>
                <a:lnTo>
                  <a:pt x="2558" y="1815"/>
                </a:lnTo>
                <a:lnTo>
                  <a:pt x="2554" y="1814"/>
                </a:lnTo>
                <a:lnTo>
                  <a:pt x="2551" y="1814"/>
                </a:lnTo>
                <a:lnTo>
                  <a:pt x="2549" y="1813"/>
                </a:lnTo>
                <a:lnTo>
                  <a:pt x="2548" y="1812"/>
                </a:lnTo>
                <a:lnTo>
                  <a:pt x="2546" y="1810"/>
                </a:lnTo>
                <a:lnTo>
                  <a:pt x="2544" y="1808"/>
                </a:lnTo>
                <a:lnTo>
                  <a:pt x="2542" y="1805"/>
                </a:lnTo>
                <a:lnTo>
                  <a:pt x="2541" y="1803"/>
                </a:lnTo>
                <a:lnTo>
                  <a:pt x="2541" y="1800"/>
                </a:lnTo>
                <a:lnTo>
                  <a:pt x="2541" y="1797"/>
                </a:lnTo>
                <a:lnTo>
                  <a:pt x="2542" y="1794"/>
                </a:lnTo>
                <a:lnTo>
                  <a:pt x="2543" y="1791"/>
                </a:lnTo>
                <a:lnTo>
                  <a:pt x="2545" y="1789"/>
                </a:lnTo>
                <a:lnTo>
                  <a:pt x="2546" y="1787"/>
                </a:lnTo>
                <a:lnTo>
                  <a:pt x="2548" y="1785"/>
                </a:lnTo>
                <a:close/>
                <a:moveTo>
                  <a:pt x="3017" y="1500"/>
                </a:moveTo>
                <a:lnTo>
                  <a:pt x="3020" y="1499"/>
                </a:lnTo>
                <a:lnTo>
                  <a:pt x="3022" y="1498"/>
                </a:lnTo>
                <a:lnTo>
                  <a:pt x="3025" y="1498"/>
                </a:lnTo>
                <a:lnTo>
                  <a:pt x="3028" y="1498"/>
                </a:lnTo>
                <a:lnTo>
                  <a:pt x="3031" y="1499"/>
                </a:lnTo>
                <a:lnTo>
                  <a:pt x="3034" y="1501"/>
                </a:lnTo>
                <a:lnTo>
                  <a:pt x="3036" y="1503"/>
                </a:lnTo>
                <a:lnTo>
                  <a:pt x="3038" y="1505"/>
                </a:lnTo>
                <a:lnTo>
                  <a:pt x="3039" y="1508"/>
                </a:lnTo>
                <a:lnTo>
                  <a:pt x="3040" y="1511"/>
                </a:lnTo>
                <a:lnTo>
                  <a:pt x="3040" y="1516"/>
                </a:lnTo>
                <a:lnTo>
                  <a:pt x="3039" y="1520"/>
                </a:lnTo>
                <a:lnTo>
                  <a:pt x="3036" y="1524"/>
                </a:lnTo>
                <a:lnTo>
                  <a:pt x="3032" y="1527"/>
                </a:lnTo>
                <a:lnTo>
                  <a:pt x="3030" y="1528"/>
                </a:lnTo>
                <a:lnTo>
                  <a:pt x="3027" y="1528"/>
                </a:lnTo>
                <a:lnTo>
                  <a:pt x="3024" y="1529"/>
                </a:lnTo>
                <a:lnTo>
                  <a:pt x="3021" y="1528"/>
                </a:lnTo>
                <a:lnTo>
                  <a:pt x="3018" y="1527"/>
                </a:lnTo>
                <a:lnTo>
                  <a:pt x="3016" y="1526"/>
                </a:lnTo>
                <a:lnTo>
                  <a:pt x="3013" y="1524"/>
                </a:lnTo>
                <a:lnTo>
                  <a:pt x="3012" y="1521"/>
                </a:lnTo>
                <a:lnTo>
                  <a:pt x="3010" y="1519"/>
                </a:lnTo>
                <a:lnTo>
                  <a:pt x="3010" y="1516"/>
                </a:lnTo>
                <a:lnTo>
                  <a:pt x="3010" y="1511"/>
                </a:lnTo>
                <a:lnTo>
                  <a:pt x="3011" y="1506"/>
                </a:lnTo>
                <a:lnTo>
                  <a:pt x="3013" y="1503"/>
                </a:lnTo>
                <a:lnTo>
                  <a:pt x="3017" y="1500"/>
                </a:lnTo>
                <a:close/>
                <a:moveTo>
                  <a:pt x="2877" y="1532"/>
                </a:moveTo>
                <a:lnTo>
                  <a:pt x="2880" y="1531"/>
                </a:lnTo>
                <a:lnTo>
                  <a:pt x="2883" y="1530"/>
                </a:lnTo>
                <a:lnTo>
                  <a:pt x="2886" y="1530"/>
                </a:lnTo>
                <a:lnTo>
                  <a:pt x="2889" y="1531"/>
                </a:lnTo>
                <a:lnTo>
                  <a:pt x="2892" y="1532"/>
                </a:lnTo>
                <a:lnTo>
                  <a:pt x="2894" y="1534"/>
                </a:lnTo>
                <a:lnTo>
                  <a:pt x="2897" y="1536"/>
                </a:lnTo>
                <a:lnTo>
                  <a:pt x="2898" y="1538"/>
                </a:lnTo>
                <a:lnTo>
                  <a:pt x="2900" y="1541"/>
                </a:lnTo>
                <a:lnTo>
                  <a:pt x="2900" y="1546"/>
                </a:lnTo>
                <a:lnTo>
                  <a:pt x="2900" y="1549"/>
                </a:lnTo>
                <a:lnTo>
                  <a:pt x="2899" y="1551"/>
                </a:lnTo>
                <a:lnTo>
                  <a:pt x="2897" y="1556"/>
                </a:lnTo>
                <a:lnTo>
                  <a:pt x="2895" y="1558"/>
                </a:lnTo>
                <a:lnTo>
                  <a:pt x="2893" y="1559"/>
                </a:lnTo>
                <a:lnTo>
                  <a:pt x="2889" y="1560"/>
                </a:lnTo>
                <a:lnTo>
                  <a:pt x="2886" y="1561"/>
                </a:lnTo>
                <a:lnTo>
                  <a:pt x="2883" y="1561"/>
                </a:lnTo>
                <a:lnTo>
                  <a:pt x="2880" y="1561"/>
                </a:lnTo>
                <a:lnTo>
                  <a:pt x="2878" y="1559"/>
                </a:lnTo>
                <a:lnTo>
                  <a:pt x="2875" y="1558"/>
                </a:lnTo>
                <a:lnTo>
                  <a:pt x="2873" y="1556"/>
                </a:lnTo>
                <a:lnTo>
                  <a:pt x="2871" y="1553"/>
                </a:lnTo>
                <a:lnTo>
                  <a:pt x="2870" y="1550"/>
                </a:lnTo>
                <a:lnTo>
                  <a:pt x="2869" y="1545"/>
                </a:lnTo>
                <a:lnTo>
                  <a:pt x="2870" y="1543"/>
                </a:lnTo>
                <a:lnTo>
                  <a:pt x="2871" y="1540"/>
                </a:lnTo>
                <a:lnTo>
                  <a:pt x="2872" y="1538"/>
                </a:lnTo>
                <a:lnTo>
                  <a:pt x="2873" y="1536"/>
                </a:lnTo>
                <a:lnTo>
                  <a:pt x="2875" y="1534"/>
                </a:lnTo>
                <a:lnTo>
                  <a:pt x="2877" y="1532"/>
                </a:lnTo>
                <a:close/>
                <a:moveTo>
                  <a:pt x="2626" y="1666"/>
                </a:moveTo>
                <a:lnTo>
                  <a:pt x="2628" y="1664"/>
                </a:lnTo>
                <a:lnTo>
                  <a:pt x="2630" y="1664"/>
                </a:lnTo>
                <a:lnTo>
                  <a:pt x="2633" y="1664"/>
                </a:lnTo>
                <a:lnTo>
                  <a:pt x="2635" y="1664"/>
                </a:lnTo>
                <a:lnTo>
                  <a:pt x="2638" y="1664"/>
                </a:lnTo>
                <a:lnTo>
                  <a:pt x="2640" y="1665"/>
                </a:lnTo>
                <a:lnTo>
                  <a:pt x="2642" y="1666"/>
                </a:lnTo>
                <a:lnTo>
                  <a:pt x="2644" y="1668"/>
                </a:lnTo>
                <a:lnTo>
                  <a:pt x="2646" y="1670"/>
                </a:lnTo>
                <a:lnTo>
                  <a:pt x="2648" y="1673"/>
                </a:lnTo>
                <a:lnTo>
                  <a:pt x="2648" y="1676"/>
                </a:lnTo>
                <a:lnTo>
                  <a:pt x="2649" y="1679"/>
                </a:lnTo>
                <a:lnTo>
                  <a:pt x="2648" y="1682"/>
                </a:lnTo>
                <a:lnTo>
                  <a:pt x="2647" y="1685"/>
                </a:lnTo>
                <a:lnTo>
                  <a:pt x="2646" y="1687"/>
                </a:lnTo>
                <a:lnTo>
                  <a:pt x="2644" y="1690"/>
                </a:lnTo>
                <a:lnTo>
                  <a:pt x="2641" y="1692"/>
                </a:lnTo>
                <a:lnTo>
                  <a:pt x="2639" y="1693"/>
                </a:lnTo>
                <a:lnTo>
                  <a:pt x="2636" y="1694"/>
                </a:lnTo>
                <a:lnTo>
                  <a:pt x="2634" y="1694"/>
                </a:lnTo>
                <a:lnTo>
                  <a:pt x="2631" y="1694"/>
                </a:lnTo>
                <a:lnTo>
                  <a:pt x="2629" y="1694"/>
                </a:lnTo>
                <a:lnTo>
                  <a:pt x="2627" y="1693"/>
                </a:lnTo>
                <a:lnTo>
                  <a:pt x="2624" y="1691"/>
                </a:lnTo>
                <a:lnTo>
                  <a:pt x="2622" y="1690"/>
                </a:lnTo>
                <a:lnTo>
                  <a:pt x="2620" y="1687"/>
                </a:lnTo>
                <a:lnTo>
                  <a:pt x="2619" y="1685"/>
                </a:lnTo>
                <a:lnTo>
                  <a:pt x="2618" y="1682"/>
                </a:lnTo>
                <a:lnTo>
                  <a:pt x="2618" y="1679"/>
                </a:lnTo>
                <a:lnTo>
                  <a:pt x="2618" y="1676"/>
                </a:lnTo>
                <a:lnTo>
                  <a:pt x="2619" y="1673"/>
                </a:lnTo>
                <a:lnTo>
                  <a:pt x="2620" y="1670"/>
                </a:lnTo>
                <a:lnTo>
                  <a:pt x="2622" y="1668"/>
                </a:lnTo>
                <a:lnTo>
                  <a:pt x="2626" y="1666"/>
                </a:lnTo>
                <a:close/>
                <a:moveTo>
                  <a:pt x="2743" y="1585"/>
                </a:moveTo>
                <a:lnTo>
                  <a:pt x="2746" y="1583"/>
                </a:lnTo>
                <a:lnTo>
                  <a:pt x="2750" y="1583"/>
                </a:lnTo>
                <a:lnTo>
                  <a:pt x="2753" y="1583"/>
                </a:lnTo>
                <a:lnTo>
                  <a:pt x="2756" y="1584"/>
                </a:lnTo>
                <a:lnTo>
                  <a:pt x="2759" y="1585"/>
                </a:lnTo>
                <a:lnTo>
                  <a:pt x="2761" y="1586"/>
                </a:lnTo>
                <a:lnTo>
                  <a:pt x="2763" y="1589"/>
                </a:lnTo>
                <a:lnTo>
                  <a:pt x="2765" y="1591"/>
                </a:lnTo>
                <a:lnTo>
                  <a:pt x="2766" y="1594"/>
                </a:lnTo>
                <a:lnTo>
                  <a:pt x="2766" y="1597"/>
                </a:lnTo>
                <a:lnTo>
                  <a:pt x="2766" y="1600"/>
                </a:lnTo>
                <a:lnTo>
                  <a:pt x="2766" y="1603"/>
                </a:lnTo>
                <a:lnTo>
                  <a:pt x="2765" y="1605"/>
                </a:lnTo>
                <a:lnTo>
                  <a:pt x="2763" y="1608"/>
                </a:lnTo>
                <a:lnTo>
                  <a:pt x="2761" y="1610"/>
                </a:lnTo>
                <a:lnTo>
                  <a:pt x="2759" y="1611"/>
                </a:lnTo>
                <a:lnTo>
                  <a:pt x="2755" y="1613"/>
                </a:lnTo>
                <a:lnTo>
                  <a:pt x="2752" y="1613"/>
                </a:lnTo>
                <a:lnTo>
                  <a:pt x="2749" y="1613"/>
                </a:lnTo>
                <a:lnTo>
                  <a:pt x="2746" y="1613"/>
                </a:lnTo>
                <a:lnTo>
                  <a:pt x="2743" y="1611"/>
                </a:lnTo>
                <a:lnTo>
                  <a:pt x="2741" y="1610"/>
                </a:lnTo>
                <a:lnTo>
                  <a:pt x="2739" y="1607"/>
                </a:lnTo>
                <a:lnTo>
                  <a:pt x="2737" y="1605"/>
                </a:lnTo>
                <a:lnTo>
                  <a:pt x="2736" y="1602"/>
                </a:lnTo>
                <a:lnTo>
                  <a:pt x="2736" y="1599"/>
                </a:lnTo>
                <a:lnTo>
                  <a:pt x="2736" y="1596"/>
                </a:lnTo>
                <a:lnTo>
                  <a:pt x="2736" y="1594"/>
                </a:lnTo>
                <a:lnTo>
                  <a:pt x="2737" y="1591"/>
                </a:lnTo>
                <a:lnTo>
                  <a:pt x="2739" y="1589"/>
                </a:lnTo>
                <a:lnTo>
                  <a:pt x="2741" y="1586"/>
                </a:lnTo>
                <a:lnTo>
                  <a:pt x="2743" y="1585"/>
                </a:lnTo>
                <a:close/>
                <a:moveTo>
                  <a:pt x="4771" y="2334"/>
                </a:moveTo>
                <a:lnTo>
                  <a:pt x="4772" y="2333"/>
                </a:lnTo>
                <a:lnTo>
                  <a:pt x="4774" y="2333"/>
                </a:lnTo>
                <a:lnTo>
                  <a:pt x="4778" y="2332"/>
                </a:lnTo>
                <a:lnTo>
                  <a:pt x="4780" y="2332"/>
                </a:lnTo>
                <a:lnTo>
                  <a:pt x="4782" y="2332"/>
                </a:lnTo>
                <a:lnTo>
                  <a:pt x="4786" y="2334"/>
                </a:lnTo>
                <a:lnTo>
                  <a:pt x="4788" y="2336"/>
                </a:lnTo>
                <a:lnTo>
                  <a:pt x="4790" y="2338"/>
                </a:lnTo>
                <a:lnTo>
                  <a:pt x="4791" y="2339"/>
                </a:lnTo>
                <a:lnTo>
                  <a:pt x="4792" y="2340"/>
                </a:lnTo>
                <a:lnTo>
                  <a:pt x="4793" y="2343"/>
                </a:lnTo>
                <a:lnTo>
                  <a:pt x="4793" y="2346"/>
                </a:lnTo>
                <a:lnTo>
                  <a:pt x="4793" y="2349"/>
                </a:lnTo>
                <a:lnTo>
                  <a:pt x="4793" y="2352"/>
                </a:lnTo>
                <a:lnTo>
                  <a:pt x="4792" y="2355"/>
                </a:lnTo>
                <a:lnTo>
                  <a:pt x="4791" y="2356"/>
                </a:lnTo>
                <a:lnTo>
                  <a:pt x="4789" y="2358"/>
                </a:lnTo>
                <a:lnTo>
                  <a:pt x="4786" y="2360"/>
                </a:lnTo>
                <a:lnTo>
                  <a:pt x="4784" y="2361"/>
                </a:lnTo>
                <a:lnTo>
                  <a:pt x="4782" y="2362"/>
                </a:lnTo>
                <a:lnTo>
                  <a:pt x="4779" y="2362"/>
                </a:lnTo>
                <a:lnTo>
                  <a:pt x="4777" y="2362"/>
                </a:lnTo>
                <a:lnTo>
                  <a:pt x="4775" y="2362"/>
                </a:lnTo>
                <a:lnTo>
                  <a:pt x="4771" y="2361"/>
                </a:lnTo>
                <a:lnTo>
                  <a:pt x="4768" y="2359"/>
                </a:lnTo>
                <a:lnTo>
                  <a:pt x="4766" y="2357"/>
                </a:lnTo>
                <a:lnTo>
                  <a:pt x="4766" y="2355"/>
                </a:lnTo>
                <a:lnTo>
                  <a:pt x="4765" y="2354"/>
                </a:lnTo>
                <a:lnTo>
                  <a:pt x="4764" y="2351"/>
                </a:lnTo>
                <a:lnTo>
                  <a:pt x="4763" y="2349"/>
                </a:lnTo>
                <a:lnTo>
                  <a:pt x="4763" y="2346"/>
                </a:lnTo>
                <a:lnTo>
                  <a:pt x="4764" y="2343"/>
                </a:lnTo>
                <a:lnTo>
                  <a:pt x="4765" y="2340"/>
                </a:lnTo>
                <a:lnTo>
                  <a:pt x="4766" y="2338"/>
                </a:lnTo>
                <a:lnTo>
                  <a:pt x="4767" y="2337"/>
                </a:lnTo>
                <a:lnTo>
                  <a:pt x="4771" y="2334"/>
                </a:lnTo>
                <a:close/>
                <a:moveTo>
                  <a:pt x="4644" y="2265"/>
                </a:moveTo>
                <a:lnTo>
                  <a:pt x="4646" y="2264"/>
                </a:lnTo>
                <a:lnTo>
                  <a:pt x="4648" y="2264"/>
                </a:lnTo>
                <a:lnTo>
                  <a:pt x="4651" y="2263"/>
                </a:lnTo>
                <a:lnTo>
                  <a:pt x="4653" y="2263"/>
                </a:lnTo>
                <a:lnTo>
                  <a:pt x="4655" y="2264"/>
                </a:lnTo>
                <a:lnTo>
                  <a:pt x="4659" y="2265"/>
                </a:lnTo>
                <a:lnTo>
                  <a:pt x="4662" y="2267"/>
                </a:lnTo>
                <a:lnTo>
                  <a:pt x="4663" y="2268"/>
                </a:lnTo>
                <a:lnTo>
                  <a:pt x="4664" y="2269"/>
                </a:lnTo>
                <a:lnTo>
                  <a:pt x="4665" y="2270"/>
                </a:lnTo>
                <a:lnTo>
                  <a:pt x="4665" y="2271"/>
                </a:lnTo>
                <a:lnTo>
                  <a:pt x="4666" y="2274"/>
                </a:lnTo>
                <a:lnTo>
                  <a:pt x="4667" y="2277"/>
                </a:lnTo>
                <a:lnTo>
                  <a:pt x="4667" y="2280"/>
                </a:lnTo>
                <a:lnTo>
                  <a:pt x="4666" y="2283"/>
                </a:lnTo>
                <a:lnTo>
                  <a:pt x="4665" y="2286"/>
                </a:lnTo>
                <a:lnTo>
                  <a:pt x="4663" y="2289"/>
                </a:lnTo>
                <a:lnTo>
                  <a:pt x="4659" y="2292"/>
                </a:lnTo>
                <a:lnTo>
                  <a:pt x="4658" y="2293"/>
                </a:lnTo>
                <a:lnTo>
                  <a:pt x="4656" y="2293"/>
                </a:lnTo>
                <a:lnTo>
                  <a:pt x="4652" y="2294"/>
                </a:lnTo>
                <a:lnTo>
                  <a:pt x="4650" y="2294"/>
                </a:lnTo>
                <a:lnTo>
                  <a:pt x="4648" y="2293"/>
                </a:lnTo>
                <a:lnTo>
                  <a:pt x="4645" y="2292"/>
                </a:lnTo>
                <a:lnTo>
                  <a:pt x="4642" y="2290"/>
                </a:lnTo>
                <a:lnTo>
                  <a:pt x="4641" y="2289"/>
                </a:lnTo>
                <a:lnTo>
                  <a:pt x="4640" y="2288"/>
                </a:lnTo>
                <a:lnTo>
                  <a:pt x="4639" y="2287"/>
                </a:lnTo>
                <a:lnTo>
                  <a:pt x="4638" y="2286"/>
                </a:lnTo>
                <a:lnTo>
                  <a:pt x="4637" y="2283"/>
                </a:lnTo>
                <a:lnTo>
                  <a:pt x="4637" y="2280"/>
                </a:lnTo>
                <a:lnTo>
                  <a:pt x="4637" y="2277"/>
                </a:lnTo>
                <a:lnTo>
                  <a:pt x="4637" y="2274"/>
                </a:lnTo>
                <a:lnTo>
                  <a:pt x="4638" y="2271"/>
                </a:lnTo>
                <a:lnTo>
                  <a:pt x="4641" y="2268"/>
                </a:lnTo>
                <a:lnTo>
                  <a:pt x="4644" y="2265"/>
                </a:lnTo>
                <a:close/>
                <a:moveTo>
                  <a:pt x="4517" y="2198"/>
                </a:moveTo>
                <a:lnTo>
                  <a:pt x="4518" y="2198"/>
                </a:lnTo>
                <a:lnTo>
                  <a:pt x="4520" y="2197"/>
                </a:lnTo>
                <a:lnTo>
                  <a:pt x="4524" y="2196"/>
                </a:lnTo>
                <a:lnTo>
                  <a:pt x="4528" y="2197"/>
                </a:lnTo>
                <a:lnTo>
                  <a:pt x="4531" y="2198"/>
                </a:lnTo>
                <a:lnTo>
                  <a:pt x="4534" y="2200"/>
                </a:lnTo>
                <a:lnTo>
                  <a:pt x="4536" y="2202"/>
                </a:lnTo>
                <a:lnTo>
                  <a:pt x="4538" y="2204"/>
                </a:lnTo>
                <a:lnTo>
                  <a:pt x="4539" y="2207"/>
                </a:lnTo>
                <a:lnTo>
                  <a:pt x="4539" y="2210"/>
                </a:lnTo>
                <a:lnTo>
                  <a:pt x="4539" y="2213"/>
                </a:lnTo>
                <a:lnTo>
                  <a:pt x="4539" y="2216"/>
                </a:lnTo>
                <a:lnTo>
                  <a:pt x="4538" y="2219"/>
                </a:lnTo>
                <a:lnTo>
                  <a:pt x="4535" y="2222"/>
                </a:lnTo>
                <a:lnTo>
                  <a:pt x="4532" y="2225"/>
                </a:lnTo>
                <a:lnTo>
                  <a:pt x="4530" y="2226"/>
                </a:lnTo>
                <a:lnTo>
                  <a:pt x="4528" y="2226"/>
                </a:lnTo>
                <a:lnTo>
                  <a:pt x="4525" y="2227"/>
                </a:lnTo>
                <a:lnTo>
                  <a:pt x="4521" y="2226"/>
                </a:lnTo>
                <a:lnTo>
                  <a:pt x="4517" y="2225"/>
                </a:lnTo>
                <a:lnTo>
                  <a:pt x="4515" y="2223"/>
                </a:lnTo>
                <a:lnTo>
                  <a:pt x="4513" y="2221"/>
                </a:lnTo>
                <a:lnTo>
                  <a:pt x="4511" y="2219"/>
                </a:lnTo>
                <a:lnTo>
                  <a:pt x="4510" y="2216"/>
                </a:lnTo>
                <a:lnTo>
                  <a:pt x="4509" y="2213"/>
                </a:lnTo>
                <a:lnTo>
                  <a:pt x="4509" y="2210"/>
                </a:lnTo>
                <a:lnTo>
                  <a:pt x="4510" y="2207"/>
                </a:lnTo>
                <a:lnTo>
                  <a:pt x="4511" y="2205"/>
                </a:lnTo>
                <a:lnTo>
                  <a:pt x="4513" y="2201"/>
                </a:lnTo>
                <a:lnTo>
                  <a:pt x="4517" y="2198"/>
                </a:lnTo>
                <a:close/>
                <a:moveTo>
                  <a:pt x="4388" y="2134"/>
                </a:moveTo>
                <a:lnTo>
                  <a:pt x="4391" y="2133"/>
                </a:lnTo>
                <a:lnTo>
                  <a:pt x="4395" y="2132"/>
                </a:lnTo>
                <a:lnTo>
                  <a:pt x="4399" y="2132"/>
                </a:lnTo>
                <a:lnTo>
                  <a:pt x="4402" y="2133"/>
                </a:lnTo>
                <a:lnTo>
                  <a:pt x="4405" y="2135"/>
                </a:lnTo>
                <a:lnTo>
                  <a:pt x="4407" y="2137"/>
                </a:lnTo>
                <a:lnTo>
                  <a:pt x="4409" y="2140"/>
                </a:lnTo>
                <a:lnTo>
                  <a:pt x="4410" y="2142"/>
                </a:lnTo>
                <a:lnTo>
                  <a:pt x="4411" y="2145"/>
                </a:lnTo>
                <a:lnTo>
                  <a:pt x="4411" y="2148"/>
                </a:lnTo>
                <a:lnTo>
                  <a:pt x="4410" y="2151"/>
                </a:lnTo>
                <a:lnTo>
                  <a:pt x="4409" y="2154"/>
                </a:lnTo>
                <a:lnTo>
                  <a:pt x="4407" y="2158"/>
                </a:lnTo>
                <a:lnTo>
                  <a:pt x="4403" y="2160"/>
                </a:lnTo>
                <a:lnTo>
                  <a:pt x="4400" y="2162"/>
                </a:lnTo>
                <a:lnTo>
                  <a:pt x="4396" y="2162"/>
                </a:lnTo>
                <a:lnTo>
                  <a:pt x="4393" y="2162"/>
                </a:lnTo>
                <a:lnTo>
                  <a:pt x="4389" y="2161"/>
                </a:lnTo>
                <a:lnTo>
                  <a:pt x="4386" y="2159"/>
                </a:lnTo>
                <a:lnTo>
                  <a:pt x="4384" y="2157"/>
                </a:lnTo>
                <a:lnTo>
                  <a:pt x="4382" y="2155"/>
                </a:lnTo>
                <a:lnTo>
                  <a:pt x="4381" y="2152"/>
                </a:lnTo>
                <a:lnTo>
                  <a:pt x="4380" y="2149"/>
                </a:lnTo>
                <a:lnTo>
                  <a:pt x="4380" y="2146"/>
                </a:lnTo>
                <a:lnTo>
                  <a:pt x="4381" y="2143"/>
                </a:lnTo>
                <a:lnTo>
                  <a:pt x="4382" y="2140"/>
                </a:lnTo>
                <a:lnTo>
                  <a:pt x="4384" y="2137"/>
                </a:lnTo>
                <a:lnTo>
                  <a:pt x="4388" y="2134"/>
                </a:lnTo>
                <a:close/>
                <a:moveTo>
                  <a:pt x="4258" y="2073"/>
                </a:moveTo>
                <a:lnTo>
                  <a:pt x="4261" y="2071"/>
                </a:lnTo>
                <a:lnTo>
                  <a:pt x="4264" y="2071"/>
                </a:lnTo>
                <a:lnTo>
                  <a:pt x="4268" y="2071"/>
                </a:lnTo>
                <a:lnTo>
                  <a:pt x="4271" y="2072"/>
                </a:lnTo>
                <a:lnTo>
                  <a:pt x="4274" y="2074"/>
                </a:lnTo>
                <a:lnTo>
                  <a:pt x="4276" y="2076"/>
                </a:lnTo>
                <a:lnTo>
                  <a:pt x="4278" y="2078"/>
                </a:lnTo>
                <a:lnTo>
                  <a:pt x="4279" y="2081"/>
                </a:lnTo>
                <a:lnTo>
                  <a:pt x="4280" y="2083"/>
                </a:lnTo>
                <a:lnTo>
                  <a:pt x="4280" y="2086"/>
                </a:lnTo>
                <a:lnTo>
                  <a:pt x="4280" y="2089"/>
                </a:lnTo>
                <a:lnTo>
                  <a:pt x="4279" y="2092"/>
                </a:lnTo>
                <a:lnTo>
                  <a:pt x="4278" y="2094"/>
                </a:lnTo>
                <a:lnTo>
                  <a:pt x="4276" y="2096"/>
                </a:lnTo>
                <a:lnTo>
                  <a:pt x="4275" y="2098"/>
                </a:lnTo>
                <a:lnTo>
                  <a:pt x="4273" y="2099"/>
                </a:lnTo>
                <a:lnTo>
                  <a:pt x="4270" y="2101"/>
                </a:lnTo>
                <a:lnTo>
                  <a:pt x="4266" y="2101"/>
                </a:lnTo>
                <a:lnTo>
                  <a:pt x="4263" y="2101"/>
                </a:lnTo>
                <a:lnTo>
                  <a:pt x="4259" y="2100"/>
                </a:lnTo>
                <a:lnTo>
                  <a:pt x="4256" y="2098"/>
                </a:lnTo>
                <a:lnTo>
                  <a:pt x="4254" y="2096"/>
                </a:lnTo>
                <a:lnTo>
                  <a:pt x="4252" y="2094"/>
                </a:lnTo>
                <a:lnTo>
                  <a:pt x="4251" y="2091"/>
                </a:lnTo>
                <a:lnTo>
                  <a:pt x="4250" y="2089"/>
                </a:lnTo>
                <a:lnTo>
                  <a:pt x="4250" y="2086"/>
                </a:lnTo>
                <a:lnTo>
                  <a:pt x="4250" y="2083"/>
                </a:lnTo>
                <a:lnTo>
                  <a:pt x="4251" y="2080"/>
                </a:lnTo>
                <a:lnTo>
                  <a:pt x="4253" y="2078"/>
                </a:lnTo>
                <a:lnTo>
                  <a:pt x="4254" y="2076"/>
                </a:lnTo>
                <a:lnTo>
                  <a:pt x="4256" y="2074"/>
                </a:lnTo>
                <a:lnTo>
                  <a:pt x="4258" y="2073"/>
                </a:lnTo>
                <a:close/>
                <a:moveTo>
                  <a:pt x="4125" y="2016"/>
                </a:moveTo>
                <a:lnTo>
                  <a:pt x="4128" y="2015"/>
                </a:lnTo>
                <a:lnTo>
                  <a:pt x="4132" y="2014"/>
                </a:lnTo>
                <a:lnTo>
                  <a:pt x="4135" y="2014"/>
                </a:lnTo>
                <a:lnTo>
                  <a:pt x="4139" y="2015"/>
                </a:lnTo>
                <a:lnTo>
                  <a:pt x="4141" y="2016"/>
                </a:lnTo>
                <a:lnTo>
                  <a:pt x="4144" y="2018"/>
                </a:lnTo>
                <a:lnTo>
                  <a:pt x="4146" y="2021"/>
                </a:lnTo>
                <a:lnTo>
                  <a:pt x="4147" y="2023"/>
                </a:lnTo>
                <a:lnTo>
                  <a:pt x="4148" y="2026"/>
                </a:lnTo>
                <a:lnTo>
                  <a:pt x="4148" y="2029"/>
                </a:lnTo>
                <a:lnTo>
                  <a:pt x="4148" y="2032"/>
                </a:lnTo>
                <a:lnTo>
                  <a:pt x="4147" y="2035"/>
                </a:lnTo>
                <a:lnTo>
                  <a:pt x="4146" y="2037"/>
                </a:lnTo>
                <a:lnTo>
                  <a:pt x="4144" y="2039"/>
                </a:lnTo>
                <a:lnTo>
                  <a:pt x="4143" y="2041"/>
                </a:lnTo>
                <a:lnTo>
                  <a:pt x="4141" y="2042"/>
                </a:lnTo>
                <a:lnTo>
                  <a:pt x="4137" y="2044"/>
                </a:lnTo>
                <a:lnTo>
                  <a:pt x="4134" y="2044"/>
                </a:lnTo>
                <a:lnTo>
                  <a:pt x="4131" y="2044"/>
                </a:lnTo>
                <a:lnTo>
                  <a:pt x="4127" y="2043"/>
                </a:lnTo>
                <a:lnTo>
                  <a:pt x="4125" y="2042"/>
                </a:lnTo>
                <a:lnTo>
                  <a:pt x="4122" y="2040"/>
                </a:lnTo>
                <a:lnTo>
                  <a:pt x="4120" y="2038"/>
                </a:lnTo>
                <a:lnTo>
                  <a:pt x="4119" y="2035"/>
                </a:lnTo>
                <a:lnTo>
                  <a:pt x="4118" y="2032"/>
                </a:lnTo>
                <a:lnTo>
                  <a:pt x="4118" y="2029"/>
                </a:lnTo>
                <a:lnTo>
                  <a:pt x="4118" y="2026"/>
                </a:lnTo>
                <a:lnTo>
                  <a:pt x="4119" y="2023"/>
                </a:lnTo>
                <a:lnTo>
                  <a:pt x="4120" y="2021"/>
                </a:lnTo>
                <a:lnTo>
                  <a:pt x="4122" y="2019"/>
                </a:lnTo>
                <a:lnTo>
                  <a:pt x="4123" y="2017"/>
                </a:lnTo>
                <a:lnTo>
                  <a:pt x="4125" y="2016"/>
                </a:lnTo>
                <a:close/>
                <a:moveTo>
                  <a:pt x="3990" y="1965"/>
                </a:moveTo>
                <a:lnTo>
                  <a:pt x="3993" y="1963"/>
                </a:lnTo>
                <a:lnTo>
                  <a:pt x="3996" y="1963"/>
                </a:lnTo>
                <a:lnTo>
                  <a:pt x="3999" y="1963"/>
                </a:lnTo>
                <a:lnTo>
                  <a:pt x="4003" y="1963"/>
                </a:lnTo>
                <a:lnTo>
                  <a:pt x="4005" y="1965"/>
                </a:lnTo>
                <a:lnTo>
                  <a:pt x="4008" y="1967"/>
                </a:lnTo>
                <a:lnTo>
                  <a:pt x="4011" y="1969"/>
                </a:lnTo>
                <a:lnTo>
                  <a:pt x="4012" y="1971"/>
                </a:lnTo>
                <a:lnTo>
                  <a:pt x="4013" y="1974"/>
                </a:lnTo>
                <a:lnTo>
                  <a:pt x="4014" y="1977"/>
                </a:lnTo>
                <a:lnTo>
                  <a:pt x="4013" y="1983"/>
                </a:lnTo>
                <a:lnTo>
                  <a:pt x="4012" y="1985"/>
                </a:lnTo>
                <a:lnTo>
                  <a:pt x="4010" y="1988"/>
                </a:lnTo>
                <a:lnTo>
                  <a:pt x="4005" y="1991"/>
                </a:lnTo>
                <a:lnTo>
                  <a:pt x="4002" y="1992"/>
                </a:lnTo>
                <a:lnTo>
                  <a:pt x="3999" y="1993"/>
                </a:lnTo>
                <a:lnTo>
                  <a:pt x="3996" y="1993"/>
                </a:lnTo>
                <a:lnTo>
                  <a:pt x="3992" y="1992"/>
                </a:lnTo>
                <a:lnTo>
                  <a:pt x="3990" y="1991"/>
                </a:lnTo>
                <a:lnTo>
                  <a:pt x="3987" y="1989"/>
                </a:lnTo>
                <a:lnTo>
                  <a:pt x="3985" y="1987"/>
                </a:lnTo>
                <a:lnTo>
                  <a:pt x="3984" y="1984"/>
                </a:lnTo>
                <a:lnTo>
                  <a:pt x="3983" y="1982"/>
                </a:lnTo>
                <a:lnTo>
                  <a:pt x="3982" y="1979"/>
                </a:lnTo>
                <a:lnTo>
                  <a:pt x="3983" y="1973"/>
                </a:lnTo>
                <a:lnTo>
                  <a:pt x="3984" y="1970"/>
                </a:lnTo>
                <a:lnTo>
                  <a:pt x="3986" y="1968"/>
                </a:lnTo>
                <a:lnTo>
                  <a:pt x="3990" y="1965"/>
                </a:lnTo>
                <a:close/>
                <a:moveTo>
                  <a:pt x="3853" y="1921"/>
                </a:moveTo>
                <a:lnTo>
                  <a:pt x="3855" y="1920"/>
                </a:lnTo>
                <a:lnTo>
                  <a:pt x="3858" y="1919"/>
                </a:lnTo>
                <a:lnTo>
                  <a:pt x="3861" y="1919"/>
                </a:lnTo>
                <a:lnTo>
                  <a:pt x="3865" y="1919"/>
                </a:lnTo>
                <a:lnTo>
                  <a:pt x="3867" y="1921"/>
                </a:lnTo>
                <a:lnTo>
                  <a:pt x="3870" y="1922"/>
                </a:lnTo>
                <a:lnTo>
                  <a:pt x="3872" y="1924"/>
                </a:lnTo>
                <a:lnTo>
                  <a:pt x="3874" y="1927"/>
                </a:lnTo>
                <a:lnTo>
                  <a:pt x="3875" y="1929"/>
                </a:lnTo>
                <a:lnTo>
                  <a:pt x="3875" y="1932"/>
                </a:lnTo>
                <a:lnTo>
                  <a:pt x="3876" y="1935"/>
                </a:lnTo>
                <a:lnTo>
                  <a:pt x="3875" y="1938"/>
                </a:lnTo>
                <a:lnTo>
                  <a:pt x="3874" y="1941"/>
                </a:lnTo>
                <a:lnTo>
                  <a:pt x="3872" y="1943"/>
                </a:lnTo>
                <a:lnTo>
                  <a:pt x="3870" y="1946"/>
                </a:lnTo>
                <a:lnTo>
                  <a:pt x="3868" y="1947"/>
                </a:lnTo>
                <a:lnTo>
                  <a:pt x="3865" y="1948"/>
                </a:lnTo>
                <a:lnTo>
                  <a:pt x="3862" y="1949"/>
                </a:lnTo>
                <a:lnTo>
                  <a:pt x="3859" y="1949"/>
                </a:lnTo>
                <a:lnTo>
                  <a:pt x="3856" y="1949"/>
                </a:lnTo>
                <a:lnTo>
                  <a:pt x="3853" y="1948"/>
                </a:lnTo>
                <a:lnTo>
                  <a:pt x="3851" y="1946"/>
                </a:lnTo>
                <a:lnTo>
                  <a:pt x="3849" y="1944"/>
                </a:lnTo>
                <a:lnTo>
                  <a:pt x="3847" y="1941"/>
                </a:lnTo>
                <a:lnTo>
                  <a:pt x="3846" y="1939"/>
                </a:lnTo>
                <a:lnTo>
                  <a:pt x="3845" y="1936"/>
                </a:lnTo>
                <a:lnTo>
                  <a:pt x="3845" y="1933"/>
                </a:lnTo>
                <a:lnTo>
                  <a:pt x="3846" y="1930"/>
                </a:lnTo>
                <a:lnTo>
                  <a:pt x="3847" y="1927"/>
                </a:lnTo>
                <a:lnTo>
                  <a:pt x="3848" y="1925"/>
                </a:lnTo>
                <a:lnTo>
                  <a:pt x="3850" y="1922"/>
                </a:lnTo>
                <a:lnTo>
                  <a:pt x="3853" y="1921"/>
                </a:lnTo>
                <a:close/>
                <a:moveTo>
                  <a:pt x="3713" y="1887"/>
                </a:moveTo>
                <a:lnTo>
                  <a:pt x="3715" y="1886"/>
                </a:lnTo>
                <a:lnTo>
                  <a:pt x="3718" y="1885"/>
                </a:lnTo>
                <a:lnTo>
                  <a:pt x="3724" y="1885"/>
                </a:lnTo>
                <a:lnTo>
                  <a:pt x="3726" y="1886"/>
                </a:lnTo>
                <a:lnTo>
                  <a:pt x="3729" y="1887"/>
                </a:lnTo>
                <a:lnTo>
                  <a:pt x="3731" y="1889"/>
                </a:lnTo>
                <a:lnTo>
                  <a:pt x="3733" y="1892"/>
                </a:lnTo>
                <a:lnTo>
                  <a:pt x="3735" y="1894"/>
                </a:lnTo>
                <a:lnTo>
                  <a:pt x="3735" y="1897"/>
                </a:lnTo>
                <a:lnTo>
                  <a:pt x="3736" y="1900"/>
                </a:lnTo>
                <a:lnTo>
                  <a:pt x="3735" y="1903"/>
                </a:lnTo>
                <a:lnTo>
                  <a:pt x="3734" y="1906"/>
                </a:lnTo>
                <a:lnTo>
                  <a:pt x="3733" y="1909"/>
                </a:lnTo>
                <a:lnTo>
                  <a:pt x="3732" y="1910"/>
                </a:lnTo>
                <a:lnTo>
                  <a:pt x="3731" y="1911"/>
                </a:lnTo>
                <a:lnTo>
                  <a:pt x="3728" y="1913"/>
                </a:lnTo>
                <a:lnTo>
                  <a:pt x="3726" y="1914"/>
                </a:lnTo>
                <a:lnTo>
                  <a:pt x="3723" y="1915"/>
                </a:lnTo>
                <a:lnTo>
                  <a:pt x="3718" y="1915"/>
                </a:lnTo>
                <a:lnTo>
                  <a:pt x="3715" y="1914"/>
                </a:lnTo>
                <a:lnTo>
                  <a:pt x="3712" y="1913"/>
                </a:lnTo>
                <a:lnTo>
                  <a:pt x="3710" y="1911"/>
                </a:lnTo>
                <a:lnTo>
                  <a:pt x="3708" y="1908"/>
                </a:lnTo>
                <a:lnTo>
                  <a:pt x="3706" y="1906"/>
                </a:lnTo>
                <a:lnTo>
                  <a:pt x="3706" y="1903"/>
                </a:lnTo>
                <a:lnTo>
                  <a:pt x="3705" y="1900"/>
                </a:lnTo>
                <a:lnTo>
                  <a:pt x="3706" y="1897"/>
                </a:lnTo>
                <a:lnTo>
                  <a:pt x="3707" y="1894"/>
                </a:lnTo>
                <a:lnTo>
                  <a:pt x="3708" y="1891"/>
                </a:lnTo>
                <a:lnTo>
                  <a:pt x="3709" y="1890"/>
                </a:lnTo>
                <a:lnTo>
                  <a:pt x="3710" y="1889"/>
                </a:lnTo>
                <a:lnTo>
                  <a:pt x="3713" y="1887"/>
                </a:lnTo>
                <a:close/>
                <a:moveTo>
                  <a:pt x="3571" y="1865"/>
                </a:moveTo>
                <a:lnTo>
                  <a:pt x="3575" y="1864"/>
                </a:lnTo>
                <a:lnTo>
                  <a:pt x="3577" y="1863"/>
                </a:lnTo>
                <a:lnTo>
                  <a:pt x="3580" y="1863"/>
                </a:lnTo>
                <a:lnTo>
                  <a:pt x="3583" y="1864"/>
                </a:lnTo>
                <a:lnTo>
                  <a:pt x="3586" y="1865"/>
                </a:lnTo>
                <a:lnTo>
                  <a:pt x="3588" y="1867"/>
                </a:lnTo>
                <a:lnTo>
                  <a:pt x="3590" y="1869"/>
                </a:lnTo>
                <a:lnTo>
                  <a:pt x="3592" y="1871"/>
                </a:lnTo>
                <a:lnTo>
                  <a:pt x="3593" y="1874"/>
                </a:lnTo>
                <a:lnTo>
                  <a:pt x="3593" y="1877"/>
                </a:lnTo>
                <a:lnTo>
                  <a:pt x="3593" y="1880"/>
                </a:lnTo>
                <a:lnTo>
                  <a:pt x="3593" y="1884"/>
                </a:lnTo>
                <a:lnTo>
                  <a:pt x="3591" y="1887"/>
                </a:lnTo>
                <a:lnTo>
                  <a:pt x="3589" y="1889"/>
                </a:lnTo>
                <a:lnTo>
                  <a:pt x="3586" y="1892"/>
                </a:lnTo>
                <a:lnTo>
                  <a:pt x="3582" y="1893"/>
                </a:lnTo>
                <a:lnTo>
                  <a:pt x="3579" y="1894"/>
                </a:lnTo>
                <a:lnTo>
                  <a:pt x="3577" y="1894"/>
                </a:lnTo>
                <a:lnTo>
                  <a:pt x="3574" y="1893"/>
                </a:lnTo>
                <a:lnTo>
                  <a:pt x="3571" y="1892"/>
                </a:lnTo>
                <a:lnTo>
                  <a:pt x="3569" y="1890"/>
                </a:lnTo>
                <a:lnTo>
                  <a:pt x="3567" y="1888"/>
                </a:lnTo>
                <a:lnTo>
                  <a:pt x="3565" y="1886"/>
                </a:lnTo>
                <a:lnTo>
                  <a:pt x="3564" y="1883"/>
                </a:lnTo>
                <a:lnTo>
                  <a:pt x="3563" y="1880"/>
                </a:lnTo>
                <a:lnTo>
                  <a:pt x="3563" y="1877"/>
                </a:lnTo>
                <a:lnTo>
                  <a:pt x="3564" y="1873"/>
                </a:lnTo>
                <a:lnTo>
                  <a:pt x="3566" y="1870"/>
                </a:lnTo>
                <a:lnTo>
                  <a:pt x="3568" y="1867"/>
                </a:lnTo>
                <a:lnTo>
                  <a:pt x="3571" y="1865"/>
                </a:lnTo>
                <a:close/>
                <a:moveTo>
                  <a:pt x="2784" y="2297"/>
                </a:moveTo>
                <a:lnTo>
                  <a:pt x="2786" y="2296"/>
                </a:lnTo>
                <a:lnTo>
                  <a:pt x="2788" y="2295"/>
                </a:lnTo>
                <a:lnTo>
                  <a:pt x="2791" y="2295"/>
                </a:lnTo>
                <a:lnTo>
                  <a:pt x="2793" y="2295"/>
                </a:lnTo>
                <a:lnTo>
                  <a:pt x="2796" y="2295"/>
                </a:lnTo>
                <a:lnTo>
                  <a:pt x="2799" y="2297"/>
                </a:lnTo>
                <a:lnTo>
                  <a:pt x="2801" y="2298"/>
                </a:lnTo>
                <a:lnTo>
                  <a:pt x="2803" y="2301"/>
                </a:lnTo>
                <a:lnTo>
                  <a:pt x="2804" y="2302"/>
                </a:lnTo>
                <a:lnTo>
                  <a:pt x="2805" y="2303"/>
                </a:lnTo>
                <a:lnTo>
                  <a:pt x="2806" y="2306"/>
                </a:lnTo>
                <a:lnTo>
                  <a:pt x="2806" y="2309"/>
                </a:lnTo>
                <a:lnTo>
                  <a:pt x="2806" y="2312"/>
                </a:lnTo>
                <a:lnTo>
                  <a:pt x="2806" y="2315"/>
                </a:lnTo>
                <a:lnTo>
                  <a:pt x="2804" y="2318"/>
                </a:lnTo>
                <a:lnTo>
                  <a:pt x="2802" y="2321"/>
                </a:lnTo>
                <a:lnTo>
                  <a:pt x="2799" y="2323"/>
                </a:lnTo>
                <a:lnTo>
                  <a:pt x="2797" y="2324"/>
                </a:lnTo>
                <a:lnTo>
                  <a:pt x="2794" y="2325"/>
                </a:lnTo>
                <a:lnTo>
                  <a:pt x="2792" y="2325"/>
                </a:lnTo>
                <a:lnTo>
                  <a:pt x="2789" y="2325"/>
                </a:lnTo>
                <a:lnTo>
                  <a:pt x="2786" y="2324"/>
                </a:lnTo>
                <a:lnTo>
                  <a:pt x="2784" y="2323"/>
                </a:lnTo>
                <a:lnTo>
                  <a:pt x="2781" y="2321"/>
                </a:lnTo>
                <a:lnTo>
                  <a:pt x="2779" y="2319"/>
                </a:lnTo>
                <a:lnTo>
                  <a:pt x="2778" y="2318"/>
                </a:lnTo>
                <a:lnTo>
                  <a:pt x="2778" y="2317"/>
                </a:lnTo>
                <a:lnTo>
                  <a:pt x="2777" y="2314"/>
                </a:lnTo>
                <a:lnTo>
                  <a:pt x="2776" y="2311"/>
                </a:lnTo>
                <a:lnTo>
                  <a:pt x="2776" y="2308"/>
                </a:lnTo>
                <a:lnTo>
                  <a:pt x="2777" y="2305"/>
                </a:lnTo>
                <a:lnTo>
                  <a:pt x="2779" y="2301"/>
                </a:lnTo>
                <a:lnTo>
                  <a:pt x="2781" y="2299"/>
                </a:lnTo>
                <a:lnTo>
                  <a:pt x="2784" y="2297"/>
                </a:lnTo>
                <a:close/>
                <a:moveTo>
                  <a:pt x="3427" y="1859"/>
                </a:moveTo>
                <a:lnTo>
                  <a:pt x="3431" y="1858"/>
                </a:lnTo>
                <a:lnTo>
                  <a:pt x="3434" y="1857"/>
                </a:lnTo>
                <a:lnTo>
                  <a:pt x="3437" y="1858"/>
                </a:lnTo>
                <a:lnTo>
                  <a:pt x="3440" y="1858"/>
                </a:lnTo>
                <a:lnTo>
                  <a:pt x="3443" y="1860"/>
                </a:lnTo>
                <a:lnTo>
                  <a:pt x="3445" y="1862"/>
                </a:lnTo>
                <a:lnTo>
                  <a:pt x="3447" y="1864"/>
                </a:lnTo>
                <a:lnTo>
                  <a:pt x="3449" y="1866"/>
                </a:lnTo>
                <a:lnTo>
                  <a:pt x="3450" y="1869"/>
                </a:lnTo>
                <a:lnTo>
                  <a:pt x="3450" y="1872"/>
                </a:lnTo>
                <a:lnTo>
                  <a:pt x="3449" y="1876"/>
                </a:lnTo>
                <a:lnTo>
                  <a:pt x="3448" y="1880"/>
                </a:lnTo>
                <a:lnTo>
                  <a:pt x="3445" y="1883"/>
                </a:lnTo>
                <a:lnTo>
                  <a:pt x="3442" y="1886"/>
                </a:lnTo>
                <a:lnTo>
                  <a:pt x="3439" y="1887"/>
                </a:lnTo>
                <a:lnTo>
                  <a:pt x="3435" y="1888"/>
                </a:lnTo>
                <a:lnTo>
                  <a:pt x="3432" y="1888"/>
                </a:lnTo>
                <a:lnTo>
                  <a:pt x="3429" y="1887"/>
                </a:lnTo>
                <a:lnTo>
                  <a:pt x="3426" y="1885"/>
                </a:lnTo>
                <a:lnTo>
                  <a:pt x="3424" y="1884"/>
                </a:lnTo>
                <a:lnTo>
                  <a:pt x="3422" y="1881"/>
                </a:lnTo>
                <a:lnTo>
                  <a:pt x="3421" y="1879"/>
                </a:lnTo>
                <a:lnTo>
                  <a:pt x="3420" y="1876"/>
                </a:lnTo>
                <a:lnTo>
                  <a:pt x="3419" y="1873"/>
                </a:lnTo>
                <a:lnTo>
                  <a:pt x="3420" y="1869"/>
                </a:lnTo>
                <a:lnTo>
                  <a:pt x="3421" y="1865"/>
                </a:lnTo>
                <a:lnTo>
                  <a:pt x="3424" y="1862"/>
                </a:lnTo>
                <a:lnTo>
                  <a:pt x="3427" y="1859"/>
                </a:lnTo>
                <a:close/>
                <a:moveTo>
                  <a:pt x="2815" y="2157"/>
                </a:moveTo>
                <a:lnTo>
                  <a:pt x="2818" y="2156"/>
                </a:lnTo>
                <a:lnTo>
                  <a:pt x="2822" y="2155"/>
                </a:lnTo>
                <a:lnTo>
                  <a:pt x="2825" y="2155"/>
                </a:lnTo>
                <a:lnTo>
                  <a:pt x="2828" y="2156"/>
                </a:lnTo>
                <a:lnTo>
                  <a:pt x="2830" y="2157"/>
                </a:lnTo>
                <a:lnTo>
                  <a:pt x="2831" y="2157"/>
                </a:lnTo>
                <a:lnTo>
                  <a:pt x="2833" y="2159"/>
                </a:lnTo>
                <a:lnTo>
                  <a:pt x="2835" y="2161"/>
                </a:lnTo>
                <a:lnTo>
                  <a:pt x="2837" y="2164"/>
                </a:lnTo>
                <a:lnTo>
                  <a:pt x="2838" y="2167"/>
                </a:lnTo>
                <a:lnTo>
                  <a:pt x="2838" y="2170"/>
                </a:lnTo>
                <a:lnTo>
                  <a:pt x="2838" y="2173"/>
                </a:lnTo>
                <a:lnTo>
                  <a:pt x="2837" y="2176"/>
                </a:lnTo>
                <a:lnTo>
                  <a:pt x="2836" y="2178"/>
                </a:lnTo>
                <a:lnTo>
                  <a:pt x="2834" y="2180"/>
                </a:lnTo>
                <a:lnTo>
                  <a:pt x="2833" y="2182"/>
                </a:lnTo>
                <a:lnTo>
                  <a:pt x="2831" y="2183"/>
                </a:lnTo>
                <a:lnTo>
                  <a:pt x="2827" y="2185"/>
                </a:lnTo>
                <a:lnTo>
                  <a:pt x="2824" y="2185"/>
                </a:lnTo>
                <a:lnTo>
                  <a:pt x="2821" y="2185"/>
                </a:lnTo>
                <a:lnTo>
                  <a:pt x="2817" y="2184"/>
                </a:lnTo>
                <a:lnTo>
                  <a:pt x="2816" y="2184"/>
                </a:lnTo>
                <a:lnTo>
                  <a:pt x="2815" y="2183"/>
                </a:lnTo>
                <a:lnTo>
                  <a:pt x="2812" y="2181"/>
                </a:lnTo>
                <a:lnTo>
                  <a:pt x="2810" y="2179"/>
                </a:lnTo>
                <a:lnTo>
                  <a:pt x="2809" y="2176"/>
                </a:lnTo>
                <a:lnTo>
                  <a:pt x="2808" y="2174"/>
                </a:lnTo>
                <a:lnTo>
                  <a:pt x="2808" y="2171"/>
                </a:lnTo>
                <a:lnTo>
                  <a:pt x="2808" y="2168"/>
                </a:lnTo>
                <a:lnTo>
                  <a:pt x="2809" y="2165"/>
                </a:lnTo>
                <a:lnTo>
                  <a:pt x="2810" y="2162"/>
                </a:lnTo>
                <a:lnTo>
                  <a:pt x="2811" y="2160"/>
                </a:lnTo>
                <a:lnTo>
                  <a:pt x="2813" y="2158"/>
                </a:lnTo>
                <a:lnTo>
                  <a:pt x="2815" y="2157"/>
                </a:lnTo>
                <a:close/>
                <a:moveTo>
                  <a:pt x="3284" y="1872"/>
                </a:moveTo>
                <a:lnTo>
                  <a:pt x="3286" y="1871"/>
                </a:lnTo>
                <a:lnTo>
                  <a:pt x="3289" y="1870"/>
                </a:lnTo>
                <a:lnTo>
                  <a:pt x="3292" y="1870"/>
                </a:lnTo>
                <a:lnTo>
                  <a:pt x="3295" y="1870"/>
                </a:lnTo>
                <a:lnTo>
                  <a:pt x="3298" y="1871"/>
                </a:lnTo>
                <a:lnTo>
                  <a:pt x="3300" y="1873"/>
                </a:lnTo>
                <a:lnTo>
                  <a:pt x="3303" y="1875"/>
                </a:lnTo>
                <a:lnTo>
                  <a:pt x="3304" y="1877"/>
                </a:lnTo>
                <a:lnTo>
                  <a:pt x="3306" y="1880"/>
                </a:lnTo>
                <a:lnTo>
                  <a:pt x="3307" y="1883"/>
                </a:lnTo>
                <a:lnTo>
                  <a:pt x="3307" y="1887"/>
                </a:lnTo>
                <a:lnTo>
                  <a:pt x="3305" y="1892"/>
                </a:lnTo>
                <a:lnTo>
                  <a:pt x="3303" y="1895"/>
                </a:lnTo>
                <a:lnTo>
                  <a:pt x="3299" y="1898"/>
                </a:lnTo>
                <a:lnTo>
                  <a:pt x="3297" y="1899"/>
                </a:lnTo>
                <a:lnTo>
                  <a:pt x="3294" y="1900"/>
                </a:lnTo>
                <a:lnTo>
                  <a:pt x="3291" y="1900"/>
                </a:lnTo>
                <a:lnTo>
                  <a:pt x="3288" y="1900"/>
                </a:lnTo>
                <a:lnTo>
                  <a:pt x="3285" y="1899"/>
                </a:lnTo>
                <a:lnTo>
                  <a:pt x="3283" y="1897"/>
                </a:lnTo>
                <a:lnTo>
                  <a:pt x="3280" y="1895"/>
                </a:lnTo>
                <a:lnTo>
                  <a:pt x="3279" y="1893"/>
                </a:lnTo>
                <a:lnTo>
                  <a:pt x="3277" y="1890"/>
                </a:lnTo>
                <a:lnTo>
                  <a:pt x="3276" y="1887"/>
                </a:lnTo>
                <a:lnTo>
                  <a:pt x="3276" y="1883"/>
                </a:lnTo>
                <a:lnTo>
                  <a:pt x="3278" y="1878"/>
                </a:lnTo>
                <a:lnTo>
                  <a:pt x="3280" y="1875"/>
                </a:lnTo>
                <a:lnTo>
                  <a:pt x="3284" y="1872"/>
                </a:lnTo>
                <a:close/>
                <a:moveTo>
                  <a:pt x="3144" y="1905"/>
                </a:moveTo>
                <a:lnTo>
                  <a:pt x="3147" y="1903"/>
                </a:lnTo>
                <a:lnTo>
                  <a:pt x="3150" y="1903"/>
                </a:lnTo>
                <a:lnTo>
                  <a:pt x="3153" y="1903"/>
                </a:lnTo>
                <a:lnTo>
                  <a:pt x="3156" y="1903"/>
                </a:lnTo>
                <a:lnTo>
                  <a:pt x="3159" y="1904"/>
                </a:lnTo>
                <a:lnTo>
                  <a:pt x="3161" y="1906"/>
                </a:lnTo>
                <a:lnTo>
                  <a:pt x="3163" y="1908"/>
                </a:lnTo>
                <a:lnTo>
                  <a:pt x="3165" y="1910"/>
                </a:lnTo>
                <a:lnTo>
                  <a:pt x="3166" y="1913"/>
                </a:lnTo>
                <a:lnTo>
                  <a:pt x="3167" y="1918"/>
                </a:lnTo>
                <a:lnTo>
                  <a:pt x="3166" y="1921"/>
                </a:lnTo>
                <a:lnTo>
                  <a:pt x="3166" y="1923"/>
                </a:lnTo>
                <a:lnTo>
                  <a:pt x="3165" y="1926"/>
                </a:lnTo>
                <a:lnTo>
                  <a:pt x="3163" y="1928"/>
                </a:lnTo>
                <a:lnTo>
                  <a:pt x="3161" y="1929"/>
                </a:lnTo>
                <a:lnTo>
                  <a:pt x="3159" y="1931"/>
                </a:lnTo>
                <a:lnTo>
                  <a:pt x="3156" y="1932"/>
                </a:lnTo>
                <a:lnTo>
                  <a:pt x="3153" y="1933"/>
                </a:lnTo>
                <a:lnTo>
                  <a:pt x="3150" y="1933"/>
                </a:lnTo>
                <a:lnTo>
                  <a:pt x="3147" y="1932"/>
                </a:lnTo>
                <a:lnTo>
                  <a:pt x="3144" y="1931"/>
                </a:lnTo>
                <a:lnTo>
                  <a:pt x="3142" y="1930"/>
                </a:lnTo>
                <a:lnTo>
                  <a:pt x="3140" y="1928"/>
                </a:lnTo>
                <a:lnTo>
                  <a:pt x="3138" y="1925"/>
                </a:lnTo>
                <a:lnTo>
                  <a:pt x="3137" y="1922"/>
                </a:lnTo>
                <a:lnTo>
                  <a:pt x="3136" y="1917"/>
                </a:lnTo>
                <a:lnTo>
                  <a:pt x="3137" y="1914"/>
                </a:lnTo>
                <a:lnTo>
                  <a:pt x="3137" y="1912"/>
                </a:lnTo>
                <a:lnTo>
                  <a:pt x="3139" y="1910"/>
                </a:lnTo>
                <a:lnTo>
                  <a:pt x="3140" y="1908"/>
                </a:lnTo>
                <a:lnTo>
                  <a:pt x="3142" y="1906"/>
                </a:lnTo>
                <a:lnTo>
                  <a:pt x="3144" y="1905"/>
                </a:lnTo>
                <a:close/>
                <a:moveTo>
                  <a:pt x="2892" y="2038"/>
                </a:moveTo>
                <a:lnTo>
                  <a:pt x="2895" y="2037"/>
                </a:lnTo>
                <a:lnTo>
                  <a:pt x="2897" y="2036"/>
                </a:lnTo>
                <a:lnTo>
                  <a:pt x="2902" y="2036"/>
                </a:lnTo>
                <a:lnTo>
                  <a:pt x="2907" y="2037"/>
                </a:lnTo>
                <a:lnTo>
                  <a:pt x="2909" y="2038"/>
                </a:lnTo>
                <a:lnTo>
                  <a:pt x="2911" y="2040"/>
                </a:lnTo>
                <a:lnTo>
                  <a:pt x="2913" y="2042"/>
                </a:lnTo>
                <a:lnTo>
                  <a:pt x="2914" y="2045"/>
                </a:lnTo>
                <a:lnTo>
                  <a:pt x="2915" y="2048"/>
                </a:lnTo>
                <a:lnTo>
                  <a:pt x="2915" y="2051"/>
                </a:lnTo>
                <a:lnTo>
                  <a:pt x="2915" y="2054"/>
                </a:lnTo>
                <a:lnTo>
                  <a:pt x="2914" y="2057"/>
                </a:lnTo>
                <a:lnTo>
                  <a:pt x="2913" y="2059"/>
                </a:lnTo>
                <a:lnTo>
                  <a:pt x="2911" y="2062"/>
                </a:lnTo>
                <a:lnTo>
                  <a:pt x="2908" y="2064"/>
                </a:lnTo>
                <a:lnTo>
                  <a:pt x="2905" y="2065"/>
                </a:lnTo>
                <a:lnTo>
                  <a:pt x="2903" y="2066"/>
                </a:lnTo>
                <a:lnTo>
                  <a:pt x="2898" y="2066"/>
                </a:lnTo>
                <a:lnTo>
                  <a:pt x="2896" y="2065"/>
                </a:lnTo>
                <a:lnTo>
                  <a:pt x="2893" y="2064"/>
                </a:lnTo>
                <a:lnTo>
                  <a:pt x="2891" y="2063"/>
                </a:lnTo>
                <a:lnTo>
                  <a:pt x="2889" y="2062"/>
                </a:lnTo>
                <a:lnTo>
                  <a:pt x="2887" y="2059"/>
                </a:lnTo>
                <a:lnTo>
                  <a:pt x="2886" y="2056"/>
                </a:lnTo>
                <a:lnTo>
                  <a:pt x="2885" y="2054"/>
                </a:lnTo>
                <a:lnTo>
                  <a:pt x="2885" y="2051"/>
                </a:lnTo>
                <a:lnTo>
                  <a:pt x="2885" y="2048"/>
                </a:lnTo>
                <a:lnTo>
                  <a:pt x="2886" y="2045"/>
                </a:lnTo>
                <a:lnTo>
                  <a:pt x="2887" y="2042"/>
                </a:lnTo>
                <a:lnTo>
                  <a:pt x="2889" y="2040"/>
                </a:lnTo>
                <a:lnTo>
                  <a:pt x="2892" y="2038"/>
                </a:lnTo>
                <a:close/>
                <a:moveTo>
                  <a:pt x="3010" y="1957"/>
                </a:moveTo>
                <a:lnTo>
                  <a:pt x="3013" y="1956"/>
                </a:lnTo>
                <a:lnTo>
                  <a:pt x="3016" y="1955"/>
                </a:lnTo>
                <a:lnTo>
                  <a:pt x="3020" y="1955"/>
                </a:lnTo>
                <a:lnTo>
                  <a:pt x="3023" y="1956"/>
                </a:lnTo>
                <a:lnTo>
                  <a:pt x="3025" y="1957"/>
                </a:lnTo>
                <a:lnTo>
                  <a:pt x="3028" y="1958"/>
                </a:lnTo>
                <a:lnTo>
                  <a:pt x="3029" y="1960"/>
                </a:lnTo>
                <a:lnTo>
                  <a:pt x="3030" y="1961"/>
                </a:lnTo>
                <a:lnTo>
                  <a:pt x="3031" y="1963"/>
                </a:lnTo>
                <a:lnTo>
                  <a:pt x="3032" y="1966"/>
                </a:lnTo>
                <a:lnTo>
                  <a:pt x="3033" y="1969"/>
                </a:lnTo>
                <a:lnTo>
                  <a:pt x="3033" y="1972"/>
                </a:lnTo>
                <a:lnTo>
                  <a:pt x="3032" y="1974"/>
                </a:lnTo>
                <a:lnTo>
                  <a:pt x="3031" y="1977"/>
                </a:lnTo>
                <a:lnTo>
                  <a:pt x="3030" y="1979"/>
                </a:lnTo>
                <a:lnTo>
                  <a:pt x="3028" y="1981"/>
                </a:lnTo>
                <a:lnTo>
                  <a:pt x="3025" y="1983"/>
                </a:lnTo>
                <a:lnTo>
                  <a:pt x="3022" y="1984"/>
                </a:lnTo>
                <a:lnTo>
                  <a:pt x="3019" y="1985"/>
                </a:lnTo>
                <a:lnTo>
                  <a:pt x="3016" y="1985"/>
                </a:lnTo>
                <a:lnTo>
                  <a:pt x="3013" y="1984"/>
                </a:lnTo>
                <a:lnTo>
                  <a:pt x="3010" y="1983"/>
                </a:lnTo>
                <a:lnTo>
                  <a:pt x="3008" y="1981"/>
                </a:lnTo>
                <a:lnTo>
                  <a:pt x="3006" y="1979"/>
                </a:lnTo>
                <a:lnTo>
                  <a:pt x="3004" y="1977"/>
                </a:lnTo>
                <a:lnTo>
                  <a:pt x="3003" y="1974"/>
                </a:lnTo>
                <a:lnTo>
                  <a:pt x="3002" y="1971"/>
                </a:lnTo>
                <a:lnTo>
                  <a:pt x="3003" y="1968"/>
                </a:lnTo>
                <a:lnTo>
                  <a:pt x="3003" y="1965"/>
                </a:lnTo>
                <a:lnTo>
                  <a:pt x="3004" y="1963"/>
                </a:lnTo>
                <a:lnTo>
                  <a:pt x="3006" y="1961"/>
                </a:lnTo>
                <a:lnTo>
                  <a:pt x="3008" y="1958"/>
                </a:lnTo>
                <a:lnTo>
                  <a:pt x="3010" y="1957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6966" y="1915888"/>
            <a:ext cx="9938272" cy="576536"/>
          </a:xfrm>
          <a:prstGeom prst="roundRect">
            <a:avLst/>
          </a:prstGeom>
          <a:solidFill>
            <a:schemeClr val="accent1"/>
          </a:solidFill>
        </p:spPr>
        <p:txBody>
          <a:bodyPr lIns="180000" tIns="72000" rIns="180000" bIns="7200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41" name="Text Placeholder 2"/>
          <p:cNvSpPr>
            <a:spLocks noGrp="1"/>
          </p:cNvSpPr>
          <p:nvPr>
            <p:ph type="body" idx="19"/>
          </p:nvPr>
        </p:nvSpPr>
        <p:spPr>
          <a:xfrm>
            <a:off x="1486966" y="2636440"/>
            <a:ext cx="9938272" cy="576536"/>
          </a:xfrm>
          <a:prstGeom prst="roundRect">
            <a:avLst/>
          </a:prstGeom>
          <a:solidFill>
            <a:schemeClr val="accent1"/>
          </a:solidFill>
        </p:spPr>
        <p:txBody>
          <a:bodyPr lIns="180000" tIns="72000" rIns="180000" bIns="7200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idx="21"/>
          </p:nvPr>
        </p:nvSpPr>
        <p:spPr>
          <a:xfrm>
            <a:off x="1487488" y="3356992"/>
            <a:ext cx="9932128" cy="576536"/>
          </a:xfrm>
          <a:prstGeom prst="roundRect">
            <a:avLst/>
          </a:prstGeom>
          <a:solidFill>
            <a:schemeClr val="accent1"/>
          </a:solidFill>
        </p:spPr>
        <p:txBody>
          <a:bodyPr lIns="180000" tIns="72000" rIns="180000" bIns="7200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23"/>
          </p:nvPr>
        </p:nvSpPr>
        <p:spPr>
          <a:xfrm>
            <a:off x="1486966" y="4076600"/>
            <a:ext cx="9938272" cy="576536"/>
          </a:xfrm>
          <a:prstGeom prst="roundRect">
            <a:avLst/>
          </a:prstGeom>
          <a:solidFill>
            <a:schemeClr val="accent2"/>
          </a:solidFill>
        </p:spPr>
        <p:txBody>
          <a:bodyPr lIns="180000" tIns="72000" rIns="180000" bIns="7200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6886" y="1916113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6886" y="2636912"/>
            <a:ext cx="720601" cy="576064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6886" y="335699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766886" y="407707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766886" y="4797152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idx="25"/>
          </p:nvPr>
        </p:nvSpPr>
        <p:spPr>
          <a:xfrm>
            <a:off x="1486966" y="4796680"/>
            <a:ext cx="9938272" cy="576536"/>
          </a:xfrm>
          <a:prstGeom prst="roundRect">
            <a:avLst/>
          </a:prstGeom>
          <a:solidFill>
            <a:schemeClr val="accent4"/>
          </a:solidFill>
        </p:spPr>
        <p:txBody>
          <a:bodyPr lIns="180000" tIns="72000" rIns="180000" bIns="72000"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spc="-30" baseline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Freeform 23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5630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6"/>
          <p:cNvSpPr>
            <a:spLocks noEditPoints="1"/>
          </p:cNvSpPr>
          <p:nvPr userDrawn="1"/>
        </p:nvSpPr>
        <p:spPr bwMode="auto">
          <a:xfrm>
            <a:off x="0" y="-1"/>
            <a:ext cx="2776617" cy="1916113"/>
          </a:xfrm>
          <a:custGeom>
            <a:avLst/>
            <a:gdLst>
              <a:gd name="T0" fmla="*/ 538 w 3259"/>
              <a:gd name="T1" fmla="*/ 418 h 2249"/>
              <a:gd name="T2" fmla="*/ 417 w 3259"/>
              <a:gd name="T3" fmla="*/ 389 h 2249"/>
              <a:gd name="T4" fmla="*/ 294 w 3259"/>
              <a:gd name="T5" fmla="*/ 300 h 2249"/>
              <a:gd name="T6" fmla="*/ 930 w 3259"/>
              <a:gd name="T7" fmla="*/ 266 h 2249"/>
              <a:gd name="T8" fmla="*/ 1044 w 3259"/>
              <a:gd name="T9" fmla="*/ 177 h 2249"/>
              <a:gd name="T10" fmla="*/ 1145 w 3259"/>
              <a:gd name="T11" fmla="*/ 46 h 2249"/>
              <a:gd name="T12" fmla="*/ 589 w 3259"/>
              <a:gd name="T13" fmla="*/ 862 h 2249"/>
              <a:gd name="T14" fmla="*/ 455 w 3259"/>
              <a:gd name="T15" fmla="*/ 846 h 2249"/>
              <a:gd name="T16" fmla="*/ 344 w 3259"/>
              <a:gd name="T17" fmla="*/ 764 h 2249"/>
              <a:gd name="T18" fmla="*/ 982 w 3259"/>
              <a:gd name="T19" fmla="*/ 711 h 2249"/>
              <a:gd name="T20" fmla="*/ 1085 w 3259"/>
              <a:gd name="T21" fmla="*/ 631 h 2249"/>
              <a:gd name="T22" fmla="*/ 1192 w 3259"/>
              <a:gd name="T23" fmla="*/ 510 h 2249"/>
              <a:gd name="T24" fmla="*/ 1657 w 3259"/>
              <a:gd name="T25" fmla="*/ 357 h 2249"/>
              <a:gd name="T26" fmla="*/ 1505 w 3259"/>
              <a:gd name="T27" fmla="*/ 347 h 2249"/>
              <a:gd name="T28" fmla="*/ 1387 w 3259"/>
              <a:gd name="T29" fmla="*/ 322 h 2249"/>
              <a:gd name="T30" fmla="*/ 2026 w 3259"/>
              <a:gd name="T31" fmla="*/ 140 h 2249"/>
              <a:gd name="T32" fmla="*/ 2112 w 3259"/>
              <a:gd name="T33" fmla="*/ 50 h 2249"/>
              <a:gd name="T34" fmla="*/ 793 w 3259"/>
              <a:gd name="T35" fmla="*/ 1325 h 2249"/>
              <a:gd name="T36" fmla="*/ 926 w 3259"/>
              <a:gd name="T37" fmla="*/ 1252 h 2249"/>
              <a:gd name="T38" fmla="*/ 366 w 3259"/>
              <a:gd name="T39" fmla="*/ 1213 h 2249"/>
              <a:gd name="T40" fmla="*/ 253 w 3259"/>
              <a:gd name="T41" fmla="*/ 1152 h 2249"/>
              <a:gd name="T42" fmla="*/ 145 w 3259"/>
              <a:gd name="T43" fmla="*/ 1055 h 2249"/>
              <a:gd name="T44" fmla="*/ 1235 w 3259"/>
              <a:gd name="T45" fmla="*/ 970 h 2249"/>
              <a:gd name="T46" fmla="*/ 1702 w 3259"/>
              <a:gd name="T47" fmla="*/ 813 h 2249"/>
              <a:gd name="T48" fmla="*/ 1551 w 3259"/>
              <a:gd name="T49" fmla="*/ 802 h 2249"/>
              <a:gd name="T50" fmla="*/ 1425 w 3259"/>
              <a:gd name="T51" fmla="*/ 777 h 2249"/>
              <a:gd name="T52" fmla="*/ 2080 w 3259"/>
              <a:gd name="T53" fmla="*/ 601 h 2249"/>
              <a:gd name="T54" fmla="*/ 2161 w 3259"/>
              <a:gd name="T55" fmla="*/ 496 h 2249"/>
              <a:gd name="T56" fmla="*/ 2339 w 3259"/>
              <a:gd name="T57" fmla="*/ 285 h 2249"/>
              <a:gd name="T58" fmla="*/ 2473 w 3259"/>
              <a:gd name="T59" fmla="*/ 4 h 2249"/>
              <a:gd name="T60" fmla="*/ 675 w 3259"/>
              <a:gd name="T61" fmla="*/ 1786 h 2249"/>
              <a:gd name="T62" fmla="*/ 549 w 3259"/>
              <a:gd name="T63" fmla="*/ 1756 h 2249"/>
              <a:gd name="T64" fmla="*/ 434 w 3259"/>
              <a:gd name="T65" fmla="*/ 1678 h 2249"/>
              <a:gd name="T66" fmla="*/ 306 w 3259"/>
              <a:gd name="T67" fmla="*/ 1583 h 2249"/>
              <a:gd name="T68" fmla="*/ 1169 w 3259"/>
              <a:gd name="T69" fmla="*/ 1534 h 2249"/>
              <a:gd name="T70" fmla="*/ 58 w 3259"/>
              <a:gd name="T71" fmla="*/ 1466 h 2249"/>
              <a:gd name="T72" fmla="*/ 1367 w 3259"/>
              <a:gd name="T73" fmla="*/ 1294 h 2249"/>
              <a:gd name="T74" fmla="*/ 1736 w 3259"/>
              <a:gd name="T75" fmla="*/ 1277 h 2249"/>
              <a:gd name="T76" fmla="*/ 1886 w 3259"/>
              <a:gd name="T77" fmla="*/ 1244 h 2249"/>
              <a:gd name="T78" fmla="*/ 2016 w 3259"/>
              <a:gd name="T79" fmla="*/ 1156 h 2249"/>
              <a:gd name="T80" fmla="*/ 2110 w 3259"/>
              <a:gd name="T81" fmla="*/ 1051 h 2249"/>
              <a:gd name="T82" fmla="*/ 2299 w 3259"/>
              <a:gd name="T83" fmla="*/ 857 h 2249"/>
              <a:gd name="T84" fmla="*/ 2471 w 3259"/>
              <a:gd name="T85" fmla="*/ 606 h 2249"/>
              <a:gd name="T86" fmla="*/ 2510 w 3259"/>
              <a:gd name="T87" fmla="*/ 455 h 2249"/>
              <a:gd name="T88" fmla="*/ 2616 w 3259"/>
              <a:gd name="T89" fmla="*/ 203 h 2249"/>
              <a:gd name="T90" fmla="*/ 738 w 3259"/>
              <a:gd name="T91" fmla="*/ 2247 h 2249"/>
              <a:gd name="T92" fmla="*/ 601 w 3259"/>
              <a:gd name="T93" fmla="*/ 2188 h 2249"/>
              <a:gd name="T94" fmla="*/ 471 w 3259"/>
              <a:gd name="T95" fmla="*/ 2118 h 2249"/>
              <a:gd name="T96" fmla="*/ 1113 w 3259"/>
              <a:gd name="T97" fmla="*/ 2086 h 2249"/>
              <a:gd name="T98" fmla="*/ 1222 w 3259"/>
              <a:gd name="T99" fmla="*/ 1996 h 2249"/>
              <a:gd name="T100" fmla="*/ 108 w 3259"/>
              <a:gd name="T101" fmla="*/ 1910 h 2249"/>
              <a:gd name="T102" fmla="*/ 1414 w 3259"/>
              <a:gd name="T103" fmla="*/ 1751 h 2249"/>
              <a:gd name="T104" fmla="*/ 1782 w 3259"/>
              <a:gd name="T105" fmla="*/ 1730 h 2249"/>
              <a:gd name="T106" fmla="*/ 1925 w 3259"/>
              <a:gd name="T107" fmla="*/ 1699 h 2249"/>
              <a:gd name="T108" fmla="*/ 2061 w 3259"/>
              <a:gd name="T109" fmla="*/ 1613 h 2249"/>
              <a:gd name="T110" fmla="*/ 2160 w 3259"/>
              <a:gd name="T111" fmla="*/ 1505 h 2249"/>
              <a:gd name="T112" fmla="*/ 2342 w 3259"/>
              <a:gd name="T113" fmla="*/ 1300 h 2249"/>
              <a:gd name="T114" fmla="*/ 2505 w 3259"/>
              <a:gd name="T115" fmla="*/ 1070 h 2249"/>
              <a:gd name="T116" fmla="*/ 2623 w 3259"/>
              <a:gd name="T117" fmla="*/ 792 h 2249"/>
              <a:gd name="T118" fmla="*/ 2751 w 3259"/>
              <a:gd name="T119" fmla="*/ 523 h 2249"/>
              <a:gd name="T120" fmla="*/ 2814 w 3259"/>
              <a:gd name="T121" fmla="*/ 409 h 2249"/>
              <a:gd name="T122" fmla="*/ 3017 w 3259"/>
              <a:gd name="T123" fmla="*/ 212 h 2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259" h="2249">
                <a:moveTo>
                  <a:pt x="3247" y="16"/>
                </a:moveTo>
                <a:lnTo>
                  <a:pt x="3250" y="16"/>
                </a:lnTo>
                <a:lnTo>
                  <a:pt x="3253" y="17"/>
                </a:lnTo>
                <a:lnTo>
                  <a:pt x="3255" y="19"/>
                </a:lnTo>
                <a:lnTo>
                  <a:pt x="3257" y="22"/>
                </a:lnTo>
                <a:lnTo>
                  <a:pt x="3259" y="26"/>
                </a:lnTo>
                <a:lnTo>
                  <a:pt x="3259" y="28"/>
                </a:lnTo>
                <a:lnTo>
                  <a:pt x="3258" y="31"/>
                </a:lnTo>
                <a:lnTo>
                  <a:pt x="3258" y="33"/>
                </a:lnTo>
                <a:lnTo>
                  <a:pt x="3256" y="35"/>
                </a:lnTo>
                <a:lnTo>
                  <a:pt x="3255" y="37"/>
                </a:lnTo>
                <a:lnTo>
                  <a:pt x="3253" y="38"/>
                </a:lnTo>
                <a:lnTo>
                  <a:pt x="3250" y="39"/>
                </a:lnTo>
                <a:lnTo>
                  <a:pt x="3247" y="40"/>
                </a:lnTo>
                <a:lnTo>
                  <a:pt x="3244" y="39"/>
                </a:lnTo>
                <a:lnTo>
                  <a:pt x="3241" y="38"/>
                </a:lnTo>
                <a:lnTo>
                  <a:pt x="3238" y="36"/>
                </a:lnTo>
                <a:lnTo>
                  <a:pt x="3236" y="34"/>
                </a:lnTo>
                <a:lnTo>
                  <a:pt x="3235" y="29"/>
                </a:lnTo>
                <a:lnTo>
                  <a:pt x="3235" y="27"/>
                </a:lnTo>
                <a:lnTo>
                  <a:pt x="3235" y="25"/>
                </a:lnTo>
                <a:lnTo>
                  <a:pt x="3236" y="23"/>
                </a:lnTo>
                <a:lnTo>
                  <a:pt x="3237" y="21"/>
                </a:lnTo>
                <a:lnTo>
                  <a:pt x="3239" y="19"/>
                </a:lnTo>
                <a:lnTo>
                  <a:pt x="3241" y="17"/>
                </a:lnTo>
                <a:lnTo>
                  <a:pt x="3244" y="16"/>
                </a:lnTo>
                <a:lnTo>
                  <a:pt x="3247" y="16"/>
                </a:lnTo>
                <a:close/>
                <a:moveTo>
                  <a:pt x="550" y="404"/>
                </a:moveTo>
                <a:lnTo>
                  <a:pt x="552" y="404"/>
                </a:lnTo>
                <a:lnTo>
                  <a:pt x="554" y="405"/>
                </a:lnTo>
                <a:lnTo>
                  <a:pt x="556" y="406"/>
                </a:lnTo>
                <a:lnTo>
                  <a:pt x="558" y="407"/>
                </a:lnTo>
                <a:lnTo>
                  <a:pt x="560" y="409"/>
                </a:lnTo>
                <a:lnTo>
                  <a:pt x="561" y="411"/>
                </a:lnTo>
                <a:lnTo>
                  <a:pt x="562" y="413"/>
                </a:lnTo>
                <a:lnTo>
                  <a:pt x="563" y="416"/>
                </a:lnTo>
                <a:lnTo>
                  <a:pt x="563" y="418"/>
                </a:lnTo>
                <a:lnTo>
                  <a:pt x="561" y="423"/>
                </a:lnTo>
                <a:lnTo>
                  <a:pt x="558" y="426"/>
                </a:lnTo>
                <a:lnTo>
                  <a:pt x="557" y="428"/>
                </a:lnTo>
                <a:lnTo>
                  <a:pt x="555" y="429"/>
                </a:lnTo>
                <a:lnTo>
                  <a:pt x="550" y="429"/>
                </a:lnTo>
                <a:lnTo>
                  <a:pt x="549" y="429"/>
                </a:lnTo>
                <a:lnTo>
                  <a:pt x="546" y="429"/>
                </a:lnTo>
                <a:lnTo>
                  <a:pt x="544" y="428"/>
                </a:lnTo>
                <a:lnTo>
                  <a:pt x="542" y="426"/>
                </a:lnTo>
                <a:lnTo>
                  <a:pt x="540" y="425"/>
                </a:lnTo>
                <a:lnTo>
                  <a:pt x="539" y="423"/>
                </a:lnTo>
                <a:lnTo>
                  <a:pt x="538" y="420"/>
                </a:lnTo>
                <a:lnTo>
                  <a:pt x="538" y="418"/>
                </a:lnTo>
                <a:lnTo>
                  <a:pt x="538" y="415"/>
                </a:lnTo>
                <a:lnTo>
                  <a:pt x="539" y="411"/>
                </a:lnTo>
                <a:lnTo>
                  <a:pt x="542" y="407"/>
                </a:lnTo>
                <a:lnTo>
                  <a:pt x="544" y="406"/>
                </a:lnTo>
                <a:lnTo>
                  <a:pt x="546" y="405"/>
                </a:lnTo>
                <a:lnTo>
                  <a:pt x="550" y="404"/>
                </a:lnTo>
                <a:close/>
                <a:moveTo>
                  <a:pt x="693" y="394"/>
                </a:moveTo>
                <a:lnTo>
                  <a:pt x="697" y="395"/>
                </a:lnTo>
                <a:lnTo>
                  <a:pt x="699" y="395"/>
                </a:lnTo>
                <a:lnTo>
                  <a:pt x="700" y="397"/>
                </a:lnTo>
                <a:lnTo>
                  <a:pt x="702" y="398"/>
                </a:lnTo>
                <a:lnTo>
                  <a:pt x="703" y="399"/>
                </a:lnTo>
                <a:lnTo>
                  <a:pt x="705" y="403"/>
                </a:lnTo>
                <a:lnTo>
                  <a:pt x="705" y="406"/>
                </a:lnTo>
                <a:lnTo>
                  <a:pt x="705" y="408"/>
                </a:lnTo>
                <a:lnTo>
                  <a:pt x="705" y="411"/>
                </a:lnTo>
                <a:lnTo>
                  <a:pt x="704" y="413"/>
                </a:lnTo>
                <a:lnTo>
                  <a:pt x="702" y="415"/>
                </a:lnTo>
                <a:lnTo>
                  <a:pt x="700" y="417"/>
                </a:lnTo>
                <a:lnTo>
                  <a:pt x="698" y="418"/>
                </a:lnTo>
                <a:lnTo>
                  <a:pt x="696" y="419"/>
                </a:lnTo>
                <a:lnTo>
                  <a:pt x="693" y="419"/>
                </a:lnTo>
                <a:lnTo>
                  <a:pt x="689" y="419"/>
                </a:lnTo>
                <a:lnTo>
                  <a:pt x="687" y="418"/>
                </a:lnTo>
                <a:lnTo>
                  <a:pt x="685" y="417"/>
                </a:lnTo>
                <a:lnTo>
                  <a:pt x="684" y="415"/>
                </a:lnTo>
                <a:lnTo>
                  <a:pt x="682" y="414"/>
                </a:lnTo>
                <a:lnTo>
                  <a:pt x="681" y="410"/>
                </a:lnTo>
                <a:lnTo>
                  <a:pt x="680" y="407"/>
                </a:lnTo>
                <a:lnTo>
                  <a:pt x="680" y="405"/>
                </a:lnTo>
                <a:lnTo>
                  <a:pt x="681" y="402"/>
                </a:lnTo>
                <a:lnTo>
                  <a:pt x="682" y="400"/>
                </a:lnTo>
                <a:lnTo>
                  <a:pt x="683" y="398"/>
                </a:lnTo>
                <a:lnTo>
                  <a:pt x="685" y="397"/>
                </a:lnTo>
                <a:lnTo>
                  <a:pt x="687" y="395"/>
                </a:lnTo>
                <a:lnTo>
                  <a:pt x="690" y="394"/>
                </a:lnTo>
                <a:lnTo>
                  <a:pt x="693" y="394"/>
                </a:lnTo>
                <a:close/>
                <a:moveTo>
                  <a:pt x="412" y="365"/>
                </a:moveTo>
                <a:lnTo>
                  <a:pt x="415" y="365"/>
                </a:lnTo>
                <a:lnTo>
                  <a:pt x="417" y="366"/>
                </a:lnTo>
                <a:lnTo>
                  <a:pt x="421" y="369"/>
                </a:lnTo>
                <a:lnTo>
                  <a:pt x="423" y="371"/>
                </a:lnTo>
                <a:lnTo>
                  <a:pt x="424" y="373"/>
                </a:lnTo>
                <a:lnTo>
                  <a:pt x="425" y="376"/>
                </a:lnTo>
                <a:lnTo>
                  <a:pt x="425" y="378"/>
                </a:lnTo>
                <a:lnTo>
                  <a:pt x="425" y="380"/>
                </a:lnTo>
                <a:lnTo>
                  <a:pt x="424" y="383"/>
                </a:lnTo>
                <a:lnTo>
                  <a:pt x="422" y="386"/>
                </a:lnTo>
                <a:lnTo>
                  <a:pt x="419" y="388"/>
                </a:lnTo>
                <a:lnTo>
                  <a:pt x="417" y="389"/>
                </a:lnTo>
                <a:lnTo>
                  <a:pt x="416" y="390"/>
                </a:lnTo>
                <a:lnTo>
                  <a:pt x="412" y="390"/>
                </a:lnTo>
                <a:lnTo>
                  <a:pt x="410" y="390"/>
                </a:lnTo>
                <a:lnTo>
                  <a:pt x="407" y="389"/>
                </a:lnTo>
                <a:lnTo>
                  <a:pt x="403" y="386"/>
                </a:lnTo>
                <a:lnTo>
                  <a:pt x="402" y="385"/>
                </a:lnTo>
                <a:lnTo>
                  <a:pt x="400" y="382"/>
                </a:lnTo>
                <a:lnTo>
                  <a:pt x="400" y="380"/>
                </a:lnTo>
                <a:lnTo>
                  <a:pt x="400" y="378"/>
                </a:lnTo>
                <a:lnTo>
                  <a:pt x="400" y="375"/>
                </a:lnTo>
                <a:lnTo>
                  <a:pt x="401" y="373"/>
                </a:lnTo>
                <a:lnTo>
                  <a:pt x="403" y="370"/>
                </a:lnTo>
                <a:lnTo>
                  <a:pt x="405" y="367"/>
                </a:lnTo>
                <a:lnTo>
                  <a:pt x="407" y="366"/>
                </a:lnTo>
                <a:lnTo>
                  <a:pt x="409" y="366"/>
                </a:lnTo>
                <a:lnTo>
                  <a:pt x="412" y="365"/>
                </a:lnTo>
                <a:close/>
                <a:moveTo>
                  <a:pt x="826" y="338"/>
                </a:moveTo>
                <a:lnTo>
                  <a:pt x="829" y="338"/>
                </a:lnTo>
                <a:lnTo>
                  <a:pt x="832" y="339"/>
                </a:lnTo>
                <a:lnTo>
                  <a:pt x="835" y="341"/>
                </a:lnTo>
                <a:lnTo>
                  <a:pt x="837" y="344"/>
                </a:lnTo>
                <a:lnTo>
                  <a:pt x="838" y="346"/>
                </a:lnTo>
                <a:lnTo>
                  <a:pt x="838" y="349"/>
                </a:lnTo>
                <a:lnTo>
                  <a:pt x="838" y="351"/>
                </a:lnTo>
                <a:lnTo>
                  <a:pt x="838" y="354"/>
                </a:lnTo>
                <a:lnTo>
                  <a:pt x="837" y="356"/>
                </a:lnTo>
                <a:lnTo>
                  <a:pt x="836" y="358"/>
                </a:lnTo>
                <a:lnTo>
                  <a:pt x="834" y="360"/>
                </a:lnTo>
                <a:lnTo>
                  <a:pt x="832" y="361"/>
                </a:lnTo>
                <a:lnTo>
                  <a:pt x="829" y="363"/>
                </a:lnTo>
                <a:lnTo>
                  <a:pt x="826" y="363"/>
                </a:lnTo>
                <a:lnTo>
                  <a:pt x="823" y="363"/>
                </a:lnTo>
                <a:lnTo>
                  <a:pt x="820" y="361"/>
                </a:lnTo>
                <a:lnTo>
                  <a:pt x="817" y="359"/>
                </a:lnTo>
                <a:lnTo>
                  <a:pt x="815" y="357"/>
                </a:lnTo>
                <a:lnTo>
                  <a:pt x="813" y="354"/>
                </a:lnTo>
                <a:lnTo>
                  <a:pt x="812" y="352"/>
                </a:lnTo>
                <a:lnTo>
                  <a:pt x="812" y="349"/>
                </a:lnTo>
                <a:lnTo>
                  <a:pt x="813" y="347"/>
                </a:lnTo>
                <a:lnTo>
                  <a:pt x="813" y="345"/>
                </a:lnTo>
                <a:lnTo>
                  <a:pt x="816" y="343"/>
                </a:lnTo>
                <a:lnTo>
                  <a:pt x="817" y="341"/>
                </a:lnTo>
                <a:lnTo>
                  <a:pt x="820" y="339"/>
                </a:lnTo>
                <a:lnTo>
                  <a:pt x="823" y="338"/>
                </a:lnTo>
                <a:lnTo>
                  <a:pt x="826" y="338"/>
                </a:lnTo>
                <a:close/>
                <a:moveTo>
                  <a:pt x="286" y="297"/>
                </a:moveTo>
                <a:lnTo>
                  <a:pt x="289" y="297"/>
                </a:lnTo>
                <a:lnTo>
                  <a:pt x="291" y="298"/>
                </a:lnTo>
                <a:lnTo>
                  <a:pt x="292" y="299"/>
                </a:lnTo>
                <a:lnTo>
                  <a:pt x="294" y="300"/>
                </a:lnTo>
                <a:lnTo>
                  <a:pt x="296" y="302"/>
                </a:lnTo>
                <a:lnTo>
                  <a:pt x="297" y="304"/>
                </a:lnTo>
                <a:lnTo>
                  <a:pt x="298" y="306"/>
                </a:lnTo>
                <a:lnTo>
                  <a:pt x="298" y="309"/>
                </a:lnTo>
                <a:lnTo>
                  <a:pt x="298" y="311"/>
                </a:lnTo>
                <a:lnTo>
                  <a:pt x="298" y="314"/>
                </a:lnTo>
                <a:lnTo>
                  <a:pt x="296" y="316"/>
                </a:lnTo>
                <a:lnTo>
                  <a:pt x="294" y="318"/>
                </a:lnTo>
                <a:lnTo>
                  <a:pt x="292" y="320"/>
                </a:lnTo>
                <a:lnTo>
                  <a:pt x="289" y="321"/>
                </a:lnTo>
                <a:lnTo>
                  <a:pt x="286" y="322"/>
                </a:lnTo>
                <a:lnTo>
                  <a:pt x="282" y="321"/>
                </a:lnTo>
                <a:lnTo>
                  <a:pt x="281" y="321"/>
                </a:lnTo>
                <a:lnTo>
                  <a:pt x="279" y="320"/>
                </a:lnTo>
                <a:lnTo>
                  <a:pt x="277" y="318"/>
                </a:lnTo>
                <a:lnTo>
                  <a:pt x="275" y="316"/>
                </a:lnTo>
                <a:lnTo>
                  <a:pt x="274" y="314"/>
                </a:lnTo>
                <a:lnTo>
                  <a:pt x="273" y="312"/>
                </a:lnTo>
                <a:lnTo>
                  <a:pt x="273" y="310"/>
                </a:lnTo>
                <a:lnTo>
                  <a:pt x="273" y="307"/>
                </a:lnTo>
                <a:lnTo>
                  <a:pt x="274" y="305"/>
                </a:lnTo>
                <a:lnTo>
                  <a:pt x="275" y="303"/>
                </a:lnTo>
                <a:lnTo>
                  <a:pt x="277" y="300"/>
                </a:lnTo>
                <a:lnTo>
                  <a:pt x="280" y="298"/>
                </a:lnTo>
                <a:lnTo>
                  <a:pt x="283" y="297"/>
                </a:lnTo>
                <a:lnTo>
                  <a:pt x="286" y="297"/>
                </a:lnTo>
                <a:close/>
                <a:moveTo>
                  <a:pt x="943" y="254"/>
                </a:moveTo>
                <a:lnTo>
                  <a:pt x="945" y="254"/>
                </a:lnTo>
                <a:lnTo>
                  <a:pt x="948" y="255"/>
                </a:lnTo>
                <a:lnTo>
                  <a:pt x="950" y="256"/>
                </a:lnTo>
                <a:lnTo>
                  <a:pt x="952" y="258"/>
                </a:lnTo>
                <a:lnTo>
                  <a:pt x="954" y="260"/>
                </a:lnTo>
                <a:lnTo>
                  <a:pt x="955" y="263"/>
                </a:lnTo>
                <a:lnTo>
                  <a:pt x="955" y="265"/>
                </a:lnTo>
                <a:lnTo>
                  <a:pt x="955" y="267"/>
                </a:lnTo>
                <a:lnTo>
                  <a:pt x="955" y="270"/>
                </a:lnTo>
                <a:lnTo>
                  <a:pt x="954" y="272"/>
                </a:lnTo>
                <a:lnTo>
                  <a:pt x="953" y="274"/>
                </a:lnTo>
                <a:lnTo>
                  <a:pt x="951" y="276"/>
                </a:lnTo>
                <a:lnTo>
                  <a:pt x="949" y="277"/>
                </a:lnTo>
                <a:lnTo>
                  <a:pt x="947" y="278"/>
                </a:lnTo>
                <a:lnTo>
                  <a:pt x="943" y="279"/>
                </a:lnTo>
                <a:lnTo>
                  <a:pt x="940" y="279"/>
                </a:lnTo>
                <a:lnTo>
                  <a:pt x="937" y="278"/>
                </a:lnTo>
                <a:lnTo>
                  <a:pt x="935" y="277"/>
                </a:lnTo>
                <a:lnTo>
                  <a:pt x="933" y="275"/>
                </a:lnTo>
                <a:lnTo>
                  <a:pt x="932" y="273"/>
                </a:lnTo>
                <a:lnTo>
                  <a:pt x="931" y="270"/>
                </a:lnTo>
                <a:lnTo>
                  <a:pt x="930" y="268"/>
                </a:lnTo>
                <a:lnTo>
                  <a:pt x="930" y="266"/>
                </a:lnTo>
                <a:lnTo>
                  <a:pt x="930" y="263"/>
                </a:lnTo>
                <a:lnTo>
                  <a:pt x="931" y="261"/>
                </a:lnTo>
                <a:lnTo>
                  <a:pt x="932" y="259"/>
                </a:lnTo>
                <a:lnTo>
                  <a:pt x="934" y="257"/>
                </a:lnTo>
                <a:lnTo>
                  <a:pt x="936" y="256"/>
                </a:lnTo>
                <a:lnTo>
                  <a:pt x="938" y="255"/>
                </a:lnTo>
                <a:lnTo>
                  <a:pt x="943" y="254"/>
                </a:lnTo>
                <a:close/>
                <a:moveTo>
                  <a:pt x="166" y="217"/>
                </a:moveTo>
                <a:lnTo>
                  <a:pt x="169" y="218"/>
                </a:lnTo>
                <a:lnTo>
                  <a:pt x="173" y="219"/>
                </a:lnTo>
                <a:lnTo>
                  <a:pt x="175" y="221"/>
                </a:lnTo>
                <a:lnTo>
                  <a:pt x="176" y="223"/>
                </a:lnTo>
                <a:lnTo>
                  <a:pt x="177" y="225"/>
                </a:lnTo>
                <a:lnTo>
                  <a:pt x="178" y="227"/>
                </a:lnTo>
                <a:lnTo>
                  <a:pt x="178" y="232"/>
                </a:lnTo>
                <a:lnTo>
                  <a:pt x="177" y="235"/>
                </a:lnTo>
                <a:lnTo>
                  <a:pt x="176" y="237"/>
                </a:lnTo>
                <a:lnTo>
                  <a:pt x="174" y="239"/>
                </a:lnTo>
                <a:lnTo>
                  <a:pt x="171" y="241"/>
                </a:lnTo>
                <a:lnTo>
                  <a:pt x="169" y="242"/>
                </a:lnTo>
                <a:lnTo>
                  <a:pt x="166" y="242"/>
                </a:lnTo>
                <a:lnTo>
                  <a:pt x="162" y="242"/>
                </a:lnTo>
                <a:lnTo>
                  <a:pt x="158" y="240"/>
                </a:lnTo>
                <a:lnTo>
                  <a:pt x="157" y="239"/>
                </a:lnTo>
                <a:lnTo>
                  <a:pt x="155" y="237"/>
                </a:lnTo>
                <a:lnTo>
                  <a:pt x="154" y="235"/>
                </a:lnTo>
                <a:lnTo>
                  <a:pt x="153" y="232"/>
                </a:lnTo>
                <a:lnTo>
                  <a:pt x="153" y="227"/>
                </a:lnTo>
                <a:lnTo>
                  <a:pt x="154" y="225"/>
                </a:lnTo>
                <a:lnTo>
                  <a:pt x="155" y="223"/>
                </a:lnTo>
                <a:lnTo>
                  <a:pt x="157" y="220"/>
                </a:lnTo>
                <a:lnTo>
                  <a:pt x="160" y="219"/>
                </a:lnTo>
                <a:lnTo>
                  <a:pt x="163" y="218"/>
                </a:lnTo>
                <a:lnTo>
                  <a:pt x="166" y="217"/>
                </a:lnTo>
                <a:close/>
                <a:moveTo>
                  <a:pt x="1044" y="151"/>
                </a:moveTo>
                <a:lnTo>
                  <a:pt x="1048" y="152"/>
                </a:lnTo>
                <a:lnTo>
                  <a:pt x="1050" y="153"/>
                </a:lnTo>
                <a:lnTo>
                  <a:pt x="1052" y="155"/>
                </a:lnTo>
                <a:lnTo>
                  <a:pt x="1054" y="156"/>
                </a:lnTo>
                <a:lnTo>
                  <a:pt x="1055" y="159"/>
                </a:lnTo>
                <a:lnTo>
                  <a:pt x="1056" y="161"/>
                </a:lnTo>
                <a:lnTo>
                  <a:pt x="1056" y="163"/>
                </a:lnTo>
                <a:lnTo>
                  <a:pt x="1056" y="166"/>
                </a:lnTo>
                <a:lnTo>
                  <a:pt x="1056" y="168"/>
                </a:lnTo>
                <a:lnTo>
                  <a:pt x="1055" y="170"/>
                </a:lnTo>
                <a:lnTo>
                  <a:pt x="1053" y="172"/>
                </a:lnTo>
                <a:lnTo>
                  <a:pt x="1051" y="174"/>
                </a:lnTo>
                <a:lnTo>
                  <a:pt x="1049" y="176"/>
                </a:lnTo>
                <a:lnTo>
                  <a:pt x="1046" y="176"/>
                </a:lnTo>
                <a:lnTo>
                  <a:pt x="1044" y="177"/>
                </a:lnTo>
                <a:lnTo>
                  <a:pt x="1039" y="176"/>
                </a:lnTo>
                <a:lnTo>
                  <a:pt x="1037" y="175"/>
                </a:lnTo>
                <a:lnTo>
                  <a:pt x="1035" y="174"/>
                </a:lnTo>
                <a:lnTo>
                  <a:pt x="1034" y="172"/>
                </a:lnTo>
                <a:lnTo>
                  <a:pt x="1032" y="170"/>
                </a:lnTo>
                <a:lnTo>
                  <a:pt x="1031" y="167"/>
                </a:lnTo>
                <a:lnTo>
                  <a:pt x="1031" y="165"/>
                </a:lnTo>
                <a:lnTo>
                  <a:pt x="1031" y="163"/>
                </a:lnTo>
                <a:lnTo>
                  <a:pt x="1032" y="160"/>
                </a:lnTo>
                <a:lnTo>
                  <a:pt x="1033" y="158"/>
                </a:lnTo>
                <a:lnTo>
                  <a:pt x="1034" y="156"/>
                </a:lnTo>
                <a:lnTo>
                  <a:pt x="1036" y="154"/>
                </a:lnTo>
                <a:lnTo>
                  <a:pt x="1039" y="153"/>
                </a:lnTo>
                <a:lnTo>
                  <a:pt x="1041" y="152"/>
                </a:lnTo>
                <a:lnTo>
                  <a:pt x="1044" y="151"/>
                </a:lnTo>
                <a:close/>
                <a:moveTo>
                  <a:pt x="44" y="140"/>
                </a:moveTo>
                <a:lnTo>
                  <a:pt x="47" y="140"/>
                </a:lnTo>
                <a:lnTo>
                  <a:pt x="50" y="142"/>
                </a:lnTo>
                <a:lnTo>
                  <a:pt x="52" y="143"/>
                </a:lnTo>
                <a:lnTo>
                  <a:pt x="54" y="145"/>
                </a:lnTo>
                <a:lnTo>
                  <a:pt x="55" y="147"/>
                </a:lnTo>
                <a:lnTo>
                  <a:pt x="56" y="149"/>
                </a:lnTo>
                <a:lnTo>
                  <a:pt x="56" y="152"/>
                </a:lnTo>
                <a:lnTo>
                  <a:pt x="56" y="154"/>
                </a:lnTo>
                <a:lnTo>
                  <a:pt x="56" y="157"/>
                </a:lnTo>
                <a:lnTo>
                  <a:pt x="55" y="159"/>
                </a:lnTo>
                <a:lnTo>
                  <a:pt x="53" y="162"/>
                </a:lnTo>
                <a:lnTo>
                  <a:pt x="50" y="164"/>
                </a:lnTo>
                <a:lnTo>
                  <a:pt x="47" y="165"/>
                </a:lnTo>
                <a:lnTo>
                  <a:pt x="44" y="165"/>
                </a:lnTo>
                <a:lnTo>
                  <a:pt x="41" y="165"/>
                </a:lnTo>
                <a:lnTo>
                  <a:pt x="38" y="164"/>
                </a:lnTo>
                <a:lnTo>
                  <a:pt x="36" y="162"/>
                </a:lnTo>
                <a:lnTo>
                  <a:pt x="34" y="160"/>
                </a:lnTo>
                <a:lnTo>
                  <a:pt x="33" y="158"/>
                </a:lnTo>
                <a:lnTo>
                  <a:pt x="32" y="156"/>
                </a:lnTo>
                <a:lnTo>
                  <a:pt x="31" y="153"/>
                </a:lnTo>
                <a:lnTo>
                  <a:pt x="31" y="151"/>
                </a:lnTo>
                <a:lnTo>
                  <a:pt x="32" y="149"/>
                </a:lnTo>
                <a:lnTo>
                  <a:pt x="33" y="146"/>
                </a:lnTo>
                <a:lnTo>
                  <a:pt x="35" y="144"/>
                </a:lnTo>
                <a:lnTo>
                  <a:pt x="38" y="142"/>
                </a:lnTo>
                <a:lnTo>
                  <a:pt x="41" y="140"/>
                </a:lnTo>
                <a:lnTo>
                  <a:pt x="44" y="140"/>
                </a:lnTo>
                <a:close/>
                <a:moveTo>
                  <a:pt x="1134" y="39"/>
                </a:moveTo>
                <a:lnTo>
                  <a:pt x="1138" y="40"/>
                </a:lnTo>
                <a:lnTo>
                  <a:pt x="1140" y="41"/>
                </a:lnTo>
                <a:lnTo>
                  <a:pt x="1142" y="42"/>
                </a:lnTo>
                <a:lnTo>
                  <a:pt x="1144" y="44"/>
                </a:lnTo>
                <a:lnTo>
                  <a:pt x="1145" y="46"/>
                </a:lnTo>
                <a:lnTo>
                  <a:pt x="1147" y="50"/>
                </a:lnTo>
                <a:lnTo>
                  <a:pt x="1147" y="53"/>
                </a:lnTo>
                <a:lnTo>
                  <a:pt x="1146" y="55"/>
                </a:lnTo>
                <a:lnTo>
                  <a:pt x="1144" y="60"/>
                </a:lnTo>
                <a:lnTo>
                  <a:pt x="1142" y="62"/>
                </a:lnTo>
                <a:lnTo>
                  <a:pt x="1141" y="63"/>
                </a:lnTo>
                <a:lnTo>
                  <a:pt x="1140" y="63"/>
                </a:lnTo>
                <a:lnTo>
                  <a:pt x="1137" y="64"/>
                </a:lnTo>
                <a:lnTo>
                  <a:pt x="1134" y="65"/>
                </a:lnTo>
                <a:lnTo>
                  <a:pt x="1130" y="64"/>
                </a:lnTo>
                <a:lnTo>
                  <a:pt x="1128" y="63"/>
                </a:lnTo>
                <a:lnTo>
                  <a:pt x="1126" y="62"/>
                </a:lnTo>
                <a:lnTo>
                  <a:pt x="1125" y="60"/>
                </a:lnTo>
                <a:lnTo>
                  <a:pt x="1123" y="58"/>
                </a:lnTo>
                <a:lnTo>
                  <a:pt x="1122" y="54"/>
                </a:lnTo>
                <a:lnTo>
                  <a:pt x="1121" y="51"/>
                </a:lnTo>
                <a:lnTo>
                  <a:pt x="1122" y="49"/>
                </a:lnTo>
                <a:lnTo>
                  <a:pt x="1124" y="44"/>
                </a:lnTo>
                <a:lnTo>
                  <a:pt x="1126" y="42"/>
                </a:lnTo>
                <a:lnTo>
                  <a:pt x="1127" y="41"/>
                </a:lnTo>
                <a:lnTo>
                  <a:pt x="1129" y="41"/>
                </a:lnTo>
                <a:lnTo>
                  <a:pt x="1131" y="40"/>
                </a:lnTo>
                <a:lnTo>
                  <a:pt x="1134" y="39"/>
                </a:lnTo>
                <a:close/>
                <a:moveTo>
                  <a:pt x="596" y="860"/>
                </a:moveTo>
                <a:lnTo>
                  <a:pt x="597" y="860"/>
                </a:lnTo>
                <a:lnTo>
                  <a:pt x="599" y="861"/>
                </a:lnTo>
                <a:lnTo>
                  <a:pt x="602" y="862"/>
                </a:lnTo>
                <a:lnTo>
                  <a:pt x="604" y="863"/>
                </a:lnTo>
                <a:lnTo>
                  <a:pt x="605" y="865"/>
                </a:lnTo>
                <a:lnTo>
                  <a:pt x="607" y="867"/>
                </a:lnTo>
                <a:lnTo>
                  <a:pt x="608" y="869"/>
                </a:lnTo>
                <a:lnTo>
                  <a:pt x="608" y="871"/>
                </a:lnTo>
                <a:lnTo>
                  <a:pt x="608" y="874"/>
                </a:lnTo>
                <a:lnTo>
                  <a:pt x="607" y="878"/>
                </a:lnTo>
                <a:lnTo>
                  <a:pt x="604" y="882"/>
                </a:lnTo>
                <a:lnTo>
                  <a:pt x="602" y="883"/>
                </a:lnTo>
                <a:lnTo>
                  <a:pt x="600" y="884"/>
                </a:lnTo>
                <a:lnTo>
                  <a:pt x="596" y="885"/>
                </a:lnTo>
                <a:lnTo>
                  <a:pt x="594" y="885"/>
                </a:lnTo>
                <a:lnTo>
                  <a:pt x="592" y="884"/>
                </a:lnTo>
                <a:lnTo>
                  <a:pt x="589" y="883"/>
                </a:lnTo>
                <a:lnTo>
                  <a:pt x="587" y="882"/>
                </a:lnTo>
                <a:lnTo>
                  <a:pt x="586" y="880"/>
                </a:lnTo>
                <a:lnTo>
                  <a:pt x="585" y="878"/>
                </a:lnTo>
                <a:lnTo>
                  <a:pt x="584" y="876"/>
                </a:lnTo>
                <a:lnTo>
                  <a:pt x="583" y="873"/>
                </a:lnTo>
                <a:lnTo>
                  <a:pt x="583" y="871"/>
                </a:lnTo>
                <a:lnTo>
                  <a:pt x="585" y="867"/>
                </a:lnTo>
                <a:lnTo>
                  <a:pt x="587" y="863"/>
                </a:lnTo>
                <a:lnTo>
                  <a:pt x="589" y="862"/>
                </a:lnTo>
                <a:lnTo>
                  <a:pt x="591" y="861"/>
                </a:lnTo>
                <a:lnTo>
                  <a:pt x="596" y="860"/>
                </a:lnTo>
                <a:close/>
                <a:moveTo>
                  <a:pt x="738" y="850"/>
                </a:moveTo>
                <a:lnTo>
                  <a:pt x="742" y="850"/>
                </a:lnTo>
                <a:lnTo>
                  <a:pt x="744" y="851"/>
                </a:lnTo>
                <a:lnTo>
                  <a:pt x="746" y="852"/>
                </a:lnTo>
                <a:lnTo>
                  <a:pt x="747" y="854"/>
                </a:lnTo>
                <a:lnTo>
                  <a:pt x="749" y="855"/>
                </a:lnTo>
                <a:lnTo>
                  <a:pt x="750" y="859"/>
                </a:lnTo>
                <a:lnTo>
                  <a:pt x="751" y="861"/>
                </a:lnTo>
                <a:lnTo>
                  <a:pt x="751" y="864"/>
                </a:lnTo>
                <a:lnTo>
                  <a:pt x="750" y="866"/>
                </a:lnTo>
                <a:lnTo>
                  <a:pt x="749" y="868"/>
                </a:lnTo>
                <a:lnTo>
                  <a:pt x="748" y="870"/>
                </a:lnTo>
                <a:lnTo>
                  <a:pt x="746" y="872"/>
                </a:lnTo>
                <a:lnTo>
                  <a:pt x="744" y="873"/>
                </a:lnTo>
                <a:lnTo>
                  <a:pt x="741" y="874"/>
                </a:lnTo>
                <a:lnTo>
                  <a:pt x="738" y="875"/>
                </a:lnTo>
                <a:lnTo>
                  <a:pt x="734" y="874"/>
                </a:lnTo>
                <a:lnTo>
                  <a:pt x="732" y="873"/>
                </a:lnTo>
                <a:lnTo>
                  <a:pt x="731" y="872"/>
                </a:lnTo>
                <a:lnTo>
                  <a:pt x="729" y="871"/>
                </a:lnTo>
                <a:lnTo>
                  <a:pt x="728" y="869"/>
                </a:lnTo>
                <a:lnTo>
                  <a:pt x="726" y="865"/>
                </a:lnTo>
                <a:lnTo>
                  <a:pt x="726" y="863"/>
                </a:lnTo>
                <a:lnTo>
                  <a:pt x="726" y="860"/>
                </a:lnTo>
                <a:lnTo>
                  <a:pt x="727" y="858"/>
                </a:lnTo>
                <a:lnTo>
                  <a:pt x="728" y="856"/>
                </a:lnTo>
                <a:lnTo>
                  <a:pt x="729" y="854"/>
                </a:lnTo>
                <a:lnTo>
                  <a:pt x="731" y="852"/>
                </a:lnTo>
                <a:lnTo>
                  <a:pt x="733" y="851"/>
                </a:lnTo>
                <a:lnTo>
                  <a:pt x="735" y="850"/>
                </a:lnTo>
                <a:lnTo>
                  <a:pt x="738" y="850"/>
                </a:lnTo>
                <a:close/>
                <a:moveTo>
                  <a:pt x="458" y="821"/>
                </a:moveTo>
                <a:lnTo>
                  <a:pt x="460" y="821"/>
                </a:lnTo>
                <a:lnTo>
                  <a:pt x="463" y="822"/>
                </a:lnTo>
                <a:lnTo>
                  <a:pt x="467" y="825"/>
                </a:lnTo>
                <a:lnTo>
                  <a:pt x="468" y="827"/>
                </a:lnTo>
                <a:lnTo>
                  <a:pt x="469" y="829"/>
                </a:lnTo>
                <a:lnTo>
                  <a:pt x="470" y="831"/>
                </a:lnTo>
                <a:lnTo>
                  <a:pt x="470" y="834"/>
                </a:lnTo>
                <a:lnTo>
                  <a:pt x="470" y="836"/>
                </a:lnTo>
                <a:lnTo>
                  <a:pt x="469" y="838"/>
                </a:lnTo>
                <a:lnTo>
                  <a:pt x="467" y="842"/>
                </a:lnTo>
                <a:lnTo>
                  <a:pt x="466" y="843"/>
                </a:lnTo>
                <a:lnTo>
                  <a:pt x="464" y="844"/>
                </a:lnTo>
                <a:lnTo>
                  <a:pt x="463" y="845"/>
                </a:lnTo>
                <a:lnTo>
                  <a:pt x="461" y="845"/>
                </a:lnTo>
                <a:lnTo>
                  <a:pt x="458" y="846"/>
                </a:lnTo>
                <a:lnTo>
                  <a:pt x="455" y="846"/>
                </a:lnTo>
                <a:lnTo>
                  <a:pt x="453" y="845"/>
                </a:lnTo>
                <a:lnTo>
                  <a:pt x="449" y="842"/>
                </a:lnTo>
                <a:lnTo>
                  <a:pt x="447" y="840"/>
                </a:lnTo>
                <a:lnTo>
                  <a:pt x="446" y="838"/>
                </a:lnTo>
                <a:lnTo>
                  <a:pt x="445" y="836"/>
                </a:lnTo>
                <a:lnTo>
                  <a:pt x="445" y="833"/>
                </a:lnTo>
                <a:lnTo>
                  <a:pt x="446" y="831"/>
                </a:lnTo>
                <a:lnTo>
                  <a:pt x="446" y="828"/>
                </a:lnTo>
                <a:lnTo>
                  <a:pt x="448" y="825"/>
                </a:lnTo>
                <a:lnTo>
                  <a:pt x="450" y="824"/>
                </a:lnTo>
                <a:lnTo>
                  <a:pt x="451" y="823"/>
                </a:lnTo>
                <a:lnTo>
                  <a:pt x="453" y="822"/>
                </a:lnTo>
                <a:lnTo>
                  <a:pt x="454" y="821"/>
                </a:lnTo>
                <a:lnTo>
                  <a:pt x="458" y="821"/>
                </a:lnTo>
                <a:close/>
                <a:moveTo>
                  <a:pt x="871" y="793"/>
                </a:moveTo>
                <a:lnTo>
                  <a:pt x="875" y="794"/>
                </a:lnTo>
                <a:lnTo>
                  <a:pt x="878" y="795"/>
                </a:lnTo>
                <a:lnTo>
                  <a:pt x="880" y="797"/>
                </a:lnTo>
                <a:lnTo>
                  <a:pt x="882" y="800"/>
                </a:lnTo>
                <a:lnTo>
                  <a:pt x="883" y="802"/>
                </a:lnTo>
                <a:lnTo>
                  <a:pt x="884" y="804"/>
                </a:lnTo>
                <a:lnTo>
                  <a:pt x="884" y="807"/>
                </a:lnTo>
                <a:lnTo>
                  <a:pt x="883" y="809"/>
                </a:lnTo>
                <a:lnTo>
                  <a:pt x="883" y="811"/>
                </a:lnTo>
                <a:lnTo>
                  <a:pt x="881" y="813"/>
                </a:lnTo>
                <a:lnTo>
                  <a:pt x="880" y="815"/>
                </a:lnTo>
                <a:lnTo>
                  <a:pt x="878" y="817"/>
                </a:lnTo>
                <a:lnTo>
                  <a:pt x="875" y="818"/>
                </a:lnTo>
                <a:lnTo>
                  <a:pt x="871" y="818"/>
                </a:lnTo>
                <a:lnTo>
                  <a:pt x="868" y="818"/>
                </a:lnTo>
                <a:lnTo>
                  <a:pt x="865" y="817"/>
                </a:lnTo>
                <a:lnTo>
                  <a:pt x="863" y="815"/>
                </a:lnTo>
                <a:lnTo>
                  <a:pt x="861" y="812"/>
                </a:lnTo>
                <a:lnTo>
                  <a:pt x="860" y="810"/>
                </a:lnTo>
                <a:lnTo>
                  <a:pt x="859" y="807"/>
                </a:lnTo>
                <a:lnTo>
                  <a:pt x="859" y="805"/>
                </a:lnTo>
                <a:lnTo>
                  <a:pt x="859" y="803"/>
                </a:lnTo>
                <a:lnTo>
                  <a:pt x="861" y="798"/>
                </a:lnTo>
                <a:lnTo>
                  <a:pt x="863" y="797"/>
                </a:lnTo>
                <a:lnTo>
                  <a:pt x="865" y="795"/>
                </a:lnTo>
                <a:lnTo>
                  <a:pt x="868" y="794"/>
                </a:lnTo>
                <a:lnTo>
                  <a:pt x="871" y="793"/>
                </a:lnTo>
                <a:close/>
                <a:moveTo>
                  <a:pt x="331" y="752"/>
                </a:moveTo>
                <a:lnTo>
                  <a:pt x="335" y="753"/>
                </a:lnTo>
                <a:lnTo>
                  <a:pt x="338" y="754"/>
                </a:lnTo>
                <a:lnTo>
                  <a:pt x="340" y="756"/>
                </a:lnTo>
                <a:lnTo>
                  <a:pt x="341" y="758"/>
                </a:lnTo>
                <a:lnTo>
                  <a:pt x="343" y="760"/>
                </a:lnTo>
                <a:lnTo>
                  <a:pt x="343" y="762"/>
                </a:lnTo>
                <a:lnTo>
                  <a:pt x="344" y="764"/>
                </a:lnTo>
                <a:lnTo>
                  <a:pt x="344" y="767"/>
                </a:lnTo>
                <a:lnTo>
                  <a:pt x="343" y="769"/>
                </a:lnTo>
                <a:lnTo>
                  <a:pt x="342" y="771"/>
                </a:lnTo>
                <a:lnTo>
                  <a:pt x="340" y="774"/>
                </a:lnTo>
                <a:lnTo>
                  <a:pt x="337" y="776"/>
                </a:lnTo>
                <a:lnTo>
                  <a:pt x="334" y="777"/>
                </a:lnTo>
                <a:lnTo>
                  <a:pt x="331" y="777"/>
                </a:lnTo>
                <a:lnTo>
                  <a:pt x="328" y="777"/>
                </a:lnTo>
                <a:lnTo>
                  <a:pt x="325" y="775"/>
                </a:lnTo>
                <a:lnTo>
                  <a:pt x="323" y="774"/>
                </a:lnTo>
                <a:lnTo>
                  <a:pt x="321" y="772"/>
                </a:lnTo>
                <a:lnTo>
                  <a:pt x="320" y="770"/>
                </a:lnTo>
                <a:lnTo>
                  <a:pt x="319" y="768"/>
                </a:lnTo>
                <a:lnTo>
                  <a:pt x="319" y="765"/>
                </a:lnTo>
                <a:lnTo>
                  <a:pt x="319" y="763"/>
                </a:lnTo>
                <a:lnTo>
                  <a:pt x="320" y="760"/>
                </a:lnTo>
                <a:lnTo>
                  <a:pt x="321" y="758"/>
                </a:lnTo>
                <a:lnTo>
                  <a:pt x="323" y="756"/>
                </a:lnTo>
                <a:lnTo>
                  <a:pt x="325" y="754"/>
                </a:lnTo>
                <a:lnTo>
                  <a:pt x="328" y="753"/>
                </a:lnTo>
                <a:lnTo>
                  <a:pt x="331" y="752"/>
                </a:lnTo>
                <a:close/>
                <a:moveTo>
                  <a:pt x="988" y="710"/>
                </a:moveTo>
                <a:lnTo>
                  <a:pt x="991" y="710"/>
                </a:lnTo>
                <a:lnTo>
                  <a:pt x="993" y="711"/>
                </a:lnTo>
                <a:lnTo>
                  <a:pt x="995" y="712"/>
                </a:lnTo>
                <a:lnTo>
                  <a:pt x="997" y="714"/>
                </a:lnTo>
                <a:lnTo>
                  <a:pt x="999" y="716"/>
                </a:lnTo>
                <a:lnTo>
                  <a:pt x="1000" y="718"/>
                </a:lnTo>
                <a:lnTo>
                  <a:pt x="1000" y="720"/>
                </a:lnTo>
                <a:lnTo>
                  <a:pt x="1000" y="723"/>
                </a:lnTo>
                <a:lnTo>
                  <a:pt x="1000" y="725"/>
                </a:lnTo>
                <a:lnTo>
                  <a:pt x="999" y="727"/>
                </a:lnTo>
                <a:lnTo>
                  <a:pt x="998" y="730"/>
                </a:lnTo>
                <a:lnTo>
                  <a:pt x="996" y="731"/>
                </a:lnTo>
                <a:lnTo>
                  <a:pt x="994" y="733"/>
                </a:lnTo>
                <a:lnTo>
                  <a:pt x="992" y="734"/>
                </a:lnTo>
                <a:lnTo>
                  <a:pt x="988" y="734"/>
                </a:lnTo>
                <a:lnTo>
                  <a:pt x="985" y="734"/>
                </a:lnTo>
                <a:lnTo>
                  <a:pt x="983" y="733"/>
                </a:lnTo>
                <a:lnTo>
                  <a:pt x="981" y="732"/>
                </a:lnTo>
                <a:lnTo>
                  <a:pt x="979" y="730"/>
                </a:lnTo>
                <a:lnTo>
                  <a:pt x="977" y="728"/>
                </a:lnTo>
                <a:lnTo>
                  <a:pt x="976" y="726"/>
                </a:lnTo>
                <a:lnTo>
                  <a:pt x="976" y="724"/>
                </a:lnTo>
                <a:lnTo>
                  <a:pt x="976" y="721"/>
                </a:lnTo>
                <a:lnTo>
                  <a:pt x="976" y="719"/>
                </a:lnTo>
                <a:lnTo>
                  <a:pt x="977" y="717"/>
                </a:lnTo>
                <a:lnTo>
                  <a:pt x="978" y="714"/>
                </a:lnTo>
                <a:lnTo>
                  <a:pt x="980" y="713"/>
                </a:lnTo>
                <a:lnTo>
                  <a:pt x="982" y="711"/>
                </a:lnTo>
                <a:lnTo>
                  <a:pt x="984" y="710"/>
                </a:lnTo>
                <a:lnTo>
                  <a:pt x="988" y="710"/>
                </a:lnTo>
                <a:close/>
                <a:moveTo>
                  <a:pt x="211" y="673"/>
                </a:moveTo>
                <a:lnTo>
                  <a:pt x="215" y="673"/>
                </a:lnTo>
                <a:lnTo>
                  <a:pt x="216" y="674"/>
                </a:lnTo>
                <a:lnTo>
                  <a:pt x="218" y="675"/>
                </a:lnTo>
                <a:lnTo>
                  <a:pt x="220" y="677"/>
                </a:lnTo>
                <a:lnTo>
                  <a:pt x="221" y="679"/>
                </a:lnTo>
                <a:lnTo>
                  <a:pt x="223" y="681"/>
                </a:lnTo>
                <a:lnTo>
                  <a:pt x="223" y="683"/>
                </a:lnTo>
                <a:lnTo>
                  <a:pt x="223" y="688"/>
                </a:lnTo>
                <a:lnTo>
                  <a:pt x="223" y="690"/>
                </a:lnTo>
                <a:lnTo>
                  <a:pt x="221" y="692"/>
                </a:lnTo>
                <a:lnTo>
                  <a:pt x="220" y="694"/>
                </a:lnTo>
                <a:lnTo>
                  <a:pt x="219" y="695"/>
                </a:lnTo>
                <a:lnTo>
                  <a:pt x="217" y="696"/>
                </a:lnTo>
                <a:lnTo>
                  <a:pt x="214" y="697"/>
                </a:lnTo>
                <a:lnTo>
                  <a:pt x="211" y="698"/>
                </a:lnTo>
                <a:lnTo>
                  <a:pt x="207" y="697"/>
                </a:lnTo>
                <a:lnTo>
                  <a:pt x="206" y="697"/>
                </a:lnTo>
                <a:lnTo>
                  <a:pt x="204" y="696"/>
                </a:lnTo>
                <a:lnTo>
                  <a:pt x="202" y="694"/>
                </a:lnTo>
                <a:lnTo>
                  <a:pt x="201" y="692"/>
                </a:lnTo>
                <a:lnTo>
                  <a:pt x="199" y="690"/>
                </a:lnTo>
                <a:lnTo>
                  <a:pt x="199" y="688"/>
                </a:lnTo>
                <a:lnTo>
                  <a:pt x="199" y="683"/>
                </a:lnTo>
                <a:lnTo>
                  <a:pt x="200" y="681"/>
                </a:lnTo>
                <a:lnTo>
                  <a:pt x="201" y="678"/>
                </a:lnTo>
                <a:lnTo>
                  <a:pt x="202" y="677"/>
                </a:lnTo>
                <a:lnTo>
                  <a:pt x="203" y="676"/>
                </a:lnTo>
                <a:lnTo>
                  <a:pt x="205" y="674"/>
                </a:lnTo>
                <a:lnTo>
                  <a:pt x="208" y="673"/>
                </a:lnTo>
                <a:lnTo>
                  <a:pt x="211" y="673"/>
                </a:lnTo>
                <a:close/>
                <a:moveTo>
                  <a:pt x="1089" y="607"/>
                </a:moveTo>
                <a:lnTo>
                  <a:pt x="1094" y="608"/>
                </a:lnTo>
                <a:lnTo>
                  <a:pt x="1096" y="609"/>
                </a:lnTo>
                <a:lnTo>
                  <a:pt x="1097" y="610"/>
                </a:lnTo>
                <a:lnTo>
                  <a:pt x="1099" y="612"/>
                </a:lnTo>
                <a:lnTo>
                  <a:pt x="1100" y="614"/>
                </a:lnTo>
                <a:lnTo>
                  <a:pt x="1101" y="616"/>
                </a:lnTo>
                <a:lnTo>
                  <a:pt x="1102" y="619"/>
                </a:lnTo>
                <a:lnTo>
                  <a:pt x="1102" y="621"/>
                </a:lnTo>
                <a:lnTo>
                  <a:pt x="1101" y="624"/>
                </a:lnTo>
                <a:lnTo>
                  <a:pt x="1100" y="626"/>
                </a:lnTo>
                <a:lnTo>
                  <a:pt x="1099" y="628"/>
                </a:lnTo>
                <a:lnTo>
                  <a:pt x="1097" y="630"/>
                </a:lnTo>
                <a:lnTo>
                  <a:pt x="1094" y="631"/>
                </a:lnTo>
                <a:lnTo>
                  <a:pt x="1092" y="632"/>
                </a:lnTo>
                <a:lnTo>
                  <a:pt x="1089" y="632"/>
                </a:lnTo>
                <a:lnTo>
                  <a:pt x="1085" y="631"/>
                </a:lnTo>
                <a:lnTo>
                  <a:pt x="1083" y="630"/>
                </a:lnTo>
                <a:lnTo>
                  <a:pt x="1081" y="629"/>
                </a:lnTo>
                <a:lnTo>
                  <a:pt x="1079" y="627"/>
                </a:lnTo>
                <a:lnTo>
                  <a:pt x="1078" y="625"/>
                </a:lnTo>
                <a:lnTo>
                  <a:pt x="1077" y="623"/>
                </a:lnTo>
                <a:lnTo>
                  <a:pt x="1077" y="621"/>
                </a:lnTo>
                <a:lnTo>
                  <a:pt x="1077" y="618"/>
                </a:lnTo>
                <a:lnTo>
                  <a:pt x="1077" y="616"/>
                </a:lnTo>
                <a:lnTo>
                  <a:pt x="1078" y="614"/>
                </a:lnTo>
                <a:lnTo>
                  <a:pt x="1080" y="611"/>
                </a:lnTo>
                <a:lnTo>
                  <a:pt x="1082" y="610"/>
                </a:lnTo>
                <a:lnTo>
                  <a:pt x="1084" y="608"/>
                </a:lnTo>
                <a:lnTo>
                  <a:pt x="1087" y="607"/>
                </a:lnTo>
                <a:lnTo>
                  <a:pt x="1089" y="607"/>
                </a:lnTo>
                <a:close/>
                <a:moveTo>
                  <a:pt x="89" y="596"/>
                </a:moveTo>
                <a:lnTo>
                  <a:pt x="93" y="596"/>
                </a:lnTo>
                <a:lnTo>
                  <a:pt x="96" y="597"/>
                </a:lnTo>
                <a:lnTo>
                  <a:pt x="98" y="599"/>
                </a:lnTo>
                <a:lnTo>
                  <a:pt x="99" y="601"/>
                </a:lnTo>
                <a:lnTo>
                  <a:pt x="101" y="603"/>
                </a:lnTo>
                <a:lnTo>
                  <a:pt x="101" y="605"/>
                </a:lnTo>
                <a:lnTo>
                  <a:pt x="102" y="607"/>
                </a:lnTo>
                <a:lnTo>
                  <a:pt x="102" y="610"/>
                </a:lnTo>
                <a:lnTo>
                  <a:pt x="100" y="614"/>
                </a:lnTo>
                <a:lnTo>
                  <a:pt x="98" y="617"/>
                </a:lnTo>
                <a:lnTo>
                  <a:pt x="96" y="619"/>
                </a:lnTo>
                <a:lnTo>
                  <a:pt x="93" y="620"/>
                </a:lnTo>
                <a:lnTo>
                  <a:pt x="89" y="621"/>
                </a:lnTo>
                <a:lnTo>
                  <a:pt x="86" y="620"/>
                </a:lnTo>
                <a:lnTo>
                  <a:pt x="83" y="619"/>
                </a:lnTo>
                <a:lnTo>
                  <a:pt x="81" y="617"/>
                </a:lnTo>
                <a:lnTo>
                  <a:pt x="79" y="616"/>
                </a:lnTo>
                <a:lnTo>
                  <a:pt x="78" y="614"/>
                </a:lnTo>
                <a:lnTo>
                  <a:pt x="77" y="611"/>
                </a:lnTo>
                <a:lnTo>
                  <a:pt x="77" y="609"/>
                </a:lnTo>
                <a:lnTo>
                  <a:pt x="77" y="607"/>
                </a:lnTo>
                <a:lnTo>
                  <a:pt x="79" y="602"/>
                </a:lnTo>
                <a:lnTo>
                  <a:pt x="81" y="599"/>
                </a:lnTo>
                <a:lnTo>
                  <a:pt x="83" y="597"/>
                </a:lnTo>
                <a:lnTo>
                  <a:pt x="86" y="596"/>
                </a:lnTo>
                <a:lnTo>
                  <a:pt x="89" y="596"/>
                </a:lnTo>
                <a:close/>
                <a:moveTo>
                  <a:pt x="1180" y="494"/>
                </a:moveTo>
                <a:lnTo>
                  <a:pt x="1184" y="495"/>
                </a:lnTo>
                <a:lnTo>
                  <a:pt x="1185" y="495"/>
                </a:lnTo>
                <a:lnTo>
                  <a:pt x="1187" y="497"/>
                </a:lnTo>
                <a:lnTo>
                  <a:pt x="1189" y="498"/>
                </a:lnTo>
                <a:lnTo>
                  <a:pt x="1190" y="500"/>
                </a:lnTo>
                <a:lnTo>
                  <a:pt x="1192" y="505"/>
                </a:lnTo>
                <a:lnTo>
                  <a:pt x="1192" y="507"/>
                </a:lnTo>
                <a:lnTo>
                  <a:pt x="1192" y="510"/>
                </a:lnTo>
                <a:lnTo>
                  <a:pt x="1189" y="514"/>
                </a:lnTo>
                <a:lnTo>
                  <a:pt x="1187" y="516"/>
                </a:lnTo>
                <a:lnTo>
                  <a:pt x="1185" y="518"/>
                </a:lnTo>
                <a:lnTo>
                  <a:pt x="1182" y="519"/>
                </a:lnTo>
                <a:lnTo>
                  <a:pt x="1180" y="519"/>
                </a:lnTo>
                <a:lnTo>
                  <a:pt x="1176" y="518"/>
                </a:lnTo>
                <a:lnTo>
                  <a:pt x="1174" y="518"/>
                </a:lnTo>
                <a:lnTo>
                  <a:pt x="1172" y="516"/>
                </a:lnTo>
                <a:lnTo>
                  <a:pt x="1170" y="515"/>
                </a:lnTo>
                <a:lnTo>
                  <a:pt x="1169" y="513"/>
                </a:lnTo>
                <a:lnTo>
                  <a:pt x="1167" y="508"/>
                </a:lnTo>
                <a:lnTo>
                  <a:pt x="1167" y="506"/>
                </a:lnTo>
                <a:lnTo>
                  <a:pt x="1168" y="503"/>
                </a:lnTo>
                <a:lnTo>
                  <a:pt x="1170" y="499"/>
                </a:lnTo>
                <a:lnTo>
                  <a:pt x="1172" y="497"/>
                </a:lnTo>
                <a:lnTo>
                  <a:pt x="1174" y="495"/>
                </a:lnTo>
                <a:lnTo>
                  <a:pt x="1177" y="494"/>
                </a:lnTo>
                <a:lnTo>
                  <a:pt x="1180" y="494"/>
                </a:lnTo>
                <a:close/>
                <a:moveTo>
                  <a:pt x="1270" y="382"/>
                </a:moveTo>
                <a:lnTo>
                  <a:pt x="1274" y="382"/>
                </a:lnTo>
                <a:lnTo>
                  <a:pt x="1276" y="383"/>
                </a:lnTo>
                <a:lnTo>
                  <a:pt x="1278" y="385"/>
                </a:lnTo>
                <a:lnTo>
                  <a:pt x="1280" y="387"/>
                </a:lnTo>
                <a:lnTo>
                  <a:pt x="1281" y="389"/>
                </a:lnTo>
                <a:lnTo>
                  <a:pt x="1282" y="391"/>
                </a:lnTo>
                <a:lnTo>
                  <a:pt x="1282" y="393"/>
                </a:lnTo>
                <a:lnTo>
                  <a:pt x="1282" y="396"/>
                </a:lnTo>
                <a:lnTo>
                  <a:pt x="1281" y="398"/>
                </a:lnTo>
                <a:lnTo>
                  <a:pt x="1280" y="400"/>
                </a:lnTo>
                <a:lnTo>
                  <a:pt x="1279" y="402"/>
                </a:lnTo>
                <a:lnTo>
                  <a:pt x="1277" y="404"/>
                </a:lnTo>
                <a:lnTo>
                  <a:pt x="1275" y="405"/>
                </a:lnTo>
                <a:lnTo>
                  <a:pt x="1272" y="406"/>
                </a:lnTo>
                <a:lnTo>
                  <a:pt x="1270" y="406"/>
                </a:lnTo>
                <a:lnTo>
                  <a:pt x="1265" y="406"/>
                </a:lnTo>
                <a:lnTo>
                  <a:pt x="1263" y="405"/>
                </a:lnTo>
                <a:lnTo>
                  <a:pt x="1261" y="403"/>
                </a:lnTo>
                <a:lnTo>
                  <a:pt x="1260" y="401"/>
                </a:lnTo>
                <a:lnTo>
                  <a:pt x="1258" y="399"/>
                </a:lnTo>
                <a:lnTo>
                  <a:pt x="1258" y="397"/>
                </a:lnTo>
                <a:lnTo>
                  <a:pt x="1257" y="395"/>
                </a:lnTo>
                <a:lnTo>
                  <a:pt x="1257" y="392"/>
                </a:lnTo>
                <a:lnTo>
                  <a:pt x="1258" y="390"/>
                </a:lnTo>
                <a:lnTo>
                  <a:pt x="1259" y="388"/>
                </a:lnTo>
                <a:lnTo>
                  <a:pt x="1260" y="386"/>
                </a:lnTo>
                <a:lnTo>
                  <a:pt x="1262" y="384"/>
                </a:lnTo>
                <a:lnTo>
                  <a:pt x="1265" y="383"/>
                </a:lnTo>
                <a:lnTo>
                  <a:pt x="1267" y="382"/>
                </a:lnTo>
                <a:lnTo>
                  <a:pt x="1270" y="382"/>
                </a:lnTo>
                <a:close/>
                <a:moveTo>
                  <a:pt x="1657" y="357"/>
                </a:moveTo>
                <a:lnTo>
                  <a:pt x="1661" y="358"/>
                </a:lnTo>
                <a:lnTo>
                  <a:pt x="1665" y="360"/>
                </a:lnTo>
                <a:lnTo>
                  <a:pt x="1668" y="363"/>
                </a:lnTo>
                <a:lnTo>
                  <a:pt x="1668" y="365"/>
                </a:lnTo>
                <a:lnTo>
                  <a:pt x="1669" y="367"/>
                </a:lnTo>
                <a:lnTo>
                  <a:pt x="1669" y="370"/>
                </a:lnTo>
                <a:lnTo>
                  <a:pt x="1669" y="372"/>
                </a:lnTo>
                <a:lnTo>
                  <a:pt x="1668" y="375"/>
                </a:lnTo>
                <a:lnTo>
                  <a:pt x="1667" y="377"/>
                </a:lnTo>
                <a:lnTo>
                  <a:pt x="1665" y="379"/>
                </a:lnTo>
                <a:lnTo>
                  <a:pt x="1663" y="380"/>
                </a:lnTo>
                <a:lnTo>
                  <a:pt x="1661" y="381"/>
                </a:lnTo>
                <a:lnTo>
                  <a:pt x="1659" y="382"/>
                </a:lnTo>
                <a:lnTo>
                  <a:pt x="1657" y="382"/>
                </a:lnTo>
                <a:lnTo>
                  <a:pt x="1652" y="381"/>
                </a:lnTo>
                <a:lnTo>
                  <a:pt x="1649" y="379"/>
                </a:lnTo>
                <a:lnTo>
                  <a:pt x="1646" y="376"/>
                </a:lnTo>
                <a:lnTo>
                  <a:pt x="1645" y="373"/>
                </a:lnTo>
                <a:lnTo>
                  <a:pt x="1644" y="371"/>
                </a:lnTo>
                <a:lnTo>
                  <a:pt x="1644" y="369"/>
                </a:lnTo>
                <a:lnTo>
                  <a:pt x="1645" y="366"/>
                </a:lnTo>
                <a:lnTo>
                  <a:pt x="1645" y="364"/>
                </a:lnTo>
                <a:lnTo>
                  <a:pt x="1647" y="362"/>
                </a:lnTo>
                <a:lnTo>
                  <a:pt x="1648" y="360"/>
                </a:lnTo>
                <a:lnTo>
                  <a:pt x="1650" y="359"/>
                </a:lnTo>
                <a:lnTo>
                  <a:pt x="1652" y="358"/>
                </a:lnTo>
                <a:lnTo>
                  <a:pt x="1655" y="357"/>
                </a:lnTo>
                <a:lnTo>
                  <a:pt x="1657" y="357"/>
                </a:lnTo>
                <a:close/>
                <a:moveTo>
                  <a:pt x="1518" y="334"/>
                </a:moveTo>
                <a:lnTo>
                  <a:pt x="1521" y="334"/>
                </a:lnTo>
                <a:lnTo>
                  <a:pt x="1524" y="336"/>
                </a:lnTo>
                <a:lnTo>
                  <a:pt x="1526" y="337"/>
                </a:lnTo>
                <a:lnTo>
                  <a:pt x="1528" y="339"/>
                </a:lnTo>
                <a:lnTo>
                  <a:pt x="1529" y="341"/>
                </a:lnTo>
                <a:lnTo>
                  <a:pt x="1530" y="343"/>
                </a:lnTo>
                <a:lnTo>
                  <a:pt x="1530" y="346"/>
                </a:lnTo>
                <a:lnTo>
                  <a:pt x="1530" y="348"/>
                </a:lnTo>
                <a:lnTo>
                  <a:pt x="1529" y="351"/>
                </a:lnTo>
                <a:lnTo>
                  <a:pt x="1528" y="353"/>
                </a:lnTo>
                <a:lnTo>
                  <a:pt x="1526" y="355"/>
                </a:lnTo>
                <a:lnTo>
                  <a:pt x="1524" y="357"/>
                </a:lnTo>
                <a:lnTo>
                  <a:pt x="1521" y="358"/>
                </a:lnTo>
                <a:lnTo>
                  <a:pt x="1518" y="359"/>
                </a:lnTo>
                <a:lnTo>
                  <a:pt x="1514" y="358"/>
                </a:lnTo>
                <a:lnTo>
                  <a:pt x="1511" y="357"/>
                </a:lnTo>
                <a:lnTo>
                  <a:pt x="1509" y="355"/>
                </a:lnTo>
                <a:lnTo>
                  <a:pt x="1508" y="354"/>
                </a:lnTo>
                <a:lnTo>
                  <a:pt x="1506" y="351"/>
                </a:lnTo>
                <a:lnTo>
                  <a:pt x="1506" y="349"/>
                </a:lnTo>
                <a:lnTo>
                  <a:pt x="1505" y="347"/>
                </a:lnTo>
                <a:lnTo>
                  <a:pt x="1505" y="344"/>
                </a:lnTo>
                <a:lnTo>
                  <a:pt x="1506" y="342"/>
                </a:lnTo>
                <a:lnTo>
                  <a:pt x="1507" y="340"/>
                </a:lnTo>
                <a:lnTo>
                  <a:pt x="1509" y="337"/>
                </a:lnTo>
                <a:lnTo>
                  <a:pt x="1512" y="335"/>
                </a:lnTo>
                <a:lnTo>
                  <a:pt x="1515" y="334"/>
                </a:lnTo>
                <a:lnTo>
                  <a:pt x="1518" y="334"/>
                </a:lnTo>
                <a:close/>
                <a:moveTo>
                  <a:pt x="1792" y="309"/>
                </a:moveTo>
                <a:lnTo>
                  <a:pt x="1795" y="310"/>
                </a:lnTo>
                <a:lnTo>
                  <a:pt x="1798" y="311"/>
                </a:lnTo>
                <a:lnTo>
                  <a:pt x="1801" y="313"/>
                </a:lnTo>
                <a:lnTo>
                  <a:pt x="1803" y="316"/>
                </a:lnTo>
                <a:lnTo>
                  <a:pt x="1804" y="318"/>
                </a:lnTo>
                <a:lnTo>
                  <a:pt x="1804" y="321"/>
                </a:lnTo>
                <a:lnTo>
                  <a:pt x="1804" y="323"/>
                </a:lnTo>
                <a:lnTo>
                  <a:pt x="1804" y="326"/>
                </a:lnTo>
                <a:lnTo>
                  <a:pt x="1803" y="328"/>
                </a:lnTo>
                <a:lnTo>
                  <a:pt x="1802" y="330"/>
                </a:lnTo>
                <a:lnTo>
                  <a:pt x="1800" y="332"/>
                </a:lnTo>
                <a:lnTo>
                  <a:pt x="1798" y="333"/>
                </a:lnTo>
                <a:lnTo>
                  <a:pt x="1795" y="334"/>
                </a:lnTo>
                <a:lnTo>
                  <a:pt x="1792" y="334"/>
                </a:lnTo>
                <a:lnTo>
                  <a:pt x="1789" y="334"/>
                </a:lnTo>
                <a:lnTo>
                  <a:pt x="1786" y="333"/>
                </a:lnTo>
                <a:lnTo>
                  <a:pt x="1783" y="330"/>
                </a:lnTo>
                <a:lnTo>
                  <a:pt x="1781" y="328"/>
                </a:lnTo>
                <a:lnTo>
                  <a:pt x="1780" y="325"/>
                </a:lnTo>
                <a:lnTo>
                  <a:pt x="1780" y="323"/>
                </a:lnTo>
                <a:lnTo>
                  <a:pt x="1780" y="320"/>
                </a:lnTo>
                <a:lnTo>
                  <a:pt x="1780" y="318"/>
                </a:lnTo>
                <a:lnTo>
                  <a:pt x="1781" y="316"/>
                </a:lnTo>
                <a:lnTo>
                  <a:pt x="1782" y="314"/>
                </a:lnTo>
                <a:lnTo>
                  <a:pt x="1784" y="312"/>
                </a:lnTo>
                <a:lnTo>
                  <a:pt x="1786" y="311"/>
                </a:lnTo>
                <a:lnTo>
                  <a:pt x="1789" y="310"/>
                </a:lnTo>
                <a:lnTo>
                  <a:pt x="1792" y="309"/>
                </a:lnTo>
                <a:close/>
                <a:moveTo>
                  <a:pt x="1384" y="298"/>
                </a:moveTo>
                <a:lnTo>
                  <a:pt x="1388" y="298"/>
                </a:lnTo>
                <a:lnTo>
                  <a:pt x="1391" y="300"/>
                </a:lnTo>
                <a:lnTo>
                  <a:pt x="1393" y="301"/>
                </a:lnTo>
                <a:lnTo>
                  <a:pt x="1394" y="303"/>
                </a:lnTo>
                <a:lnTo>
                  <a:pt x="1396" y="307"/>
                </a:lnTo>
                <a:lnTo>
                  <a:pt x="1396" y="309"/>
                </a:lnTo>
                <a:lnTo>
                  <a:pt x="1396" y="312"/>
                </a:lnTo>
                <a:lnTo>
                  <a:pt x="1396" y="314"/>
                </a:lnTo>
                <a:lnTo>
                  <a:pt x="1395" y="316"/>
                </a:lnTo>
                <a:lnTo>
                  <a:pt x="1393" y="318"/>
                </a:lnTo>
                <a:lnTo>
                  <a:pt x="1392" y="320"/>
                </a:lnTo>
                <a:lnTo>
                  <a:pt x="1389" y="321"/>
                </a:lnTo>
                <a:lnTo>
                  <a:pt x="1387" y="322"/>
                </a:lnTo>
                <a:lnTo>
                  <a:pt x="1384" y="322"/>
                </a:lnTo>
                <a:lnTo>
                  <a:pt x="1380" y="322"/>
                </a:lnTo>
                <a:lnTo>
                  <a:pt x="1376" y="320"/>
                </a:lnTo>
                <a:lnTo>
                  <a:pt x="1375" y="319"/>
                </a:lnTo>
                <a:lnTo>
                  <a:pt x="1374" y="317"/>
                </a:lnTo>
                <a:lnTo>
                  <a:pt x="1372" y="313"/>
                </a:lnTo>
                <a:lnTo>
                  <a:pt x="1371" y="311"/>
                </a:lnTo>
                <a:lnTo>
                  <a:pt x="1372" y="308"/>
                </a:lnTo>
                <a:lnTo>
                  <a:pt x="1372" y="306"/>
                </a:lnTo>
                <a:lnTo>
                  <a:pt x="1373" y="304"/>
                </a:lnTo>
                <a:lnTo>
                  <a:pt x="1374" y="302"/>
                </a:lnTo>
                <a:lnTo>
                  <a:pt x="1376" y="300"/>
                </a:lnTo>
                <a:lnTo>
                  <a:pt x="1378" y="299"/>
                </a:lnTo>
                <a:lnTo>
                  <a:pt x="1381" y="298"/>
                </a:lnTo>
                <a:lnTo>
                  <a:pt x="1384" y="298"/>
                </a:lnTo>
                <a:close/>
                <a:moveTo>
                  <a:pt x="1913" y="232"/>
                </a:moveTo>
                <a:lnTo>
                  <a:pt x="1916" y="232"/>
                </a:lnTo>
                <a:lnTo>
                  <a:pt x="1919" y="233"/>
                </a:lnTo>
                <a:lnTo>
                  <a:pt x="1921" y="235"/>
                </a:lnTo>
                <a:lnTo>
                  <a:pt x="1922" y="236"/>
                </a:lnTo>
                <a:lnTo>
                  <a:pt x="1923" y="237"/>
                </a:lnTo>
                <a:lnTo>
                  <a:pt x="1925" y="239"/>
                </a:lnTo>
                <a:lnTo>
                  <a:pt x="1925" y="242"/>
                </a:lnTo>
                <a:lnTo>
                  <a:pt x="1926" y="244"/>
                </a:lnTo>
                <a:lnTo>
                  <a:pt x="1926" y="246"/>
                </a:lnTo>
                <a:lnTo>
                  <a:pt x="1924" y="251"/>
                </a:lnTo>
                <a:lnTo>
                  <a:pt x="1923" y="253"/>
                </a:lnTo>
                <a:lnTo>
                  <a:pt x="1921" y="255"/>
                </a:lnTo>
                <a:lnTo>
                  <a:pt x="1919" y="256"/>
                </a:lnTo>
                <a:lnTo>
                  <a:pt x="1917" y="256"/>
                </a:lnTo>
                <a:lnTo>
                  <a:pt x="1915" y="257"/>
                </a:lnTo>
                <a:lnTo>
                  <a:pt x="1913" y="257"/>
                </a:lnTo>
                <a:lnTo>
                  <a:pt x="1911" y="257"/>
                </a:lnTo>
                <a:lnTo>
                  <a:pt x="1908" y="256"/>
                </a:lnTo>
                <a:lnTo>
                  <a:pt x="1905" y="254"/>
                </a:lnTo>
                <a:lnTo>
                  <a:pt x="1904" y="253"/>
                </a:lnTo>
                <a:lnTo>
                  <a:pt x="1903" y="252"/>
                </a:lnTo>
                <a:lnTo>
                  <a:pt x="1902" y="250"/>
                </a:lnTo>
                <a:lnTo>
                  <a:pt x="1901" y="248"/>
                </a:lnTo>
                <a:lnTo>
                  <a:pt x="1901" y="245"/>
                </a:lnTo>
                <a:lnTo>
                  <a:pt x="1901" y="243"/>
                </a:lnTo>
                <a:lnTo>
                  <a:pt x="1903" y="238"/>
                </a:lnTo>
                <a:lnTo>
                  <a:pt x="1904" y="236"/>
                </a:lnTo>
                <a:lnTo>
                  <a:pt x="1906" y="235"/>
                </a:lnTo>
                <a:lnTo>
                  <a:pt x="1908" y="233"/>
                </a:lnTo>
                <a:lnTo>
                  <a:pt x="1909" y="233"/>
                </a:lnTo>
                <a:lnTo>
                  <a:pt x="1911" y="232"/>
                </a:lnTo>
                <a:lnTo>
                  <a:pt x="1913" y="232"/>
                </a:lnTo>
                <a:close/>
                <a:moveTo>
                  <a:pt x="2024" y="139"/>
                </a:moveTo>
                <a:lnTo>
                  <a:pt x="2026" y="140"/>
                </a:lnTo>
                <a:lnTo>
                  <a:pt x="2029" y="140"/>
                </a:lnTo>
                <a:lnTo>
                  <a:pt x="2031" y="142"/>
                </a:lnTo>
                <a:lnTo>
                  <a:pt x="2033" y="143"/>
                </a:lnTo>
                <a:lnTo>
                  <a:pt x="2034" y="145"/>
                </a:lnTo>
                <a:lnTo>
                  <a:pt x="2035" y="148"/>
                </a:lnTo>
                <a:lnTo>
                  <a:pt x="2036" y="150"/>
                </a:lnTo>
                <a:lnTo>
                  <a:pt x="2036" y="152"/>
                </a:lnTo>
                <a:lnTo>
                  <a:pt x="2036" y="155"/>
                </a:lnTo>
                <a:lnTo>
                  <a:pt x="2035" y="157"/>
                </a:lnTo>
                <a:lnTo>
                  <a:pt x="2034" y="159"/>
                </a:lnTo>
                <a:lnTo>
                  <a:pt x="2032" y="161"/>
                </a:lnTo>
                <a:lnTo>
                  <a:pt x="2030" y="162"/>
                </a:lnTo>
                <a:lnTo>
                  <a:pt x="2028" y="164"/>
                </a:lnTo>
                <a:lnTo>
                  <a:pt x="2024" y="164"/>
                </a:lnTo>
                <a:lnTo>
                  <a:pt x="2021" y="164"/>
                </a:lnTo>
                <a:lnTo>
                  <a:pt x="2019" y="163"/>
                </a:lnTo>
                <a:lnTo>
                  <a:pt x="2017" y="162"/>
                </a:lnTo>
                <a:lnTo>
                  <a:pt x="2015" y="160"/>
                </a:lnTo>
                <a:lnTo>
                  <a:pt x="2013" y="158"/>
                </a:lnTo>
                <a:lnTo>
                  <a:pt x="2012" y="156"/>
                </a:lnTo>
                <a:lnTo>
                  <a:pt x="2011" y="151"/>
                </a:lnTo>
                <a:lnTo>
                  <a:pt x="2012" y="149"/>
                </a:lnTo>
                <a:lnTo>
                  <a:pt x="2012" y="147"/>
                </a:lnTo>
                <a:lnTo>
                  <a:pt x="2014" y="145"/>
                </a:lnTo>
                <a:lnTo>
                  <a:pt x="2015" y="143"/>
                </a:lnTo>
                <a:lnTo>
                  <a:pt x="2017" y="141"/>
                </a:lnTo>
                <a:lnTo>
                  <a:pt x="2019" y="140"/>
                </a:lnTo>
                <a:lnTo>
                  <a:pt x="2024" y="139"/>
                </a:lnTo>
                <a:close/>
                <a:moveTo>
                  <a:pt x="2125" y="37"/>
                </a:moveTo>
                <a:lnTo>
                  <a:pt x="2129" y="38"/>
                </a:lnTo>
                <a:lnTo>
                  <a:pt x="2131" y="39"/>
                </a:lnTo>
                <a:lnTo>
                  <a:pt x="2133" y="40"/>
                </a:lnTo>
                <a:lnTo>
                  <a:pt x="2135" y="42"/>
                </a:lnTo>
                <a:lnTo>
                  <a:pt x="2136" y="44"/>
                </a:lnTo>
                <a:lnTo>
                  <a:pt x="2137" y="46"/>
                </a:lnTo>
                <a:lnTo>
                  <a:pt x="2137" y="49"/>
                </a:lnTo>
                <a:lnTo>
                  <a:pt x="2137" y="53"/>
                </a:lnTo>
                <a:lnTo>
                  <a:pt x="2136" y="56"/>
                </a:lnTo>
                <a:lnTo>
                  <a:pt x="2134" y="58"/>
                </a:lnTo>
                <a:lnTo>
                  <a:pt x="2132" y="59"/>
                </a:lnTo>
                <a:lnTo>
                  <a:pt x="2130" y="61"/>
                </a:lnTo>
                <a:lnTo>
                  <a:pt x="2127" y="61"/>
                </a:lnTo>
                <a:lnTo>
                  <a:pt x="2125" y="62"/>
                </a:lnTo>
                <a:lnTo>
                  <a:pt x="2120" y="61"/>
                </a:lnTo>
                <a:lnTo>
                  <a:pt x="2118" y="60"/>
                </a:lnTo>
                <a:lnTo>
                  <a:pt x="2116" y="58"/>
                </a:lnTo>
                <a:lnTo>
                  <a:pt x="2115" y="57"/>
                </a:lnTo>
                <a:lnTo>
                  <a:pt x="2114" y="54"/>
                </a:lnTo>
                <a:lnTo>
                  <a:pt x="2113" y="52"/>
                </a:lnTo>
                <a:lnTo>
                  <a:pt x="2112" y="50"/>
                </a:lnTo>
                <a:lnTo>
                  <a:pt x="2113" y="45"/>
                </a:lnTo>
                <a:lnTo>
                  <a:pt x="2114" y="43"/>
                </a:lnTo>
                <a:lnTo>
                  <a:pt x="2116" y="41"/>
                </a:lnTo>
                <a:lnTo>
                  <a:pt x="2118" y="39"/>
                </a:lnTo>
                <a:lnTo>
                  <a:pt x="2120" y="38"/>
                </a:lnTo>
                <a:lnTo>
                  <a:pt x="2122" y="37"/>
                </a:lnTo>
                <a:lnTo>
                  <a:pt x="2125" y="37"/>
                </a:lnTo>
                <a:close/>
                <a:moveTo>
                  <a:pt x="641" y="1315"/>
                </a:moveTo>
                <a:lnTo>
                  <a:pt x="643" y="1315"/>
                </a:lnTo>
                <a:lnTo>
                  <a:pt x="645" y="1315"/>
                </a:lnTo>
                <a:lnTo>
                  <a:pt x="647" y="1316"/>
                </a:lnTo>
                <a:lnTo>
                  <a:pt x="649" y="1318"/>
                </a:lnTo>
                <a:lnTo>
                  <a:pt x="651" y="1319"/>
                </a:lnTo>
                <a:lnTo>
                  <a:pt x="652" y="1321"/>
                </a:lnTo>
                <a:lnTo>
                  <a:pt x="653" y="1324"/>
                </a:lnTo>
                <a:lnTo>
                  <a:pt x="653" y="1326"/>
                </a:lnTo>
                <a:lnTo>
                  <a:pt x="653" y="1328"/>
                </a:lnTo>
                <a:lnTo>
                  <a:pt x="652" y="1333"/>
                </a:lnTo>
                <a:lnTo>
                  <a:pt x="651" y="1335"/>
                </a:lnTo>
                <a:lnTo>
                  <a:pt x="649" y="1336"/>
                </a:lnTo>
                <a:lnTo>
                  <a:pt x="648" y="1338"/>
                </a:lnTo>
                <a:lnTo>
                  <a:pt x="646" y="1338"/>
                </a:lnTo>
                <a:lnTo>
                  <a:pt x="643" y="1339"/>
                </a:lnTo>
                <a:lnTo>
                  <a:pt x="641" y="1339"/>
                </a:lnTo>
                <a:lnTo>
                  <a:pt x="640" y="1339"/>
                </a:lnTo>
                <a:lnTo>
                  <a:pt x="637" y="1339"/>
                </a:lnTo>
                <a:lnTo>
                  <a:pt x="635" y="1338"/>
                </a:lnTo>
                <a:lnTo>
                  <a:pt x="633" y="1336"/>
                </a:lnTo>
                <a:lnTo>
                  <a:pt x="631" y="1335"/>
                </a:lnTo>
                <a:lnTo>
                  <a:pt x="630" y="1333"/>
                </a:lnTo>
                <a:lnTo>
                  <a:pt x="629" y="1330"/>
                </a:lnTo>
                <a:lnTo>
                  <a:pt x="629" y="1328"/>
                </a:lnTo>
                <a:lnTo>
                  <a:pt x="629" y="1326"/>
                </a:lnTo>
                <a:lnTo>
                  <a:pt x="630" y="1321"/>
                </a:lnTo>
                <a:lnTo>
                  <a:pt x="631" y="1319"/>
                </a:lnTo>
                <a:lnTo>
                  <a:pt x="633" y="1318"/>
                </a:lnTo>
                <a:lnTo>
                  <a:pt x="635" y="1316"/>
                </a:lnTo>
                <a:lnTo>
                  <a:pt x="637" y="1315"/>
                </a:lnTo>
                <a:lnTo>
                  <a:pt x="639" y="1315"/>
                </a:lnTo>
                <a:lnTo>
                  <a:pt x="641" y="1315"/>
                </a:lnTo>
                <a:close/>
                <a:moveTo>
                  <a:pt x="784" y="1304"/>
                </a:moveTo>
                <a:lnTo>
                  <a:pt x="788" y="1305"/>
                </a:lnTo>
                <a:lnTo>
                  <a:pt x="791" y="1307"/>
                </a:lnTo>
                <a:lnTo>
                  <a:pt x="793" y="1308"/>
                </a:lnTo>
                <a:lnTo>
                  <a:pt x="794" y="1310"/>
                </a:lnTo>
                <a:lnTo>
                  <a:pt x="796" y="1314"/>
                </a:lnTo>
                <a:lnTo>
                  <a:pt x="796" y="1316"/>
                </a:lnTo>
                <a:lnTo>
                  <a:pt x="796" y="1318"/>
                </a:lnTo>
                <a:lnTo>
                  <a:pt x="794" y="1323"/>
                </a:lnTo>
                <a:lnTo>
                  <a:pt x="793" y="1325"/>
                </a:lnTo>
                <a:lnTo>
                  <a:pt x="791" y="1326"/>
                </a:lnTo>
                <a:lnTo>
                  <a:pt x="789" y="1328"/>
                </a:lnTo>
                <a:lnTo>
                  <a:pt x="787" y="1329"/>
                </a:lnTo>
                <a:lnTo>
                  <a:pt x="784" y="1329"/>
                </a:lnTo>
                <a:lnTo>
                  <a:pt x="780" y="1328"/>
                </a:lnTo>
                <a:lnTo>
                  <a:pt x="776" y="1326"/>
                </a:lnTo>
                <a:lnTo>
                  <a:pt x="775" y="1325"/>
                </a:lnTo>
                <a:lnTo>
                  <a:pt x="774" y="1324"/>
                </a:lnTo>
                <a:lnTo>
                  <a:pt x="772" y="1320"/>
                </a:lnTo>
                <a:lnTo>
                  <a:pt x="772" y="1317"/>
                </a:lnTo>
                <a:lnTo>
                  <a:pt x="772" y="1315"/>
                </a:lnTo>
                <a:lnTo>
                  <a:pt x="773" y="1310"/>
                </a:lnTo>
                <a:lnTo>
                  <a:pt x="775" y="1309"/>
                </a:lnTo>
                <a:lnTo>
                  <a:pt x="776" y="1307"/>
                </a:lnTo>
                <a:lnTo>
                  <a:pt x="778" y="1306"/>
                </a:lnTo>
                <a:lnTo>
                  <a:pt x="781" y="1305"/>
                </a:lnTo>
                <a:lnTo>
                  <a:pt x="784" y="1304"/>
                </a:lnTo>
                <a:close/>
                <a:moveTo>
                  <a:pt x="503" y="1276"/>
                </a:moveTo>
                <a:lnTo>
                  <a:pt x="506" y="1276"/>
                </a:lnTo>
                <a:lnTo>
                  <a:pt x="508" y="1277"/>
                </a:lnTo>
                <a:lnTo>
                  <a:pt x="512" y="1279"/>
                </a:lnTo>
                <a:lnTo>
                  <a:pt x="514" y="1281"/>
                </a:lnTo>
                <a:lnTo>
                  <a:pt x="515" y="1283"/>
                </a:lnTo>
                <a:lnTo>
                  <a:pt x="515" y="1286"/>
                </a:lnTo>
                <a:lnTo>
                  <a:pt x="516" y="1288"/>
                </a:lnTo>
                <a:lnTo>
                  <a:pt x="515" y="1290"/>
                </a:lnTo>
                <a:lnTo>
                  <a:pt x="515" y="1293"/>
                </a:lnTo>
                <a:lnTo>
                  <a:pt x="513" y="1296"/>
                </a:lnTo>
                <a:lnTo>
                  <a:pt x="511" y="1297"/>
                </a:lnTo>
                <a:lnTo>
                  <a:pt x="510" y="1298"/>
                </a:lnTo>
                <a:lnTo>
                  <a:pt x="507" y="1300"/>
                </a:lnTo>
                <a:lnTo>
                  <a:pt x="503" y="1300"/>
                </a:lnTo>
                <a:lnTo>
                  <a:pt x="501" y="1300"/>
                </a:lnTo>
                <a:lnTo>
                  <a:pt x="498" y="1299"/>
                </a:lnTo>
                <a:lnTo>
                  <a:pt x="494" y="1296"/>
                </a:lnTo>
                <a:lnTo>
                  <a:pt x="493" y="1295"/>
                </a:lnTo>
                <a:lnTo>
                  <a:pt x="492" y="1292"/>
                </a:lnTo>
                <a:lnTo>
                  <a:pt x="491" y="1290"/>
                </a:lnTo>
                <a:lnTo>
                  <a:pt x="491" y="1288"/>
                </a:lnTo>
                <a:lnTo>
                  <a:pt x="491" y="1285"/>
                </a:lnTo>
                <a:lnTo>
                  <a:pt x="492" y="1283"/>
                </a:lnTo>
                <a:lnTo>
                  <a:pt x="494" y="1280"/>
                </a:lnTo>
                <a:lnTo>
                  <a:pt x="495" y="1279"/>
                </a:lnTo>
                <a:lnTo>
                  <a:pt x="497" y="1278"/>
                </a:lnTo>
                <a:lnTo>
                  <a:pt x="500" y="1276"/>
                </a:lnTo>
                <a:lnTo>
                  <a:pt x="503" y="1276"/>
                </a:lnTo>
                <a:close/>
                <a:moveTo>
                  <a:pt x="917" y="1248"/>
                </a:moveTo>
                <a:lnTo>
                  <a:pt x="920" y="1249"/>
                </a:lnTo>
                <a:lnTo>
                  <a:pt x="923" y="1250"/>
                </a:lnTo>
                <a:lnTo>
                  <a:pt x="926" y="1252"/>
                </a:lnTo>
                <a:lnTo>
                  <a:pt x="928" y="1254"/>
                </a:lnTo>
                <a:lnTo>
                  <a:pt x="929" y="1257"/>
                </a:lnTo>
                <a:lnTo>
                  <a:pt x="929" y="1259"/>
                </a:lnTo>
                <a:lnTo>
                  <a:pt x="929" y="1261"/>
                </a:lnTo>
                <a:lnTo>
                  <a:pt x="929" y="1264"/>
                </a:lnTo>
                <a:lnTo>
                  <a:pt x="928" y="1266"/>
                </a:lnTo>
                <a:lnTo>
                  <a:pt x="927" y="1268"/>
                </a:lnTo>
                <a:lnTo>
                  <a:pt x="925" y="1270"/>
                </a:lnTo>
                <a:lnTo>
                  <a:pt x="923" y="1271"/>
                </a:lnTo>
                <a:lnTo>
                  <a:pt x="920" y="1272"/>
                </a:lnTo>
                <a:lnTo>
                  <a:pt x="917" y="1273"/>
                </a:lnTo>
                <a:lnTo>
                  <a:pt x="914" y="1272"/>
                </a:lnTo>
                <a:lnTo>
                  <a:pt x="911" y="1271"/>
                </a:lnTo>
                <a:lnTo>
                  <a:pt x="908" y="1269"/>
                </a:lnTo>
                <a:lnTo>
                  <a:pt x="906" y="1267"/>
                </a:lnTo>
                <a:lnTo>
                  <a:pt x="905" y="1264"/>
                </a:lnTo>
                <a:lnTo>
                  <a:pt x="905" y="1262"/>
                </a:lnTo>
                <a:lnTo>
                  <a:pt x="905" y="1260"/>
                </a:lnTo>
                <a:lnTo>
                  <a:pt x="905" y="1257"/>
                </a:lnTo>
                <a:lnTo>
                  <a:pt x="906" y="1255"/>
                </a:lnTo>
                <a:lnTo>
                  <a:pt x="907" y="1253"/>
                </a:lnTo>
                <a:lnTo>
                  <a:pt x="909" y="1251"/>
                </a:lnTo>
                <a:lnTo>
                  <a:pt x="911" y="1250"/>
                </a:lnTo>
                <a:lnTo>
                  <a:pt x="914" y="1249"/>
                </a:lnTo>
                <a:lnTo>
                  <a:pt x="917" y="1248"/>
                </a:lnTo>
                <a:close/>
                <a:moveTo>
                  <a:pt x="377" y="1207"/>
                </a:moveTo>
                <a:lnTo>
                  <a:pt x="380" y="1208"/>
                </a:lnTo>
                <a:lnTo>
                  <a:pt x="383" y="1209"/>
                </a:lnTo>
                <a:lnTo>
                  <a:pt x="385" y="1210"/>
                </a:lnTo>
                <a:lnTo>
                  <a:pt x="387" y="1212"/>
                </a:lnTo>
                <a:lnTo>
                  <a:pt x="388" y="1214"/>
                </a:lnTo>
                <a:lnTo>
                  <a:pt x="389" y="1217"/>
                </a:lnTo>
                <a:lnTo>
                  <a:pt x="389" y="1219"/>
                </a:lnTo>
                <a:lnTo>
                  <a:pt x="389" y="1221"/>
                </a:lnTo>
                <a:lnTo>
                  <a:pt x="388" y="1224"/>
                </a:lnTo>
                <a:lnTo>
                  <a:pt x="387" y="1226"/>
                </a:lnTo>
                <a:lnTo>
                  <a:pt x="385" y="1228"/>
                </a:lnTo>
                <a:lnTo>
                  <a:pt x="383" y="1230"/>
                </a:lnTo>
                <a:lnTo>
                  <a:pt x="380" y="1231"/>
                </a:lnTo>
                <a:lnTo>
                  <a:pt x="377" y="1232"/>
                </a:lnTo>
                <a:lnTo>
                  <a:pt x="373" y="1231"/>
                </a:lnTo>
                <a:lnTo>
                  <a:pt x="370" y="1230"/>
                </a:lnTo>
                <a:lnTo>
                  <a:pt x="368" y="1228"/>
                </a:lnTo>
                <a:lnTo>
                  <a:pt x="367" y="1226"/>
                </a:lnTo>
                <a:lnTo>
                  <a:pt x="366" y="1224"/>
                </a:lnTo>
                <a:lnTo>
                  <a:pt x="365" y="1222"/>
                </a:lnTo>
                <a:lnTo>
                  <a:pt x="364" y="1220"/>
                </a:lnTo>
                <a:lnTo>
                  <a:pt x="365" y="1217"/>
                </a:lnTo>
                <a:lnTo>
                  <a:pt x="365" y="1215"/>
                </a:lnTo>
                <a:lnTo>
                  <a:pt x="366" y="1213"/>
                </a:lnTo>
                <a:lnTo>
                  <a:pt x="368" y="1210"/>
                </a:lnTo>
                <a:lnTo>
                  <a:pt x="371" y="1209"/>
                </a:lnTo>
                <a:lnTo>
                  <a:pt x="374" y="1207"/>
                </a:lnTo>
                <a:lnTo>
                  <a:pt x="377" y="1207"/>
                </a:lnTo>
                <a:close/>
                <a:moveTo>
                  <a:pt x="1034" y="1164"/>
                </a:moveTo>
                <a:lnTo>
                  <a:pt x="1036" y="1165"/>
                </a:lnTo>
                <a:lnTo>
                  <a:pt x="1039" y="1165"/>
                </a:lnTo>
                <a:lnTo>
                  <a:pt x="1041" y="1167"/>
                </a:lnTo>
                <a:lnTo>
                  <a:pt x="1043" y="1168"/>
                </a:lnTo>
                <a:lnTo>
                  <a:pt x="1044" y="1171"/>
                </a:lnTo>
                <a:lnTo>
                  <a:pt x="1045" y="1173"/>
                </a:lnTo>
                <a:lnTo>
                  <a:pt x="1046" y="1175"/>
                </a:lnTo>
                <a:lnTo>
                  <a:pt x="1046" y="1177"/>
                </a:lnTo>
                <a:lnTo>
                  <a:pt x="1045" y="1180"/>
                </a:lnTo>
                <a:lnTo>
                  <a:pt x="1045" y="1182"/>
                </a:lnTo>
                <a:lnTo>
                  <a:pt x="1043" y="1184"/>
                </a:lnTo>
                <a:lnTo>
                  <a:pt x="1042" y="1186"/>
                </a:lnTo>
                <a:lnTo>
                  <a:pt x="1038" y="1188"/>
                </a:lnTo>
                <a:lnTo>
                  <a:pt x="1034" y="1189"/>
                </a:lnTo>
                <a:lnTo>
                  <a:pt x="1031" y="1189"/>
                </a:lnTo>
                <a:lnTo>
                  <a:pt x="1029" y="1188"/>
                </a:lnTo>
                <a:lnTo>
                  <a:pt x="1026" y="1187"/>
                </a:lnTo>
                <a:lnTo>
                  <a:pt x="1024" y="1185"/>
                </a:lnTo>
                <a:lnTo>
                  <a:pt x="1023" y="1183"/>
                </a:lnTo>
                <a:lnTo>
                  <a:pt x="1022" y="1180"/>
                </a:lnTo>
                <a:lnTo>
                  <a:pt x="1021" y="1178"/>
                </a:lnTo>
                <a:lnTo>
                  <a:pt x="1021" y="1176"/>
                </a:lnTo>
                <a:lnTo>
                  <a:pt x="1022" y="1173"/>
                </a:lnTo>
                <a:lnTo>
                  <a:pt x="1023" y="1171"/>
                </a:lnTo>
                <a:lnTo>
                  <a:pt x="1024" y="1169"/>
                </a:lnTo>
                <a:lnTo>
                  <a:pt x="1026" y="1167"/>
                </a:lnTo>
                <a:lnTo>
                  <a:pt x="1029" y="1165"/>
                </a:lnTo>
                <a:lnTo>
                  <a:pt x="1034" y="1164"/>
                </a:lnTo>
                <a:close/>
                <a:moveTo>
                  <a:pt x="257" y="1128"/>
                </a:moveTo>
                <a:lnTo>
                  <a:pt x="260" y="1128"/>
                </a:lnTo>
                <a:lnTo>
                  <a:pt x="262" y="1129"/>
                </a:lnTo>
                <a:lnTo>
                  <a:pt x="263" y="1130"/>
                </a:lnTo>
                <a:lnTo>
                  <a:pt x="265" y="1131"/>
                </a:lnTo>
                <a:lnTo>
                  <a:pt x="267" y="1133"/>
                </a:lnTo>
                <a:lnTo>
                  <a:pt x="268" y="1135"/>
                </a:lnTo>
                <a:lnTo>
                  <a:pt x="269" y="1138"/>
                </a:lnTo>
                <a:lnTo>
                  <a:pt x="269" y="1142"/>
                </a:lnTo>
                <a:lnTo>
                  <a:pt x="268" y="1145"/>
                </a:lnTo>
                <a:lnTo>
                  <a:pt x="267" y="1147"/>
                </a:lnTo>
                <a:lnTo>
                  <a:pt x="266" y="1148"/>
                </a:lnTo>
                <a:lnTo>
                  <a:pt x="265" y="1149"/>
                </a:lnTo>
                <a:lnTo>
                  <a:pt x="262" y="1151"/>
                </a:lnTo>
                <a:lnTo>
                  <a:pt x="259" y="1152"/>
                </a:lnTo>
                <a:lnTo>
                  <a:pt x="257" y="1152"/>
                </a:lnTo>
                <a:lnTo>
                  <a:pt x="253" y="1152"/>
                </a:lnTo>
                <a:lnTo>
                  <a:pt x="251" y="1151"/>
                </a:lnTo>
                <a:lnTo>
                  <a:pt x="250" y="1150"/>
                </a:lnTo>
                <a:lnTo>
                  <a:pt x="248" y="1149"/>
                </a:lnTo>
                <a:lnTo>
                  <a:pt x="246" y="1147"/>
                </a:lnTo>
                <a:lnTo>
                  <a:pt x="245" y="1145"/>
                </a:lnTo>
                <a:lnTo>
                  <a:pt x="245" y="1142"/>
                </a:lnTo>
                <a:lnTo>
                  <a:pt x="244" y="1138"/>
                </a:lnTo>
                <a:lnTo>
                  <a:pt x="245" y="1135"/>
                </a:lnTo>
                <a:lnTo>
                  <a:pt x="246" y="1133"/>
                </a:lnTo>
                <a:lnTo>
                  <a:pt x="247" y="1132"/>
                </a:lnTo>
                <a:lnTo>
                  <a:pt x="248" y="1131"/>
                </a:lnTo>
                <a:lnTo>
                  <a:pt x="251" y="1129"/>
                </a:lnTo>
                <a:lnTo>
                  <a:pt x="254" y="1128"/>
                </a:lnTo>
                <a:lnTo>
                  <a:pt x="257" y="1128"/>
                </a:lnTo>
                <a:close/>
                <a:moveTo>
                  <a:pt x="1135" y="1062"/>
                </a:moveTo>
                <a:lnTo>
                  <a:pt x="1139" y="1063"/>
                </a:lnTo>
                <a:lnTo>
                  <a:pt x="1141" y="1064"/>
                </a:lnTo>
                <a:lnTo>
                  <a:pt x="1143" y="1065"/>
                </a:lnTo>
                <a:lnTo>
                  <a:pt x="1145" y="1067"/>
                </a:lnTo>
                <a:lnTo>
                  <a:pt x="1146" y="1069"/>
                </a:lnTo>
                <a:lnTo>
                  <a:pt x="1147" y="1071"/>
                </a:lnTo>
                <a:lnTo>
                  <a:pt x="1147" y="1073"/>
                </a:lnTo>
                <a:lnTo>
                  <a:pt x="1147" y="1076"/>
                </a:lnTo>
                <a:lnTo>
                  <a:pt x="1146" y="1078"/>
                </a:lnTo>
                <a:lnTo>
                  <a:pt x="1145" y="1080"/>
                </a:lnTo>
                <a:lnTo>
                  <a:pt x="1144" y="1082"/>
                </a:lnTo>
                <a:lnTo>
                  <a:pt x="1142" y="1084"/>
                </a:lnTo>
                <a:lnTo>
                  <a:pt x="1140" y="1085"/>
                </a:lnTo>
                <a:lnTo>
                  <a:pt x="1137" y="1086"/>
                </a:lnTo>
                <a:lnTo>
                  <a:pt x="1135" y="1087"/>
                </a:lnTo>
                <a:lnTo>
                  <a:pt x="1131" y="1086"/>
                </a:lnTo>
                <a:lnTo>
                  <a:pt x="1129" y="1085"/>
                </a:lnTo>
                <a:lnTo>
                  <a:pt x="1127" y="1084"/>
                </a:lnTo>
                <a:lnTo>
                  <a:pt x="1125" y="1082"/>
                </a:lnTo>
                <a:lnTo>
                  <a:pt x="1124" y="1080"/>
                </a:lnTo>
                <a:lnTo>
                  <a:pt x="1123" y="1077"/>
                </a:lnTo>
                <a:lnTo>
                  <a:pt x="1122" y="1075"/>
                </a:lnTo>
                <a:lnTo>
                  <a:pt x="1123" y="1073"/>
                </a:lnTo>
                <a:lnTo>
                  <a:pt x="1123" y="1070"/>
                </a:lnTo>
                <a:lnTo>
                  <a:pt x="1124" y="1068"/>
                </a:lnTo>
                <a:lnTo>
                  <a:pt x="1125" y="1066"/>
                </a:lnTo>
                <a:lnTo>
                  <a:pt x="1127" y="1064"/>
                </a:lnTo>
                <a:lnTo>
                  <a:pt x="1130" y="1063"/>
                </a:lnTo>
                <a:lnTo>
                  <a:pt x="1132" y="1062"/>
                </a:lnTo>
                <a:lnTo>
                  <a:pt x="1135" y="1062"/>
                </a:lnTo>
                <a:close/>
                <a:moveTo>
                  <a:pt x="135" y="1050"/>
                </a:moveTo>
                <a:lnTo>
                  <a:pt x="138" y="1051"/>
                </a:lnTo>
                <a:lnTo>
                  <a:pt x="141" y="1052"/>
                </a:lnTo>
                <a:lnTo>
                  <a:pt x="143" y="1054"/>
                </a:lnTo>
                <a:lnTo>
                  <a:pt x="145" y="1055"/>
                </a:lnTo>
                <a:lnTo>
                  <a:pt x="146" y="1057"/>
                </a:lnTo>
                <a:lnTo>
                  <a:pt x="147" y="1060"/>
                </a:lnTo>
                <a:lnTo>
                  <a:pt x="147" y="1062"/>
                </a:lnTo>
                <a:lnTo>
                  <a:pt x="147" y="1064"/>
                </a:lnTo>
                <a:lnTo>
                  <a:pt x="146" y="1069"/>
                </a:lnTo>
                <a:lnTo>
                  <a:pt x="144" y="1072"/>
                </a:lnTo>
                <a:lnTo>
                  <a:pt x="141" y="1073"/>
                </a:lnTo>
                <a:lnTo>
                  <a:pt x="138" y="1075"/>
                </a:lnTo>
                <a:lnTo>
                  <a:pt x="135" y="1075"/>
                </a:lnTo>
                <a:lnTo>
                  <a:pt x="132" y="1075"/>
                </a:lnTo>
                <a:lnTo>
                  <a:pt x="129" y="1073"/>
                </a:lnTo>
                <a:lnTo>
                  <a:pt x="127" y="1072"/>
                </a:lnTo>
                <a:lnTo>
                  <a:pt x="125" y="1070"/>
                </a:lnTo>
                <a:lnTo>
                  <a:pt x="124" y="1068"/>
                </a:lnTo>
                <a:lnTo>
                  <a:pt x="123" y="1066"/>
                </a:lnTo>
                <a:lnTo>
                  <a:pt x="123" y="1064"/>
                </a:lnTo>
                <a:lnTo>
                  <a:pt x="123" y="1061"/>
                </a:lnTo>
                <a:lnTo>
                  <a:pt x="124" y="1057"/>
                </a:lnTo>
                <a:lnTo>
                  <a:pt x="126" y="1054"/>
                </a:lnTo>
                <a:lnTo>
                  <a:pt x="129" y="1052"/>
                </a:lnTo>
                <a:lnTo>
                  <a:pt x="132" y="1051"/>
                </a:lnTo>
                <a:lnTo>
                  <a:pt x="135" y="1050"/>
                </a:lnTo>
                <a:close/>
                <a:moveTo>
                  <a:pt x="5" y="989"/>
                </a:moveTo>
                <a:lnTo>
                  <a:pt x="9" y="989"/>
                </a:lnTo>
                <a:lnTo>
                  <a:pt x="12" y="991"/>
                </a:lnTo>
                <a:lnTo>
                  <a:pt x="14" y="992"/>
                </a:lnTo>
                <a:lnTo>
                  <a:pt x="15" y="994"/>
                </a:lnTo>
                <a:lnTo>
                  <a:pt x="16" y="996"/>
                </a:lnTo>
                <a:lnTo>
                  <a:pt x="17" y="998"/>
                </a:lnTo>
                <a:lnTo>
                  <a:pt x="17" y="1000"/>
                </a:lnTo>
                <a:lnTo>
                  <a:pt x="17" y="1005"/>
                </a:lnTo>
                <a:lnTo>
                  <a:pt x="15" y="1009"/>
                </a:lnTo>
                <a:lnTo>
                  <a:pt x="12" y="1011"/>
                </a:lnTo>
                <a:lnTo>
                  <a:pt x="9" y="1013"/>
                </a:lnTo>
                <a:lnTo>
                  <a:pt x="5" y="1013"/>
                </a:lnTo>
                <a:lnTo>
                  <a:pt x="1" y="1013"/>
                </a:lnTo>
                <a:lnTo>
                  <a:pt x="0" y="990"/>
                </a:lnTo>
                <a:lnTo>
                  <a:pt x="3" y="989"/>
                </a:lnTo>
                <a:lnTo>
                  <a:pt x="5" y="989"/>
                </a:lnTo>
                <a:close/>
                <a:moveTo>
                  <a:pt x="1225" y="950"/>
                </a:moveTo>
                <a:lnTo>
                  <a:pt x="1229" y="950"/>
                </a:lnTo>
                <a:lnTo>
                  <a:pt x="1231" y="951"/>
                </a:lnTo>
                <a:lnTo>
                  <a:pt x="1233" y="952"/>
                </a:lnTo>
                <a:lnTo>
                  <a:pt x="1234" y="954"/>
                </a:lnTo>
                <a:lnTo>
                  <a:pt x="1236" y="956"/>
                </a:lnTo>
                <a:lnTo>
                  <a:pt x="1237" y="960"/>
                </a:lnTo>
                <a:lnTo>
                  <a:pt x="1237" y="963"/>
                </a:lnTo>
                <a:lnTo>
                  <a:pt x="1237" y="965"/>
                </a:lnTo>
                <a:lnTo>
                  <a:pt x="1236" y="967"/>
                </a:lnTo>
                <a:lnTo>
                  <a:pt x="1235" y="970"/>
                </a:lnTo>
                <a:lnTo>
                  <a:pt x="1233" y="972"/>
                </a:lnTo>
                <a:lnTo>
                  <a:pt x="1231" y="973"/>
                </a:lnTo>
                <a:lnTo>
                  <a:pt x="1228" y="974"/>
                </a:lnTo>
                <a:lnTo>
                  <a:pt x="1225" y="974"/>
                </a:lnTo>
                <a:lnTo>
                  <a:pt x="1221" y="974"/>
                </a:lnTo>
                <a:lnTo>
                  <a:pt x="1219" y="973"/>
                </a:lnTo>
                <a:lnTo>
                  <a:pt x="1218" y="972"/>
                </a:lnTo>
                <a:lnTo>
                  <a:pt x="1216" y="970"/>
                </a:lnTo>
                <a:lnTo>
                  <a:pt x="1214" y="968"/>
                </a:lnTo>
                <a:lnTo>
                  <a:pt x="1213" y="964"/>
                </a:lnTo>
                <a:lnTo>
                  <a:pt x="1213" y="961"/>
                </a:lnTo>
                <a:lnTo>
                  <a:pt x="1213" y="959"/>
                </a:lnTo>
                <a:lnTo>
                  <a:pt x="1214" y="957"/>
                </a:lnTo>
                <a:lnTo>
                  <a:pt x="1215" y="955"/>
                </a:lnTo>
                <a:lnTo>
                  <a:pt x="1217" y="952"/>
                </a:lnTo>
                <a:lnTo>
                  <a:pt x="1220" y="951"/>
                </a:lnTo>
                <a:lnTo>
                  <a:pt x="1222" y="950"/>
                </a:lnTo>
                <a:lnTo>
                  <a:pt x="1225" y="950"/>
                </a:lnTo>
                <a:close/>
                <a:moveTo>
                  <a:pt x="1315" y="837"/>
                </a:moveTo>
                <a:lnTo>
                  <a:pt x="1319" y="838"/>
                </a:lnTo>
                <a:lnTo>
                  <a:pt x="1322" y="839"/>
                </a:lnTo>
                <a:lnTo>
                  <a:pt x="1323" y="840"/>
                </a:lnTo>
                <a:lnTo>
                  <a:pt x="1325" y="842"/>
                </a:lnTo>
                <a:lnTo>
                  <a:pt x="1326" y="844"/>
                </a:lnTo>
                <a:lnTo>
                  <a:pt x="1327" y="847"/>
                </a:lnTo>
                <a:lnTo>
                  <a:pt x="1327" y="849"/>
                </a:lnTo>
                <a:lnTo>
                  <a:pt x="1327" y="851"/>
                </a:lnTo>
                <a:lnTo>
                  <a:pt x="1327" y="854"/>
                </a:lnTo>
                <a:lnTo>
                  <a:pt x="1326" y="856"/>
                </a:lnTo>
                <a:lnTo>
                  <a:pt x="1324" y="858"/>
                </a:lnTo>
                <a:lnTo>
                  <a:pt x="1322" y="860"/>
                </a:lnTo>
                <a:lnTo>
                  <a:pt x="1320" y="861"/>
                </a:lnTo>
                <a:lnTo>
                  <a:pt x="1318" y="862"/>
                </a:lnTo>
                <a:lnTo>
                  <a:pt x="1315" y="862"/>
                </a:lnTo>
                <a:lnTo>
                  <a:pt x="1311" y="861"/>
                </a:lnTo>
                <a:lnTo>
                  <a:pt x="1309" y="860"/>
                </a:lnTo>
                <a:lnTo>
                  <a:pt x="1307" y="859"/>
                </a:lnTo>
                <a:lnTo>
                  <a:pt x="1305" y="857"/>
                </a:lnTo>
                <a:lnTo>
                  <a:pt x="1304" y="855"/>
                </a:lnTo>
                <a:lnTo>
                  <a:pt x="1303" y="853"/>
                </a:lnTo>
                <a:lnTo>
                  <a:pt x="1303" y="850"/>
                </a:lnTo>
                <a:lnTo>
                  <a:pt x="1303" y="848"/>
                </a:lnTo>
                <a:lnTo>
                  <a:pt x="1304" y="846"/>
                </a:lnTo>
                <a:lnTo>
                  <a:pt x="1305" y="843"/>
                </a:lnTo>
                <a:lnTo>
                  <a:pt x="1306" y="841"/>
                </a:lnTo>
                <a:lnTo>
                  <a:pt x="1308" y="840"/>
                </a:lnTo>
                <a:lnTo>
                  <a:pt x="1310" y="838"/>
                </a:lnTo>
                <a:lnTo>
                  <a:pt x="1313" y="838"/>
                </a:lnTo>
                <a:lnTo>
                  <a:pt x="1315" y="837"/>
                </a:lnTo>
                <a:close/>
                <a:moveTo>
                  <a:pt x="1702" y="813"/>
                </a:moveTo>
                <a:lnTo>
                  <a:pt x="1707" y="813"/>
                </a:lnTo>
                <a:lnTo>
                  <a:pt x="1710" y="816"/>
                </a:lnTo>
                <a:lnTo>
                  <a:pt x="1713" y="819"/>
                </a:lnTo>
                <a:lnTo>
                  <a:pt x="1714" y="821"/>
                </a:lnTo>
                <a:lnTo>
                  <a:pt x="1714" y="823"/>
                </a:lnTo>
                <a:lnTo>
                  <a:pt x="1715" y="826"/>
                </a:lnTo>
                <a:lnTo>
                  <a:pt x="1714" y="828"/>
                </a:lnTo>
                <a:lnTo>
                  <a:pt x="1713" y="830"/>
                </a:lnTo>
                <a:lnTo>
                  <a:pt x="1712" y="832"/>
                </a:lnTo>
                <a:lnTo>
                  <a:pt x="1711" y="834"/>
                </a:lnTo>
                <a:lnTo>
                  <a:pt x="1709" y="835"/>
                </a:lnTo>
                <a:lnTo>
                  <a:pt x="1707" y="836"/>
                </a:lnTo>
                <a:lnTo>
                  <a:pt x="1704" y="837"/>
                </a:lnTo>
                <a:lnTo>
                  <a:pt x="1702" y="837"/>
                </a:lnTo>
                <a:lnTo>
                  <a:pt x="1698" y="836"/>
                </a:lnTo>
                <a:lnTo>
                  <a:pt x="1694" y="834"/>
                </a:lnTo>
                <a:lnTo>
                  <a:pt x="1692" y="831"/>
                </a:lnTo>
                <a:lnTo>
                  <a:pt x="1691" y="829"/>
                </a:lnTo>
                <a:lnTo>
                  <a:pt x="1690" y="827"/>
                </a:lnTo>
                <a:lnTo>
                  <a:pt x="1690" y="824"/>
                </a:lnTo>
                <a:lnTo>
                  <a:pt x="1690" y="822"/>
                </a:lnTo>
                <a:lnTo>
                  <a:pt x="1691" y="820"/>
                </a:lnTo>
                <a:lnTo>
                  <a:pt x="1692" y="818"/>
                </a:lnTo>
                <a:lnTo>
                  <a:pt x="1694" y="816"/>
                </a:lnTo>
                <a:lnTo>
                  <a:pt x="1696" y="814"/>
                </a:lnTo>
                <a:lnTo>
                  <a:pt x="1698" y="813"/>
                </a:lnTo>
                <a:lnTo>
                  <a:pt x="1700" y="813"/>
                </a:lnTo>
                <a:lnTo>
                  <a:pt x="1702" y="813"/>
                </a:lnTo>
                <a:close/>
                <a:moveTo>
                  <a:pt x="1563" y="790"/>
                </a:moveTo>
                <a:lnTo>
                  <a:pt x="1567" y="790"/>
                </a:lnTo>
                <a:lnTo>
                  <a:pt x="1570" y="791"/>
                </a:lnTo>
                <a:lnTo>
                  <a:pt x="1572" y="793"/>
                </a:lnTo>
                <a:lnTo>
                  <a:pt x="1573" y="795"/>
                </a:lnTo>
                <a:lnTo>
                  <a:pt x="1574" y="797"/>
                </a:lnTo>
                <a:lnTo>
                  <a:pt x="1575" y="799"/>
                </a:lnTo>
                <a:lnTo>
                  <a:pt x="1576" y="801"/>
                </a:lnTo>
                <a:lnTo>
                  <a:pt x="1575" y="804"/>
                </a:lnTo>
                <a:lnTo>
                  <a:pt x="1575" y="806"/>
                </a:lnTo>
                <a:lnTo>
                  <a:pt x="1574" y="808"/>
                </a:lnTo>
                <a:lnTo>
                  <a:pt x="1572" y="811"/>
                </a:lnTo>
                <a:lnTo>
                  <a:pt x="1569" y="813"/>
                </a:lnTo>
                <a:lnTo>
                  <a:pt x="1566" y="814"/>
                </a:lnTo>
                <a:lnTo>
                  <a:pt x="1563" y="814"/>
                </a:lnTo>
                <a:lnTo>
                  <a:pt x="1560" y="814"/>
                </a:lnTo>
                <a:lnTo>
                  <a:pt x="1557" y="812"/>
                </a:lnTo>
                <a:lnTo>
                  <a:pt x="1555" y="811"/>
                </a:lnTo>
                <a:lnTo>
                  <a:pt x="1553" y="809"/>
                </a:lnTo>
                <a:lnTo>
                  <a:pt x="1552" y="807"/>
                </a:lnTo>
                <a:lnTo>
                  <a:pt x="1551" y="805"/>
                </a:lnTo>
                <a:lnTo>
                  <a:pt x="1551" y="802"/>
                </a:lnTo>
                <a:lnTo>
                  <a:pt x="1551" y="800"/>
                </a:lnTo>
                <a:lnTo>
                  <a:pt x="1552" y="798"/>
                </a:lnTo>
                <a:lnTo>
                  <a:pt x="1553" y="795"/>
                </a:lnTo>
                <a:lnTo>
                  <a:pt x="1555" y="793"/>
                </a:lnTo>
                <a:lnTo>
                  <a:pt x="1557" y="791"/>
                </a:lnTo>
                <a:lnTo>
                  <a:pt x="1560" y="790"/>
                </a:lnTo>
                <a:lnTo>
                  <a:pt x="1563" y="790"/>
                </a:lnTo>
                <a:close/>
                <a:moveTo>
                  <a:pt x="1837" y="765"/>
                </a:moveTo>
                <a:lnTo>
                  <a:pt x="1841" y="766"/>
                </a:lnTo>
                <a:lnTo>
                  <a:pt x="1844" y="767"/>
                </a:lnTo>
                <a:lnTo>
                  <a:pt x="1846" y="769"/>
                </a:lnTo>
                <a:lnTo>
                  <a:pt x="1848" y="772"/>
                </a:lnTo>
                <a:lnTo>
                  <a:pt x="1849" y="774"/>
                </a:lnTo>
                <a:lnTo>
                  <a:pt x="1850" y="776"/>
                </a:lnTo>
                <a:lnTo>
                  <a:pt x="1850" y="779"/>
                </a:lnTo>
                <a:lnTo>
                  <a:pt x="1849" y="781"/>
                </a:lnTo>
                <a:lnTo>
                  <a:pt x="1848" y="783"/>
                </a:lnTo>
                <a:lnTo>
                  <a:pt x="1847" y="785"/>
                </a:lnTo>
                <a:lnTo>
                  <a:pt x="1845" y="787"/>
                </a:lnTo>
                <a:lnTo>
                  <a:pt x="1843" y="788"/>
                </a:lnTo>
                <a:lnTo>
                  <a:pt x="1840" y="789"/>
                </a:lnTo>
                <a:lnTo>
                  <a:pt x="1838" y="790"/>
                </a:lnTo>
                <a:lnTo>
                  <a:pt x="1834" y="789"/>
                </a:lnTo>
                <a:lnTo>
                  <a:pt x="1831" y="788"/>
                </a:lnTo>
                <a:lnTo>
                  <a:pt x="1829" y="786"/>
                </a:lnTo>
                <a:lnTo>
                  <a:pt x="1827" y="783"/>
                </a:lnTo>
                <a:lnTo>
                  <a:pt x="1826" y="781"/>
                </a:lnTo>
                <a:lnTo>
                  <a:pt x="1825" y="778"/>
                </a:lnTo>
                <a:lnTo>
                  <a:pt x="1825" y="776"/>
                </a:lnTo>
                <a:lnTo>
                  <a:pt x="1826" y="774"/>
                </a:lnTo>
                <a:lnTo>
                  <a:pt x="1827" y="772"/>
                </a:lnTo>
                <a:lnTo>
                  <a:pt x="1828" y="770"/>
                </a:lnTo>
                <a:lnTo>
                  <a:pt x="1830" y="768"/>
                </a:lnTo>
                <a:lnTo>
                  <a:pt x="1832" y="767"/>
                </a:lnTo>
                <a:lnTo>
                  <a:pt x="1835" y="765"/>
                </a:lnTo>
                <a:lnTo>
                  <a:pt x="1837" y="765"/>
                </a:lnTo>
                <a:close/>
                <a:moveTo>
                  <a:pt x="1429" y="753"/>
                </a:moveTo>
                <a:lnTo>
                  <a:pt x="1433" y="754"/>
                </a:lnTo>
                <a:lnTo>
                  <a:pt x="1437" y="756"/>
                </a:lnTo>
                <a:lnTo>
                  <a:pt x="1440" y="759"/>
                </a:lnTo>
                <a:lnTo>
                  <a:pt x="1441" y="762"/>
                </a:lnTo>
                <a:lnTo>
                  <a:pt x="1442" y="765"/>
                </a:lnTo>
                <a:lnTo>
                  <a:pt x="1442" y="767"/>
                </a:lnTo>
                <a:lnTo>
                  <a:pt x="1440" y="772"/>
                </a:lnTo>
                <a:lnTo>
                  <a:pt x="1439" y="774"/>
                </a:lnTo>
                <a:lnTo>
                  <a:pt x="1437" y="775"/>
                </a:lnTo>
                <a:lnTo>
                  <a:pt x="1435" y="777"/>
                </a:lnTo>
                <a:lnTo>
                  <a:pt x="1433" y="777"/>
                </a:lnTo>
                <a:lnTo>
                  <a:pt x="1429" y="778"/>
                </a:lnTo>
                <a:lnTo>
                  <a:pt x="1425" y="777"/>
                </a:lnTo>
                <a:lnTo>
                  <a:pt x="1422" y="775"/>
                </a:lnTo>
                <a:lnTo>
                  <a:pt x="1419" y="773"/>
                </a:lnTo>
                <a:lnTo>
                  <a:pt x="1418" y="769"/>
                </a:lnTo>
                <a:lnTo>
                  <a:pt x="1417" y="766"/>
                </a:lnTo>
                <a:lnTo>
                  <a:pt x="1417" y="764"/>
                </a:lnTo>
                <a:lnTo>
                  <a:pt x="1419" y="759"/>
                </a:lnTo>
                <a:lnTo>
                  <a:pt x="1420" y="758"/>
                </a:lnTo>
                <a:lnTo>
                  <a:pt x="1422" y="756"/>
                </a:lnTo>
                <a:lnTo>
                  <a:pt x="1424" y="755"/>
                </a:lnTo>
                <a:lnTo>
                  <a:pt x="1426" y="754"/>
                </a:lnTo>
                <a:lnTo>
                  <a:pt x="1429" y="753"/>
                </a:lnTo>
                <a:close/>
                <a:moveTo>
                  <a:pt x="1959" y="688"/>
                </a:moveTo>
                <a:lnTo>
                  <a:pt x="1962" y="688"/>
                </a:lnTo>
                <a:lnTo>
                  <a:pt x="1964" y="689"/>
                </a:lnTo>
                <a:lnTo>
                  <a:pt x="1967" y="691"/>
                </a:lnTo>
                <a:lnTo>
                  <a:pt x="1968" y="692"/>
                </a:lnTo>
                <a:lnTo>
                  <a:pt x="1969" y="693"/>
                </a:lnTo>
                <a:lnTo>
                  <a:pt x="1970" y="695"/>
                </a:lnTo>
                <a:lnTo>
                  <a:pt x="1971" y="697"/>
                </a:lnTo>
                <a:lnTo>
                  <a:pt x="1971" y="700"/>
                </a:lnTo>
                <a:lnTo>
                  <a:pt x="1971" y="702"/>
                </a:lnTo>
                <a:lnTo>
                  <a:pt x="1970" y="706"/>
                </a:lnTo>
                <a:lnTo>
                  <a:pt x="1968" y="708"/>
                </a:lnTo>
                <a:lnTo>
                  <a:pt x="1966" y="710"/>
                </a:lnTo>
                <a:lnTo>
                  <a:pt x="1965" y="711"/>
                </a:lnTo>
                <a:lnTo>
                  <a:pt x="1963" y="712"/>
                </a:lnTo>
                <a:lnTo>
                  <a:pt x="1961" y="712"/>
                </a:lnTo>
                <a:lnTo>
                  <a:pt x="1959" y="712"/>
                </a:lnTo>
                <a:lnTo>
                  <a:pt x="1956" y="712"/>
                </a:lnTo>
                <a:lnTo>
                  <a:pt x="1953" y="711"/>
                </a:lnTo>
                <a:lnTo>
                  <a:pt x="1951" y="710"/>
                </a:lnTo>
                <a:lnTo>
                  <a:pt x="1950" y="709"/>
                </a:lnTo>
                <a:lnTo>
                  <a:pt x="1949" y="707"/>
                </a:lnTo>
                <a:lnTo>
                  <a:pt x="1948" y="705"/>
                </a:lnTo>
                <a:lnTo>
                  <a:pt x="1947" y="703"/>
                </a:lnTo>
                <a:lnTo>
                  <a:pt x="1947" y="701"/>
                </a:lnTo>
                <a:lnTo>
                  <a:pt x="1947" y="698"/>
                </a:lnTo>
                <a:lnTo>
                  <a:pt x="1948" y="694"/>
                </a:lnTo>
                <a:lnTo>
                  <a:pt x="1950" y="692"/>
                </a:lnTo>
                <a:lnTo>
                  <a:pt x="1952" y="690"/>
                </a:lnTo>
                <a:lnTo>
                  <a:pt x="1953" y="689"/>
                </a:lnTo>
                <a:lnTo>
                  <a:pt x="1955" y="688"/>
                </a:lnTo>
                <a:lnTo>
                  <a:pt x="1957" y="688"/>
                </a:lnTo>
                <a:lnTo>
                  <a:pt x="1959" y="688"/>
                </a:lnTo>
                <a:close/>
                <a:moveTo>
                  <a:pt x="2069" y="595"/>
                </a:moveTo>
                <a:lnTo>
                  <a:pt x="2072" y="595"/>
                </a:lnTo>
                <a:lnTo>
                  <a:pt x="2074" y="596"/>
                </a:lnTo>
                <a:lnTo>
                  <a:pt x="2076" y="597"/>
                </a:lnTo>
                <a:lnTo>
                  <a:pt x="2078" y="599"/>
                </a:lnTo>
                <a:lnTo>
                  <a:pt x="2080" y="601"/>
                </a:lnTo>
                <a:lnTo>
                  <a:pt x="2081" y="603"/>
                </a:lnTo>
                <a:lnTo>
                  <a:pt x="2081" y="606"/>
                </a:lnTo>
                <a:lnTo>
                  <a:pt x="2082" y="608"/>
                </a:lnTo>
                <a:lnTo>
                  <a:pt x="2081" y="610"/>
                </a:lnTo>
                <a:lnTo>
                  <a:pt x="2080" y="613"/>
                </a:lnTo>
                <a:lnTo>
                  <a:pt x="2079" y="615"/>
                </a:lnTo>
                <a:lnTo>
                  <a:pt x="2078" y="616"/>
                </a:lnTo>
                <a:lnTo>
                  <a:pt x="2076" y="618"/>
                </a:lnTo>
                <a:lnTo>
                  <a:pt x="2074" y="619"/>
                </a:lnTo>
                <a:lnTo>
                  <a:pt x="2069" y="620"/>
                </a:lnTo>
                <a:lnTo>
                  <a:pt x="2067" y="620"/>
                </a:lnTo>
                <a:lnTo>
                  <a:pt x="2064" y="619"/>
                </a:lnTo>
                <a:lnTo>
                  <a:pt x="2062" y="618"/>
                </a:lnTo>
                <a:lnTo>
                  <a:pt x="2060" y="616"/>
                </a:lnTo>
                <a:lnTo>
                  <a:pt x="2059" y="614"/>
                </a:lnTo>
                <a:lnTo>
                  <a:pt x="2058" y="612"/>
                </a:lnTo>
                <a:lnTo>
                  <a:pt x="2057" y="609"/>
                </a:lnTo>
                <a:lnTo>
                  <a:pt x="2057" y="607"/>
                </a:lnTo>
                <a:lnTo>
                  <a:pt x="2057" y="605"/>
                </a:lnTo>
                <a:lnTo>
                  <a:pt x="2058" y="602"/>
                </a:lnTo>
                <a:lnTo>
                  <a:pt x="2059" y="600"/>
                </a:lnTo>
                <a:lnTo>
                  <a:pt x="2061" y="598"/>
                </a:lnTo>
                <a:lnTo>
                  <a:pt x="2063" y="597"/>
                </a:lnTo>
                <a:lnTo>
                  <a:pt x="2065" y="596"/>
                </a:lnTo>
                <a:lnTo>
                  <a:pt x="2069" y="595"/>
                </a:lnTo>
                <a:close/>
                <a:moveTo>
                  <a:pt x="2170" y="492"/>
                </a:moveTo>
                <a:lnTo>
                  <a:pt x="2175" y="492"/>
                </a:lnTo>
                <a:lnTo>
                  <a:pt x="2177" y="493"/>
                </a:lnTo>
                <a:lnTo>
                  <a:pt x="2179" y="495"/>
                </a:lnTo>
                <a:lnTo>
                  <a:pt x="2180" y="497"/>
                </a:lnTo>
                <a:lnTo>
                  <a:pt x="2182" y="499"/>
                </a:lnTo>
                <a:lnTo>
                  <a:pt x="2182" y="501"/>
                </a:lnTo>
                <a:lnTo>
                  <a:pt x="2183" y="503"/>
                </a:lnTo>
                <a:lnTo>
                  <a:pt x="2182" y="508"/>
                </a:lnTo>
                <a:lnTo>
                  <a:pt x="2181" y="510"/>
                </a:lnTo>
                <a:lnTo>
                  <a:pt x="2180" y="512"/>
                </a:lnTo>
                <a:lnTo>
                  <a:pt x="2178" y="514"/>
                </a:lnTo>
                <a:lnTo>
                  <a:pt x="2175" y="515"/>
                </a:lnTo>
                <a:lnTo>
                  <a:pt x="2173" y="516"/>
                </a:lnTo>
                <a:lnTo>
                  <a:pt x="2170" y="516"/>
                </a:lnTo>
                <a:lnTo>
                  <a:pt x="2166" y="515"/>
                </a:lnTo>
                <a:lnTo>
                  <a:pt x="2164" y="514"/>
                </a:lnTo>
                <a:lnTo>
                  <a:pt x="2162" y="513"/>
                </a:lnTo>
                <a:lnTo>
                  <a:pt x="2160" y="511"/>
                </a:lnTo>
                <a:lnTo>
                  <a:pt x="2159" y="509"/>
                </a:lnTo>
                <a:lnTo>
                  <a:pt x="2158" y="507"/>
                </a:lnTo>
                <a:lnTo>
                  <a:pt x="2158" y="504"/>
                </a:lnTo>
                <a:lnTo>
                  <a:pt x="2159" y="500"/>
                </a:lnTo>
                <a:lnTo>
                  <a:pt x="2160" y="498"/>
                </a:lnTo>
                <a:lnTo>
                  <a:pt x="2161" y="496"/>
                </a:lnTo>
                <a:lnTo>
                  <a:pt x="2163" y="494"/>
                </a:lnTo>
                <a:lnTo>
                  <a:pt x="2165" y="493"/>
                </a:lnTo>
                <a:lnTo>
                  <a:pt x="2168" y="492"/>
                </a:lnTo>
                <a:lnTo>
                  <a:pt x="2170" y="492"/>
                </a:lnTo>
                <a:close/>
                <a:moveTo>
                  <a:pt x="2263" y="381"/>
                </a:moveTo>
                <a:lnTo>
                  <a:pt x="2267" y="381"/>
                </a:lnTo>
                <a:lnTo>
                  <a:pt x="2268" y="382"/>
                </a:lnTo>
                <a:lnTo>
                  <a:pt x="2270" y="383"/>
                </a:lnTo>
                <a:lnTo>
                  <a:pt x="2272" y="385"/>
                </a:lnTo>
                <a:lnTo>
                  <a:pt x="2273" y="387"/>
                </a:lnTo>
                <a:lnTo>
                  <a:pt x="2275" y="392"/>
                </a:lnTo>
                <a:lnTo>
                  <a:pt x="2275" y="394"/>
                </a:lnTo>
                <a:lnTo>
                  <a:pt x="2275" y="396"/>
                </a:lnTo>
                <a:lnTo>
                  <a:pt x="2274" y="399"/>
                </a:lnTo>
                <a:lnTo>
                  <a:pt x="2273" y="401"/>
                </a:lnTo>
                <a:lnTo>
                  <a:pt x="2270" y="403"/>
                </a:lnTo>
                <a:lnTo>
                  <a:pt x="2268" y="404"/>
                </a:lnTo>
                <a:lnTo>
                  <a:pt x="2265" y="405"/>
                </a:lnTo>
                <a:lnTo>
                  <a:pt x="2263" y="405"/>
                </a:lnTo>
                <a:lnTo>
                  <a:pt x="2259" y="405"/>
                </a:lnTo>
                <a:lnTo>
                  <a:pt x="2257" y="404"/>
                </a:lnTo>
                <a:lnTo>
                  <a:pt x="2255" y="403"/>
                </a:lnTo>
                <a:lnTo>
                  <a:pt x="2253" y="401"/>
                </a:lnTo>
                <a:lnTo>
                  <a:pt x="2252" y="399"/>
                </a:lnTo>
                <a:lnTo>
                  <a:pt x="2251" y="395"/>
                </a:lnTo>
                <a:lnTo>
                  <a:pt x="2250" y="392"/>
                </a:lnTo>
                <a:lnTo>
                  <a:pt x="2251" y="390"/>
                </a:lnTo>
                <a:lnTo>
                  <a:pt x="2252" y="388"/>
                </a:lnTo>
                <a:lnTo>
                  <a:pt x="2253" y="386"/>
                </a:lnTo>
                <a:lnTo>
                  <a:pt x="2255" y="384"/>
                </a:lnTo>
                <a:lnTo>
                  <a:pt x="2257" y="382"/>
                </a:lnTo>
                <a:lnTo>
                  <a:pt x="2260" y="381"/>
                </a:lnTo>
                <a:lnTo>
                  <a:pt x="2263" y="381"/>
                </a:lnTo>
                <a:close/>
                <a:moveTo>
                  <a:pt x="2345" y="263"/>
                </a:moveTo>
                <a:lnTo>
                  <a:pt x="2348" y="263"/>
                </a:lnTo>
                <a:lnTo>
                  <a:pt x="2352" y="264"/>
                </a:lnTo>
                <a:lnTo>
                  <a:pt x="2354" y="266"/>
                </a:lnTo>
                <a:lnTo>
                  <a:pt x="2355" y="268"/>
                </a:lnTo>
                <a:lnTo>
                  <a:pt x="2356" y="270"/>
                </a:lnTo>
                <a:lnTo>
                  <a:pt x="2357" y="272"/>
                </a:lnTo>
                <a:lnTo>
                  <a:pt x="2357" y="274"/>
                </a:lnTo>
                <a:lnTo>
                  <a:pt x="2357" y="277"/>
                </a:lnTo>
                <a:lnTo>
                  <a:pt x="2357" y="279"/>
                </a:lnTo>
                <a:lnTo>
                  <a:pt x="2355" y="281"/>
                </a:lnTo>
                <a:lnTo>
                  <a:pt x="2353" y="284"/>
                </a:lnTo>
                <a:lnTo>
                  <a:pt x="2351" y="286"/>
                </a:lnTo>
                <a:lnTo>
                  <a:pt x="2348" y="287"/>
                </a:lnTo>
                <a:lnTo>
                  <a:pt x="2345" y="287"/>
                </a:lnTo>
                <a:lnTo>
                  <a:pt x="2342" y="287"/>
                </a:lnTo>
                <a:lnTo>
                  <a:pt x="2339" y="285"/>
                </a:lnTo>
                <a:lnTo>
                  <a:pt x="2337" y="284"/>
                </a:lnTo>
                <a:lnTo>
                  <a:pt x="2335" y="282"/>
                </a:lnTo>
                <a:lnTo>
                  <a:pt x="2334" y="280"/>
                </a:lnTo>
                <a:lnTo>
                  <a:pt x="2333" y="278"/>
                </a:lnTo>
                <a:lnTo>
                  <a:pt x="2333" y="275"/>
                </a:lnTo>
                <a:lnTo>
                  <a:pt x="2333" y="273"/>
                </a:lnTo>
                <a:lnTo>
                  <a:pt x="2333" y="271"/>
                </a:lnTo>
                <a:lnTo>
                  <a:pt x="2335" y="268"/>
                </a:lnTo>
                <a:lnTo>
                  <a:pt x="2337" y="266"/>
                </a:lnTo>
                <a:lnTo>
                  <a:pt x="2339" y="264"/>
                </a:lnTo>
                <a:lnTo>
                  <a:pt x="2342" y="263"/>
                </a:lnTo>
                <a:lnTo>
                  <a:pt x="2345" y="263"/>
                </a:lnTo>
                <a:close/>
                <a:moveTo>
                  <a:pt x="2413" y="135"/>
                </a:moveTo>
                <a:lnTo>
                  <a:pt x="2415" y="136"/>
                </a:lnTo>
                <a:lnTo>
                  <a:pt x="2417" y="136"/>
                </a:lnTo>
                <a:lnTo>
                  <a:pt x="2420" y="138"/>
                </a:lnTo>
                <a:lnTo>
                  <a:pt x="2421" y="139"/>
                </a:lnTo>
                <a:lnTo>
                  <a:pt x="2423" y="141"/>
                </a:lnTo>
                <a:lnTo>
                  <a:pt x="2424" y="143"/>
                </a:lnTo>
                <a:lnTo>
                  <a:pt x="2425" y="145"/>
                </a:lnTo>
                <a:lnTo>
                  <a:pt x="2425" y="148"/>
                </a:lnTo>
                <a:lnTo>
                  <a:pt x="2425" y="150"/>
                </a:lnTo>
                <a:lnTo>
                  <a:pt x="2424" y="152"/>
                </a:lnTo>
                <a:lnTo>
                  <a:pt x="2422" y="156"/>
                </a:lnTo>
                <a:lnTo>
                  <a:pt x="2421" y="157"/>
                </a:lnTo>
                <a:lnTo>
                  <a:pt x="2419" y="158"/>
                </a:lnTo>
                <a:lnTo>
                  <a:pt x="2418" y="159"/>
                </a:lnTo>
                <a:lnTo>
                  <a:pt x="2416" y="159"/>
                </a:lnTo>
                <a:lnTo>
                  <a:pt x="2413" y="160"/>
                </a:lnTo>
                <a:lnTo>
                  <a:pt x="2410" y="160"/>
                </a:lnTo>
                <a:lnTo>
                  <a:pt x="2408" y="159"/>
                </a:lnTo>
                <a:lnTo>
                  <a:pt x="2406" y="158"/>
                </a:lnTo>
                <a:lnTo>
                  <a:pt x="2404" y="156"/>
                </a:lnTo>
                <a:lnTo>
                  <a:pt x="2402" y="154"/>
                </a:lnTo>
                <a:lnTo>
                  <a:pt x="2401" y="152"/>
                </a:lnTo>
                <a:lnTo>
                  <a:pt x="2400" y="150"/>
                </a:lnTo>
                <a:lnTo>
                  <a:pt x="2400" y="148"/>
                </a:lnTo>
                <a:lnTo>
                  <a:pt x="2400" y="145"/>
                </a:lnTo>
                <a:lnTo>
                  <a:pt x="2401" y="143"/>
                </a:lnTo>
                <a:lnTo>
                  <a:pt x="2403" y="140"/>
                </a:lnTo>
                <a:lnTo>
                  <a:pt x="2404" y="138"/>
                </a:lnTo>
                <a:lnTo>
                  <a:pt x="2406" y="137"/>
                </a:lnTo>
                <a:lnTo>
                  <a:pt x="2407" y="136"/>
                </a:lnTo>
                <a:lnTo>
                  <a:pt x="2409" y="136"/>
                </a:lnTo>
                <a:lnTo>
                  <a:pt x="2413" y="135"/>
                </a:lnTo>
                <a:close/>
                <a:moveTo>
                  <a:pt x="2465" y="0"/>
                </a:moveTo>
                <a:lnTo>
                  <a:pt x="2466" y="1"/>
                </a:lnTo>
                <a:lnTo>
                  <a:pt x="2469" y="1"/>
                </a:lnTo>
                <a:lnTo>
                  <a:pt x="2471" y="2"/>
                </a:lnTo>
                <a:lnTo>
                  <a:pt x="2473" y="4"/>
                </a:lnTo>
                <a:lnTo>
                  <a:pt x="2475" y="6"/>
                </a:lnTo>
                <a:lnTo>
                  <a:pt x="2476" y="8"/>
                </a:lnTo>
                <a:lnTo>
                  <a:pt x="2477" y="10"/>
                </a:lnTo>
                <a:lnTo>
                  <a:pt x="2477" y="12"/>
                </a:lnTo>
                <a:lnTo>
                  <a:pt x="2476" y="17"/>
                </a:lnTo>
                <a:lnTo>
                  <a:pt x="2475" y="19"/>
                </a:lnTo>
                <a:lnTo>
                  <a:pt x="2474" y="20"/>
                </a:lnTo>
                <a:lnTo>
                  <a:pt x="2472" y="23"/>
                </a:lnTo>
                <a:lnTo>
                  <a:pt x="2470" y="24"/>
                </a:lnTo>
                <a:lnTo>
                  <a:pt x="2468" y="25"/>
                </a:lnTo>
                <a:lnTo>
                  <a:pt x="2465" y="25"/>
                </a:lnTo>
                <a:lnTo>
                  <a:pt x="2460" y="24"/>
                </a:lnTo>
                <a:lnTo>
                  <a:pt x="2458" y="23"/>
                </a:lnTo>
                <a:lnTo>
                  <a:pt x="2456" y="22"/>
                </a:lnTo>
                <a:lnTo>
                  <a:pt x="2455" y="20"/>
                </a:lnTo>
                <a:lnTo>
                  <a:pt x="2453" y="18"/>
                </a:lnTo>
                <a:lnTo>
                  <a:pt x="2453" y="16"/>
                </a:lnTo>
                <a:lnTo>
                  <a:pt x="2452" y="13"/>
                </a:lnTo>
                <a:lnTo>
                  <a:pt x="2453" y="8"/>
                </a:lnTo>
                <a:lnTo>
                  <a:pt x="2455" y="5"/>
                </a:lnTo>
                <a:lnTo>
                  <a:pt x="2457" y="3"/>
                </a:lnTo>
                <a:lnTo>
                  <a:pt x="2459" y="2"/>
                </a:lnTo>
                <a:lnTo>
                  <a:pt x="2460" y="1"/>
                </a:lnTo>
                <a:lnTo>
                  <a:pt x="2463" y="1"/>
                </a:lnTo>
                <a:lnTo>
                  <a:pt x="2465" y="0"/>
                </a:lnTo>
                <a:close/>
                <a:moveTo>
                  <a:pt x="687" y="1770"/>
                </a:moveTo>
                <a:lnTo>
                  <a:pt x="688" y="1770"/>
                </a:lnTo>
                <a:lnTo>
                  <a:pt x="690" y="1771"/>
                </a:lnTo>
                <a:lnTo>
                  <a:pt x="693" y="1772"/>
                </a:lnTo>
                <a:lnTo>
                  <a:pt x="695" y="1773"/>
                </a:lnTo>
                <a:lnTo>
                  <a:pt x="695" y="1774"/>
                </a:lnTo>
                <a:lnTo>
                  <a:pt x="696" y="1775"/>
                </a:lnTo>
                <a:lnTo>
                  <a:pt x="697" y="1777"/>
                </a:lnTo>
                <a:lnTo>
                  <a:pt x="698" y="1779"/>
                </a:lnTo>
                <a:lnTo>
                  <a:pt x="699" y="1782"/>
                </a:lnTo>
                <a:lnTo>
                  <a:pt x="699" y="1784"/>
                </a:lnTo>
                <a:lnTo>
                  <a:pt x="697" y="1788"/>
                </a:lnTo>
                <a:lnTo>
                  <a:pt x="696" y="1790"/>
                </a:lnTo>
                <a:lnTo>
                  <a:pt x="695" y="1792"/>
                </a:lnTo>
                <a:lnTo>
                  <a:pt x="693" y="1793"/>
                </a:lnTo>
                <a:lnTo>
                  <a:pt x="691" y="1794"/>
                </a:lnTo>
                <a:lnTo>
                  <a:pt x="687" y="1795"/>
                </a:lnTo>
                <a:lnTo>
                  <a:pt x="685" y="1795"/>
                </a:lnTo>
                <a:lnTo>
                  <a:pt x="683" y="1794"/>
                </a:lnTo>
                <a:lnTo>
                  <a:pt x="681" y="1793"/>
                </a:lnTo>
                <a:lnTo>
                  <a:pt x="679" y="1792"/>
                </a:lnTo>
                <a:lnTo>
                  <a:pt x="678" y="1791"/>
                </a:lnTo>
                <a:lnTo>
                  <a:pt x="677" y="1790"/>
                </a:lnTo>
                <a:lnTo>
                  <a:pt x="676" y="1788"/>
                </a:lnTo>
                <a:lnTo>
                  <a:pt x="675" y="1786"/>
                </a:lnTo>
                <a:lnTo>
                  <a:pt x="675" y="1784"/>
                </a:lnTo>
                <a:lnTo>
                  <a:pt x="675" y="1781"/>
                </a:lnTo>
                <a:lnTo>
                  <a:pt x="676" y="1777"/>
                </a:lnTo>
                <a:lnTo>
                  <a:pt x="677" y="1775"/>
                </a:lnTo>
                <a:lnTo>
                  <a:pt x="679" y="1773"/>
                </a:lnTo>
                <a:lnTo>
                  <a:pt x="680" y="1772"/>
                </a:lnTo>
                <a:lnTo>
                  <a:pt x="682" y="1771"/>
                </a:lnTo>
                <a:lnTo>
                  <a:pt x="687" y="1770"/>
                </a:lnTo>
                <a:close/>
                <a:moveTo>
                  <a:pt x="830" y="1760"/>
                </a:moveTo>
                <a:lnTo>
                  <a:pt x="834" y="1761"/>
                </a:lnTo>
                <a:lnTo>
                  <a:pt x="838" y="1763"/>
                </a:lnTo>
                <a:lnTo>
                  <a:pt x="840" y="1765"/>
                </a:lnTo>
                <a:lnTo>
                  <a:pt x="842" y="1769"/>
                </a:lnTo>
                <a:lnTo>
                  <a:pt x="843" y="1772"/>
                </a:lnTo>
                <a:lnTo>
                  <a:pt x="842" y="1774"/>
                </a:lnTo>
                <a:lnTo>
                  <a:pt x="841" y="1778"/>
                </a:lnTo>
                <a:lnTo>
                  <a:pt x="840" y="1780"/>
                </a:lnTo>
                <a:lnTo>
                  <a:pt x="839" y="1781"/>
                </a:lnTo>
                <a:lnTo>
                  <a:pt x="838" y="1782"/>
                </a:lnTo>
                <a:lnTo>
                  <a:pt x="836" y="1783"/>
                </a:lnTo>
                <a:lnTo>
                  <a:pt x="833" y="1784"/>
                </a:lnTo>
                <a:lnTo>
                  <a:pt x="830" y="1784"/>
                </a:lnTo>
                <a:lnTo>
                  <a:pt x="826" y="1784"/>
                </a:lnTo>
                <a:lnTo>
                  <a:pt x="823" y="1782"/>
                </a:lnTo>
                <a:lnTo>
                  <a:pt x="820" y="1779"/>
                </a:lnTo>
                <a:lnTo>
                  <a:pt x="819" y="1775"/>
                </a:lnTo>
                <a:lnTo>
                  <a:pt x="818" y="1773"/>
                </a:lnTo>
                <a:lnTo>
                  <a:pt x="818" y="1771"/>
                </a:lnTo>
                <a:lnTo>
                  <a:pt x="820" y="1766"/>
                </a:lnTo>
                <a:lnTo>
                  <a:pt x="821" y="1764"/>
                </a:lnTo>
                <a:lnTo>
                  <a:pt x="822" y="1763"/>
                </a:lnTo>
                <a:lnTo>
                  <a:pt x="823" y="1763"/>
                </a:lnTo>
                <a:lnTo>
                  <a:pt x="825" y="1761"/>
                </a:lnTo>
                <a:lnTo>
                  <a:pt x="827" y="1761"/>
                </a:lnTo>
                <a:lnTo>
                  <a:pt x="830" y="1760"/>
                </a:lnTo>
                <a:close/>
                <a:moveTo>
                  <a:pt x="549" y="1731"/>
                </a:moveTo>
                <a:lnTo>
                  <a:pt x="551" y="1732"/>
                </a:lnTo>
                <a:lnTo>
                  <a:pt x="554" y="1732"/>
                </a:lnTo>
                <a:lnTo>
                  <a:pt x="556" y="1734"/>
                </a:lnTo>
                <a:lnTo>
                  <a:pt x="558" y="1735"/>
                </a:lnTo>
                <a:lnTo>
                  <a:pt x="559" y="1737"/>
                </a:lnTo>
                <a:lnTo>
                  <a:pt x="560" y="1739"/>
                </a:lnTo>
                <a:lnTo>
                  <a:pt x="561" y="1744"/>
                </a:lnTo>
                <a:lnTo>
                  <a:pt x="561" y="1746"/>
                </a:lnTo>
                <a:lnTo>
                  <a:pt x="560" y="1748"/>
                </a:lnTo>
                <a:lnTo>
                  <a:pt x="558" y="1751"/>
                </a:lnTo>
                <a:lnTo>
                  <a:pt x="557" y="1753"/>
                </a:lnTo>
                <a:lnTo>
                  <a:pt x="555" y="1754"/>
                </a:lnTo>
                <a:lnTo>
                  <a:pt x="552" y="1755"/>
                </a:lnTo>
                <a:lnTo>
                  <a:pt x="549" y="1756"/>
                </a:lnTo>
                <a:lnTo>
                  <a:pt x="546" y="1755"/>
                </a:lnTo>
                <a:lnTo>
                  <a:pt x="544" y="1755"/>
                </a:lnTo>
                <a:lnTo>
                  <a:pt x="542" y="1753"/>
                </a:lnTo>
                <a:lnTo>
                  <a:pt x="540" y="1752"/>
                </a:lnTo>
                <a:lnTo>
                  <a:pt x="539" y="1750"/>
                </a:lnTo>
                <a:lnTo>
                  <a:pt x="537" y="1748"/>
                </a:lnTo>
                <a:lnTo>
                  <a:pt x="537" y="1743"/>
                </a:lnTo>
                <a:lnTo>
                  <a:pt x="537" y="1741"/>
                </a:lnTo>
                <a:lnTo>
                  <a:pt x="538" y="1739"/>
                </a:lnTo>
                <a:lnTo>
                  <a:pt x="540" y="1736"/>
                </a:lnTo>
                <a:lnTo>
                  <a:pt x="541" y="1734"/>
                </a:lnTo>
                <a:lnTo>
                  <a:pt x="542" y="1733"/>
                </a:lnTo>
                <a:lnTo>
                  <a:pt x="545" y="1732"/>
                </a:lnTo>
                <a:lnTo>
                  <a:pt x="549" y="1731"/>
                </a:lnTo>
                <a:close/>
                <a:moveTo>
                  <a:pt x="962" y="1704"/>
                </a:moveTo>
                <a:lnTo>
                  <a:pt x="966" y="1704"/>
                </a:lnTo>
                <a:lnTo>
                  <a:pt x="968" y="1705"/>
                </a:lnTo>
                <a:lnTo>
                  <a:pt x="971" y="1707"/>
                </a:lnTo>
                <a:lnTo>
                  <a:pt x="973" y="1710"/>
                </a:lnTo>
                <a:lnTo>
                  <a:pt x="974" y="1715"/>
                </a:lnTo>
                <a:lnTo>
                  <a:pt x="975" y="1717"/>
                </a:lnTo>
                <a:lnTo>
                  <a:pt x="974" y="1719"/>
                </a:lnTo>
                <a:lnTo>
                  <a:pt x="973" y="1721"/>
                </a:lnTo>
                <a:lnTo>
                  <a:pt x="972" y="1723"/>
                </a:lnTo>
                <a:lnTo>
                  <a:pt x="968" y="1727"/>
                </a:lnTo>
                <a:lnTo>
                  <a:pt x="966" y="1728"/>
                </a:lnTo>
                <a:lnTo>
                  <a:pt x="962" y="1728"/>
                </a:lnTo>
                <a:lnTo>
                  <a:pt x="959" y="1728"/>
                </a:lnTo>
                <a:lnTo>
                  <a:pt x="956" y="1727"/>
                </a:lnTo>
                <a:lnTo>
                  <a:pt x="954" y="1725"/>
                </a:lnTo>
                <a:lnTo>
                  <a:pt x="952" y="1722"/>
                </a:lnTo>
                <a:lnTo>
                  <a:pt x="950" y="1717"/>
                </a:lnTo>
                <a:lnTo>
                  <a:pt x="950" y="1715"/>
                </a:lnTo>
                <a:lnTo>
                  <a:pt x="951" y="1713"/>
                </a:lnTo>
                <a:lnTo>
                  <a:pt x="952" y="1711"/>
                </a:lnTo>
                <a:lnTo>
                  <a:pt x="953" y="1709"/>
                </a:lnTo>
                <a:lnTo>
                  <a:pt x="954" y="1707"/>
                </a:lnTo>
                <a:lnTo>
                  <a:pt x="956" y="1705"/>
                </a:lnTo>
                <a:lnTo>
                  <a:pt x="959" y="1704"/>
                </a:lnTo>
                <a:lnTo>
                  <a:pt x="962" y="1704"/>
                </a:lnTo>
                <a:close/>
                <a:moveTo>
                  <a:pt x="422" y="1662"/>
                </a:moveTo>
                <a:lnTo>
                  <a:pt x="426" y="1662"/>
                </a:lnTo>
                <a:lnTo>
                  <a:pt x="429" y="1664"/>
                </a:lnTo>
                <a:lnTo>
                  <a:pt x="431" y="1665"/>
                </a:lnTo>
                <a:lnTo>
                  <a:pt x="432" y="1667"/>
                </a:lnTo>
                <a:lnTo>
                  <a:pt x="433" y="1669"/>
                </a:lnTo>
                <a:lnTo>
                  <a:pt x="434" y="1671"/>
                </a:lnTo>
                <a:lnTo>
                  <a:pt x="434" y="1674"/>
                </a:lnTo>
                <a:lnTo>
                  <a:pt x="434" y="1676"/>
                </a:lnTo>
                <a:lnTo>
                  <a:pt x="434" y="1678"/>
                </a:lnTo>
                <a:lnTo>
                  <a:pt x="433" y="1680"/>
                </a:lnTo>
                <a:lnTo>
                  <a:pt x="431" y="1683"/>
                </a:lnTo>
                <a:lnTo>
                  <a:pt x="428" y="1685"/>
                </a:lnTo>
                <a:lnTo>
                  <a:pt x="425" y="1687"/>
                </a:lnTo>
                <a:lnTo>
                  <a:pt x="422" y="1687"/>
                </a:lnTo>
                <a:lnTo>
                  <a:pt x="419" y="1687"/>
                </a:lnTo>
                <a:lnTo>
                  <a:pt x="416" y="1684"/>
                </a:lnTo>
                <a:lnTo>
                  <a:pt x="414" y="1683"/>
                </a:lnTo>
                <a:lnTo>
                  <a:pt x="412" y="1681"/>
                </a:lnTo>
                <a:lnTo>
                  <a:pt x="411" y="1679"/>
                </a:lnTo>
                <a:lnTo>
                  <a:pt x="410" y="1677"/>
                </a:lnTo>
                <a:lnTo>
                  <a:pt x="410" y="1674"/>
                </a:lnTo>
                <a:lnTo>
                  <a:pt x="410" y="1672"/>
                </a:lnTo>
                <a:lnTo>
                  <a:pt x="411" y="1670"/>
                </a:lnTo>
                <a:lnTo>
                  <a:pt x="412" y="1667"/>
                </a:lnTo>
                <a:lnTo>
                  <a:pt x="414" y="1665"/>
                </a:lnTo>
                <a:lnTo>
                  <a:pt x="417" y="1663"/>
                </a:lnTo>
                <a:lnTo>
                  <a:pt x="419" y="1662"/>
                </a:lnTo>
                <a:lnTo>
                  <a:pt x="422" y="1662"/>
                </a:lnTo>
                <a:close/>
                <a:moveTo>
                  <a:pt x="1079" y="1619"/>
                </a:moveTo>
                <a:lnTo>
                  <a:pt x="1082" y="1619"/>
                </a:lnTo>
                <a:lnTo>
                  <a:pt x="1084" y="1620"/>
                </a:lnTo>
                <a:lnTo>
                  <a:pt x="1086" y="1621"/>
                </a:lnTo>
                <a:lnTo>
                  <a:pt x="1088" y="1623"/>
                </a:lnTo>
                <a:lnTo>
                  <a:pt x="1090" y="1625"/>
                </a:lnTo>
                <a:lnTo>
                  <a:pt x="1091" y="1627"/>
                </a:lnTo>
                <a:lnTo>
                  <a:pt x="1091" y="1630"/>
                </a:lnTo>
                <a:lnTo>
                  <a:pt x="1091" y="1632"/>
                </a:lnTo>
                <a:lnTo>
                  <a:pt x="1091" y="1634"/>
                </a:lnTo>
                <a:lnTo>
                  <a:pt x="1090" y="1636"/>
                </a:lnTo>
                <a:lnTo>
                  <a:pt x="1089" y="1639"/>
                </a:lnTo>
                <a:lnTo>
                  <a:pt x="1087" y="1640"/>
                </a:lnTo>
                <a:lnTo>
                  <a:pt x="1083" y="1643"/>
                </a:lnTo>
                <a:lnTo>
                  <a:pt x="1079" y="1643"/>
                </a:lnTo>
                <a:lnTo>
                  <a:pt x="1077" y="1643"/>
                </a:lnTo>
                <a:lnTo>
                  <a:pt x="1074" y="1642"/>
                </a:lnTo>
                <a:lnTo>
                  <a:pt x="1072" y="1641"/>
                </a:lnTo>
                <a:lnTo>
                  <a:pt x="1070" y="1639"/>
                </a:lnTo>
                <a:lnTo>
                  <a:pt x="1069" y="1637"/>
                </a:lnTo>
                <a:lnTo>
                  <a:pt x="1068" y="1635"/>
                </a:lnTo>
                <a:lnTo>
                  <a:pt x="1067" y="1633"/>
                </a:lnTo>
                <a:lnTo>
                  <a:pt x="1067" y="1630"/>
                </a:lnTo>
                <a:lnTo>
                  <a:pt x="1067" y="1628"/>
                </a:lnTo>
                <a:lnTo>
                  <a:pt x="1068" y="1626"/>
                </a:lnTo>
                <a:lnTo>
                  <a:pt x="1069" y="1624"/>
                </a:lnTo>
                <a:lnTo>
                  <a:pt x="1071" y="1622"/>
                </a:lnTo>
                <a:lnTo>
                  <a:pt x="1075" y="1620"/>
                </a:lnTo>
                <a:lnTo>
                  <a:pt x="1079" y="1619"/>
                </a:lnTo>
                <a:close/>
                <a:moveTo>
                  <a:pt x="302" y="1582"/>
                </a:moveTo>
                <a:lnTo>
                  <a:pt x="306" y="1583"/>
                </a:lnTo>
                <a:lnTo>
                  <a:pt x="307" y="1583"/>
                </a:lnTo>
                <a:lnTo>
                  <a:pt x="309" y="1584"/>
                </a:lnTo>
                <a:lnTo>
                  <a:pt x="311" y="1586"/>
                </a:lnTo>
                <a:lnTo>
                  <a:pt x="312" y="1588"/>
                </a:lnTo>
                <a:lnTo>
                  <a:pt x="313" y="1590"/>
                </a:lnTo>
                <a:lnTo>
                  <a:pt x="314" y="1592"/>
                </a:lnTo>
                <a:lnTo>
                  <a:pt x="314" y="1597"/>
                </a:lnTo>
                <a:lnTo>
                  <a:pt x="313" y="1599"/>
                </a:lnTo>
                <a:lnTo>
                  <a:pt x="312" y="1601"/>
                </a:lnTo>
                <a:lnTo>
                  <a:pt x="310" y="1604"/>
                </a:lnTo>
                <a:lnTo>
                  <a:pt x="308" y="1605"/>
                </a:lnTo>
                <a:lnTo>
                  <a:pt x="305" y="1606"/>
                </a:lnTo>
                <a:lnTo>
                  <a:pt x="302" y="1607"/>
                </a:lnTo>
                <a:lnTo>
                  <a:pt x="299" y="1606"/>
                </a:lnTo>
                <a:lnTo>
                  <a:pt x="297" y="1606"/>
                </a:lnTo>
                <a:lnTo>
                  <a:pt x="295" y="1605"/>
                </a:lnTo>
                <a:lnTo>
                  <a:pt x="293" y="1603"/>
                </a:lnTo>
                <a:lnTo>
                  <a:pt x="292" y="1601"/>
                </a:lnTo>
                <a:lnTo>
                  <a:pt x="291" y="1599"/>
                </a:lnTo>
                <a:lnTo>
                  <a:pt x="290" y="1597"/>
                </a:lnTo>
                <a:lnTo>
                  <a:pt x="290" y="1592"/>
                </a:lnTo>
                <a:lnTo>
                  <a:pt x="291" y="1590"/>
                </a:lnTo>
                <a:lnTo>
                  <a:pt x="292" y="1588"/>
                </a:lnTo>
                <a:lnTo>
                  <a:pt x="293" y="1586"/>
                </a:lnTo>
                <a:lnTo>
                  <a:pt x="294" y="1585"/>
                </a:lnTo>
                <a:lnTo>
                  <a:pt x="296" y="1584"/>
                </a:lnTo>
                <a:lnTo>
                  <a:pt x="299" y="1583"/>
                </a:lnTo>
                <a:lnTo>
                  <a:pt x="302" y="1582"/>
                </a:lnTo>
                <a:close/>
                <a:moveTo>
                  <a:pt x="1180" y="1517"/>
                </a:moveTo>
                <a:lnTo>
                  <a:pt x="1184" y="1517"/>
                </a:lnTo>
                <a:lnTo>
                  <a:pt x="1186" y="1518"/>
                </a:lnTo>
                <a:lnTo>
                  <a:pt x="1188" y="1520"/>
                </a:lnTo>
                <a:lnTo>
                  <a:pt x="1190" y="1521"/>
                </a:lnTo>
                <a:lnTo>
                  <a:pt x="1191" y="1523"/>
                </a:lnTo>
                <a:lnTo>
                  <a:pt x="1192" y="1526"/>
                </a:lnTo>
                <a:lnTo>
                  <a:pt x="1192" y="1528"/>
                </a:lnTo>
                <a:lnTo>
                  <a:pt x="1192" y="1530"/>
                </a:lnTo>
                <a:lnTo>
                  <a:pt x="1192" y="1533"/>
                </a:lnTo>
                <a:lnTo>
                  <a:pt x="1191" y="1535"/>
                </a:lnTo>
                <a:lnTo>
                  <a:pt x="1190" y="1536"/>
                </a:lnTo>
                <a:lnTo>
                  <a:pt x="1189" y="1537"/>
                </a:lnTo>
                <a:lnTo>
                  <a:pt x="1187" y="1539"/>
                </a:lnTo>
                <a:lnTo>
                  <a:pt x="1185" y="1540"/>
                </a:lnTo>
                <a:lnTo>
                  <a:pt x="1183" y="1541"/>
                </a:lnTo>
                <a:lnTo>
                  <a:pt x="1180" y="1541"/>
                </a:lnTo>
                <a:lnTo>
                  <a:pt x="1176" y="1540"/>
                </a:lnTo>
                <a:lnTo>
                  <a:pt x="1174" y="1539"/>
                </a:lnTo>
                <a:lnTo>
                  <a:pt x="1172" y="1538"/>
                </a:lnTo>
                <a:lnTo>
                  <a:pt x="1171" y="1536"/>
                </a:lnTo>
                <a:lnTo>
                  <a:pt x="1169" y="1534"/>
                </a:lnTo>
                <a:lnTo>
                  <a:pt x="1169" y="1532"/>
                </a:lnTo>
                <a:lnTo>
                  <a:pt x="1168" y="1530"/>
                </a:lnTo>
                <a:lnTo>
                  <a:pt x="1168" y="1527"/>
                </a:lnTo>
                <a:lnTo>
                  <a:pt x="1169" y="1525"/>
                </a:lnTo>
                <a:lnTo>
                  <a:pt x="1170" y="1523"/>
                </a:lnTo>
                <a:lnTo>
                  <a:pt x="1170" y="1522"/>
                </a:lnTo>
                <a:lnTo>
                  <a:pt x="1171" y="1521"/>
                </a:lnTo>
                <a:lnTo>
                  <a:pt x="1173" y="1519"/>
                </a:lnTo>
                <a:lnTo>
                  <a:pt x="1175" y="1518"/>
                </a:lnTo>
                <a:lnTo>
                  <a:pt x="1178" y="1517"/>
                </a:lnTo>
                <a:lnTo>
                  <a:pt x="1180" y="1517"/>
                </a:lnTo>
                <a:close/>
                <a:moveTo>
                  <a:pt x="181" y="1505"/>
                </a:moveTo>
                <a:lnTo>
                  <a:pt x="184" y="1506"/>
                </a:lnTo>
                <a:lnTo>
                  <a:pt x="187" y="1507"/>
                </a:lnTo>
                <a:lnTo>
                  <a:pt x="189" y="1508"/>
                </a:lnTo>
                <a:lnTo>
                  <a:pt x="189" y="1509"/>
                </a:lnTo>
                <a:lnTo>
                  <a:pt x="190" y="1510"/>
                </a:lnTo>
                <a:lnTo>
                  <a:pt x="191" y="1512"/>
                </a:lnTo>
                <a:lnTo>
                  <a:pt x="192" y="1514"/>
                </a:lnTo>
                <a:lnTo>
                  <a:pt x="193" y="1516"/>
                </a:lnTo>
                <a:lnTo>
                  <a:pt x="193" y="1519"/>
                </a:lnTo>
                <a:lnTo>
                  <a:pt x="191" y="1523"/>
                </a:lnTo>
                <a:lnTo>
                  <a:pt x="189" y="1526"/>
                </a:lnTo>
                <a:lnTo>
                  <a:pt x="186" y="1528"/>
                </a:lnTo>
                <a:lnTo>
                  <a:pt x="184" y="1529"/>
                </a:lnTo>
                <a:lnTo>
                  <a:pt x="181" y="1529"/>
                </a:lnTo>
                <a:lnTo>
                  <a:pt x="177" y="1529"/>
                </a:lnTo>
                <a:lnTo>
                  <a:pt x="174" y="1528"/>
                </a:lnTo>
                <a:lnTo>
                  <a:pt x="172" y="1526"/>
                </a:lnTo>
                <a:lnTo>
                  <a:pt x="171" y="1525"/>
                </a:lnTo>
                <a:lnTo>
                  <a:pt x="170" y="1523"/>
                </a:lnTo>
                <a:lnTo>
                  <a:pt x="169" y="1520"/>
                </a:lnTo>
                <a:lnTo>
                  <a:pt x="168" y="1518"/>
                </a:lnTo>
                <a:lnTo>
                  <a:pt x="168" y="1516"/>
                </a:lnTo>
                <a:lnTo>
                  <a:pt x="170" y="1511"/>
                </a:lnTo>
                <a:lnTo>
                  <a:pt x="172" y="1509"/>
                </a:lnTo>
                <a:lnTo>
                  <a:pt x="175" y="1507"/>
                </a:lnTo>
                <a:lnTo>
                  <a:pt x="177" y="1506"/>
                </a:lnTo>
                <a:lnTo>
                  <a:pt x="181" y="1505"/>
                </a:lnTo>
                <a:close/>
                <a:moveTo>
                  <a:pt x="51" y="1443"/>
                </a:moveTo>
                <a:lnTo>
                  <a:pt x="55" y="1444"/>
                </a:lnTo>
                <a:lnTo>
                  <a:pt x="57" y="1445"/>
                </a:lnTo>
                <a:lnTo>
                  <a:pt x="59" y="1447"/>
                </a:lnTo>
                <a:lnTo>
                  <a:pt x="61" y="1448"/>
                </a:lnTo>
                <a:lnTo>
                  <a:pt x="62" y="1450"/>
                </a:lnTo>
                <a:lnTo>
                  <a:pt x="62" y="1453"/>
                </a:lnTo>
                <a:lnTo>
                  <a:pt x="63" y="1455"/>
                </a:lnTo>
                <a:lnTo>
                  <a:pt x="62" y="1460"/>
                </a:lnTo>
                <a:lnTo>
                  <a:pt x="60" y="1463"/>
                </a:lnTo>
                <a:lnTo>
                  <a:pt x="58" y="1466"/>
                </a:lnTo>
                <a:lnTo>
                  <a:pt x="56" y="1467"/>
                </a:lnTo>
                <a:lnTo>
                  <a:pt x="54" y="1467"/>
                </a:lnTo>
                <a:lnTo>
                  <a:pt x="51" y="1468"/>
                </a:lnTo>
                <a:lnTo>
                  <a:pt x="47" y="1467"/>
                </a:lnTo>
                <a:lnTo>
                  <a:pt x="44" y="1466"/>
                </a:lnTo>
                <a:lnTo>
                  <a:pt x="42" y="1465"/>
                </a:lnTo>
                <a:lnTo>
                  <a:pt x="41" y="1463"/>
                </a:lnTo>
                <a:lnTo>
                  <a:pt x="40" y="1461"/>
                </a:lnTo>
                <a:lnTo>
                  <a:pt x="39" y="1459"/>
                </a:lnTo>
                <a:lnTo>
                  <a:pt x="39" y="1456"/>
                </a:lnTo>
                <a:lnTo>
                  <a:pt x="39" y="1451"/>
                </a:lnTo>
                <a:lnTo>
                  <a:pt x="41" y="1448"/>
                </a:lnTo>
                <a:lnTo>
                  <a:pt x="44" y="1446"/>
                </a:lnTo>
                <a:lnTo>
                  <a:pt x="45" y="1445"/>
                </a:lnTo>
                <a:lnTo>
                  <a:pt x="47" y="1444"/>
                </a:lnTo>
                <a:lnTo>
                  <a:pt x="51" y="1443"/>
                </a:lnTo>
                <a:close/>
                <a:moveTo>
                  <a:pt x="1271" y="1404"/>
                </a:moveTo>
                <a:lnTo>
                  <a:pt x="1275" y="1405"/>
                </a:lnTo>
                <a:lnTo>
                  <a:pt x="1276" y="1406"/>
                </a:lnTo>
                <a:lnTo>
                  <a:pt x="1278" y="1407"/>
                </a:lnTo>
                <a:lnTo>
                  <a:pt x="1280" y="1409"/>
                </a:lnTo>
                <a:lnTo>
                  <a:pt x="1281" y="1411"/>
                </a:lnTo>
                <a:lnTo>
                  <a:pt x="1282" y="1413"/>
                </a:lnTo>
                <a:lnTo>
                  <a:pt x="1283" y="1415"/>
                </a:lnTo>
                <a:lnTo>
                  <a:pt x="1283" y="1417"/>
                </a:lnTo>
                <a:lnTo>
                  <a:pt x="1282" y="1420"/>
                </a:lnTo>
                <a:lnTo>
                  <a:pt x="1282" y="1422"/>
                </a:lnTo>
                <a:lnTo>
                  <a:pt x="1280" y="1424"/>
                </a:lnTo>
                <a:lnTo>
                  <a:pt x="1278" y="1426"/>
                </a:lnTo>
                <a:lnTo>
                  <a:pt x="1276" y="1428"/>
                </a:lnTo>
                <a:lnTo>
                  <a:pt x="1273" y="1428"/>
                </a:lnTo>
                <a:lnTo>
                  <a:pt x="1271" y="1429"/>
                </a:lnTo>
                <a:lnTo>
                  <a:pt x="1267" y="1428"/>
                </a:lnTo>
                <a:lnTo>
                  <a:pt x="1265" y="1427"/>
                </a:lnTo>
                <a:lnTo>
                  <a:pt x="1263" y="1426"/>
                </a:lnTo>
                <a:lnTo>
                  <a:pt x="1262" y="1425"/>
                </a:lnTo>
                <a:lnTo>
                  <a:pt x="1260" y="1423"/>
                </a:lnTo>
                <a:lnTo>
                  <a:pt x="1259" y="1420"/>
                </a:lnTo>
                <a:lnTo>
                  <a:pt x="1259" y="1418"/>
                </a:lnTo>
                <a:lnTo>
                  <a:pt x="1259" y="1416"/>
                </a:lnTo>
                <a:lnTo>
                  <a:pt x="1259" y="1414"/>
                </a:lnTo>
                <a:lnTo>
                  <a:pt x="1260" y="1411"/>
                </a:lnTo>
                <a:lnTo>
                  <a:pt x="1261" y="1409"/>
                </a:lnTo>
                <a:lnTo>
                  <a:pt x="1263" y="1407"/>
                </a:lnTo>
                <a:lnTo>
                  <a:pt x="1265" y="1406"/>
                </a:lnTo>
                <a:lnTo>
                  <a:pt x="1268" y="1405"/>
                </a:lnTo>
                <a:lnTo>
                  <a:pt x="1271" y="1404"/>
                </a:lnTo>
                <a:close/>
                <a:moveTo>
                  <a:pt x="1361" y="1292"/>
                </a:moveTo>
                <a:lnTo>
                  <a:pt x="1365" y="1293"/>
                </a:lnTo>
                <a:lnTo>
                  <a:pt x="1367" y="1294"/>
                </a:lnTo>
                <a:lnTo>
                  <a:pt x="1369" y="1295"/>
                </a:lnTo>
                <a:lnTo>
                  <a:pt x="1370" y="1297"/>
                </a:lnTo>
                <a:lnTo>
                  <a:pt x="1372" y="1299"/>
                </a:lnTo>
                <a:lnTo>
                  <a:pt x="1372" y="1301"/>
                </a:lnTo>
                <a:lnTo>
                  <a:pt x="1373" y="1303"/>
                </a:lnTo>
                <a:lnTo>
                  <a:pt x="1373" y="1306"/>
                </a:lnTo>
                <a:lnTo>
                  <a:pt x="1372" y="1308"/>
                </a:lnTo>
                <a:lnTo>
                  <a:pt x="1371" y="1310"/>
                </a:lnTo>
                <a:lnTo>
                  <a:pt x="1370" y="1312"/>
                </a:lnTo>
                <a:lnTo>
                  <a:pt x="1368" y="1314"/>
                </a:lnTo>
                <a:lnTo>
                  <a:pt x="1366" y="1315"/>
                </a:lnTo>
                <a:lnTo>
                  <a:pt x="1363" y="1316"/>
                </a:lnTo>
                <a:lnTo>
                  <a:pt x="1361" y="1316"/>
                </a:lnTo>
                <a:lnTo>
                  <a:pt x="1356" y="1316"/>
                </a:lnTo>
                <a:lnTo>
                  <a:pt x="1354" y="1315"/>
                </a:lnTo>
                <a:lnTo>
                  <a:pt x="1353" y="1313"/>
                </a:lnTo>
                <a:lnTo>
                  <a:pt x="1351" y="1311"/>
                </a:lnTo>
                <a:lnTo>
                  <a:pt x="1350" y="1309"/>
                </a:lnTo>
                <a:lnTo>
                  <a:pt x="1349" y="1307"/>
                </a:lnTo>
                <a:lnTo>
                  <a:pt x="1349" y="1305"/>
                </a:lnTo>
                <a:lnTo>
                  <a:pt x="1349" y="1303"/>
                </a:lnTo>
                <a:lnTo>
                  <a:pt x="1349" y="1300"/>
                </a:lnTo>
                <a:lnTo>
                  <a:pt x="1350" y="1298"/>
                </a:lnTo>
                <a:lnTo>
                  <a:pt x="1352" y="1296"/>
                </a:lnTo>
                <a:lnTo>
                  <a:pt x="1354" y="1294"/>
                </a:lnTo>
                <a:lnTo>
                  <a:pt x="1356" y="1293"/>
                </a:lnTo>
                <a:lnTo>
                  <a:pt x="1358" y="1292"/>
                </a:lnTo>
                <a:lnTo>
                  <a:pt x="1361" y="1292"/>
                </a:lnTo>
                <a:close/>
                <a:moveTo>
                  <a:pt x="1748" y="1267"/>
                </a:moveTo>
                <a:lnTo>
                  <a:pt x="1752" y="1268"/>
                </a:lnTo>
                <a:lnTo>
                  <a:pt x="1756" y="1270"/>
                </a:lnTo>
                <a:lnTo>
                  <a:pt x="1758" y="1274"/>
                </a:lnTo>
                <a:lnTo>
                  <a:pt x="1759" y="1275"/>
                </a:lnTo>
                <a:lnTo>
                  <a:pt x="1760" y="1278"/>
                </a:lnTo>
                <a:lnTo>
                  <a:pt x="1760" y="1280"/>
                </a:lnTo>
                <a:lnTo>
                  <a:pt x="1760" y="1282"/>
                </a:lnTo>
                <a:lnTo>
                  <a:pt x="1759" y="1285"/>
                </a:lnTo>
                <a:lnTo>
                  <a:pt x="1758" y="1287"/>
                </a:lnTo>
                <a:lnTo>
                  <a:pt x="1756" y="1288"/>
                </a:lnTo>
                <a:lnTo>
                  <a:pt x="1754" y="1290"/>
                </a:lnTo>
                <a:lnTo>
                  <a:pt x="1752" y="1291"/>
                </a:lnTo>
                <a:lnTo>
                  <a:pt x="1750" y="1292"/>
                </a:lnTo>
                <a:lnTo>
                  <a:pt x="1748" y="1292"/>
                </a:lnTo>
                <a:lnTo>
                  <a:pt x="1744" y="1291"/>
                </a:lnTo>
                <a:lnTo>
                  <a:pt x="1740" y="1289"/>
                </a:lnTo>
                <a:lnTo>
                  <a:pt x="1737" y="1286"/>
                </a:lnTo>
                <a:lnTo>
                  <a:pt x="1736" y="1284"/>
                </a:lnTo>
                <a:lnTo>
                  <a:pt x="1736" y="1281"/>
                </a:lnTo>
                <a:lnTo>
                  <a:pt x="1736" y="1279"/>
                </a:lnTo>
                <a:lnTo>
                  <a:pt x="1736" y="1277"/>
                </a:lnTo>
                <a:lnTo>
                  <a:pt x="1737" y="1274"/>
                </a:lnTo>
                <a:lnTo>
                  <a:pt x="1738" y="1272"/>
                </a:lnTo>
                <a:lnTo>
                  <a:pt x="1740" y="1271"/>
                </a:lnTo>
                <a:lnTo>
                  <a:pt x="1741" y="1269"/>
                </a:lnTo>
                <a:lnTo>
                  <a:pt x="1744" y="1268"/>
                </a:lnTo>
                <a:lnTo>
                  <a:pt x="1746" y="1267"/>
                </a:lnTo>
                <a:lnTo>
                  <a:pt x="1748" y="1267"/>
                </a:lnTo>
                <a:close/>
                <a:moveTo>
                  <a:pt x="1609" y="1244"/>
                </a:moveTo>
                <a:lnTo>
                  <a:pt x="1612" y="1245"/>
                </a:lnTo>
                <a:lnTo>
                  <a:pt x="1615" y="1246"/>
                </a:lnTo>
                <a:lnTo>
                  <a:pt x="1617" y="1248"/>
                </a:lnTo>
                <a:lnTo>
                  <a:pt x="1619" y="1249"/>
                </a:lnTo>
                <a:lnTo>
                  <a:pt x="1620" y="1251"/>
                </a:lnTo>
                <a:lnTo>
                  <a:pt x="1621" y="1254"/>
                </a:lnTo>
                <a:lnTo>
                  <a:pt x="1621" y="1256"/>
                </a:lnTo>
                <a:lnTo>
                  <a:pt x="1621" y="1258"/>
                </a:lnTo>
                <a:lnTo>
                  <a:pt x="1620" y="1261"/>
                </a:lnTo>
                <a:lnTo>
                  <a:pt x="1619" y="1263"/>
                </a:lnTo>
                <a:lnTo>
                  <a:pt x="1617" y="1265"/>
                </a:lnTo>
                <a:lnTo>
                  <a:pt x="1615" y="1267"/>
                </a:lnTo>
                <a:lnTo>
                  <a:pt x="1612" y="1268"/>
                </a:lnTo>
                <a:lnTo>
                  <a:pt x="1609" y="1269"/>
                </a:lnTo>
                <a:lnTo>
                  <a:pt x="1606" y="1268"/>
                </a:lnTo>
                <a:lnTo>
                  <a:pt x="1602" y="1267"/>
                </a:lnTo>
                <a:lnTo>
                  <a:pt x="1600" y="1265"/>
                </a:lnTo>
                <a:lnTo>
                  <a:pt x="1599" y="1264"/>
                </a:lnTo>
                <a:lnTo>
                  <a:pt x="1598" y="1262"/>
                </a:lnTo>
                <a:lnTo>
                  <a:pt x="1597" y="1259"/>
                </a:lnTo>
                <a:lnTo>
                  <a:pt x="1597" y="1257"/>
                </a:lnTo>
                <a:lnTo>
                  <a:pt x="1597" y="1255"/>
                </a:lnTo>
                <a:lnTo>
                  <a:pt x="1597" y="1252"/>
                </a:lnTo>
                <a:lnTo>
                  <a:pt x="1598" y="1250"/>
                </a:lnTo>
                <a:lnTo>
                  <a:pt x="1600" y="1248"/>
                </a:lnTo>
                <a:lnTo>
                  <a:pt x="1603" y="1246"/>
                </a:lnTo>
                <a:lnTo>
                  <a:pt x="1606" y="1245"/>
                </a:lnTo>
                <a:lnTo>
                  <a:pt x="1609" y="1244"/>
                </a:lnTo>
                <a:close/>
                <a:moveTo>
                  <a:pt x="1883" y="1220"/>
                </a:moveTo>
                <a:lnTo>
                  <a:pt x="1886" y="1220"/>
                </a:lnTo>
                <a:lnTo>
                  <a:pt x="1889" y="1222"/>
                </a:lnTo>
                <a:lnTo>
                  <a:pt x="1892" y="1224"/>
                </a:lnTo>
                <a:lnTo>
                  <a:pt x="1894" y="1226"/>
                </a:lnTo>
                <a:lnTo>
                  <a:pt x="1895" y="1229"/>
                </a:lnTo>
                <a:lnTo>
                  <a:pt x="1895" y="1231"/>
                </a:lnTo>
                <a:lnTo>
                  <a:pt x="1895" y="1233"/>
                </a:lnTo>
                <a:lnTo>
                  <a:pt x="1895" y="1236"/>
                </a:lnTo>
                <a:lnTo>
                  <a:pt x="1894" y="1238"/>
                </a:lnTo>
                <a:lnTo>
                  <a:pt x="1892" y="1240"/>
                </a:lnTo>
                <a:lnTo>
                  <a:pt x="1891" y="1241"/>
                </a:lnTo>
                <a:lnTo>
                  <a:pt x="1889" y="1243"/>
                </a:lnTo>
                <a:lnTo>
                  <a:pt x="1886" y="1244"/>
                </a:lnTo>
                <a:lnTo>
                  <a:pt x="1883" y="1244"/>
                </a:lnTo>
                <a:lnTo>
                  <a:pt x="1880" y="1244"/>
                </a:lnTo>
                <a:lnTo>
                  <a:pt x="1877" y="1242"/>
                </a:lnTo>
                <a:lnTo>
                  <a:pt x="1874" y="1240"/>
                </a:lnTo>
                <a:lnTo>
                  <a:pt x="1872" y="1238"/>
                </a:lnTo>
                <a:lnTo>
                  <a:pt x="1871" y="1235"/>
                </a:lnTo>
                <a:lnTo>
                  <a:pt x="1871" y="1233"/>
                </a:lnTo>
                <a:lnTo>
                  <a:pt x="1871" y="1231"/>
                </a:lnTo>
                <a:lnTo>
                  <a:pt x="1871" y="1228"/>
                </a:lnTo>
                <a:lnTo>
                  <a:pt x="1872" y="1226"/>
                </a:lnTo>
                <a:lnTo>
                  <a:pt x="1874" y="1224"/>
                </a:lnTo>
                <a:lnTo>
                  <a:pt x="1875" y="1223"/>
                </a:lnTo>
                <a:lnTo>
                  <a:pt x="1877" y="1221"/>
                </a:lnTo>
                <a:lnTo>
                  <a:pt x="1880" y="1220"/>
                </a:lnTo>
                <a:lnTo>
                  <a:pt x="1883" y="1220"/>
                </a:lnTo>
                <a:close/>
                <a:moveTo>
                  <a:pt x="1475" y="1208"/>
                </a:moveTo>
                <a:lnTo>
                  <a:pt x="1479" y="1209"/>
                </a:lnTo>
                <a:lnTo>
                  <a:pt x="1482" y="1210"/>
                </a:lnTo>
                <a:lnTo>
                  <a:pt x="1485" y="1213"/>
                </a:lnTo>
                <a:lnTo>
                  <a:pt x="1487" y="1217"/>
                </a:lnTo>
                <a:lnTo>
                  <a:pt x="1487" y="1219"/>
                </a:lnTo>
                <a:lnTo>
                  <a:pt x="1487" y="1222"/>
                </a:lnTo>
                <a:lnTo>
                  <a:pt x="1485" y="1226"/>
                </a:lnTo>
                <a:lnTo>
                  <a:pt x="1484" y="1228"/>
                </a:lnTo>
                <a:lnTo>
                  <a:pt x="1483" y="1229"/>
                </a:lnTo>
                <a:lnTo>
                  <a:pt x="1482" y="1230"/>
                </a:lnTo>
                <a:lnTo>
                  <a:pt x="1480" y="1231"/>
                </a:lnTo>
                <a:lnTo>
                  <a:pt x="1478" y="1232"/>
                </a:lnTo>
                <a:lnTo>
                  <a:pt x="1475" y="1232"/>
                </a:lnTo>
                <a:lnTo>
                  <a:pt x="1471" y="1232"/>
                </a:lnTo>
                <a:lnTo>
                  <a:pt x="1468" y="1230"/>
                </a:lnTo>
                <a:lnTo>
                  <a:pt x="1465" y="1227"/>
                </a:lnTo>
                <a:lnTo>
                  <a:pt x="1463" y="1223"/>
                </a:lnTo>
                <a:lnTo>
                  <a:pt x="1463" y="1221"/>
                </a:lnTo>
                <a:lnTo>
                  <a:pt x="1463" y="1218"/>
                </a:lnTo>
                <a:lnTo>
                  <a:pt x="1464" y="1214"/>
                </a:lnTo>
                <a:lnTo>
                  <a:pt x="1466" y="1212"/>
                </a:lnTo>
                <a:lnTo>
                  <a:pt x="1467" y="1211"/>
                </a:lnTo>
                <a:lnTo>
                  <a:pt x="1469" y="1209"/>
                </a:lnTo>
                <a:lnTo>
                  <a:pt x="1472" y="1208"/>
                </a:lnTo>
                <a:lnTo>
                  <a:pt x="1475" y="1208"/>
                </a:lnTo>
                <a:close/>
                <a:moveTo>
                  <a:pt x="2004" y="1143"/>
                </a:moveTo>
                <a:lnTo>
                  <a:pt x="2007" y="1143"/>
                </a:lnTo>
                <a:lnTo>
                  <a:pt x="2010" y="1144"/>
                </a:lnTo>
                <a:lnTo>
                  <a:pt x="2012" y="1145"/>
                </a:lnTo>
                <a:lnTo>
                  <a:pt x="2014" y="1147"/>
                </a:lnTo>
                <a:lnTo>
                  <a:pt x="2015" y="1150"/>
                </a:lnTo>
                <a:lnTo>
                  <a:pt x="2016" y="1152"/>
                </a:lnTo>
                <a:lnTo>
                  <a:pt x="2017" y="1154"/>
                </a:lnTo>
                <a:lnTo>
                  <a:pt x="2016" y="1156"/>
                </a:lnTo>
                <a:lnTo>
                  <a:pt x="2015" y="1161"/>
                </a:lnTo>
                <a:lnTo>
                  <a:pt x="2014" y="1163"/>
                </a:lnTo>
                <a:lnTo>
                  <a:pt x="2012" y="1164"/>
                </a:lnTo>
                <a:lnTo>
                  <a:pt x="2010" y="1165"/>
                </a:lnTo>
                <a:lnTo>
                  <a:pt x="2008" y="1166"/>
                </a:lnTo>
                <a:lnTo>
                  <a:pt x="2006" y="1167"/>
                </a:lnTo>
                <a:lnTo>
                  <a:pt x="2004" y="1167"/>
                </a:lnTo>
                <a:lnTo>
                  <a:pt x="2002" y="1167"/>
                </a:lnTo>
                <a:lnTo>
                  <a:pt x="1999" y="1166"/>
                </a:lnTo>
                <a:lnTo>
                  <a:pt x="1997" y="1164"/>
                </a:lnTo>
                <a:lnTo>
                  <a:pt x="1995" y="1162"/>
                </a:lnTo>
                <a:lnTo>
                  <a:pt x="1993" y="1160"/>
                </a:lnTo>
                <a:lnTo>
                  <a:pt x="1993" y="1158"/>
                </a:lnTo>
                <a:lnTo>
                  <a:pt x="1992" y="1155"/>
                </a:lnTo>
                <a:lnTo>
                  <a:pt x="1992" y="1153"/>
                </a:lnTo>
                <a:lnTo>
                  <a:pt x="1994" y="1149"/>
                </a:lnTo>
                <a:lnTo>
                  <a:pt x="1995" y="1147"/>
                </a:lnTo>
                <a:lnTo>
                  <a:pt x="1997" y="1145"/>
                </a:lnTo>
                <a:lnTo>
                  <a:pt x="1999" y="1144"/>
                </a:lnTo>
                <a:lnTo>
                  <a:pt x="2001" y="1143"/>
                </a:lnTo>
                <a:lnTo>
                  <a:pt x="2003" y="1143"/>
                </a:lnTo>
                <a:lnTo>
                  <a:pt x="2004" y="1143"/>
                </a:lnTo>
                <a:close/>
                <a:moveTo>
                  <a:pt x="2115" y="1050"/>
                </a:moveTo>
                <a:lnTo>
                  <a:pt x="2117" y="1050"/>
                </a:lnTo>
                <a:lnTo>
                  <a:pt x="2120" y="1051"/>
                </a:lnTo>
                <a:lnTo>
                  <a:pt x="2122" y="1052"/>
                </a:lnTo>
                <a:lnTo>
                  <a:pt x="2124" y="1054"/>
                </a:lnTo>
                <a:lnTo>
                  <a:pt x="2125" y="1056"/>
                </a:lnTo>
                <a:lnTo>
                  <a:pt x="2126" y="1058"/>
                </a:lnTo>
                <a:lnTo>
                  <a:pt x="2127" y="1062"/>
                </a:lnTo>
                <a:lnTo>
                  <a:pt x="2127" y="1065"/>
                </a:lnTo>
                <a:lnTo>
                  <a:pt x="2126" y="1067"/>
                </a:lnTo>
                <a:lnTo>
                  <a:pt x="2125" y="1069"/>
                </a:lnTo>
                <a:lnTo>
                  <a:pt x="2123" y="1071"/>
                </a:lnTo>
                <a:lnTo>
                  <a:pt x="2121" y="1072"/>
                </a:lnTo>
                <a:lnTo>
                  <a:pt x="2119" y="1073"/>
                </a:lnTo>
                <a:lnTo>
                  <a:pt x="2115" y="1074"/>
                </a:lnTo>
                <a:lnTo>
                  <a:pt x="2112" y="1074"/>
                </a:lnTo>
                <a:lnTo>
                  <a:pt x="2110" y="1073"/>
                </a:lnTo>
                <a:lnTo>
                  <a:pt x="2108" y="1072"/>
                </a:lnTo>
                <a:lnTo>
                  <a:pt x="2106" y="1070"/>
                </a:lnTo>
                <a:lnTo>
                  <a:pt x="2104" y="1068"/>
                </a:lnTo>
                <a:lnTo>
                  <a:pt x="2103" y="1066"/>
                </a:lnTo>
                <a:lnTo>
                  <a:pt x="2103" y="1062"/>
                </a:lnTo>
                <a:lnTo>
                  <a:pt x="2103" y="1059"/>
                </a:lnTo>
                <a:lnTo>
                  <a:pt x="2104" y="1057"/>
                </a:lnTo>
                <a:lnTo>
                  <a:pt x="2105" y="1055"/>
                </a:lnTo>
                <a:lnTo>
                  <a:pt x="2107" y="1053"/>
                </a:lnTo>
                <a:lnTo>
                  <a:pt x="2108" y="1052"/>
                </a:lnTo>
                <a:lnTo>
                  <a:pt x="2110" y="1051"/>
                </a:lnTo>
                <a:lnTo>
                  <a:pt x="2115" y="1050"/>
                </a:lnTo>
                <a:close/>
                <a:moveTo>
                  <a:pt x="2216" y="947"/>
                </a:moveTo>
                <a:lnTo>
                  <a:pt x="2220" y="948"/>
                </a:lnTo>
                <a:lnTo>
                  <a:pt x="2222" y="949"/>
                </a:lnTo>
                <a:lnTo>
                  <a:pt x="2224" y="950"/>
                </a:lnTo>
                <a:lnTo>
                  <a:pt x="2226" y="952"/>
                </a:lnTo>
                <a:lnTo>
                  <a:pt x="2227" y="954"/>
                </a:lnTo>
                <a:lnTo>
                  <a:pt x="2228" y="956"/>
                </a:lnTo>
                <a:lnTo>
                  <a:pt x="2228" y="959"/>
                </a:lnTo>
                <a:lnTo>
                  <a:pt x="2227" y="963"/>
                </a:lnTo>
                <a:lnTo>
                  <a:pt x="2226" y="966"/>
                </a:lnTo>
                <a:lnTo>
                  <a:pt x="2225" y="968"/>
                </a:lnTo>
                <a:lnTo>
                  <a:pt x="2223" y="969"/>
                </a:lnTo>
                <a:lnTo>
                  <a:pt x="2221" y="971"/>
                </a:lnTo>
                <a:lnTo>
                  <a:pt x="2218" y="971"/>
                </a:lnTo>
                <a:lnTo>
                  <a:pt x="2216" y="972"/>
                </a:lnTo>
                <a:lnTo>
                  <a:pt x="2212" y="971"/>
                </a:lnTo>
                <a:lnTo>
                  <a:pt x="2210" y="970"/>
                </a:lnTo>
                <a:lnTo>
                  <a:pt x="2208" y="968"/>
                </a:lnTo>
                <a:lnTo>
                  <a:pt x="2206" y="967"/>
                </a:lnTo>
                <a:lnTo>
                  <a:pt x="2205" y="965"/>
                </a:lnTo>
                <a:lnTo>
                  <a:pt x="2204" y="962"/>
                </a:lnTo>
                <a:lnTo>
                  <a:pt x="2204" y="960"/>
                </a:lnTo>
                <a:lnTo>
                  <a:pt x="2204" y="955"/>
                </a:lnTo>
                <a:lnTo>
                  <a:pt x="2205" y="953"/>
                </a:lnTo>
                <a:lnTo>
                  <a:pt x="2207" y="951"/>
                </a:lnTo>
                <a:lnTo>
                  <a:pt x="2209" y="949"/>
                </a:lnTo>
                <a:lnTo>
                  <a:pt x="2211" y="948"/>
                </a:lnTo>
                <a:lnTo>
                  <a:pt x="2213" y="947"/>
                </a:lnTo>
                <a:lnTo>
                  <a:pt x="2216" y="947"/>
                </a:lnTo>
                <a:close/>
                <a:moveTo>
                  <a:pt x="2308" y="837"/>
                </a:moveTo>
                <a:lnTo>
                  <a:pt x="2312" y="837"/>
                </a:lnTo>
                <a:lnTo>
                  <a:pt x="2314" y="838"/>
                </a:lnTo>
                <a:lnTo>
                  <a:pt x="2316" y="839"/>
                </a:lnTo>
                <a:lnTo>
                  <a:pt x="2317" y="841"/>
                </a:lnTo>
                <a:lnTo>
                  <a:pt x="2319" y="843"/>
                </a:lnTo>
                <a:lnTo>
                  <a:pt x="2320" y="845"/>
                </a:lnTo>
                <a:lnTo>
                  <a:pt x="2320" y="847"/>
                </a:lnTo>
                <a:lnTo>
                  <a:pt x="2320" y="849"/>
                </a:lnTo>
                <a:lnTo>
                  <a:pt x="2320" y="852"/>
                </a:lnTo>
                <a:lnTo>
                  <a:pt x="2319" y="854"/>
                </a:lnTo>
                <a:lnTo>
                  <a:pt x="2318" y="856"/>
                </a:lnTo>
                <a:lnTo>
                  <a:pt x="2316" y="858"/>
                </a:lnTo>
                <a:lnTo>
                  <a:pt x="2314" y="860"/>
                </a:lnTo>
                <a:lnTo>
                  <a:pt x="2311" y="861"/>
                </a:lnTo>
                <a:lnTo>
                  <a:pt x="2308" y="861"/>
                </a:lnTo>
                <a:lnTo>
                  <a:pt x="2304" y="860"/>
                </a:lnTo>
                <a:lnTo>
                  <a:pt x="2303" y="859"/>
                </a:lnTo>
                <a:lnTo>
                  <a:pt x="2301" y="858"/>
                </a:lnTo>
                <a:lnTo>
                  <a:pt x="2299" y="857"/>
                </a:lnTo>
                <a:lnTo>
                  <a:pt x="2298" y="855"/>
                </a:lnTo>
                <a:lnTo>
                  <a:pt x="2297" y="853"/>
                </a:lnTo>
                <a:lnTo>
                  <a:pt x="2296" y="850"/>
                </a:lnTo>
                <a:lnTo>
                  <a:pt x="2296" y="848"/>
                </a:lnTo>
                <a:lnTo>
                  <a:pt x="2297" y="846"/>
                </a:lnTo>
                <a:lnTo>
                  <a:pt x="2297" y="843"/>
                </a:lnTo>
                <a:lnTo>
                  <a:pt x="2299" y="841"/>
                </a:lnTo>
                <a:lnTo>
                  <a:pt x="2301" y="839"/>
                </a:lnTo>
                <a:lnTo>
                  <a:pt x="2303" y="838"/>
                </a:lnTo>
                <a:lnTo>
                  <a:pt x="2306" y="837"/>
                </a:lnTo>
                <a:lnTo>
                  <a:pt x="2308" y="837"/>
                </a:lnTo>
                <a:close/>
                <a:moveTo>
                  <a:pt x="2391" y="718"/>
                </a:moveTo>
                <a:lnTo>
                  <a:pt x="2394" y="719"/>
                </a:lnTo>
                <a:lnTo>
                  <a:pt x="2397" y="720"/>
                </a:lnTo>
                <a:lnTo>
                  <a:pt x="2399" y="722"/>
                </a:lnTo>
                <a:lnTo>
                  <a:pt x="2401" y="723"/>
                </a:lnTo>
                <a:lnTo>
                  <a:pt x="2402" y="725"/>
                </a:lnTo>
                <a:lnTo>
                  <a:pt x="2402" y="728"/>
                </a:lnTo>
                <a:lnTo>
                  <a:pt x="2403" y="730"/>
                </a:lnTo>
                <a:lnTo>
                  <a:pt x="2403" y="732"/>
                </a:lnTo>
                <a:lnTo>
                  <a:pt x="2402" y="735"/>
                </a:lnTo>
                <a:lnTo>
                  <a:pt x="2401" y="737"/>
                </a:lnTo>
                <a:lnTo>
                  <a:pt x="2399" y="739"/>
                </a:lnTo>
                <a:lnTo>
                  <a:pt x="2396" y="741"/>
                </a:lnTo>
                <a:lnTo>
                  <a:pt x="2394" y="742"/>
                </a:lnTo>
                <a:lnTo>
                  <a:pt x="2391" y="743"/>
                </a:lnTo>
                <a:lnTo>
                  <a:pt x="2387" y="742"/>
                </a:lnTo>
                <a:lnTo>
                  <a:pt x="2384" y="741"/>
                </a:lnTo>
                <a:lnTo>
                  <a:pt x="2382" y="739"/>
                </a:lnTo>
                <a:lnTo>
                  <a:pt x="2381" y="737"/>
                </a:lnTo>
                <a:lnTo>
                  <a:pt x="2379" y="735"/>
                </a:lnTo>
                <a:lnTo>
                  <a:pt x="2379" y="733"/>
                </a:lnTo>
                <a:lnTo>
                  <a:pt x="2378" y="731"/>
                </a:lnTo>
                <a:lnTo>
                  <a:pt x="2379" y="729"/>
                </a:lnTo>
                <a:lnTo>
                  <a:pt x="2379" y="726"/>
                </a:lnTo>
                <a:lnTo>
                  <a:pt x="2380" y="724"/>
                </a:lnTo>
                <a:lnTo>
                  <a:pt x="2382" y="722"/>
                </a:lnTo>
                <a:lnTo>
                  <a:pt x="2385" y="720"/>
                </a:lnTo>
                <a:lnTo>
                  <a:pt x="2388" y="719"/>
                </a:lnTo>
                <a:lnTo>
                  <a:pt x="2391" y="718"/>
                </a:lnTo>
                <a:close/>
                <a:moveTo>
                  <a:pt x="2459" y="591"/>
                </a:moveTo>
                <a:lnTo>
                  <a:pt x="2461" y="591"/>
                </a:lnTo>
                <a:lnTo>
                  <a:pt x="2464" y="592"/>
                </a:lnTo>
                <a:lnTo>
                  <a:pt x="2466" y="593"/>
                </a:lnTo>
                <a:lnTo>
                  <a:pt x="2468" y="595"/>
                </a:lnTo>
                <a:lnTo>
                  <a:pt x="2469" y="597"/>
                </a:lnTo>
                <a:lnTo>
                  <a:pt x="2470" y="599"/>
                </a:lnTo>
                <a:lnTo>
                  <a:pt x="2471" y="601"/>
                </a:lnTo>
                <a:lnTo>
                  <a:pt x="2471" y="603"/>
                </a:lnTo>
                <a:lnTo>
                  <a:pt x="2471" y="606"/>
                </a:lnTo>
                <a:lnTo>
                  <a:pt x="2470" y="608"/>
                </a:lnTo>
                <a:lnTo>
                  <a:pt x="2468" y="611"/>
                </a:lnTo>
                <a:lnTo>
                  <a:pt x="2467" y="612"/>
                </a:lnTo>
                <a:lnTo>
                  <a:pt x="2466" y="613"/>
                </a:lnTo>
                <a:lnTo>
                  <a:pt x="2464" y="614"/>
                </a:lnTo>
                <a:lnTo>
                  <a:pt x="2463" y="615"/>
                </a:lnTo>
                <a:lnTo>
                  <a:pt x="2459" y="615"/>
                </a:lnTo>
                <a:lnTo>
                  <a:pt x="2457" y="615"/>
                </a:lnTo>
                <a:lnTo>
                  <a:pt x="2454" y="614"/>
                </a:lnTo>
                <a:lnTo>
                  <a:pt x="2452" y="613"/>
                </a:lnTo>
                <a:lnTo>
                  <a:pt x="2450" y="612"/>
                </a:lnTo>
                <a:lnTo>
                  <a:pt x="2449" y="610"/>
                </a:lnTo>
                <a:lnTo>
                  <a:pt x="2448" y="608"/>
                </a:lnTo>
                <a:lnTo>
                  <a:pt x="2447" y="606"/>
                </a:lnTo>
                <a:lnTo>
                  <a:pt x="2447" y="603"/>
                </a:lnTo>
                <a:lnTo>
                  <a:pt x="2447" y="601"/>
                </a:lnTo>
                <a:lnTo>
                  <a:pt x="2448" y="598"/>
                </a:lnTo>
                <a:lnTo>
                  <a:pt x="2450" y="595"/>
                </a:lnTo>
                <a:lnTo>
                  <a:pt x="2451" y="594"/>
                </a:lnTo>
                <a:lnTo>
                  <a:pt x="2452" y="593"/>
                </a:lnTo>
                <a:lnTo>
                  <a:pt x="2454" y="592"/>
                </a:lnTo>
                <a:lnTo>
                  <a:pt x="2456" y="592"/>
                </a:lnTo>
                <a:lnTo>
                  <a:pt x="2459" y="591"/>
                </a:lnTo>
                <a:close/>
                <a:moveTo>
                  <a:pt x="2510" y="455"/>
                </a:moveTo>
                <a:lnTo>
                  <a:pt x="2515" y="456"/>
                </a:lnTo>
                <a:lnTo>
                  <a:pt x="2517" y="457"/>
                </a:lnTo>
                <a:lnTo>
                  <a:pt x="2519" y="459"/>
                </a:lnTo>
                <a:lnTo>
                  <a:pt x="2520" y="460"/>
                </a:lnTo>
                <a:lnTo>
                  <a:pt x="2521" y="462"/>
                </a:lnTo>
                <a:lnTo>
                  <a:pt x="2522" y="465"/>
                </a:lnTo>
                <a:lnTo>
                  <a:pt x="2522" y="467"/>
                </a:lnTo>
                <a:lnTo>
                  <a:pt x="2522" y="472"/>
                </a:lnTo>
                <a:lnTo>
                  <a:pt x="2520" y="475"/>
                </a:lnTo>
                <a:lnTo>
                  <a:pt x="2517" y="477"/>
                </a:lnTo>
                <a:lnTo>
                  <a:pt x="2515" y="478"/>
                </a:lnTo>
                <a:lnTo>
                  <a:pt x="2514" y="479"/>
                </a:lnTo>
                <a:lnTo>
                  <a:pt x="2510" y="479"/>
                </a:lnTo>
                <a:lnTo>
                  <a:pt x="2506" y="479"/>
                </a:lnTo>
                <a:lnTo>
                  <a:pt x="2504" y="478"/>
                </a:lnTo>
                <a:lnTo>
                  <a:pt x="2502" y="476"/>
                </a:lnTo>
                <a:lnTo>
                  <a:pt x="2500" y="474"/>
                </a:lnTo>
                <a:lnTo>
                  <a:pt x="2499" y="472"/>
                </a:lnTo>
                <a:lnTo>
                  <a:pt x="2498" y="470"/>
                </a:lnTo>
                <a:lnTo>
                  <a:pt x="2498" y="468"/>
                </a:lnTo>
                <a:lnTo>
                  <a:pt x="2499" y="463"/>
                </a:lnTo>
                <a:lnTo>
                  <a:pt x="2501" y="460"/>
                </a:lnTo>
                <a:lnTo>
                  <a:pt x="2503" y="457"/>
                </a:lnTo>
                <a:lnTo>
                  <a:pt x="2505" y="456"/>
                </a:lnTo>
                <a:lnTo>
                  <a:pt x="2507" y="456"/>
                </a:lnTo>
                <a:lnTo>
                  <a:pt x="2510" y="455"/>
                </a:lnTo>
                <a:close/>
                <a:moveTo>
                  <a:pt x="2565" y="322"/>
                </a:moveTo>
                <a:lnTo>
                  <a:pt x="2568" y="322"/>
                </a:lnTo>
                <a:lnTo>
                  <a:pt x="2570" y="323"/>
                </a:lnTo>
                <a:lnTo>
                  <a:pt x="2574" y="326"/>
                </a:lnTo>
                <a:lnTo>
                  <a:pt x="2576" y="328"/>
                </a:lnTo>
                <a:lnTo>
                  <a:pt x="2577" y="330"/>
                </a:lnTo>
                <a:lnTo>
                  <a:pt x="2577" y="334"/>
                </a:lnTo>
                <a:lnTo>
                  <a:pt x="2577" y="337"/>
                </a:lnTo>
                <a:lnTo>
                  <a:pt x="2576" y="339"/>
                </a:lnTo>
                <a:lnTo>
                  <a:pt x="2574" y="342"/>
                </a:lnTo>
                <a:lnTo>
                  <a:pt x="2573" y="343"/>
                </a:lnTo>
                <a:lnTo>
                  <a:pt x="2572" y="344"/>
                </a:lnTo>
                <a:lnTo>
                  <a:pt x="2569" y="346"/>
                </a:lnTo>
                <a:lnTo>
                  <a:pt x="2565" y="346"/>
                </a:lnTo>
                <a:lnTo>
                  <a:pt x="2563" y="346"/>
                </a:lnTo>
                <a:lnTo>
                  <a:pt x="2560" y="345"/>
                </a:lnTo>
                <a:lnTo>
                  <a:pt x="2556" y="342"/>
                </a:lnTo>
                <a:lnTo>
                  <a:pt x="2555" y="340"/>
                </a:lnTo>
                <a:lnTo>
                  <a:pt x="2554" y="338"/>
                </a:lnTo>
                <a:lnTo>
                  <a:pt x="2553" y="334"/>
                </a:lnTo>
                <a:lnTo>
                  <a:pt x="2553" y="331"/>
                </a:lnTo>
                <a:lnTo>
                  <a:pt x="2554" y="329"/>
                </a:lnTo>
                <a:lnTo>
                  <a:pt x="2556" y="326"/>
                </a:lnTo>
                <a:lnTo>
                  <a:pt x="2557" y="325"/>
                </a:lnTo>
                <a:lnTo>
                  <a:pt x="2559" y="324"/>
                </a:lnTo>
                <a:lnTo>
                  <a:pt x="2562" y="322"/>
                </a:lnTo>
                <a:lnTo>
                  <a:pt x="2565" y="322"/>
                </a:lnTo>
                <a:close/>
                <a:moveTo>
                  <a:pt x="2628" y="192"/>
                </a:moveTo>
                <a:lnTo>
                  <a:pt x="2631" y="192"/>
                </a:lnTo>
                <a:lnTo>
                  <a:pt x="2633" y="193"/>
                </a:lnTo>
                <a:lnTo>
                  <a:pt x="2635" y="195"/>
                </a:lnTo>
                <a:lnTo>
                  <a:pt x="2637" y="196"/>
                </a:lnTo>
                <a:lnTo>
                  <a:pt x="2638" y="198"/>
                </a:lnTo>
                <a:lnTo>
                  <a:pt x="2639" y="201"/>
                </a:lnTo>
                <a:lnTo>
                  <a:pt x="2640" y="203"/>
                </a:lnTo>
                <a:lnTo>
                  <a:pt x="2640" y="205"/>
                </a:lnTo>
                <a:lnTo>
                  <a:pt x="2639" y="207"/>
                </a:lnTo>
                <a:lnTo>
                  <a:pt x="2638" y="210"/>
                </a:lnTo>
                <a:lnTo>
                  <a:pt x="2637" y="213"/>
                </a:lnTo>
                <a:lnTo>
                  <a:pt x="2634" y="215"/>
                </a:lnTo>
                <a:lnTo>
                  <a:pt x="2631" y="216"/>
                </a:lnTo>
                <a:lnTo>
                  <a:pt x="2628" y="216"/>
                </a:lnTo>
                <a:lnTo>
                  <a:pt x="2625" y="216"/>
                </a:lnTo>
                <a:lnTo>
                  <a:pt x="2622" y="215"/>
                </a:lnTo>
                <a:lnTo>
                  <a:pt x="2620" y="214"/>
                </a:lnTo>
                <a:lnTo>
                  <a:pt x="2618" y="212"/>
                </a:lnTo>
                <a:lnTo>
                  <a:pt x="2617" y="210"/>
                </a:lnTo>
                <a:lnTo>
                  <a:pt x="2616" y="208"/>
                </a:lnTo>
                <a:lnTo>
                  <a:pt x="2616" y="206"/>
                </a:lnTo>
                <a:lnTo>
                  <a:pt x="2616" y="203"/>
                </a:lnTo>
                <a:lnTo>
                  <a:pt x="2616" y="201"/>
                </a:lnTo>
                <a:lnTo>
                  <a:pt x="2617" y="199"/>
                </a:lnTo>
                <a:lnTo>
                  <a:pt x="2619" y="196"/>
                </a:lnTo>
                <a:lnTo>
                  <a:pt x="2622" y="194"/>
                </a:lnTo>
                <a:lnTo>
                  <a:pt x="2625" y="192"/>
                </a:lnTo>
                <a:lnTo>
                  <a:pt x="2628" y="192"/>
                </a:lnTo>
                <a:close/>
                <a:moveTo>
                  <a:pt x="2699" y="67"/>
                </a:moveTo>
                <a:lnTo>
                  <a:pt x="2702" y="67"/>
                </a:lnTo>
                <a:lnTo>
                  <a:pt x="2705" y="69"/>
                </a:lnTo>
                <a:lnTo>
                  <a:pt x="2707" y="70"/>
                </a:lnTo>
                <a:lnTo>
                  <a:pt x="2709" y="72"/>
                </a:lnTo>
                <a:lnTo>
                  <a:pt x="2710" y="74"/>
                </a:lnTo>
                <a:lnTo>
                  <a:pt x="2711" y="76"/>
                </a:lnTo>
                <a:lnTo>
                  <a:pt x="2711" y="78"/>
                </a:lnTo>
                <a:lnTo>
                  <a:pt x="2711" y="81"/>
                </a:lnTo>
                <a:lnTo>
                  <a:pt x="2710" y="83"/>
                </a:lnTo>
                <a:lnTo>
                  <a:pt x="2709" y="85"/>
                </a:lnTo>
                <a:lnTo>
                  <a:pt x="2707" y="88"/>
                </a:lnTo>
                <a:lnTo>
                  <a:pt x="2705" y="90"/>
                </a:lnTo>
                <a:lnTo>
                  <a:pt x="2702" y="91"/>
                </a:lnTo>
                <a:lnTo>
                  <a:pt x="2699" y="91"/>
                </a:lnTo>
                <a:lnTo>
                  <a:pt x="2696" y="91"/>
                </a:lnTo>
                <a:lnTo>
                  <a:pt x="2694" y="90"/>
                </a:lnTo>
                <a:lnTo>
                  <a:pt x="2693" y="89"/>
                </a:lnTo>
                <a:lnTo>
                  <a:pt x="2691" y="88"/>
                </a:lnTo>
                <a:lnTo>
                  <a:pt x="2689" y="86"/>
                </a:lnTo>
                <a:lnTo>
                  <a:pt x="2688" y="84"/>
                </a:lnTo>
                <a:lnTo>
                  <a:pt x="2687" y="82"/>
                </a:lnTo>
                <a:lnTo>
                  <a:pt x="2687" y="79"/>
                </a:lnTo>
                <a:lnTo>
                  <a:pt x="2687" y="77"/>
                </a:lnTo>
                <a:lnTo>
                  <a:pt x="2687" y="75"/>
                </a:lnTo>
                <a:lnTo>
                  <a:pt x="2689" y="72"/>
                </a:lnTo>
                <a:lnTo>
                  <a:pt x="2691" y="70"/>
                </a:lnTo>
                <a:lnTo>
                  <a:pt x="2693" y="68"/>
                </a:lnTo>
                <a:lnTo>
                  <a:pt x="2696" y="67"/>
                </a:lnTo>
                <a:lnTo>
                  <a:pt x="2699" y="67"/>
                </a:lnTo>
                <a:close/>
                <a:moveTo>
                  <a:pt x="732" y="2225"/>
                </a:moveTo>
                <a:lnTo>
                  <a:pt x="734" y="2225"/>
                </a:lnTo>
                <a:lnTo>
                  <a:pt x="736" y="2226"/>
                </a:lnTo>
                <a:lnTo>
                  <a:pt x="738" y="2227"/>
                </a:lnTo>
                <a:lnTo>
                  <a:pt x="740" y="2228"/>
                </a:lnTo>
                <a:lnTo>
                  <a:pt x="742" y="2230"/>
                </a:lnTo>
                <a:lnTo>
                  <a:pt x="743" y="2232"/>
                </a:lnTo>
                <a:lnTo>
                  <a:pt x="744" y="2234"/>
                </a:lnTo>
                <a:lnTo>
                  <a:pt x="744" y="2236"/>
                </a:lnTo>
                <a:lnTo>
                  <a:pt x="744" y="2239"/>
                </a:lnTo>
                <a:lnTo>
                  <a:pt x="743" y="2243"/>
                </a:lnTo>
                <a:lnTo>
                  <a:pt x="742" y="2245"/>
                </a:lnTo>
                <a:lnTo>
                  <a:pt x="740" y="2246"/>
                </a:lnTo>
                <a:lnTo>
                  <a:pt x="738" y="2247"/>
                </a:lnTo>
                <a:lnTo>
                  <a:pt x="737" y="2248"/>
                </a:lnTo>
                <a:lnTo>
                  <a:pt x="732" y="2249"/>
                </a:lnTo>
                <a:lnTo>
                  <a:pt x="731" y="2249"/>
                </a:lnTo>
                <a:lnTo>
                  <a:pt x="728" y="2249"/>
                </a:lnTo>
                <a:lnTo>
                  <a:pt x="726" y="2248"/>
                </a:lnTo>
                <a:lnTo>
                  <a:pt x="724" y="2246"/>
                </a:lnTo>
                <a:lnTo>
                  <a:pt x="723" y="2245"/>
                </a:lnTo>
                <a:lnTo>
                  <a:pt x="722" y="2243"/>
                </a:lnTo>
                <a:lnTo>
                  <a:pt x="721" y="2240"/>
                </a:lnTo>
                <a:lnTo>
                  <a:pt x="720" y="2238"/>
                </a:lnTo>
                <a:lnTo>
                  <a:pt x="720" y="2236"/>
                </a:lnTo>
                <a:lnTo>
                  <a:pt x="722" y="2232"/>
                </a:lnTo>
                <a:lnTo>
                  <a:pt x="723" y="2230"/>
                </a:lnTo>
                <a:lnTo>
                  <a:pt x="724" y="2228"/>
                </a:lnTo>
                <a:lnTo>
                  <a:pt x="726" y="2227"/>
                </a:lnTo>
                <a:lnTo>
                  <a:pt x="728" y="2226"/>
                </a:lnTo>
                <a:lnTo>
                  <a:pt x="732" y="2225"/>
                </a:lnTo>
                <a:close/>
                <a:moveTo>
                  <a:pt x="876" y="2215"/>
                </a:moveTo>
                <a:lnTo>
                  <a:pt x="878" y="2215"/>
                </a:lnTo>
                <a:lnTo>
                  <a:pt x="880" y="2215"/>
                </a:lnTo>
                <a:lnTo>
                  <a:pt x="883" y="2217"/>
                </a:lnTo>
                <a:lnTo>
                  <a:pt x="886" y="2220"/>
                </a:lnTo>
                <a:lnTo>
                  <a:pt x="888" y="2224"/>
                </a:lnTo>
                <a:lnTo>
                  <a:pt x="888" y="2226"/>
                </a:lnTo>
                <a:lnTo>
                  <a:pt x="888" y="2229"/>
                </a:lnTo>
                <a:lnTo>
                  <a:pt x="887" y="2231"/>
                </a:lnTo>
                <a:lnTo>
                  <a:pt x="886" y="2233"/>
                </a:lnTo>
                <a:lnTo>
                  <a:pt x="885" y="2235"/>
                </a:lnTo>
                <a:lnTo>
                  <a:pt x="883" y="2236"/>
                </a:lnTo>
                <a:lnTo>
                  <a:pt x="881" y="2238"/>
                </a:lnTo>
                <a:lnTo>
                  <a:pt x="879" y="2238"/>
                </a:lnTo>
                <a:lnTo>
                  <a:pt x="876" y="2239"/>
                </a:lnTo>
                <a:lnTo>
                  <a:pt x="874" y="2239"/>
                </a:lnTo>
                <a:lnTo>
                  <a:pt x="872" y="2238"/>
                </a:lnTo>
                <a:lnTo>
                  <a:pt x="869" y="2236"/>
                </a:lnTo>
                <a:lnTo>
                  <a:pt x="866" y="2234"/>
                </a:lnTo>
                <a:lnTo>
                  <a:pt x="864" y="2230"/>
                </a:lnTo>
                <a:lnTo>
                  <a:pt x="864" y="2227"/>
                </a:lnTo>
                <a:lnTo>
                  <a:pt x="864" y="2225"/>
                </a:lnTo>
                <a:lnTo>
                  <a:pt x="865" y="2223"/>
                </a:lnTo>
                <a:lnTo>
                  <a:pt x="866" y="2221"/>
                </a:lnTo>
                <a:lnTo>
                  <a:pt x="867" y="2219"/>
                </a:lnTo>
                <a:lnTo>
                  <a:pt x="869" y="2217"/>
                </a:lnTo>
                <a:lnTo>
                  <a:pt x="871" y="2216"/>
                </a:lnTo>
                <a:lnTo>
                  <a:pt x="873" y="2215"/>
                </a:lnTo>
                <a:lnTo>
                  <a:pt x="876" y="2215"/>
                </a:lnTo>
                <a:close/>
                <a:moveTo>
                  <a:pt x="594" y="2186"/>
                </a:moveTo>
                <a:lnTo>
                  <a:pt x="597" y="2186"/>
                </a:lnTo>
                <a:lnTo>
                  <a:pt x="599" y="2187"/>
                </a:lnTo>
                <a:lnTo>
                  <a:pt x="601" y="2188"/>
                </a:lnTo>
                <a:lnTo>
                  <a:pt x="603" y="2190"/>
                </a:lnTo>
                <a:lnTo>
                  <a:pt x="604" y="2192"/>
                </a:lnTo>
                <a:lnTo>
                  <a:pt x="605" y="2194"/>
                </a:lnTo>
                <a:lnTo>
                  <a:pt x="606" y="2198"/>
                </a:lnTo>
                <a:lnTo>
                  <a:pt x="606" y="2201"/>
                </a:lnTo>
                <a:lnTo>
                  <a:pt x="605" y="2203"/>
                </a:lnTo>
                <a:lnTo>
                  <a:pt x="603" y="2206"/>
                </a:lnTo>
                <a:lnTo>
                  <a:pt x="601" y="2208"/>
                </a:lnTo>
                <a:lnTo>
                  <a:pt x="598" y="2210"/>
                </a:lnTo>
                <a:lnTo>
                  <a:pt x="594" y="2210"/>
                </a:lnTo>
                <a:lnTo>
                  <a:pt x="592" y="2210"/>
                </a:lnTo>
                <a:lnTo>
                  <a:pt x="590" y="2209"/>
                </a:lnTo>
                <a:lnTo>
                  <a:pt x="587" y="2208"/>
                </a:lnTo>
                <a:lnTo>
                  <a:pt x="586" y="2206"/>
                </a:lnTo>
                <a:lnTo>
                  <a:pt x="584" y="2205"/>
                </a:lnTo>
                <a:lnTo>
                  <a:pt x="583" y="2202"/>
                </a:lnTo>
                <a:lnTo>
                  <a:pt x="582" y="2198"/>
                </a:lnTo>
                <a:lnTo>
                  <a:pt x="583" y="2196"/>
                </a:lnTo>
                <a:lnTo>
                  <a:pt x="583" y="2193"/>
                </a:lnTo>
                <a:lnTo>
                  <a:pt x="585" y="2190"/>
                </a:lnTo>
                <a:lnTo>
                  <a:pt x="588" y="2188"/>
                </a:lnTo>
                <a:lnTo>
                  <a:pt x="591" y="2187"/>
                </a:lnTo>
                <a:lnTo>
                  <a:pt x="594" y="2186"/>
                </a:lnTo>
                <a:close/>
                <a:moveTo>
                  <a:pt x="1008" y="2159"/>
                </a:moveTo>
                <a:lnTo>
                  <a:pt x="1011" y="2159"/>
                </a:lnTo>
                <a:lnTo>
                  <a:pt x="1014" y="2160"/>
                </a:lnTo>
                <a:lnTo>
                  <a:pt x="1016" y="2162"/>
                </a:lnTo>
                <a:lnTo>
                  <a:pt x="1018" y="2165"/>
                </a:lnTo>
                <a:lnTo>
                  <a:pt x="1020" y="2169"/>
                </a:lnTo>
                <a:lnTo>
                  <a:pt x="1020" y="2171"/>
                </a:lnTo>
                <a:lnTo>
                  <a:pt x="1020" y="2174"/>
                </a:lnTo>
                <a:lnTo>
                  <a:pt x="1019" y="2176"/>
                </a:lnTo>
                <a:lnTo>
                  <a:pt x="1018" y="2178"/>
                </a:lnTo>
                <a:lnTo>
                  <a:pt x="1014" y="2181"/>
                </a:lnTo>
                <a:lnTo>
                  <a:pt x="1011" y="2182"/>
                </a:lnTo>
                <a:lnTo>
                  <a:pt x="1008" y="2183"/>
                </a:lnTo>
                <a:lnTo>
                  <a:pt x="1005" y="2182"/>
                </a:lnTo>
                <a:lnTo>
                  <a:pt x="1002" y="2181"/>
                </a:lnTo>
                <a:lnTo>
                  <a:pt x="1000" y="2179"/>
                </a:lnTo>
                <a:lnTo>
                  <a:pt x="998" y="2177"/>
                </a:lnTo>
                <a:lnTo>
                  <a:pt x="996" y="2172"/>
                </a:lnTo>
                <a:lnTo>
                  <a:pt x="996" y="2170"/>
                </a:lnTo>
                <a:lnTo>
                  <a:pt x="996" y="2167"/>
                </a:lnTo>
                <a:lnTo>
                  <a:pt x="997" y="2165"/>
                </a:lnTo>
                <a:lnTo>
                  <a:pt x="998" y="2163"/>
                </a:lnTo>
                <a:lnTo>
                  <a:pt x="1002" y="2160"/>
                </a:lnTo>
                <a:lnTo>
                  <a:pt x="1005" y="2159"/>
                </a:lnTo>
                <a:lnTo>
                  <a:pt x="1008" y="2159"/>
                </a:lnTo>
                <a:close/>
                <a:moveTo>
                  <a:pt x="468" y="2117"/>
                </a:moveTo>
                <a:lnTo>
                  <a:pt x="471" y="2118"/>
                </a:lnTo>
                <a:lnTo>
                  <a:pt x="474" y="2119"/>
                </a:lnTo>
                <a:lnTo>
                  <a:pt x="476" y="2121"/>
                </a:lnTo>
                <a:lnTo>
                  <a:pt x="478" y="2123"/>
                </a:lnTo>
                <a:lnTo>
                  <a:pt x="479" y="2125"/>
                </a:lnTo>
                <a:lnTo>
                  <a:pt x="480" y="2127"/>
                </a:lnTo>
                <a:lnTo>
                  <a:pt x="480" y="2129"/>
                </a:lnTo>
                <a:lnTo>
                  <a:pt x="480" y="2131"/>
                </a:lnTo>
                <a:lnTo>
                  <a:pt x="479" y="2134"/>
                </a:lnTo>
                <a:lnTo>
                  <a:pt x="478" y="2136"/>
                </a:lnTo>
                <a:lnTo>
                  <a:pt x="476" y="2138"/>
                </a:lnTo>
                <a:lnTo>
                  <a:pt x="474" y="2140"/>
                </a:lnTo>
                <a:lnTo>
                  <a:pt x="471" y="2141"/>
                </a:lnTo>
                <a:lnTo>
                  <a:pt x="468" y="2141"/>
                </a:lnTo>
                <a:lnTo>
                  <a:pt x="465" y="2141"/>
                </a:lnTo>
                <a:lnTo>
                  <a:pt x="461" y="2140"/>
                </a:lnTo>
                <a:lnTo>
                  <a:pt x="460" y="2138"/>
                </a:lnTo>
                <a:lnTo>
                  <a:pt x="458" y="2136"/>
                </a:lnTo>
                <a:lnTo>
                  <a:pt x="457" y="2134"/>
                </a:lnTo>
                <a:lnTo>
                  <a:pt x="456" y="2132"/>
                </a:lnTo>
                <a:lnTo>
                  <a:pt x="456" y="2130"/>
                </a:lnTo>
                <a:lnTo>
                  <a:pt x="456" y="2128"/>
                </a:lnTo>
                <a:lnTo>
                  <a:pt x="457" y="2125"/>
                </a:lnTo>
                <a:lnTo>
                  <a:pt x="458" y="2123"/>
                </a:lnTo>
                <a:lnTo>
                  <a:pt x="460" y="2121"/>
                </a:lnTo>
                <a:lnTo>
                  <a:pt x="462" y="2119"/>
                </a:lnTo>
                <a:lnTo>
                  <a:pt x="465" y="2118"/>
                </a:lnTo>
                <a:lnTo>
                  <a:pt x="468" y="2117"/>
                </a:lnTo>
                <a:close/>
                <a:moveTo>
                  <a:pt x="1125" y="2075"/>
                </a:moveTo>
                <a:lnTo>
                  <a:pt x="1127" y="2075"/>
                </a:lnTo>
                <a:lnTo>
                  <a:pt x="1130" y="2076"/>
                </a:lnTo>
                <a:lnTo>
                  <a:pt x="1132" y="2077"/>
                </a:lnTo>
                <a:lnTo>
                  <a:pt x="1134" y="2079"/>
                </a:lnTo>
                <a:lnTo>
                  <a:pt x="1135" y="2081"/>
                </a:lnTo>
                <a:lnTo>
                  <a:pt x="1136" y="2083"/>
                </a:lnTo>
                <a:lnTo>
                  <a:pt x="1137" y="2085"/>
                </a:lnTo>
                <a:lnTo>
                  <a:pt x="1137" y="2088"/>
                </a:lnTo>
                <a:lnTo>
                  <a:pt x="1136" y="2090"/>
                </a:lnTo>
                <a:lnTo>
                  <a:pt x="1135" y="2092"/>
                </a:lnTo>
                <a:lnTo>
                  <a:pt x="1134" y="2094"/>
                </a:lnTo>
                <a:lnTo>
                  <a:pt x="1133" y="2096"/>
                </a:lnTo>
                <a:lnTo>
                  <a:pt x="1129" y="2098"/>
                </a:lnTo>
                <a:lnTo>
                  <a:pt x="1125" y="2099"/>
                </a:lnTo>
                <a:lnTo>
                  <a:pt x="1122" y="2098"/>
                </a:lnTo>
                <a:lnTo>
                  <a:pt x="1120" y="2098"/>
                </a:lnTo>
                <a:lnTo>
                  <a:pt x="1118" y="2096"/>
                </a:lnTo>
                <a:lnTo>
                  <a:pt x="1116" y="2095"/>
                </a:lnTo>
                <a:lnTo>
                  <a:pt x="1114" y="2093"/>
                </a:lnTo>
                <a:lnTo>
                  <a:pt x="1113" y="2090"/>
                </a:lnTo>
                <a:lnTo>
                  <a:pt x="1113" y="2088"/>
                </a:lnTo>
                <a:lnTo>
                  <a:pt x="1113" y="2086"/>
                </a:lnTo>
                <a:lnTo>
                  <a:pt x="1113" y="2084"/>
                </a:lnTo>
                <a:lnTo>
                  <a:pt x="1114" y="2081"/>
                </a:lnTo>
                <a:lnTo>
                  <a:pt x="1115" y="2079"/>
                </a:lnTo>
                <a:lnTo>
                  <a:pt x="1117" y="2078"/>
                </a:lnTo>
                <a:lnTo>
                  <a:pt x="1121" y="2075"/>
                </a:lnTo>
                <a:lnTo>
                  <a:pt x="1125" y="2075"/>
                </a:lnTo>
                <a:close/>
                <a:moveTo>
                  <a:pt x="348" y="2038"/>
                </a:moveTo>
                <a:lnTo>
                  <a:pt x="351" y="2039"/>
                </a:lnTo>
                <a:lnTo>
                  <a:pt x="353" y="2039"/>
                </a:lnTo>
                <a:lnTo>
                  <a:pt x="354" y="2040"/>
                </a:lnTo>
                <a:lnTo>
                  <a:pt x="356" y="2042"/>
                </a:lnTo>
                <a:lnTo>
                  <a:pt x="358" y="2043"/>
                </a:lnTo>
                <a:lnTo>
                  <a:pt x="359" y="2046"/>
                </a:lnTo>
                <a:lnTo>
                  <a:pt x="359" y="2048"/>
                </a:lnTo>
                <a:lnTo>
                  <a:pt x="359" y="2052"/>
                </a:lnTo>
                <a:lnTo>
                  <a:pt x="359" y="2055"/>
                </a:lnTo>
                <a:lnTo>
                  <a:pt x="358" y="2057"/>
                </a:lnTo>
                <a:lnTo>
                  <a:pt x="356" y="2059"/>
                </a:lnTo>
                <a:lnTo>
                  <a:pt x="353" y="2061"/>
                </a:lnTo>
                <a:lnTo>
                  <a:pt x="351" y="2062"/>
                </a:lnTo>
                <a:lnTo>
                  <a:pt x="348" y="2062"/>
                </a:lnTo>
                <a:lnTo>
                  <a:pt x="344" y="2062"/>
                </a:lnTo>
                <a:lnTo>
                  <a:pt x="341" y="2060"/>
                </a:lnTo>
                <a:lnTo>
                  <a:pt x="339" y="2058"/>
                </a:lnTo>
                <a:lnTo>
                  <a:pt x="338" y="2057"/>
                </a:lnTo>
                <a:lnTo>
                  <a:pt x="337" y="2055"/>
                </a:lnTo>
                <a:lnTo>
                  <a:pt x="336" y="2052"/>
                </a:lnTo>
                <a:lnTo>
                  <a:pt x="336" y="2048"/>
                </a:lnTo>
                <a:lnTo>
                  <a:pt x="337" y="2046"/>
                </a:lnTo>
                <a:lnTo>
                  <a:pt x="338" y="2043"/>
                </a:lnTo>
                <a:lnTo>
                  <a:pt x="340" y="2041"/>
                </a:lnTo>
                <a:lnTo>
                  <a:pt x="342" y="2039"/>
                </a:lnTo>
                <a:lnTo>
                  <a:pt x="345" y="2038"/>
                </a:lnTo>
                <a:lnTo>
                  <a:pt x="348" y="2038"/>
                </a:lnTo>
                <a:close/>
                <a:moveTo>
                  <a:pt x="1226" y="1972"/>
                </a:moveTo>
                <a:lnTo>
                  <a:pt x="1230" y="1973"/>
                </a:lnTo>
                <a:lnTo>
                  <a:pt x="1234" y="1975"/>
                </a:lnTo>
                <a:lnTo>
                  <a:pt x="1235" y="1977"/>
                </a:lnTo>
                <a:lnTo>
                  <a:pt x="1237" y="1979"/>
                </a:lnTo>
                <a:lnTo>
                  <a:pt x="1237" y="1981"/>
                </a:lnTo>
                <a:lnTo>
                  <a:pt x="1238" y="1984"/>
                </a:lnTo>
                <a:lnTo>
                  <a:pt x="1238" y="1986"/>
                </a:lnTo>
                <a:lnTo>
                  <a:pt x="1237" y="1988"/>
                </a:lnTo>
                <a:lnTo>
                  <a:pt x="1236" y="1990"/>
                </a:lnTo>
                <a:lnTo>
                  <a:pt x="1235" y="1992"/>
                </a:lnTo>
                <a:lnTo>
                  <a:pt x="1233" y="1994"/>
                </a:lnTo>
                <a:lnTo>
                  <a:pt x="1231" y="1995"/>
                </a:lnTo>
                <a:lnTo>
                  <a:pt x="1228" y="1996"/>
                </a:lnTo>
                <a:lnTo>
                  <a:pt x="1226" y="1996"/>
                </a:lnTo>
                <a:lnTo>
                  <a:pt x="1222" y="1996"/>
                </a:lnTo>
                <a:lnTo>
                  <a:pt x="1218" y="1993"/>
                </a:lnTo>
                <a:lnTo>
                  <a:pt x="1216" y="1992"/>
                </a:lnTo>
                <a:lnTo>
                  <a:pt x="1215" y="1990"/>
                </a:lnTo>
                <a:lnTo>
                  <a:pt x="1214" y="1987"/>
                </a:lnTo>
                <a:lnTo>
                  <a:pt x="1214" y="1985"/>
                </a:lnTo>
                <a:lnTo>
                  <a:pt x="1214" y="1983"/>
                </a:lnTo>
                <a:lnTo>
                  <a:pt x="1214" y="1981"/>
                </a:lnTo>
                <a:lnTo>
                  <a:pt x="1215" y="1978"/>
                </a:lnTo>
                <a:lnTo>
                  <a:pt x="1217" y="1976"/>
                </a:lnTo>
                <a:lnTo>
                  <a:pt x="1219" y="1975"/>
                </a:lnTo>
                <a:lnTo>
                  <a:pt x="1221" y="1973"/>
                </a:lnTo>
                <a:lnTo>
                  <a:pt x="1223" y="1973"/>
                </a:lnTo>
                <a:lnTo>
                  <a:pt x="1226" y="1972"/>
                </a:lnTo>
                <a:close/>
                <a:moveTo>
                  <a:pt x="226" y="1961"/>
                </a:moveTo>
                <a:lnTo>
                  <a:pt x="229" y="1961"/>
                </a:lnTo>
                <a:lnTo>
                  <a:pt x="232" y="1962"/>
                </a:lnTo>
                <a:lnTo>
                  <a:pt x="234" y="1964"/>
                </a:lnTo>
                <a:lnTo>
                  <a:pt x="235" y="1965"/>
                </a:lnTo>
                <a:lnTo>
                  <a:pt x="236" y="1966"/>
                </a:lnTo>
                <a:lnTo>
                  <a:pt x="237" y="1968"/>
                </a:lnTo>
                <a:lnTo>
                  <a:pt x="238" y="1970"/>
                </a:lnTo>
                <a:lnTo>
                  <a:pt x="238" y="1972"/>
                </a:lnTo>
                <a:lnTo>
                  <a:pt x="238" y="1974"/>
                </a:lnTo>
                <a:lnTo>
                  <a:pt x="236" y="1979"/>
                </a:lnTo>
                <a:lnTo>
                  <a:pt x="234" y="1981"/>
                </a:lnTo>
                <a:lnTo>
                  <a:pt x="232" y="1983"/>
                </a:lnTo>
                <a:lnTo>
                  <a:pt x="229" y="1984"/>
                </a:lnTo>
                <a:lnTo>
                  <a:pt x="226" y="1985"/>
                </a:lnTo>
                <a:lnTo>
                  <a:pt x="223" y="1984"/>
                </a:lnTo>
                <a:lnTo>
                  <a:pt x="220" y="1983"/>
                </a:lnTo>
                <a:lnTo>
                  <a:pt x="218" y="1982"/>
                </a:lnTo>
                <a:lnTo>
                  <a:pt x="217" y="1981"/>
                </a:lnTo>
                <a:lnTo>
                  <a:pt x="216" y="1980"/>
                </a:lnTo>
                <a:lnTo>
                  <a:pt x="215" y="1978"/>
                </a:lnTo>
                <a:lnTo>
                  <a:pt x="214" y="1976"/>
                </a:lnTo>
                <a:lnTo>
                  <a:pt x="214" y="1974"/>
                </a:lnTo>
                <a:lnTo>
                  <a:pt x="214" y="1971"/>
                </a:lnTo>
                <a:lnTo>
                  <a:pt x="216" y="1967"/>
                </a:lnTo>
                <a:lnTo>
                  <a:pt x="218" y="1964"/>
                </a:lnTo>
                <a:lnTo>
                  <a:pt x="220" y="1962"/>
                </a:lnTo>
                <a:lnTo>
                  <a:pt x="223" y="1961"/>
                </a:lnTo>
                <a:lnTo>
                  <a:pt x="226" y="1961"/>
                </a:lnTo>
                <a:close/>
                <a:moveTo>
                  <a:pt x="96" y="1899"/>
                </a:moveTo>
                <a:lnTo>
                  <a:pt x="100" y="1900"/>
                </a:lnTo>
                <a:lnTo>
                  <a:pt x="103" y="1901"/>
                </a:lnTo>
                <a:lnTo>
                  <a:pt x="104" y="1902"/>
                </a:lnTo>
                <a:lnTo>
                  <a:pt x="106" y="1904"/>
                </a:lnTo>
                <a:lnTo>
                  <a:pt x="107" y="1906"/>
                </a:lnTo>
                <a:lnTo>
                  <a:pt x="108" y="1908"/>
                </a:lnTo>
                <a:lnTo>
                  <a:pt x="108" y="1910"/>
                </a:lnTo>
                <a:lnTo>
                  <a:pt x="108" y="1915"/>
                </a:lnTo>
                <a:lnTo>
                  <a:pt x="106" y="1919"/>
                </a:lnTo>
                <a:lnTo>
                  <a:pt x="103" y="1921"/>
                </a:lnTo>
                <a:lnTo>
                  <a:pt x="102" y="1922"/>
                </a:lnTo>
                <a:lnTo>
                  <a:pt x="100" y="1923"/>
                </a:lnTo>
                <a:lnTo>
                  <a:pt x="96" y="1923"/>
                </a:lnTo>
                <a:lnTo>
                  <a:pt x="92" y="1922"/>
                </a:lnTo>
                <a:lnTo>
                  <a:pt x="90" y="1921"/>
                </a:lnTo>
                <a:lnTo>
                  <a:pt x="88" y="1920"/>
                </a:lnTo>
                <a:lnTo>
                  <a:pt x="87" y="1918"/>
                </a:lnTo>
                <a:lnTo>
                  <a:pt x="85" y="1916"/>
                </a:lnTo>
                <a:lnTo>
                  <a:pt x="85" y="1914"/>
                </a:lnTo>
                <a:lnTo>
                  <a:pt x="84" y="1912"/>
                </a:lnTo>
                <a:lnTo>
                  <a:pt x="85" y="1907"/>
                </a:lnTo>
                <a:lnTo>
                  <a:pt x="87" y="1904"/>
                </a:lnTo>
                <a:lnTo>
                  <a:pt x="89" y="1901"/>
                </a:lnTo>
                <a:lnTo>
                  <a:pt x="91" y="1900"/>
                </a:lnTo>
                <a:lnTo>
                  <a:pt x="93" y="1900"/>
                </a:lnTo>
                <a:lnTo>
                  <a:pt x="96" y="1899"/>
                </a:lnTo>
                <a:close/>
                <a:moveTo>
                  <a:pt x="1316" y="1860"/>
                </a:moveTo>
                <a:lnTo>
                  <a:pt x="1320" y="1861"/>
                </a:lnTo>
                <a:lnTo>
                  <a:pt x="1324" y="1863"/>
                </a:lnTo>
                <a:lnTo>
                  <a:pt x="1327" y="1866"/>
                </a:lnTo>
                <a:lnTo>
                  <a:pt x="1328" y="1868"/>
                </a:lnTo>
                <a:lnTo>
                  <a:pt x="1328" y="1871"/>
                </a:lnTo>
                <a:lnTo>
                  <a:pt x="1328" y="1873"/>
                </a:lnTo>
                <a:lnTo>
                  <a:pt x="1328" y="1875"/>
                </a:lnTo>
                <a:lnTo>
                  <a:pt x="1327" y="1877"/>
                </a:lnTo>
                <a:lnTo>
                  <a:pt x="1326" y="1880"/>
                </a:lnTo>
                <a:lnTo>
                  <a:pt x="1324" y="1882"/>
                </a:lnTo>
                <a:lnTo>
                  <a:pt x="1321" y="1883"/>
                </a:lnTo>
                <a:lnTo>
                  <a:pt x="1319" y="1884"/>
                </a:lnTo>
                <a:lnTo>
                  <a:pt x="1316" y="1884"/>
                </a:lnTo>
                <a:lnTo>
                  <a:pt x="1312" y="1884"/>
                </a:lnTo>
                <a:lnTo>
                  <a:pt x="1309" y="1882"/>
                </a:lnTo>
                <a:lnTo>
                  <a:pt x="1306" y="1878"/>
                </a:lnTo>
                <a:lnTo>
                  <a:pt x="1305" y="1876"/>
                </a:lnTo>
                <a:lnTo>
                  <a:pt x="1304" y="1874"/>
                </a:lnTo>
                <a:lnTo>
                  <a:pt x="1304" y="1871"/>
                </a:lnTo>
                <a:lnTo>
                  <a:pt x="1305" y="1869"/>
                </a:lnTo>
                <a:lnTo>
                  <a:pt x="1305" y="1867"/>
                </a:lnTo>
                <a:lnTo>
                  <a:pt x="1307" y="1865"/>
                </a:lnTo>
                <a:lnTo>
                  <a:pt x="1309" y="1863"/>
                </a:lnTo>
                <a:lnTo>
                  <a:pt x="1311" y="1861"/>
                </a:lnTo>
                <a:lnTo>
                  <a:pt x="1314" y="1860"/>
                </a:lnTo>
                <a:lnTo>
                  <a:pt x="1316" y="1860"/>
                </a:lnTo>
                <a:close/>
                <a:moveTo>
                  <a:pt x="1406" y="1748"/>
                </a:moveTo>
                <a:lnTo>
                  <a:pt x="1410" y="1748"/>
                </a:lnTo>
                <a:lnTo>
                  <a:pt x="1412" y="1749"/>
                </a:lnTo>
                <a:lnTo>
                  <a:pt x="1414" y="1751"/>
                </a:lnTo>
                <a:lnTo>
                  <a:pt x="1416" y="1753"/>
                </a:lnTo>
                <a:lnTo>
                  <a:pt x="1417" y="1755"/>
                </a:lnTo>
                <a:lnTo>
                  <a:pt x="1418" y="1757"/>
                </a:lnTo>
                <a:lnTo>
                  <a:pt x="1418" y="1759"/>
                </a:lnTo>
                <a:lnTo>
                  <a:pt x="1418" y="1761"/>
                </a:lnTo>
                <a:lnTo>
                  <a:pt x="1418" y="1764"/>
                </a:lnTo>
                <a:lnTo>
                  <a:pt x="1417" y="1766"/>
                </a:lnTo>
                <a:lnTo>
                  <a:pt x="1415" y="1768"/>
                </a:lnTo>
                <a:lnTo>
                  <a:pt x="1413" y="1769"/>
                </a:lnTo>
                <a:lnTo>
                  <a:pt x="1411" y="1771"/>
                </a:lnTo>
                <a:lnTo>
                  <a:pt x="1409" y="1771"/>
                </a:lnTo>
                <a:lnTo>
                  <a:pt x="1406" y="1772"/>
                </a:lnTo>
                <a:lnTo>
                  <a:pt x="1402" y="1771"/>
                </a:lnTo>
                <a:lnTo>
                  <a:pt x="1400" y="1770"/>
                </a:lnTo>
                <a:lnTo>
                  <a:pt x="1398" y="1769"/>
                </a:lnTo>
                <a:lnTo>
                  <a:pt x="1397" y="1767"/>
                </a:lnTo>
                <a:lnTo>
                  <a:pt x="1395" y="1765"/>
                </a:lnTo>
                <a:lnTo>
                  <a:pt x="1395" y="1763"/>
                </a:lnTo>
                <a:lnTo>
                  <a:pt x="1394" y="1760"/>
                </a:lnTo>
                <a:lnTo>
                  <a:pt x="1394" y="1758"/>
                </a:lnTo>
                <a:lnTo>
                  <a:pt x="1395" y="1756"/>
                </a:lnTo>
                <a:lnTo>
                  <a:pt x="1396" y="1754"/>
                </a:lnTo>
                <a:lnTo>
                  <a:pt x="1397" y="1752"/>
                </a:lnTo>
                <a:lnTo>
                  <a:pt x="1399" y="1750"/>
                </a:lnTo>
                <a:lnTo>
                  <a:pt x="1401" y="1749"/>
                </a:lnTo>
                <a:lnTo>
                  <a:pt x="1404" y="1748"/>
                </a:lnTo>
                <a:lnTo>
                  <a:pt x="1406" y="1748"/>
                </a:lnTo>
                <a:close/>
                <a:moveTo>
                  <a:pt x="1793" y="1723"/>
                </a:moveTo>
                <a:lnTo>
                  <a:pt x="1797" y="1724"/>
                </a:lnTo>
                <a:lnTo>
                  <a:pt x="1801" y="1726"/>
                </a:lnTo>
                <a:lnTo>
                  <a:pt x="1804" y="1729"/>
                </a:lnTo>
                <a:lnTo>
                  <a:pt x="1805" y="1731"/>
                </a:lnTo>
                <a:lnTo>
                  <a:pt x="1805" y="1733"/>
                </a:lnTo>
                <a:lnTo>
                  <a:pt x="1805" y="1736"/>
                </a:lnTo>
                <a:lnTo>
                  <a:pt x="1805" y="1738"/>
                </a:lnTo>
                <a:lnTo>
                  <a:pt x="1804" y="1740"/>
                </a:lnTo>
                <a:lnTo>
                  <a:pt x="1803" y="1742"/>
                </a:lnTo>
                <a:lnTo>
                  <a:pt x="1801" y="1744"/>
                </a:lnTo>
                <a:lnTo>
                  <a:pt x="1800" y="1745"/>
                </a:lnTo>
                <a:lnTo>
                  <a:pt x="1797" y="1746"/>
                </a:lnTo>
                <a:lnTo>
                  <a:pt x="1795" y="1747"/>
                </a:lnTo>
                <a:lnTo>
                  <a:pt x="1793" y="1747"/>
                </a:lnTo>
                <a:lnTo>
                  <a:pt x="1789" y="1746"/>
                </a:lnTo>
                <a:lnTo>
                  <a:pt x="1786" y="1744"/>
                </a:lnTo>
                <a:lnTo>
                  <a:pt x="1783" y="1741"/>
                </a:lnTo>
                <a:lnTo>
                  <a:pt x="1782" y="1739"/>
                </a:lnTo>
                <a:lnTo>
                  <a:pt x="1781" y="1737"/>
                </a:lnTo>
                <a:lnTo>
                  <a:pt x="1781" y="1734"/>
                </a:lnTo>
                <a:lnTo>
                  <a:pt x="1782" y="1732"/>
                </a:lnTo>
                <a:lnTo>
                  <a:pt x="1782" y="1730"/>
                </a:lnTo>
                <a:lnTo>
                  <a:pt x="1784" y="1728"/>
                </a:lnTo>
                <a:lnTo>
                  <a:pt x="1787" y="1725"/>
                </a:lnTo>
                <a:lnTo>
                  <a:pt x="1789" y="1724"/>
                </a:lnTo>
                <a:lnTo>
                  <a:pt x="1791" y="1723"/>
                </a:lnTo>
                <a:lnTo>
                  <a:pt x="1793" y="1723"/>
                </a:lnTo>
                <a:close/>
                <a:moveTo>
                  <a:pt x="1654" y="1700"/>
                </a:moveTo>
                <a:lnTo>
                  <a:pt x="1658" y="1700"/>
                </a:lnTo>
                <a:lnTo>
                  <a:pt x="1661" y="1702"/>
                </a:lnTo>
                <a:lnTo>
                  <a:pt x="1663" y="1703"/>
                </a:lnTo>
                <a:lnTo>
                  <a:pt x="1664" y="1705"/>
                </a:lnTo>
                <a:lnTo>
                  <a:pt x="1665" y="1707"/>
                </a:lnTo>
                <a:lnTo>
                  <a:pt x="1666" y="1709"/>
                </a:lnTo>
                <a:lnTo>
                  <a:pt x="1666" y="1711"/>
                </a:lnTo>
                <a:lnTo>
                  <a:pt x="1666" y="1714"/>
                </a:lnTo>
                <a:lnTo>
                  <a:pt x="1666" y="1716"/>
                </a:lnTo>
                <a:lnTo>
                  <a:pt x="1665" y="1718"/>
                </a:lnTo>
                <a:lnTo>
                  <a:pt x="1663" y="1721"/>
                </a:lnTo>
                <a:lnTo>
                  <a:pt x="1660" y="1723"/>
                </a:lnTo>
                <a:lnTo>
                  <a:pt x="1657" y="1724"/>
                </a:lnTo>
                <a:lnTo>
                  <a:pt x="1654" y="1724"/>
                </a:lnTo>
                <a:lnTo>
                  <a:pt x="1651" y="1724"/>
                </a:lnTo>
                <a:lnTo>
                  <a:pt x="1648" y="1722"/>
                </a:lnTo>
                <a:lnTo>
                  <a:pt x="1646" y="1721"/>
                </a:lnTo>
                <a:lnTo>
                  <a:pt x="1645" y="1719"/>
                </a:lnTo>
                <a:lnTo>
                  <a:pt x="1643" y="1717"/>
                </a:lnTo>
                <a:lnTo>
                  <a:pt x="1643" y="1715"/>
                </a:lnTo>
                <a:lnTo>
                  <a:pt x="1642" y="1713"/>
                </a:lnTo>
                <a:lnTo>
                  <a:pt x="1642" y="1710"/>
                </a:lnTo>
                <a:lnTo>
                  <a:pt x="1643" y="1708"/>
                </a:lnTo>
                <a:lnTo>
                  <a:pt x="1644" y="1706"/>
                </a:lnTo>
                <a:lnTo>
                  <a:pt x="1646" y="1703"/>
                </a:lnTo>
                <a:lnTo>
                  <a:pt x="1649" y="1701"/>
                </a:lnTo>
                <a:lnTo>
                  <a:pt x="1651" y="1700"/>
                </a:lnTo>
                <a:lnTo>
                  <a:pt x="1654" y="1700"/>
                </a:lnTo>
                <a:close/>
                <a:moveTo>
                  <a:pt x="1929" y="1675"/>
                </a:moveTo>
                <a:lnTo>
                  <a:pt x="1932" y="1675"/>
                </a:lnTo>
                <a:lnTo>
                  <a:pt x="1935" y="1676"/>
                </a:lnTo>
                <a:lnTo>
                  <a:pt x="1937" y="1678"/>
                </a:lnTo>
                <a:lnTo>
                  <a:pt x="1939" y="1681"/>
                </a:lnTo>
                <a:lnTo>
                  <a:pt x="1940" y="1683"/>
                </a:lnTo>
                <a:lnTo>
                  <a:pt x="1941" y="1687"/>
                </a:lnTo>
                <a:lnTo>
                  <a:pt x="1941" y="1689"/>
                </a:lnTo>
                <a:lnTo>
                  <a:pt x="1940" y="1691"/>
                </a:lnTo>
                <a:lnTo>
                  <a:pt x="1939" y="1693"/>
                </a:lnTo>
                <a:lnTo>
                  <a:pt x="1938" y="1695"/>
                </a:lnTo>
                <a:lnTo>
                  <a:pt x="1936" y="1697"/>
                </a:lnTo>
                <a:lnTo>
                  <a:pt x="1934" y="1698"/>
                </a:lnTo>
                <a:lnTo>
                  <a:pt x="1931" y="1699"/>
                </a:lnTo>
                <a:lnTo>
                  <a:pt x="1929" y="1700"/>
                </a:lnTo>
                <a:lnTo>
                  <a:pt x="1925" y="1699"/>
                </a:lnTo>
                <a:lnTo>
                  <a:pt x="1922" y="1698"/>
                </a:lnTo>
                <a:lnTo>
                  <a:pt x="1920" y="1696"/>
                </a:lnTo>
                <a:lnTo>
                  <a:pt x="1918" y="1693"/>
                </a:lnTo>
                <a:lnTo>
                  <a:pt x="1917" y="1691"/>
                </a:lnTo>
                <a:lnTo>
                  <a:pt x="1917" y="1689"/>
                </a:lnTo>
                <a:lnTo>
                  <a:pt x="1917" y="1685"/>
                </a:lnTo>
                <a:lnTo>
                  <a:pt x="1917" y="1683"/>
                </a:lnTo>
                <a:lnTo>
                  <a:pt x="1918" y="1681"/>
                </a:lnTo>
                <a:lnTo>
                  <a:pt x="1919" y="1679"/>
                </a:lnTo>
                <a:lnTo>
                  <a:pt x="1921" y="1677"/>
                </a:lnTo>
                <a:lnTo>
                  <a:pt x="1923" y="1676"/>
                </a:lnTo>
                <a:lnTo>
                  <a:pt x="1926" y="1675"/>
                </a:lnTo>
                <a:lnTo>
                  <a:pt x="1929" y="1675"/>
                </a:lnTo>
                <a:close/>
                <a:moveTo>
                  <a:pt x="1520" y="1663"/>
                </a:moveTo>
                <a:lnTo>
                  <a:pt x="1524" y="1663"/>
                </a:lnTo>
                <a:lnTo>
                  <a:pt x="1528" y="1665"/>
                </a:lnTo>
                <a:lnTo>
                  <a:pt x="1530" y="1668"/>
                </a:lnTo>
                <a:lnTo>
                  <a:pt x="1532" y="1672"/>
                </a:lnTo>
                <a:lnTo>
                  <a:pt x="1532" y="1674"/>
                </a:lnTo>
                <a:lnTo>
                  <a:pt x="1532" y="1676"/>
                </a:lnTo>
                <a:lnTo>
                  <a:pt x="1532" y="1679"/>
                </a:lnTo>
                <a:lnTo>
                  <a:pt x="1531" y="1681"/>
                </a:lnTo>
                <a:lnTo>
                  <a:pt x="1530" y="1683"/>
                </a:lnTo>
                <a:lnTo>
                  <a:pt x="1528" y="1684"/>
                </a:lnTo>
                <a:lnTo>
                  <a:pt x="1526" y="1685"/>
                </a:lnTo>
                <a:lnTo>
                  <a:pt x="1524" y="1687"/>
                </a:lnTo>
                <a:lnTo>
                  <a:pt x="1520" y="1688"/>
                </a:lnTo>
                <a:lnTo>
                  <a:pt x="1517" y="1687"/>
                </a:lnTo>
                <a:lnTo>
                  <a:pt x="1513" y="1684"/>
                </a:lnTo>
                <a:lnTo>
                  <a:pt x="1511" y="1681"/>
                </a:lnTo>
                <a:lnTo>
                  <a:pt x="1509" y="1678"/>
                </a:lnTo>
                <a:lnTo>
                  <a:pt x="1509" y="1675"/>
                </a:lnTo>
                <a:lnTo>
                  <a:pt x="1509" y="1673"/>
                </a:lnTo>
                <a:lnTo>
                  <a:pt x="1509" y="1671"/>
                </a:lnTo>
                <a:lnTo>
                  <a:pt x="1510" y="1669"/>
                </a:lnTo>
                <a:lnTo>
                  <a:pt x="1511" y="1667"/>
                </a:lnTo>
                <a:lnTo>
                  <a:pt x="1513" y="1665"/>
                </a:lnTo>
                <a:lnTo>
                  <a:pt x="1515" y="1664"/>
                </a:lnTo>
                <a:lnTo>
                  <a:pt x="1517" y="1663"/>
                </a:lnTo>
                <a:lnTo>
                  <a:pt x="1520" y="1663"/>
                </a:lnTo>
                <a:close/>
                <a:moveTo>
                  <a:pt x="2050" y="1597"/>
                </a:moveTo>
                <a:lnTo>
                  <a:pt x="2053" y="1598"/>
                </a:lnTo>
                <a:lnTo>
                  <a:pt x="2055" y="1598"/>
                </a:lnTo>
                <a:lnTo>
                  <a:pt x="2058" y="1600"/>
                </a:lnTo>
                <a:lnTo>
                  <a:pt x="2060" y="1602"/>
                </a:lnTo>
                <a:lnTo>
                  <a:pt x="2061" y="1604"/>
                </a:lnTo>
                <a:lnTo>
                  <a:pt x="2062" y="1606"/>
                </a:lnTo>
                <a:lnTo>
                  <a:pt x="2062" y="1609"/>
                </a:lnTo>
                <a:lnTo>
                  <a:pt x="2062" y="1611"/>
                </a:lnTo>
                <a:lnTo>
                  <a:pt x="2061" y="1613"/>
                </a:lnTo>
                <a:lnTo>
                  <a:pt x="2060" y="1615"/>
                </a:lnTo>
                <a:lnTo>
                  <a:pt x="2059" y="1617"/>
                </a:lnTo>
                <a:lnTo>
                  <a:pt x="2057" y="1619"/>
                </a:lnTo>
                <a:lnTo>
                  <a:pt x="2055" y="1620"/>
                </a:lnTo>
                <a:lnTo>
                  <a:pt x="2054" y="1621"/>
                </a:lnTo>
                <a:lnTo>
                  <a:pt x="2052" y="1621"/>
                </a:lnTo>
                <a:lnTo>
                  <a:pt x="2050" y="1621"/>
                </a:lnTo>
                <a:lnTo>
                  <a:pt x="2047" y="1621"/>
                </a:lnTo>
                <a:lnTo>
                  <a:pt x="2045" y="1620"/>
                </a:lnTo>
                <a:lnTo>
                  <a:pt x="2042" y="1619"/>
                </a:lnTo>
                <a:lnTo>
                  <a:pt x="2040" y="1616"/>
                </a:lnTo>
                <a:lnTo>
                  <a:pt x="2039" y="1614"/>
                </a:lnTo>
                <a:lnTo>
                  <a:pt x="2038" y="1612"/>
                </a:lnTo>
                <a:lnTo>
                  <a:pt x="2038" y="1610"/>
                </a:lnTo>
                <a:lnTo>
                  <a:pt x="2038" y="1608"/>
                </a:lnTo>
                <a:lnTo>
                  <a:pt x="2039" y="1605"/>
                </a:lnTo>
                <a:lnTo>
                  <a:pt x="2040" y="1603"/>
                </a:lnTo>
                <a:lnTo>
                  <a:pt x="2041" y="1601"/>
                </a:lnTo>
                <a:lnTo>
                  <a:pt x="2043" y="1600"/>
                </a:lnTo>
                <a:lnTo>
                  <a:pt x="2044" y="1599"/>
                </a:lnTo>
                <a:lnTo>
                  <a:pt x="2046" y="1598"/>
                </a:lnTo>
                <a:lnTo>
                  <a:pt x="2048" y="1597"/>
                </a:lnTo>
                <a:lnTo>
                  <a:pt x="2050" y="1597"/>
                </a:lnTo>
                <a:close/>
                <a:moveTo>
                  <a:pt x="2160" y="1505"/>
                </a:moveTo>
                <a:lnTo>
                  <a:pt x="2163" y="1505"/>
                </a:lnTo>
                <a:lnTo>
                  <a:pt x="2165" y="1506"/>
                </a:lnTo>
                <a:lnTo>
                  <a:pt x="2167" y="1507"/>
                </a:lnTo>
                <a:lnTo>
                  <a:pt x="2169" y="1508"/>
                </a:lnTo>
                <a:lnTo>
                  <a:pt x="2171" y="1510"/>
                </a:lnTo>
                <a:lnTo>
                  <a:pt x="2172" y="1512"/>
                </a:lnTo>
                <a:lnTo>
                  <a:pt x="2172" y="1517"/>
                </a:lnTo>
                <a:lnTo>
                  <a:pt x="2172" y="1519"/>
                </a:lnTo>
                <a:lnTo>
                  <a:pt x="2171" y="1522"/>
                </a:lnTo>
                <a:lnTo>
                  <a:pt x="2170" y="1524"/>
                </a:lnTo>
                <a:lnTo>
                  <a:pt x="2169" y="1525"/>
                </a:lnTo>
                <a:lnTo>
                  <a:pt x="2165" y="1528"/>
                </a:lnTo>
                <a:lnTo>
                  <a:pt x="2160" y="1529"/>
                </a:lnTo>
                <a:lnTo>
                  <a:pt x="2158" y="1528"/>
                </a:lnTo>
                <a:lnTo>
                  <a:pt x="2156" y="1528"/>
                </a:lnTo>
                <a:lnTo>
                  <a:pt x="2153" y="1526"/>
                </a:lnTo>
                <a:lnTo>
                  <a:pt x="2152" y="1525"/>
                </a:lnTo>
                <a:lnTo>
                  <a:pt x="2150" y="1523"/>
                </a:lnTo>
                <a:lnTo>
                  <a:pt x="2149" y="1521"/>
                </a:lnTo>
                <a:lnTo>
                  <a:pt x="2148" y="1516"/>
                </a:lnTo>
                <a:lnTo>
                  <a:pt x="2149" y="1514"/>
                </a:lnTo>
                <a:lnTo>
                  <a:pt x="2149" y="1512"/>
                </a:lnTo>
                <a:lnTo>
                  <a:pt x="2151" y="1510"/>
                </a:lnTo>
                <a:lnTo>
                  <a:pt x="2152" y="1508"/>
                </a:lnTo>
                <a:lnTo>
                  <a:pt x="2156" y="1505"/>
                </a:lnTo>
                <a:lnTo>
                  <a:pt x="2160" y="1505"/>
                </a:lnTo>
                <a:close/>
                <a:moveTo>
                  <a:pt x="2261" y="1402"/>
                </a:moveTo>
                <a:lnTo>
                  <a:pt x="2266" y="1403"/>
                </a:lnTo>
                <a:lnTo>
                  <a:pt x="2268" y="1404"/>
                </a:lnTo>
                <a:lnTo>
                  <a:pt x="2270" y="1405"/>
                </a:lnTo>
                <a:lnTo>
                  <a:pt x="2271" y="1407"/>
                </a:lnTo>
                <a:lnTo>
                  <a:pt x="2272" y="1409"/>
                </a:lnTo>
                <a:lnTo>
                  <a:pt x="2273" y="1411"/>
                </a:lnTo>
                <a:lnTo>
                  <a:pt x="2273" y="1413"/>
                </a:lnTo>
                <a:lnTo>
                  <a:pt x="2273" y="1418"/>
                </a:lnTo>
                <a:lnTo>
                  <a:pt x="2272" y="1420"/>
                </a:lnTo>
                <a:lnTo>
                  <a:pt x="2270" y="1422"/>
                </a:lnTo>
                <a:lnTo>
                  <a:pt x="2268" y="1424"/>
                </a:lnTo>
                <a:lnTo>
                  <a:pt x="2266" y="1425"/>
                </a:lnTo>
                <a:lnTo>
                  <a:pt x="2264" y="1426"/>
                </a:lnTo>
                <a:lnTo>
                  <a:pt x="2261" y="1426"/>
                </a:lnTo>
                <a:lnTo>
                  <a:pt x="2257" y="1425"/>
                </a:lnTo>
                <a:lnTo>
                  <a:pt x="2255" y="1424"/>
                </a:lnTo>
                <a:lnTo>
                  <a:pt x="2253" y="1423"/>
                </a:lnTo>
                <a:lnTo>
                  <a:pt x="2252" y="1421"/>
                </a:lnTo>
                <a:lnTo>
                  <a:pt x="2251" y="1419"/>
                </a:lnTo>
                <a:lnTo>
                  <a:pt x="2250" y="1417"/>
                </a:lnTo>
                <a:lnTo>
                  <a:pt x="2249" y="1415"/>
                </a:lnTo>
                <a:lnTo>
                  <a:pt x="2250" y="1410"/>
                </a:lnTo>
                <a:lnTo>
                  <a:pt x="2251" y="1408"/>
                </a:lnTo>
                <a:lnTo>
                  <a:pt x="2253" y="1406"/>
                </a:lnTo>
                <a:lnTo>
                  <a:pt x="2255" y="1404"/>
                </a:lnTo>
                <a:lnTo>
                  <a:pt x="2257" y="1403"/>
                </a:lnTo>
                <a:lnTo>
                  <a:pt x="2259" y="1402"/>
                </a:lnTo>
                <a:lnTo>
                  <a:pt x="2261" y="1402"/>
                </a:lnTo>
                <a:close/>
                <a:moveTo>
                  <a:pt x="2354" y="1291"/>
                </a:moveTo>
                <a:lnTo>
                  <a:pt x="2358" y="1292"/>
                </a:lnTo>
                <a:lnTo>
                  <a:pt x="2361" y="1294"/>
                </a:lnTo>
                <a:lnTo>
                  <a:pt x="2364" y="1297"/>
                </a:lnTo>
                <a:lnTo>
                  <a:pt x="2365" y="1299"/>
                </a:lnTo>
                <a:lnTo>
                  <a:pt x="2366" y="1302"/>
                </a:lnTo>
                <a:lnTo>
                  <a:pt x="2366" y="1304"/>
                </a:lnTo>
                <a:lnTo>
                  <a:pt x="2365" y="1306"/>
                </a:lnTo>
                <a:lnTo>
                  <a:pt x="2365" y="1309"/>
                </a:lnTo>
                <a:lnTo>
                  <a:pt x="2363" y="1311"/>
                </a:lnTo>
                <a:lnTo>
                  <a:pt x="2361" y="1313"/>
                </a:lnTo>
                <a:lnTo>
                  <a:pt x="2359" y="1314"/>
                </a:lnTo>
                <a:lnTo>
                  <a:pt x="2356" y="1315"/>
                </a:lnTo>
                <a:lnTo>
                  <a:pt x="2354" y="1315"/>
                </a:lnTo>
                <a:lnTo>
                  <a:pt x="2350" y="1315"/>
                </a:lnTo>
                <a:lnTo>
                  <a:pt x="2347" y="1313"/>
                </a:lnTo>
                <a:lnTo>
                  <a:pt x="2343" y="1309"/>
                </a:lnTo>
                <a:lnTo>
                  <a:pt x="2342" y="1307"/>
                </a:lnTo>
                <a:lnTo>
                  <a:pt x="2342" y="1305"/>
                </a:lnTo>
                <a:lnTo>
                  <a:pt x="2342" y="1303"/>
                </a:lnTo>
                <a:lnTo>
                  <a:pt x="2342" y="1300"/>
                </a:lnTo>
                <a:lnTo>
                  <a:pt x="2343" y="1298"/>
                </a:lnTo>
                <a:lnTo>
                  <a:pt x="2344" y="1296"/>
                </a:lnTo>
                <a:lnTo>
                  <a:pt x="2346" y="1294"/>
                </a:lnTo>
                <a:lnTo>
                  <a:pt x="2349" y="1292"/>
                </a:lnTo>
                <a:lnTo>
                  <a:pt x="2351" y="1292"/>
                </a:lnTo>
                <a:lnTo>
                  <a:pt x="2354" y="1291"/>
                </a:lnTo>
                <a:close/>
                <a:moveTo>
                  <a:pt x="2436" y="1173"/>
                </a:moveTo>
                <a:lnTo>
                  <a:pt x="2439" y="1173"/>
                </a:lnTo>
                <a:lnTo>
                  <a:pt x="2442" y="1175"/>
                </a:lnTo>
                <a:lnTo>
                  <a:pt x="2445" y="1176"/>
                </a:lnTo>
                <a:lnTo>
                  <a:pt x="2447" y="1178"/>
                </a:lnTo>
                <a:lnTo>
                  <a:pt x="2448" y="1180"/>
                </a:lnTo>
                <a:lnTo>
                  <a:pt x="2449" y="1182"/>
                </a:lnTo>
                <a:lnTo>
                  <a:pt x="2449" y="1185"/>
                </a:lnTo>
                <a:lnTo>
                  <a:pt x="2449" y="1187"/>
                </a:lnTo>
                <a:lnTo>
                  <a:pt x="2448" y="1189"/>
                </a:lnTo>
                <a:lnTo>
                  <a:pt x="2447" y="1191"/>
                </a:lnTo>
                <a:lnTo>
                  <a:pt x="2445" y="1194"/>
                </a:lnTo>
                <a:lnTo>
                  <a:pt x="2442" y="1196"/>
                </a:lnTo>
                <a:lnTo>
                  <a:pt x="2439" y="1197"/>
                </a:lnTo>
                <a:lnTo>
                  <a:pt x="2436" y="1197"/>
                </a:lnTo>
                <a:lnTo>
                  <a:pt x="2433" y="1197"/>
                </a:lnTo>
                <a:lnTo>
                  <a:pt x="2430" y="1195"/>
                </a:lnTo>
                <a:lnTo>
                  <a:pt x="2428" y="1194"/>
                </a:lnTo>
                <a:lnTo>
                  <a:pt x="2426" y="1192"/>
                </a:lnTo>
                <a:lnTo>
                  <a:pt x="2425" y="1190"/>
                </a:lnTo>
                <a:lnTo>
                  <a:pt x="2424" y="1188"/>
                </a:lnTo>
                <a:lnTo>
                  <a:pt x="2424" y="1185"/>
                </a:lnTo>
                <a:lnTo>
                  <a:pt x="2424" y="1183"/>
                </a:lnTo>
                <a:lnTo>
                  <a:pt x="2425" y="1181"/>
                </a:lnTo>
                <a:lnTo>
                  <a:pt x="2426" y="1179"/>
                </a:lnTo>
                <a:lnTo>
                  <a:pt x="2428" y="1176"/>
                </a:lnTo>
                <a:lnTo>
                  <a:pt x="2430" y="1174"/>
                </a:lnTo>
                <a:lnTo>
                  <a:pt x="2433" y="1173"/>
                </a:lnTo>
                <a:lnTo>
                  <a:pt x="2436" y="1173"/>
                </a:lnTo>
                <a:close/>
                <a:moveTo>
                  <a:pt x="2505" y="1046"/>
                </a:moveTo>
                <a:lnTo>
                  <a:pt x="2507" y="1046"/>
                </a:lnTo>
                <a:lnTo>
                  <a:pt x="2509" y="1047"/>
                </a:lnTo>
                <a:lnTo>
                  <a:pt x="2511" y="1048"/>
                </a:lnTo>
                <a:lnTo>
                  <a:pt x="2513" y="1049"/>
                </a:lnTo>
                <a:lnTo>
                  <a:pt x="2516" y="1053"/>
                </a:lnTo>
                <a:lnTo>
                  <a:pt x="2516" y="1055"/>
                </a:lnTo>
                <a:lnTo>
                  <a:pt x="2517" y="1058"/>
                </a:lnTo>
                <a:lnTo>
                  <a:pt x="2516" y="1060"/>
                </a:lnTo>
                <a:lnTo>
                  <a:pt x="2516" y="1062"/>
                </a:lnTo>
                <a:lnTo>
                  <a:pt x="2515" y="1064"/>
                </a:lnTo>
                <a:lnTo>
                  <a:pt x="2514" y="1066"/>
                </a:lnTo>
                <a:lnTo>
                  <a:pt x="2511" y="1068"/>
                </a:lnTo>
                <a:lnTo>
                  <a:pt x="2508" y="1069"/>
                </a:lnTo>
                <a:lnTo>
                  <a:pt x="2505" y="1070"/>
                </a:lnTo>
                <a:lnTo>
                  <a:pt x="2502" y="1070"/>
                </a:lnTo>
                <a:lnTo>
                  <a:pt x="2500" y="1069"/>
                </a:lnTo>
                <a:lnTo>
                  <a:pt x="2498" y="1068"/>
                </a:lnTo>
                <a:lnTo>
                  <a:pt x="2496" y="1066"/>
                </a:lnTo>
                <a:lnTo>
                  <a:pt x="2493" y="1062"/>
                </a:lnTo>
                <a:lnTo>
                  <a:pt x="2493" y="1060"/>
                </a:lnTo>
                <a:lnTo>
                  <a:pt x="2493" y="1058"/>
                </a:lnTo>
                <a:lnTo>
                  <a:pt x="2493" y="1055"/>
                </a:lnTo>
                <a:lnTo>
                  <a:pt x="2494" y="1053"/>
                </a:lnTo>
                <a:lnTo>
                  <a:pt x="2494" y="1051"/>
                </a:lnTo>
                <a:lnTo>
                  <a:pt x="2495" y="1050"/>
                </a:lnTo>
                <a:lnTo>
                  <a:pt x="2498" y="1048"/>
                </a:lnTo>
                <a:lnTo>
                  <a:pt x="2501" y="1046"/>
                </a:lnTo>
                <a:lnTo>
                  <a:pt x="2505" y="1046"/>
                </a:lnTo>
                <a:close/>
                <a:moveTo>
                  <a:pt x="2556" y="911"/>
                </a:moveTo>
                <a:lnTo>
                  <a:pt x="2560" y="912"/>
                </a:lnTo>
                <a:lnTo>
                  <a:pt x="2562" y="913"/>
                </a:lnTo>
                <a:lnTo>
                  <a:pt x="2564" y="914"/>
                </a:lnTo>
                <a:lnTo>
                  <a:pt x="2566" y="916"/>
                </a:lnTo>
                <a:lnTo>
                  <a:pt x="2567" y="918"/>
                </a:lnTo>
                <a:lnTo>
                  <a:pt x="2567" y="920"/>
                </a:lnTo>
                <a:lnTo>
                  <a:pt x="2568" y="923"/>
                </a:lnTo>
                <a:lnTo>
                  <a:pt x="2567" y="927"/>
                </a:lnTo>
                <a:lnTo>
                  <a:pt x="2565" y="930"/>
                </a:lnTo>
                <a:lnTo>
                  <a:pt x="2562" y="933"/>
                </a:lnTo>
                <a:lnTo>
                  <a:pt x="2561" y="934"/>
                </a:lnTo>
                <a:lnTo>
                  <a:pt x="2559" y="934"/>
                </a:lnTo>
                <a:lnTo>
                  <a:pt x="2556" y="935"/>
                </a:lnTo>
                <a:lnTo>
                  <a:pt x="2551" y="934"/>
                </a:lnTo>
                <a:lnTo>
                  <a:pt x="2549" y="933"/>
                </a:lnTo>
                <a:lnTo>
                  <a:pt x="2547" y="932"/>
                </a:lnTo>
                <a:lnTo>
                  <a:pt x="2546" y="930"/>
                </a:lnTo>
                <a:lnTo>
                  <a:pt x="2545" y="928"/>
                </a:lnTo>
                <a:lnTo>
                  <a:pt x="2544" y="926"/>
                </a:lnTo>
                <a:lnTo>
                  <a:pt x="2544" y="923"/>
                </a:lnTo>
                <a:lnTo>
                  <a:pt x="2545" y="919"/>
                </a:lnTo>
                <a:lnTo>
                  <a:pt x="2546" y="915"/>
                </a:lnTo>
                <a:lnTo>
                  <a:pt x="2549" y="913"/>
                </a:lnTo>
                <a:lnTo>
                  <a:pt x="2551" y="912"/>
                </a:lnTo>
                <a:lnTo>
                  <a:pt x="2552" y="911"/>
                </a:lnTo>
                <a:lnTo>
                  <a:pt x="2556" y="911"/>
                </a:lnTo>
                <a:close/>
                <a:moveTo>
                  <a:pt x="2611" y="778"/>
                </a:moveTo>
                <a:lnTo>
                  <a:pt x="2613" y="778"/>
                </a:lnTo>
                <a:lnTo>
                  <a:pt x="2616" y="779"/>
                </a:lnTo>
                <a:lnTo>
                  <a:pt x="2618" y="780"/>
                </a:lnTo>
                <a:lnTo>
                  <a:pt x="2620" y="781"/>
                </a:lnTo>
                <a:lnTo>
                  <a:pt x="2621" y="783"/>
                </a:lnTo>
                <a:lnTo>
                  <a:pt x="2622" y="785"/>
                </a:lnTo>
                <a:lnTo>
                  <a:pt x="2623" y="790"/>
                </a:lnTo>
                <a:lnTo>
                  <a:pt x="2623" y="792"/>
                </a:lnTo>
                <a:lnTo>
                  <a:pt x="2622" y="794"/>
                </a:lnTo>
                <a:lnTo>
                  <a:pt x="2620" y="797"/>
                </a:lnTo>
                <a:lnTo>
                  <a:pt x="2617" y="800"/>
                </a:lnTo>
                <a:lnTo>
                  <a:pt x="2614" y="801"/>
                </a:lnTo>
                <a:lnTo>
                  <a:pt x="2611" y="802"/>
                </a:lnTo>
                <a:lnTo>
                  <a:pt x="2608" y="801"/>
                </a:lnTo>
                <a:lnTo>
                  <a:pt x="2606" y="801"/>
                </a:lnTo>
                <a:lnTo>
                  <a:pt x="2604" y="799"/>
                </a:lnTo>
                <a:lnTo>
                  <a:pt x="2602" y="798"/>
                </a:lnTo>
                <a:lnTo>
                  <a:pt x="2601" y="796"/>
                </a:lnTo>
                <a:lnTo>
                  <a:pt x="2600" y="794"/>
                </a:lnTo>
                <a:lnTo>
                  <a:pt x="2599" y="789"/>
                </a:lnTo>
                <a:lnTo>
                  <a:pt x="2599" y="787"/>
                </a:lnTo>
                <a:lnTo>
                  <a:pt x="2600" y="785"/>
                </a:lnTo>
                <a:lnTo>
                  <a:pt x="2602" y="782"/>
                </a:lnTo>
                <a:lnTo>
                  <a:pt x="2604" y="779"/>
                </a:lnTo>
                <a:lnTo>
                  <a:pt x="2607" y="778"/>
                </a:lnTo>
                <a:lnTo>
                  <a:pt x="2611" y="778"/>
                </a:lnTo>
                <a:close/>
                <a:moveTo>
                  <a:pt x="2673" y="648"/>
                </a:moveTo>
                <a:lnTo>
                  <a:pt x="2676" y="648"/>
                </a:lnTo>
                <a:lnTo>
                  <a:pt x="2679" y="649"/>
                </a:lnTo>
                <a:lnTo>
                  <a:pt x="2681" y="650"/>
                </a:lnTo>
                <a:lnTo>
                  <a:pt x="2683" y="652"/>
                </a:lnTo>
                <a:lnTo>
                  <a:pt x="2684" y="654"/>
                </a:lnTo>
                <a:lnTo>
                  <a:pt x="2685" y="656"/>
                </a:lnTo>
                <a:lnTo>
                  <a:pt x="2685" y="658"/>
                </a:lnTo>
                <a:lnTo>
                  <a:pt x="2685" y="661"/>
                </a:lnTo>
                <a:lnTo>
                  <a:pt x="2685" y="663"/>
                </a:lnTo>
                <a:lnTo>
                  <a:pt x="2684" y="665"/>
                </a:lnTo>
                <a:lnTo>
                  <a:pt x="2682" y="668"/>
                </a:lnTo>
                <a:lnTo>
                  <a:pt x="2679" y="670"/>
                </a:lnTo>
                <a:lnTo>
                  <a:pt x="2676" y="671"/>
                </a:lnTo>
                <a:lnTo>
                  <a:pt x="2673" y="672"/>
                </a:lnTo>
                <a:lnTo>
                  <a:pt x="2670" y="671"/>
                </a:lnTo>
                <a:lnTo>
                  <a:pt x="2668" y="670"/>
                </a:lnTo>
                <a:lnTo>
                  <a:pt x="2666" y="669"/>
                </a:lnTo>
                <a:lnTo>
                  <a:pt x="2664" y="667"/>
                </a:lnTo>
                <a:lnTo>
                  <a:pt x="2663" y="665"/>
                </a:lnTo>
                <a:lnTo>
                  <a:pt x="2662" y="663"/>
                </a:lnTo>
                <a:lnTo>
                  <a:pt x="2661" y="661"/>
                </a:lnTo>
                <a:lnTo>
                  <a:pt x="2661" y="659"/>
                </a:lnTo>
                <a:lnTo>
                  <a:pt x="2662" y="656"/>
                </a:lnTo>
                <a:lnTo>
                  <a:pt x="2663" y="654"/>
                </a:lnTo>
                <a:lnTo>
                  <a:pt x="2665" y="651"/>
                </a:lnTo>
                <a:lnTo>
                  <a:pt x="2667" y="649"/>
                </a:lnTo>
                <a:lnTo>
                  <a:pt x="2670" y="648"/>
                </a:lnTo>
                <a:lnTo>
                  <a:pt x="2673" y="648"/>
                </a:lnTo>
                <a:close/>
                <a:moveTo>
                  <a:pt x="2744" y="521"/>
                </a:moveTo>
                <a:lnTo>
                  <a:pt x="2748" y="522"/>
                </a:lnTo>
                <a:lnTo>
                  <a:pt x="2751" y="523"/>
                </a:lnTo>
                <a:lnTo>
                  <a:pt x="2753" y="525"/>
                </a:lnTo>
                <a:lnTo>
                  <a:pt x="2754" y="527"/>
                </a:lnTo>
                <a:lnTo>
                  <a:pt x="2755" y="529"/>
                </a:lnTo>
                <a:lnTo>
                  <a:pt x="2756" y="531"/>
                </a:lnTo>
                <a:lnTo>
                  <a:pt x="2756" y="533"/>
                </a:lnTo>
                <a:lnTo>
                  <a:pt x="2756" y="535"/>
                </a:lnTo>
                <a:lnTo>
                  <a:pt x="2756" y="538"/>
                </a:lnTo>
                <a:lnTo>
                  <a:pt x="2755" y="540"/>
                </a:lnTo>
                <a:lnTo>
                  <a:pt x="2753" y="542"/>
                </a:lnTo>
                <a:lnTo>
                  <a:pt x="2750" y="544"/>
                </a:lnTo>
                <a:lnTo>
                  <a:pt x="2747" y="545"/>
                </a:lnTo>
                <a:lnTo>
                  <a:pt x="2744" y="545"/>
                </a:lnTo>
                <a:lnTo>
                  <a:pt x="2741" y="545"/>
                </a:lnTo>
                <a:lnTo>
                  <a:pt x="2738" y="544"/>
                </a:lnTo>
                <a:lnTo>
                  <a:pt x="2736" y="542"/>
                </a:lnTo>
                <a:lnTo>
                  <a:pt x="2735" y="540"/>
                </a:lnTo>
                <a:lnTo>
                  <a:pt x="2734" y="538"/>
                </a:lnTo>
                <a:lnTo>
                  <a:pt x="2733" y="536"/>
                </a:lnTo>
                <a:lnTo>
                  <a:pt x="2732" y="534"/>
                </a:lnTo>
                <a:lnTo>
                  <a:pt x="2733" y="532"/>
                </a:lnTo>
                <a:lnTo>
                  <a:pt x="2733" y="529"/>
                </a:lnTo>
                <a:lnTo>
                  <a:pt x="2734" y="527"/>
                </a:lnTo>
                <a:lnTo>
                  <a:pt x="2736" y="525"/>
                </a:lnTo>
                <a:lnTo>
                  <a:pt x="2739" y="523"/>
                </a:lnTo>
                <a:lnTo>
                  <a:pt x="2741" y="522"/>
                </a:lnTo>
                <a:lnTo>
                  <a:pt x="2744" y="521"/>
                </a:lnTo>
                <a:close/>
                <a:moveTo>
                  <a:pt x="2825" y="402"/>
                </a:moveTo>
                <a:lnTo>
                  <a:pt x="2829" y="403"/>
                </a:lnTo>
                <a:lnTo>
                  <a:pt x="2832" y="404"/>
                </a:lnTo>
                <a:lnTo>
                  <a:pt x="2834" y="406"/>
                </a:lnTo>
                <a:lnTo>
                  <a:pt x="2835" y="408"/>
                </a:lnTo>
                <a:lnTo>
                  <a:pt x="2836" y="410"/>
                </a:lnTo>
                <a:lnTo>
                  <a:pt x="2837" y="412"/>
                </a:lnTo>
                <a:lnTo>
                  <a:pt x="2837" y="415"/>
                </a:lnTo>
                <a:lnTo>
                  <a:pt x="2837" y="417"/>
                </a:lnTo>
                <a:lnTo>
                  <a:pt x="2836" y="419"/>
                </a:lnTo>
                <a:lnTo>
                  <a:pt x="2835" y="421"/>
                </a:lnTo>
                <a:lnTo>
                  <a:pt x="2833" y="423"/>
                </a:lnTo>
                <a:lnTo>
                  <a:pt x="2830" y="425"/>
                </a:lnTo>
                <a:lnTo>
                  <a:pt x="2828" y="426"/>
                </a:lnTo>
                <a:lnTo>
                  <a:pt x="2825" y="426"/>
                </a:lnTo>
                <a:lnTo>
                  <a:pt x="2821" y="426"/>
                </a:lnTo>
                <a:lnTo>
                  <a:pt x="2818" y="424"/>
                </a:lnTo>
                <a:lnTo>
                  <a:pt x="2816" y="422"/>
                </a:lnTo>
                <a:lnTo>
                  <a:pt x="2815" y="420"/>
                </a:lnTo>
                <a:lnTo>
                  <a:pt x="2814" y="418"/>
                </a:lnTo>
                <a:lnTo>
                  <a:pt x="2813" y="416"/>
                </a:lnTo>
                <a:lnTo>
                  <a:pt x="2813" y="414"/>
                </a:lnTo>
                <a:lnTo>
                  <a:pt x="2813" y="411"/>
                </a:lnTo>
                <a:lnTo>
                  <a:pt x="2814" y="409"/>
                </a:lnTo>
                <a:lnTo>
                  <a:pt x="2815" y="407"/>
                </a:lnTo>
                <a:lnTo>
                  <a:pt x="2817" y="405"/>
                </a:lnTo>
                <a:lnTo>
                  <a:pt x="2820" y="403"/>
                </a:lnTo>
                <a:lnTo>
                  <a:pt x="2822" y="402"/>
                </a:lnTo>
                <a:lnTo>
                  <a:pt x="2825" y="402"/>
                </a:lnTo>
                <a:close/>
                <a:moveTo>
                  <a:pt x="2916" y="290"/>
                </a:moveTo>
                <a:lnTo>
                  <a:pt x="2920" y="291"/>
                </a:lnTo>
                <a:lnTo>
                  <a:pt x="2922" y="292"/>
                </a:lnTo>
                <a:lnTo>
                  <a:pt x="2924" y="293"/>
                </a:lnTo>
                <a:lnTo>
                  <a:pt x="2925" y="295"/>
                </a:lnTo>
                <a:lnTo>
                  <a:pt x="2927" y="297"/>
                </a:lnTo>
                <a:lnTo>
                  <a:pt x="2927" y="299"/>
                </a:lnTo>
                <a:lnTo>
                  <a:pt x="2928" y="302"/>
                </a:lnTo>
                <a:lnTo>
                  <a:pt x="2928" y="304"/>
                </a:lnTo>
                <a:lnTo>
                  <a:pt x="2927" y="306"/>
                </a:lnTo>
                <a:lnTo>
                  <a:pt x="2926" y="308"/>
                </a:lnTo>
                <a:lnTo>
                  <a:pt x="2925" y="310"/>
                </a:lnTo>
                <a:lnTo>
                  <a:pt x="2923" y="312"/>
                </a:lnTo>
                <a:lnTo>
                  <a:pt x="2921" y="313"/>
                </a:lnTo>
                <a:lnTo>
                  <a:pt x="2918" y="314"/>
                </a:lnTo>
                <a:lnTo>
                  <a:pt x="2916" y="314"/>
                </a:lnTo>
                <a:lnTo>
                  <a:pt x="2912" y="314"/>
                </a:lnTo>
                <a:lnTo>
                  <a:pt x="2910" y="313"/>
                </a:lnTo>
                <a:lnTo>
                  <a:pt x="2908" y="311"/>
                </a:lnTo>
                <a:lnTo>
                  <a:pt x="2906" y="309"/>
                </a:lnTo>
                <a:lnTo>
                  <a:pt x="2905" y="307"/>
                </a:lnTo>
                <a:lnTo>
                  <a:pt x="2904" y="305"/>
                </a:lnTo>
                <a:lnTo>
                  <a:pt x="2904" y="303"/>
                </a:lnTo>
                <a:lnTo>
                  <a:pt x="2904" y="301"/>
                </a:lnTo>
                <a:lnTo>
                  <a:pt x="2904" y="298"/>
                </a:lnTo>
                <a:lnTo>
                  <a:pt x="2905" y="296"/>
                </a:lnTo>
                <a:lnTo>
                  <a:pt x="2907" y="294"/>
                </a:lnTo>
                <a:lnTo>
                  <a:pt x="2909" y="293"/>
                </a:lnTo>
                <a:lnTo>
                  <a:pt x="2911" y="291"/>
                </a:lnTo>
                <a:lnTo>
                  <a:pt x="2913" y="291"/>
                </a:lnTo>
                <a:lnTo>
                  <a:pt x="2916" y="290"/>
                </a:lnTo>
                <a:close/>
                <a:moveTo>
                  <a:pt x="3017" y="188"/>
                </a:moveTo>
                <a:lnTo>
                  <a:pt x="3019" y="188"/>
                </a:lnTo>
                <a:lnTo>
                  <a:pt x="3021" y="188"/>
                </a:lnTo>
                <a:lnTo>
                  <a:pt x="3023" y="190"/>
                </a:lnTo>
                <a:lnTo>
                  <a:pt x="3025" y="191"/>
                </a:lnTo>
                <a:lnTo>
                  <a:pt x="3027" y="193"/>
                </a:lnTo>
                <a:lnTo>
                  <a:pt x="3028" y="195"/>
                </a:lnTo>
                <a:lnTo>
                  <a:pt x="3029" y="200"/>
                </a:lnTo>
                <a:lnTo>
                  <a:pt x="3028" y="202"/>
                </a:lnTo>
                <a:lnTo>
                  <a:pt x="3027" y="204"/>
                </a:lnTo>
                <a:lnTo>
                  <a:pt x="3026" y="207"/>
                </a:lnTo>
                <a:lnTo>
                  <a:pt x="3025" y="208"/>
                </a:lnTo>
                <a:lnTo>
                  <a:pt x="3021" y="211"/>
                </a:lnTo>
                <a:lnTo>
                  <a:pt x="3017" y="212"/>
                </a:lnTo>
                <a:lnTo>
                  <a:pt x="3014" y="211"/>
                </a:lnTo>
                <a:lnTo>
                  <a:pt x="3012" y="211"/>
                </a:lnTo>
                <a:lnTo>
                  <a:pt x="3010" y="209"/>
                </a:lnTo>
                <a:lnTo>
                  <a:pt x="3008" y="208"/>
                </a:lnTo>
                <a:lnTo>
                  <a:pt x="3006" y="206"/>
                </a:lnTo>
                <a:lnTo>
                  <a:pt x="3005" y="204"/>
                </a:lnTo>
                <a:lnTo>
                  <a:pt x="3005" y="199"/>
                </a:lnTo>
                <a:lnTo>
                  <a:pt x="3005" y="197"/>
                </a:lnTo>
                <a:lnTo>
                  <a:pt x="3006" y="195"/>
                </a:lnTo>
                <a:lnTo>
                  <a:pt x="3007" y="193"/>
                </a:lnTo>
                <a:lnTo>
                  <a:pt x="3008" y="191"/>
                </a:lnTo>
                <a:lnTo>
                  <a:pt x="3012" y="188"/>
                </a:lnTo>
                <a:lnTo>
                  <a:pt x="3017" y="188"/>
                </a:lnTo>
                <a:close/>
                <a:moveTo>
                  <a:pt x="3127" y="95"/>
                </a:moveTo>
                <a:lnTo>
                  <a:pt x="3130" y="96"/>
                </a:lnTo>
                <a:lnTo>
                  <a:pt x="3132" y="97"/>
                </a:lnTo>
                <a:lnTo>
                  <a:pt x="3135" y="98"/>
                </a:lnTo>
                <a:lnTo>
                  <a:pt x="3137" y="100"/>
                </a:lnTo>
                <a:lnTo>
                  <a:pt x="3138" y="102"/>
                </a:lnTo>
                <a:lnTo>
                  <a:pt x="3139" y="105"/>
                </a:lnTo>
                <a:lnTo>
                  <a:pt x="3139" y="107"/>
                </a:lnTo>
                <a:lnTo>
                  <a:pt x="3139" y="109"/>
                </a:lnTo>
                <a:lnTo>
                  <a:pt x="3138" y="111"/>
                </a:lnTo>
                <a:lnTo>
                  <a:pt x="3138" y="114"/>
                </a:lnTo>
                <a:lnTo>
                  <a:pt x="3136" y="115"/>
                </a:lnTo>
                <a:lnTo>
                  <a:pt x="3134" y="117"/>
                </a:lnTo>
                <a:lnTo>
                  <a:pt x="3133" y="118"/>
                </a:lnTo>
                <a:lnTo>
                  <a:pt x="3131" y="119"/>
                </a:lnTo>
                <a:lnTo>
                  <a:pt x="3129" y="119"/>
                </a:lnTo>
                <a:lnTo>
                  <a:pt x="3127" y="119"/>
                </a:lnTo>
                <a:lnTo>
                  <a:pt x="3124" y="119"/>
                </a:lnTo>
                <a:lnTo>
                  <a:pt x="3122" y="118"/>
                </a:lnTo>
                <a:lnTo>
                  <a:pt x="3120" y="117"/>
                </a:lnTo>
                <a:lnTo>
                  <a:pt x="3118" y="115"/>
                </a:lnTo>
                <a:lnTo>
                  <a:pt x="3116" y="113"/>
                </a:lnTo>
                <a:lnTo>
                  <a:pt x="3116" y="110"/>
                </a:lnTo>
                <a:lnTo>
                  <a:pt x="3115" y="108"/>
                </a:lnTo>
                <a:lnTo>
                  <a:pt x="3115" y="106"/>
                </a:lnTo>
                <a:lnTo>
                  <a:pt x="3116" y="104"/>
                </a:lnTo>
                <a:lnTo>
                  <a:pt x="3117" y="101"/>
                </a:lnTo>
                <a:lnTo>
                  <a:pt x="3118" y="100"/>
                </a:lnTo>
                <a:lnTo>
                  <a:pt x="3120" y="98"/>
                </a:lnTo>
                <a:lnTo>
                  <a:pt x="3122" y="97"/>
                </a:lnTo>
                <a:lnTo>
                  <a:pt x="3123" y="96"/>
                </a:lnTo>
                <a:lnTo>
                  <a:pt x="3125" y="96"/>
                </a:lnTo>
                <a:lnTo>
                  <a:pt x="3127" y="95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766763" y="2565400"/>
            <a:ext cx="2016869" cy="3671888"/>
          </a:xfrm>
          <a:prstGeom prst="roundRect">
            <a:avLst>
              <a:gd name="adj" fmla="val 7202"/>
            </a:avLst>
          </a:prstGeom>
          <a:solidFill>
            <a:schemeClr val="accent3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714375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5087888" y="2565400"/>
            <a:ext cx="2016224" cy="3671888"/>
          </a:xfrm>
          <a:prstGeom prst="roundRect">
            <a:avLst>
              <a:gd name="adj" fmla="val 7317"/>
            </a:avLst>
          </a:prstGeom>
          <a:solidFill>
            <a:schemeClr val="accent3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714375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2927650" y="2565400"/>
            <a:ext cx="2016222" cy="3671888"/>
          </a:xfrm>
          <a:prstGeom prst="roundRect">
            <a:avLst>
              <a:gd name="adj" fmla="val 7058"/>
            </a:avLst>
          </a:prstGeom>
          <a:solidFill>
            <a:schemeClr val="accent3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714375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25"/>
          </p:nvPr>
        </p:nvSpPr>
        <p:spPr>
          <a:xfrm>
            <a:off x="7248129" y="2565400"/>
            <a:ext cx="2016224" cy="3671888"/>
          </a:xfrm>
          <a:prstGeom prst="roundRect">
            <a:avLst>
              <a:gd name="adj" fmla="val 7517"/>
            </a:avLst>
          </a:prstGeom>
          <a:solidFill>
            <a:schemeClr val="accent5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714375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27"/>
          </p:nvPr>
        </p:nvSpPr>
        <p:spPr>
          <a:xfrm>
            <a:off x="9408369" y="2565400"/>
            <a:ext cx="2016870" cy="3671888"/>
          </a:xfrm>
          <a:prstGeom prst="roundRect">
            <a:avLst>
              <a:gd name="adj" fmla="val 7520"/>
            </a:avLst>
          </a:prstGeom>
          <a:solidFill>
            <a:schemeClr val="accent4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714375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31" name="Text Placeholder 2"/>
          <p:cNvSpPr>
            <a:spLocks noGrp="1"/>
          </p:cNvSpPr>
          <p:nvPr>
            <p:ph type="body" idx="1"/>
          </p:nvPr>
        </p:nvSpPr>
        <p:spPr>
          <a:xfrm>
            <a:off x="766763" y="1916112"/>
            <a:ext cx="2016869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idx="28"/>
          </p:nvPr>
        </p:nvSpPr>
        <p:spPr>
          <a:xfrm>
            <a:off x="2927648" y="1916112"/>
            <a:ext cx="2016869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idx="29"/>
          </p:nvPr>
        </p:nvSpPr>
        <p:spPr>
          <a:xfrm>
            <a:off x="5087565" y="1916112"/>
            <a:ext cx="2016869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idx="30"/>
          </p:nvPr>
        </p:nvSpPr>
        <p:spPr>
          <a:xfrm>
            <a:off x="7248128" y="1916112"/>
            <a:ext cx="2016869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idx="31"/>
          </p:nvPr>
        </p:nvSpPr>
        <p:spPr>
          <a:xfrm>
            <a:off x="9408369" y="1916112"/>
            <a:ext cx="2016869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Freeform 24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93573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2nd" preserve="1" userDrawn="1">
  <p:cSld name="Table 2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19"/>
          <p:cNvSpPr>
            <a:spLocks noEditPoints="1"/>
          </p:cNvSpPr>
          <p:nvPr userDrawn="1"/>
        </p:nvSpPr>
        <p:spPr bwMode="auto">
          <a:xfrm>
            <a:off x="9227862" y="4572704"/>
            <a:ext cx="2964138" cy="2285296"/>
          </a:xfrm>
          <a:custGeom>
            <a:avLst/>
            <a:gdLst>
              <a:gd name="T0" fmla="*/ 1306 w 2943"/>
              <a:gd name="T1" fmla="*/ 86 h 2269"/>
              <a:gd name="T2" fmla="*/ 1146 w 2943"/>
              <a:gd name="T3" fmla="*/ 156 h 2269"/>
              <a:gd name="T4" fmla="*/ 981 w 2943"/>
              <a:gd name="T5" fmla="*/ 272 h 2269"/>
              <a:gd name="T6" fmla="*/ 830 w 2943"/>
              <a:gd name="T7" fmla="*/ 409 h 2269"/>
              <a:gd name="T8" fmla="*/ 2484 w 2943"/>
              <a:gd name="T9" fmla="*/ 196 h 2269"/>
              <a:gd name="T10" fmla="*/ 2662 w 2943"/>
              <a:gd name="T11" fmla="*/ 241 h 2269"/>
              <a:gd name="T12" fmla="*/ 530 w 2943"/>
              <a:gd name="T13" fmla="*/ 749 h 2269"/>
              <a:gd name="T14" fmla="*/ 369 w 2943"/>
              <a:gd name="T15" fmla="*/ 1038 h 2269"/>
              <a:gd name="T16" fmla="*/ 210 w 2943"/>
              <a:gd name="T17" fmla="*/ 1476 h 2269"/>
              <a:gd name="T18" fmla="*/ 103 w 2943"/>
              <a:gd name="T19" fmla="*/ 1864 h 2269"/>
              <a:gd name="T20" fmla="*/ 23 w 2943"/>
              <a:gd name="T21" fmla="*/ 2262 h 2269"/>
              <a:gd name="T22" fmla="*/ 2051 w 2943"/>
              <a:gd name="T23" fmla="*/ 2226 h 2269"/>
              <a:gd name="T24" fmla="*/ 2345 w 2943"/>
              <a:gd name="T25" fmla="*/ 2074 h 2269"/>
              <a:gd name="T26" fmla="*/ 2533 w 2943"/>
              <a:gd name="T27" fmla="*/ 2011 h 2269"/>
              <a:gd name="T28" fmla="*/ 1696 w 2943"/>
              <a:gd name="T29" fmla="*/ 2140 h 2269"/>
              <a:gd name="T30" fmla="*/ 2029 w 2943"/>
              <a:gd name="T31" fmla="*/ 1898 h 2269"/>
              <a:gd name="T32" fmla="*/ 2719 w 2943"/>
              <a:gd name="T33" fmla="*/ 1738 h 2269"/>
              <a:gd name="T34" fmla="*/ 2406 w 2943"/>
              <a:gd name="T35" fmla="*/ 1779 h 2269"/>
              <a:gd name="T36" fmla="*/ 1389 w 2943"/>
              <a:gd name="T37" fmla="*/ 2095 h 2269"/>
              <a:gd name="T38" fmla="*/ 1668 w 2943"/>
              <a:gd name="T39" fmla="*/ 1825 h 2269"/>
              <a:gd name="T40" fmla="*/ 2797 w 2943"/>
              <a:gd name="T41" fmla="*/ 1521 h 2269"/>
              <a:gd name="T42" fmla="*/ 2603 w 2943"/>
              <a:gd name="T43" fmla="*/ 1489 h 2269"/>
              <a:gd name="T44" fmla="*/ 2189 w 2943"/>
              <a:gd name="T45" fmla="*/ 1529 h 2269"/>
              <a:gd name="T46" fmla="*/ 1051 w 2943"/>
              <a:gd name="T47" fmla="*/ 2125 h 2269"/>
              <a:gd name="T48" fmla="*/ 1304 w 2943"/>
              <a:gd name="T49" fmla="*/ 1800 h 2269"/>
              <a:gd name="T50" fmla="*/ 2918 w 2943"/>
              <a:gd name="T51" fmla="*/ 1313 h 2269"/>
              <a:gd name="T52" fmla="*/ 1698 w 2943"/>
              <a:gd name="T53" fmla="*/ 1471 h 2269"/>
              <a:gd name="T54" fmla="*/ 1879 w 2943"/>
              <a:gd name="T55" fmla="*/ 1359 h 2269"/>
              <a:gd name="T56" fmla="*/ 2303 w 2943"/>
              <a:gd name="T57" fmla="*/ 1243 h 2269"/>
              <a:gd name="T58" fmla="*/ 737 w 2943"/>
              <a:gd name="T59" fmla="*/ 2186 h 2269"/>
              <a:gd name="T60" fmla="*/ 936 w 2943"/>
              <a:gd name="T61" fmla="*/ 1843 h 2269"/>
              <a:gd name="T62" fmla="*/ 1196 w 2943"/>
              <a:gd name="T63" fmla="*/ 1538 h 2269"/>
              <a:gd name="T64" fmla="*/ 2823 w 2943"/>
              <a:gd name="T65" fmla="*/ 1075 h 2269"/>
              <a:gd name="T66" fmla="*/ 1551 w 2943"/>
              <a:gd name="T67" fmla="*/ 1234 h 2269"/>
              <a:gd name="T68" fmla="*/ 1724 w 2943"/>
              <a:gd name="T69" fmla="*/ 1134 h 2269"/>
              <a:gd name="T70" fmla="*/ 1908 w 2943"/>
              <a:gd name="T71" fmla="*/ 1044 h 2269"/>
              <a:gd name="T72" fmla="*/ 537 w 2943"/>
              <a:gd name="T73" fmla="*/ 2146 h 2269"/>
              <a:gd name="T74" fmla="*/ 708 w 2943"/>
              <a:gd name="T75" fmla="*/ 1786 h 2269"/>
              <a:gd name="T76" fmla="*/ 929 w 2943"/>
              <a:gd name="T77" fmla="*/ 1457 h 2269"/>
              <a:gd name="T78" fmla="*/ 1144 w 2943"/>
              <a:gd name="T79" fmla="*/ 1206 h 2269"/>
              <a:gd name="T80" fmla="*/ 2641 w 2943"/>
              <a:gd name="T81" fmla="*/ 833 h 2269"/>
              <a:gd name="T82" fmla="*/ 2382 w 2943"/>
              <a:gd name="T83" fmla="*/ 806 h 2269"/>
              <a:gd name="T84" fmla="*/ 2182 w 2943"/>
              <a:gd name="T85" fmla="*/ 771 h 2269"/>
              <a:gd name="T86" fmla="*/ 1803 w 2943"/>
              <a:gd name="T87" fmla="*/ 806 h 2269"/>
              <a:gd name="T88" fmla="*/ 375 w 2943"/>
              <a:gd name="T89" fmla="*/ 2079 h 2269"/>
              <a:gd name="T90" fmla="*/ 524 w 2943"/>
              <a:gd name="T91" fmla="*/ 1716 h 2269"/>
              <a:gd name="T92" fmla="*/ 707 w 2943"/>
              <a:gd name="T93" fmla="*/ 1362 h 2269"/>
              <a:gd name="T94" fmla="*/ 883 w 2943"/>
              <a:gd name="T95" fmla="*/ 1085 h 2269"/>
              <a:gd name="T96" fmla="*/ 2716 w 2943"/>
              <a:gd name="T97" fmla="*/ 657 h 2269"/>
              <a:gd name="T98" fmla="*/ 1110 w 2943"/>
              <a:gd name="T99" fmla="*/ 845 h 2269"/>
              <a:gd name="T100" fmla="*/ 1258 w 2943"/>
              <a:gd name="T101" fmla="*/ 730 h 2269"/>
              <a:gd name="T102" fmla="*/ 1502 w 2943"/>
              <a:gd name="T103" fmla="*/ 591 h 2269"/>
              <a:gd name="T104" fmla="*/ 1876 w 2943"/>
              <a:gd name="T105" fmla="*/ 499 h 2269"/>
              <a:gd name="T106" fmla="*/ 213 w 2943"/>
              <a:gd name="T107" fmla="*/ 2022 h 2269"/>
              <a:gd name="T108" fmla="*/ 336 w 2943"/>
              <a:gd name="T109" fmla="*/ 1645 h 2269"/>
              <a:gd name="T110" fmla="*/ 500 w 2943"/>
              <a:gd name="T111" fmla="*/ 1291 h 2269"/>
              <a:gd name="T112" fmla="*/ 701 w 2943"/>
              <a:gd name="T113" fmla="*/ 944 h 2269"/>
              <a:gd name="T114" fmla="*/ 2732 w 2943"/>
              <a:gd name="T115" fmla="*/ 452 h 2269"/>
              <a:gd name="T116" fmla="*/ 2530 w 2943"/>
              <a:gd name="T117" fmla="*/ 412 h 2269"/>
              <a:gd name="T118" fmla="*/ 982 w 2943"/>
              <a:gd name="T119" fmla="*/ 607 h 2269"/>
              <a:gd name="T120" fmla="*/ 1138 w 2943"/>
              <a:gd name="T121" fmla="*/ 484 h 2269"/>
              <a:gd name="T122" fmla="*/ 1312 w 2943"/>
              <a:gd name="T123" fmla="*/ 388 h 2269"/>
              <a:gd name="T124" fmla="*/ 1517 w 2943"/>
              <a:gd name="T125" fmla="*/ 301 h 2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943" h="2269">
                <a:moveTo>
                  <a:pt x="1502" y="12"/>
                </a:moveTo>
                <a:lnTo>
                  <a:pt x="1505" y="12"/>
                </a:lnTo>
                <a:lnTo>
                  <a:pt x="1507" y="12"/>
                </a:lnTo>
                <a:lnTo>
                  <a:pt x="1510" y="13"/>
                </a:lnTo>
                <a:lnTo>
                  <a:pt x="1512" y="14"/>
                </a:lnTo>
                <a:lnTo>
                  <a:pt x="1514" y="16"/>
                </a:lnTo>
                <a:lnTo>
                  <a:pt x="1515" y="18"/>
                </a:lnTo>
                <a:lnTo>
                  <a:pt x="1517" y="20"/>
                </a:lnTo>
                <a:lnTo>
                  <a:pt x="1517" y="23"/>
                </a:lnTo>
                <a:lnTo>
                  <a:pt x="1517" y="25"/>
                </a:lnTo>
                <a:lnTo>
                  <a:pt x="1517" y="28"/>
                </a:lnTo>
                <a:lnTo>
                  <a:pt x="1515" y="33"/>
                </a:lnTo>
                <a:lnTo>
                  <a:pt x="1513" y="34"/>
                </a:lnTo>
                <a:lnTo>
                  <a:pt x="1511" y="36"/>
                </a:lnTo>
                <a:lnTo>
                  <a:pt x="1509" y="37"/>
                </a:lnTo>
                <a:lnTo>
                  <a:pt x="1507" y="38"/>
                </a:lnTo>
                <a:lnTo>
                  <a:pt x="1504" y="38"/>
                </a:lnTo>
                <a:lnTo>
                  <a:pt x="1501" y="38"/>
                </a:lnTo>
                <a:lnTo>
                  <a:pt x="1499" y="37"/>
                </a:lnTo>
                <a:lnTo>
                  <a:pt x="1496" y="35"/>
                </a:lnTo>
                <a:lnTo>
                  <a:pt x="1495" y="34"/>
                </a:lnTo>
                <a:lnTo>
                  <a:pt x="1493" y="32"/>
                </a:lnTo>
                <a:lnTo>
                  <a:pt x="1492" y="29"/>
                </a:lnTo>
                <a:lnTo>
                  <a:pt x="1491" y="27"/>
                </a:lnTo>
                <a:lnTo>
                  <a:pt x="1491" y="24"/>
                </a:lnTo>
                <a:lnTo>
                  <a:pt x="1491" y="22"/>
                </a:lnTo>
                <a:lnTo>
                  <a:pt x="1493" y="17"/>
                </a:lnTo>
                <a:lnTo>
                  <a:pt x="1495" y="15"/>
                </a:lnTo>
                <a:lnTo>
                  <a:pt x="1497" y="14"/>
                </a:lnTo>
                <a:lnTo>
                  <a:pt x="1499" y="13"/>
                </a:lnTo>
                <a:lnTo>
                  <a:pt x="1502" y="12"/>
                </a:lnTo>
                <a:close/>
                <a:moveTo>
                  <a:pt x="1437" y="24"/>
                </a:moveTo>
                <a:lnTo>
                  <a:pt x="1442" y="24"/>
                </a:lnTo>
                <a:lnTo>
                  <a:pt x="1444" y="25"/>
                </a:lnTo>
                <a:lnTo>
                  <a:pt x="1447" y="26"/>
                </a:lnTo>
                <a:lnTo>
                  <a:pt x="1448" y="28"/>
                </a:lnTo>
                <a:lnTo>
                  <a:pt x="1450" y="30"/>
                </a:lnTo>
                <a:lnTo>
                  <a:pt x="1451" y="32"/>
                </a:lnTo>
                <a:lnTo>
                  <a:pt x="1452" y="34"/>
                </a:lnTo>
                <a:lnTo>
                  <a:pt x="1452" y="37"/>
                </a:lnTo>
                <a:lnTo>
                  <a:pt x="1452" y="39"/>
                </a:lnTo>
                <a:lnTo>
                  <a:pt x="1452" y="42"/>
                </a:lnTo>
                <a:lnTo>
                  <a:pt x="1450" y="44"/>
                </a:lnTo>
                <a:lnTo>
                  <a:pt x="1449" y="46"/>
                </a:lnTo>
                <a:lnTo>
                  <a:pt x="1447" y="48"/>
                </a:lnTo>
                <a:lnTo>
                  <a:pt x="1445" y="49"/>
                </a:lnTo>
                <a:lnTo>
                  <a:pt x="1442" y="50"/>
                </a:lnTo>
                <a:lnTo>
                  <a:pt x="1437" y="50"/>
                </a:lnTo>
                <a:lnTo>
                  <a:pt x="1434" y="49"/>
                </a:lnTo>
                <a:lnTo>
                  <a:pt x="1432" y="48"/>
                </a:lnTo>
                <a:lnTo>
                  <a:pt x="1430" y="47"/>
                </a:lnTo>
                <a:lnTo>
                  <a:pt x="1428" y="45"/>
                </a:lnTo>
                <a:lnTo>
                  <a:pt x="1427" y="42"/>
                </a:lnTo>
                <a:lnTo>
                  <a:pt x="1426" y="40"/>
                </a:lnTo>
                <a:lnTo>
                  <a:pt x="1426" y="37"/>
                </a:lnTo>
                <a:lnTo>
                  <a:pt x="1426" y="35"/>
                </a:lnTo>
                <a:lnTo>
                  <a:pt x="1427" y="32"/>
                </a:lnTo>
                <a:lnTo>
                  <a:pt x="1428" y="30"/>
                </a:lnTo>
                <a:lnTo>
                  <a:pt x="1430" y="28"/>
                </a:lnTo>
                <a:lnTo>
                  <a:pt x="1432" y="26"/>
                </a:lnTo>
                <a:lnTo>
                  <a:pt x="1434" y="25"/>
                </a:lnTo>
                <a:lnTo>
                  <a:pt x="1436" y="24"/>
                </a:lnTo>
                <a:lnTo>
                  <a:pt x="1437" y="24"/>
                </a:lnTo>
                <a:close/>
                <a:moveTo>
                  <a:pt x="1568" y="4"/>
                </a:moveTo>
                <a:lnTo>
                  <a:pt x="1571" y="4"/>
                </a:lnTo>
                <a:lnTo>
                  <a:pt x="1573" y="4"/>
                </a:lnTo>
                <a:lnTo>
                  <a:pt x="1576" y="5"/>
                </a:lnTo>
                <a:lnTo>
                  <a:pt x="1578" y="7"/>
                </a:lnTo>
                <a:lnTo>
                  <a:pt x="1580" y="9"/>
                </a:lnTo>
                <a:lnTo>
                  <a:pt x="1582" y="11"/>
                </a:lnTo>
                <a:lnTo>
                  <a:pt x="1583" y="13"/>
                </a:lnTo>
                <a:lnTo>
                  <a:pt x="1583" y="16"/>
                </a:lnTo>
                <a:lnTo>
                  <a:pt x="1583" y="18"/>
                </a:lnTo>
                <a:lnTo>
                  <a:pt x="1583" y="21"/>
                </a:lnTo>
                <a:lnTo>
                  <a:pt x="1582" y="23"/>
                </a:lnTo>
                <a:lnTo>
                  <a:pt x="1580" y="25"/>
                </a:lnTo>
                <a:lnTo>
                  <a:pt x="1577" y="28"/>
                </a:lnTo>
                <a:lnTo>
                  <a:pt x="1575" y="29"/>
                </a:lnTo>
                <a:lnTo>
                  <a:pt x="1572" y="30"/>
                </a:lnTo>
                <a:lnTo>
                  <a:pt x="1569" y="30"/>
                </a:lnTo>
                <a:lnTo>
                  <a:pt x="1566" y="29"/>
                </a:lnTo>
                <a:lnTo>
                  <a:pt x="1564" y="28"/>
                </a:lnTo>
                <a:lnTo>
                  <a:pt x="1562" y="27"/>
                </a:lnTo>
                <a:lnTo>
                  <a:pt x="1560" y="25"/>
                </a:lnTo>
                <a:lnTo>
                  <a:pt x="1558" y="23"/>
                </a:lnTo>
                <a:lnTo>
                  <a:pt x="1557" y="21"/>
                </a:lnTo>
                <a:lnTo>
                  <a:pt x="1557" y="18"/>
                </a:lnTo>
                <a:lnTo>
                  <a:pt x="1557" y="16"/>
                </a:lnTo>
                <a:lnTo>
                  <a:pt x="1557" y="13"/>
                </a:lnTo>
                <a:lnTo>
                  <a:pt x="1558" y="11"/>
                </a:lnTo>
                <a:lnTo>
                  <a:pt x="1559" y="9"/>
                </a:lnTo>
                <a:lnTo>
                  <a:pt x="1563" y="6"/>
                </a:lnTo>
                <a:lnTo>
                  <a:pt x="1565" y="5"/>
                </a:lnTo>
                <a:lnTo>
                  <a:pt x="1568" y="4"/>
                </a:lnTo>
                <a:close/>
                <a:moveTo>
                  <a:pt x="1373" y="41"/>
                </a:moveTo>
                <a:lnTo>
                  <a:pt x="1378" y="41"/>
                </a:lnTo>
                <a:lnTo>
                  <a:pt x="1380" y="41"/>
                </a:lnTo>
                <a:lnTo>
                  <a:pt x="1382" y="42"/>
                </a:lnTo>
                <a:lnTo>
                  <a:pt x="1384" y="44"/>
                </a:lnTo>
                <a:lnTo>
                  <a:pt x="1386" y="46"/>
                </a:lnTo>
                <a:lnTo>
                  <a:pt x="1387" y="48"/>
                </a:lnTo>
                <a:lnTo>
                  <a:pt x="1388" y="50"/>
                </a:lnTo>
                <a:lnTo>
                  <a:pt x="1388" y="53"/>
                </a:lnTo>
                <a:lnTo>
                  <a:pt x="1388" y="55"/>
                </a:lnTo>
                <a:lnTo>
                  <a:pt x="1388" y="58"/>
                </a:lnTo>
                <a:lnTo>
                  <a:pt x="1387" y="60"/>
                </a:lnTo>
                <a:lnTo>
                  <a:pt x="1385" y="62"/>
                </a:lnTo>
                <a:lnTo>
                  <a:pt x="1384" y="64"/>
                </a:lnTo>
                <a:lnTo>
                  <a:pt x="1381" y="65"/>
                </a:lnTo>
                <a:lnTo>
                  <a:pt x="1379" y="66"/>
                </a:lnTo>
                <a:lnTo>
                  <a:pt x="1377" y="67"/>
                </a:lnTo>
                <a:lnTo>
                  <a:pt x="1373" y="67"/>
                </a:lnTo>
                <a:lnTo>
                  <a:pt x="1370" y="66"/>
                </a:lnTo>
                <a:lnTo>
                  <a:pt x="1368" y="65"/>
                </a:lnTo>
                <a:lnTo>
                  <a:pt x="1366" y="63"/>
                </a:lnTo>
                <a:lnTo>
                  <a:pt x="1365" y="62"/>
                </a:lnTo>
                <a:lnTo>
                  <a:pt x="1363" y="60"/>
                </a:lnTo>
                <a:lnTo>
                  <a:pt x="1362" y="57"/>
                </a:lnTo>
                <a:lnTo>
                  <a:pt x="1362" y="55"/>
                </a:lnTo>
                <a:lnTo>
                  <a:pt x="1362" y="52"/>
                </a:lnTo>
                <a:lnTo>
                  <a:pt x="1363" y="50"/>
                </a:lnTo>
                <a:lnTo>
                  <a:pt x="1364" y="47"/>
                </a:lnTo>
                <a:lnTo>
                  <a:pt x="1365" y="45"/>
                </a:lnTo>
                <a:lnTo>
                  <a:pt x="1367" y="43"/>
                </a:lnTo>
                <a:lnTo>
                  <a:pt x="1369" y="42"/>
                </a:lnTo>
                <a:lnTo>
                  <a:pt x="1371" y="41"/>
                </a:lnTo>
                <a:lnTo>
                  <a:pt x="1373" y="41"/>
                </a:lnTo>
                <a:close/>
                <a:moveTo>
                  <a:pt x="1634" y="1"/>
                </a:moveTo>
                <a:lnTo>
                  <a:pt x="1636" y="0"/>
                </a:lnTo>
                <a:lnTo>
                  <a:pt x="1638" y="1"/>
                </a:lnTo>
                <a:lnTo>
                  <a:pt x="1641" y="1"/>
                </a:lnTo>
                <a:lnTo>
                  <a:pt x="1643" y="3"/>
                </a:lnTo>
                <a:lnTo>
                  <a:pt x="1645" y="4"/>
                </a:lnTo>
                <a:lnTo>
                  <a:pt x="1647" y="6"/>
                </a:lnTo>
                <a:lnTo>
                  <a:pt x="1648" y="8"/>
                </a:lnTo>
                <a:lnTo>
                  <a:pt x="1649" y="11"/>
                </a:lnTo>
                <a:lnTo>
                  <a:pt x="1649" y="13"/>
                </a:lnTo>
                <a:lnTo>
                  <a:pt x="1649" y="16"/>
                </a:lnTo>
                <a:lnTo>
                  <a:pt x="1648" y="18"/>
                </a:lnTo>
                <a:lnTo>
                  <a:pt x="1647" y="20"/>
                </a:lnTo>
                <a:lnTo>
                  <a:pt x="1646" y="22"/>
                </a:lnTo>
                <a:lnTo>
                  <a:pt x="1645" y="24"/>
                </a:lnTo>
                <a:lnTo>
                  <a:pt x="1643" y="25"/>
                </a:lnTo>
                <a:lnTo>
                  <a:pt x="1641" y="26"/>
                </a:lnTo>
                <a:lnTo>
                  <a:pt x="1638" y="27"/>
                </a:lnTo>
                <a:lnTo>
                  <a:pt x="1636" y="27"/>
                </a:lnTo>
                <a:lnTo>
                  <a:pt x="1633" y="27"/>
                </a:lnTo>
                <a:lnTo>
                  <a:pt x="1631" y="26"/>
                </a:lnTo>
                <a:lnTo>
                  <a:pt x="1629" y="25"/>
                </a:lnTo>
                <a:lnTo>
                  <a:pt x="1627" y="23"/>
                </a:lnTo>
                <a:lnTo>
                  <a:pt x="1625" y="21"/>
                </a:lnTo>
                <a:lnTo>
                  <a:pt x="1624" y="19"/>
                </a:lnTo>
                <a:lnTo>
                  <a:pt x="1623" y="17"/>
                </a:lnTo>
                <a:lnTo>
                  <a:pt x="1623" y="14"/>
                </a:lnTo>
                <a:lnTo>
                  <a:pt x="1623" y="11"/>
                </a:lnTo>
                <a:lnTo>
                  <a:pt x="1623" y="9"/>
                </a:lnTo>
                <a:lnTo>
                  <a:pt x="1624" y="7"/>
                </a:lnTo>
                <a:lnTo>
                  <a:pt x="1626" y="5"/>
                </a:lnTo>
                <a:lnTo>
                  <a:pt x="1627" y="4"/>
                </a:lnTo>
                <a:lnTo>
                  <a:pt x="1629" y="2"/>
                </a:lnTo>
                <a:lnTo>
                  <a:pt x="1631" y="1"/>
                </a:lnTo>
                <a:lnTo>
                  <a:pt x="1634" y="1"/>
                </a:lnTo>
                <a:close/>
                <a:moveTo>
                  <a:pt x="1310" y="61"/>
                </a:moveTo>
                <a:lnTo>
                  <a:pt x="1315" y="61"/>
                </a:lnTo>
                <a:lnTo>
                  <a:pt x="1317" y="62"/>
                </a:lnTo>
                <a:lnTo>
                  <a:pt x="1319" y="63"/>
                </a:lnTo>
                <a:lnTo>
                  <a:pt x="1321" y="64"/>
                </a:lnTo>
                <a:lnTo>
                  <a:pt x="1322" y="66"/>
                </a:lnTo>
                <a:lnTo>
                  <a:pt x="1324" y="67"/>
                </a:lnTo>
                <a:lnTo>
                  <a:pt x="1325" y="70"/>
                </a:lnTo>
                <a:lnTo>
                  <a:pt x="1326" y="75"/>
                </a:lnTo>
                <a:lnTo>
                  <a:pt x="1325" y="77"/>
                </a:lnTo>
                <a:lnTo>
                  <a:pt x="1324" y="80"/>
                </a:lnTo>
                <a:lnTo>
                  <a:pt x="1323" y="82"/>
                </a:lnTo>
                <a:lnTo>
                  <a:pt x="1321" y="84"/>
                </a:lnTo>
                <a:lnTo>
                  <a:pt x="1319" y="85"/>
                </a:lnTo>
                <a:lnTo>
                  <a:pt x="1317" y="87"/>
                </a:lnTo>
                <a:lnTo>
                  <a:pt x="1315" y="87"/>
                </a:lnTo>
                <a:lnTo>
                  <a:pt x="1310" y="87"/>
                </a:lnTo>
                <a:lnTo>
                  <a:pt x="1308" y="87"/>
                </a:lnTo>
                <a:lnTo>
                  <a:pt x="1306" y="86"/>
                </a:lnTo>
                <a:lnTo>
                  <a:pt x="1304" y="84"/>
                </a:lnTo>
                <a:lnTo>
                  <a:pt x="1302" y="83"/>
                </a:lnTo>
                <a:lnTo>
                  <a:pt x="1301" y="81"/>
                </a:lnTo>
                <a:lnTo>
                  <a:pt x="1300" y="79"/>
                </a:lnTo>
                <a:lnTo>
                  <a:pt x="1299" y="73"/>
                </a:lnTo>
                <a:lnTo>
                  <a:pt x="1300" y="71"/>
                </a:lnTo>
                <a:lnTo>
                  <a:pt x="1300" y="69"/>
                </a:lnTo>
                <a:lnTo>
                  <a:pt x="1302" y="66"/>
                </a:lnTo>
                <a:lnTo>
                  <a:pt x="1303" y="64"/>
                </a:lnTo>
                <a:lnTo>
                  <a:pt x="1305" y="63"/>
                </a:lnTo>
                <a:lnTo>
                  <a:pt x="1308" y="62"/>
                </a:lnTo>
                <a:lnTo>
                  <a:pt x="1310" y="61"/>
                </a:lnTo>
                <a:close/>
                <a:moveTo>
                  <a:pt x="1700" y="2"/>
                </a:moveTo>
                <a:lnTo>
                  <a:pt x="1703" y="2"/>
                </a:lnTo>
                <a:lnTo>
                  <a:pt x="1705" y="2"/>
                </a:lnTo>
                <a:lnTo>
                  <a:pt x="1708" y="3"/>
                </a:lnTo>
                <a:lnTo>
                  <a:pt x="1710" y="4"/>
                </a:lnTo>
                <a:lnTo>
                  <a:pt x="1712" y="6"/>
                </a:lnTo>
                <a:lnTo>
                  <a:pt x="1713" y="8"/>
                </a:lnTo>
                <a:lnTo>
                  <a:pt x="1715" y="10"/>
                </a:lnTo>
                <a:lnTo>
                  <a:pt x="1715" y="13"/>
                </a:lnTo>
                <a:lnTo>
                  <a:pt x="1715" y="16"/>
                </a:lnTo>
                <a:lnTo>
                  <a:pt x="1715" y="18"/>
                </a:lnTo>
                <a:lnTo>
                  <a:pt x="1714" y="20"/>
                </a:lnTo>
                <a:lnTo>
                  <a:pt x="1712" y="24"/>
                </a:lnTo>
                <a:lnTo>
                  <a:pt x="1710" y="25"/>
                </a:lnTo>
                <a:lnTo>
                  <a:pt x="1709" y="26"/>
                </a:lnTo>
                <a:lnTo>
                  <a:pt x="1707" y="27"/>
                </a:lnTo>
                <a:lnTo>
                  <a:pt x="1704" y="28"/>
                </a:lnTo>
                <a:lnTo>
                  <a:pt x="1701" y="28"/>
                </a:lnTo>
                <a:lnTo>
                  <a:pt x="1699" y="28"/>
                </a:lnTo>
                <a:lnTo>
                  <a:pt x="1696" y="27"/>
                </a:lnTo>
                <a:lnTo>
                  <a:pt x="1694" y="25"/>
                </a:lnTo>
                <a:lnTo>
                  <a:pt x="1692" y="24"/>
                </a:lnTo>
                <a:lnTo>
                  <a:pt x="1691" y="22"/>
                </a:lnTo>
                <a:lnTo>
                  <a:pt x="1690" y="19"/>
                </a:lnTo>
                <a:lnTo>
                  <a:pt x="1689" y="17"/>
                </a:lnTo>
                <a:lnTo>
                  <a:pt x="1689" y="14"/>
                </a:lnTo>
                <a:lnTo>
                  <a:pt x="1689" y="12"/>
                </a:lnTo>
                <a:lnTo>
                  <a:pt x="1690" y="10"/>
                </a:lnTo>
                <a:lnTo>
                  <a:pt x="1692" y="6"/>
                </a:lnTo>
                <a:lnTo>
                  <a:pt x="1694" y="5"/>
                </a:lnTo>
                <a:lnTo>
                  <a:pt x="1696" y="3"/>
                </a:lnTo>
                <a:lnTo>
                  <a:pt x="1698" y="2"/>
                </a:lnTo>
                <a:lnTo>
                  <a:pt x="1700" y="2"/>
                </a:lnTo>
                <a:close/>
                <a:moveTo>
                  <a:pt x="1249" y="85"/>
                </a:moveTo>
                <a:lnTo>
                  <a:pt x="1253" y="85"/>
                </a:lnTo>
                <a:lnTo>
                  <a:pt x="1255" y="86"/>
                </a:lnTo>
                <a:lnTo>
                  <a:pt x="1257" y="87"/>
                </a:lnTo>
                <a:lnTo>
                  <a:pt x="1259" y="88"/>
                </a:lnTo>
                <a:lnTo>
                  <a:pt x="1261" y="89"/>
                </a:lnTo>
                <a:lnTo>
                  <a:pt x="1263" y="93"/>
                </a:lnTo>
                <a:lnTo>
                  <a:pt x="1264" y="96"/>
                </a:lnTo>
                <a:lnTo>
                  <a:pt x="1264" y="98"/>
                </a:lnTo>
                <a:lnTo>
                  <a:pt x="1264" y="101"/>
                </a:lnTo>
                <a:lnTo>
                  <a:pt x="1263" y="103"/>
                </a:lnTo>
                <a:lnTo>
                  <a:pt x="1262" y="106"/>
                </a:lnTo>
                <a:lnTo>
                  <a:pt x="1260" y="108"/>
                </a:lnTo>
                <a:lnTo>
                  <a:pt x="1259" y="109"/>
                </a:lnTo>
                <a:lnTo>
                  <a:pt x="1256" y="111"/>
                </a:lnTo>
                <a:lnTo>
                  <a:pt x="1253" y="112"/>
                </a:lnTo>
                <a:lnTo>
                  <a:pt x="1249" y="112"/>
                </a:lnTo>
                <a:lnTo>
                  <a:pt x="1247" y="111"/>
                </a:lnTo>
                <a:lnTo>
                  <a:pt x="1245" y="110"/>
                </a:lnTo>
                <a:lnTo>
                  <a:pt x="1243" y="109"/>
                </a:lnTo>
                <a:lnTo>
                  <a:pt x="1241" y="108"/>
                </a:lnTo>
                <a:lnTo>
                  <a:pt x="1239" y="104"/>
                </a:lnTo>
                <a:lnTo>
                  <a:pt x="1238" y="101"/>
                </a:lnTo>
                <a:lnTo>
                  <a:pt x="1238" y="99"/>
                </a:lnTo>
                <a:lnTo>
                  <a:pt x="1238" y="96"/>
                </a:lnTo>
                <a:lnTo>
                  <a:pt x="1239" y="94"/>
                </a:lnTo>
                <a:lnTo>
                  <a:pt x="1240" y="91"/>
                </a:lnTo>
                <a:lnTo>
                  <a:pt x="1241" y="89"/>
                </a:lnTo>
                <a:lnTo>
                  <a:pt x="1243" y="88"/>
                </a:lnTo>
                <a:lnTo>
                  <a:pt x="1246" y="86"/>
                </a:lnTo>
                <a:lnTo>
                  <a:pt x="1249" y="85"/>
                </a:lnTo>
                <a:close/>
                <a:moveTo>
                  <a:pt x="1766" y="8"/>
                </a:moveTo>
                <a:lnTo>
                  <a:pt x="1770" y="8"/>
                </a:lnTo>
                <a:lnTo>
                  <a:pt x="1772" y="8"/>
                </a:lnTo>
                <a:lnTo>
                  <a:pt x="1775" y="9"/>
                </a:lnTo>
                <a:lnTo>
                  <a:pt x="1777" y="11"/>
                </a:lnTo>
                <a:lnTo>
                  <a:pt x="1778" y="13"/>
                </a:lnTo>
                <a:lnTo>
                  <a:pt x="1780" y="15"/>
                </a:lnTo>
                <a:lnTo>
                  <a:pt x="1781" y="17"/>
                </a:lnTo>
                <a:lnTo>
                  <a:pt x="1781" y="20"/>
                </a:lnTo>
                <a:lnTo>
                  <a:pt x="1781" y="22"/>
                </a:lnTo>
                <a:lnTo>
                  <a:pt x="1781" y="24"/>
                </a:lnTo>
                <a:lnTo>
                  <a:pt x="1780" y="26"/>
                </a:lnTo>
                <a:lnTo>
                  <a:pt x="1779" y="28"/>
                </a:lnTo>
                <a:lnTo>
                  <a:pt x="1778" y="30"/>
                </a:lnTo>
                <a:lnTo>
                  <a:pt x="1774" y="32"/>
                </a:lnTo>
                <a:lnTo>
                  <a:pt x="1772" y="33"/>
                </a:lnTo>
                <a:lnTo>
                  <a:pt x="1770" y="34"/>
                </a:lnTo>
                <a:lnTo>
                  <a:pt x="1766" y="34"/>
                </a:lnTo>
                <a:lnTo>
                  <a:pt x="1764" y="33"/>
                </a:lnTo>
                <a:lnTo>
                  <a:pt x="1761" y="32"/>
                </a:lnTo>
                <a:lnTo>
                  <a:pt x="1759" y="31"/>
                </a:lnTo>
                <a:lnTo>
                  <a:pt x="1758" y="29"/>
                </a:lnTo>
                <a:lnTo>
                  <a:pt x="1756" y="27"/>
                </a:lnTo>
                <a:lnTo>
                  <a:pt x="1755" y="24"/>
                </a:lnTo>
                <a:lnTo>
                  <a:pt x="1755" y="22"/>
                </a:lnTo>
                <a:lnTo>
                  <a:pt x="1755" y="19"/>
                </a:lnTo>
                <a:lnTo>
                  <a:pt x="1755" y="17"/>
                </a:lnTo>
                <a:lnTo>
                  <a:pt x="1756" y="15"/>
                </a:lnTo>
                <a:lnTo>
                  <a:pt x="1757" y="13"/>
                </a:lnTo>
                <a:lnTo>
                  <a:pt x="1758" y="11"/>
                </a:lnTo>
                <a:lnTo>
                  <a:pt x="1762" y="9"/>
                </a:lnTo>
                <a:lnTo>
                  <a:pt x="1764" y="8"/>
                </a:lnTo>
                <a:lnTo>
                  <a:pt x="1766" y="8"/>
                </a:lnTo>
                <a:close/>
                <a:moveTo>
                  <a:pt x="1189" y="113"/>
                </a:moveTo>
                <a:lnTo>
                  <a:pt x="1193" y="113"/>
                </a:lnTo>
                <a:lnTo>
                  <a:pt x="1195" y="114"/>
                </a:lnTo>
                <a:lnTo>
                  <a:pt x="1197" y="115"/>
                </a:lnTo>
                <a:lnTo>
                  <a:pt x="1199" y="116"/>
                </a:lnTo>
                <a:lnTo>
                  <a:pt x="1200" y="117"/>
                </a:lnTo>
                <a:lnTo>
                  <a:pt x="1202" y="119"/>
                </a:lnTo>
                <a:lnTo>
                  <a:pt x="1203" y="120"/>
                </a:lnTo>
                <a:lnTo>
                  <a:pt x="1204" y="126"/>
                </a:lnTo>
                <a:lnTo>
                  <a:pt x="1204" y="128"/>
                </a:lnTo>
                <a:lnTo>
                  <a:pt x="1204" y="131"/>
                </a:lnTo>
                <a:lnTo>
                  <a:pt x="1203" y="133"/>
                </a:lnTo>
                <a:lnTo>
                  <a:pt x="1201" y="135"/>
                </a:lnTo>
                <a:lnTo>
                  <a:pt x="1199" y="137"/>
                </a:lnTo>
                <a:lnTo>
                  <a:pt x="1197" y="138"/>
                </a:lnTo>
                <a:lnTo>
                  <a:pt x="1193" y="139"/>
                </a:lnTo>
                <a:lnTo>
                  <a:pt x="1189" y="139"/>
                </a:lnTo>
                <a:lnTo>
                  <a:pt x="1187" y="139"/>
                </a:lnTo>
                <a:lnTo>
                  <a:pt x="1185" y="138"/>
                </a:lnTo>
                <a:lnTo>
                  <a:pt x="1183" y="137"/>
                </a:lnTo>
                <a:lnTo>
                  <a:pt x="1182" y="136"/>
                </a:lnTo>
                <a:lnTo>
                  <a:pt x="1180" y="134"/>
                </a:lnTo>
                <a:lnTo>
                  <a:pt x="1179" y="132"/>
                </a:lnTo>
                <a:lnTo>
                  <a:pt x="1178" y="130"/>
                </a:lnTo>
                <a:lnTo>
                  <a:pt x="1178" y="127"/>
                </a:lnTo>
                <a:lnTo>
                  <a:pt x="1178" y="125"/>
                </a:lnTo>
                <a:lnTo>
                  <a:pt x="1178" y="122"/>
                </a:lnTo>
                <a:lnTo>
                  <a:pt x="1179" y="120"/>
                </a:lnTo>
                <a:lnTo>
                  <a:pt x="1181" y="118"/>
                </a:lnTo>
                <a:lnTo>
                  <a:pt x="1183" y="116"/>
                </a:lnTo>
                <a:lnTo>
                  <a:pt x="1185" y="115"/>
                </a:lnTo>
                <a:lnTo>
                  <a:pt x="1189" y="113"/>
                </a:lnTo>
                <a:close/>
                <a:moveTo>
                  <a:pt x="1831" y="18"/>
                </a:moveTo>
                <a:lnTo>
                  <a:pt x="1836" y="18"/>
                </a:lnTo>
                <a:lnTo>
                  <a:pt x="1838" y="19"/>
                </a:lnTo>
                <a:lnTo>
                  <a:pt x="1841" y="20"/>
                </a:lnTo>
                <a:lnTo>
                  <a:pt x="1843" y="22"/>
                </a:lnTo>
                <a:lnTo>
                  <a:pt x="1844" y="23"/>
                </a:lnTo>
                <a:lnTo>
                  <a:pt x="1845" y="26"/>
                </a:lnTo>
                <a:lnTo>
                  <a:pt x="1846" y="28"/>
                </a:lnTo>
                <a:lnTo>
                  <a:pt x="1847" y="31"/>
                </a:lnTo>
                <a:lnTo>
                  <a:pt x="1846" y="33"/>
                </a:lnTo>
                <a:lnTo>
                  <a:pt x="1846" y="35"/>
                </a:lnTo>
                <a:lnTo>
                  <a:pt x="1845" y="37"/>
                </a:lnTo>
                <a:lnTo>
                  <a:pt x="1843" y="40"/>
                </a:lnTo>
                <a:lnTo>
                  <a:pt x="1841" y="42"/>
                </a:lnTo>
                <a:lnTo>
                  <a:pt x="1839" y="43"/>
                </a:lnTo>
                <a:lnTo>
                  <a:pt x="1836" y="44"/>
                </a:lnTo>
                <a:lnTo>
                  <a:pt x="1831" y="44"/>
                </a:lnTo>
                <a:lnTo>
                  <a:pt x="1828" y="43"/>
                </a:lnTo>
                <a:lnTo>
                  <a:pt x="1826" y="42"/>
                </a:lnTo>
                <a:lnTo>
                  <a:pt x="1824" y="40"/>
                </a:lnTo>
                <a:lnTo>
                  <a:pt x="1822" y="38"/>
                </a:lnTo>
                <a:lnTo>
                  <a:pt x="1821" y="36"/>
                </a:lnTo>
                <a:lnTo>
                  <a:pt x="1820" y="34"/>
                </a:lnTo>
                <a:lnTo>
                  <a:pt x="1820" y="31"/>
                </a:lnTo>
                <a:lnTo>
                  <a:pt x="1820" y="28"/>
                </a:lnTo>
                <a:lnTo>
                  <a:pt x="1821" y="26"/>
                </a:lnTo>
                <a:lnTo>
                  <a:pt x="1822" y="25"/>
                </a:lnTo>
                <a:lnTo>
                  <a:pt x="1824" y="21"/>
                </a:lnTo>
                <a:lnTo>
                  <a:pt x="1826" y="20"/>
                </a:lnTo>
                <a:lnTo>
                  <a:pt x="1827" y="19"/>
                </a:lnTo>
                <a:lnTo>
                  <a:pt x="1831" y="18"/>
                </a:lnTo>
                <a:close/>
                <a:moveTo>
                  <a:pt x="1130" y="145"/>
                </a:moveTo>
                <a:lnTo>
                  <a:pt x="1134" y="144"/>
                </a:lnTo>
                <a:lnTo>
                  <a:pt x="1138" y="146"/>
                </a:lnTo>
                <a:lnTo>
                  <a:pt x="1140" y="147"/>
                </a:lnTo>
                <a:lnTo>
                  <a:pt x="1142" y="148"/>
                </a:lnTo>
                <a:lnTo>
                  <a:pt x="1143" y="149"/>
                </a:lnTo>
                <a:lnTo>
                  <a:pt x="1144" y="151"/>
                </a:lnTo>
                <a:lnTo>
                  <a:pt x="1145" y="153"/>
                </a:lnTo>
                <a:lnTo>
                  <a:pt x="1146" y="156"/>
                </a:lnTo>
                <a:lnTo>
                  <a:pt x="1146" y="159"/>
                </a:lnTo>
                <a:lnTo>
                  <a:pt x="1145" y="161"/>
                </a:lnTo>
                <a:lnTo>
                  <a:pt x="1145" y="163"/>
                </a:lnTo>
                <a:lnTo>
                  <a:pt x="1143" y="166"/>
                </a:lnTo>
                <a:lnTo>
                  <a:pt x="1141" y="168"/>
                </a:lnTo>
                <a:lnTo>
                  <a:pt x="1139" y="169"/>
                </a:lnTo>
                <a:lnTo>
                  <a:pt x="1137" y="170"/>
                </a:lnTo>
                <a:lnTo>
                  <a:pt x="1135" y="171"/>
                </a:lnTo>
                <a:lnTo>
                  <a:pt x="1131" y="171"/>
                </a:lnTo>
                <a:lnTo>
                  <a:pt x="1127" y="170"/>
                </a:lnTo>
                <a:lnTo>
                  <a:pt x="1125" y="169"/>
                </a:lnTo>
                <a:lnTo>
                  <a:pt x="1124" y="167"/>
                </a:lnTo>
                <a:lnTo>
                  <a:pt x="1122" y="166"/>
                </a:lnTo>
                <a:lnTo>
                  <a:pt x="1121" y="164"/>
                </a:lnTo>
                <a:lnTo>
                  <a:pt x="1120" y="162"/>
                </a:lnTo>
                <a:lnTo>
                  <a:pt x="1120" y="159"/>
                </a:lnTo>
                <a:lnTo>
                  <a:pt x="1120" y="157"/>
                </a:lnTo>
                <a:lnTo>
                  <a:pt x="1120" y="154"/>
                </a:lnTo>
                <a:lnTo>
                  <a:pt x="1121" y="152"/>
                </a:lnTo>
                <a:lnTo>
                  <a:pt x="1122" y="150"/>
                </a:lnTo>
                <a:lnTo>
                  <a:pt x="1124" y="148"/>
                </a:lnTo>
                <a:lnTo>
                  <a:pt x="1126" y="146"/>
                </a:lnTo>
                <a:lnTo>
                  <a:pt x="1128" y="145"/>
                </a:lnTo>
                <a:lnTo>
                  <a:pt x="1130" y="145"/>
                </a:lnTo>
                <a:close/>
                <a:moveTo>
                  <a:pt x="1896" y="32"/>
                </a:moveTo>
                <a:lnTo>
                  <a:pt x="1898" y="32"/>
                </a:lnTo>
                <a:lnTo>
                  <a:pt x="1901" y="33"/>
                </a:lnTo>
                <a:lnTo>
                  <a:pt x="1904" y="34"/>
                </a:lnTo>
                <a:lnTo>
                  <a:pt x="1906" y="35"/>
                </a:lnTo>
                <a:lnTo>
                  <a:pt x="1908" y="37"/>
                </a:lnTo>
                <a:lnTo>
                  <a:pt x="1909" y="39"/>
                </a:lnTo>
                <a:lnTo>
                  <a:pt x="1910" y="41"/>
                </a:lnTo>
                <a:lnTo>
                  <a:pt x="1911" y="44"/>
                </a:lnTo>
                <a:lnTo>
                  <a:pt x="1911" y="46"/>
                </a:lnTo>
                <a:lnTo>
                  <a:pt x="1911" y="49"/>
                </a:lnTo>
                <a:lnTo>
                  <a:pt x="1910" y="51"/>
                </a:lnTo>
                <a:lnTo>
                  <a:pt x="1909" y="52"/>
                </a:lnTo>
                <a:lnTo>
                  <a:pt x="1907" y="55"/>
                </a:lnTo>
                <a:lnTo>
                  <a:pt x="1904" y="57"/>
                </a:lnTo>
                <a:lnTo>
                  <a:pt x="1900" y="58"/>
                </a:lnTo>
                <a:lnTo>
                  <a:pt x="1897" y="59"/>
                </a:lnTo>
                <a:lnTo>
                  <a:pt x="1894" y="58"/>
                </a:lnTo>
                <a:lnTo>
                  <a:pt x="1892" y="57"/>
                </a:lnTo>
                <a:lnTo>
                  <a:pt x="1890" y="56"/>
                </a:lnTo>
                <a:lnTo>
                  <a:pt x="1888" y="54"/>
                </a:lnTo>
                <a:lnTo>
                  <a:pt x="1886" y="52"/>
                </a:lnTo>
                <a:lnTo>
                  <a:pt x="1885" y="50"/>
                </a:lnTo>
                <a:lnTo>
                  <a:pt x="1885" y="47"/>
                </a:lnTo>
                <a:lnTo>
                  <a:pt x="1885" y="45"/>
                </a:lnTo>
                <a:lnTo>
                  <a:pt x="1885" y="42"/>
                </a:lnTo>
                <a:lnTo>
                  <a:pt x="1886" y="40"/>
                </a:lnTo>
                <a:lnTo>
                  <a:pt x="1887" y="39"/>
                </a:lnTo>
                <a:lnTo>
                  <a:pt x="1889" y="36"/>
                </a:lnTo>
                <a:lnTo>
                  <a:pt x="1892" y="34"/>
                </a:lnTo>
                <a:lnTo>
                  <a:pt x="1896" y="32"/>
                </a:lnTo>
                <a:close/>
                <a:moveTo>
                  <a:pt x="1074" y="179"/>
                </a:moveTo>
                <a:lnTo>
                  <a:pt x="1078" y="179"/>
                </a:lnTo>
                <a:lnTo>
                  <a:pt x="1081" y="180"/>
                </a:lnTo>
                <a:lnTo>
                  <a:pt x="1085" y="182"/>
                </a:lnTo>
                <a:lnTo>
                  <a:pt x="1086" y="183"/>
                </a:lnTo>
                <a:lnTo>
                  <a:pt x="1087" y="185"/>
                </a:lnTo>
                <a:lnTo>
                  <a:pt x="1089" y="187"/>
                </a:lnTo>
                <a:lnTo>
                  <a:pt x="1089" y="190"/>
                </a:lnTo>
                <a:lnTo>
                  <a:pt x="1089" y="195"/>
                </a:lnTo>
                <a:lnTo>
                  <a:pt x="1088" y="197"/>
                </a:lnTo>
                <a:lnTo>
                  <a:pt x="1087" y="199"/>
                </a:lnTo>
                <a:lnTo>
                  <a:pt x="1085" y="201"/>
                </a:lnTo>
                <a:lnTo>
                  <a:pt x="1083" y="203"/>
                </a:lnTo>
                <a:lnTo>
                  <a:pt x="1081" y="204"/>
                </a:lnTo>
                <a:lnTo>
                  <a:pt x="1078" y="205"/>
                </a:lnTo>
                <a:lnTo>
                  <a:pt x="1075" y="205"/>
                </a:lnTo>
                <a:lnTo>
                  <a:pt x="1071" y="204"/>
                </a:lnTo>
                <a:lnTo>
                  <a:pt x="1068" y="202"/>
                </a:lnTo>
                <a:lnTo>
                  <a:pt x="1066" y="201"/>
                </a:lnTo>
                <a:lnTo>
                  <a:pt x="1065" y="199"/>
                </a:lnTo>
                <a:lnTo>
                  <a:pt x="1064" y="197"/>
                </a:lnTo>
                <a:lnTo>
                  <a:pt x="1063" y="194"/>
                </a:lnTo>
                <a:lnTo>
                  <a:pt x="1063" y="189"/>
                </a:lnTo>
                <a:lnTo>
                  <a:pt x="1064" y="187"/>
                </a:lnTo>
                <a:lnTo>
                  <a:pt x="1065" y="184"/>
                </a:lnTo>
                <a:lnTo>
                  <a:pt x="1067" y="182"/>
                </a:lnTo>
                <a:lnTo>
                  <a:pt x="1069" y="181"/>
                </a:lnTo>
                <a:lnTo>
                  <a:pt x="1071" y="179"/>
                </a:lnTo>
                <a:lnTo>
                  <a:pt x="1074" y="179"/>
                </a:lnTo>
                <a:close/>
                <a:moveTo>
                  <a:pt x="1959" y="50"/>
                </a:moveTo>
                <a:lnTo>
                  <a:pt x="1962" y="50"/>
                </a:lnTo>
                <a:lnTo>
                  <a:pt x="1965" y="50"/>
                </a:lnTo>
                <a:lnTo>
                  <a:pt x="1968" y="51"/>
                </a:lnTo>
                <a:lnTo>
                  <a:pt x="1970" y="53"/>
                </a:lnTo>
                <a:lnTo>
                  <a:pt x="1972" y="54"/>
                </a:lnTo>
                <a:lnTo>
                  <a:pt x="1973" y="56"/>
                </a:lnTo>
                <a:lnTo>
                  <a:pt x="1974" y="59"/>
                </a:lnTo>
                <a:lnTo>
                  <a:pt x="1975" y="61"/>
                </a:lnTo>
                <a:lnTo>
                  <a:pt x="1975" y="64"/>
                </a:lnTo>
                <a:lnTo>
                  <a:pt x="1974" y="66"/>
                </a:lnTo>
                <a:lnTo>
                  <a:pt x="1973" y="70"/>
                </a:lnTo>
                <a:lnTo>
                  <a:pt x="1970" y="73"/>
                </a:lnTo>
                <a:lnTo>
                  <a:pt x="1967" y="75"/>
                </a:lnTo>
                <a:lnTo>
                  <a:pt x="1964" y="76"/>
                </a:lnTo>
                <a:lnTo>
                  <a:pt x="1961" y="76"/>
                </a:lnTo>
                <a:lnTo>
                  <a:pt x="1958" y="76"/>
                </a:lnTo>
                <a:lnTo>
                  <a:pt x="1956" y="75"/>
                </a:lnTo>
                <a:lnTo>
                  <a:pt x="1953" y="73"/>
                </a:lnTo>
                <a:lnTo>
                  <a:pt x="1952" y="72"/>
                </a:lnTo>
                <a:lnTo>
                  <a:pt x="1950" y="69"/>
                </a:lnTo>
                <a:lnTo>
                  <a:pt x="1949" y="67"/>
                </a:lnTo>
                <a:lnTo>
                  <a:pt x="1948" y="65"/>
                </a:lnTo>
                <a:lnTo>
                  <a:pt x="1948" y="62"/>
                </a:lnTo>
                <a:lnTo>
                  <a:pt x="1949" y="59"/>
                </a:lnTo>
                <a:lnTo>
                  <a:pt x="1950" y="56"/>
                </a:lnTo>
                <a:lnTo>
                  <a:pt x="1953" y="53"/>
                </a:lnTo>
                <a:lnTo>
                  <a:pt x="1956" y="51"/>
                </a:lnTo>
                <a:lnTo>
                  <a:pt x="1959" y="50"/>
                </a:lnTo>
                <a:close/>
                <a:moveTo>
                  <a:pt x="1019" y="216"/>
                </a:moveTo>
                <a:lnTo>
                  <a:pt x="1023" y="216"/>
                </a:lnTo>
                <a:lnTo>
                  <a:pt x="1026" y="217"/>
                </a:lnTo>
                <a:lnTo>
                  <a:pt x="1029" y="218"/>
                </a:lnTo>
                <a:lnTo>
                  <a:pt x="1032" y="221"/>
                </a:lnTo>
                <a:lnTo>
                  <a:pt x="1033" y="223"/>
                </a:lnTo>
                <a:lnTo>
                  <a:pt x="1034" y="226"/>
                </a:lnTo>
                <a:lnTo>
                  <a:pt x="1035" y="228"/>
                </a:lnTo>
                <a:lnTo>
                  <a:pt x="1034" y="231"/>
                </a:lnTo>
                <a:lnTo>
                  <a:pt x="1034" y="233"/>
                </a:lnTo>
                <a:lnTo>
                  <a:pt x="1033" y="236"/>
                </a:lnTo>
                <a:lnTo>
                  <a:pt x="1031" y="238"/>
                </a:lnTo>
                <a:lnTo>
                  <a:pt x="1029" y="240"/>
                </a:lnTo>
                <a:lnTo>
                  <a:pt x="1026" y="241"/>
                </a:lnTo>
                <a:lnTo>
                  <a:pt x="1024" y="242"/>
                </a:lnTo>
                <a:lnTo>
                  <a:pt x="1020" y="242"/>
                </a:lnTo>
                <a:lnTo>
                  <a:pt x="1016" y="241"/>
                </a:lnTo>
                <a:lnTo>
                  <a:pt x="1013" y="239"/>
                </a:lnTo>
                <a:lnTo>
                  <a:pt x="1011" y="236"/>
                </a:lnTo>
                <a:lnTo>
                  <a:pt x="1009" y="234"/>
                </a:lnTo>
                <a:lnTo>
                  <a:pt x="1008" y="232"/>
                </a:lnTo>
                <a:lnTo>
                  <a:pt x="1008" y="229"/>
                </a:lnTo>
                <a:lnTo>
                  <a:pt x="1008" y="227"/>
                </a:lnTo>
                <a:lnTo>
                  <a:pt x="1009" y="224"/>
                </a:lnTo>
                <a:lnTo>
                  <a:pt x="1010" y="222"/>
                </a:lnTo>
                <a:lnTo>
                  <a:pt x="1012" y="220"/>
                </a:lnTo>
                <a:lnTo>
                  <a:pt x="1014" y="218"/>
                </a:lnTo>
                <a:lnTo>
                  <a:pt x="1016" y="217"/>
                </a:lnTo>
                <a:lnTo>
                  <a:pt x="1019" y="216"/>
                </a:lnTo>
                <a:close/>
                <a:moveTo>
                  <a:pt x="2023" y="67"/>
                </a:moveTo>
                <a:lnTo>
                  <a:pt x="2026" y="67"/>
                </a:lnTo>
                <a:lnTo>
                  <a:pt x="2029" y="68"/>
                </a:lnTo>
                <a:lnTo>
                  <a:pt x="2031" y="69"/>
                </a:lnTo>
                <a:lnTo>
                  <a:pt x="2034" y="70"/>
                </a:lnTo>
                <a:lnTo>
                  <a:pt x="2035" y="72"/>
                </a:lnTo>
                <a:lnTo>
                  <a:pt x="2037" y="74"/>
                </a:lnTo>
                <a:lnTo>
                  <a:pt x="2038" y="76"/>
                </a:lnTo>
                <a:lnTo>
                  <a:pt x="2039" y="79"/>
                </a:lnTo>
                <a:lnTo>
                  <a:pt x="2039" y="81"/>
                </a:lnTo>
                <a:lnTo>
                  <a:pt x="2038" y="84"/>
                </a:lnTo>
                <a:lnTo>
                  <a:pt x="2037" y="88"/>
                </a:lnTo>
                <a:lnTo>
                  <a:pt x="2034" y="90"/>
                </a:lnTo>
                <a:lnTo>
                  <a:pt x="2031" y="92"/>
                </a:lnTo>
                <a:lnTo>
                  <a:pt x="2028" y="94"/>
                </a:lnTo>
                <a:lnTo>
                  <a:pt x="2025" y="94"/>
                </a:lnTo>
                <a:lnTo>
                  <a:pt x="2022" y="93"/>
                </a:lnTo>
                <a:lnTo>
                  <a:pt x="2019" y="92"/>
                </a:lnTo>
                <a:lnTo>
                  <a:pt x="2017" y="91"/>
                </a:lnTo>
                <a:lnTo>
                  <a:pt x="2015" y="89"/>
                </a:lnTo>
                <a:lnTo>
                  <a:pt x="2014" y="87"/>
                </a:lnTo>
                <a:lnTo>
                  <a:pt x="2013" y="85"/>
                </a:lnTo>
                <a:lnTo>
                  <a:pt x="2012" y="82"/>
                </a:lnTo>
                <a:lnTo>
                  <a:pt x="2012" y="80"/>
                </a:lnTo>
                <a:lnTo>
                  <a:pt x="2013" y="77"/>
                </a:lnTo>
                <a:lnTo>
                  <a:pt x="2014" y="73"/>
                </a:lnTo>
                <a:lnTo>
                  <a:pt x="2017" y="71"/>
                </a:lnTo>
                <a:lnTo>
                  <a:pt x="2020" y="69"/>
                </a:lnTo>
                <a:lnTo>
                  <a:pt x="2023" y="67"/>
                </a:lnTo>
                <a:close/>
                <a:moveTo>
                  <a:pt x="966" y="255"/>
                </a:moveTo>
                <a:lnTo>
                  <a:pt x="970" y="255"/>
                </a:lnTo>
                <a:lnTo>
                  <a:pt x="973" y="256"/>
                </a:lnTo>
                <a:lnTo>
                  <a:pt x="976" y="258"/>
                </a:lnTo>
                <a:lnTo>
                  <a:pt x="979" y="260"/>
                </a:lnTo>
                <a:lnTo>
                  <a:pt x="980" y="262"/>
                </a:lnTo>
                <a:lnTo>
                  <a:pt x="981" y="265"/>
                </a:lnTo>
                <a:lnTo>
                  <a:pt x="982" y="267"/>
                </a:lnTo>
                <a:lnTo>
                  <a:pt x="981" y="270"/>
                </a:lnTo>
                <a:lnTo>
                  <a:pt x="981" y="272"/>
                </a:lnTo>
                <a:lnTo>
                  <a:pt x="980" y="275"/>
                </a:lnTo>
                <a:lnTo>
                  <a:pt x="978" y="277"/>
                </a:lnTo>
                <a:lnTo>
                  <a:pt x="977" y="279"/>
                </a:lnTo>
                <a:lnTo>
                  <a:pt x="974" y="280"/>
                </a:lnTo>
                <a:lnTo>
                  <a:pt x="971" y="281"/>
                </a:lnTo>
                <a:lnTo>
                  <a:pt x="967" y="282"/>
                </a:lnTo>
                <a:lnTo>
                  <a:pt x="964" y="281"/>
                </a:lnTo>
                <a:lnTo>
                  <a:pt x="961" y="279"/>
                </a:lnTo>
                <a:lnTo>
                  <a:pt x="958" y="277"/>
                </a:lnTo>
                <a:lnTo>
                  <a:pt x="957" y="274"/>
                </a:lnTo>
                <a:lnTo>
                  <a:pt x="956" y="272"/>
                </a:lnTo>
                <a:lnTo>
                  <a:pt x="955" y="269"/>
                </a:lnTo>
                <a:lnTo>
                  <a:pt x="955" y="267"/>
                </a:lnTo>
                <a:lnTo>
                  <a:pt x="956" y="264"/>
                </a:lnTo>
                <a:lnTo>
                  <a:pt x="957" y="262"/>
                </a:lnTo>
                <a:lnTo>
                  <a:pt x="958" y="260"/>
                </a:lnTo>
                <a:lnTo>
                  <a:pt x="960" y="258"/>
                </a:lnTo>
                <a:lnTo>
                  <a:pt x="963" y="256"/>
                </a:lnTo>
                <a:lnTo>
                  <a:pt x="966" y="255"/>
                </a:lnTo>
                <a:close/>
                <a:moveTo>
                  <a:pt x="2087" y="85"/>
                </a:moveTo>
                <a:lnTo>
                  <a:pt x="2090" y="85"/>
                </a:lnTo>
                <a:lnTo>
                  <a:pt x="2093" y="85"/>
                </a:lnTo>
                <a:lnTo>
                  <a:pt x="2095" y="86"/>
                </a:lnTo>
                <a:lnTo>
                  <a:pt x="2097" y="88"/>
                </a:lnTo>
                <a:lnTo>
                  <a:pt x="2099" y="89"/>
                </a:lnTo>
                <a:lnTo>
                  <a:pt x="2101" y="92"/>
                </a:lnTo>
                <a:lnTo>
                  <a:pt x="2102" y="94"/>
                </a:lnTo>
                <a:lnTo>
                  <a:pt x="2102" y="96"/>
                </a:lnTo>
                <a:lnTo>
                  <a:pt x="2102" y="99"/>
                </a:lnTo>
                <a:lnTo>
                  <a:pt x="2102" y="102"/>
                </a:lnTo>
                <a:lnTo>
                  <a:pt x="2100" y="105"/>
                </a:lnTo>
                <a:lnTo>
                  <a:pt x="2098" y="108"/>
                </a:lnTo>
                <a:lnTo>
                  <a:pt x="2095" y="110"/>
                </a:lnTo>
                <a:lnTo>
                  <a:pt x="2091" y="111"/>
                </a:lnTo>
                <a:lnTo>
                  <a:pt x="2089" y="111"/>
                </a:lnTo>
                <a:lnTo>
                  <a:pt x="2086" y="111"/>
                </a:lnTo>
                <a:lnTo>
                  <a:pt x="2083" y="110"/>
                </a:lnTo>
                <a:lnTo>
                  <a:pt x="2081" y="108"/>
                </a:lnTo>
                <a:lnTo>
                  <a:pt x="2079" y="107"/>
                </a:lnTo>
                <a:lnTo>
                  <a:pt x="2078" y="105"/>
                </a:lnTo>
                <a:lnTo>
                  <a:pt x="2077" y="102"/>
                </a:lnTo>
                <a:lnTo>
                  <a:pt x="2076" y="100"/>
                </a:lnTo>
                <a:lnTo>
                  <a:pt x="2076" y="97"/>
                </a:lnTo>
                <a:lnTo>
                  <a:pt x="2076" y="95"/>
                </a:lnTo>
                <a:lnTo>
                  <a:pt x="2078" y="91"/>
                </a:lnTo>
                <a:lnTo>
                  <a:pt x="2080" y="88"/>
                </a:lnTo>
                <a:lnTo>
                  <a:pt x="2083" y="86"/>
                </a:lnTo>
                <a:lnTo>
                  <a:pt x="2087" y="85"/>
                </a:lnTo>
                <a:close/>
                <a:moveTo>
                  <a:pt x="915" y="297"/>
                </a:moveTo>
                <a:lnTo>
                  <a:pt x="918" y="297"/>
                </a:lnTo>
                <a:lnTo>
                  <a:pt x="922" y="298"/>
                </a:lnTo>
                <a:lnTo>
                  <a:pt x="925" y="299"/>
                </a:lnTo>
                <a:lnTo>
                  <a:pt x="927" y="302"/>
                </a:lnTo>
                <a:lnTo>
                  <a:pt x="929" y="304"/>
                </a:lnTo>
                <a:lnTo>
                  <a:pt x="930" y="306"/>
                </a:lnTo>
                <a:lnTo>
                  <a:pt x="930" y="309"/>
                </a:lnTo>
                <a:lnTo>
                  <a:pt x="930" y="311"/>
                </a:lnTo>
                <a:lnTo>
                  <a:pt x="930" y="314"/>
                </a:lnTo>
                <a:lnTo>
                  <a:pt x="929" y="316"/>
                </a:lnTo>
                <a:lnTo>
                  <a:pt x="928" y="318"/>
                </a:lnTo>
                <a:lnTo>
                  <a:pt x="926" y="320"/>
                </a:lnTo>
                <a:lnTo>
                  <a:pt x="923" y="322"/>
                </a:lnTo>
                <a:lnTo>
                  <a:pt x="919" y="323"/>
                </a:lnTo>
                <a:lnTo>
                  <a:pt x="916" y="323"/>
                </a:lnTo>
                <a:lnTo>
                  <a:pt x="913" y="323"/>
                </a:lnTo>
                <a:lnTo>
                  <a:pt x="910" y="321"/>
                </a:lnTo>
                <a:lnTo>
                  <a:pt x="907" y="319"/>
                </a:lnTo>
                <a:lnTo>
                  <a:pt x="906" y="317"/>
                </a:lnTo>
                <a:lnTo>
                  <a:pt x="905" y="314"/>
                </a:lnTo>
                <a:lnTo>
                  <a:pt x="904" y="312"/>
                </a:lnTo>
                <a:lnTo>
                  <a:pt x="904" y="309"/>
                </a:lnTo>
                <a:lnTo>
                  <a:pt x="904" y="307"/>
                </a:lnTo>
                <a:lnTo>
                  <a:pt x="905" y="304"/>
                </a:lnTo>
                <a:lnTo>
                  <a:pt x="907" y="302"/>
                </a:lnTo>
                <a:lnTo>
                  <a:pt x="909" y="300"/>
                </a:lnTo>
                <a:lnTo>
                  <a:pt x="912" y="298"/>
                </a:lnTo>
                <a:lnTo>
                  <a:pt x="915" y="297"/>
                </a:lnTo>
                <a:close/>
                <a:moveTo>
                  <a:pt x="2151" y="103"/>
                </a:moveTo>
                <a:lnTo>
                  <a:pt x="2154" y="102"/>
                </a:lnTo>
                <a:lnTo>
                  <a:pt x="2156" y="103"/>
                </a:lnTo>
                <a:lnTo>
                  <a:pt x="2159" y="104"/>
                </a:lnTo>
                <a:lnTo>
                  <a:pt x="2161" y="105"/>
                </a:lnTo>
                <a:lnTo>
                  <a:pt x="2163" y="107"/>
                </a:lnTo>
                <a:lnTo>
                  <a:pt x="2164" y="109"/>
                </a:lnTo>
                <a:lnTo>
                  <a:pt x="2165" y="111"/>
                </a:lnTo>
                <a:lnTo>
                  <a:pt x="2166" y="114"/>
                </a:lnTo>
                <a:lnTo>
                  <a:pt x="2166" y="117"/>
                </a:lnTo>
                <a:lnTo>
                  <a:pt x="2166" y="119"/>
                </a:lnTo>
                <a:lnTo>
                  <a:pt x="2164" y="123"/>
                </a:lnTo>
                <a:lnTo>
                  <a:pt x="2162" y="125"/>
                </a:lnTo>
                <a:lnTo>
                  <a:pt x="2159" y="128"/>
                </a:lnTo>
                <a:lnTo>
                  <a:pt x="2155" y="129"/>
                </a:lnTo>
                <a:lnTo>
                  <a:pt x="2152" y="129"/>
                </a:lnTo>
                <a:lnTo>
                  <a:pt x="2149" y="128"/>
                </a:lnTo>
                <a:lnTo>
                  <a:pt x="2147" y="127"/>
                </a:lnTo>
                <a:lnTo>
                  <a:pt x="2145" y="126"/>
                </a:lnTo>
                <a:lnTo>
                  <a:pt x="2143" y="124"/>
                </a:lnTo>
                <a:lnTo>
                  <a:pt x="2141" y="122"/>
                </a:lnTo>
                <a:lnTo>
                  <a:pt x="2140" y="120"/>
                </a:lnTo>
                <a:lnTo>
                  <a:pt x="2140" y="117"/>
                </a:lnTo>
                <a:lnTo>
                  <a:pt x="2140" y="115"/>
                </a:lnTo>
                <a:lnTo>
                  <a:pt x="2140" y="112"/>
                </a:lnTo>
                <a:lnTo>
                  <a:pt x="2142" y="109"/>
                </a:lnTo>
                <a:lnTo>
                  <a:pt x="2144" y="106"/>
                </a:lnTo>
                <a:lnTo>
                  <a:pt x="2147" y="104"/>
                </a:lnTo>
                <a:lnTo>
                  <a:pt x="2151" y="103"/>
                </a:lnTo>
                <a:close/>
                <a:moveTo>
                  <a:pt x="865" y="341"/>
                </a:moveTo>
                <a:lnTo>
                  <a:pt x="869" y="341"/>
                </a:lnTo>
                <a:lnTo>
                  <a:pt x="872" y="342"/>
                </a:lnTo>
                <a:lnTo>
                  <a:pt x="875" y="343"/>
                </a:lnTo>
                <a:lnTo>
                  <a:pt x="876" y="344"/>
                </a:lnTo>
                <a:lnTo>
                  <a:pt x="877" y="345"/>
                </a:lnTo>
                <a:lnTo>
                  <a:pt x="879" y="347"/>
                </a:lnTo>
                <a:lnTo>
                  <a:pt x="880" y="350"/>
                </a:lnTo>
                <a:lnTo>
                  <a:pt x="881" y="352"/>
                </a:lnTo>
                <a:lnTo>
                  <a:pt x="881" y="355"/>
                </a:lnTo>
                <a:lnTo>
                  <a:pt x="881" y="357"/>
                </a:lnTo>
                <a:lnTo>
                  <a:pt x="880" y="360"/>
                </a:lnTo>
                <a:lnTo>
                  <a:pt x="879" y="362"/>
                </a:lnTo>
                <a:lnTo>
                  <a:pt x="877" y="364"/>
                </a:lnTo>
                <a:lnTo>
                  <a:pt x="874" y="366"/>
                </a:lnTo>
                <a:lnTo>
                  <a:pt x="870" y="367"/>
                </a:lnTo>
                <a:lnTo>
                  <a:pt x="867" y="367"/>
                </a:lnTo>
                <a:lnTo>
                  <a:pt x="864" y="367"/>
                </a:lnTo>
                <a:lnTo>
                  <a:pt x="861" y="365"/>
                </a:lnTo>
                <a:lnTo>
                  <a:pt x="859" y="364"/>
                </a:lnTo>
                <a:lnTo>
                  <a:pt x="858" y="363"/>
                </a:lnTo>
                <a:lnTo>
                  <a:pt x="856" y="361"/>
                </a:lnTo>
                <a:lnTo>
                  <a:pt x="855" y="359"/>
                </a:lnTo>
                <a:lnTo>
                  <a:pt x="855" y="356"/>
                </a:lnTo>
                <a:lnTo>
                  <a:pt x="855" y="354"/>
                </a:lnTo>
                <a:lnTo>
                  <a:pt x="855" y="351"/>
                </a:lnTo>
                <a:lnTo>
                  <a:pt x="856" y="349"/>
                </a:lnTo>
                <a:lnTo>
                  <a:pt x="857" y="346"/>
                </a:lnTo>
                <a:lnTo>
                  <a:pt x="859" y="344"/>
                </a:lnTo>
                <a:lnTo>
                  <a:pt x="862" y="342"/>
                </a:lnTo>
                <a:lnTo>
                  <a:pt x="865" y="341"/>
                </a:lnTo>
                <a:close/>
                <a:moveTo>
                  <a:pt x="2215" y="120"/>
                </a:moveTo>
                <a:lnTo>
                  <a:pt x="2218" y="120"/>
                </a:lnTo>
                <a:lnTo>
                  <a:pt x="2221" y="120"/>
                </a:lnTo>
                <a:lnTo>
                  <a:pt x="2224" y="121"/>
                </a:lnTo>
                <a:lnTo>
                  <a:pt x="2226" y="123"/>
                </a:lnTo>
                <a:lnTo>
                  <a:pt x="2228" y="125"/>
                </a:lnTo>
                <a:lnTo>
                  <a:pt x="2229" y="127"/>
                </a:lnTo>
                <a:lnTo>
                  <a:pt x="2230" y="129"/>
                </a:lnTo>
                <a:lnTo>
                  <a:pt x="2231" y="131"/>
                </a:lnTo>
                <a:lnTo>
                  <a:pt x="2231" y="134"/>
                </a:lnTo>
                <a:lnTo>
                  <a:pt x="2230" y="137"/>
                </a:lnTo>
                <a:lnTo>
                  <a:pt x="2230" y="139"/>
                </a:lnTo>
                <a:lnTo>
                  <a:pt x="2229" y="140"/>
                </a:lnTo>
                <a:lnTo>
                  <a:pt x="2227" y="143"/>
                </a:lnTo>
                <a:lnTo>
                  <a:pt x="2223" y="145"/>
                </a:lnTo>
                <a:lnTo>
                  <a:pt x="2220" y="146"/>
                </a:lnTo>
                <a:lnTo>
                  <a:pt x="2217" y="146"/>
                </a:lnTo>
                <a:lnTo>
                  <a:pt x="2214" y="146"/>
                </a:lnTo>
                <a:lnTo>
                  <a:pt x="2212" y="145"/>
                </a:lnTo>
                <a:lnTo>
                  <a:pt x="2208" y="144"/>
                </a:lnTo>
                <a:lnTo>
                  <a:pt x="2207" y="142"/>
                </a:lnTo>
                <a:lnTo>
                  <a:pt x="2205" y="140"/>
                </a:lnTo>
                <a:lnTo>
                  <a:pt x="2204" y="137"/>
                </a:lnTo>
                <a:lnTo>
                  <a:pt x="2204" y="135"/>
                </a:lnTo>
                <a:lnTo>
                  <a:pt x="2203" y="132"/>
                </a:lnTo>
                <a:lnTo>
                  <a:pt x="2204" y="130"/>
                </a:lnTo>
                <a:lnTo>
                  <a:pt x="2205" y="128"/>
                </a:lnTo>
                <a:lnTo>
                  <a:pt x="2205" y="126"/>
                </a:lnTo>
                <a:lnTo>
                  <a:pt x="2208" y="123"/>
                </a:lnTo>
                <a:lnTo>
                  <a:pt x="2212" y="121"/>
                </a:lnTo>
                <a:lnTo>
                  <a:pt x="2215" y="120"/>
                </a:lnTo>
                <a:close/>
                <a:moveTo>
                  <a:pt x="818" y="387"/>
                </a:moveTo>
                <a:lnTo>
                  <a:pt x="821" y="387"/>
                </a:lnTo>
                <a:lnTo>
                  <a:pt x="824" y="387"/>
                </a:lnTo>
                <a:lnTo>
                  <a:pt x="827" y="389"/>
                </a:lnTo>
                <a:lnTo>
                  <a:pt x="830" y="391"/>
                </a:lnTo>
                <a:lnTo>
                  <a:pt x="831" y="393"/>
                </a:lnTo>
                <a:lnTo>
                  <a:pt x="832" y="395"/>
                </a:lnTo>
                <a:lnTo>
                  <a:pt x="833" y="398"/>
                </a:lnTo>
                <a:lnTo>
                  <a:pt x="833" y="400"/>
                </a:lnTo>
                <a:lnTo>
                  <a:pt x="833" y="403"/>
                </a:lnTo>
                <a:lnTo>
                  <a:pt x="832" y="405"/>
                </a:lnTo>
                <a:lnTo>
                  <a:pt x="831" y="407"/>
                </a:lnTo>
                <a:lnTo>
                  <a:pt x="830" y="409"/>
                </a:lnTo>
                <a:lnTo>
                  <a:pt x="826" y="412"/>
                </a:lnTo>
                <a:lnTo>
                  <a:pt x="822" y="413"/>
                </a:lnTo>
                <a:lnTo>
                  <a:pt x="819" y="413"/>
                </a:lnTo>
                <a:lnTo>
                  <a:pt x="816" y="413"/>
                </a:lnTo>
                <a:lnTo>
                  <a:pt x="813" y="411"/>
                </a:lnTo>
                <a:lnTo>
                  <a:pt x="811" y="409"/>
                </a:lnTo>
                <a:lnTo>
                  <a:pt x="809" y="407"/>
                </a:lnTo>
                <a:lnTo>
                  <a:pt x="808" y="405"/>
                </a:lnTo>
                <a:lnTo>
                  <a:pt x="807" y="403"/>
                </a:lnTo>
                <a:lnTo>
                  <a:pt x="807" y="400"/>
                </a:lnTo>
                <a:lnTo>
                  <a:pt x="807" y="398"/>
                </a:lnTo>
                <a:lnTo>
                  <a:pt x="808" y="395"/>
                </a:lnTo>
                <a:lnTo>
                  <a:pt x="809" y="393"/>
                </a:lnTo>
                <a:lnTo>
                  <a:pt x="811" y="391"/>
                </a:lnTo>
                <a:lnTo>
                  <a:pt x="814" y="388"/>
                </a:lnTo>
                <a:lnTo>
                  <a:pt x="818" y="387"/>
                </a:lnTo>
                <a:close/>
                <a:moveTo>
                  <a:pt x="2279" y="138"/>
                </a:moveTo>
                <a:lnTo>
                  <a:pt x="2282" y="137"/>
                </a:lnTo>
                <a:lnTo>
                  <a:pt x="2285" y="138"/>
                </a:lnTo>
                <a:lnTo>
                  <a:pt x="2287" y="139"/>
                </a:lnTo>
                <a:lnTo>
                  <a:pt x="2290" y="140"/>
                </a:lnTo>
                <a:lnTo>
                  <a:pt x="2292" y="142"/>
                </a:lnTo>
                <a:lnTo>
                  <a:pt x="2293" y="144"/>
                </a:lnTo>
                <a:lnTo>
                  <a:pt x="2294" y="146"/>
                </a:lnTo>
                <a:lnTo>
                  <a:pt x="2295" y="149"/>
                </a:lnTo>
                <a:lnTo>
                  <a:pt x="2295" y="152"/>
                </a:lnTo>
                <a:lnTo>
                  <a:pt x="2294" y="154"/>
                </a:lnTo>
                <a:lnTo>
                  <a:pt x="2293" y="158"/>
                </a:lnTo>
                <a:lnTo>
                  <a:pt x="2290" y="161"/>
                </a:lnTo>
                <a:lnTo>
                  <a:pt x="2287" y="163"/>
                </a:lnTo>
                <a:lnTo>
                  <a:pt x="2284" y="164"/>
                </a:lnTo>
                <a:lnTo>
                  <a:pt x="2281" y="164"/>
                </a:lnTo>
                <a:lnTo>
                  <a:pt x="2278" y="163"/>
                </a:lnTo>
                <a:lnTo>
                  <a:pt x="2275" y="163"/>
                </a:lnTo>
                <a:lnTo>
                  <a:pt x="2273" y="161"/>
                </a:lnTo>
                <a:lnTo>
                  <a:pt x="2271" y="159"/>
                </a:lnTo>
                <a:lnTo>
                  <a:pt x="2270" y="157"/>
                </a:lnTo>
                <a:lnTo>
                  <a:pt x="2269" y="155"/>
                </a:lnTo>
                <a:lnTo>
                  <a:pt x="2268" y="152"/>
                </a:lnTo>
                <a:lnTo>
                  <a:pt x="2268" y="150"/>
                </a:lnTo>
                <a:lnTo>
                  <a:pt x="2269" y="147"/>
                </a:lnTo>
                <a:lnTo>
                  <a:pt x="2269" y="145"/>
                </a:lnTo>
                <a:lnTo>
                  <a:pt x="2270" y="144"/>
                </a:lnTo>
                <a:lnTo>
                  <a:pt x="2273" y="141"/>
                </a:lnTo>
                <a:lnTo>
                  <a:pt x="2276" y="139"/>
                </a:lnTo>
                <a:lnTo>
                  <a:pt x="2279" y="138"/>
                </a:lnTo>
                <a:close/>
                <a:moveTo>
                  <a:pt x="2343" y="155"/>
                </a:moveTo>
                <a:lnTo>
                  <a:pt x="2346" y="155"/>
                </a:lnTo>
                <a:lnTo>
                  <a:pt x="2349" y="155"/>
                </a:lnTo>
                <a:lnTo>
                  <a:pt x="2351" y="156"/>
                </a:lnTo>
                <a:lnTo>
                  <a:pt x="2353" y="158"/>
                </a:lnTo>
                <a:lnTo>
                  <a:pt x="2355" y="160"/>
                </a:lnTo>
                <a:lnTo>
                  <a:pt x="2357" y="162"/>
                </a:lnTo>
                <a:lnTo>
                  <a:pt x="2358" y="164"/>
                </a:lnTo>
                <a:lnTo>
                  <a:pt x="2358" y="166"/>
                </a:lnTo>
                <a:lnTo>
                  <a:pt x="2358" y="169"/>
                </a:lnTo>
                <a:lnTo>
                  <a:pt x="2358" y="172"/>
                </a:lnTo>
                <a:lnTo>
                  <a:pt x="2357" y="174"/>
                </a:lnTo>
                <a:lnTo>
                  <a:pt x="2357" y="175"/>
                </a:lnTo>
                <a:lnTo>
                  <a:pt x="2354" y="178"/>
                </a:lnTo>
                <a:lnTo>
                  <a:pt x="2351" y="180"/>
                </a:lnTo>
                <a:lnTo>
                  <a:pt x="2348" y="181"/>
                </a:lnTo>
                <a:lnTo>
                  <a:pt x="2345" y="181"/>
                </a:lnTo>
                <a:lnTo>
                  <a:pt x="2342" y="181"/>
                </a:lnTo>
                <a:lnTo>
                  <a:pt x="2339" y="180"/>
                </a:lnTo>
                <a:lnTo>
                  <a:pt x="2337" y="179"/>
                </a:lnTo>
                <a:lnTo>
                  <a:pt x="2335" y="177"/>
                </a:lnTo>
                <a:lnTo>
                  <a:pt x="2334" y="175"/>
                </a:lnTo>
                <a:lnTo>
                  <a:pt x="2333" y="172"/>
                </a:lnTo>
                <a:lnTo>
                  <a:pt x="2332" y="170"/>
                </a:lnTo>
                <a:lnTo>
                  <a:pt x="2332" y="167"/>
                </a:lnTo>
                <a:lnTo>
                  <a:pt x="2333" y="165"/>
                </a:lnTo>
                <a:lnTo>
                  <a:pt x="2333" y="163"/>
                </a:lnTo>
                <a:lnTo>
                  <a:pt x="2334" y="161"/>
                </a:lnTo>
                <a:lnTo>
                  <a:pt x="2336" y="158"/>
                </a:lnTo>
                <a:lnTo>
                  <a:pt x="2339" y="156"/>
                </a:lnTo>
                <a:lnTo>
                  <a:pt x="2343" y="155"/>
                </a:lnTo>
                <a:close/>
                <a:moveTo>
                  <a:pt x="772" y="435"/>
                </a:moveTo>
                <a:lnTo>
                  <a:pt x="775" y="435"/>
                </a:lnTo>
                <a:lnTo>
                  <a:pt x="778" y="435"/>
                </a:lnTo>
                <a:lnTo>
                  <a:pt x="781" y="436"/>
                </a:lnTo>
                <a:lnTo>
                  <a:pt x="783" y="438"/>
                </a:lnTo>
                <a:lnTo>
                  <a:pt x="785" y="440"/>
                </a:lnTo>
                <a:lnTo>
                  <a:pt x="786" y="442"/>
                </a:lnTo>
                <a:lnTo>
                  <a:pt x="787" y="445"/>
                </a:lnTo>
                <a:lnTo>
                  <a:pt x="787" y="447"/>
                </a:lnTo>
                <a:lnTo>
                  <a:pt x="787" y="450"/>
                </a:lnTo>
                <a:lnTo>
                  <a:pt x="787" y="452"/>
                </a:lnTo>
                <a:lnTo>
                  <a:pt x="786" y="455"/>
                </a:lnTo>
                <a:lnTo>
                  <a:pt x="784" y="457"/>
                </a:lnTo>
                <a:lnTo>
                  <a:pt x="781" y="459"/>
                </a:lnTo>
                <a:lnTo>
                  <a:pt x="779" y="460"/>
                </a:lnTo>
                <a:lnTo>
                  <a:pt x="777" y="461"/>
                </a:lnTo>
                <a:lnTo>
                  <a:pt x="774" y="461"/>
                </a:lnTo>
                <a:lnTo>
                  <a:pt x="771" y="460"/>
                </a:lnTo>
                <a:lnTo>
                  <a:pt x="768" y="459"/>
                </a:lnTo>
                <a:lnTo>
                  <a:pt x="765" y="457"/>
                </a:lnTo>
                <a:lnTo>
                  <a:pt x="763" y="455"/>
                </a:lnTo>
                <a:lnTo>
                  <a:pt x="762" y="453"/>
                </a:lnTo>
                <a:lnTo>
                  <a:pt x="761" y="451"/>
                </a:lnTo>
                <a:lnTo>
                  <a:pt x="761" y="448"/>
                </a:lnTo>
                <a:lnTo>
                  <a:pt x="761" y="446"/>
                </a:lnTo>
                <a:lnTo>
                  <a:pt x="762" y="443"/>
                </a:lnTo>
                <a:lnTo>
                  <a:pt x="763" y="441"/>
                </a:lnTo>
                <a:lnTo>
                  <a:pt x="765" y="439"/>
                </a:lnTo>
                <a:lnTo>
                  <a:pt x="768" y="436"/>
                </a:lnTo>
                <a:lnTo>
                  <a:pt x="770" y="435"/>
                </a:lnTo>
                <a:lnTo>
                  <a:pt x="772" y="435"/>
                </a:lnTo>
                <a:close/>
                <a:moveTo>
                  <a:pt x="2407" y="173"/>
                </a:moveTo>
                <a:lnTo>
                  <a:pt x="2410" y="172"/>
                </a:lnTo>
                <a:lnTo>
                  <a:pt x="2413" y="173"/>
                </a:lnTo>
                <a:lnTo>
                  <a:pt x="2415" y="174"/>
                </a:lnTo>
                <a:lnTo>
                  <a:pt x="2417" y="175"/>
                </a:lnTo>
                <a:lnTo>
                  <a:pt x="2419" y="177"/>
                </a:lnTo>
                <a:lnTo>
                  <a:pt x="2421" y="179"/>
                </a:lnTo>
                <a:lnTo>
                  <a:pt x="2422" y="181"/>
                </a:lnTo>
                <a:lnTo>
                  <a:pt x="2422" y="184"/>
                </a:lnTo>
                <a:lnTo>
                  <a:pt x="2422" y="186"/>
                </a:lnTo>
                <a:lnTo>
                  <a:pt x="2422" y="189"/>
                </a:lnTo>
                <a:lnTo>
                  <a:pt x="2421" y="191"/>
                </a:lnTo>
                <a:lnTo>
                  <a:pt x="2420" y="193"/>
                </a:lnTo>
                <a:lnTo>
                  <a:pt x="2418" y="195"/>
                </a:lnTo>
                <a:lnTo>
                  <a:pt x="2415" y="198"/>
                </a:lnTo>
                <a:lnTo>
                  <a:pt x="2411" y="199"/>
                </a:lnTo>
                <a:lnTo>
                  <a:pt x="2409" y="199"/>
                </a:lnTo>
                <a:lnTo>
                  <a:pt x="2406" y="198"/>
                </a:lnTo>
                <a:lnTo>
                  <a:pt x="2403" y="197"/>
                </a:lnTo>
                <a:lnTo>
                  <a:pt x="2401" y="196"/>
                </a:lnTo>
                <a:lnTo>
                  <a:pt x="2399" y="194"/>
                </a:lnTo>
                <a:lnTo>
                  <a:pt x="2398" y="192"/>
                </a:lnTo>
                <a:lnTo>
                  <a:pt x="2397" y="190"/>
                </a:lnTo>
                <a:lnTo>
                  <a:pt x="2396" y="187"/>
                </a:lnTo>
                <a:lnTo>
                  <a:pt x="2396" y="185"/>
                </a:lnTo>
                <a:lnTo>
                  <a:pt x="2396" y="182"/>
                </a:lnTo>
                <a:lnTo>
                  <a:pt x="2397" y="180"/>
                </a:lnTo>
                <a:lnTo>
                  <a:pt x="2398" y="179"/>
                </a:lnTo>
                <a:lnTo>
                  <a:pt x="2400" y="176"/>
                </a:lnTo>
                <a:lnTo>
                  <a:pt x="2403" y="174"/>
                </a:lnTo>
                <a:lnTo>
                  <a:pt x="2407" y="173"/>
                </a:lnTo>
                <a:close/>
                <a:moveTo>
                  <a:pt x="727" y="484"/>
                </a:moveTo>
                <a:lnTo>
                  <a:pt x="730" y="484"/>
                </a:lnTo>
                <a:lnTo>
                  <a:pt x="733" y="484"/>
                </a:lnTo>
                <a:lnTo>
                  <a:pt x="735" y="485"/>
                </a:lnTo>
                <a:lnTo>
                  <a:pt x="739" y="487"/>
                </a:lnTo>
                <a:lnTo>
                  <a:pt x="741" y="489"/>
                </a:lnTo>
                <a:lnTo>
                  <a:pt x="742" y="491"/>
                </a:lnTo>
                <a:lnTo>
                  <a:pt x="743" y="494"/>
                </a:lnTo>
                <a:lnTo>
                  <a:pt x="743" y="496"/>
                </a:lnTo>
                <a:lnTo>
                  <a:pt x="743" y="499"/>
                </a:lnTo>
                <a:lnTo>
                  <a:pt x="743" y="501"/>
                </a:lnTo>
                <a:lnTo>
                  <a:pt x="742" y="503"/>
                </a:lnTo>
                <a:lnTo>
                  <a:pt x="740" y="506"/>
                </a:lnTo>
                <a:lnTo>
                  <a:pt x="739" y="506"/>
                </a:lnTo>
                <a:lnTo>
                  <a:pt x="738" y="507"/>
                </a:lnTo>
                <a:lnTo>
                  <a:pt x="737" y="509"/>
                </a:lnTo>
                <a:lnTo>
                  <a:pt x="734" y="509"/>
                </a:lnTo>
                <a:lnTo>
                  <a:pt x="731" y="510"/>
                </a:lnTo>
                <a:lnTo>
                  <a:pt x="729" y="510"/>
                </a:lnTo>
                <a:lnTo>
                  <a:pt x="726" y="510"/>
                </a:lnTo>
                <a:lnTo>
                  <a:pt x="723" y="509"/>
                </a:lnTo>
                <a:lnTo>
                  <a:pt x="720" y="507"/>
                </a:lnTo>
                <a:lnTo>
                  <a:pt x="719" y="505"/>
                </a:lnTo>
                <a:lnTo>
                  <a:pt x="717" y="503"/>
                </a:lnTo>
                <a:lnTo>
                  <a:pt x="716" y="500"/>
                </a:lnTo>
                <a:lnTo>
                  <a:pt x="716" y="498"/>
                </a:lnTo>
                <a:lnTo>
                  <a:pt x="716" y="495"/>
                </a:lnTo>
                <a:lnTo>
                  <a:pt x="717" y="493"/>
                </a:lnTo>
                <a:lnTo>
                  <a:pt x="718" y="490"/>
                </a:lnTo>
                <a:lnTo>
                  <a:pt x="719" y="488"/>
                </a:lnTo>
                <a:lnTo>
                  <a:pt x="720" y="487"/>
                </a:lnTo>
                <a:lnTo>
                  <a:pt x="721" y="487"/>
                </a:lnTo>
                <a:lnTo>
                  <a:pt x="723" y="485"/>
                </a:lnTo>
                <a:lnTo>
                  <a:pt x="725" y="484"/>
                </a:lnTo>
                <a:lnTo>
                  <a:pt x="727" y="484"/>
                </a:lnTo>
                <a:close/>
                <a:moveTo>
                  <a:pt x="2471" y="190"/>
                </a:moveTo>
                <a:lnTo>
                  <a:pt x="2473" y="190"/>
                </a:lnTo>
                <a:lnTo>
                  <a:pt x="2476" y="190"/>
                </a:lnTo>
                <a:lnTo>
                  <a:pt x="2479" y="191"/>
                </a:lnTo>
                <a:lnTo>
                  <a:pt x="2481" y="193"/>
                </a:lnTo>
                <a:lnTo>
                  <a:pt x="2483" y="194"/>
                </a:lnTo>
                <a:lnTo>
                  <a:pt x="2484" y="196"/>
                </a:lnTo>
                <a:lnTo>
                  <a:pt x="2485" y="199"/>
                </a:lnTo>
                <a:lnTo>
                  <a:pt x="2486" y="201"/>
                </a:lnTo>
                <a:lnTo>
                  <a:pt x="2486" y="204"/>
                </a:lnTo>
                <a:lnTo>
                  <a:pt x="2486" y="206"/>
                </a:lnTo>
                <a:lnTo>
                  <a:pt x="2485" y="208"/>
                </a:lnTo>
                <a:lnTo>
                  <a:pt x="2484" y="210"/>
                </a:lnTo>
                <a:lnTo>
                  <a:pt x="2482" y="213"/>
                </a:lnTo>
                <a:lnTo>
                  <a:pt x="2479" y="215"/>
                </a:lnTo>
                <a:lnTo>
                  <a:pt x="2475" y="216"/>
                </a:lnTo>
                <a:lnTo>
                  <a:pt x="2472" y="216"/>
                </a:lnTo>
                <a:lnTo>
                  <a:pt x="2469" y="216"/>
                </a:lnTo>
                <a:lnTo>
                  <a:pt x="2467" y="215"/>
                </a:lnTo>
                <a:lnTo>
                  <a:pt x="2465" y="213"/>
                </a:lnTo>
                <a:lnTo>
                  <a:pt x="2463" y="212"/>
                </a:lnTo>
                <a:lnTo>
                  <a:pt x="2461" y="210"/>
                </a:lnTo>
                <a:lnTo>
                  <a:pt x="2460" y="207"/>
                </a:lnTo>
                <a:lnTo>
                  <a:pt x="2460" y="205"/>
                </a:lnTo>
                <a:lnTo>
                  <a:pt x="2460" y="202"/>
                </a:lnTo>
                <a:lnTo>
                  <a:pt x="2460" y="199"/>
                </a:lnTo>
                <a:lnTo>
                  <a:pt x="2461" y="198"/>
                </a:lnTo>
                <a:lnTo>
                  <a:pt x="2462" y="196"/>
                </a:lnTo>
                <a:lnTo>
                  <a:pt x="2464" y="193"/>
                </a:lnTo>
                <a:lnTo>
                  <a:pt x="2467" y="191"/>
                </a:lnTo>
                <a:lnTo>
                  <a:pt x="2471" y="190"/>
                </a:lnTo>
                <a:close/>
                <a:moveTo>
                  <a:pt x="2534" y="207"/>
                </a:moveTo>
                <a:lnTo>
                  <a:pt x="2537" y="207"/>
                </a:lnTo>
                <a:lnTo>
                  <a:pt x="2540" y="207"/>
                </a:lnTo>
                <a:lnTo>
                  <a:pt x="2543" y="208"/>
                </a:lnTo>
                <a:lnTo>
                  <a:pt x="2545" y="210"/>
                </a:lnTo>
                <a:lnTo>
                  <a:pt x="2547" y="211"/>
                </a:lnTo>
                <a:lnTo>
                  <a:pt x="2548" y="214"/>
                </a:lnTo>
                <a:lnTo>
                  <a:pt x="2549" y="216"/>
                </a:lnTo>
                <a:lnTo>
                  <a:pt x="2550" y="218"/>
                </a:lnTo>
                <a:lnTo>
                  <a:pt x="2550" y="221"/>
                </a:lnTo>
                <a:lnTo>
                  <a:pt x="2550" y="224"/>
                </a:lnTo>
                <a:lnTo>
                  <a:pt x="2549" y="225"/>
                </a:lnTo>
                <a:lnTo>
                  <a:pt x="2548" y="227"/>
                </a:lnTo>
                <a:lnTo>
                  <a:pt x="2546" y="230"/>
                </a:lnTo>
                <a:lnTo>
                  <a:pt x="2543" y="232"/>
                </a:lnTo>
                <a:lnTo>
                  <a:pt x="2539" y="233"/>
                </a:lnTo>
                <a:lnTo>
                  <a:pt x="2536" y="233"/>
                </a:lnTo>
                <a:lnTo>
                  <a:pt x="2533" y="233"/>
                </a:lnTo>
                <a:lnTo>
                  <a:pt x="2531" y="232"/>
                </a:lnTo>
                <a:lnTo>
                  <a:pt x="2529" y="231"/>
                </a:lnTo>
                <a:lnTo>
                  <a:pt x="2527" y="229"/>
                </a:lnTo>
                <a:lnTo>
                  <a:pt x="2525" y="227"/>
                </a:lnTo>
                <a:lnTo>
                  <a:pt x="2524" y="224"/>
                </a:lnTo>
                <a:lnTo>
                  <a:pt x="2524" y="222"/>
                </a:lnTo>
                <a:lnTo>
                  <a:pt x="2524" y="219"/>
                </a:lnTo>
                <a:lnTo>
                  <a:pt x="2524" y="217"/>
                </a:lnTo>
                <a:lnTo>
                  <a:pt x="2525" y="215"/>
                </a:lnTo>
                <a:lnTo>
                  <a:pt x="2526" y="213"/>
                </a:lnTo>
                <a:lnTo>
                  <a:pt x="2528" y="210"/>
                </a:lnTo>
                <a:lnTo>
                  <a:pt x="2531" y="208"/>
                </a:lnTo>
                <a:lnTo>
                  <a:pt x="2534" y="207"/>
                </a:lnTo>
                <a:close/>
                <a:moveTo>
                  <a:pt x="684" y="535"/>
                </a:moveTo>
                <a:lnTo>
                  <a:pt x="687" y="534"/>
                </a:lnTo>
                <a:lnTo>
                  <a:pt x="690" y="535"/>
                </a:lnTo>
                <a:lnTo>
                  <a:pt x="692" y="536"/>
                </a:lnTo>
                <a:lnTo>
                  <a:pt x="695" y="537"/>
                </a:lnTo>
                <a:lnTo>
                  <a:pt x="697" y="539"/>
                </a:lnTo>
                <a:lnTo>
                  <a:pt x="698" y="541"/>
                </a:lnTo>
                <a:lnTo>
                  <a:pt x="700" y="546"/>
                </a:lnTo>
                <a:lnTo>
                  <a:pt x="700" y="549"/>
                </a:lnTo>
                <a:lnTo>
                  <a:pt x="699" y="551"/>
                </a:lnTo>
                <a:lnTo>
                  <a:pt x="698" y="554"/>
                </a:lnTo>
                <a:lnTo>
                  <a:pt x="697" y="556"/>
                </a:lnTo>
                <a:lnTo>
                  <a:pt x="695" y="558"/>
                </a:lnTo>
                <a:lnTo>
                  <a:pt x="693" y="559"/>
                </a:lnTo>
                <a:lnTo>
                  <a:pt x="691" y="560"/>
                </a:lnTo>
                <a:lnTo>
                  <a:pt x="689" y="561"/>
                </a:lnTo>
                <a:lnTo>
                  <a:pt x="686" y="561"/>
                </a:lnTo>
                <a:lnTo>
                  <a:pt x="683" y="560"/>
                </a:lnTo>
                <a:lnTo>
                  <a:pt x="681" y="559"/>
                </a:lnTo>
                <a:lnTo>
                  <a:pt x="678" y="558"/>
                </a:lnTo>
                <a:lnTo>
                  <a:pt x="676" y="556"/>
                </a:lnTo>
                <a:lnTo>
                  <a:pt x="675" y="554"/>
                </a:lnTo>
                <a:lnTo>
                  <a:pt x="673" y="549"/>
                </a:lnTo>
                <a:lnTo>
                  <a:pt x="673" y="546"/>
                </a:lnTo>
                <a:lnTo>
                  <a:pt x="674" y="544"/>
                </a:lnTo>
                <a:lnTo>
                  <a:pt x="675" y="542"/>
                </a:lnTo>
                <a:lnTo>
                  <a:pt x="676" y="539"/>
                </a:lnTo>
                <a:lnTo>
                  <a:pt x="678" y="538"/>
                </a:lnTo>
                <a:lnTo>
                  <a:pt x="680" y="536"/>
                </a:lnTo>
                <a:lnTo>
                  <a:pt x="682" y="535"/>
                </a:lnTo>
                <a:lnTo>
                  <a:pt x="684" y="535"/>
                </a:lnTo>
                <a:close/>
                <a:moveTo>
                  <a:pt x="2598" y="224"/>
                </a:moveTo>
                <a:lnTo>
                  <a:pt x="2601" y="224"/>
                </a:lnTo>
                <a:lnTo>
                  <a:pt x="2604" y="224"/>
                </a:lnTo>
                <a:lnTo>
                  <a:pt x="2607" y="225"/>
                </a:lnTo>
                <a:lnTo>
                  <a:pt x="2609" y="227"/>
                </a:lnTo>
                <a:lnTo>
                  <a:pt x="2611" y="228"/>
                </a:lnTo>
                <a:lnTo>
                  <a:pt x="2612" y="231"/>
                </a:lnTo>
                <a:lnTo>
                  <a:pt x="2613" y="233"/>
                </a:lnTo>
                <a:lnTo>
                  <a:pt x="2614" y="235"/>
                </a:lnTo>
                <a:lnTo>
                  <a:pt x="2614" y="238"/>
                </a:lnTo>
                <a:lnTo>
                  <a:pt x="2613" y="241"/>
                </a:lnTo>
                <a:lnTo>
                  <a:pt x="2613" y="242"/>
                </a:lnTo>
                <a:lnTo>
                  <a:pt x="2612" y="244"/>
                </a:lnTo>
                <a:lnTo>
                  <a:pt x="2610" y="247"/>
                </a:lnTo>
                <a:lnTo>
                  <a:pt x="2606" y="249"/>
                </a:lnTo>
                <a:lnTo>
                  <a:pt x="2603" y="250"/>
                </a:lnTo>
                <a:lnTo>
                  <a:pt x="2600" y="250"/>
                </a:lnTo>
                <a:lnTo>
                  <a:pt x="2597" y="250"/>
                </a:lnTo>
                <a:lnTo>
                  <a:pt x="2595" y="249"/>
                </a:lnTo>
                <a:lnTo>
                  <a:pt x="2593" y="248"/>
                </a:lnTo>
                <a:lnTo>
                  <a:pt x="2591" y="246"/>
                </a:lnTo>
                <a:lnTo>
                  <a:pt x="2589" y="244"/>
                </a:lnTo>
                <a:lnTo>
                  <a:pt x="2588" y="242"/>
                </a:lnTo>
                <a:lnTo>
                  <a:pt x="2588" y="239"/>
                </a:lnTo>
                <a:lnTo>
                  <a:pt x="2587" y="236"/>
                </a:lnTo>
                <a:lnTo>
                  <a:pt x="2588" y="234"/>
                </a:lnTo>
                <a:lnTo>
                  <a:pt x="2589" y="232"/>
                </a:lnTo>
                <a:lnTo>
                  <a:pt x="2589" y="230"/>
                </a:lnTo>
                <a:lnTo>
                  <a:pt x="2592" y="227"/>
                </a:lnTo>
                <a:lnTo>
                  <a:pt x="2595" y="225"/>
                </a:lnTo>
                <a:lnTo>
                  <a:pt x="2598" y="224"/>
                </a:lnTo>
                <a:close/>
                <a:moveTo>
                  <a:pt x="643" y="587"/>
                </a:moveTo>
                <a:lnTo>
                  <a:pt x="646" y="586"/>
                </a:lnTo>
                <a:lnTo>
                  <a:pt x="649" y="587"/>
                </a:lnTo>
                <a:lnTo>
                  <a:pt x="651" y="588"/>
                </a:lnTo>
                <a:lnTo>
                  <a:pt x="654" y="589"/>
                </a:lnTo>
                <a:lnTo>
                  <a:pt x="656" y="591"/>
                </a:lnTo>
                <a:lnTo>
                  <a:pt x="657" y="593"/>
                </a:lnTo>
                <a:lnTo>
                  <a:pt x="658" y="595"/>
                </a:lnTo>
                <a:lnTo>
                  <a:pt x="659" y="598"/>
                </a:lnTo>
                <a:lnTo>
                  <a:pt x="659" y="600"/>
                </a:lnTo>
                <a:lnTo>
                  <a:pt x="659" y="603"/>
                </a:lnTo>
                <a:lnTo>
                  <a:pt x="658" y="605"/>
                </a:lnTo>
                <a:lnTo>
                  <a:pt x="656" y="608"/>
                </a:lnTo>
                <a:lnTo>
                  <a:pt x="655" y="610"/>
                </a:lnTo>
                <a:lnTo>
                  <a:pt x="653" y="611"/>
                </a:lnTo>
                <a:lnTo>
                  <a:pt x="650" y="612"/>
                </a:lnTo>
                <a:lnTo>
                  <a:pt x="648" y="613"/>
                </a:lnTo>
                <a:lnTo>
                  <a:pt x="645" y="613"/>
                </a:lnTo>
                <a:lnTo>
                  <a:pt x="643" y="613"/>
                </a:lnTo>
                <a:lnTo>
                  <a:pt x="640" y="612"/>
                </a:lnTo>
                <a:lnTo>
                  <a:pt x="638" y="610"/>
                </a:lnTo>
                <a:lnTo>
                  <a:pt x="636" y="608"/>
                </a:lnTo>
                <a:lnTo>
                  <a:pt x="634" y="606"/>
                </a:lnTo>
                <a:lnTo>
                  <a:pt x="633" y="604"/>
                </a:lnTo>
                <a:lnTo>
                  <a:pt x="633" y="601"/>
                </a:lnTo>
                <a:lnTo>
                  <a:pt x="633" y="599"/>
                </a:lnTo>
                <a:lnTo>
                  <a:pt x="633" y="596"/>
                </a:lnTo>
                <a:lnTo>
                  <a:pt x="634" y="594"/>
                </a:lnTo>
                <a:lnTo>
                  <a:pt x="635" y="592"/>
                </a:lnTo>
                <a:lnTo>
                  <a:pt x="637" y="590"/>
                </a:lnTo>
                <a:lnTo>
                  <a:pt x="639" y="588"/>
                </a:lnTo>
                <a:lnTo>
                  <a:pt x="641" y="587"/>
                </a:lnTo>
                <a:lnTo>
                  <a:pt x="643" y="587"/>
                </a:lnTo>
                <a:close/>
                <a:moveTo>
                  <a:pt x="2662" y="241"/>
                </a:moveTo>
                <a:lnTo>
                  <a:pt x="2665" y="241"/>
                </a:lnTo>
                <a:lnTo>
                  <a:pt x="2668" y="241"/>
                </a:lnTo>
                <a:lnTo>
                  <a:pt x="2670" y="242"/>
                </a:lnTo>
                <a:lnTo>
                  <a:pt x="2673" y="244"/>
                </a:lnTo>
                <a:lnTo>
                  <a:pt x="2675" y="245"/>
                </a:lnTo>
                <a:lnTo>
                  <a:pt x="2676" y="247"/>
                </a:lnTo>
                <a:lnTo>
                  <a:pt x="2677" y="250"/>
                </a:lnTo>
                <a:lnTo>
                  <a:pt x="2678" y="252"/>
                </a:lnTo>
                <a:lnTo>
                  <a:pt x="2678" y="255"/>
                </a:lnTo>
                <a:lnTo>
                  <a:pt x="2677" y="257"/>
                </a:lnTo>
                <a:lnTo>
                  <a:pt x="2677" y="259"/>
                </a:lnTo>
                <a:lnTo>
                  <a:pt x="2676" y="261"/>
                </a:lnTo>
                <a:lnTo>
                  <a:pt x="2674" y="264"/>
                </a:lnTo>
                <a:lnTo>
                  <a:pt x="2670" y="266"/>
                </a:lnTo>
                <a:lnTo>
                  <a:pt x="2667" y="267"/>
                </a:lnTo>
                <a:lnTo>
                  <a:pt x="2664" y="267"/>
                </a:lnTo>
                <a:lnTo>
                  <a:pt x="2661" y="267"/>
                </a:lnTo>
                <a:lnTo>
                  <a:pt x="2659" y="266"/>
                </a:lnTo>
                <a:lnTo>
                  <a:pt x="2657" y="265"/>
                </a:lnTo>
                <a:lnTo>
                  <a:pt x="2655" y="263"/>
                </a:lnTo>
                <a:lnTo>
                  <a:pt x="2653" y="261"/>
                </a:lnTo>
                <a:lnTo>
                  <a:pt x="2652" y="258"/>
                </a:lnTo>
                <a:lnTo>
                  <a:pt x="2652" y="256"/>
                </a:lnTo>
                <a:lnTo>
                  <a:pt x="2651" y="253"/>
                </a:lnTo>
                <a:lnTo>
                  <a:pt x="2652" y="251"/>
                </a:lnTo>
                <a:lnTo>
                  <a:pt x="2652" y="249"/>
                </a:lnTo>
                <a:lnTo>
                  <a:pt x="2653" y="247"/>
                </a:lnTo>
                <a:lnTo>
                  <a:pt x="2656" y="244"/>
                </a:lnTo>
                <a:lnTo>
                  <a:pt x="2659" y="242"/>
                </a:lnTo>
                <a:lnTo>
                  <a:pt x="2662" y="241"/>
                </a:lnTo>
                <a:close/>
                <a:moveTo>
                  <a:pt x="2726" y="258"/>
                </a:moveTo>
                <a:lnTo>
                  <a:pt x="2729" y="257"/>
                </a:lnTo>
                <a:lnTo>
                  <a:pt x="2732" y="258"/>
                </a:lnTo>
                <a:lnTo>
                  <a:pt x="2734" y="259"/>
                </a:lnTo>
                <a:lnTo>
                  <a:pt x="2737" y="260"/>
                </a:lnTo>
                <a:lnTo>
                  <a:pt x="2739" y="262"/>
                </a:lnTo>
                <a:lnTo>
                  <a:pt x="2740" y="264"/>
                </a:lnTo>
                <a:lnTo>
                  <a:pt x="2741" y="266"/>
                </a:lnTo>
                <a:lnTo>
                  <a:pt x="2742" y="269"/>
                </a:lnTo>
                <a:lnTo>
                  <a:pt x="2742" y="271"/>
                </a:lnTo>
                <a:lnTo>
                  <a:pt x="2741" y="274"/>
                </a:lnTo>
                <a:lnTo>
                  <a:pt x="2741" y="276"/>
                </a:lnTo>
                <a:lnTo>
                  <a:pt x="2740" y="278"/>
                </a:lnTo>
                <a:lnTo>
                  <a:pt x="2738" y="280"/>
                </a:lnTo>
                <a:lnTo>
                  <a:pt x="2734" y="283"/>
                </a:lnTo>
                <a:lnTo>
                  <a:pt x="2731" y="284"/>
                </a:lnTo>
                <a:lnTo>
                  <a:pt x="2728" y="284"/>
                </a:lnTo>
                <a:lnTo>
                  <a:pt x="2725" y="284"/>
                </a:lnTo>
                <a:lnTo>
                  <a:pt x="2723" y="283"/>
                </a:lnTo>
                <a:lnTo>
                  <a:pt x="2721" y="281"/>
                </a:lnTo>
                <a:lnTo>
                  <a:pt x="2719" y="279"/>
                </a:lnTo>
                <a:lnTo>
                  <a:pt x="2717" y="277"/>
                </a:lnTo>
                <a:lnTo>
                  <a:pt x="2716" y="275"/>
                </a:lnTo>
                <a:lnTo>
                  <a:pt x="2716" y="273"/>
                </a:lnTo>
                <a:lnTo>
                  <a:pt x="2715" y="270"/>
                </a:lnTo>
                <a:lnTo>
                  <a:pt x="2716" y="267"/>
                </a:lnTo>
                <a:lnTo>
                  <a:pt x="2716" y="266"/>
                </a:lnTo>
                <a:lnTo>
                  <a:pt x="2717" y="264"/>
                </a:lnTo>
                <a:lnTo>
                  <a:pt x="2720" y="261"/>
                </a:lnTo>
                <a:lnTo>
                  <a:pt x="2723" y="259"/>
                </a:lnTo>
                <a:lnTo>
                  <a:pt x="2726" y="258"/>
                </a:lnTo>
                <a:close/>
                <a:moveTo>
                  <a:pt x="604" y="640"/>
                </a:moveTo>
                <a:lnTo>
                  <a:pt x="609" y="640"/>
                </a:lnTo>
                <a:lnTo>
                  <a:pt x="612" y="641"/>
                </a:lnTo>
                <a:lnTo>
                  <a:pt x="614" y="642"/>
                </a:lnTo>
                <a:lnTo>
                  <a:pt x="616" y="644"/>
                </a:lnTo>
                <a:lnTo>
                  <a:pt x="618" y="646"/>
                </a:lnTo>
                <a:lnTo>
                  <a:pt x="619" y="648"/>
                </a:lnTo>
                <a:lnTo>
                  <a:pt x="619" y="651"/>
                </a:lnTo>
                <a:lnTo>
                  <a:pt x="620" y="653"/>
                </a:lnTo>
                <a:lnTo>
                  <a:pt x="619" y="656"/>
                </a:lnTo>
                <a:lnTo>
                  <a:pt x="619" y="658"/>
                </a:lnTo>
                <a:lnTo>
                  <a:pt x="617" y="661"/>
                </a:lnTo>
                <a:lnTo>
                  <a:pt x="615" y="663"/>
                </a:lnTo>
                <a:lnTo>
                  <a:pt x="613" y="664"/>
                </a:lnTo>
                <a:lnTo>
                  <a:pt x="611" y="665"/>
                </a:lnTo>
                <a:lnTo>
                  <a:pt x="609" y="666"/>
                </a:lnTo>
                <a:lnTo>
                  <a:pt x="604" y="666"/>
                </a:lnTo>
                <a:lnTo>
                  <a:pt x="601" y="665"/>
                </a:lnTo>
                <a:lnTo>
                  <a:pt x="599" y="664"/>
                </a:lnTo>
                <a:lnTo>
                  <a:pt x="597" y="662"/>
                </a:lnTo>
                <a:lnTo>
                  <a:pt x="595" y="660"/>
                </a:lnTo>
                <a:lnTo>
                  <a:pt x="594" y="657"/>
                </a:lnTo>
                <a:lnTo>
                  <a:pt x="593" y="655"/>
                </a:lnTo>
                <a:lnTo>
                  <a:pt x="593" y="652"/>
                </a:lnTo>
                <a:lnTo>
                  <a:pt x="593" y="650"/>
                </a:lnTo>
                <a:lnTo>
                  <a:pt x="594" y="647"/>
                </a:lnTo>
                <a:lnTo>
                  <a:pt x="596" y="645"/>
                </a:lnTo>
                <a:lnTo>
                  <a:pt x="597" y="643"/>
                </a:lnTo>
                <a:lnTo>
                  <a:pt x="599" y="642"/>
                </a:lnTo>
                <a:lnTo>
                  <a:pt x="602" y="640"/>
                </a:lnTo>
                <a:lnTo>
                  <a:pt x="604" y="640"/>
                </a:lnTo>
                <a:close/>
                <a:moveTo>
                  <a:pt x="2790" y="274"/>
                </a:moveTo>
                <a:lnTo>
                  <a:pt x="2793" y="274"/>
                </a:lnTo>
                <a:lnTo>
                  <a:pt x="2796" y="274"/>
                </a:lnTo>
                <a:lnTo>
                  <a:pt x="2798" y="275"/>
                </a:lnTo>
                <a:lnTo>
                  <a:pt x="2801" y="276"/>
                </a:lnTo>
                <a:lnTo>
                  <a:pt x="2803" y="278"/>
                </a:lnTo>
                <a:lnTo>
                  <a:pt x="2804" y="280"/>
                </a:lnTo>
                <a:lnTo>
                  <a:pt x="2805" y="283"/>
                </a:lnTo>
                <a:lnTo>
                  <a:pt x="2806" y="285"/>
                </a:lnTo>
                <a:lnTo>
                  <a:pt x="2806" y="288"/>
                </a:lnTo>
                <a:lnTo>
                  <a:pt x="2806" y="290"/>
                </a:lnTo>
                <a:lnTo>
                  <a:pt x="2805" y="292"/>
                </a:lnTo>
                <a:lnTo>
                  <a:pt x="2804" y="294"/>
                </a:lnTo>
                <a:lnTo>
                  <a:pt x="2802" y="297"/>
                </a:lnTo>
                <a:lnTo>
                  <a:pt x="2799" y="299"/>
                </a:lnTo>
                <a:lnTo>
                  <a:pt x="2795" y="300"/>
                </a:lnTo>
                <a:lnTo>
                  <a:pt x="2792" y="300"/>
                </a:lnTo>
                <a:lnTo>
                  <a:pt x="2789" y="300"/>
                </a:lnTo>
                <a:lnTo>
                  <a:pt x="2787" y="299"/>
                </a:lnTo>
                <a:lnTo>
                  <a:pt x="2785" y="298"/>
                </a:lnTo>
                <a:lnTo>
                  <a:pt x="2783" y="296"/>
                </a:lnTo>
                <a:lnTo>
                  <a:pt x="2781" y="294"/>
                </a:lnTo>
                <a:lnTo>
                  <a:pt x="2780" y="292"/>
                </a:lnTo>
                <a:lnTo>
                  <a:pt x="2780" y="289"/>
                </a:lnTo>
                <a:lnTo>
                  <a:pt x="2780" y="286"/>
                </a:lnTo>
                <a:lnTo>
                  <a:pt x="2780" y="284"/>
                </a:lnTo>
                <a:lnTo>
                  <a:pt x="2781" y="282"/>
                </a:lnTo>
                <a:lnTo>
                  <a:pt x="2781" y="280"/>
                </a:lnTo>
                <a:lnTo>
                  <a:pt x="2784" y="277"/>
                </a:lnTo>
                <a:lnTo>
                  <a:pt x="2787" y="275"/>
                </a:lnTo>
                <a:lnTo>
                  <a:pt x="2790" y="274"/>
                </a:lnTo>
                <a:close/>
                <a:moveTo>
                  <a:pt x="2855" y="290"/>
                </a:moveTo>
                <a:lnTo>
                  <a:pt x="2857" y="290"/>
                </a:lnTo>
                <a:lnTo>
                  <a:pt x="2860" y="290"/>
                </a:lnTo>
                <a:lnTo>
                  <a:pt x="2863" y="291"/>
                </a:lnTo>
                <a:lnTo>
                  <a:pt x="2865" y="292"/>
                </a:lnTo>
                <a:lnTo>
                  <a:pt x="2867" y="294"/>
                </a:lnTo>
                <a:lnTo>
                  <a:pt x="2868" y="296"/>
                </a:lnTo>
                <a:lnTo>
                  <a:pt x="2869" y="298"/>
                </a:lnTo>
                <a:lnTo>
                  <a:pt x="2870" y="301"/>
                </a:lnTo>
                <a:lnTo>
                  <a:pt x="2870" y="303"/>
                </a:lnTo>
                <a:lnTo>
                  <a:pt x="2870" y="306"/>
                </a:lnTo>
                <a:lnTo>
                  <a:pt x="2868" y="310"/>
                </a:lnTo>
                <a:lnTo>
                  <a:pt x="2866" y="313"/>
                </a:lnTo>
                <a:lnTo>
                  <a:pt x="2863" y="315"/>
                </a:lnTo>
                <a:lnTo>
                  <a:pt x="2859" y="316"/>
                </a:lnTo>
                <a:lnTo>
                  <a:pt x="2857" y="316"/>
                </a:lnTo>
                <a:lnTo>
                  <a:pt x="2854" y="316"/>
                </a:lnTo>
                <a:lnTo>
                  <a:pt x="2851" y="315"/>
                </a:lnTo>
                <a:lnTo>
                  <a:pt x="2849" y="314"/>
                </a:lnTo>
                <a:lnTo>
                  <a:pt x="2847" y="312"/>
                </a:lnTo>
                <a:lnTo>
                  <a:pt x="2846" y="310"/>
                </a:lnTo>
                <a:lnTo>
                  <a:pt x="2845" y="308"/>
                </a:lnTo>
                <a:lnTo>
                  <a:pt x="2844" y="305"/>
                </a:lnTo>
                <a:lnTo>
                  <a:pt x="2844" y="302"/>
                </a:lnTo>
                <a:lnTo>
                  <a:pt x="2844" y="300"/>
                </a:lnTo>
                <a:lnTo>
                  <a:pt x="2846" y="296"/>
                </a:lnTo>
                <a:lnTo>
                  <a:pt x="2848" y="293"/>
                </a:lnTo>
                <a:lnTo>
                  <a:pt x="2851" y="291"/>
                </a:lnTo>
                <a:lnTo>
                  <a:pt x="2855" y="290"/>
                </a:lnTo>
                <a:close/>
                <a:moveTo>
                  <a:pt x="566" y="694"/>
                </a:moveTo>
                <a:lnTo>
                  <a:pt x="571" y="694"/>
                </a:lnTo>
                <a:lnTo>
                  <a:pt x="574" y="695"/>
                </a:lnTo>
                <a:lnTo>
                  <a:pt x="576" y="696"/>
                </a:lnTo>
                <a:lnTo>
                  <a:pt x="578" y="698"/>
                </a:lnTo>
                <a:lnTo>
                  <a:pt x="580" y="700"/>
                </a:lnTo>
                <a:lnTo>
                  <a:pt x="581" y="702"/>
                </a:lnTo>
                <a:lnTo>
                  <a:pt x="582" y="705"/>
                </a:lnTo>
                <a:lnTo>
                  <a:pt x="582" y="710"/>
                </a:lnTo>
                <a:lnTo>
                  <a:pt x="581" y="712"/>
                </a:lnTo>
                <a:lnTo>
                  <a:pt x="580" y="715"/>
                </a:lnTo>
                <a:lnTo>
                  <a:pt x="578" y="717"/>
                </a:lnTo>
                <a:lnTo>
                  <a:pt x="576" y="718"/>
                </a:lnTo>
                <a:lnTo>
                  <a:pt x="573" y="719"/>
                </a:lnTo>
                <a:lnTo>
                  <a:pt x="571" y="720"/>
                </a:lnTo>
                <a:lnTo>
                  <a:pt x="566" y="720"/>
                </a:lnTo>
                <a:lnTo>
                  <a:pt x="564" y="719"/>
                </a:lnTo>
                <a:lnTo>
                  <a:pt x="561" y="718"/>
                </a:lnTo>
                <a:lnTo>
                  <a:pt x="559" y="716"/>
                </a:lnTo>
                <a:lnTo>
                  <a:pt x="558" y="714"/>
                </a:lnTo>
                <a:lnTo>
                  <a:pt x="556" y="712"/>
                </a:lnTo>
                <a:lnTo>
                  <a:pt x="556" y="710"/>
                </a:lnTo>
                <a:lnTo>
                  <a:pt x="556" y="705"/>
                </a:lnTo>
                <a:lnTo>
                  <a:pt x="556" y="702"/>
                </a:lnTo>
                <a:lnTo>
                  <a:pt x="558" y="700"/>
                </a:lnTo>
                <a:lnTo>
                  <a:pt x="559" y="698"/>
                </a:lnTo>
                <a:lnTo>
                  <a:pt x="562" y="696"/>
                </a:lnTo>
                <a:lnTo>
                  <a:pt x="564" y="695"/>
                </a:lnTo>
                <a:lnTo>
                  <a:pt x="566" y="694"/>
                </a:lnTo>
                <a:close/>
                <a:moveTo>
                  <a:pt x="2919" y="305"/>
                </a:moveTo>
                <a:lnTo>
                  <a:pt x="2922" y="305"/>
                </a:lnTo>
                <a:lnTo>
                  <a:pt x="2924" y="305"/>
                </a:lnTo>
                <a:lnTo>
                  <a:pt x="2927" y="306"/>
                </a:lnTo>
                <a:lnTo>
                  <a:pt x="2929" y="308"/>
                </a:lnTo>
                <a:lnTo>
                  <a:pt x="2931" y="309"/>
                </a:lnTo>
                <a:lnTo>
                  <a:pt x="2932" y="311"/>
                </a:lnTo>
                <a:lnTo>
                  <a:pt x="2934" y="314"/>
                </a:lnTo>
                <a:lnTo>
                  <a:pt x="2934" y="316"/>
                </a:lnTo>
                <a:lnTo>
                  <a:pt x="2934" y="319"/>
                </a:lnTo>
                <a:lnTo>
                  <a:pt x="2934" y="321"/>
                </a:lnTo>
                <a:lnTo>
                  <a:pt x="2933" y="325"/>
                </a:lnTo>
                <a:lnTo>
                  <a:pt x="2930" y="328"/>
                </a:lnTo>
                <a:lnTo>
                  <a:pt x="2927" y="330"/>
                </a:lnTo>
                <a:lnTo>
                  <a:pt x="2924" y="331"/>
                </a:lnTo>
                <a:lnTo>
                  <a:pt x="2921" y="332"/>
                </a:lnTo>
                <a:lnTo>
                  <a:pt x="2918" y="331"/>
                </a:lnTo>
                <a:lnTo>
                  <a:pt x="2916" y="330"/>
                </a:lnTo>
                <a:lnTo>
                  <a:pt x="2913" y="329"/>
                </a:lnTo>
                <a:lnTo>
                  <a:pt x="2912" y="327"/>
                </a:lnTo>
                <a:lnTo>
                  <a:pt x="2910" y="325"/>
                </a:lnTo>
                <a:lnTo>
                  <a:pt x="2909" y="323"/>
                </a:lnTo>
                <a:lnTo>
                  <a:pt x="2908" y="321"/>
                </a:lnTo>
                <a:lnTo>
                  <a:pt x="2908" y="318"/>
                </a:lnTo>
                <a:lnTo>
                  <a:pt x="2908" y="315"/>
                </a:lnTo>
                <a:lnTo>
                  <a:pt x="2910" y="312"/>
                </a:lnTo>
                <a:lnTo>
                  <a:pt x="2912" y="309"/>
                </a:lnTo>
                <a:lnTo>
                  <a:pt x="2915" y="306"/>
                </a:lnTo>
                <a:lnTo>
                  <a:pt x="2919" y="305"/>
                </a:lnTo>
                <a:close/>
                <a:moveTo>
                  <a:pt x="530" y="749"/>
                </a:moveTo>
                <a:lnTo>
                  <a:pt x="535" y="749"/>
                </a:lnTo>
                <a:lnTo>
                  <a:pt x="537" y="750"/>
                </a:lnTo>
                <a:lnTo>
                  <a:pt x="539" y="751"/>
                </a:lnTo>
                <a:lnTo>
                  <a:pt x="542" y="753"/>
                </a:lnTo>
                <a:lnTo>
                  <a:pt x="543" y="755"/>
                </a:lnTo>
                <a:lnTo>
                  <a:pt x="544" y="757"/>
                </a:lnTo>
                <a:lnTo>
                  <a:pt x="545" y="760"/>
                </a:lnTo>
                <a:lnTo>
                  <a:pt x="546" y="762"/>
                </a:lnTo>
                <a:lnTo>
                  <a:pt x="545" y="765"/>
                </a:lnTo>
                <a:lnTo>
                  <a:pt x="545" y="767"/>
                </a:lnTo>
                <a:lnTo>
                  <a:pt x="544" y="770"/>
                </a:lnTo>
                <a:lnTo>
                  <a:pt x="542" y="772"/>
                </a:lnTo>
                <a:lnTo>
                  <a:pt x="540" y="774"/>
                </a:lnTo>
                <a:lnTo>
                  <a:pt x="537" y="775"/>
                </a:lnTo>
                <a:lnTo>
                  <a:pt x="535" y="775"/>
                </a:lnTo>
                <a:lnTo>
                  <a:pt x="530" y="775"/>
                </a:lnTo>
                <a:lnTo>
                  <a:pt x="527" y="775"/>
                </a:lnTo>
                <a:lnTo>
                  <a:pt x="525" y="774"/>
                </a:lnTo>
                <a:lnTo>
                  <a:pt x="523" y="772"/>
                </a:lnTo>
                <a:lnTo>
                  <a:pt x="521" y="770"/>
                </a:lnTo>
                <a:lnTo>
                  <a:pt x="520" y="768"/>
                </a:lnTo>
                <a:lnTo>
                  <a:pt x="519" y="765"/>
                </a:lnTo>
                <a:lnTo>
                  <a:pt x="519" y="763"/>
                </a:lnTo>
                <a:lnTo>
                  <a:pt x="519" y="760"/>
                </a:lnTo>
                <a:lnTo>
                  <a:pt x="520" y="758"/>
                </a:lnTo>
                <a:lnTo>
                  <a:pt x="521" y="755"/>
                </a:lnTo>
                <a:lnTo>
                  <a:pt x="523" y="753"/>
                </a:lnTo>
                <a:lnTo>
                  <a:pt x="525" y="751"/>
                </a:lnTo>
                <a:lnTo>
                  <a:pt x="527" y="750"/>
                </a:lnTo>
                <a:lnTo>
                  <a:pt x="530" y="749"/>
                </a:lnTo>
                <a:close/>
                <a:moveTo>
                  <a:pt x="495" y="806"/>
                </a:moveTo>
                <a:lnTo>
                  <a:pt x="500" y="806"/>
                </a:lnTo>
                <a:lnTo>
                  <a:pt x="502" y="806"/>
                </a:lnTo>
                <a:lnTo>
                  <a:pt x="504" y="807"/>
                </a:lnTo>
                <a:lnTo>
                  <a:pt x="508" y="811"/>
                </a:lnTo>
                <a:lnTo>
                  <a:pt x="510" y="816"/>
                </a:lnTo>
                <a:lnTo>
                  <a:pt x="511" y="818"/>
                </a:lnTo>
                <a:lnTo>
                  <a:pt x="511" y="821"/>
                </a:lnTo>
                <a:lnTo>
                  <a:pt x="510" y="823"/>
                </a:lnTo>
                <a:lnTo>
                  <a:pt x="509" y="826"/>
                </a:lnTo>
                <a:lnTo>
                  <a:pt x="508" y="827"/>
                </a:lnTo>
                <a:lnTo>
                  <a:pt x="507" y="828"/>
                </a:lnTo>
                <a:lnTo>
                  <a:pt x="505" y="830"/>
                </a:lnTo>
                <a:lnTo>
                  <a:pt x="502" y="831"/>
                </a:lnTo>
                <a:lnTo>
                  <a:pt x="500" y="832"/>
                </a:lnTo>
                <a:lnTo>
                  <a:pt x="495" y="832"/>
                </a:lnTo>
                <a:lnTo>
                  <a:pt x="493" y="831"/>
                </a:lnTo>
                <a:lnTo>
                  <a:pt x="491" y="830"/>
                </a:lnTo>
                <a:lnTo>
                  <a:pt x="487" y="826"/>
                </a:lnTo>
                <a:lnTo>
                  <a:pt x="485" y="822"/>
                </a:lnTo>
                <a:lnTo>
                  <a:pt x="484" y="819"/>
                </a:lnTo>
                <a:lnTo>
                  <a:pt x="484" y="817"/>
                </a:lnTo>
                <a:lnTo>
                  <a:pt x="485" y="814"/>
                </a:lnTo>
                <a:lnTo>
                  <a:pt x="486" y="812"/>
                </a:lnTo>
                <a:lnTo>
                  <a:pt x="487" y="811"/>
                </a:lnTo>
                <a:lnTo>
                  <a:pt x="488" y="810"/>
                </a:lnTo>
                <a:lnTo>
                  <a:pt x="490" y="808"/>
                </a:lnTo>
                <a:lnTo>
                  <a:pt x="493" y="806"/>
                </a:lnTo>
                <a:lnTo>
                  <a:pt x="495" y="806"/>
                </a:lnTo>
                <a:close/>
                <a:moveTo>
                  <a:pt x="462" y="863"/>
                </a:moveTo>
                <a:lnTo>
                  <a:pt x="466" y="863"/>
                </a:lnTo>
                <a:lnTo>
                  <a:pt x="468" y="863"/>
                </a:lnTo>
                <a:lnTo>
                  <a:pt x="471" y="864"/>
                </a:lnTo>
                <a:lnTo>
                  <a:pt x="473" y="866"/>
                </a:lnTo>
                <a:lnTo>
                  <a:pt x="475" y="868"/>
                </a:lnTo>
                <a:lnTo>
                  <a:pt x="476" y="870"/>
                </a:lnTo>
                <a:lnTo>
                  <a:pt x="477" y="872"/>
                </a:lnTo>
                <a:lnTo>
                  <a:pt x="477" y="875"/>
                </a:lnTo>
                <a:lnTo>
                  <a:pt x="477" y="877"/>
                </a:lnTo>
                <a:lnTo>
                  <a:pt x="477" y="880"/>
                </a:lnTo>
                <a:lnTo>
                  <a:pt x="476" y="882"/>
                </a:lnTo>
                <a:lnTo>
                  <a:pt x="474" y="885"/>
                </a:lnTo>
                <a:lnTo>
                  <a:pt x="472" y="887"/>
                </a:lnTo>
                <a:lnTo>
                  <a:pt x="469" y="888"/>
                </a:lnTo>
                <a:lnTo>
                  <a:pt x="466" y="889"/>
                </a:lnTo>
                <a:lnTo>
                  <a:pt x="462" y="889"/>
                </a:lnTo>
                <a:lnTo>
                  <a:pt x="460" y="888"/>
                </a:lnTo>
                <a:lnTo>
                  <a:pt x="458" y="887"/>
                </a:lnTo>
                <a:lnTo>
                  <a:pt x="455" y="886"/>
                </a:lnTo>
                <a:lnTo>
                  <a:pt x="454" y="884"/>
                </a:lnTo>
                <a:lnTo>
                  <a:pt x="452" y="882"/>
                </a:lnTo>
                <a:lnTo>
                  <a:pt x="451" y="879"/>
                </a:lnTo>
                <a:lnTo>
                  <a:pt x="451" y="877"/>
                </a:lnTo>
                <a:lnTo>
                  <a:pt x="451" y="874"/>
                </a:lnTo>
                <a:lnTo>
                  <a:pt x="451" y="872"/>
                </a:lnTo>
                <a:lnTo>
                  <a:pt x="453" y="869"/>
                </a:lnTo>
                <a:lnTo>
                  <a:pt x="454" y="867"/>
                </a:lnTo>
                <a:lnTo>
                  <a:pt x="457" y="865"/>
                </a:lnTo>
                <a:lnTo>
                  <a:pt x="459" y="864"/>
                </a:lnTo>
                <a:lnTo>
                  <a:pt x="462" y="863"/>
                </a:lnTo>
                <a:close/>
                <a:moveTo>
                  <a:pt x="430" y="921"/>
                </a:moveTo>
                <a:lnTo>
                  <a:pt x="434" y="921"/>
                </a:lnTo>
                <a:lnTo>
                  <a:pt x="436" y="921"/>
                </a:lnTo>
                <a:lnTo>
                  <a:pt x="438" y="922"/>
                </a:lnTo>
                <a:lnTo>
                  <a:pt x="440" y="923"/>
                </a:lnTo>
                <a:lnTo>
                  <a:pt x="442" y="925"/>
                </a:lnTo>
                <a:lnTo>
                  <a:pt x="444" y="927"/>
                </a:lnTo>
                <a:lnTo>
                  <a:pt x="445" y="930"/>
                </a:lnTo>
                <a:lnTo>
                  <a:pt x="445" y="932"/>
                </a:lnTo>
                <a:lnTo>
                  <a:pt x="445" y="935"/>
                </a:lnTo>
                <a:lnTo>
                  <a:pt x="445" y="937"/>
                </a:lnTo>
                <a:lnTo>
                  <a:pt x="444" y="940"/>
                </a:lnTo>
                <a:lnTo>
                  <a:pt x="442" y="942"/>
                </a:lnTo>
                <a:lnTo>
                  <a:pt x="440" y="944"/>
                </a:lnTo>
                <a:lnTo>
                  <a:pt x="437" y="946"/>
                </a:lnTo>
                <a:lnTo>
                  <a:pt x="434" y="947"/>
                </a:lnTo>
                <a:lnTo>
                  <a:pt x="430" y="947"/>
                </a:lnTo>
                <a:lnTo>
                  <a:pt x="428" y="946"/>
                </a:lnTo>
                <a:lnTo>
                  <a:pt x="426" y="945"/>
                </a:lnTo>
                <a:lnTo>
                  <a:pt x="423" y="944"/>
                </a:lnTo>
                <a:lnTo>
                  <a:pt x="422" y="942"/>
                </a:lnTo>
                <a:lnTo>
                  <a:pt x="420" y="940"/>
                </a:lnTo>
                <a:lnTo>
                  <a:pt x="419" y="937"/>
                </a:lnTo>
                <a:lnTo>
                  <a:pt x="419" y="935"/>
                </a:lnTo>
                <a:lnTo>
                  <a:pt x="419" y="932"/>
                </a:lnTo>
                <a:lnTo>
                  <a:pt x="419" y="930"/>
                </a:lnTo>
                <a:lnTo>
                  <a:pt x="420" y="927"/>
                </a:lnTo>
                <a:lnTo>
                  <a:pt x="422" y="925"/>
                </a:lnTo>
                <a:lnTo>
                  <a:pt x="424" y="923"/>
                </a:lnTo>
                <a:lnTo>
                  <a:pt x="427" y="921"/>
                </a:lnTo>
                <a:lnTo>
                  <a:pt x="430" y="921"/>
                </a:lnTo>
                <a:close/>
                <a:moveTo>
                  <a:pt x="399" y="979"/>
                </a:moveTo>
                <a:lnTo>
                  <a:pt x="403" y="979"/>
                </a:lnTo>
                <a:lnTo>
                  <a:pt x="407" y="980"/>
                </a:lnTo>
                <a:lnTo>
                  <a:pt x="409" y="982"/>
                </a:lnTo>
                <a:lnTo>
                  <a:pt x="411" y="984"/>
                </a:lnTo>
                <a:lnTo>
                  <a:pt x="413" y="986"/>
                </a:lnTo>
                <a:lnTo>
                  <a:pt x="414" y="988"/>
                </a:lnTo>
                <a:lnTo>
                  <a:pt x="414" y="991"/>
                </a:lnTo>
                <a:lnTo>
                  <a:pt x="414" y="993"/>
                </a:lnTo>
                <a:lnTo>
                  <a:pt x="414" y="996"/>
                </a:lnTo>
                <a:lnTo>
                  <a:pt x="413" y="998"/>
                </a:lnTo>
                <a:lnTo>
                  <a:pt x="411" y="1001"/>
                </a:lnTo>
                <a:lnTo>
                  <a:pt x="409" y="1003"/>
                </a:lnTo>
                <a:lnTo>
                  <a:pt x="406" y="1004"/>
                </a:lnTo>
                <a:lnTo>
                  <a:pt x="404" y="1005"/>
                </a:lnTo>
                <a:lnTo>
                  <a:pt x="399" y="1005"/>
                </a:lnTo>
                <a:lnTo>
                  <a:pt x="395" y="1004"/>
                </a:lnTo>
                <a:lnTo>
                  <a:pt x="393" y="1003"/>
                </a:lnTo>
                <a:lnTo>
                  <a:pt x="391" y="1001"/>
                </a:lnTo>
                <a:lnTo>
                  <a:pt x="390" y="999"/>
                </a:lnTo>
                <a:lnTo>
                  <a:pt x="389" y="996"/>
                </a:lnTo>
                <a:lnTo>
                  <a:pt x="388" y="994"/>
                </a:lnTo>
                <a:lnTo>
                  <a:pt x="388" y="991"/>
                </a:lnTo>
                <a:lnTo>
                  <a:pt x="388" y="989"/>
                </a:lnTo>
                <a:lnTo>
                  <a:pt x="389" y="986"/>
                </a:lnTo>
                <a:lnTo>
                  <a:pt x="391" y="984"/>
                </a:lnTo>
                <a:lnTo>
                  <a:pt x="393" y="981"/>
                </a:lnTo>
                <a:lnTo>
                  <a:pt x="396" y="980"/>
                </a:lnTo>
                <a:lnTo>
                  <a:pt x="399" y="979"/>
                </a:lnTo>
                <a:close/>
                <a:moveTo>
                  <a:pt x="369" y="1038"/>
                </a:moveTo>
                <a:lnTo>
                  <a:pt x="373" y="1038"/>
                </a:lnTo>
                <a:lnTo>
                  <a:pt x="376" y="1039"/>
                </a:lnTo>
                <a:lnTo>
                  <a:pt x="378" y="1040"/>
                </a:lnTo>
                <a:lnTo>
                  <a:pt x="380" y="1041"/>
                </a:lnTo>
                <a:lnTo>
                  <a:pt x="382" y="1043"/>
                </a:lnTo>
                <a:lnTo>
                  <a:pt x="383" y="1045"/>
                </a:lnTo>
                <a:lnTo>
                  <a:pt x="384" y="1047"/>
                </a:lnTo>
                <a:lnTo>
                  <a:pt x="385" y="1050"/>
                </a:lnTo>
                <a:lnTo>
                  <a:pt x="385" y="1052"/>
                </a:lnTo>
                <a:lnTo>
                  <a:pt x="385" y="1055"/>
                </a:lnTo>
                <a:lnTo>
                  <a:pt x="384" y="1057"/>
                </a:lnTo>
                <a:lnTo>
                  <a:pt x="382" y="1060"/>
                </a:lnTo>
                <a:lnTo>
                  <a:pt x="380" y="1062"/>
                </a:lnTo>
                <a:lnTo>
                  <a:pt x="377" y="1064"/>
                </a:lnTo>
                <a:lnTo>
                  <a:pt x="374" y="1064"/>
                </a:lnTo>
                <a:lnTo>
                  <a:pt x="370" y="1065"/>
                </a:lnTo>
                <a:lnTo>
                  <a:pt x="368" y="1064"/>
                </a:lnTo>
                <a:lnTo>
                  <a:pt x="366" y="1063"/>
                </a:lnTo>
                <a:lnTo>
                  <a:pt x="364" y="1062"/>
                </a:lnTo>
                <a:lnTo>
                  <a:pt x="362" y="1060"/>
                </a:lnTo>
                <a:lnTo>
                  <a:pt x="360" y="1058"/>
                </a:lnTo>
                <a:lnTo>
                  <a:pt x="359" y="1056"/>
                </a:lnTo>
                <a:lnTo>
                  <a:pt x="359" y="1053"/>
                </a:lnTo>
                <a:lnTo>
                  <a:pt x="359" y="1051"/>
                </a:lnTo>
                <a:lnTo>
                  <a:pt x="359" y="1048"/>
                </a:lnTo>
                <a:lnTo>
                  <a:pt x="360" y="1046"/>
                </a:lnTo>
                <a:lnTo>
                  <a:pt x="362" y="1043"/>
                </a:lnTo>
                <a:lnTo>
                  <a:pt x="364" y="1041"/>
                </a:lnTo>
                <a:lnTo>
                  <a:pt x="367" y="1039"/>
                </a:lnTo>
                <a:lnTo>
                  <a:pt x="369" y="1038"/>
                </a:lnTo>
                <a:close/>
                <a:moveTo>
                  <a:pt x="341" y="1098"/>
                </a:moveTo>
                <a:lnTo>
                  <a:pt x="345" y="1098"/>
                </a:lnTo>
                <a:lnTo>
                  <a:pt x="349" y="1099"/>
                </a:lnTo>
                <a:lnTo>
                  <a:pt x="351" y="1101"/>
                </a:lnTo>
                <a:lnTo>
                  <a:pt x="353" y="1102"/>
                </a:lnTo>
                <a:lnTo>
                  <a:pt x="355" y="1104"/>
                </a:lnTo>
                <a:lnTo>
                  <a:pt x="356" y="1107"/>
                </a:lnTo>
                <a:lnTo>
                  <a:pt x="357" y="1109"/>
                </a:lnTo>
                <a:lnTo>
                  <a:pt x="357" y="1112"/>
                </a:lnTo>
                <a:lnTo>
                  <a:pt x="356" y="1114"/>
                </a:lnTo>
                <a:lnTo>
                  <a:pt x="356" y="1117"/>
                </a:lnTo>
                <a:lnTo>
                  <a:pt x="354" y="1120"/>
                </a:lnTo>
                <a:lnTo>
                  <a:pt x="351" y="1122"/>
                </a:lnTo>
                <a:lnTo>
                  <a:pt x="350" y="1123"/>
                </a:lnTo>
                <a:lnTo>
                  <a:pt x="349" y="1123"/>
                </a:lnTo>
                <a:lnTo>
                  <a:pt x="346" y="1124"/>
                </a:lnTo>
                <a:lnTo>
                  <a:pt x="342" y="1124"/>
                </a:lnTo>
                <a:lnTo>
                  <a:pt x="338" y="1123"/>
                </a:lnTo>
                <a:lnTo>
                  <a:pt x="336" y="1122"/>
                </a:lnTo>
                <a:lnTo>
                  <a:pt x="334" y="1120"/>
                </a:lnTo>
                <a:lnTo>
                  <a:pt x="332" y="1118"/>
                </a:lnTo>
                <a:lnTo>
                  <a:pt x="331" y="1116"/>
                </a:lnTo>
                <a:lnTo>
                  <a:pt x="330" y="1113"/>
                </a:lnTo>
                <a:lnTo>
                  <a:pt x="330" y="1111"/>
                </a:lnTo>
                <a:lnTo>
                  <a:pt x="331" y="1108"/>
                </a:lnTo>
                <a:lnTo>
                  <a:pt x="331" y="1106"/>
                </a:lnTo>
                <a:lnTo>
                  <a:pt x="333" y="1103"/>
                </a:lnTo>
                <a:lnTo>
                  <a:pt x="335" y="1101"/>
                </a:lnTo>
                <a:lnTo>
                  <a:pt x="337" y="1100"/>
                </a:lnTo>
                <a:lnTo>
                  <a:pt x="338" y="1099"/>
                </a:lnTo>
                <a:lnTo>
                  <a:pt x="341" y="1098"/>
                </a:lnTo>
                <a:close/>
                <a:moveTo>
                  <a:pt x="314" y="1160"/>
                </a:moveTo>
                <a:lnTo>
                  <a:pt x="318" y="1159"/>
                </a:lnTo>
                <a:lnTo>
                  <a:pt x="322" y="1160"/>
                </a:lnTo>
                <a:lnTo>
                  <a:pt x="324" y="1162"/>
                </a:lnTo>
                <a:lnTo>
                  <a:pt x="326" y="1164"/>
                </a:lnTo>
                <a:lnTo>
                  <a:pt x="328" y="1166"/>
                </a:lnTo>
                <a:lnTo>
                  <a:pt x="329" y="1168"/>
                </a:lnTo>
                <a:lnTo>
                  <a:pt x="329" y="1170"/>
                </a:lnTo>
                <a:lnTo>
                  <a:pt x="330" y="1173"/>
                </a:lnTo>
                <a:lnTo>
                  <a:pt x="329" y="1175"/>
                </a:lnTo>
                <a:lnTo>
                  <a:pt x="329" y="1178"/>
                </a:lnTo>
                <a:lnTo>
                  <a:pt x="327" y="1181"/>
                </a:lnTo>
                <a:lnTo>
                  <a:pt x="325" y="1183"/>
                </a:lnTo>
                <a:lnTo>
                  <a:pt x="322" y="1185"/>
                </a:lnTo>
                <a:lnTo>
                  <a:pt x="319" y="1186"/>
                </a:lnTo>
                <a:lnTo>
                  <a:pt x="315" y="1186"/>
                </a:lnTo>
                <a:lnTo>
                  <a:pt x="311" y="1185"/>
                </a:lnTo>
                <a:lnTo>
                  <a:pt x="309" y="1183"/>
                </a:lnTo>
                <a:lnTo>
                  <a:pt x="307" y="1182"/>
                </a:lnTo>
                <a:lnTo>
                  <a:pt x="305" y="1180"/>
                </a:lnTo>
                <a:lnTo>
                  <a:pt x="304" y="1177"/>
                </a:lnTo>
                <a:lnTo>
                  <a:pt x="303" y="1175"/>
                </a:lnTo>
                <a:lnTo>
                  <a:pt x="303" y="1172"/>
                </a:lnTo>
                <a:lnTo>
                  <a:pt x="303" y="1170"/>
                </a:lnTo>
                <a:lnTo>
                  <a:pt x="304" y="1167"/>
                </a:lnTo>
                <a:lnTo>
                  <a:pt x="306" y="1164"/>
                </a:lnTo>
                <a:lnTo>
                  <a:pt x="308" y="1162"/>
                </a:lnTo>
                <a:lnTo>
                  <a:pt x="311" y="1161"/>
                </a:lnTo>
                <a:lnTo>
                  <a:pt x="314" y="1160"/>
                </a:lnTo>
                <a:close/>
                <a:moveTo>
                  <a:pt x="288" y="1220"/>
                </a:moveTo>
                <a:lnTo>
                  <a:pt x="292" y="1220"/>
                </a:lnTo>
                <a:lnTo>
                  <a:pt x="296" y="1221"/>
                </a:lnTo>
                <a:lnTo>
                  <a:pt x="298" y="1223"/>
                </a:lnTo>
                <a:lnTo>
                  <a:pt x="300" y="1224"/>
                </a:lnTo>
                <a:lnTo>
                  <a:pt x="302" y="1226"/>
                </a:lnTo>
                <a:lnTo>
                  <a:pt x="303" y="1228"/>
                </a:lnTo>
                <a:lnTo>
                  <a:pt x="304" y="1231"/>
                </a:lnTo>
                <a:lnTo>
                  <a:pt x="304" y="1233"/>
                </a:lnTo>
                <a:lnTo>
                  <a:pt x="304" y="1236"/>
                </a:lnTo>
                <a:lnTo>
                  <a:pt x="303" y="1239"/>
                </a:lnTo>
                <a:lnTo>
                  <a:pt x="301" y="1242"/>
                </a:lnTo>
                <a:lnTo>
                  <a:pt x="299" y="1244"/>
                </a:lnTo>
                <a:lnTo>
                  <a:pt x="296" y="1246"/>
                </a:lnTo>
                <a:lnTo>
                  <a:pt x="293" y="1247"/>
                </a:lnTo>
                <a:lnTo>
                  <a:pt x="289" y="1247"/>
                </a:lnTo>
                <a:lnTo>
                  <a:pt x="286" y="1246"/>
                </a:lnTo>
                <a:lnTo>
                  <a:pt x="283" y="1244"/>
                </a:lnTo>
                <a:lnTo>
                  <a:pt x="281" y="1243"/>
                </a:lnTo>
                <a:lnTo>
                  <a:pt x="280" y="1241"/>
                </a:lnTo>
                <a:lnTo>
                  <a:pt x="278" y="1239"/>
                </a:lnTo>
                <a:lnTo>
                  <a:pt x="278" y="1236"/>
                </a:lnTo>
                <a:lnTo>
                  <a:pt x="277" y="1234"/>
                </a:lnTo>
                <a:lnTo>
                  <a:pt x="278" y="1231"/>
                </a:lnTo>
                <a:lnTo>
                  <a:pt x="278" y="1228"/>
                </a:lnTo>
                <a:lnTo>
                  <a:pt x="280" y="1225"/>
                </a:lnTo>
                <a:lnTo>
                  <a:pt x="282" y="1223"/>
                </a:lnTo>
                <a:lnTo>
                  <a:pt x="285" y="1221"/>
                </a:lnTo>
                <a:lnTo>
                  <a:pt x="288" y="1220"/>
                </a:lnTo>
                <a:close/>
                <a:moveTo>
                  <a:pt x="264" y="1282"/>
                </a:moveTo>
                <a:lnTo>
                  <a:pt x="267" y="1282"/>
                </a:lnTo>
                <a:lnTo>
                  <a:pt x="271" y="1283"/>
                </a:lnTo>
                <a:lnTo>
                  <a:pt x="275" y="1285"/>
                </a:lnTo>
                <a:lnTo>
                  <a:pt x="277" y="1287"/>
                </a:lnTo>
                <a:lnTo>
                  <a:pt x="278" y="1290"/>
                </a:lnTo>
                <a:lnTo>
                  <a:pt x="279" y="1292"/>
                </a:lnTo>
                <a:lnTo>
                  <a:pt x="279" y="1295"/>
                </a:lnTo>
                <a:lnTo>
                  <a:pt x="279" y="1297"/>
                </a:lnTo>
                <a:lnTo>
                  <a:pt x="278" y="1300"/>
                </a:lnTo>
                <a:lnTo>
                  <a:pt x="276" y="1303"/>
                </a:lnTo>
                <a:lnTo>
                  <a:pt x="274" y="1305"/>
                </a:lnTo>
                <a:lnTo>
                  <a:pt x="271" y="1307"/>
                </a:lnTo>
                <a:lnTo>
                  <a:pt x="268" y="1308"/>
                </a:lnTo>
                <a:lnTo>
                  <a:pt x="265" y="1308"/>
                </a:lnTo>
                <a:lnTo>
                  <a:pt x="261" y="1307"/>
                </a:lnTo>
                <a:lnTo>
                  <a:pt x="257" y="1304"/>
                </a:lnTo>
                <a:lnTo>
                  <a:pt x="255" y="1302"/>
                </a:lnTo>
                <a:lnTo>
                  <a:pt x="254" y="1300"/>
                </a:lnTo>
                <a:lnTo>
                  <a:pt x="253" y="1298"/>
                </a:lnTo>
                <a:lnTo>
                  <a:pt x="253" y="1295"/>
                </a:lnTo>
                <a:lnTo>
                  <a:pt x="253" y="1293"/>
                </a:lnTo>
                <a:lnTo>
                  <a:pt x="254" y="1290"/>
                </a:lnTo>
                <a:lnTo>
                  <a:pt x="255" y="1287"/>
                </a:lnTo>
                <a:lnTo>
                  <a:pt x="258" y="1285"/>
                </a:lnTo>
                <a:lnTo>
                  <a:pt x="260" y="1283"/>
                </a:lnTo>
                <a:lnTo>
                  <a:pt x="264" y="1282"/>
                </a:lnTo>
                <a:close/>
                <a:moveTo>
                  <a:pt x="240" y="1344"/>
                </a:moveTo>
                <a:lnTo>
                  <a:pt x="243" y="1343"/>
                </a:lnTo>
                <a:lnTo>
                  <a:pt x="247" y="1344"/>
                </a:lnTo>
                <a:lnTo>
                  <a:pt x="249" y="1345"/>
                </a:lnTo>
                <a:lnTo>
                  <a:pt x="251" y="1347"/>
                </a:lnTo>
                <a:lnTo>
                  <a:pt x="253" y="1349"/>
                </a:lnTo>
                <a:lnTo>
                  <a:pt x="254" y="1351"/>
                </a:lnTo>
                <a:lnTo>
                  <a:pt x="255" y="1352"/>
                </a:lnTo>
                <a:lnTo>
                  <a:pt x="255" y="1354"/>
                </a:lnTo>
                <a:lnTo>
                  <a:pt x="255" y="1356"/>
                </a:lnTo>
                <a:lnTo>
                  <a:pt x="255" y="1361"/>
                </a:lnTo>
                <a:lnTo>
                  <a:pt x="253" y="1364"/>
                </a:lnTo>
                <a:lnTo>
                  <a:pt x="251" y="1367"/>
                </a:lnTo>
                <a:lnTo>
                  <a:pt x="248" y="1369"/>
                </a:lnTo>
                <a:lnTo>
                  <a:pt x="245" y="1370"/>
                </a:lnTo>
                <a:lnTo>
                  <a:pt x="241" y="1370"/>
                </a:lnTo>
                <a:lnTo>
                  <a:pt x="238" y="1369"/>
                </a:lnTo>
                <a:lnTo>
                  <a:pt x="235" y="1368"/>
                </a:lnTo>
                <a:lnTo>
                  <a:pt x="233" y="1366"/>
                </a:lnTo>
                <a:lnTo>
                  <a:pt x="231" y="1364"/>
                </a:lnTo>
                <a:lnTo>
                  <a:pt x="230" y="1362"/>
                </a:lnTo>
                <a:lnTo>
                  <a:pt x="230" y="1361"/>
                </a:lnTo>
                <a:lnTo>
                  <a:pt x="229" y="1360"/>
                </a:lnTo>
                <a:lnTo>
                  <a:pt x="229" y="1357"/>
                </a:lnTo>
                <a:lnTo>
                  <a:pt x="230" y="1352"/>
                </a:lnTo>
                <a:lnTo>
                  <a:pt x="231" y="1349"/>
                </a:lnTo>
                <a:lnTo>
                  <a:pt x="234" y="1346"/>
                </a:lnTo>
                <a:lnTo>
                  <a:pt x="237" y="1345"/>
                </a:lnTo>
                <a:lnTo>
                  <a:pt x="240" y="1344"/>
                </a:lnTo>
                <a:close/>
                <a:moveTo>
                  <a:pt x="217" y="1406"/>
                </a:moveTo>
                <a:lnTo>
                  <a:pt x="221" y="1406"/>
                </a:lnTo>
                <a:lnTo>
                  <a:pt x="224" y="1406"/>
                </a:lnTo>
                <a:lnTo>
                  <a:pt x="226" y="1408"/>
                </a:lnTo>
                <a:lnTo>
                  <a:pt x="229" y="1409"/>
                </a:lnTo>
                <a:lnTo>
                  <a:pt x="230" y="1411"/>
                </a:lnTo>
                <a:lnTo>
                  <a:pt x="232" y="1413"/>
                </a:lnTo>
                <a:lnTo>
                  <a:pt x="232" y="1414"/>
                </a:lnTo>
                <a:lnTo>
                  <a:pt x="232" y="1416"/>
                </a:lnTo>
                <a:lnTo>
                  <a:pt x="233" y="1418"/>
                </a:lnTo>
                <a:lnTo>
                  <a:pt x="232" y="1423"/>
                </a:lnTo>
                <a:lnTo>
                  <a:pt x="230" y="1426"/>
                </a:lnTo>
                <a:lnTo>
                  <a:pt x="228" y="1429"/>
                </a:lnTo>
                <a:lnTo>
                  <a:pt x="225" y="1431"/>
                </a:lnTo>
                <a:lnTo>
                  <a:pt x="222" y="1432"/>
                </a:lnTo>
                <a:lnTo>
                  <a:pt x="219" y="1432"/>
                </a:lnTo>
                <a:lnTo>
                  <a:pt x="215" y="1431"/>
                </a:lnTo>
                <a:lnTo>
                  <a:pt x="213" y="1430"/>
                </a:lnTo>
                <a:lnTo>
                  <a:pt x="211" y="1429"/>
                </a:lnTo>
                <a:lnTo>
                  <a:pt x="209" y="1427"/>
                </a:lnTo>
                <a:lnTo>
                  <a:pt x="208" y="1425"/>
                </a:lnTo>
                <a:lnTo>
                  <a:pt x="207" y="1423"/>
                </a:lnTo>
                <a:lnTo>
                  <a:pt x="207" y="1422"/>
                </a:lnTo>
                <a:lnTo>
                  <a:pt x="206" y="1420"/>
                </a:lnTo>
                <a:lnTo>
                  <a:pt x="207" y="1414"/>
                </a:lnTo>
                <a:lnTo>
                  <a:pt x="209" y="1411"/>
                </a:lnTo>
                <a:lnTo>
                  <a:pt x="211" y="1409"/>
                </a:lnTo>
                <a:lnTo>
                  <a:pt x="214" y="1407"/>
                </a:lnTo>
                <a:lnTo>
                  <a:pt x="217" y="1406"/>
                </a:lnTo>
                <a:close/>
                <a:moveTo>
                  <a:pt x="196" y="1468"/>
                </a:moveTo>
                <a:lnTo>
                  <a:pt x="199" y="1468"/>
                </a:lnTo>
                <a:lnTo>
                  <a:pt x="202" y="1469"/>
                </a:lnTo>
                <a:lnTo>
                  <a:pt x="205" y="1470"/>
                </a:lnTo>
                <a:lnTo>
                  <a:pt x="207" y="1472"/>
                </a:lnTo>
                <a:lnTo>
                  <a:pt x="209" y="1473"/>
                </a:lnTo>
                <a:lnTo>
                  <a:pt x="210" y="1476"/>
                </a:lnTo>
                <a:lnTo>
                  <a:pt x="211" y="1478"/>
                </a:lnTo>
                <a:lnTo>
                  <a:pt x="211" y="1480"/>
                </a:lnTo>
                <a:lnTo>
                  <a:pt x="211" y="1483"/>
                </a:lnTo>
                <a:lnTo>
                  <a:pt x="211" y="1486"/>
                </a:lnTo>
                <a:lnTo>
                  <a:pt x="209" y="1489"/>
                </a:lnTo>
                <a:lnTo>
                  <a:pt x="207" y="1492"/>
                </a:lnTo>
                <a:lnTo>
                  <a:pt x="204" y="1493"/>
                </a:lnTo>
                <a:lnTo>
                  <a:pt x="200" y="1494"/>
                </a:lnTo>
                <a:lnTo>
                  <a:pt x="197" y="1495"/>
                </a:lnTo>
                <a:lnTo>
                  <a:pt x="194" y="1494"/>
                </a:lnTo>
                <a:lnTo>
                  <a:pt x="192" y="1493"/>
                </a:lnTo>
                <a:lnTo>
                  <a:pt x="189" y="1491"/>
                </a:lnTo>
                <a:lnTo>
                  <a:pt x="188" y="1490"/>
                </a:lnTo>
                <a:lnTo>
                  <a:pt x="186" y="1487"/>
                </a:lnTo>
                <a:lnTo>
                  <a:pt x="185" y="1485"/>
                </a:lnTo>
                <a:lnTo>
                  <a:pt x="185" y="1482"/>
                </a:lnTo>
                <a:lnTo>
                  <a:pt x="185" y="1480"/>
                </a:lnTo>
                <a:lnTo>
                  <a:pt x="186" y="1477"/>
                </a:lnTo>
                <a:lnTo>
                  <a:pt x="187" y="1474"/>
                </a:lnTo>
                <a:lnTo>
                  <a:pt x="190" y="1471"/>
                </a:lnTo>
                <a:lnTo>
                  <a:pt x="193" y="1469"/>
                </a:lnTo>
                <a:lnTo>
                  <a:pt x="196" y="1468"/>
                </a:lnTo>
                <a:close/>
                <a:moveTo>
                  <a:pt x="175" y="1531"/>
                </a:moveTo>
                <a:lnTo>
                  <a:pt x="179" y="1531"/>
                </a:lnTo>
                <a:lnTo>
                  <a:pt x="182" y="1532"/>
                </a:lnTo>
                <a:lnTo>
                  <a:pt x="184" y="1533"/>
                </a:lnTo>
                <a:lnTo>
                  <a:pt x="186" y="1534"/>
                </a:lnTo>
                <a:lnTo>
                  <a:pt x="188" y="1536"/>
                </a:lnTo>
                <a:lnTo>
                  <a:pt x="189" y="1538"/>
                </a:lnTo>
                <a:lnTo>
                  <a:pt x="191" y="1543"/>
                </a:lnTo>
                <a:lnTo>
                  <a:pt x="191" y="1546"/>
                </a:lnTo>
                <a:lnTo>
                  <a:pt x="190" y="1548"/>
                </a:lnTo>
                <a:lnTo>
                  <a:pt x="189" y="1552"/>
                </a:lnTo>
                <a:lnTo>
                  <a:pt x="186" y="1554"/>
                </a:lnTo>
                <a:lnTo>
                  <a:pt x="183" y="1556"/>
                </a:lnTo>
                <a:lnTo>
                  <a:pt x="180" y="1557"/>
                </a:lnTo>
                <a:lnTo>
                  <a:pt x="177" y="1558"/>
                </a:lnTo>
                <a:lnTo>
                  <a:pt x="174" y="1557"/>
                </a:lnTo>
                <a:lnTo>
                  <a:pt x="171" y="1556"/>
                </a:lnTo>
                <a:lnTo>
                  <a:pt x="169" y="1554"/>
                </a:lnTo>
                <a:lnTo>
                  <a:pt x="167" y="1553"/>
                </a:lnTo>
                <a:lnTo>
                  <a:pt x="166" y="1550"/>
                </a:lnTo>
                <a:lnTo>
                  <a:pt x="165" y="1546"/>
                </a:lnTo>
                <a:lnTo>
                  <a:pt x="165" y="1543"/>
                </a:lnTo>
                <a:lnTo>
                  <a:pt x="165" y="1540"/>
                </a:lnTo>
                <a:lnTo>
                  <a:pt x="167" y="1537"/>
                </a:lnTo>
                <a:lnTo>
                  <a:pt x="169" y="1534"/>
                </a:lnTo>
                <a:lnTo>
                  <a:pt x="172" y="1532"/>
                </a:lnTo>
                <a:lnTo>
                  <a:pt x="175" y="1531"/>
                </a:lnTo>
                <a:close/>
                <a:moveTo>
                  <a:pt x="156" y="1595"/>
                </a:moveTo>
                <a:lnTo>
                  <a:pt x="159" y="1594"/>
                </a:lnTo>
                <a:lnTo>
                  <a:pt x="162" y="1595"/>
                </a:lnTo>
                <a:lnTo>
                  <a:pt x="164" y="1596"/>
                </a:lnTo>
                <a:lnTo>
                  <a:pt x="167" y="1597"/>
                </a:lnTo>
                <a:lnTo>
                  <a:pt x="168" y="1599"/>
                </a:lnTo>
                <a:lnTo>
                  <a:pt x="170" y="1601"/>
                </a:lnTo>
                <a:lnTo>
                  <a:pt x="171" y="1606"/>
                </a:lnTo>
                <a:lnTo>
                  <a:pt x="171" y="1609"/>
                </a:lnTo>
                <a:lnTo>
                  <a:pt x="171" y="1611"/>
                </a:lnTo>
                <a:lnTo>
                  <a:pt x="169" y="1615"/>
                </a:lnTo>
                <a:lnTo>
                  <a:pt x="167" y="1618"/>
                </a:lnTo>
                <a:lnTo>
                  <a:pt x="164" y="1620"/>
                </a:lnTo>
                <a:lnTo>
                  <a:pt x="162" y="1620"/>
                </a:lnTo>
                <a:lnTo>
                  <a:pt x="161" y="1621"/>
                </a:lnTo>
                <a:lnTo>
                  <a:pt x="157" y="1621"/>
                </a:lnTo>
                <a:lnTo>
                  <a:pt x="154" y="1620"/>
                </a:lnTo>
                <a:lnTo>
                  <a:pt x="152" y="1619"/>
                </a:lnTo>
                <a:lnTo>
                  <a:pt x="150" y="1618"/>
                </a:lnTo>
                <a:lnTo>
                  <a:pt x="148" y="1616"/>
                </a:lnTo>
                <a:lnTo>
                  <a:pt x="147" y="1614"/>
                </a:lnTo>
                <a:lnTo>
                  <a:pt x="145" y="1609"/>
                </a:lnTo>
                <a:lnTo>
                  <a:pt x="145" y="1606"/>
                </a:lnTo>
                <a:lnTo>
                  <a:pt x="146" y="1604"/>
                </a:lnTo>
                <a:lnTo>
                  <a:pt x="147" y="1600"/>
                </a:lnTo>
                <a:lnTo>
                  <a:pt x="150" y="1598"/>
                </a:lnTo>
                <a:lnTo>
                  <a:pt x="153" y="1596"/>
                </a:lnTo>
                <a:lnTo>
                  <a:pt x="154" y="1595"/>
                </a:lnTo>
                <a:lnTo>
                  <a:pt x="156" y="1595"/>
                </a:lnTo>
                <a:close/>
                <a:moveTo>
                  <a:pt x="137" y="1658"/>
                </a:moveTo>
                <a:lnTo>
                  <a:pt x="140" y="1658"/>
                </a:lnTo>
                <a:lnTo>
                  <a:pt x="143" y="1658"/>
                </a:lnTo>
                <a:lnTo>
                  <a:pt x="146" y="1659"/>
                </a:lnTo>
                <a:lnTo>
                  <a:pt x="148" y="1661"/>
                </a:lnTo>
                <a:lnTo>
                  <a:pt x="150" y="1663"/>
                </a:lnTo>
                <a:lnTo>
                  <a:pt x="151" y="1665"/>
                </a:lnTo>
                <a:lnTo>
                  <a:pt x="152" y="1667"/>
                </a:lnTo>
                <a:lnTo>
                  <a:pt x="153" y="1669"/>
                </a:lnTo>
                <a:lnTo>
                  <a:pt x="153" y="1672"/>
                </a:lnTo>
                <a:lnTo>
                  <a:pt x="152" y="1675"/>
                </a:lnTo>
                <a:lnTo>
                  <a:pt x="151" y="1678"/>
                </a:lnTo>
                <a:lnTo>
                  <a:pt x="149" y="1681"/>
                </a:lnTo>
                <a:lnTo>
                  <a:pt x="145" y="1683"/>
                </a:lnTo>
                <a:lnTo>
                  <a:pt x="144" y="1684"/>
                </a:lnTo>
                <a:lnTo>
                  <a:pt x="142" y="1684"/>
                </a:lnTo>
                <a:lnTo>
                  <a:pt x="139" y="1684"/>
                </a:lnTo>
                <a:lnTo>
                  <a:pt x="136" y="1684"/>
                </a:lnTo>
                <a:lnTo>
                  <a:pt x="134" y="1683"/>
                </a:lnTo>
                <a:lnTo>
                  <a:pt x="131" y="1681"/>
                </a:lnTo>
                <a:lnTo>
                  <a:pt x="130" y="1680"/>
                </a:lnTo>
                <a:lnTo>
                  <a:pt x="128" y="1678"/>
                </a:lnTo>
                <a:lnTo>
                  <a:pt x="127" y="1675"/>
                </a:lnTo>
                <a:lnTo>
                  <a:pt x="127" y="1673"/>
                </a:lnTo>
                <a:lnTo>
                  <a:pt x="127" y="1670"/>
                </a:lnTo>
                <a:lnTo>
                  <a:pt x="127" y="1667"/>
                </a:lnTo>
                <a:lnTo>
                  <a:pt x="129" y="1664"/>
                </a:lnTo>
                <a:lnTo>
                  <a:pt x="131" y="1661"/>
                </a:lnTo>
                <a:lnTo>
                  <a:pt x="134" y="1659"/>
                </a:lnTo>
                <a:lnTo>
                  <a:pt x="136" y="1659"/>
                </a:lnTo>
                <a:lnTo>
                  <a:pt x="137" y="1658"/>
                </a:lnTo>
                <a:close/>
                <a:moveTo>
                  <a:pt x="120" y="1722"/>
                </a:moveTo>
                <a:lnTo>
                  <a:pt x="123" y="1722"/>
                </a:lnTo>
                <a:lnTo>
                  <a:pt x="126" y="1722"/>
                </a:lnTo>
                <a:lnTo>
                  <a:pt x="128" y="1723"/>
                </a:lnTo>
                <a:lnTo>
                  <a:pt x="130" y="1724"/>
                </a:lnTo>
                <a:lnTo>
                  <a:pt x="132" y="1726"/>
                </a:lnTo>
                <a:lnTo>
                  <a:pt x="134" y="1728"/>
                </a:lnTo>
                <a:lnTo>
                  <a:pt x="135" y="1731"/>
                </a:lnTo>
                <a:lnTo>
                  <a:pt x="135" y="1733"/>
                </a:lnTo>
                <a:lnTo>
                  <a:pt x="135" y="1736"/>
                </a:lnTo>
                <a:lnTo>
                  <a:pt x="135" y="1738"/>
                </a:lnTo>
                <a:lnTo>
                  <a:pt x="134" y="1740"/>
                </a:lnTo>
                <a:lnTo>
                  <a:pt x="133" y="1742"/>
                </a:lnTo>
                <a:lnTo>
                  <a:pt x="131" y="1745"/>
                </a:lnTo>
                <a:lnTo>
                  <a:pt x="128" y="1747"/>
                </a:lnTo>
                <a:lnTo>
                  <a:pt x="124" y="1748"/>
                </a:lnTo>
                <a:lnTo>
                  <a:pt x="122" y="1748"/>
                </a:lnTo>
                <a:lnTo>
                  <a:pt x="119" y="1748"/>
                </a:lnTo>
                <a:lnTo>
                  <a:pt x="116" y="1747"/>
                </a:lnTo>
                <a:lnTo>
                  <a:pt x="114" y="1745"/>
                </a:lnTo>
                <a:lnTo>
                  <a:pt x="112" y="1744"/>
                </a:lnTo>
                <a:lnTo>
                  <a:pt x="111" y="1742"/>
                </a:lnTo>
                <a:lnTo>
                  <a:pt x="110" y="1739"/>
                </a:lnTo>
                <a:lnTo>
                  <a:pt x="109" y="1737"/>
                </a:lnTo>
                <a:lnTo>
                  <a:pt x="109" y="1734"/>
                </a:lnTo>
                <a:lnTo>
                  <a:pt x="109" y="1731"/>
                </a:lnTo>
                <a:lnTo>
                  <a:pt x="110" y="1730"/>
                </a:lnTo>
                <a:lnTo>
                  <a:pt x="111" y="1728"/>
                </a:lnTo>
                <a:lnTo>
                  <a:pt x="113" y="1725"/>
                </a:lnTo>
                <a:lnTo>
                  <a:pt x="116" y="1723"/>
                </a:lnTo>
                <a:lnTo>
                  <a:pt x="120" y="1722"/>
                </a:lnTo>
                <a:close/>
                <a:moveTo>
                  <a:pt x="103" y="1786"/>
                </a:moveTo>
                <a:lnTo>
                  <a:pt x="106" y="1786"/>
                </a:lnTo>
                <a:lnTo>
                  <a:pt x="109" y="1786"/>
                </a:lnTo>
                <a:lnTo>
                  <a:pt x="111" y="1787"/>
                </a:lnTo>
                <a:lnTo>
                  <a:pt x="114" y="1788"/>
                </a:lnTo>
                <a:lnTo>
                  <a:pt x="115" y="1790"/>
                </a:lnTo>
                <a:lnTo>
                  <a:pt x="117" y="1792"/>
                </a:lnTo>
                <a:lnTo>
                  <a:pt x="118" y="1794"/>
                </a:lnTo>
                <a:lnTo>
                  <a:pt x="119" y="1797"/>
                </a:lnTo>
                <a:lnTo>
                  <a:pt x="119" y="1800"/>
                </a:lnTo>
                <a:lnTo>
                  <a:pt x="118" y="1802"/>
                </a:lnTo>
                <a:lnTo>
                  <a:pt x="118" y="1804"/>
                </a:lnTo>
                <a:lnTo>
                  <a:pt x="117" y="1806"/>
                </a:lnTo>
                <a:lnTo>
                  <a:pt x="114" y="1809"/>
                </a:lnTo>
                <a:lnTo>
                  <a:pt x="111" y="1811"/>
                </a:lnTo>
                <a:lnTo>
                  <a:pt x="108" y="1812"/>
                </a:lnTo>
                <a:lnTo>
                  <a:pt x="105" y="1812"/>
                </a:lnTo>
                <a:lnTo>
                  <a:pt x="102" y="1812"/>
                </a:lnTo>
                <a:lnTo>
                  <a:pt x="100" y="1811"/>
                </a:lnTo>
                <a:lnTo>
                  <a:pt x="98" y="1809"/>
                </a:lnTo>
                <a:lnTo>
                  <a:pt x="96" y="1808"/>
                </a:lnTo>
                <a:lnTo>
                  <a:pt x="94" y="1806"/>
                </a:lnTo>
                <a:lnTo>
                  <a:pt x="93" y="1803"/>
                </a:lnTo>
                <a:lnTo>
                  <a:pt x="92" y="1801"/>
                </a:lnTo>
                <a:lnTo>
                  <a:pt x="92" y="1798"/>
                </a:lnTo>
                <a:lnTo>
                  <a:pt x="93" y="1796"/>
                </a:lnTo>
                <a:lnTo>
                  <a:pt x="93" y="1794"/>
                </a:lnTo>
                <a:lnTo>
                  <a:pt x="94" y="1792"/>
                </a:lnTo>
                <a:lnTo>
                  <a:pt x="97" y="1789"/>
                </a:lnTo>
                <a:lnTo>
                  <a:pt x="100" y="1787"/>
                </a:lnTo>
                <a:lnTo>
                  <a:pt x="103" y="1786"/>
                </a:lnTo>
                <a:close/>
                <a:moveTo>
                  <a:pt x="88" y="1850"/>
                </a:moveTo>
                <a:lnTo>
                  <a:pt x="90" y="1850"/>
                </a:lnTo>
                <a:lnTo>
                  <a:pt x="93" y="1850"/>
                </a:lnTo>
                <a:lnTo>
                  <a:pt x="95" y="1851"/>
                </a:lnTo>
                <a:lnTo>
                  <a:pt x="98" y="1853"/>
                </a:lnTo>
                <a:lnTo>
                  <a:pt x="100" y="1854"/>
                </a:lnTo>
                <a:lnTo>
                  <a:pt x="101" y="1856"/>
                </a:lnTo>
                <a:lnTo>
                  <a:pt x="102" y="1859"/>
                </a:lnTo>
                <a:lnTo>
                  <a:pt x="103" y="1861"/>
                </a:lnTo>
                <a:lnTo>
                  <a:pt x="103" y="1864"/>
                </a:lnTo>
                <a:lnTo>
                  <a:pt x="103" y="1866"/>
                </a:lnTo>
                <a:lnTo>
                  <a:pt x="101" y="1870"/>
                </a:lnTo>
                <a:lnTo>
                  <a:pt x="99" y="1873"/>
                </a:lnTo>
                <a:lnTo>
                  <a:pt x="96" y="1875"/>
                </a:lnTo>
                <a:lnTo>
                  <a:pt x="92" y="1876"/>
                </a:lnTo>
                <a:lnTo>
                  <a:pt x="89" y="1876"/>
                </a:lnTo>
                <a:lnTo>
                  <a:pt x="87" y="1876"/>
                </a:lnTo>
                <a:lnTo>
                  <a:pt x="84" y="1875"/>
                </a:lnTo>
                <a:lnTo>
                  <a:pt x="82" y="1874"/>
                </a:lnTo>
                <a:lnTo>
                  <a:pt x="80" y="1872"/>
                </a:lnTo>
                <a:lnTo>
                  <a:pt x="79" y="1870"/>
                </a:lnTo>
                <a:lnTo>
                  <a:pt x="77" y="1868"/>
                </a:lnTo>
                <a:lnTo>
                  <a:pt x="77" y="1865"/>
                </a:lnTo>
                <a:lnTo>
                  <a:pt x="77" y="1863"/>
                </a:lnTo>
                <a:lnTo>
                  <a:pt x="77" y="1860"/>
                </a:lnTo>
                <a:lnTo>
                  <a:pt x="78" y="1856"/>
                </a:lnTo>
                <a:lnTo>
                  <a:pt x="81" y="1853"/>
                </a:lnTo>
                <a:lnTo>
                  <a:pt x="84" y="1851"/>
                </a:lnTo>
                <a:lnTo>
                  <a:pt x="88" y="1850"/>
                </a:lnTo>
                <a:close/>
                <a:moveTo>
                  <a:pt x="73" y="1915"/>
                </a:moveTo>
                <a:lnTo>
                  <a:pt x="78" y="1915"/>
                </a:lnTo>
                <a:lnTo>
                  <a:pt x="80" y="1916"/>
                </a:lnTo>
                <a:lnTo>
                  <a:pt x="83" y="1917"/>
                </a:lnTo>
                <a:lnTo>
                  <a:pt x="85" y="1919"/>
                </a:lnTo>
                <a:lnTo>
                  <a:pt x="86" y="1921"/>
                </a:lnTo>
                <a:lnTo>
                  <a:pt x="87" y="1923"/>
                </a:lnTo>
                <a:lnTo>
                  <a:pt x="88" y="1925"/>
                </a:lnTo>
                <a:lnTo>
                  <a:pt x="88" y="1931"/>
                </a:lnTo>
                <a:lnTo>
                  <a:pt x="86" y="1934"/>
                </a:lnTo>
                <a:lnTo>
                  <a:pt x="85" y="1936"/>
                </a:lnTo>
                <a:lnTo>
                  <a:pt x="84" y="1937"/>
                </a:lnTo>
                <a:lnTo>
                  <a:pt x="81" y="1939"/>
                </a:lnTo>
                <a:lnTo>
                  <a:pt x="77" y="1941"/>
                </a:lnTo>
                <a:lnTo>
                  <a:pt x="72" y="1941"/>
                </a:lnTo>
                <a:lnTo>
                  <a:pt x="70" y="1940"/>
                </a:lnTo>
                <a:lnTo>
                  <a:pt x="67" y="1938"/>
                </a:lnTo>
                <a:lnTo>
                  <a:pt x="65" y="1937"/>
                </a:lnTo>
                <a:lnTo>
                  <a:pt x="64" y="1935"/>
                </a:lnTo>
                <a:lnTo>
                  <a:pt x="63" y="1933"/>
                </a:lnTo>
                <a:lnTo>
                  <a:pt x="62" y="1930"/>
                </a:lnTo>
                <a:lnTo>
                  <a:pt x="62" y="1925"/>
                </a:lnTo>
                <a:lnTo>
                  <a:pt x="63" y="1921"/>
                </a:lnTo>
                <a:lnTo>
                  <a:pt x="65" y="1919"/>
                </a:lnTo>
                <a:lnTo>
                  <a:pt x="66" y="1918"/>
                </a:lnTo>
                <a:lnTo>
                  <a:pt x="69" y="1916"/>
                </a:lnTo>
                <a:lnTo>
                  <a:pt x="73" y="1915"/>
                </a:lnTo>
                <a:close/>
                <a:moveTo>
                  <a:pt x="59" y="1979"/>
                </a:moveTo>
                <a:lnTo>
                  <a:pt x="64" y="1979"/>
                </a:lnTo>
                <a:lnTo>
                  <a:pt x="66" y="1980"/>
                </a:lnTo>
                <a:lnTo>
                  <a:pt x="69" y="1981"/>
                </a:lnTo>
                <a:lnTo>
                  <a:pt x="70" y="1983"/>
                </a:lnTo>
                <a:lnTo>
                  <a:pt x="72" y="1985"/>
                </a:lnTo>
                <a:lnTo>
                  <a:pt x="73" y="1987"/>
                </a:lnTo>
                <a:lnTo>
                  <a:pt x="74" y="1990"/>
                </a:lnTo>
                <a:lnTo>
                  <a:pt x="74" y="1995"/>
                </a:lnTo>
                <a:lnTo>
                  <a:pt x="73" y="1997"/>
                </a:lnTo>
                <a:lnTo>
                  <a:pt x="73" y="1999"/>
                </a:lnTo>
                <a:lnTo>
                  <a:pt x="71" y="2000"/>
                </a:lnTo>
                <a:lnTo>
                  <a:pt x="70" y="2002"/>
                </a:lnTo>
                <a:lnTo>
                  <a:pt x="69" y="2003"/>
                </a:lnTo>
                <a:lnTo>
                  <a:pt x="67" y="2004"/>
                </a:lnTo>
                <a:lnTo>
                  <a:pt x="63" y="2005"/>
                </a:lnTo>
                <a:lnTo>
                  <a:pt x="58" y="2005"/>
                </a:lnTo>
                <a:lnTo>
                  <a:pt x="56" y="2004"/>
                </a:lnTo>
                <a:lnTo>
                  <a:pt x="53" y="2003"/>
                </a:lnTo>
                <a:lnTo>
                  <a:pt x="51" y="2002"/>
                </a:lnTo>
                <a:lnTo>
                  <a:pt x="50" y="2000"/>
                </a:lnTo>
                <a:lnTo>
                  <a:pt x="49" y="1997"/>
                </a:lnTo>
                <a:lnTo>
                  <a:pt x="48" y="1995"/>
                </a:lnTo>
                <a:lnTo>
                  <a:pt x="48" y="1990"/>
                </a:lnTo>
                <a:lnTo>
                  <a:pt x="49" y="1988"/>
                </a:lnTo>
                <a:lnTo>
                  <a:pt x="49" y="1986"/>
                </a:lnTo>
                <a:lnTo>
                  <a:pt x="51" y="1984"/>
                </a:lnTo>
                <a:lnTo>
                  <a:pt x="52" y="1983"/>
                </a:lnTo>
                <a:lnTo>
                  <a:pt x="53" y="1982"/>
                </a:lnTo>
                <a:lnTo>
                  <a:pt x="55" y="1981"/>
                </a:lnTo>
                <a:lnTo>
                  <a:pt x="59" y="1979"/>
                </a:lnTo>
                <a:close/>
                <a:moveTo>
                  <a:pt x="46" y="2044"/>
                </a:moveTo>
                <a:lnTo>
                  <a:pt x="50" y="2044"/>
                </a:lnTo>
                <a:lnTo>
                  <a:pt x="53" y="2045"/>
                </a:lnTo>
                <a:lnTo>
                  <a:pt x="55" y="2046"/>
                </a:lnTo>
                <a:lnTo>
                  <a:pt x="57" y="2048"/>
                </a:lnTo>
                <a:lnTo>
                  <a:pt x="59" y="2050"/>
                </a:lnTo>
                <a:lnTo>
                  <a:pt x="60" y="2052"/>
                </a:lnTo>
                <a:lnTo>
                  <a:pt x="61" y="2054"/>
                </a:lnTo>
                <a:lnTo>
                  <a:pt x="61" y="2057"/>
                </a:lnTo>
                <a:lnTo>
                  <a:pt x="61" y="2060"/>
                </a:lnTo>
                <a:lnTo>
                  <a:pt x="60" y="2062"/>
                </a:lnTo>
                <a:lnTo>
                  <a:pt x="59" y="2064"/>
                </a:lnTo>
                <a:lnTo>
                  <a:pt x="57" y="2067"/>
                </a:lnTo>
                <a:lnTo>
                  <a:pt x="56" y="2068"/>
                </a:lnTo>
                <a:lnTo>
                  <a:pt x="54" y="2069"/>
                </a:lnTo>
                <a:lnTo>
                  <a:pt x="50" y="2070"/>
                </a:lnTo>
                <a:lnTo>
                  <a:pt x="45" y="2070"/>
                </a:lnTo>
                <a:lnTo>
                  <a:pt x="43" y="2069"/>
                </a:lnTo>
                <a:lnTo>
                  <a:pt x="40" y="2068"/>
                </a:lnTo>
                <a:lnTo>
                  <a:pt x="38" y="2067"/>
                </a:lnTo>
                <a:lnTo>
                  <a:pt x="37" y="2065"/>
                </a:lnTo>
                <a:lnTo>
                  <a:pt x="36" y="2062"/>
                </a:lnTo>
                <a:lnTo>
                  <a:pt x="35" y="2060"/>
                </a:lnTo>
                <a:lnTo>
                  <a:pt x="35" y="2057"/>
                </a:lnTo>
                <a:lnTo>
                  <a:pt x="35" y="2055"/>
                </a:lnTo>
                <a:lnTo>
                  <a:pt x="35" y="2053"/>
                </a:lnTo>
                <a:lnTo>
                  <a:pt x="36" y="2051"/>
                </a:lnTo>
                <a:lnTo>
                  <a:pt x="39" y="2048"/>
                </a:lnTo>
                <a:lnTo>
                  <a:pt x="40" y="2046"/>
                </a:lnTo>
                <a:lnTo>
                  <a:pt x="42" y="2045"/>
                </a:lnTo>
                <a:lnTo>
                  <a:pt x="46" y="2044"/>
                </a:lnTo>
                <a:close/>
                <a:moveTo>
                  <a:pt x="33" y="2109"/>
                </a:moveTo>
                <a:lnTo>
                  <a:pt x="38" y="2109"/>
                </a:lnTo>
                <a:lnTo>
                  <a:pt x="41" y="2110"/>
                </a:lnTo>
                <a:lnTo>
                  <a:pt x="43" y="2111"/>
                </a:lnTo>
                <a:lnTo>
                  <a:pt x="45" y="2113"/>
                </a:lnTo>
                <a:lnTo>
                  <a:pt x="46" y="2115"/>
                </a:lnTo>
                <a:lnTo>
                  <a:pt x="48" y="2117"/>
                </a:lnTo>
                <a:lnTo>
                  <a:pt x="48" y="2119"/>
                </a:lnTo>
                <a:lnTo>
                  <a:pt x="49" y="2122"/>
                </a:lnTo>
                <a:lnTo>
                  <a:pt x="49" y="2125"/>
                </a:lnTo>
                <a:lnTo>
                  <a:pt x="47" y="2128"/>
                </a:lnTo>
                <a:lnTo>
                  <a:pt x="45" y="2132"/>
                </a:lnTo>
                <a:lnTo>
                  <a:pt x="43" y="2133"/>
                </a:lnTo>
                <a:lnTo>
                  <a:pt x="42" y="2134"/>
                </a:lnTo>
                <a:lnTo>
                  <a:pt x="38" y="2135"/>
                </a:lnTo>
                <a:lnTo>
                  <a:pt x="33" y="2135"/>
                </a:lnTo>
                <a:lnTo>
                  <a:pt x="31" y="2134"/>
                </a:lnTo>
                <a:lnTo>
                  <a:pt x="28" y="2133"/>
                </a:lnTo>
                <a:lnTo>
                  <a:pt x="26" y="2132"/>
                </a:lnTo>
                <a:lnTo>
                  <a:pt x="25" y="2130"/>
                </a:lnTo>
                <a:lnTo>
                  <a:pt x="23" y="2127"/>
                </a:lnTo>
                <a:lnTo>
                  <a:pt x="23" y="2125"/>
                </a:lnTo>
                <a:lnTo>
                  <a:pt x="22" y="2122"/>
                </a:lnTo>
                <a:lnTo>
                  <a:pt x="23" y="2120"/>
                </a:lnTo>
                <a:lnTo>
                  <a:pt x="24" y="2116"/>
                </a:lnTo>
                <a:lnTo>
                  <a:pt x="26" y="2113"/>
                </a:lnTo>
                <a:lnTo>
                  <a:pt x="28" y="2111"/>
                </a:lnTo>
                <a:lnTo>
                  <a:pt x="29" y="2110"/>
                </a:lnTo>
                <a:lnTo>
                  <a:pt x="33" y="2109"/>
                </a:lnTo>
                <a:close/>
                <a:moveTo>
                  <a:pt x="22" y="2174"/>
                </a:moveTo>
                <a:lnTo>
                  <a:pt x="26" y="2174"/>
                </a:lnTo>
                <a:lnTo>
                  <a:pt x="29" y="2175"/>
                </a:lnTo>
                <a:lnTo>
                  <a:pt x="31" y="2176"/>
                </a:lnTo>
                <a:lnTo>
                  <a:pt x="33" y="2178"/>
                </a:lnTo>
                <a:lnTo>
                  <a:pt x="35" y="2180"/>
                </a:lnTo>
                <a:lnTo>
                  <a:pt x="36" y="2182"/>
                </a:lnTo>
                <a:lnTo>
                  <a:pt x="37" y="2183"/>
                </a:lnTo>
                <a:lnTo>
                  <a:pt x="37" y="2184"/>
                </a:lnTo>
                <a:lnTo>
                  <a:pt x="37" y="2187"/>
                </a:lnTo>
                <a:lnTo>
                  <a:pt x="37" y="2190"/>
                </a:lnTo>
                <a:lnTo>
                  <a:pt x="36" y="2194"/>
                </a:lnTo>
                <a:lnTo>
                  <a:pt x="33" y="2197"/>
                </a:lnTo>
                <a:lnTo>
                  <a:pt x="32" y="2198"/>
                </a:lnTo>
                <a:lnTo>
                  <a:pt x="30" y="2199"/>
                </a:lnTo>
                <a:lnTo>
                  <a:pt x="26" y="2200"/>
                </a:lnTo>
                <a:lnTo>
                  <a:pt x="22" y="2200"/>
                </a:lnTo>
                <a:lnTo>
                  <a:pt x="19" y="2200"/>
                </a:lnTo>
                <a:lnTo>
                  <a:pt x="17" y="2199"/>
                </a:lnTo>
                <a:lnTo>
                  <a:pt x="15" y="2197"/>
                </a:lnTo>
                <a:lnTo>
                  <a:pt x="13" y="2195"/>
                </a:lnTo>
                <a:lnTo>
                  <a:pt x="12" y="2193"/>
                </a:lnTo>
                <a:lnTo>
                  <a:pt x="12" y="2192"/>
                </a:lnTo>
                <a:lnTo>
                  <a:pt x="11" y="2190"/>
                </a:lnTo>
                <a:lnTo>
                  <a:pt x="11" y="2188"/>
                </a:lnTo>
                <a:lnTo>
                  <a:pt x="11" y="2185"/>
                </a:lnTo>
                <a:lnTo>
                  <a:pt x="12" y="2181"/>
                </a:lnTo>
                <a:lnTo>
                  <a:pt x="15" y="2178"/>
                </a:lnTo>
                <a:lnTo>
                  <a:pt x="16" y="2177"/>
                </a:lnTo>
                <a:lnTo>
                  <a:pt x="18" y="2176"/>
                </a:lnTo>
                <a:lnTo>
                  <a:pt x="22" y="2174"/>
                </a:lnTo>
                <a:close/>
                <a:moveTo>
                  <a:pt x="11" y="2240"/>
                </a:moveTo>
                <a:lnTo>
                  <a:pt x="15" y="2240"/>
                </a:lnTo>
                <a:lnTo>
                  <a:pt x="18" y="2240"/>
                </a:lnTo>
                <a:lnTo>
                  <a:pt x="20" y="2241"/>
                </a:lnTo>
                <a:lnTo>
                  <a:pt x="22" y="2243"/>
                </a:lnTo>
                <a:lnTo>
                  <a:pt x="24" y="2245"/>
                </a:lnTo>
                <a:lnTo>
                  <a:pt x="25" y="2247"/>
                </a:lnTo>
                <a:lnTo>
                  <a:pt x="26" y="2248"/>
                </a:lnTo>
                <a:lnTo>
                  <a:pt x="26" y="2249"/>
                </a:lnTo>
                <a:lnTo>
                  <a:pt x="27" y="2252"/>
                </a:lnTo>
                <a:lnTo>
                  <a:pt x="26" y="2255"/>
                </a:lnTo>
                <a:lnTo>
                  <a:pt x="25" y="2259"/>
                </a:lnTo>
                <a:lnTo>
                  <a:pt x="23" y="2262"/>
                </a:lnTo>
                <a:lnTo>
                  <a:pt x="19" y="2264"/>
                </a:lnTo>
                <a:lnTo>
                  <a:pt x="18" y="2265"/>
                </a:lnTo>
                <a:lnTo>
                  <a:pt x="16" y="2266"/>
                </a:lnTo>
                <a:lnTo>
                  <a:pt x="11" y="2266"/>
                </a:lnTo>
                <a:lnTo>
                  <a:pt x="9" y="2265"/>
                </a:lnTo>
                <a:lnTo>
                  <a:pt x="6" y="2264"/>
                </a:lnTo>
                <a:lnTo>
                  <a:pt x="4" y="2262"/>
                </a:lnTo>
                <a:lnTo>
                  <a:pt x="3" y="2260"/>
                </a:lnTo>
                <a:lnTo>
                  <a:pt x="1" y="2258"/>
                </a:lnTo>
                <a:lnTo>
                  <a:pt x="1" y="2257"/>
                </a:lnTo>
                <a:lnTo>
                  <a:pt x="1" y="2256"/>
                </a:lnTo>
                <a:lnTo>
                  <a:pt x="0" y="2253"/>
                </a:lnTo>
                <a:lnTo>
                  <a:pt x="0" y="2251"/>
                </a:lnTo>
                <a:lnTo>
                  <a:pt x="2" y="2247"/>
                </a:lnTo>
                <a:lnTo>
                  <a:pt x="4" y="2243"/>
                </a:lnTo>
                <a:lnTo>
                  <a:pt x="7" y="2241"/>
                </a:lnTo>
                <a:lnTo>
                  <a:pt x="9" y="2240"/>
                </a:lnTo>
                <a:lnTo>
                  <a:pt x="11" y="2240"/>
                </a:lnTo>
                <a:close/>
                <a:moveTo>
                  <a:pt x="2940" y="2220"/>
                </a:moveTo>
                <a:lnTo>
                  <a:pt x="2941" y="2215"/>
                </a:lnTo>
                <a:lnTo>
                  <a:pt x="2942" y="2213"/>
                </a:lnTo>
                <a:lnTo>
                  <a:pt x="2943" y="2212"/>
                </a:lnTo>
                <a:lnTo>
                  <a:pt x="2943" y="2227"/>
                </a:lnTo>
                <a:lnTo>
                  <a:pt x="2941" y="2224"/>
                </a:lnTo>
                <a:lnTo>
                  <a:pt x="2940" y="2222"/>
                </a:lnTo>
                <a:lnTo>
                  <a:pt x="2940" y="2220"/>
                </a:lnTo>
                <a:close/>
                <a:moveTo>
                  <a:pt x="2624" y="2258"/>
                </a:moveTo>
                <a:lnTo>
                  <a:pt x="2629" y="2258"/>
                </a:lnTo>
                <a:lnTo>
                  <a:pt x="2631" y="2258"/>
                </a:lnTo>
                <a:lnTo>
                  <a:pt x="2633" y="2259"/>
                </a:lnTo>
                <a:lnTo>
                  <a:pt x="2635" y="2261"/>
                </a:lnTo>
                <a:lnTo>
                  <a:pt x="2636" y="2262"/>
                </a:lnTo>
                <a:lnTo>
                  <a:pt x="2637" y="2264"/>
                </a:lnTo>
                <a:lnTo>
                  <a:pt x="2638" y="2266"/>
                </a:lnTo>
                <a:lnTo>
                  <a:pt x="2639" y="2269"/>
                </a:lnTo>
                <a:lnTo>
                  <a:pt x="2614" y="2269"/>
                </a:lnTo>
                <a:lnTo>
                  <a:pt x="2615" y="2265"/>
                </a:lnTo>
                <a:lnTo>
                  <a:pt x="2617" y="2262"/>
                </a:lnTo>
                <a:lnTo>
                  <a:pt x="2618" y="2261"/>
                </a:lnTo>
                <a:lnTo>
                  <a:pt x="2620" y="2260"/>
                </a:lnTo>
                <a:lnTo>
                  <a:pt x="2623" y="2258"/>
                </a:lnTo>
                <a:lnTo>
                  <a:pt x="2624" y="2258"/>
                </a:lnTo>
                <a:close/>
                <a:moveTo>
                  <a:pt x="2884" y="2211"/>
                </a:moveTo>
                <a:lnTo>
                  <a:pt x="2887" y="2211"/>
                </a:lnTo>
                <a:lnTo>
                  <a:pt x="2890" y="2211"/>
                </a:lnTo>
                <a:lnTo>
                  <a:pt x="2892" y="2212"/>
                </a:lnTo>
                <a:lnTo>
                  <a:pt x="2894" y="2213"/>
                </a:lnTo>
                <a:lnTo>
                  <a:pt x="2896" y="2215"/>
                </a:lnTo>
                <a:lnTo>
                  <a:pt x="2897" y="2217"/>
                </a:lnTo>
                <a:lnTo>
                  <a:pt x="2898" y="2219"/>
                </a:lnTo>
                <a:lnTo>
                  <a:pt x="2899" y="2222"/>
                </a:lnTo>
                <a:lnTo>
                  <a:pt x="2899" y="2224"/>
                </a:lnTo>
                <a:lnTo>
                  <a:pt x="2898" y="2226"/>
                </a:lnTo>
                <a:lnTo>
                  <a:pt x="2896" y="2230"/>
                </a:lnTo>
                <a:lnTo>
                  <a:pt x="2895" y="2232"/>
                </a:lnTo>
                <a:lnTo>
                  <a:pt x="2893" y="2233"/>
                </a:lnTo>
                <a:lnTo>
                  <a:pt x="2891" y="2234"/>
                </a:lnTo>
                <a:lnTo>
                  <a:pt x="2889" y="2235"/>
                </a:lnTo>
                <a:lnTo>
                  <a:pt x="2886" y="2235"/>
                </a:lnTo>
                <a:lnTo>
                  <a:pt x="2883" y="2234"/>
                </a:lnTo>
                <a:lnTo>
                  <a:pt x="2881" y="2233"/>
                </a:lnTo>
                <a:lnTo>
                  <a:pt x="2879" y="2232"/>
                </a:lnTo>
                <a:lnTo>
                  <a:pt x="2877" y="2230"/>
                </a:lnTo>
                <a:lnTo>
                  <a:pt x="2876" y="2228"/>
                </a:lnTo>
                <a:lnTo>
                  <a:pt x="2875" y="2226"/>
                </a:lnTo>
                <a:lnTo>
                  <a:pt x="2874" y="2224"/>
                </a:lnTo>
                <a:lnTo>
                  <a:pt x="2874" y="2221"/>
                </a:lnTo>
                <a:lnTo>
                  <a:pt x="2875" y="2219"/>
                </a:lnTo>
                <a:lnTo>
                  <a:pt x="2877" y="2215"/>
                </a:lnTo>
                <a:lnTo>
                  <a:pt x="2878" y="2214"/>
                </a:lnTo>
                <a:lnTo>
                  <a:pt x="2880" y="2212"/>
                </a:lnTo>
                <a:lnTo>
                  <a:pt x="2882" y="2211"/>
                </a:lnTo>
                <a:lnTo>
                  <a:pt x="2884" y="2211"/>
                </a:lnTo>
                <a:close/>
                <a:moveTo>
                  <a:pt x="2688" y="2241"/>
                </a:moveTo>
                <a:lnTo>
                  <a:pt x="2693" y="2241"/>
                </a:lnTo>
                <a:lnTo>
                  <a:pt x="2695" y="2242"/>
                </a:lnTo>
                <a:lnTo>
                  <a:pt x="2697" y="2243"/>
                </a:lnTo>
                <a:lnTo>
                  <a:pt x="2699" y="2244"/>
                </a:lnTo>
                <a:lnTo>
                  <a:pt x="2700" y="2246"/>
                </a:lnTo>
                <a:lnTo>
                  <a:pt x="2702" y="2248"/>
                </a:lnTo>
                <a:lnTo>
                  <a:pt x="2702" y="2250"/>
                </a:lnTo>
                <a:lnTo>
                  <a:pt x="2703" y="2253"/>
                </a:lnTo>
                <a:lnTo>
                  <a:pt x="2703" y="2255"/>
                </a:lnTo>
                <a:lnTo>
                  <a:pt x="2702" y="2257"/>
                </a:lnTo>
                <a:lnTo>
                  <a:pt x="2701" y="2260"/>
                </a:lnTo>
                <a:lnTo>
                  <a:pt x="2699" y="2261"/>
                </a:lnTo>
                <a:lnTo>
                  <a:pt x="2698" y="2263"/>
                </a:lnTo>
                <a:lnTo>
                  <a:pt x="2696" y="2264"/>
                </a:lnTo>
                <a:lnTo>
                  <a:pt x="2693" y="2265"/>
                </a:lnTo>
                <a:lnTo>
                  <a:pt x="2688" y="2265"/>
                </a:lnTo>
                <a:lnTo>
                  <a:pt x="2686" y="2264"/>
                </a:lnTo>
                <a:lnTo>
                  <a:pt x="2684" y="2263"/>
                </a:lnTo>
                <a:lnTo>
                  <a:pt x="2682" y="2262"/>
                </a:lnTo>
                <a:lnTo>
                  <a:pt x="2680" y="2260"/>
                </a:lnTo>
                <a:lnTo>
                  <a:pt x="2679" y="2258"/>
                </a:lnTo>
                <a:lnTo>
                  <a:pt x="2678" y="2256"/>
                </a:lnTo>
                <a:lnTo>
                  <a:pt x="2678" y="2253"/>
                </a:lnTo>
                <a:lnTo>
                  <a:pt x="2678" y="2251"/>
                </a:lnTo>
                <a:lnTo>
                  <a:pt x="2679" y="2249"/>
                </a:lnTo>
                <a:lnTo>
                  <a:pt x="2680" y="2247"/>
                </a:lnTo>
                <a:lnTo>
                  <a:pt x="2681" y="2245"/>
                </a:lnTo>
                <a:lnTo>
                  <a:pt x="2683" y="2243"/>
                </a:lnTo>
                <a:lnTo>
                  <a:pt x="2685" y="2242"/>
                </a:lnTo>
                <a:lnTo>
                  <a:pt x="2688" y="2241"/>
                </a:lnTo>
                <a:close/>
                <a:moveTo>
                  <a:pt x="2818" y="2217"/>
                </a:moveTo>
                <a:lnTo>
                  <a:pt x="2821" y="2217"/>
                </a:lnTo>
                <a:lnTo>
                  <a:pt x="2824" y="2218"/>
                </a:lnTo>
                <a:lnTo>
                  <a:pt x="2828" y="2220"/>
                </a:lnTo>
                <a:lnTo>
                  <a:pt x="2831" y="2223"/>
                </a:lnTo>
                <a:lnTo>
                  <a:pt x="2833" y="2228"/>
                </a:lnTo>
                <a:lnTo>
                  <a:pt x="2833" y="2230"/>
                </a:lnTo>
                <a:lnTo>
                  <a:pt x="2832" y="2233"/>
                </a:lnTo>
                <a:lnTo>
                  <a:pt x="2832" y="2235"/>
                </a:lnTo>
                <a:lnTo>
                  <a:pt x="2830" y="2237"/>
                </a:lnTo>
                <a:lnTo>
                  <a:pt x="2829" y="2238"/>
                </a:lnTo>
                <a:lnTo>
                  <a:pt x="2827" y="2240"/>
                </a:lnTo>
                <a:lnTo>
                  <a:pt x="2825" y="2241"/>
                </a:lnTo>
                <a:lnTo>
                  <a:pt x="2823" y="2242"/>
                </a:lnTo>
                <a:lnTo>
                  <a:pt x="2820" y="2242"/>
                </a:lnTo>
                <a:lnTo>
                  <a:pt x="2818" y="2241"/>
                </a:lnTo>
                <a:lnTo>
                  <a:pt x="2813" y="2239"/>
                </a:lnTo>
                <a:lnTo>
                  <a:pt x="2810" y="2236"/>
                </a:lnTo>
                <a:lnTo>
                  <a:pt x="2809" y="2233"/>
                </a:lnTo>
                <a:lnTo>
                  <a:pt x="2808" y="2231"/>
                </a:lnTo>
                <a:lnTo>
                  <a:pt x="2808" y="2229"/>
                </a:lnTo>
                <a:lnTo>
                  <a:pt x="2809" y="2226"/>
                </a:lnTo>
                <a:lnTo>
                  <a:pt x="2810" y="2224"/>
                </a:lnTo>
                <a:lnTo>
                  <a:pt x="2811" y="2222"/>
                </a:lnTo>
                <a:lnTo>
                  <a:pt x="2812" y="2220"/>
                </a:lnTo>
                <a:lnTo>
                  <a:pt x="2814" y="2219"/>
                </a:lnTo>
                <a:lnTo>
                  <a:pt x="2816" y="2218"/>
                </a:lnTo>
                <a:lnTo>
                  <a:pt x="2818" y="2217"/>
                </a:lnTo>
                <a:close/>
                <a:moveTo>
                  <a:pt x="2753" y="2228"/>
                </a:moveTo>
                <a:lnTo>
                  <a:pt x="2758" y="2228"/>
                </a:lnTo>
                <a:lnTo>
                  <a:pt x="2760" y="2228"/>
                </a:lnTo>
                <a:lnTo>
                  <a:pt x="2762" y="2230"/>
                </a:lnTo>
                <a:lnTo>
                  <a:pt x="2764" y="2231"/>
                </a:lnTo>
                <a:lnTo>
                  <a:pt x="2766" y="2233"/>
                </a:lnTo>
                <a:lnTo>
                  <a:pt x="2767" y="2235"/>
                </a:lnTo>
                <a:lnTo>
                  <a:pt x="2767" y="2237"/>
                </a:lnTo>
                <a:lnTo>
                  <a:pt x="2767" y="2242"/>
                </a:lnTo>
                <a:lnTo>
                  <a:pt x="2766" y="2245"/>
                </a:lnTo>
                <a:lnTo>
                  <a:pt x="2765" y="2247"/>
                </a:lnTo>
                <a:lnTo>
                  <a:pt x="2764" y="2248"/>
                </a:lnTo>
                <a:lnTo>
                  <a:pt x="2762" y="2250"/>
                </a:lnTo>
                <a:lnTo>
                  <a:pt x="2760" y="2251"/>
                </a:lnTo>
                <a:lnTo>
                  <a:pt x="2757" y="2252"/>
                </a:lnTo>
                <a:lnTo>
                  <a:pt x="2753" y="2252"/>
                </a:lnTo>
                <a:lnTo>
                  <a:pt x="2750" y="2251"/>
                </a:lnTo>
                <a:lnTo>
                  <a:pt x="2748" y="2250"/>
                </a:lnTo>
                <a:lnTo>
                  <a:pt x="2746" y="2248"/>
                </a:lnTo>
                <a:lnTo>
                  <a:pt x="2745" y="2246"/>
                </a:lnTo>
                <a:lnTo>
                  <a:pt x="2744" y="2244"/>
                </a:lnTo>
                <a:lnTo>
                  <a:pt x="2743" y="2242"/>
                </a:lnTo>
                <a:lnTo>
                  <a:pt x="2743" y="2237"/>
                </a:lnTo>
                <a:lnTo>
                  <a:pt x="2744" y="2235"/>
                </a:lnTo>
                <a:lnTo>
                  <a:pt x="2745" y="2233"/>
                </a:lnTo>
                <a:lnTo>
                  <a:pt x="2747" y="2231"/>
                </a:lnTo>
                <a:lnTo>
                  <a:pt x="2749" y="2229"/>
                </a:lnTo>
                <a:lnTo>
                  <a:pt x="2751" y="2228"/>
                </a:lnTo>
                <a:lnTo>
                  <a:pt x="2753" y="2228"/>
                </a:lnTo>
                <a:close/>
                <a:moveTo>
                  <a:pt x="1984" y="2257"/>
                </a:moveTo>
                <a:lnTo>
                  <a:pt x="1987" y="2257"/>
                </a:lnTo>
                <a:lnTo>
                  <a:pt x="1990" y="2258"/>
                </a:lnTo>
                <a:lnTo>
                  <a:pt x="1993" y="2260"/>
                </a:lnTo>
                <a:lnTo>
                  <a:pt x="1995" y="2261"/>
                </a:lnTo>
                <a:lnTo>
                  <a:pt x="1996" y="2262"/>
                </a:lnTo>
                <a:lnTo>
                  <a:pt x="1998" y="2266"/>
                </a:lnTo>
                <a:lnTo>
                  <a:pt x="1998" y="2269"/>
                </a:lnTo>
                <a:lnTo>
                  <a:pt x="1973" y="2269"/>
                </a:lnTo>
                <a:lnTo>
                  <a:pt x="1974" y="2266"/>
                </a:lnTo>
                <a:lnTo>
                  <a:pt x="1975" y="2264"/>
                </a:lnTo>
                <a:lnTo>
                  <a:pt x="1976" y="2261"/>
                </a:lnTo>
                <a:lnTo>
                  <a:pt x="1979" y="2259"/>
                </a:lnTo>
                <a:lnTo>
                  <a:pt x="1981" y="2258"/>
                </a:lnTo>
                <a:lnTo>
                  <a:pt x="1984" y="2257"/>
                </a:lnTo>
                <a:close/>
                <a:moveTo>
                  <a:pt x="2038" y="2220"/>
                </a:moveTo>
                <a:lnTo>
                  <a:pt x="2042" y="2220"/>
                </a:lnTo>
                <a:lnTo>
                  <a:pt x="2045" y="2221"/>
                </a:lnTo>
                <a:lnTo>
                  <a:pt x="2048" y="2223"/>
                </a:lnTo>
                <a:lnTo>
                  <a:pt x="2051" y="2226"/>
                </a:lnTo>
                <a:lnTo>
                  <a:pt x="2052" y="2228"/>
                </a:lnTo>
                <a:lnTo>
                  <a:pt x="2053" y="2230"/>
                </a:lnTo>
                <a:lnTo>
                  <a:pt x="2053" y="2235"/>
                </a:lnTo>
                <a:lnTo>
                  <a:pt x="2052" y="2237"/>
                </a:lnTo>
                <a:lnTo>
                  <a:pt x="2051" y="2239"/>
                </a:lnTo>
                <a:lnTo>
                  <a:pt x="2049" y="2241"/>
                </a:lnTo>
                <a:lnTo>
                  <a:pt x="2047" y="2243"/>
                </a:lnTo>
                <a:lnTo>
                  <a:pt x="2045" y="2244"/>
                </a:lnTo>
                <a:lnTo>
                  <a:pt x="2043" y="2245"/>
                </a:lnTo>
                <a:lnTo>
                  <a:pt x="2039" y="2245"/>
                </a:lnTo>
                <a:lnTo>
                  <a:pt x="2036" y="2244"/>
                </a:lnTo>
                <a:lnTo>
                  <a:pt x="2033" y="2242"/>
                </a:lnTo>
                <a:lnTo>
                  <a:pt x="2030" y="2239"/>
                </a:lnTo>
                <a:lnTo>
                  <a:pt x="2029" y="2237"/>
                </a:lnTo>
                <a:lnTo>
                  <a:pt x="2028" y="2235"/>
                </a:lnTo>
                <a:lnTo>
                  <a:pt x="2028" y="2230"/>
                </a:lnTo>
                <a:lnTo>
                  <a:pt x="2029" y="2227"/>
                </a:lnTo>
                <a:lnTo>
                  <a:pt x="2030" y="2225"/>
                </a:lnTo>
                <a:lnTo>
                  <a:pt x="2032" y="2224"/>
                </a:lnTo>
                <a:lnTo>
                  <a:pt x="2034" y="2222"/>
                </a:lnTo>
                <a:lnTo>
                  <a:pt x="2036" y="2221"/>
                </a:lnTo>
                <a:lnTo>
                  <a:pt x="2038" y="2220"/>
                </a:lnTo>
                <a:close/>
                <a:moveTo>
                  <a:pt x="2094" y="2185"/>
                </a:moveTo>
                <a:lnTo>
                  <a:pt x="2098" y="2185"/>
                </a:lnTo>
                <a:lnTo>
                  <a:pt x="2102" y="2186"/>
                </a:lnTo>
                <a:lnTo>
                  <a:pt x="2105" y="2188"/>
                </a:lnTo>
                <a:lnTo>
                  <a:pt x="2106" y="2189"/>
                </a:lnTo>
                <a:lnTo>
                  <a:pt x="2107" y="2191"/>
                </a:lnTo>
                <a:lnTo>
                  <a:pt x="2108" y="2193"/>
                </a:lnTo>
                <a:lnTo>
                  <a:pt x="2109" y="2195"/>
                </a:lnTo>
                <a:lnTo>
                  <a:pt x="2109" y="2198"/>
                </a:lnTo>
                <a:lnTo>
                  <a:pt x="2109" y="2200"/>
                </a:lnTo>
                <a:lnTo>
                  <a:pt x="2108" y="2202"/>
                </a:lnTo>
                <a:lnTo>
                  <a:pt x="2107" y="2204"/>
                </a:lnTo>
                <a:lnTo>
                  <a:pt x="2105" y="2206"/>
                </a:lnTo>
                <a:lnTo>
                  <a:pt x="2103" y="2208"/>
                </a:lnTo>
                <a:lnTo>
                  <a:pt x="2101" y="2209"/>
                </a:lnTo>
                <a:lnTo>
                  <a:pt x="2099" y="2209"/>
                </a:lnTo>
                <a:lnTo>
                  <a:pt x="2095" y="2209"/>
                </a:lnTo>
                <a:lnTo>
                  <a:pt x="2092" y="2208"/>
                </a:lnTo>
                <a:lnTo>
                  <a:pt x="2088" y="2206"/>
                </a:lnTo>
                <a:lnTo>
                  <a:pt x="2087" y="2205"/>
                </a:lnTo>
                <a:lnTo>
                  <a:pt x="2086" y="2204"/>
                </a:lnTo>
                <a:lnTo>
                  <a:pt x="2085" y="2201"/>
                </a:lnTo>
                <a:lnTo>
                  <a:pt x="2084" y="2199"/>
                </a:lnTo>
                <a:lnTo>
                  <a:pt x="2084" y="2197"/>
                </a:lnTo>
                <a:lnTo>
                  <a:pt x="2085" y="2194"/>
                </a:lnTo>
                <a:lnTo>
                  <a:pt x="2085" y="2192"/>
                </a:lnTo>
                <a:lnTo>
                  <a:pt x="2087" y="2190"/>
                </a:lnTo>
                <a:lnTo>
                  <a:pt x="2088" y="2188"/>
                </a:lnTo>
                <a:lnTo>
                  <a:pt x="2090" y="2187"/>
                </a:lnTo>
                <a:lnTo>
                  <a:pt x="2092" y="2186"/>
                </a:lnTo>
                <a:lnTo>
                  <a:pt x="2094" y="2185"/>
                </a:lnTo>
                <a:close/>
                <a:moveTo>
                  <a:pt x="2152" y="2152"/>
                </a:moveTo>
                <a:lnTo>
                  <a:pt x="2155" y="2152"/>
                </a:lnTo>
                <a:lnTo>
                  <a:pt x="2159" y="2153"/>
                </a:lnTo>
                <a:lnTo>
                  <a:pt x="2162" y="2155"/>
                </a:lnTo>
                <a:lnTo>
                  <a:pt x="2164" y="2156"/>
                </a:lnTo>
                <a:lnTo>
                  <a:pt x="2165" y="2158"/>
                </a:lnTo>
                <a:lnTo>
                  <a:pt x="2166" y="2160"/>
                </a:lnTo>
                <a:lnTo>
                  <a:pt x="2166" y="2163"/>
                </a:lnTo>
                <a:lnTo>
                  <a:pt x="2166" y="2165"/>
                </a:lnTo>
                <a:lnTo>
                  <a:pt x="2166" y="2167"/>
                </a:lnTo>
                <a:lnTo>
                  <a:pt x="2165" y="2170"/>
                </a:lnTo>
                <a:lnTo>
                  <a:pt x="2164" y="2172"/>
                </a:lnTo>
                <a:lnTo>
                  <a:pt x="2162" y="2173"/>
                </a:lnTo>
                <a:lnTo>
                  <a:pt x="2160" y="2175"/>
                </a:lnTo>
                <a:lnTo>
                  <a:pt x="2158" y="2176"/>
                </a:lnTo>
                <a:lnTo>
                  <a:pt x="2156" y="2176"/>
                </a:lnTo>
                <a:lnTo>
                  <a:pt x="2152" y="2176"/>
                </a:lnTo>
                <a:lnTo>
                  <a:pt x="2149" y="2175"/>
                </a:lnTo>
                <a:lnTo>
                  <a:pt x="2145" y="2173"/>
                </a:lnTo>
                <a:lnTo>
                  <a:pt x="2144" y="2172"/>
                </a:lnTo>
                <a:lnTo>
                  <a:pt x="2143" y="2170"/>
                </a:lnTo>
                <a:lnTo>
                  <a:pt x="2142" y="2168"/>
                </a:lnTo>
                <a:lnTo>
                  <a:pt x="2142" y="2165"/>
                </a:lnTo>
                <a:lnTo>
                  <a:pt x="2142" y="2163"/>
                </a:lnTo>
                <a:lnTo>
                  <a:pt x="2142" y="2161"/>
                </a:lnTo>
                <a:lnTo>
                  <a:pt x="2143" y="2158"/>
                </a:lnTo>
                <a:lnTo>
                  <a:pt x="2144" y="2156"/>
                </a:lnTo>
                <a:lnTo>
                  <a:pt x="2146" y="2155"/>
                </a:lnTo>
                <a:lnTo>
                  <a:pt x="2148" y="2153"/>
                </a:lnTo>
                <a:lnTo>
                  <a:pt x="2150" y="2152"/>
                </a:lnTo>
                <a:lnTo>
                  <a:pt x="2152" y="2152"/>
                </a:lnTo>
                <a:close/>
                <a:moveTo>
                  <a:pt x="2211" y="2121"/>
                </a:moveTo>
                <a:lnTo>
                  <a:pt x="2215" y="2121"/>
                </a:lnTo>
                <a:lnTo>
                  <a:pt x="2217" y="2121"/>
                </a:lnTo>
                <a:lnTo>
                  <a:pt x="2219" y="2122"/>
                </a:lnTo>
                <a:lnTo>
                  <a:pt x="2220" y="2123"/>
                </a:lnTo>
                <a:lnTo>
                  <a:pt x="2222" y="2124"/>
                </a:lnTo>
                <a:lnTo>
                  <a:pt x="2224" y="2128"/>
                </a:lnTo>
                <a:lnTo>
                  <a:pt x="2225" y="2130"/>
                </a:lnTo>
                <a:lnTo>
                  <a:pt x="2226" y="2132"/>
                </a:lnTo>
                <a:lnTo>
                  <a:pt x="2226" y="2135"/>
                </a:lnTo>
                <a:lnTo>
                  <a:pt x="2225" y="2137"/>
                </a:lnTo>
                <a:lnTo>
                  <a:pt x="2224" y="2139"/>
                </a:lnTo>
                <a:lnTo>
                  <a:pt x="2223" y="2141"/>
                </a:lnTo>
                <a:lnTo>
                  <a:pt x="2221" y="2143"/>
                </a:lnTo>
                <a:lnTo>
                  <a:pt x="2219" y="2144"/>
                </a:lnTo>
                <a:lnTo>
                  <a:pt x="2215" y="2145"/>
                </a:lnTo>
                <a:lnTo>
                  <a:pt x="2212" y="2145"/>
                </a:lnTo>
                <a:lnTo>
                  <a:pt x="2210" y="2145"/>
                </a:lnTo>
                <a:lnTo>
                  <a:pt x="2207" y="2144"/>
                </a:lnTo>
                <a:lnTo>
                  <a:pt x="2205" y="2143"/>
                </a:lnTo>
                <a:lnTo>
                  <a:pt x="2204" y="2142"/>
                </a:lnTo>
                <a:lnTo>
                  <a:pt x="2201" y="2139"/>
                </a:lnTo>
                <a:lnTo>
                  <a:pt x="2200" y="2136"/>
                </a:lnTo>
                <a:lnTo>
                  <a:pt x="2200" y="2134"/>
                </a:lnTo>
                <a:lnTo>
                  <a:pt x="2200" y="2132"/>
                </a:lnTo>
                <a:lnTo>
                  <a:pt x="2201" y="2129"/>
                </a:lnTo>
                <a:lnTo>
                  <a:pt x="2202" y="2127"/>
                </a:lnTo>
                <a:lnTo>
                  <a:pt x="2203" y="2125"/>
                </a:lnTo>
                <a:lnTo>
                  <a:pt x="2205" y="2123"/>
                </a:lnTo>
                <a:lnTo>
                  <a:pt x="2207" y="2122"/>
                </a:lnTo>
                <a:lnTo>
                  <a:pt x="2211" y="2121"/>
                </a:lnTo>
                <a:close/>
                <a:moveTo>
                  <a:pt x="2271" y="2092"/>
                </a:moveTo>
                <a:lnTo>
                  <a:pt x="2275" y="2092"/>
                </a:lnTo>
                <a:lnTo>
                  <a:pt x="2279" y="2093"/>
                </a:lnTo>
                <a:lnTo>
                  <a:pt x="2280" y="2095"/>
                </a:lnTo>
                <a:lnTo>
                  <a:pt x="2282" y="2096"/>
                </a:lnTo>
                <a:lnTo>
                  <a:pt x="2283" y="2097"/>
                </a:lnTo>
                <a:lnTo>
                  <a:pt x="2284" y="2099"/>
                </a:lnTo>
                <a:lnTo>
                  <a:pt x="2285" y="2102"/>
                </a:lnTo>
                <a:lnTo>
                  <a:pt x="2285" y="2104"/>
                </a:lnTo>
                <a:lnTo>
                  <a:pt x="2285" y="2109"/>
                </a:lnTo>
                <a:lnTo>
                  <a:pt x="2283" y="2111"/>
                </a:lnTo>
                <a:lnTo>
                  <a:pt x="2282" y="2113"/>
                </a:lnTo>
                <a:lnTo>
                  <a:pt x="2280" y="2114"/>
                </a:lnTo>
                <a:lnTo>
                  <a:pt x="2278" y="2116"/>
                </a:lnTo>
                <a:lnTo>
                  <a:pt x="2275" y="2117"/>
                </a:lnTo>
                <a:lnTo>
                  <a:pt x="2271" y="2117"/>
                </a:lnTo>
                <a:lnTo>
                  <a:pt x="2267" y="2115"/>
                </a:lnTo>
                <a:lnTo>
                  <a:pt x="2266" y="2114"/>
                </a:lnTo>
                <a:lnTo>
                  <a:pt x="2264" y="2113"/>
                </a:lnTo>
                <a:lnTo>
                  <a:pt x="2263" y="2111"/>
                </a:lnTo>
                <a:lnTo>
                  <a:pt x="2262" y="2110"/>
                </a:lnTo>
                <a:lnTo>
                  <a:pt x="2261" y="2107"/>
                </a:lnTo>
                <a:lnTo>
                  <a:pt x="2261" y="2105"/>
                </a:lnTo>
                <a:lnTo>
                  <a:pt x="2261" y="2100"/>
                </a:lnTo>
                <a:lnTo>
                  <a:pt x="2262" y="2098"/>
                </a:lnTo>
                <a:lnTo>
                  <a:pt x="2264" y="2096"/>
                </a:lnTo>
                <a:lnTo>
                  <a:pt x="2266" y="2094"/>
                </a:lnTo>
                <a:lnTo>
                  <a:pt x="2268" y="2093"/>
                </a:lnTo>
                <a:lnTo>
                  <a:pt x="2271" y="2092"/>
                </a:lnTo>
                <a:close/>
                <a:moveTo>
                  <a:pt x="2913" y="1968"/>
                </a:moveTo>
                <a:lnTo>
                  <a:pt x="2916" y="1968"/>
                </a:lnTo>
                <a:lnTo>
                  <a:pt x="2919" y="1968"/>
                </a:lnTo>
                <a:lnTo>
                  <a:pt x="2921" y="1969"/>
                </a:lnTo>
                <a:lnTo>
                  <a:pt x="2925" y="1972"/>
                </a:lnTo>
                <a:lnTo>
                  <a:pt x="2926" y="1974"/>
                </a:lnTo>
                <a:lnTo>
                  <a:pt x="2927" y="1976"/>
                </a:lnTo>
                <a:lnTo>
                  <a:pt x="2928" y="1981"/>
                </a:lnTo>
                <a:lnTo>
                  <a:pt x="2928" y="1983"/>
                </a:lnTo>
                <a:lnTo>
                  <a:pt x="2927" y="1985"/>
                </a:lnTo>
                <a:lnTo>
                  <a:pt x="2926" y="1987"/>
                </a:lnTo>
                <a:lnTo>
                  <a:pt x="2925" y="1988"/>
                </a:lnTo>
                <a:lnTo>
                  <a:pt x="2923" y="1990"/>
                </a:lnTo>
                <a:lnTo>
                  <a:pt x="2922" y="1991"/>
                </a:lnTo>
                <a:lnTo>
                  <a:pt x="2920" y="1992"/>
                </a:lnTo>
                <a:lnTo>
                  <a:pt x="2918" y="1992"/>
                </a:lnTo>
                <a:lnTo>
                  <a:pt x="2915" y="1992"/>
                </a:lnTo>
                <a:lnTo>
                  <a:pt x="2913" y="1992"/>
                </a:lnTo>
                <a:lnTo>
                  <a:pt x="2910" y="1991"/>
                </a:lnTo>
                <a:lnTo>
                  <a:pt x="2907" y="1988"/>
                </a:lnTo>
                <a:lnTo>
                  <a:pt x="2905" y="1987"/>
                </a:lnTo>
                <a:lnTo>
                  <a:pt x="2904" y="1984"/>
                </a:lnTo>
                <a:lnTo>
                  <a:pt x="2903" y="1980"/>
                </a:lnTo>
                <a:lnTo>
                  <a:pt x="2904" y="1977"/>
                </a:lnTo>
                <a:lnTo>
                  <a:pt x="2904" y="1975"/>
                </a:lnTo>
                <a:lnTo>
                  <a:pt x="2905" y="1974"/>
                </a:lnTo>
                <a:lnTo>
                  <a:pt x="2906" y="1972"/>
                </a:lnTo>
                <a:lnTo>
                  <a:pt x="2908" y="1970"/>
                </a:lnTo>
                <a:lnTo>
                  <a:pt x="2910" y="1969"/>
                </a:lnTo>
                <a:lnTo>
                  <a:pt x="2911" y="1968"/>
                </a:lnTo>
                <a:lnTo>
                  <a:pt x="2913" y="1968"/>
                </a:lnTo>
                <a:close/>
                <a:moveTo>
                  <a:pt x="2332" y="2066"/>
                </a:moveTo>
                <a:lnTo>
                  <a:pt x="2336" y="2066"/>
                </a:lnTo>
                <a:lnTo>
                  <a:pt x="2340" y="2067"/>
                </a:lnTo>
                <a:lnTo>
                  <a:pt x="2343" y="2070"/>
                </a:lnTo>
                <a:lnTo>
                  <a:pt x="2344" y="2072"/>
                </a:lnTo>
                <a:lnTo>
                  <a:pt x="2345" y="2074"/>
                </a:lnTo>
                <a:lnTo>
                  <a:pt x="2346" y="2076"/>
                </a:lnTo>
                <a:lnTo>
                  <a:pt x="2346" y="2078"/>
                </a:lnTo>
                <a:lnTo>
                  <a:pt x="2346" y="2081"/>
                </a:lnTo>
                <a:lnTo>
                  <a:pt x="2345" y="2083"/>
                </a:lnTo>
                <a:lnTo>
                  <a:pt x="2344" y="2085"/>
                </a:lnTo>
                <a:lnTo>
                  <a:pt x="2342" y="2087"/>
                </a:lnTo>
                <a:lnTo>
                  <a:pt x="2341" y="2089"/>
                </a:lnTo>
                <a:lnTo>
                  <a:pt x="2338" y="2090"/>
                </a:lnTo>
                <a:lnTo>
                  <a:pt x="2336" y="2090"/>
                </a:lnTo>
                <a:lnTo>
                  <a:pt x="2332" y="2090"/>
                </a:lnTo>
                <a:lnTo>
                  <a:pt x="2328" y="2089"/>
                </a:lnTo>
                <a:lnTo>
                  <a:pt x="2324" y="2087"/>
                </a:lnTo>
                <a:lnTo>
                  <a:pt x="2323" y="2085"/>
                </a:lnTo>
                <a:lnTo>
                  <a:pt x="2322" y="2083"/>
                </a:lnTo>
                <a:lnTo>
                  <a:pt x="2322" y="2081"/>
                </a:lnTo>
                <a:lnTo>
                  <a:pt x="2321" y="2078"/>
                </a:lnTo>
                <a:lnTo>
                  <a:pt x="2322" y="2076"/>
                </a:lnTo>
                <a:lnTo>
                  <a:pt x="2322" y="2073"/>
                </a:lnTo>
                <a:lnTo>
                  <a:pt x="2323" y="2071"/>
                </a:lnTo>
                <a:lnTo>
                  <a:pt x="2325" y="2070"/>
                </a:lnTo>
                <a:lnTo>
                  <a:pt x="2327" y="2068"/>
                </a:lnTo>
                <a:lnTo>
                  <a:pt x="2329" y="2067"/>
                </a:lnTo>
                <a:lnTo>
                  <a:pt x="2332" y="2066"/>
                </a:lnTo>
                <a:close/>
                <a:moveTo>
                  <a:pt x="2847" y="1965"/>
                </a:moveTo>
                <a:lnTo>
                  <a:pt x="2850" y="1965"/>
                </a:lnTo>
                <a:lnTo>
                  <a:pt x="2852" y="1966"/>
                </a:lnTo>
                <a:lnTo>
                  <a:pt x="2855" y="1966"/>
                </a:lnTo>
                <a:lnTo>
                  <a:pt x="2857" y="1968"/>
                </a:lnTo>
                <a:lnTo>
                  <a:pt x="2858" y="1969"/>
                </a:lnTo>
                <a:lnTo>
                  <a:pt x="2860" y="1971"/>
                </a:lnTo>
                <a:lnTo>
                  <a:pt x="2861" y="1973"/>
                </a:lnTo>
                <a:lnTo>
                  <a:pt x="2862" y="1975"/>
                </a:lnTo>
                <a:lnTo>
                  <a:pt x="2862" y="1978"/>
                </a:lnTo>
                <a:lnTo>
                  <a:pt x="2862" y="1980"/>
                </a:lnTo>
                <a:lnTo>
                  <a:pt x="2861" y="1982"/>
                </a:lnTo>
                <a:lnTo>
                  <a:pt x="2860" y="1984"/>
                </a:lnTo>
                <a:lnTo>
                  <a:pt x="2859" y="1986"/>
                </a:lnTo>
                <a:lnTo>
                  <a:pt x="2856" y="1988"/>
                </a:lnTo>
                <a:lnTo>
                  <a:pt x="2854" y="1989"/>
                </a:lnTo>
                <a:lnTo>
                  <a:pt x="2852" y="1990"/>
                </a:lnTo>
                <a:lnTo>
                  <a:pt x="2849" y="1990"/>
                </a:lnTo>
                <a:lnTo>
                  <a:pt x="2847" y="1990"/>
                </a:lnTo>
                <a:lnTo>
                  <a:pt x="2844" y="1989"/>
                </a:lnTo>
                <a:lnTo>
                  <a:pt x="2842" y="1988"/>
                </a:lnTo>
                <a:lnTo>
                  <a:pt x="2841" y="1986"/>
                </a:lnTo>
                <a:lnTo>
                  <a:pt x="2839" y="1984"/>
                </a:lnTo>
                <a:lnTo>
                  <a:pt x="2838" y="1982"/>
                </a:lnTo>
                <a:lnTo>
                  <a:pt x="2837" y="1980"/>
                </a:lnTo>
                <a:lnTo>
                  <a:pt x="2837" y="1977"/>
                </a:lnTo>
                <a:lnTo>
                  <a:pt x="2837" y="1975"/>
                </a:lnTo>
                <a:lnTo>
                  <a:pt x="2838" y="1973"/>
                </a:lnTo>
                <a:lnTo>
                  <a:pt x="2839" y="1971"/>
                </a:lnTo>
                <a:lnTo>
                  <a:pt x="2840" y="1970"/>
                </a:lnTo>
                <a:lnTo>
                  <a:pt x="2843" y="1967"/>
                </a:lnTo>
                <a:lnTo>
                  <a:pt x="2845" y="1966"/>
                </a:lnTo>
                <a:lnTo>
                  <a:pt x="2847" y="1965"/>
                </a:lnTo>
                <a:close/>
                <a:moveTo>
                  <a:pt x="2393" y="2043"/>
                </a:moveTo>
                <a:lnTo>
                  <a:pt x="2398" y="2043"/>
                </a:lnTo>
                <a:lnTo>
                  <a:pt x="2400" y="2043"/>
                </a:lnTo>
                <a:lnTo>
                  <a:pt x="2402" y="2044"/>
                </a:lnTo>
                <a:lnTo>
                  <a:pt x="2405" y="2047"/>
                </a:lnTo>
                <a:lnTo>
                  <a:pt x="2406" y="2049"/>
                </a:lnTo>
                <a:lnTo>
                  <a:pt x="2407" y="2051"/>
                </a:lnTo>
                <a:lnTo>
                  <a:pt x="2408" y="2055"/>
                </a:lnTo>
                <a:lnTo>
                  <a:pt x="2407" y="2058"/>
                </a:lnTo>
                <a:lnTo>
                  <a:pt x="2407" y="2060"/>
                </a:lnTo>
                <a:lnTo>
                  <a:pt x="2405" y="2062"/>
                </a:lnTo>
                <a:lnTo>
                  <a:pt x="2404" y="2064"/>
                </a:lnTo>
                <a:lnTo>
                  <a:pt x="2402" y="2065"/>
                </a:lnTo>
                <a:lnTo>
                  <a:pt x="2400" y="2066"/>
                </a:lnTo>
                <a:lnTo>
                  <a:pt x="2398" y="2067"/>
                </a:lnTo>
                <a:lnTo>
                  <a:pt x="2393" y="2067"/>
                </a:lnTo>
                <a:lnTo>
                  <a:pt x="2391" y="2066"/>
                </a:lnTo>
                <a:lnTo>
                  <a:pt x="2389" y="2065"/>
                </a:lnTo>
                <a:lnTo>
                  <a:pt x="2386" y="2063"/>
                </a:lnTo>
                <a:lnTo>
                  <a:pt x="2385" y="2061"/>
                </a:lnTo>
                <a:lnTo>
                  <a:pt x="2384" y="2059"/>
                </a:lnTo>
                <a:lnTo>
                  <a:pt x="2383" y="2054"/>
                </a:lnTo>
                <a:lnTo>
                  <a:pt x="2383" y="2052"/>
                </a:lnTo>
                <a:lnTo>
                  <a:pt x="2384" y="2049"/>
                </a:lnTo>
                <a:lnTo>
                  <a:pt x="2386" y="2047"/>
                </a:lnTo>
                <a:lnTo>
                  <a:pt x="2387" y="2046"/>
                </a:lnTo>
                <a:lnTo>
                  <a:pt x="2389" y="2044"/>
                </a:lnTo>
                <a:lnTo>
                  <a:pt x="2391" y="2043"/>
                </a:lnTo>
                <a:lnTo>
                  <a:pt x="2393" y="2043"/>
                </a:lnTo>
                <a:close/>
                <a:moveTo>
                  <a:pt x="2781" y="1966"/>
                </a:moveTo>
                <a:lnTo>
                  <a:pt x="2783" y="1966"/>
                </a:lnTo>
                <a:lnTo>
                  <a:pt x="2788" y="1967"/>
                </a:lnTo>
                <a:lnTo>
                  <a:pt x="2790" y="1968"/>
                </a:lnTo>
                <a:lnTo>
                  <a:pt x="2792" y="1969"/>
                </a:lnTo>
                <a:lnTo>
                  <a:pt x="2793" y="1971"/>
                </a:lnTo>
                <a:lnTo>
                  <a:pt x="2795" y="1973"/>
                </a:lnTo>
                <a:lnTo>
                  <a:pt x="2795" y="1975"/>
                </a:lnTo>
                <a:lnTo>
                  <a:pt x="2796" y="1978"/>
                </a:lnTo>
                <a:lnTo>
                  <a:pt x="2795" y="1982"/>
                </a:lnTo>
                <a:lnTo>
                  <a:pt x="2793" y="1986"/>
                </a:lnTo>
                <a:lnTo>
                  <a:pt x="2790" y="1989"/>
                </a:lnTo>
                <a:lnTo>
                  <a:pt x="2788" y="1990"/>
                </a:lnTo>
                <a:lnTo>
                  <a:pt x="2786" y="1990"/>
                </a:lnTo>
                <a:lnTo>
                  <a:pt x="2784" y="1991"/>
                </a:lnTo>
                <a:lnTo>
                  <a:pt x="2779" y="1990"/>
                </a:lnTo>
                <a:lnTo>
                  <a:pt x="2777" y="1989"/>
                </a:lnTo>
                <a:lnTo>
                  <a:pt x="2775" y="1987"/>
                </a:lnTo>
                <a:lnTo>
                  <a:pt x="2773" y="1986"/>
                </a:lnTo>
                <a:lnTo>
                  <a:pt x="2772" y="1983"/>
                </a:lnTo>
                <a:lnTo>
                  <a:pt x="2771" y="1981"/>
                </a:lnTo>
                <a:lnTo>
                  <a:pt x="2771" y="1979"/>
                </a:lnTo>
                <a:lnTo>
                  <a:pt x="2772" y="1974"/>
                </a:lnTo>
                <a:lnTo>
                  <a:pt x="2774" y="1970"/>
                </a:lnTo>
                <a:lnTo>
                  <a:pt x="2777" y="1968"/>
                </a:lnTo>
                <a:lnTo>
                  <a:pt x="2779" y="1967"/>
                </a:lnTo>
                <a:lnTo>
                  <a:pt x="2781" y="1966"/>
                </a:lnTo>
                <a:close/>
                <a:moveTo>
                  <a:pt x="2456" y="2022"/>
                </a:moveTo>
                <a:lnTo>
                  <a:pt x="2461" y="2022"/>
                </a:lnTo>
                <a:lnTo>
                  <a:pt x="2463" y="2022"/>
                </a:lnTo>
                <a:lnTo>
                  <a:pt x="2465" y="2023"/>
                </a:lnTo>
                <a:lnTo>
                  <a:pt x="2466" y="2025"/>
                </a:lnTo>
                <a:lnTo>
                  <a:pt x="2468" y="2026"/>
                </a:lnTo>
                <a:lnTo>
                  <a:pt x="2469" y="2028"/>
                </a:lnTo>
                <a:lnTo>
                  <a:pt x="2470" y="2030"/>
                </a:lnTo>
                <a:lnTo>
                  <a:pt x="2471" y="2033"/>
                </a:lnTo>
                <a:lnTo>
                  <a:pt x="2471" y="2035"/>
                </a:lnTo>
                <a:lnTo>
                  <a:pt x="2470" y="2038"/>
                </a:lnTo>
                <a:lnTo>
                  <a:pt x="2469" y="2040"/>
                </a:lnTo>
                <a:lnTo>
                  <a:pt x="2468" y="2042"/>
                </a:lnTo>
                <a:lnTo>
                  <a:pt x="2466" y="2044"/>
                </a:lnTo>
                <a:lnTo>
                  <a:pt x="2464" y="2045"/>
                </a:lnTo>
                <a:lnTo>
                  <a:pt x="2462" y="2046"/>
                </a:lnTo>
                <a:lnTo>
                  <a:pt x="2460" y="2046"/>
                </a:lnTo>
                <a:lnTo>
                  <a:pt x="2456" y="2046"/>
                </a:lnTo>
                <a:lnTo>
                  <a:pt x="2454" y="2046"/>
                </a:lnTo>
                <a:lnTo>
                  <a:pt x="2452" y="2045"/>
                </a:lnTo>
                <a:lnTo>
                  <a:pt x="2450" y="2043"/>
                </a:lnTo>
                <a:lnTo>
                  <a:pt x="2449" y="2042"/>
                </a:lnTo>
                <a:lnTo>
                  <a:pt x="2447" y="2040"/>
                </a:lnTo>
                <a:lnTo>
                  <a:pt x="2446" y="2038"/>
                </a:lnTo>
                <a:lnTo>
                  <a:pt x="2446" y="2035"/>
                </a:lnTo>
                <a:lnTo>
                  <a:pt x="2446" y="2033"/>
                </a:lnTo>
                <a:lnTo>
                  <a:pt x="2446" y="2030"/>
                </a:lnTo>
                <a:lnTo>
                  <a:pt x="2447" y="2028"/>
                </a:lnTo>
                <a:lnTo>
                  <a:pt x="2449" y="2026"/>
                </a:lnTo>
                <a:lnTo>
                  <a:pt x="2450" y="2025"/>
                </a:lnTo>
                <a:lnTo>
                  <a:pt x="2452" y="2023"/>
                </a:lnTo>
                <a:lnTo>
                  <a:pt x="2455" y="2022"/>
                </a:lnTo>
                <a:lnTo>
                  <a:pt x="2456" y="2022"/>
                </a:lnTo>
                <a:close/>
                <a:moveTo>
                  <a:pt x="2715" y="1970"/>
                </a:moveTo>
                <a:lnTo>
                  <a:pt x="2718" y="1970"/>
                </a:lnTo>
                <a:lnTo>
                  <a:pt x="2721" y="1971"/>
                </a:lnTo>
                <a:lnTo>
                  <a:pt x="2723" y="1972"/>
                </a:lnTo>
                <a:lnTo>
                  <a:pt x="2725" y="1973"/>
                </a:lnTo>
                <a:lnTo>
                  <a:pt x="2727" y="1975"/>
                </a:lnTo>
                <a:lnTo>
                  <a:pt x="2728" y="1977"/>
                </a:lnTo>
                <a:lnTo>
                  <a:pt x="2729" y="1979"/>
                </a:lnTo>
                <a:lnTo>
                  <a:pt x="2730" y="1981"/>
                </a:lnTo>
                <a:lnTo>
                  <a:pt x="2730" y="1984"/>
                </a:lnTo>
                <a:lnTo>
                  <a:pt x="2729" y="1986"/>
                </a:lnTo>
                <a:lnTo>
                  <a:pt x="2727" y="1990"/>
                </a:lnTo>
                <a:lnTo>
                  <a:pt x="2726" y="1992"/>
                </a:lnTo>
                <a:lnTo>
                  <a:pt x="2724" y="1993"/>
                </a:lnTo>
                <a:lnTo>
                  <a:pt x="2720" y="1995"/>
                </a:lnTo>
                <a:lnTo>
                  <a:pt x="2717" y="1995"/>
                </a:lnTo>
                <a:lnTo>
                  <a:pt x="2714" y="1994"/>
                </a:lnTo>
                <a:lnTo>
                  <a:pt x="2712" y="1993"/>
                </a:lnTo>
                <a:lnTo>
                  <a:pt x="2710" y="1992"/>
                </a:lnTo>
                <a:lnTo>
                  <a:pt x="2708" y="1990"/>
                </a:lnTo>
                <a:lnTo>
                  <a:pt x="2706" y="1988"/>
                </a:lnTo>
                <a:lnTo>
                  <a:pt x="2706" y="1986"/>
                </a:lnTo>
                <a:lnTo>
                  <a:pt x="2705" y="1984"/>
                </a:lnTo>
                <a:lnTo>
                  <a:pt x="2705" y="1981"/>
                </a:lnTo>
                <a:lnTo>
                  <a:pt x="2705" y="1979"/>
                </a:lnTo>
                <a:lnTo>
                  <a:pt x="2708" y="1975"/>
                </a:lnTo>
                <a:lnTo>
                  <a:pt x="2709" y="1973"/>
                </a:lnTo>
                <a:lnTo>
                  <a:pt x="2711" y="1972"/>
                </a:lnTo>
                <a:lnTo>
                  <a:pt x="2715" y="1970"/>
                </a:lnTo>
                <a:close/>
                <a:moveTo>
                  <a:pt x="2520" y="2004"/>
                </a:moveTo>
                <a:lnTo>
                  <a:pt x="2524" y="2004"/>
                </a:lnTo>
                <a:lnTo>
                  <a:pt x="2527" y="2005"/>
                </a:lnTo>
                <a:lnTo>
                  <a:pt x="2529" y="2006"/>
                </a:lnTo>
                <a:lnTo>
                  <a:pt x="2530" y="2007"/>
                </a:lnTo>
                <a:lnTo>
                  <a:pt x="2532" y="2009"/>
                </a:lnTo>
                <a:lnTo>
                  <a:pt x="2533" y="2011"/>
                </a:lnTo>
                <a:lnTo>
                  <a:pt x="2534" y="2013"/>
                </a:lnTo>
                <a:lnTo>
                  <a:pt x="2534" y="2016"/>
                </a:lnTo>
                <a:lnTo>
                  <a:pt x="2534" y="2018"/>
                </a:lnTo>
                <a:lnTo>
                  <a:pt x="2533" y="2023"/>
                </a:lnTo>
                <a:lnTo>
                  <a:pt x="2531" y="2025"/>
                </a:lnTo>
                <a:lnTo>
                  <a:pt x="2530" y="2025"/>
                </a:lnTo>
                <a:lnTo>
                  <a:pt x="2529" y="2026"/>
                </a:lnTo>
                <a:lnTo>
                  <a:pt x="2527" y="2027"/>
                </a:lnTo>
                <a:lnTo>
                  <a:pt x="2525" y="2028"/>
                </a:lnTo>
                <a:lnTo>
                  <a:pt x="2520" y="2028"/>
                </a:lnTo>
                <a:lnTo>
                  <a:pt x="2518" y="2028"/>
                </a:lnTo>
                <a:lnTo>
                  <a:pt x="2515" y="2027"/>
                </a:lnTo>
                <a:lnTo>
                  <a:pt x="2514" y="2025"/>
                </a:lnTo>
                <a:lnTo>
                  <a:pt x="2512" y="2024"/>
                </a:lnTo>
                <a:lnTo>
                  <a:pt x="2511" y="2022"/>
                </a:lnTo>
                <a:lnTo>
                  <a:pt x="2510" y="2019"/>
                </a:lnTo>
                <a:lnTo>
                  <a:pt x="2510" y="2017"/>
                </a:lnTo>
                <a:lnTo>
                  <a:pt x="2510" y="2014"/>
                </a:lnTo>
                <a:lnTo>
                  <a:pt x="2511" y="2010"/>
                </a:lnTo>
                <a:lnTo>
                  <a:pt x="2513" y="2008"/>
                </a:lnTo>
                <a:lnTo>
                  <a:pt x="2514" y="2007"/>
                </a:lnTo>
                <a:lnTo>
                  <a:pt x="2515" y="2006"/>
                </a:lnTo>
                <a:lnTo>
                  <a:pt x="2517" y="2005"/>
                </a:lnTo>
                <a:lnTo>
                  <a:pt x="2519" y="2004"/>
                </a:lnTo>
                <a:lnTo>
                  <a:pt x="2520" y="2004"/>
                </a:lnTo>
                <a:close/>
                <a:moveTo>
                  <a:pt x="2650" y="1978"/>
                </a:moveTo>
                <a:lnTo>
                  <a:pt x="2652" y="1978"/>
                </a:lnTo>
                <a:lnTo>
                  <a:pt x="2655" y="1978"/>
                </a:lnTo>
                <a:lnTo>
                  <a:pt x="2657" y="1979"/>
                </a:lnTo>
                <a:lnTo>
                  <a:pt x="2659" y="1980"/>
                </a:lnTo>
                <a:lnTo>
                  <a:pt x="2661" y="1982"/>
                </a:lnTo>
                <a:lnTo>
                  <a:pt x="2662" y="1984"/>
                </a:lnTo>
                <a:lnTo>
                  <a:pt x="2663" y="1986"/>
                </a:lnTo>
                <a:lnTo>
                  <a:pt x="2664" y="1989"/>
                </a:lnTo>
                <a:lnTo>
                  <a:pt x="2664" y="1991"/>
                </a:lnTo>
                <a:lnTo>
                  <a:pt x="2664" y="1993"/>
                </a:lnTo>
                <a:lnTo>
                  <a:pt x="2663" y="1996"/>
                </a:lnTo>
                <a:lnTo>
                  <a:pt x="2662" y="1998"/>
                </a:lnTo>
                <a:lnTo>
                  <a:pt x="2660" y="1999"/>
                </a:lnTo>
                <a:lnTo>
                  <a:pt x="2658" y="2001"/>
                </a:lnTo>
                <a:lnTo>
                  <a:pt x="2656" y="2002"/>
                </a:lnTo>
                <a:lnTo>
                  <a:pt x="2654" y="2003"/>
                </a:lnTo>
                <a:lnTo>
                  <a:pt x="2651" y="2003"/>
                </a:lnTo>
                <a:lnTo>
                  <a:pt x="2649" y="2002"/>
                </a:lnTo>
                <a:lnTo>
                  <a:pt x="2646" y="2001"/>
                </a:lnTo>
                <a:lnTo>
                  <a:pt x="2644" y="2000"/>
                </a:lnTo>
                <a:lnTo>
                  <a:pt x="2643" y="1999"/>
                </a:lnTo>
                <a:lnTo>
                  <a:pt x="2641" y="1997"/>
                </a:lnTo>
                <a:lnTo>
                  <a:pt x="2640" y="1995"/>
                </a:lnTo>
                <a:lnTo>
                  <a:pt x="2639" y="1992"/>
                </a:lnTo>
                <a:lnTo>
                  <a:pt x="2639" y="1990"/>
                </a:lnTo>
                <a:lnTo>
                  <a:pt x="2640" y="1987"/>
                </a:lnTo>
                <a:lnTo>
                  <a:pt x="2640" y="1985"/>
                </a:lnTo>
                <a:lnTo>
                  <a:pt x="2642" y="1983"/>
                </a:lnTo>
                <a:lnTo>
                  <a:pt x="2643" y="1981"/>
                </a:lnTo>
                <a:lnTo>
                  <a:pt x="2645" y="1980"/>
                </a:lnTo>
                <a:lnTo>
                  <a:pt x="2647" y="1979"/>
                </a:lnTo>
                <a:lnTo>
                  <a:pt x="2650" y="1978"/>
                </a:lnTo>
                <a:close/>
                <a:moveTo>
                  <a:pt x="2584" y="1989"/>
                </a:moveTo>
                <a:lnTo>
                  <a:pt x="2589" y="1990"/>
                </a:lnTo>
                <a:lnTo>
                  <a:pt x="2591" y="1990"/>
                </a:lnTo>
                <a:lnTo>
                  <a:pt x="2593" y="1991"/>
                </a:lnTo>
                <a:lnTo>
                  <a:pt x="2595" y="1993"/>
                </a:lnTo>
                <a:lnTo>
                  <a:pt x="2597" y="1995"/>
                </a:lnTo>
                <a:lnTo>
                  <a:pt x="2598" y="1997"/>
                </a:lnTo>
                <a:lnTo>
                  <a:pt x="2599" y="1999"/>
                </a:lnTo>
                <a:lnTo>
                  <a:pt x="2599" y="2004"/>
                </a:lnTo>
                <a:lnTo>
                  <a:pt x="2598" y="2006"/>
                </a:lnTo>
                <a:lnTo>
                  <a:pt x="2597" y="2009"/>
                </a:lnTo>
                <a:lnTo>
                  <a:pt x="2595" y="2010"/>
                </a:lnTo>
                <a:lnTo>
                  <a:pt x="2593" y="2012"/>
                </a:lnTo>
                <a:lnTo>
                  <a:pt x="2591" y="2013"/>
                </a:lnTo>
                <a:lnTo>
                  <a:pt x="2589" y="2014"/>
                </a:lnTo>
                <a:lnTo>
                  <a:pt x="2584" y="2014"/>
                </a:lnTo>
                <a:lnTo>
                  <a:pt x="2582" y="2013"/>
                </a:lnTo>
                <a:lnTo>
                  <a:pt x="2580" y="2012"/>
                </a:lnTo>
                <a:lnTo>
                  <a:pt x="2578" y="2010"/>
                </a:lnTo>
                <a:lnTo>
                  <a:pt x="2576" y="2009"/>
                </a:lnTo>
                <a:lnTo>
                  <a:pt x="2575" y="2006"/>
                </a:lnTo>
                <a:lnTo>
                  <a:pt x="2574" y="2004"/>
                </a:lnTo>
                <a:lnTo>
                  <a:pt x="2574" y="1999"/>
                </a:lnTo>
                <a:lnTo>
                  <a:pt x="2575" y="1997"/>
                </a:lnTo>
                <a:lnTo>
                  <a:pt x="2576" y="1995"/>
                </a:lnTo>
                <a:lnTo>
                  <a:pt x="2578" y="1993"/>
                </a:lnTo>
                <a:lnTo>
                  <a:pt x="2580" y="1991"/>
                </a:lnTo>
                <a:lnTo>
                  <a:pt x="2582" y="1990"/>
                </a:lnTo>
                <a:lnTo>
                  <a:pt x="2584" y="1990"/>
                </a:lnTo>
                <a:lnTo>
                  <a:pt x="2584" y="1989"/>
                </a:lnTo>
                <a:close/>
                <a:moveTo>
                  <a:pt x="1561" y="2260"/>
                </a:moveTo>
                <a:lnTo>
                  <a:pt x="1564" y="2259"/>
                </a:lnTo>
                <a:lnTo>
                  <a:pt x="1567" y="2260"/>
                </a:lnTo>
                <a:lnTo>
                  <a:pt x="1570" y="2261"/>
                </a:lnTo>
                <a:lnTo>
                  <a:pt x="1572" y="2263"/>
                </a:lnTo>
                <a:lnTo>
                  <a:pt x="1573" y="2264"/>
                </a:lnTo>
                <a:lnTo>
                  <a:pt x="1574" y="2266"/>
                </a:lnTo>
                <a:lnTo>
                  <a:pt x="1575" y="2269"/>
                </a:lnTo>
                <a:lnTo>
                  <a:pt x="1551" y="2269"/>
                </a:lnTo>
                <a:lnTo>
                  <a:pt x="1552" y="2266"/>
                </a:lnTo>
                <a:lnTo>
                  <a:pt x="1554" y="2263"/>
                </a:lnTo>
                <a:lnTo>
                  <a:pt x="1556" y="2262"/>
                </a:lnTo>
                <a:lnTo>
                  <a:pt x="1557" y="2261"/>
                </a:lnTo>
                <a:lnTo>
                  <a:pt x="1561" y="2260"/>
                </a:lnTo>
                <a:close/>
                <a:moveTo>
                  <a:pt x="1608" y="2213"/>
                </a:moveTo>
                <a:lnTo>
                  <a:pt x="1611" y="2213"/>
                </a:lnTo>
                <a:lnTo>
                  <a:pt x="1614" y="2213"/>
                </a:lnTo>
                <a:lnTo>
                  <a:pt x="1617" y="2215"/>
                </a:lnTo>
                <a:lnTo>
                  <a:pt x="1619" y="2217"/>
                </a:lnTo>
                <a:lnTo>
                  <a:pt x="1621" y="2219"/>
                </a:lnTo>
                <a:lnTo>
                  <a:pt x="1622" y="2221"/>
                </a:lnTo>
                <a:lnTo>
                  <a:pt x="1623" y="2223"/>
                </a:lnTo>
                <a:lnTo>
                  <a:pt x="1623" y="2226"/>
                </a:lnTo>
                <a:lnTo>
                  <a:pt x="1623" y="2228"/>
                </a:lnTo>
                <a:lnTo>
                  <a:pt x="1622" y="2230"/>
                </a:lnTo>
                <a:lnTo>
                  <a:pt x="1621" y="2232"/>
                </a:lnTo>
                <a:lnTo>
                  <a:pt x="1619" y="2234"/>
                </a:lnTo>
                <a:lnTo>
                  <a:pt x="1616" y="2237"/>
                </a:lnTo>
                <a:lnTo>
                  <a:pt x="1613" y="2238"/>
                </a:lnTo>
                <a:lnTo>
                  <a:pt x="1610" y="2238"/>
                </a:lnTo>
                <a:lnTo>
                  <a:pt x="1607" y="2237"/>
                </a:lnTo>
                <a:lnTo>
                  <a:pt x="1604" y="2236"/>
                </a:lnTo>
                <a:lnTo>
                  <a:pt x="1601" y="2234"/>
                </a:lnTo>
                <a:lnTo>
                  <a:pt x="1600" y="2232"/>
                </a:lnTo>
                <a:lnTo>
                  <a:pt x="1599" y="2230"/>
                </a:lnTo>
                <a:lnTo>
                  <a:pt x="1598" y="2228"/>
                </a:lnTo>
                <a:lnTo>
                  <a:pt x="1598" y="2225"/>
                </a:lnTo>
                <a:lnTo>
                  <a:pt x="1598" y="2223"/>
                </a:lnTo>
                <a:lnTo>
                  <a:pt x="1599" y="2220"/>
                </a:lnTo>
                <a:lnTo>
                  <a:pt x="1600" y="2218"/>
                </a:lnTo>
                <a:lnTo>
                  <a:pt x="1602" y="2216"/>
                </a:lnTo>
                <a:lnTo>
                  <a:pt x="1605" y="2214"/>
                </a:lnTo>
                <a:lnTo>
                  <a:pt x="1608" y="2213"/>
                </a:lnTo>
                <a:close/>
                <a:moveTo>
                  <a:pt x="1657" y="2168"/>
                </a:moveTo>
                <a:lnTo>
                  <a:pt x="1660" y="2168"/>
                </a:lnTo>
                <a:lnTo>
                  <a:pt x="1663" y="2168"/>
                </a:lnTo>
                <a:lnTo>
                  <a:pt x="1665" y="2170"/>
                </a:lnTo>
                <a:lnTo>
                  <a:pt x="1668" y="2172"/>
                </a:lnTo>
                <a:lnTo>
                  <a:pt x="1669" y="2174"/>
                </a:lnTo>
                <a:lnTo>
                  <a:pt x="1671" y="2176"/>
                </a:lnTo>
                <a:lnTo>
                  <a:pt x="1671" y="2181"/>
                </a:lnTo>
                <a:lnTo>
                  <a:pt x="1671" y="2183"/>
                </a:lnTo>
                <a:lnTo>
                  <a:pt x="1670" y="2186"/>
                </a:lnTo>
                <a:lnTo>
                  <a:pt x="1669" y="2188"/>
                </a:lnTo>
                <a:lnTo>
                  <a:pt x="1667" y="2190"/>
                </a:lnTo>
                <a:lnTo>
                  <a:pt x="1664" y="2191"/>
                </a:lnTo>
                <a:lnTo>
                  <a:pt x="1661" y="2193"/>
                </a:lnTo>
                <a:lnTo>
                  <a:pt x="1658" y="2193"/>
                </a:lnTo>
                <a:lnTo>
                  <a:pt x="1655" y="2192"/>
                </a:lnTo>
                <a:lnTo>
                  <a:pt x="1652" y="2191"/>
                </a:lnTo>
                <a:lnTo>
                  <a:pt x="1649" y="2189"/>
                </a:lnTo>
                <a:lnTo>
                  <a:pt x="1648" y="2187"/>
                </a:lnTo>
                <a:lnTo>
                  <a:pt x="1647" y="2184"/>
                </a:lnTo>
                <a:lnTo>
                  <a:pt x="1646" y="2180"/>
                </a:lnTo>
                <a:lnTo>
                  <a:pt x="1647" y="2177"/>
                </a:lnTo>
                <a:lnTo>
                  <a:pt x="1647" y="2175"/>
                </a:lnTo>
                <a:lnTo>
                  <a:pt x="1649" y="2173"/>
                </a:lnTo>
                <a:lnTo>
                  <a:pt x="1650" y="2171"/>
                </a:lnTo>
                <a:lnTo>
                  <a:pt x="1653" y="2169"/>
                </a:lnTo>
                <a:lnTo>
                  <a:pt x="1657" y="2168"/>
                </a:lnTo>
                <a:close/>
                <a:moveTo>
                  <a:pt x="1706" y="2124"/>
                </a:moveTo>
                <a:lnTo>
                  <a:pt x="1709" y="2124"/>
                </a:lnTo>
                <a:lnTo>
                  <a:pt x="1712" y="2125"/>
                </a:lnTo>
                <a:lnTo>
                  <a:pt x="1715" y="2126"/>
                </a:lnTo>
                <a:lnTo>
                  <a:pt x="1717" y="2127"/>
                </a:lnTo>
                <a:lnTo>
                  <a:pt x="1718" y="2128"/>
                </a:lnTo>
                <a:lnTo>
                  <a:pt x="1719" y="2131"/>
                </a:lnTo>
                <a:lnTo>
                  <a:pt x="1720" y="2133"/>
                </a:lnTo>
                <a:lnTo>
                  <a:pt x="1721" y="2135"/>
                </a:lnTo>
                <a:lnTo>
                  <a:pt x="1721" y="2138"/>
                </a:lnTo>
                <a:lnTo>
                  <a:pt x="1720" y="2140"/>
                </a:lnTo>
                <a:lnTo>
                  <a:pt x="1720" y="2142"/>
                </a:lnTo>
                <a:lnTo>
                  <a:pt x="1718" y="2144"/>
                </a:lnTo>
                <a:lnTo>
                  <a:pt x="1716" y="2146"/>
                </a:lnTo>
                <a:lnTo>
                  <a:pt x="1714" y="2148"/>
                </a:lnTo>
                <a:lnTo>
                  <a:pt x="1711" y="2149"/>
                </a:lnTo>
                <a:lnTo>
                  <a:pt x="1707" y="2149"/>
                </a:lnTo>
                <a:lnTo>
                  <a:pt x="1704" y="2148"/>
                </a:lnTo>
                <a:lnTo>
                  <a:pt x="1701" y="2147"/>
                </a:lnTo>
                <a:lnTo>
                  <a:pt x="1700" y="2146"/>
                </a:lnTo>
                <a:lnTo>
                  <a:pt x="1699" y="2145"/>
                </a:lnTo>
                <a:lnTo>
                  <a:pt x="1697" y="2143"/>
                </a:lnTo>
                <a:lnTo>
                  <a:pt x="1696" y="2140"/>
                </a:lnTo>
                <a:lnTo>
                  <a:pt x="1696" y="2138"/>
                </a:lnTo>
                <a:lnTo>
                  <a:pt x="1696" y="2136"/>
                </a:lnTo>
                <a:lnTo>
                  <a:pt x="1696" y="2133"/>
                </a:lnTo>
                <a:lnTo>
                  <a:pt x="1697" y="2131"/>
                </a:lnTo>
                <a:lnTo>
                  <a:pt x="1699" y="2129"/>
                </a:lnTo>
                <a:lnTo>
                  <a:pt x="1700" y="2127"/>
                </a:lnTo>
                <a:lnTo>
                  <a:pt x="1703" y="2125"/>
                </a:lnTo>
                <a:lnTo>
                  <a:pt x="1706" y="2124"/>
                </a:lnTo>
                <a:close/>
                <a:moveTo>
                  <a:pt x="1757" y="2082"/>
                </a:moveTo>
                <a:lnTo>
                  <a:pt x="1760" y="2082"/>
                </a:lnTo>
                <a:lnTo>
                  <a:pt x="1764" y="2083"/>
                </a:lnTo>
                <a:lnTo>
                  <a:pt x="1767" y="2084"/>
                </a:lnTo>
                <a:lnTo>
                  <a:pt x="1769" y="2087"/>
                </a:lnTo>
                <a:lnTo>
                  <a:pt x="1770" y="2089"/>
                </a:lnTo>
                <a:lnTo>
                  <a:pt x="1771" y="2091"/>
                </a:lnTo>
                <a:lnTo>
                  <a:pt x="1772" y="2093"/>
                </a:lnTo>
                <a:lnTo>
                  <a:pt x="1772" y="2096"/>
                </a:lnTo>
                <a:lnTo>
                  <a:pt x="1771" y="2098"/>
                </a:lnTo>
                <a:lnTo>
                  <a:pt x="1770" y="2100"/>
                </a:lnTo>
                <a:lnTo>
                  <a:pt x="1769" y="2102"/>
                </a:lnTo>
                <a:lnTo>
                  <a:pt x="1767" y="2104"/>
                </a:lnTo>
                <a:lnTo>
                  <a:pt x="1764" y="2106"/>
                </a:lnTo>
                <a:lnTo>
                  <a:pt x="1762" y="2107"/>
                </a:lnTo>
                <a:lnTo>
                  <a:pt x="1758" y="2107"/>
                </a:lnTo>
                <a:lnTo>
                  <a:pt x="1755" y="2106"/>
                </a:lnTo>
                <a:lnTo>
                  <a:pt x="1752" y="2105"/>
                </a:lnTo>
                <a:lnTo>
                  <a:pt x="1750" y="2102"/>
                </a:lnTo>
                <a:lnTo>
                  <a:pt x="1748" y="2100"/>
                </a:lnTo>
                <a:lnTo>
                  <a:pt x="1747" y="2098"/>
                </a:lnTo>
                <a:lnTo>
                  <a:pt x="1747" y="2095"/>
                </a:lnTo>
                <a:lnTo>
                  <a:pt x="1747" y="2093"/>
                </a:lnTo>
                <a:lnTo>
                  <a:pt x="1747" y="2091"/>
                </a:lnTo>
                <a:lnTo>
                  <a:pt x="1748" y="2088"/>
                </a:lnTo>
                <a:lnTo>
                  <a:pt x="1750" y="2086"/>
                </a:lnTo>
                <a:lnTo>
                  <a:pt x="1752" y="2085"/>
                </a:lnTo>
                <a:lnTo>
                  <a:pt x="1754" y="2083"/>
                </a:lnTo>
                <a:lnTo>
                  <a:pt x="1757" y="2082"/>
                </a:lnTo>
                <a:close/>
                <a:moveTo>
                  <a:pt x="1809" y="2041"/>
                </a:moveTo>
                <a:lnTo>
                  <a:pt x="1813" y="2041"/>
                </a:lnTo>
                <a:lnTo>
                  <a:pt x="1816" y="2042"/>
                </a:lnTo>
                <a:lnTo>
                  <a:pt x="1819" y="2044"/>
                </a:lnTo>
                <a:lnTo>
                  <a:pt x="1822" y="2046"/>
                </a:lnTo>
                <a:lnTo>
                  <a:pt x="1824" y="2051"/>
                </a:lnTo>
                <a:lnTo>
                  <a:pt x="1824" y="2053"/>
                </a:lnTo>
                <a:lnTo>
                  <a:pt x="1824" y="2056"/>
                </a:lnTo>
                <a:lnTo>
                  <a:pt x="1822" y="2060"/>
                </a:lnTo>
                <a:lnTo>
                  <a:pt x="1821" y="2062"/>
                </a:lnTo>
                <a:lnTo>
                  <a:pt x="1819" y="2064"/>
                </a:lnTo>
                <a:lnTo>
                  <a:pt x="1817" y="2065"/>
                </a:lnTo>
                <a:lnTo>
                  <a:pt x="1814" y="2066"/>
                </a:lnTo>
                <a:lnTo>
                  <a:pt x="1810" y="2066"/>
                </a:lnTo>
                <a:lnTo>
                  <a:pt x="1807" y="2065"/>
                </a:lnTo>
                <a:lnTo>
                  <a:pt x="1804" y="2064"/>
                </a:lnTo>
                <a:lnTo>
                  <a:pt x="1802" y="2061"/>
                </a:lnTo>
                <a:lnTo>
                  <a:pt x="1799" y="2057"/>
                </a:lnTo>
                <a:lnTo>
                  <a:pt x="1799" y="2054"/>
                </a:lnTo>
                <a:lnTo>
                  <a:pt x="1799" y="2052"/>
                </a:lnTo>
                <a:lnTo>
                  <a:pt x="1801" y="2047"/>
                </a:lnTo>
                <a:lnTo>
                  <a:pt x="1802" y="2045"/>
                </a:lnTo>
                <a:lnTo>
                  <a:pt x="1804" y="2044"/>
                </a:lnTo>
                <a:lnTo>
                  <a:pt x="1807" y="2042"/>
                </a:lnTo>
                <a:lnTo>
                  <a:pt x="1809" y="2041"/>
                </a:lnTo>
                <a:close/>
                <a:moveTo>
                  <a:pt x="1863" y="2003"/>
                </a:moveTo>
                <a:lnTo>
                  <a:pt x="1866" y="2003"/>
                </a:lnTo>
                <a:lnTo>
                  <a:pt x="1870" y="2003"/>
                </a:lnTo>
                <a:lnTo>
                  <a:pt x="1873" y="2005"/>
                </a:lnTo>
                <a:lnTo>
                  <a:pt x="1874" y="2006"/>
                </a:lnTo>
                <a:lnTo>
                  <a:pt x="1875" y="2008"/>
                </a:lnTo>
                <a:lnTo>
                  <a:pt x="1877" y="2010"/>
                </a:lnTo>
                <a:lnTo>
                  <a:pt x="1877" y="2012"/>
                </a:lnTo>
                <a:lnTo>
                  <a:pt x="1877" y="2017"/>
                </a:lnTo>
                <a:lnTo>
                  <a:pt x="1877" y="2019"/>
                </a:lnTo>
                <a:lnTo>
                  <a:pt x="1876" y="2022"/>
                </a:lnTo>
                <a:lnTo>
                  <a:pt x="1874" y="2023"/>
                </a:lnTo>
                <a:lnTo>
                  <a:pt x="1872" y="2025"/>
                </a:lnTo>
                <a:lnTo>
                  <a:pt x="1870" y="2026"/>
                </a:lnTo>
                <a:lnTo>
                  <a:pt x="1867" y="2027"/>
                </a:lnTo>
                <a:lnTo>
                  <a:pt x="1864" y="2027"/>
                </a:lnTo>
                <a:lnTo>
                  <a:pt x="1860" y="2026"/>
                </a:lnTo>
                <a:lnTo>
                  <a:pt x="1857" y="2025"/>
                </a:lnTo>
                <a:lnTo>
                  <a:pt x="1856" y="2024"/>
                </a:lnTo>
                <a:lnTo>
                  <a:pt x="1855" y="2022"/>
                </a:lnTo>
                <a:lnTo>
                  <a:pt x="1854" y="2020"/>
                </a:lnTo>
                <a:lnTo>
                  <a:pt x="1853" y="2018"/>
                </a:lnTo>
                <a:lnTo>
                  <a:pt x="1853" y="2013"/>
                </a:lnTo>
                <a:lnTo>
                  <a:pt x="1853" y="2010"/>
                </a:lnTo>
                <a:lnTo>
                  <a:pt x="1855" y="2008"/>
                </a:lnTo>
                <a:lnTo>
                  <a:pt x="1856" y="2006"/>
                </a:lnTo>
                <a:lnTo>
                  <a:pt x="1858" y="2005"/>
                </a:lnTo>
                <a:lnTo>
                  <a:pt x="1860" y="2003"/>
                </a:lnTo>
                <a:lnTo>
                  <a:pt x="1863" y="2003"/>
                </a:lnTo>
                <a:close/>
                <a:moveTo>
                  <a:pt x="1918" y="1966"/>
                </a:moveTo>
                <a:lnTo>
                  <a:pt x="1921" y="1966"/>
                </a:lnTo>
                <a:lnTo>
                  <a:pt x="1925" y="1966"/>
                </a:lnTo>
                <a:lnTo>
                  <a:pt x="1926" y="1967"/>
                </a:lnTo>
                <a:lnTo>
                  <a:pt x="1928" y="1968"/>
                </a:lnTo>
                <a:lnTo>
                  <a:pt x="1930" y="1971"/>
                </a:lnTo>
                <a:lnTo>
                  <a:pt x="1932" y="1973"/>
                </a:lnTo>
                <a:lnTo>
                  <a:pt x="1932" y="1976"/>
                </a:lnTo>
                <a:lnTo>
                  <a:pt x="1932" y="1981"/>
                </a:lnTo>
                <a:lnTo>
                  <a:pt x="1931" y="1983"/>
                </a:lnTo>
                <a:lnTo>
                  <a:pt x="1930" y="1985"/>
                </a:lnTo>
                <a:lnTo>
                  <a:pt x="1929" y="1987"/>
                </a:lnTo>
                <a:lnTo>
                  <a:pt x="1927" y="1988"/>
                </a:lnTo>
                <a:lnTo>
                  <a:pt x="1925" y="1990"/>
                </a:lnTo>
                <a:lnTo>
                  <a:pt x="1922" y="1990"/>
                </a:lnTo>
                <a:lnTo>
                  <a:pt x="1919" y="1990"/>
                </a:lnTo>
                <a:lnTo>
                  <a:pt x="1915" y="1989"/>
                </a:lnTo>
                <a:lnTo>
                  <a:pt x="1913" y="1989"/>
                </a:lnTo>
                <a:lnTo>
                  <a:pt x="1912" y="1988"/>
                </a:lnTo>
                <a:lnTo>
                  <a:pt x="1910" y="1985"/>
                </a:lnTo>
                <a:lnTo>
                  <a:pt x="1908" y="1982"/>
                </a:lnTo>
                <a:lnTo>
                  <a:pt x="1908" y="1980"/>
                </a:lnTo>
                <a:lnTo>
                  <a:pt x="1908" y="1975"/>
                </a:lnTo>
                <a:lnTo>
                  <a:pt x="1908" y="1973"/>
                </a:lnTo>
                <a:lnTo>
                  <a:pt x="1910" y="1971"/>
                </a:lnTo>
                <a:lnTo>
                  <a:pt x="1911" y="1969"/>
                </a:lnTo>
                <a:lnTo>
                  <a:pt x="1913" y="1967"/>
                </a:lnTo>
                <a:lnTo>
                  <a:pt x="1915" y="1966"/>
                </a:lnTo>
                <a:lnTo>
                  <a:pt x="1918" y="1966"/>
                </a:lnTo>
                <a:close/>
                <a:moveTo>
                  <a:pt x="1974" y="1931"/>
                </a:moveTo>
                <a:lnTo>
                  <a:pt x="1978" y="1931"/>
                </a:lnTo>
                <a:lnTo>
                  <a:pt x="1981" y="1932"/>
                </a:lnTo>
                <a:lnTo>
                  <a:pt x="1984" y="1934"/>
                </a:lnTo>
                <a:lnTo>
                  <a:pt x="1986" y="1935"/>
                </a:lnTo>
                <a:lnTo>
                  <a:pt x="1987" y="1937"/>
                </a:lnTo>
                <a:lnTo>
                  <a:pt x="1988" y="1939"/>
                </a:lnTo>
                <a:lnTo>
                  <a:pt x="1988" y="1941"/>
                </a:lnTo>
                <a:lnTo>
                  <a:pt x="1989" y="1944"/>
                </a:lnTo>
                <a:lnTo>
                  <a:pt x="1988" y="1946"/>
                </a:lnTo>
                <a:lnTo>
                  <a:pt x="1987" y="1948"/>
                </a:lnTo>
                <a:lnTo>
                  <a:pt x="1986" y="1950"/>
                </a:lnTo>
                <a:lnTo>
                  <a:pt x="1985" y="1952"/>
                </a:lnTo>
                <a:lnTo>
                  <a:pt x="1983" y="1954"/>
                </a:lnTo>
                <a:lnTo>
                  <a:pt x="1980" y="1955"/>
                </a:lnTo>
                <a:lnTo>
                  <a:pt x="1978" y="1955"/>
                </a:lnTo>
                <a:lnTo>
                  <a:pt x="1975" y="1955"/>
                </a:lnTo>
                <a:lnTo>
                  <a:pt x="1971" y="1954"/>
                </a:lnTo>
                <a:lnTo>
                  <a:pt x="1968" y="1952"/>
                </a:lnTo>
                <a:lnTo>
                  <a:pt x="1967" y="1951"/>
                </a:lnTo>
                <a:lnTo>
                  <a:pt x="1965" y="1949"/>
                </a:lnTo>
                <a:lnTo>
                  <a:pt x="1964" y="1947"/>
                </a:lnTo>
                <a:lnTo>
                  <a:pt x="1964" y="1945"/>
                </a:lnTo>
                <a:lnTo>
                  <a:pt x="1964" y="1942"/>
                </a:lnTo>
                <a:lnTo>
                  <a:pt x="1964" y="1940"/>
                </a:lnTo>
                <a:lnTo>
                  <a:pt x="1965" y="1938"/>
                </a:lnTo>
                <a:lnTo>
                  <a:pt x="1966" y="1936"/>
                </a:lnTo>
                <a:lnTo>
                  <a:pt x="1968" y="1934"/>
                </a:lnTo>
                <a:lnTo>
                  <a:pt x="1970" y="1932"/>
                </a:lnTo>
                <a:lnTo>
                  <a:pt x="1972" y="1931"/>
                </a:lnTo>
                <a:lnTo>
                  <a:pt x="1974" y="1931"/>
                </a:lnTo>
                <a:close/>
                <a:moveTo>
                  <a:pt x="2031" y="1898"/>
                </a:moveTo>
                <a:lnTo>
                  <a:pt x="2035" y="1898"/>
                </a:lnTo>
                <a:lnTo>
                  <a:pt x="2039" y="1899"/>
                </a:lnTo>
                <a:lnTo>
                  <a:pt x="2041" y="1900"/>
                </a:lnTo>
                <a:lnTo>
                  <a:pt x="2042" y="1901"/>
                </a:lnTo>
                <a:lnTo>
                  <a:pt x="2044" y="1904"/>
                </a:lnTo>
                <a:lnTo>
                  <a:pt x="2045" y="1906"/>
                </a:lnTo>
                <a:lnTo>
                  <a:pt x="2046" y="1909"/>
                </a:lnTo>
                <a:lnTo>
                  <a:pt x="2046" y="1911"/>
                </a:lnTo>
                <a:lnTo>
                  <a:pt x="2046" y="1914"/>
                </a:lnTo>
                <a:lnTo>
                  <a:pt x="2045" y="1916"/>
                </a:lnTo>
                <a:lnTo>
                  <a:pt x="2043" y="1918"/>
                </a:lnTo>
                <a:lnTo>
                  <a:pt x="2042" y="1920"/>
                </a:lnTo>
                <a:lnTo>
                  <a:pt x="2040" y="1921"/>
                </a:lnTo>
                <a:lnTo>
                  <a:pt x="2038" y="1922"/>
                </a:lnTo>
                <a:lnTo>
                  <a:pt x="2036" y="1922"/>
                </a:lnTo>
                <a:lnTo>
                  <a:pt x="2032" y="1922"/>
                </a:lnTo>
                <a:lnTo>
                  <a:pt x="2028" y="1921"/>
                </a:lnTo>
                <a:lnTo>
                  <a:pt x="2027" y="1920"/>
                </a:lnTo>
                <a:lnTo>
                  <a:pt x="2025" y="1919"/>
                </a:lnTo>
                <a:lnTo>
                  <a:pt x="2023" y="1916"/>
                </a:lnTo>
                <a:lnTo>
                  <a:pt x="2022" y="1914"/>
                </a:lnTo>
                <a:lnTo>
                  <a:pt x="2021" y="1911"/>
                </a:lnTo>
                <a:lnTo>
                  <a:pt x="2021" y="1909"/>
                </a:lnTo>
                <a:lnTo>
                  <a:pt x="2022" y="1907"/>
                </a:lnTo>
                <a:lnTo>
                  <a:pt x="2022" y="1904"/>
                </a:lnTo>
                <a:lnTo>
                  <a:pt x="2024" y="1902"/>
                </a:lnTo>
                <a:lnTo>
                  <a:pt x="2025" y="1901"/>
                </a:lnTo>
                <a:lnTo>
                  <a:pt x="2028" y="1899"/>
                </a:lnTo>
                <a:lnTo>
                  <a:pt x="2029" y="1898"/>
                </a:lnTo>
                <a:lnTo>
                  <a:pt x="2031" y="1898"/>
                </a:lnTo>
                <a:close/>
                <a:moveTo>
                  <a:pt x="2927" y="1739"/>
                </a:moveTo>
                <a:lnTo>
                  <a:pt x="2931" y="1738"/>
                </a:lnTo>
                <a:lnTo>
                  <a:pt x="2933" y="1739"/>
                </a:lnTo>
                <a:lnTo>
                  <a:pt x="2935" y="1740"/>
                </a:lnTo>
                <a:lnTo>
                  <a:pt x="2937" y="1741"/>
                </a:lnTo>
                <a:lnTo>
                  <a:pt x="2939" y="1743"/>
                </a:lnTo>
                <a:lnTo>
                  <a:pt x="2940" y="1745"/>
                </a:lnTo>
                <a:lnTo>
                  <a:pt x="2941" y="1747"/>
                </a:lnTo>
                <a:lnTo>
                  <a:pt x="2942" y="1749"/>
                </a:lnTo>
                <a:lnTo>
                  <a:pt x="2942" y="1752"/>
                </a:lnTo>
                <a:lnTo>
                  <a:pt x="2942" y="1754"/>
                </a:lnTo>
                <a:lnTo>
                  <a:pt x="2941" y="1756"/>
                </a:lnTo>
                <a:lnTo>
                  <a:pt x="2940" y="1758"/>
                </a:lnTo>
                <a:lnTo>
                  <a:pt x="2939" y="1759"/>
                </a:lnTo>
                <a:lnTo>
                  <a:pt x="2936" y="1762"/>
                </a:lnTo>
                <a:lnTo>
                  <a:pt x="2934" y="1763"/>
                </a:lnTo>
                <a:lnTo>
                  <a:pt x="2932" y="1763"/>
                </a:lnTo>
                <a:lnTo>
                  <a:pt x="2928" y="1763"/>
                </a:lnTo>
                <a:lnTo>
                  <a:pt x="2926" y="1763"/>
                </a:lnTo>
                <a:lnTo>
                  <a:pt x="2924" y="1762"/>
                </a:lnTo>
                <a:lnTo>
                  <a:pt x="2922" y="1761"/>
                </a:lnTo>
                <a:lnTo>
                  <a:pt x="2920" y="1759"/>
                </a:lnTo>
                <a:lnTo>
                  <a:pt x="2919" y="1757"/>
                </a:lnTo>
                <a:lnTo>
                  <a:pt x="2918" y="1755"/>
                </a:lnTo>
                <a:lnTo>
                  <a:pt x="2917" y="1752"/>
                </a:lnTo>
                <a:lnTo>
                  <a:pt x="2917" y="1750"/>
                </a:lnTo>
                <a:lnTo>
                  <a:pt x="2917" y="1748"/>
                </a:lnTo>
                <a:lnTo>
                  <a:pt x="2918" y="1746"/>
                </a:lnTo>
                <a:lnTo>
                  <a:pt x="2919" y="1744"/>
                </a:lnTo>
                <a:lnTo>
                  <a:pt x="2920" y="1742"/>
                </a:lnTo>
                <a:lnTo>
                  <a:pt x="2924" y="1740"/>
                </a:lnTo>
                <a:lnTo>
                  <a:pt x="2925" y="1739"/>
                </a:lnTo>
                <a:lnTo>
                  <a:pt x="2927" y="1739"/>
                </a:lnTo>
                <a:close/>
                <a:moveTo>
                  <a:pt x="2861" y="1733"/>
                </a:moveTo>
                <a:lnTo>
                  <a:pt x="2865" y="1733"/>
                </a:lnTo>
                <a:lnTo>
                  <a:pt x="2867" y="1733"/>
                </a:lnTo>
                <a:lnTo>
                  <a:pt x="2869" y="1734"/>
                </a:lnTo>
                <a:lnTo>
                  <a:pt x="2871" y="1736"/>
                </a:lnTo>
                <a:lnTo>
                  <a:pt x="2873" y="1737"/>
                </a:lnTo>
                <a:lnTo>
                  <a:pt x="2874" y="1739"/>
                </a:lnTo>
                <a:lnTo>
                  <a:pt x="2875" y="1741"/>
                </a:lnTo>
                <a:lnTo>
                  <a:pt x="2876" y="1744"/>
                </a:lnTo>
                <a:lnTo>
                  <a:pt x="2876" y="1746"/>
                </a:lnTo>
                <a:lnTo>
                  <a:pt x="2876" y="1748"/>
                </a:lnTo>
                <a:lnTo>
                  <a:pt x="2875" y="1750"/>
                </a:lnTo>
                <a:lnTo>
                  <a:pt x="2874" y="1752"/>
                </a:lnTo>
                <a:lnTo>
                  <a:pt x="2873" y="1754"/>
                </a:lnTo>
                <a:lnTo>
                  <a:pt x="2870" y="1756"/>
                </a:lnTo>
                <a:lnTo>
                  <a:pt x="2868" y="1757"/>
                </a:lnTo>
                <a:lnTo>
                  <a:pt x="2866" y="1758"/>
                </a:lnTo>
                <a:lnTo>
                  <a:pt x="2863" y="1758"/>
                </a:lnTo>
                <a:lnTo>
                  <a:pt x="2860" y="1757"/>
                </a:lnTo>
                <a:lnTo>
                  <a:pt x="2858" y="1756"/>
                </a:lnTo>
                <a:lnTo>
                  <a:pt x="2856" y="1755"/>
                </a:lnTo>
                <a:lnTo>
                  <a:pt x="2854" y="1754"/>
                </a:lnTo>
                <a:lnTo>
                  <a:pt x="2853" y="1752"/>
                </a:lnTo>
                <a:lnTo>
                  <a:pt x="2852" y="1749"/>
                </a:lnTo>
                <a:lnTo>
                  <a:pt x="2851" y="1747"/>
                </a:lnTo>
                <a:lnTo>
                  <a:pt x="2851" y="1744"/>
                </a:lnTo>
                <a:lnTo>
                  <a:pt x="2852" y="1742"/>
                </a:lnTo>
                <a:lnTo>
                  <a:pt x="2852" y="1740"/>
                </a:lnTo>
                <a:lnTo>
                  <a:pt x="2853" y="1739"/>
                </a:lnTo>
                <a:lnTo>
                  <a:pt x="2854" y="1737"/>
                </a:lnTo>
                <a:lnTo>
                  <a:pt x="2858" y="1734"/>
                </a:lnTo>
                <a:lnTo>
                  <a:pt x="2859" y="1734"/>
                </a:lnTo>
                <a:lnTo>
                  <a:pt x="2861" y="1733"/>
                </a:lnTo>
                <a:close/>
                <a:moveTo>
                  <a:pt x="2090" y="1867"/>
                </a:moveTo>
                <a:lnTo>
                  <a:pt x="2094" y="1867"/>
                </a:lnTo>
                <a:lnTo>
                  <a:pt x="2096" y="1868"/>
                </a:lnTo>
                <a:lnTo>
                  <a:pt x="2098" y="1868"/>
                </a:lnTo>
                <a:lnTo>
                  <a:pt x="2099" y="1869"/>
                </a:lnTo>
                <a:lnTo>
                  <a:pt x="2101" y="1871"/>
                </a:lnTo>
                <a:lnTo>
                  <a:pt x="2103" y="1874"/>
                </a:lnTo>
                <a:lnTo>
                  <a:pt x="2104" y="1876"/>
                </a:lnTo>
                <a:lnTo>
                  <a:pt x="2105" y="1879"/>
                </a:lnTo>
                <a:lnTo>
                  <a:pt x="2104" y="1884"/>
                </a:lnTo>
                <a:lnTo>
                  <a:pt x="2103" y="1886"/>
                </a:lnTo>
                <a:lnTo>
                  <a:pt x="2102" y="1888"/>
                </a:lnTo>
                <a:lnTo>
                  <a:pt x="2100" y="1889"/>
                </a:lnTo>
                <a:lnTo>
                  <a:pt x="2098" y="1891"/>
                </a:lnTo>
                <a:lnTo>
                  <a:pt x="2096" y="1891"/>
                </a:lnTo>
                <a:lnTo>
                  <a:pt x="2094" y="1892"/>
                </a:lnTo>
                <a:lnTo>
                  <a:pt x="2090" y="1892"/>
                </a:lnTo>
                <a:lnTo>
                  <a:pt x="2088" y="1891"/>
                </a:lnTo>
                <a:lnTo>
                  <a:pt x="2087" y="1891"/>
                </a:lnTo>
                <a:lnTo>
                  <a:pt x="2085" y="1890"/>
                </a:lnTo>
                <a:lnTo>
                  <a:pt x="2083" y="1888"/>
                </a:lnTo>
                <a:lnTo>
                  <a:pt x="2081" y="1885"/>
                </a:lnTo>
                <a:lnTo>
                  <a:pt x="2080" y="1883"/>
                </a:lnTo>
                <a:lnTo>
                  <a:pt x="2080" y="1880"/>
                </a:lnTo>
                <a:lnTo>
                  <a:pt x="2080" y="1878"/>
                </a:lnTo>
                <a:lnTo>
                  <a:pt x="2080" y="1876"/>
                </a:lnTo>
                <a:lnTo>
                  <a:pt x="2081" y="1873"/>
                </a:lnTo>
                <a:lnTo>
                  <a:pt x="2083" y="1871"/>
                </a:lnTo>
                <a:lnTo>
                  <a:pt x="2085" y="1870"/>
                </a:lnTo>
                <a:lnTo>
                  <a:pt x="2087" y="1868"/>
                </a:lnTo>
                <a:lnTo>
                  <a:pt x="2088" y="1868"/>
                </a:lnTo>
                <a:lnTo>
                  <a:pt x="2090" y="1867"/>
                </a:lnTo>
                <a:close/>
                <a:moveTo>
                  <a:pt x="2795" y="1728"/>
                </a:moveTo>
                <a:lnTo>
                  <a:pt x="2799" y="1728"/>
                </a:lnTo>
                <a:lnTo>
                  <a:pt x="2801" y="1728"/>
                </a:lnTo>
                <a:lnTo>
                  <a:pt x="2803" y="1729"/>
                </a:lnTo>
                <a:lnTo>
                  <a:pt x="2805" y="1731"/>
                </a:lnTo>
                <a:lnTo>
                  <a:pt x="2807" y="1732"/>
                </a:lnTo>
                <a:lnTo>
                  <a:pt x="2809" y="1736"/>
                </a:lnTo>
                <a:lnTo>
                  <a:pt x="2810" y="1739"/>
                </a:lnTo>
                <a:lnTo>
                  <a:pt x="2810" y="1741"/>
                </a:lnTo>
                <a:lnTo>
                  <a:pt x="2810" y="1743"/>
                </a:lnTo>
                <a:lnTo>
                  <a:pt x="2809" y="1745"/>
                </a:lnTo>
                <a:lnTo>
                  <a:pt x="2808" y="1747"/>
                </a:lnTo>
                <a:lnTo>
                  <a:pt x="2807" y="1749"/>
                </a:lnTo>
                <a:lnTo>
                  <a:pt x="2804" y="1751"/>
                </a:lnTo>
                <a:lnTo>
                  <a:pt x="2802" y="1752"/>
                </a:lnTo>
                <a:lnTo>
                  <a:pt x="2800" y="1753"/>
                </a:lnTo>
                <a:lnTo>
                  <a:pt x="2797" y="1753"/>
                </a:lnTo>
                <a:lnTo>
                  <a:pt x="2794" y="1753"/>
                </a:lnTo>
                <a:lnTo>
                  <a:pt x="2792" y="1752"/>
                </a:lnTo>
                <a:lnTo>
                  <a:pt x="2790" y="1750"/>
                </a:lnTo>
                <a:lnTo>
                  <a:pt x="2788" y="1749"/>
                </a:lnTo>
                <a:lnTo>
                  <a:pt x="2786" y="1745"/>
                </a:lnTo>
                <a:lnTo>
                  <a:pt x="2785" y="1742"/>
                </a:lnTo>
                <a:lnTo>
                  <a:pt x="2785" y="1740"/>
                </a:lnTo>
                <a:lnTo>
                  <a:pt x="2786" y="1737"/>
                </a:lnTo>
                <a:lnTo>
                  <a:pt x="2786" y="1736"/>
                </a:lnTo>
                <a:lnTo>
                  <a:pt x="2787" y="1734"/>
                </a:lnTo>
                <a:lnTo>
                  <a:pt x="2788" y="1732"/>
                </a:lnTo>
                <a:lnTo>
                  <a:pt x="2792" y="1730"/>
                </a:lnTo>
                <a:lnTo>
                  <a:pt x="2793" y="1729"/>
                </a:lnTo>
                <a:lnTo>
                  <a:pt x="2795" y="1728"/>
                </a:lnTo>
                <a:close/>
                <a:moveTo>
                  <a:pt x="2150" y="1839"/>
                </a:moveTo>
                <a:lnTo>
                  <a:pt x="2154" y="1839"/>
                </a:lnTo>
                <a:lnTo>
                  <a:pt x="2158" y="1840"/>
                </a:lnTo>
                <a:lnTo>
                  <a:pt x="2161" y="1843"/>
                </a:lnTo>
                <a:lnTo>
                  <a:pt x="2162" y="1844"/>
                </a:lnTo>
                <a:lnTo>
                  <a:pt x="2163" y="1846"/>
                </a:lnTo>
                <a:lnTo>
                  <a:pt x="2164" y="1849"/>
                </a:lnTo>
                <a:lnTo>
                  <a:pt x="2165" y="1851"/>
                </a:lnTo>
                <a:lnTo>
                  <a:pt x="2164" y="1856"/>
                </a:lnTo>
                <a:lnTo>
                  <a:pt x="2163" y="1858"/>
                </a:lnTo>
                <a:lnTo>
                  <a:pt x="2161" y="1860"/>
                </a:lnTo>
                <a:lnTo>
                  <a:pt x="2159" y="1862"/>
                </a:lnTo>
                <a:lnTo>
                  <a:pt x="2157" y="1863"/>
                </a:lnTo>
                <a:lnTo>
                  <a:pt x="2154" y="1864"/>
                </a:lnTo>
                <a:lnTo>
                  <a:pt x="2150" y="1864"/>
                </a:lnTo>
                <a:lnTo>
                  <a:pt x="2146" y="1862"/>
                </a:lnTo>
                <a:lnTo>
                  <a:pt x="2143" y="1860"/>
                </a:lnTo>
                <a:lnTo>
                  <a:pt x="2142" y="1858"/>
                </a:lnTo>
                <a:lnTo>
                  <a:pt x="2141" y="1856"/>
                </a:lnTo>
                <a:lnTo>
                  <a:pt x="2140" y="1854"/>
                </a:lnTo>
                <a:lnTo>
                  <a:pt x="2140" y="1852"/>
                </a:lnTo>
                <a:lnTo>
                  <a:pt x="2140" y="1847"/>
                </a:lnTo>
                <a:lnTo>
                  <a:pt x="2141" y="1845"/>
                </a:lnTo>
                <a:lnTo>
                  <a:pt x="2143" y="1843"/>
                </a:lnTo>
                <a:lnTo>
                  <a:pt x="2145" y="1841"/>
                </a:lnTo>
                <a:lnTo>
                  <a:pt x="2147" y="1840"/>
                </a:lnTo>
                <a:lnTo>
                  <a:pt x="2150" y="1839"/>
                </a:lnTo>
                <a:close/>
                <a:moveTo>
                  <a:pt x="2729" y="1724"/>
                </a:moveTo>
                <a:lnTo>
                  <a:pt x="2732" y="1724"/>
                </a:lnTo>
                <a:lnTo>
                  <a:pt x="2735" y="1724"/>
                </a:lnTo>
                <a:lnTo>
                  <a:pt x="2737" y="1725"/>
                </a:lnTo>
                <a:lnTo>
                  <a:pt x="2741" y="1728"/>
                </a:lnTo>
                <a:lnTo>
                  <a:pt x="2742" y="1730"/>
                </a:lnTo>
                <a:lnTo>
                  <a:pt x="2743" y="1732"/>
                </a:lnTo>
                <a:lnTo>
                  <a:pt x="2744" y="1734"/>
                </a:lnTo>
                <a:lnTo>
                  <a:pt x="2744" y="1737"/>
                </a:lnTo>
                <a:lnTo>
                  <a:pt x="2744" y="1739"/>
                </a:lnTo>
                <a:lnTo>
                  <a:pt x="2743" y="1741"/>
                </a:lnTo>
                <a:lnTo>
                  <a:pt x="2742" y="1743"/>
                </a:lnTo>
                <a:lnTo>
                  <a:pt x="2741" y="1744"/>
                </a:lnTo>
                <a:lnTo>
                  <a:pt x="2739" y="1746"/>
                </a:lnTo>
                <a:lnTo>
                  <a:pt x="2738" y="1747"/>
                </a:lnTo>
                <a:lnTo>
                  <a:pt x="2736" y="1748"/>
                </a:lnTo>
                <a:lnTo>
                  <a:pt x="2734" y="1748"/>
                </a:lnTo>
                <a:lnTo>
                  <a:pt x="2731" y="1749"/>
                </a:lnTo>
                <a:lnTo>
                  <a:pt x="2729" y="1748"/>
                </a:lnTo>
                <a:lnTo>
                  <a:pt x="2726" y="1747"/>
                </a:lnTo>
                <a:lnTo>
                  <a:pt x="2722" y="1745"/>
                </a:lnTo>
                <a:lnTo>
                  <a:pt x="2721" y="1743"/>
                </a:lnTo>
                <a:lnTo>
                  <a:pt x="2720" y="1740"/>
                </a:lnTo>
                <a:lnTo>
                  <a:pt x="2719" y="1738"/>
                </a:lnTo>
                <a:lnTo>
                  <a:pt x="2719" y="1736"/>
                </a:lnTo>
                <a:lnTo>
                  <a:pt x="2719" y="1733"/>
                </a:lnTo>
                <a:lnTo>
                  <a:pt x="2720" y="1731"/>
                </a:lnTo>
                <a:lnTo>
                  <a:pt x="2721" y="1730"/>
                </a:lnTo>
                <a:lnTo>
                  <a:pt x="2722" y="1728"/>
                </a:lnTo>
                <a:lnTo>
                  <a:pt x="2724" y="1726"/>
                </a:lnTo>
                <a:lnTo>
                  <a:pt x="2725" y="1725"/>
                </a:lnTo>
                <a:lnTo>
                  <a:pt x="2727" y="1724"/>
                </a:lnTo>
                <a:lnTo>
                  <a:pt x="2729" y="1724"/>
                </a:lnTo>
                <a:close/>
                <a:moveTo>
                  <a:pt x="2212" y="1814"/>
                </a:moveTo>
                <a:lnTo>
                  <a:pt x="2216" y="1814"/>
                </a:lnTo>
                <a:lnTo>
                  <a:pt x="2218" y="1814"/>
                </a:lnTo>
                <a:lnTo>
                  <a:pt x="2220" y="1815"/>
                </a:lnTo>
                <a:lnTo>
                  <a:pt x="2222" y="1816"/>
                </a:lnTo>
                <a:lnTo>
                  <a:pt x="2223" y="1818"/>
                </a:lnTo>
                <a:lnTo>
                  <a:pt x="2225" y="1819"/>
                </a:lnTo>
                <a:lnTo>
                  <a:pt x="2226" y="1821"/>
                </a:lnTo>
                <a:lnTo>
                  <a:pt x="2226" y="1824"/>
                </a:lnTo>
                <a:lnTo>
                  <a:pt x="2227" y="1826"/>
                </a:lnTo>
                <a:lnTo>
                  <a:pt x="2226" y="1829"/>
                </a:lnTo>
                <a:lnTo>
                  <a:pt x="2226" y="1831"/>
                </a:lnTo>
                <a:lnTo>
                  <a:pt x="2224" y="1833"/>
                </a:lnTo>
                <a:lnTo>
                  <a:pt x="2223" y="1835"/>
                </a:lnTo>
                <a:lnTo>
                  <a:pt x="2221" y="1836"/>
                </a:lnTo>
                <a:lnTo>
                  <a:pt x="2219" y="1838"/>
                </a:lnTo>
                <a:lnTo>
                  <a:pt x="2216" y="1838"/>
                </a:lnTo>
                <a:lnTo>
                  <a:pt x="2212" y="1838"/>
                </a:lnTo>
                <a:lnTo>
                  <a:pt x="2210" y="1838"/>
                </a:lnTo>
                <a:lnTo>
                  <a:pt x="2207" y="1837"/>
                </a:lnTo>
                <a:lnTo>
                  <a:pt x="2205" y="1836"/>
                </a:lnTo>
                <a:lnTo>
                  <a:pt x="2204" y="1834"/>
                </a:lnTo>
                <a:lnTo>
                  <a:pt x="2202" y="1832"/>
                </a:lnTo>
                <a:lnTo>
                  <a:pt x="2201" y="1830"/>
                </a:lnTo>
                <a:lnTo>
                  <a:pt x="2201" y="1828"/>
                </a:lnTo>
                <a:lnTo>
                  <a:pt x="2201" y="1826"/>
                </a:lnTo>
                <a:lnTo>
                  <a:pt x="2201" y="1823"/>
                </a:lnTo>
                <a:lnTo>
                  <a:pt x="2202" y="1821"/>
                </a:lnTo>
                <a:lnTo>
                  <a:pt x="2203" y="1819"/>
                </a:lnTo>
                <a:lnTo>
                  <a:pt x="2204" y="1817"/>
                </a:lnTo>
                <a:lnTo>
                  <a:pt x="2206" y="1815"/>
                </a:lnTo>
                <a:lnTo>
                  <a:pt x="2210" y="1814"/>
                </a:lnTo>
                <a:lnTo>
                  <a:pt x="2212" y="1814"/>
                </a:lnTo>
                <a:close/>
                <a:moveTo>
                  <a:pt x="2663" y="1723"/>
                </a:moveTo>
                <a:lnTo>
                  <a:pt x="2665" y="1722"/>
                </a:lnTo>
                <a:lnTo>
                  <a:pt x="2668" y="1723"/>
                </a:lnTo>
                <a:lnTo>
                  <a:pt x="2670" y="1723"/>
                </a:lnTo>
                <a:lnTo>
                  <a:pt x="2672" y="1724"/>
                </a:lnTo>
                <a:lnTo>
                  <a:pt x="2674" y="1726"/>
                </a:lnTo>
                <a:lnTo>
                  <a:pt x="2676" y="1728"/>
                </a:lnTo>
                <a:lnTo>
                  <a:pt x="2677" y="1730"/>
                </a:lnTo>
                <a:lnTo>
                  <a:pt x="2678" y="1732"/>
                </a:lnTo>
                <a:lnTo>
                  <a:pt x="2678" y="1735"/>
                </a:lnTo>
                <a:lnTo>
                  <a:pt x="2677" y="1739"/>
                </a:lnTo>
                <a:lnTo>
                  <a:pt x="2676" y="1741"/>
                </a:lnTo>
                <a:lnTo>
                  <a:pt x="2675" y="1743"/>
                </a:lnTo>
                <a:lnTo>
                  <a:pt x="2672" y="1746"/>
                </a:lnTo>
                <a:lnTo>
                  <a:pt x="2668" y="1747"/>
                </a:lnTo>
                <a:lnTo>
                  <a:pt x="2666" y="1747"/>
                </a:lnTo>
                <a:lnTo>
                  <a:pt x="2663" y="1747"/>
                </a:lnTo>
                <a:lnTo>
                  <a:pt x="2661" y="1746"/>
                </a:lnTo>
                <a:lnTo>
                  <a:pt x="2659" y="1745"/>
                </a:lnTo>
                <a:lnTo>
                  <a:pt x="2657" y="1744"/>
                </a:lnTo>
                <a:lnTo>
                  <a:pt x="2655" y="1742"/>
                </a:lnTo>
                <a:lnTo>
                  <a:pt x="2654" y="1740"/>
                </a:lnTo>
                <a:lnTo>
                  <a:pt x="2653" y="1737"/>
                </a:lnTo>
                <a:lnTo>
                  <a:pt x="2653" y="1735"/>
                </a:lnTo>
                <a:lnTo>
                  <a:pt x="2654" y="1731"/>
                </a:lnTo>
                <a:lnTo>
                  <a:pt x="2655" y="1729"/>
                </a:lnTo>
                <a:lnTo>
                  <a:pt x="2656" y="1727"/>
                </a:lnTo>
                <a:lnTo>
                  <a:pt x="2659" y="1724"/>
                </a:lnTo>
                <a:lnTo>
                  <a:pt x="2663" y="1723"/>
                </a:lnTo>
                <a:close/>
                <a:moveTo>
                  <a:pt x="2274" y="1791"/>
                </a:moveTo>
                <a:lnTo>
                  <a:pt x="2278" y="1791"/>
                </a:lnTo>
                <a:lnTo>
                  <a:pt x="2281" y="1791"/>
                </a:lnTo>
                <a:lnTo>
                  <a:pt x="2282" y="1792"/>
                </a:lnTo>
                <a:lnTo>
                  <a:pt x="2286" y="1795"/>
                </a:lnTo>
                <a:lnTo>
                  <a:pt x="2287" y="1797"/>
                </a:lnTo>
                <a:lnTo>
                  <a:pt x="2288" y="1799"/>
                </a:lnTo>
                <a:lnTo>
                  <a:pt x="2289" y="1804"/>
                </a:lnTo>
                <a:lnTo>
                  <a:pt x="2288" y="1806"/>
                </a:lnTo>
                <a:lnTo>
                  <a:pt x="2287" y="1809"/>
                </a:lnTo>
                <a:lnTo>
                  <a:pt x="2286" y="1811"/>
                </a:lnTo>
                <a:lnTo>
                  <a:pt x="2284" y="1812"/>
                </a:lnTo>
                <a:lnTo>
                  <a:pt x="2282" y="1814"/>
                </a:lnTo>
                <a:lnTo>
                  <a:pt x="2280" y="1815"/>
                </a:lnTo>
                <a:lnTo>
                  <a:pt x="2278" y="1815"/>
                </a:lnTo>
                <a:lnTo>
                  <a:pt x="2274" y="1815"/>
                </a:lnTo>
                <a:lnTo>
                  <a:pt x="2272" y="1815"/>
                </a:lnTo>
                <a:lnTo>
                  <a:pt x="2270" y="1814"/>
                </a:lnTo>
                <a:lnTo>
                  <a:pt x="2267" y="1811"/>
                </a:lnTo>
                <a:lnTo>
                  <a:pt x="2265" y="1809"/>
                </a:lnTo>
                <a:lnTo>
                  <a:pt x="2264" y="1807"/>
                </a:lnTo>
                <a:lnTo>
                  <a:pt x="2264" y="1802"/>
                </a:lnTo>
                <a:lnTo>
                  <a:pt x="2264" y="1800"/>
                </a:lnTo>
                <a:lnTo>
                  <a:pt x="2265" y="1798"/>
                </a:lnTo>
                <a:lnTo>
                  <a:pt x="2266" y="1796"/>
                </a:lnTo>
                <a:lnTo>
                  <a:pt x="2268" y="1794"/>
                </a:lnTo>
                <a:lnTo>
                  <a:pt x="2270" y="1792"/>
                </a:lnTo>
                <a:lnTo>
                  <a:pt x="2272" y="1791"/>
                </a:lnTo>
                <a:lnTo>
                  <a:pt x="2274" y="1791"/>
                </a:lnTo>
                <a:close/>
                <a:moveTo>
                  <a:pt x="2337" y="1771"/>
                </a:moveTo>
                <a:lnTo>
                  <a:pt x="2342" y="1771"/>
                </a:lnTo>
                <a:lnTo>
                  <a:pt x="2344" y="1772"/>
                </a:lnTo>
                <a:lnTo>
                  <a:pt x="2346" y="1773"/>
                </a:lnTo>
                <a:lnTo>
                  <a:pt x="2348" y="1774"/>
                </a:lnTo>
                <a:lnTo>
                  <a:pt x="2349" y="1776"/>
                </a:lnTo>
                <a:lnTo>
                  <a:pt x="2350" y="1778"/>
                </a:lnTo>
                <a:lnTo>
                  <a:pt x="2351" y="1780"/>
                </a:lnTo>
                <a:lnTo>
                  <a:pt x="2352" y="1782"/>
                </a:lnTo>
                <a:lnTo>
                  <a:pt x="2352" y="1785"/>
                </a:lnTo>
                <a:lnTo>
                  <a:pt x="2351" y="1787"/>
                </a:lnTo>
                <a:lnTo>
                  <a:pt x="2350" y="1789"/>
                </a:lnTo>
                <a:lnTo>
                  <a:pt x="2349" y="1791"/>
                </a:lnTo>
                <a:lnTo>
                  <a:pt x="2347" y="1793"/>
                </a:lnTo>
                <a:lnTo>
                  <a:pt x="2345" y="1794"/>
                </a:lnTo>
                <a:lnTo>
                  <a:pt x="2343" y="1795"/>
                </a:lnTo>
                <a:lnTo>
                  <a:pt x="2340" y="1796"/>
                </a:lnTo>
                <a:lnTo>
                  <a:pt x="2337" y="1796"/>
                </a:lnTo>
                <a:lnTo>
                  <a:pt x="2335" y="1795"/>
                </a:lnTo>
                <a:lnTo>
                  <a:pt x="2333" y="1794"/>
                </a:lnTo>
                <a:lnTo>
                  <a:pt x="2331" y="1793"/>
                </a:lnTo>
                <a:lnTo>
                  <a:pt x="2329" y="1791"/>
                </a:lnTo>
                <a:lnTo>
                  <a:pt x="2328" y="1789"/>
                </a:lnTo>
                <a:lnTo>
                  <a:pt x="2327" y="1787"/>
                </a:lnTo>
                <a:lnTo>
                  <a:pt x="2327" y="1784"/>
                </a:lnTo>
                <a:lnTo>
                  <a:pt x="2327" y="1782"/>
                </a:lnTo>
                <a:lnTo>
                  <a:pt x="2327" y="1780"/>
                </a:lnTo>
                <a:lnTo>
                  <a:pt x="2328" y="1777"/>
                </a:lnTo>
                <a:lnTo>
                  <a:pt x="2330" y="1775"/>
                </a:lnTo>
                <a:lnTo>
                  <a:pt x="2331" y="1774"/>
                </a:lnTo>
                <a:lnTo>
                  <a:pt x="2333" y="1772"/>
                </a:lnTo>
                <a:lnTo>
                  <a:pt x="2336" y="1771"/>
                </a:lnTo>
                <a:lnTo>
                  <a:pt x="2337" y="1771"/>
                </a:lnTo>
                <a:close/>
                <a:moveTo>
                  <a:pt x="2597" y="1725"/>
                </a:moveTo>
                <a:lnTo>
                  <a:pt x="2599" y="1725"/>
                </a:lnTo>
                <a:lnTo>
                  <a:pt x="2601" y="1725"/>
                </a:lnTo>
                <a:lnTo>
                  <a:pt x="2603" y="1726"/>
                </a:lnTo>
                <a:lnTo>
                  <a:pt x="2606" y="1727"/>
                </a:lnTo>
                <a:lnTo>
                  <a:pt x="2608" y="1728"/>
                </a:lnTo>
                <a:lnTo>
                  <a:pt x="2609" y="1730"/>
                </a:lnTo>
                <a:lnTo>
                  <a:pt x="2611" y="1732"/>
                </a:lnTo>
                <a:lnTo>
                  <a:pt x="2611" y="1734"/>
                </a:lnTo>
                <a:lnTo>
                  <a:pt x="2612" y="1737"/>
                </a:lnTo>
                <a:lnTo>
                  <a:pt x="2612" y="1739"/>
                </a:lnTo>
                <a:lnTo>
                  <a:pt x="2611" y="1741"/>
                </a:lnTo>
                <a:lnTo>
                  <a:pt x="2609" y="1745"/>
                </a:lnTo>
                <a:lnTo>
                  <a:pt x="2608" y="1747"/>
                </a:lnTo>
                <a:lnTo>
                  <a:pt x="2606" y="1748"/>
                </a:lnTo>
                <a:lnTo>
                  <a:pt x="2604" y="1749"/>
                </a:lnTo>
                <a:lnTo>
                  <a:pt x="2602" y="1750"/>
                </a:lnTo>
                <a:lnTo>
                  <a:pt x="2600" y="1750"/>
                </a:lnTo>
                <a:lnTo>
                  <a:pt x="2595" y="1749"/>
                </a:lnTo>
                <a:lnTo>
                  <a:pt x="2593" y="1748"/>
                </a:lnTo>
                <a:lnTo>
                  <a:pt x="2591" y="1747"/>
                </a:lnTo>
                <a:lnTo>
                  <a:pt x="2590" y="1745"/>
                </a:lnTo>
                <a:lnTo>
                  <a:pt x="2588" y="1743"/>
                </a:lnTo>
                <a:lnTo>
                  <a:pt x="2587" y="1741"/>
                </a:lnTo>
                <a:lnTo>
                  <a:pt x="2587" y="1738"/>
                </a:lnTo>
                <a:lnTo>
                  <a:pt x="2587" y="1736"/>
                </a:lnTo>
                <a:lnTo>
                  <a:pt x="2587" y="1734"/>
                </a:lnTo>
                <a:lnTo>
                  <a:pt x="2590" y="1730"/>
                </a:lnTo>
                <a:lnTo>
                  <a:pt x="2591" y="1728"/>
                </a:lnTo>
                <a:lnTo>
                  <a:pt x="2593" y="1727"/>
                </a:lnTo>
                <a:lnTo>
                  <a:pt x="2595" y="1726"/>
                </a:lnTo>
                <a:lnTo>
                  <a:pt x="2597" y="1725"/>
                </a:lnTo>
                <a:close/>
                <a:moveTo>
                  <a:pt x="2401" y="1754"/>
                </a:moveTo>
                <a:lnTo>
                  <a:pt x="2406" y="1755"/>
                </a:lnTo>
                <a:lnTo>
                  <a:pt x="2408" y="1755"/>
                </a:lnTo>
                <a:lnTo>
                  <a:pt x="2410" y="1756"/>
                </a:lnTo>
                <a:lnTo>
                  <a:pt x="2412" y="1758"/>
                </a:lnTo>
                <a:lnTo>
                  <a:pt x="2413" y="1760"/>
                </a:lnTo>
                <a:lnTo>
                  <a:pt x="2415" y="1762"/>
                </a:lnTo>
                <a:lnTo>
                  <a:pt x="2415" y="1764"/>
                </a:lnTo>
                <a:lnTo>
                  <a:pt x="2416" y="1766"/>
                </a:lnTo>
                <a:lnTo>
                  <a:pt x="2416" y="1769"/>
                </a:lnTo>
                <a:lnTo>
                  <a:pt x="2415" y="1771"/>
                </a:lnTo>
                <a:lnTo>
                  <a:pt x="2414" y="1773"/>
                </a:lnTo>
                <a:lnTo>
                  <a:pt x="2412" y="1775"/>
                </a:lnTo>
                <a:lnTo>
                  <a:pt x="2411" y="1777"/>
                </a:lnTo>
                <a:lnTo>
                  <a:pt x="2409" y="1778"/>
                </a:lnTo>
                <a:lnTo>
                  <a:pt x="2406" y="1779"/>
                </a:lnTo>
                <a:lnTo>
                  <a:pt x="2401" y="1779"/>
                </a:lnTo>
                <a:lnTo>
                  <a:pt x="2399" y="1778"/>
                </a:lnTo>
                <a:lnTo>
                  <a:pt x="2396" y="1777"/>
                </a:lnTo>
                <a:lnTo>
                  <a:pt x="2395" y="1776"/>
                </a:lnTo>
                <a:lnTo>
                  <a:pt x="2393" y="1774"/>
                </a:lnTo>
                <a:lnTo>
                  <a:pt x="2392" y="1772"/>
                </a:lnTo>
                <a:lnTo>
                  <a:pt x="2391" y="1770"/>
                </a:lnTo>
                <a:lnTo>
                  <a:pt x="2391" y="1767"/>
                </a:lnTo>
                <a:lnTo>
                  <a:pt x="2391" y="1765"/>
                </a:lnTo>
                <a:lnTo>
                  <a:pt x="2392" y="1762"/>
                </a:lnTo>
                <a:lnTo>
                  <a:pt x="2393" y="1760"/>
                </a:lnTo>
                <a:lnTo>
                  <a:pt x="2394" y="1758"/>
                </a:lnTo>
                <a:lnTo>
                  <a:pt x="2396" y="1757"/>
                </a:lnTo>
                <a:lnTo>
                  <a:pt x="2398" y="1755"/>
                </a:lnTo>
                <a:lnTo>
                  <a:pt x="2400" y="1755"/>
                </a:lnTo>
                <a:lnTo>
                  <a:pt x="2401" y="1754"/>
                </a:lnTo>
                <a:close/>
                <a:moveTo>
                  <a:pt x="2531" y="1731"/>
                </a:moveTo>
                <a:lnTo>
                  <a:pt x="2534" y="1731"/>
                </a:lnTo>
                <a:lnTo>
                  <a:pt x="2537" y="1732"/>
                </a:lnTo>
                <a:lnTo>
                  <a:pt x="2539" y="1732"/>
                </a:lnTo>
                <a:lnTo>
                  <a:pt x="2541" y="1734"/>
                </a:lnTo>
                <a:lnTo>
                  <a:pt x="2543" y="1735"/>
                </a:lnTo>
                <a:lnTo>
                  <a:pt x="2544" y="1737"/>
                </a:lnTo>
                <a:lnTo>
                  <a:pt x="2545" y="1740"/>
                </a:lnTo>
                <a:lnTo>
                  <a:pt x="2546" y="1742"/>
                </a:lnTo>
                <a:lnTo>
                  <a:pt x="2546" y="1745"/>
                </a:lnTo>
                <a:lnTo>
                  <a:pt x="2546" y="1747"/>
                </a:lnTo>
                <a:lnTo>
                  <a:pt x="2545" y="1749"/>
                </a:lnTo>
                <a:lnTo>
                  <a:pt x="2544" y="1751"/>
                </a:lnTo>
                <a:lnTo>
                  <a:pt x="2542" y="1753"/>
                </a:lnTo>
                <a:lnTo>
                  <a:pt x="2540" y="1754"/>
                </a:lnTo>
                <a:lnTo>
                  <a:pt x="2538" y="1755"/>
                </a:lnTo>
                <a:lnTo>
                  <a:pt x="2536" y="1756"/>
                </a:lnTo>
                <a:lnTo>
                  <a:pt x="2533" y="1756"/>
                </a:lnTo>
                <a:lnTo>
                  <a:pt x="2530" y="1756"/>
                </a:lnTo>
                <a:lnTo>
                  <a:pt x="2528" y="1755"/>
                </a:lnTo>
                <a:lnTo>
                  <a:pt x="2526" y="1753"/>
                </a:lnTo>
                <a:lnTo>
                  <a:pt x="2524" y="1752"/>
                </a:lnTo>
                <a:lnTo>
                  <a:pt x="2523" y="1750"/>
                </a:lnTo>
                <a:lnTo>
                  <a:pt x="2522" y="1748"/>
                </a:lnTo>
                <a:lnTo>
                  <a:pt x="2521" y="1745"/>
                </a:lnTo>
                <a:lnTo>
                  <a:pt x="2521" y="1743"/>
                </a:lnTo>
                <a:lnTo>
                  <a:pt x="2521" y="1740"/>
                </a:lnTo>
                <a:lnTo>
                  <a:pt x="2522" y="1738"/>
                </a:lnTo>
                <a:lnTo>
                  <a:pt x="2523" y="1736"/>
                </a:lnTo>
                <a:lnTo>
                  <a:pt x="2525" y="1734"/>
                </a:lnTo>
                <a:lnTo>
                  <a:pt x="2527" y="1733"/>
                </a:lnTo>
                <a:lnTo>
                  <a:pt x="2529" y="1732"/>
                </a:lnTo>
                <a:lnTo>
                  <a:pt x="2531" y="1731"/>
                </a:lnTo>
                <a:close/>
                <a:moveTo>
                  <a:pt x="2466" y="1741"/>
                </a:moveTo>
                <a:lnTo>
                  <a:pt x="2471" y="1741"/>
                </a:lnTo>
                <a:lnTo>
                  <a:pt x="2473" y="1742"/>
                </a:lnTo>
                <a:lnTo>
                  <a:pt x="2475" y="1743"/>
                </a:lnTo>
                <a:lnTo>
                  <a:pt x="2477" y="1745"/>
                </a:lnTo>
                <a:lnTo>
                  <a:pt x="2479" y="1747"/>
                </a:lnTo>
                <a:lnTo>
                  <a:pt x="2480" y="1749"/>
                </a:lnTo>
                <a:lnTo>
                  <a:pt x="2480" y="1751"/>
                </a:lnTo>
                <a:lnTo>
                  <a:pt x="2480" y="1756"/>
                </a:lnTo>
                <a:lnTo>
                  <a:pt x="2479" y="1758"/>
                </a:lnTo>
                <a:lnTo>
                  <a:pt x="2478" y="1761"/>
                </a:lnTo>
                <a:lnTo>
                  <a:pt x="2477" y="1762"/>
                </a:lnTo>
                <a:lnTo>
                  <a:pt x="2475" y="1764"/>
                </a:lnTo>
                <a:lnTo>
                  <a:pt x="2473" y="1765"/>
                </a:lnTo>
                <a:lnTo>
                  <a:pt x="2470" y="1766"/>
                </a:lnTo>
                <a:lnTo>
                  <a:pt x="2465" y="1766"/>
                </a:lnTo>
                <a:lnTo>
                  <a:pt x="2463" y="1765"/>
                </a:lnTo>
                <a:lnTo>
                  <a:pt x="2461" y="1764"/>
                </a:lnTo>
                <a:lnTo>
                  <a:pt x="2459" y="1762"/>
                </a:lnTo>
                <a:lnTo>
                  <a:pt x="2458" y="1760"/>
                </a:lnTo>
                <a:lnTo>
                  <a:pt x="2456" y="1758"/>
                </a:lnTo>
                <a:lnTo>
                  <a:pt x="2456" y="1756"/>
                </a:lnTo>
                <a:lnTo>
                  <a:pt x="2456" y="1751"/>
                </a:lnTo>
                <a:lnTo>
                  <a:pt x="2457" y="1748"/>
                </a:lnTo>
                <a:lnTo>
                  <a:pt x="2458" y="1746"/>
                </a:lnTo>
                <a:lnTo>
                  <a:pt x="2459" y="1744"/>
                </a:lnTo>
                <a:lnTo>
                  <a:pt x="2461" y="1743"/>
                </a:lnTo>
                <a:lnTo>
                  <a:pt x="2463" y="1742"/>
                </a:lnTo>
                <a:lnTo>
                  <a:pt x="2466" y="1741"/>
                </a:lnTo>
                <a:close/>
                <a:moveTo>
                  <a:pt x="1254" y="2223"/>
                </a:moveTo>
                <a:lnTo>
                  <a:pt x="1256" y="2223"/>
                </a:lnTo>
                <a:lnTo>
                  <a:pt x="1259" y="2224"/>
                </a:lnTo>
                <a:lnTo>
                  <a:pt x="1261" y="2224"/>
                </a:lnTo>
                <a:lnTo>
                  <a:pt x="1263" y="2226"/>
                </a:lnTo>
                <a:lnTo>
                  <a:pt x="1265" y="2228"/>
                </a:lnTo>
                <a:lnTo>
                  <a:pt x="1267" y="2230"/>
                </a:lnTo>
                <a:lnTo>
                  <a:pt x="1268" y="2234"/>
                </a:lnTo>
                <a:lnTo>
                  <a:pt x="1268" y="2237"/>
                </a:lnTo>
                <a:lnTo>
                  <a:pt x="1268" y="2239"/>
                </a:lnTo>
                <a:lnTo>
                  <a:pt x="1266" y="2243"/>
                </a:lnTo>
                <a:lnTo>
                  <a:pt x="1264" y="2245"/>
                </a:lnTo>
                <a:lnTo>
                  <a:pt x="1262" y="2247"/>
                </a:lnTo>
                <a:lnTo>
                  <a:pt x="1260" y="2248"/>
                </a:lnTo>
                <a:lnTo>
                  <a:pt x="1258" y="2248"/>
                </a:lnTo>
                <a:lnTo>
                  <a:pt x="1255" y="2248"/>
                </a:lnTo>
                <a:lnTo>
                  <a:pt x="1253" y="2248"/>
                </a:lnTo>
                <a:lnTo>
                  <a:pt x="1250" y="2247"/>
                </a:lnTo>
                <a:lnTo>
                  <a:pt x="1248" y="2246"/>
                </a:lnTo>
                <a:lnTo>
                  <a:pt x="1246" y="2244"/>
                </a:lnTo>
                <a:lnTo>
                  <a:pt x="1245" y="2242"/>
                </a:lnTo>
                <a:lnTo>
                  <a:pt x="1243" y="2237"/>
                </a:lnTo>
                <a:lnTo>
                  <a:pt x="1243" y="2235"/>
                </a:lnTo>
                <a:lnTo>
                  <a:pt x="1244" y="2233"/>
                </a:lnTo>
                <a:lnTo>
                  <a:pt x="1246" y="2228"/>
                </a:lnTo>
                <a:lnTo>
                  <a:pt x="1247" y="2226"/>
                </a:lnTo>
                <a:lnTo>
                  <a:pt x="1249" y="2225"/>
                </a:lnTo>
                <a:lnTo>
                  <a:pt x="1251" y="2224"/>
                </a:lnTo>
                <a:lnTo>
                  <a:pt x="1254" y="2223"/>
                </a:lnTo>
                <a:close/>
                <a:moveTo>
                  <a:pt x="1295" y="2172"/>
                </a:moveTo>
                <a:lnTo>
                  <a:pt x="1297" y="2171"/>
                </a:lnTo>
                <a:lnTo>
                  <a:pt x="1300" y="2172"/>
                </a:lnTo>
                <a:lnTo>
                  <a:pt x="1302" y="2173"/>
                </a:lnTo>
                <a:lnTo>
                  <a:pt x="1305" y="2174"/>
                </a:lnTo>
                <a:lnTo>
                  <a:pt x="1307" y="2176"/>
                </a:lnTo>
                <a:lnTo>
                  <a:pt x="1308" y="2178"/>
                </a:lnTo>
                <a:lnTo>
                  <a:pt x="1309" y="2183"/>
                </a:lnTo>
                <a:lnTo>
                  <a:pt x="1309" y="2185"/>
                </a:lnTo>
                <a:lnTo>
                  <a:pt x="1309" y="2187"/>
                </a:lnTo>
                <a:lnTo>
                  <a:pt x="1307" y="2192"/>
                </a:lnTo>
                <a:lnTo>
                  <a:pt x="1305" y="2194"/>
                </a:lnTo>
                <a:lnTo>
                  <a:pt x="1303" y="2195"/>
                </a:lnTo>
                <a:lnTo>
                  <a:pt x="1299" y="2196"/>
                </a:lnTo>
                <a:lnTo>
                  <a:pt x="1296" y="2197"/>
                </a:lnTo>
                <a:lnTo>
                  <a:pt x="1294" y="2196"/>
                </a:lnTo>
                <a:lnTo>
                  <a:pt x="1291" y="2195"/>
                </a:lnTo>
                <a:lnTo>
                  <a:pt x="1289" y="2194"/>
                </a:lnTo>
                <a:lnTo>
                  <a:pt x="1287" y="2192"/>
                </a:lnTo>
                <a:lnTo>
                  <a:pt x="1286" y="2190"/>
                </a:lnTo>
                <a:lnTo>
                  <a:pt x="1284" y="2185"/>
                </a:lnTo>
                <a:lnTo>
                  <a:pt x="1284" y="2183"/>
                </a:lnTo>
                <a:lnTo>
                  <a:pt x="1285" y="2180"/>
                </a:lnTo>
                <a:lnTo>
                  <a:pt x="1287" y="2176"/>
                </a:lnTo>
                <a:lnTo>
                  <a:pt x="1289" y="2174"/>
                </a:lnTo>
                <a:lnTo>
                  <a:pt x="1291" y="2173"/>
                </a:lnTo>
                <a:lnTo>
                  <a:pt x="1295" y="2172"/>
                </a:lnTo>
                <a:close/>
                <a:moveTo>
                  <a:pt x="1337" y="2121"/>
                </a:moveTo>
                <a:lnTo>
                  <a:pt x="1340" y="2121"/>
                </a:lnTo>
                <a:lnTo>
                  <a:pt x="1343" y="2121"/>
                </a:lnTo>
                <a:lnTo>
                  <a:pt x="1345" y="2122"/>
                </a:lnTo>
                <a:lnTo>
                  <a:pt x="1347" y="2124"/>
                </a:lnTo>
                <a:lnTo>
                  <a:pt x="1349" y="2125"/>
                </a:lnTo>
                <a:lnTo>
                  <a:pt x="1351" y="2128"/>
                </a:lnTo>
                <a:lnTo>
                  <a:pt x="1351" y="2130"/>
                </a:lnTo>
                <a:lnTo>
                  <a:pt x="1352" y="2132"/>
                </a:lnTo>
                <a:lnTo>
                  <a:pt x="1352" y="2135"/>
                </a:lnTo>
                <a:lnTo>
                  <a:pt x="1351" y="2137"/>
                </a:lnTo>
                <a:lnTo>
                  <a:pt x="1350" y="2139"/>
                </a:lnTo>
                <a:lnTo>
                  <a:pt x="1349" y="2141"/>
                </a:lnTo>
                <a:lnTo>
                  <a:pt x="1347" y="2143"/>
                </a:lnTo>
                <a:lnTo>
                  <a:pt x="1345" y="2144"/>
                </a:lnTo>
                <a:lnTo>
                  <a:pt x="1344" y="2145"/>
                </a:lnTo>
                <a:lnTo>
                  <a:pt x="1341" y="2146"/>
                </a:lnTo>
                <a:lnTo>
                  <a:pt x="1339" y="2146"/>
                </a:lnTo>
                <a:lnTo>
                  <a:pt x="1336" y="2145"/>
                </a:lnTo>
                <a:lnTo>
                  <a:pt x="1333" y="2144"/>
                </a:lnTo>
                <a:lnTo>
                  <a:pt x="1331" y="2143"/>
                </a:lnTo>
                <a:lnTo>
                  <a:pt x="1329" y="2141"/>
                </a:lnTo>
                <a:lnTo>
                  <a:pt x="1328" y="2139"/>
                </a:lnTo>
                <a:lnTo>
                  <a:pt x="1327" y="2137"/>
                </a:lnTo>
                <a:lnTo>
                  <a:pt x="1327" y="2134"/>
                </a:lnTo>
                <a:lnTo>
                  <a:pt x="1327" y="2132"/>
                </a:lnTo>
                <a:lnTo>
                  <a:pt x="1327" y="2129"/>
                </a:lnTo>
                <a:lnTo>
                  <a:pt x="1328" y="2127"/>
                </a:lnTo>
                <a:lnTo>
                  <a:pt x="1330" y="2125"/>
                </a:lnTo>
                <a:lnTo>
                  <a:pt x="1331" y="2123"/>
                </a:lnTo>
                <a:lnTo>
                  <a:pt x="1333" y="2122"/>
                </a:lnTo>
                <a:lnTo>
                  <a:pt x="1335" y="2121"/>
                </a:lnTo>
                <a:lnTo>
                  <a:pt x="1337" y="2121"/>
                </a:lnTo>
                <a:close/>
                <a:moveTo>
                  <a:pt x="1381" y="2071"/>
                </a:moveTo>
                <a:lnTo>
                  <a:pt x="1384" y="2071"/>
                </a:lnTo>
                <a:lnTo>
                  <a:pt x="1386" y="2071"/>
                </a:lnTo>
                <a:lnTo>
                  <a:pt x="1389" y="2072"/>
                </a:lnTo>
                <a:lnTo>
                  <a:pt x="1391" y="2074"/>
                </a:lnTo>
                <a:lnTo>
                  <a:pt x="1393" y="2076"/>
                </a:lnTo>
                <a:lnTo>
                  <a:pt x="1394" y="2078"/>
                </a:lnTo>
                <a:lnTo>
                  <a:pt x="1395" y="2080"/>
                </a:lnTo>
                <a:lnTo>
                  <a:pt x="1396" y="2083"/>
                </a:lnTo>
                <a:lnTo>
                  <a:pt x="1395" y="2088"/>
                </a:lnTo>
                <a:lnTo>
                  <a:pt x="1394" y="2090"/>
                </a:lnTo>
                <a:lnTo>
                  <a:pt x="1392" y="2092"/>
                </a:lnTo>
                <a:lnTo>
                  <a:pt x="1391" y="2093"/>
                </a:lnTo>
                <a:lnTo>
                  <a:pt x="1389" y="2095"/>
                </a:lnTo>
                <a:lnTo>
                  <a:pt x="1387" y="2095"/>
                </a:lnTo>
                <a:lnTo>
                  <a:pt x="1385" y="2096"/>
                </a:lnTo>
                <a:lnTo>
                  <a:pt x="1382" y="2096"/>
                </a:lnTo>
                <a:lnTo>
                  <a:pt x="1380" y="2096"/>
                </a:lnTo>
                <a:lnTo>
                  <a:pt x="1377" y="2095"/>
                </a:lnTo>
                <a:lnTo>
                  <a:pt x="1375" y="2093"/>
                </a:lnTo>
                <a:lnTo>
                  <a:pt x="1373" y="2091"/>
                </a:lnTo>
                <a:lnTo>
                  <a:pt x="1372" y="2089"/>
                </a:lnTo>
                <a:lnTo>
                  <a:pt x="1371" y="2087"/>
                </a:lnTo>
                <a:lnTo>
                  <a:pt x="1370" y="2084"/>
                </a:lnTo>
                <a:lnTo>
                  <a:pt x="1371" y="2079"/>
                </a:lnTo>
                <a:lnTo>
                  <a:pt x="1372" y="2077"/>
                </a:lnTo>
                <a:lnTo>
                  <a:pt x="1374" y="2075"/>
                </a:lnTo>
                <a:lnTo>
                  <a:pt x="1375" y="2074"/>
                </a:lnTo>
                <a:lnTo>
                  <a:pt x="1377" y="2072"/>
                </a:lnTo>
                <a:lnTo>
                  <a:pt x="1379" y="2072"/>
                </a:lnTo>
                <a:lnTo>
                  <a:pt x="1381" y="2071"/>
                </a:lnTo>
                <a:close/>
                <a:moveTo>
                  <a:pt x="1426" y="2023"/>
                </a:moveTo>
                <a:lnTo>
                  <a:pt x="1429" y="2022"/>
                </a:lnTo>
                <a:lnTo>
                  <a:pt x="1432" y="2023"/>
                </a:lnTo>
                <a:lnTo>
                  <a:pt x="1434" y="2024"/>
                </a:lnTo>
                <a:lnTo>
                  <a:pt x="1437" y="2026"/>
                </a:lnTo>
                <a:lnTo>
                  <a:pt x="1438" y="2028"/>
                </a:lnTo>
                <a:lnTo>
                  <a:pt x="1440" y="2030"/>
                </a:lnTo>
                <a:lnTo>
                  <a:pt x="1440" y="2032"/>
                </a:lnTo>
                <a:lnTo>
                  <a:pt x="1441" y="2035"/>
                </a:lnTo>
                <a:lnTo>
                  <a:pt x="1440" y="2039"/>
                </a:lnTo>
                <a:lnTo>
                  <a:pt x="1439" y="2042"/>
                </a:lnTo>
                <a:lnTo>
                  <a:pt x="1437" y="2044"/>
                </a:lnTo>
                <a:lnTo>
                  <a:pt x="1434" y="2046"/>
                </a:lnTo>
                <a:lnTo>
                  <a:pt x="1430" y="2047"/>
                </a:lnTo>
                <a:lnTo>
                  <a:pt x="1427" y="2048"/>
                </a:lnTo>
                <a:lnTo>
                  <a:pt x="1424" y="2047"/>
                </a:lnTo>
                <a:lnTo>
                  <a:pt x="1422" y="2046"/>
                </a:lnTo>
                <a:lnTo>
                  <a:pt x="1419" y="2044"/>
                </a:lnTo>
                <a:lnTo>
                  <a:pt x="1418" y="2042"/>
                </a:lnTo>
                <a:lnTo>
                  <a:pt x="1416" y="2040"/>
                </a:lnTo>
                <a:lnTo>
                  <a:pt x="1416" y="2038"/>
                </a:lnTo>
                <a:lnTo>
                  <a:pt x="1415" y="2035"/>
                </a:lnTo>
                <a:lnTo>
                  <a:pt x="1416" y="2031"/>
                </a:lnTo>
                <a:lnTo>
                  <a:pt x="1417" y="2028"/>
                </a:lnTo>
                <a:lnTo>
                  <a:pt x="1419" y="2026"/>
                </a:lnTo>
                <a:lnTo>
                  <a:pt x="1422" y="2024"/>
                </a:lnTo>
                <a:lnTo>
                  <a:pt x="1426" y="2023"/>
                </a:lnTo>
                <a:close/>
                <a:moveTo>
                  <a:pt x="1472" y="1975"/>
                </a:moveTo>
                <a:lnTo>
                  <a:pt x="1475" y="1975"/>
                </a:lnTo>
                <a:lnTo>
                  <a:pt x="1478" y="1976"/>
                </a:lnTo>
                <a:lnTo>
                  <a:pt x="1481" y="1977"/>
                </a:lnTo>
                <a:lnTo>
                  <a:pt x="1483" y="1979"/>
                </a:lnTo>
                <a:lnTo>
                  <a:pt x="1485" y="1981"/>
                </a:lnTo>
                <a:lnTo>
                  <a:pt x="1486" y="1983"/>
                </a:lnTo>
                <a:lnTo>
                  <a:pt x="1487" y="1985"/>
                </a:lnTo>
                <a:lnTo>
                  <a:pt x="1487" y="1988"/>
                </a:lnTo>
                <a:lnTo>
                  <a:pt x="1487" y="1990"/>
                </a:lnTo>
                <a:lnTo>
                  <a:pt x="1486" y="1993"/>
                </a:lnTo>
                <a:lnTo>
                  <a:pt x="1485" y="1995"/>
                </a:lnTo>
                <a:lnTo>
                  <a:pt x="1483" y="1997"/>
                </a:lnTo>
                <a:lnTo>
                  <a:pt x="1482" y="1998"/>
                </a:lnTo>
                <a:lnTo>
                  <a:pt x="1480" y="1999"/>
                </a:lnTo>
                <a:lnTo>
                  <a:pt x="1476" y="2000"/>
                </a:lnTo>
                <a:lnTo>
                  <a:pt x="1473" y="2000"/>
                </a:lnTo>
                <a:lnTo>
                  <a:pt x="1471" y="2000"/>
                </a:lnTo>
                <a:lnTo>
                  <a:pt x="1468" y="1999"/>
                </a:lnTo>
                <a:lnTo>
                  <a:pt x="1465" y="1997"/>
                </a:lnTo>
                <a:lnTo>
                  <a:pt x="1464" y="1995"/>
                </a:lnTo>
                <a:lnTo>
                  <a:pt x="1463" y="1992"/>
                </a:lnTo>
                <a:lnTo>
                  <a:pt x="1462" y="1990"/>
                </a:lnTo>
                <a:lnTo>
                  <a:pt x="1462" y="1988"/>
                </a:lnTo>
                <a:lnTo>
                  <a:pt x="1462" y="1985"/>
                </a:lnTo>
                <a:lnTo>
                  <a:pt x="1463" y="1983"/>
                </a:lnTo>
                <a:lnTo>
                  <a:pt x="1464" y="1981"/>
                </a:lnTo>
                <a:lnTo>
                  <a:pt x="1465" y="1979"/>
                </a:lnTo>
                <a:lnTo>
                  <a:pt x="1467" y="1978"/>
                </a:lnTo>
                <a:lnTo>
                  <a:pt x="1469" y="1977"/>
                </a:lnTo>
                <a:lnTo>
                  <a:pt x="1472" y="1975"/>
                </a:lnTo>
                <a:close/>
                <a:moveTo>
                  <a:pt x="1520" y="1929"/>
                </a:moveTo>
                <a:lnTo>
                  <a:pt x="1523" y="1929"/>
                </a:lnTo>
                <a:lnTo>
                  <a:pt x="1526" y="1930"/>
                </a:lnTo>
                <a:lnTo>
                  <a:pt x="1529" y="1931"/>
                </a:lnTo>
                <a:lnTo>
                  <a:pt x="1531" y="1933"/>
                </a:lnTo>
                <a:lnTo>
                  <a:pt x="1533" y="1935"/>
                </a:lnTo>
                <a:lnTo>
                  <a:pt x="1534" y="1937"/>
                </a:lnTo>
                <a:lnTo>
                  <a:pt x="1534" y="1942"/>
                </a:lnTo>
                <a:lnTo>
                  <a:pt x="1534" y="1945"/>
                </a:lnTo>
                <a:lnTo>
                  <a:pt x="1533" y="1947"/>
                </a:lnTo>
                <a:lnTo>
                  <a:pt x="1532" y="1949"/>
                </a:lnTo>
                <a:lnTo>
                  <a:pt x="1531" y="1951"/>
                </a:lnTo>
                <a:lnTo>
                  <a:pt x="1527" y="1953"/>
                </a:lnTo>
                <a:lnTo>
                  <a:pt x="1526" y="1954"/>
                </a:lnTo>
                <a:lnTo>
                  <a:pt x="1524" y="1954"/>
                </a:lnTo>
                <a:lnTo>
                  <a:pt x="1521" y="1954"/>
                </a:lnTo>
                <a:lnTo>
                  <a:pt x="1518" y="1954"/>
                </a:lnTo>
                <a:lnTo>
                  <a:pt x="1515" y="1952"/>
                </a:lnTo>
                <a:lnTo>
                  <a:pt x="1513" y="1950"/>
                </a:lnTo>
                <a:lnTo>
                  <a:pt x="1511" y="1948"/>
                </a:lnTo>
                <a:lnTo>
                  <a:pt x="1510" y="1946"/>
                </a:lnTo>
                <a:lnTo>
                  <a:pt x="1509" y="1941"/>
                </a:lnTo>
                <a:lnTo>
                  <a:pt x="1510" y="1939"/>
                </a:lnTo>
                <a:lnTo>
                  <a:pt x="1510" y="1937"/>
                </a:lnTo>
                <a:lnTo>
                  <a:pt x="1512" y="1935"/>
                </a:lnTo>
                <a:lnTo>
                  <a:pt x="1513" y="1933"/>
                </a:lnTo>
                <a:lnTo>
                  <a:pt x="1516" y="1931"/>
                </a:lnTo>
                <a:lnTo>
                  <a:pt x="1518" y="1930"/>
                </a:lnTo>
                <a:lnTo>
                  <a:pt x="1520" y="1929"/>
                </a:lnTo>
                <a:close/>
                <a:moveTo>
                  <a:pt x="1569" y="1885"/>
                </a:moveTo>
                <a:lnTo>
                  <a:pt x="1572" y="1885"/>
                </a:lnTo>
                <a:lnTo>
                  <a:pt x="1575" y="1885"/>
                </a:lnTo>
                <a:lnTo>
                  <a:pt x="1578" y="1887"/>
                </a:lnTo>
                <a:lnTo>
                  <a:pt x="1579" y="1888"/>
                </a:lnTo>
                <a:lnTo>
                  <a:pt x="1580" y="1889"/>
                </a:lnTo>
                <a:lnTo>
                  <a:pt x="1582" y="1891"/>
                </a:lnTo>
                <a:lnTo>
                  <a:pt x="1583" y="1893"/>
                </a:lnTo>
                <a:lnTo>
                  <a:pt x="1583" y="1896"/>
                </a:lnTo>
                <a:lnTo>
                  <a:pt x="1583" y="1898"/>
                </a:lnTo>
                <a:lnTo>
                  <a:pt x="1583" y="1901"/>
                </a:lnTo>
                <a:lnTo>
                  <a:pt x="1582" y="1903"/>
                </a:lnTo>
                <a:lnTo>
                  <a:pt x="1581" y="1905"/>
                </a:lnTo>
                <a:lnTo>
                  <a:pt x="1579" y="1907"/>
                </a:lnTo>
                <a:lnTo>
                  <a:pt x="1576" y="1909"/>
                </a:lnTo>
                <a:lnTo>
                  <a:pt x="1573" y="1910"/>
                </a:lnTo>
                <a:lnTo>
                  <a:pt x="1570" y="1910"/>
                </a:lnTo>
                <a:lnTo>
                  <a:pt x="1567" y="1909"/>
                </a:lnTo>
                <a:lnTo>
                  <a:pt x="1564" y="1908"/>
                </a:lnTo>
                <a:lnTo>
                  <a:pt x="1563" y="1907"/>
                </a:lnTo>
                <a:lnTo>
                  <a:pt x="1561" y="1906"/>
                </a:lnTo>
                <a:lnTo>
                  <a:pt x="1560" y="1904"/>
                </a:lnTo>
                <a:lnTo>
                  <a:pt x="1559" y="1901"/>
                </a:lnTo>
                <a:lnTo>
                  <a:pt x="1558" y="1899"/>
                </a:lnTo>
                <a:lnTo>
                  <a:pt x="1558" y="1897"/>
                </a:lnTo>
                <a:lnTo>
                  <a:pt x="1559" y="1894"/>
                </a:lnTo>
                <a:lnTo>
                  <a:pt x="1560" y="1892"/>
                </a:lnTo>
                <a:lnTo>
                  <a:pt x="1561" y="1890"/>
                </a:lnTo>
                <a:lnTo>
                  <a:pt x="1563" y="1888"/>
                </a:lnTo>
                <a:lnTo>
                  <a:pt x="1565" y="1886"/>
                </a:lnTo>
                <a:lnTo>
                  <a:pt x="1569" y="1885"/>
                </a:lnTo>
                <a:close/>
                <a:moveTo>
                  <a:pt x="1619" y="1842"/>
                </a:moveTo>
                <a:lnTo>
                  <a:pt x="1622" y="1842"/>
                </a:lnTo>
                <a:lnTo>
                  <a:pt x="1625" y="1843"/>
                </a:lnTo>
                <a:lnTo>
                  <a:pt x="1628" y="1844"/>
                </a:lnTo>
                <a:lnTo>
                  <a:pt x="1631" y="1846"/>
                </a:lnTo>
                <a:lnTo>
                  <a:pt x="1632" y="1848"/>
                </a:lnTo>
                <a:lnTo>
                  <a:pt x="1633" y="1851"/>
                </a:lnTo>
                <a:lnTo>
                  <a:pt x="1634" y="1853"/>
                </a:lnTo>
                <a:lnTo>
                  <a:pt x="1634" y="1856"/>
                </a:lnTo>
                <a:lnTo>
                  <a:pt x="1633" y="1858"/>
                </a:lnTo>
                <a:lnTo>
                  <a:pt x="1632" y="1860"/>
                </a:lnTo>
                <a:lnTo>
                  <a:pt x="1631" y="1862"/>
                </a:lnTo>
                <a:lnTo>
                  <a:pt x="1629" y="1864"/>
                </a:lnTo>
                <a:lnTo>
                  <a:pt x="1626" y="1866"/>
                </a:lnTo>
                <a:lnTo>
                  <a:pt x="1623" y="1867"/>
                </a:lnTo>
                <a:lnTo>
                  <a:pt x="1620" y="1867"/>
                </a:lnTo>
                <a:lnTo>
                  <a:pt x="1617" y="1866"/>
                </a:lnTo>
                <a:lnTo>
                  <a:pt x="1614" y="1865"/>
                </a:lnTo>
                <a:lnTo>
                  <a:pt x="1611" y="1862"/>
                </a:lnTo>
                <a:lnTo>
                  <a:pt x="1610" y="1860"/>
                </a:lnTo>
                <a:lnTo>
                  <a:pt x="1609" y="1858"/>
                </a:lnTo>
                <a:lnTo>
                  <a:pt x="1609" y="1856"/>
                </a:lnTo>
                <a:lnTo>
                  <a:pt x="1609" y="1853"/>
                </a:lnTo>
                <a:lnTo>
                  <a:pt x="1609" y="1851"/>
                </a:lnTo>
                <a:lnTo>
                  <a:pt x="1610" y="1849"/>
                </a:lnTo>
                <a:lnTo>
                  <a:pt x="1611" y="1846"/>
                </a:lnTo>
                <a:lnTo>
                  <a:pt x="1613" y="1845"/>
                </a:lnTo>
                <a:lnTo>
                  <a:pt x="1616" y="1843"/>
                </a:lnTo>
                <a:lnTo>
                  <a:pt x="1619" y="1842"/>
                </a:lnTo>
                <a:close/>
                <a:moveTo>
                  <a:pt x="1671" y="1801"/>
                </a:moveTo>
                <a:lnTo>
                  <a:pt x="1674" y="1801"/>
                </a:lnTo>
                <a:lnTo>
                  <a:pt x="1677" y="1801"/>
                </a:lnTo>
                <a:lnTo>
                  <a:pt x="1680" y="1803"/>
                </a:lnTo>
                <a:lnTo>
                  <a:pt x="1683" y="1805"/>
                </a:lnTo>
                <a:lnTo>
                  <a:pt x="1685" y="1810"/>
                </a:lnTo>
                <a:lnTo>
                  <a:pt x="1685" y="1812"/>
                </a:lnTo>
                <a:lnTo>
                  <a:pt x="1685" y="1815"/>
                </a:lnTo>
                <a:lnTo>
                  <a:pt x="1685" y="1817"/>
                </a:lnTo>
                <a:lnTo>
                  <a:pt x="1684" y="1819"/>
                </a:lnTo>
                <a:lnTo>
                  <a:pt x="1682" y="1821"/>
                </a:lnTo>
                <a:lnTo>
                  <a:pt x="1681" y="1823"/>
                </a:lnTo>
                <a:lnTo>
                  <a:pt x="1679" y="1824"/>
                </a:lnTo>
                <a:lnTo>
                  <a:pt x="1678" y="1825"/>
                </a:lnTo>
                <a:lnTo>
                  <a:pt x="1675" y="1825"/>
                </a:lnTo>
                <a:lnTo>
                  <a:pt x="1672" y="1826"/>
                </a:lnTo>
                <a:lnTo>
                  <a:pt x="1668" y="1825"/>
                </a:lnTo>
                <a:lnTo>
                  <a:pt x="1665" y="1823"/>
                </a:lnTo>
                <a:lnTo>
                  <a:pt x="1663" y="1821"/>
                </a:lnTo>
                <a:lnTo>
                  <a:pt x="1661" y="1816"/>
                </a:lnTo>
                <a:lnTo>
                  <a:pt x="1660" y="1814"/>
                </a:lnTo>
                <a:lnTo>
                  <a:pt x="1660" y="1811"/>
                </a:lnTo>
                <a:lnTo>
                  <a:pt x="1661" y="1809"/>
                </a:lnTo>
                <a:lnTo>
                  <a:pt x="1662" y="1807"/>
                </a:lnTo>
                <a:lnTo>
                  <a:pt x="1663" y="1805"/>
                </a:lnTo>
                <a:lnTo>
                  <a:pt x="1665" y="1803"/>
                </a:lnTo>
                <a:lnTo>
                  <a:pt x="1666" y="1802"/>
                </a:lnTo>
                <a:lnTo>
                  <a:pt x="1668" y="1802"/>
                </a:lnTo>
                <a:lnTo>
                  <a:pt x="1671" y="1801"/>
                </a:lnTo>
                <a:close/>
                <a:moveTo>
                  <a:pt x="1724" y="1761"/>
                </a:moveTo>
                <a:lnTo>
                  <a:pt x="1727" y="1761"/>
                </a:lnTo>
                <a:lnTo>
                  <a:pt x="1731" y="1762"/>
                </a:lnTo>
                <a:lnTo>
                  <a:pt x="1734" y="1764"/>
                </a:lnTo>
                <a:lnTo>
                  <a:pt x="1736" y="1766"/>
                </a:lnTo>
                <a:lnTo>
                  <a:pt x="1737" y="1768"/>
                </a:lnTo>
                <a:lnTo>
                  <a:pt x="1738" y="1771"/>
                </a:lnTo>
                <a:lnTo>
                  <a:pt x="1739" y="1773"/>
                </a:lnTo>
                <a:lnTo>
                  <a:pt x="1738" y="1776"/>
                </a:lnTo>
                <a:lnTo>
                  <a:pt x="1738" y="1778"/>
                </a:lnTo>
                <a:lnTo>
                  <a:pt x="1737" y="1780"/>
                </a:lnTo>
                <a:lnTo>
                  <a:pt x="1735" y="1782"/>
                </a:lnTo>
                <a:lnTo>
                  <a:pt x="1733" y="1784"/>
                </a:lnTo>
                <a:lnTo>
                  <a:pt x="1731" y="1785"/>
                </a:lnTo>
                <a:lnTo>
                  <a:pt x="1728" y="1786"/>
                </a:lnTo>
                <a:lnTo>
                  <a:pt x="1725" y="1786"/>
                </a:lnTo>
                <a:lnTo>
                  <a:pt x="1721" y="1785"/>
                </a:lnTo>
                <a:lnTo>
                  <a:pt x="1718" y="1784"/>
                </a:lnTo>
                <a:lnTo>
                  <a:pt x="1716" y="1781"/>
                </a:lnTo>
                <a:lnTo>
                  <a:pt x="1714" y="1779"/>
                </a:lnTo>
                <a:lnTo>
                  <a:pt x="1714" y="1776"/>
                </a:lnTo>
                <a:lnTo>
                  <a:pt x="1713" y="1774"/>
                </a:lnTo>
                <a:lnTo>
                  <a:pt x="1714" y="1772"/>
                </a:lnTo>
                <a:lnTo>
                  <a:pt x="1714" y="1769"/>
                </a:lnTo>
                <a:lnTo>
                  <a:pt x="1715" y="1767"/>
                </a:lnTo>
                <a:lnTo>
                  <a:pt x="1717" y="1765"/>
                </a:lnTo>
                <a:lnTo>
                  <a:pt x="1719" y="1763"/>
                </a:lnTo>
                <a:lnTo>
                  <a:pt x="1721" y="1762"/>
                </a:lnTo>
                <a:lnTo>
                  <a:pt x="1724" y="1761"/>
                </a:lnTo>
                <a:close/>
                <a:moveTo>
                  <a:pt x="1778" y="1724"/>
                </a:moveTo>
                <a:lnTo>
                  <a:pt x="1782" y="1723"/>
                </a:lnTo>
                <a:lnTo>
                  <a:pt x="1785" y="1724"/>
                </a:lnTo>
                <a:lnTo>
                  <a:pt x="1788" y="1726"/>
                </a:lnTo>
                <a:lnTo>
                  <a:pt x="1791" y="1729"/>
                </a:lnTo>
                <a:lnTo>
                  <a:pt x="1792" y="1731"/>
                </a:lnTo>
                <a:lnTo>
                  <a:pt x="1793" y="1734"/>
                </a:lnTo>
                <a:lnTo>
                  <a:pt x="1793" y="1738"/>
                </a:lnTo>
                <a:lnTo>
                  <a:pt x="1792" y="1741"/>
                </a:lnTo>
                <a:lnTo>
                  <a:pt x="1791" y="1743"/>
                </a:lnTo>
                <a:lnTo>
                  <a:pt x="1789" y="1745"/>
                </a:lnTo>
                <a:lnTo>
                  <a:pt x="1787" y="1746"/>
                </a:lnTo>
                <a:lnTo>
                  <a:pt x="1785" y="1748"/>
                </a:lnTo>
                <a:lnTo>
                  <a:pt x="1783" y="1748"/>
                </a:lnTo>
                <a:lnTo>
                  <a:pt x="1779" y="1748"/>
                </a:lnTo>
                <a:lnTo>
                  <a:pt x="1775" y="1748"/>
                </a:lnTo>
                <a:lnTo>
                  <a:pt x="1772" y="1746"/>
                </a:lnTo>
                <a:lnTo>
                  <a:pt x="1770" y="1743"/>
                </a:lnTo>
                <a:lnTo>
                  <a:pt x="1769" y="1741"/>
                </a:lnTo>
                <a:lnTo>
                  <a:pt x="1768" y="1738"/>
                </a:lnTo>
                <a:lnTo>
                  <a:pt x="1768" y="1733"/>
                </a:lnTo>
                <a:lnTo>
                  <a:pt x="1769" y="1731"/>
                </a:lnTo>
                <a:lnTo>
                  <a:pt x="1770" y="1729"/>
                </a:lnTo>
                <a:lnTo>
                  <a:pt x="1771" y="1727"/>
                </a:lnTo>
                <a:lnTo>
                  <a:pt x="1773" y="1725"/>
                </a:lnTo>
                <a:lnTo>
                  <a:pt x="1776" y="1724"/>
                </a:lnTo>
                <a:lnTo>
                  <a:pt x="1778" y="1724"/>
                </a:lnTo>
                <a:close/>
                <a:moveTo>
                  <a:pt x="2917" y="1515"/>
                </a:moveTo>
                <a:lnTo>
                  <a:pt x="2921" y="1515"/>
                </a:lnTo>
                <a:lnTo>
                  <a:pt x="2924" y="1516"/>
                </a:lnTo>
                <a:lnTo>
                  <a:pt x="2926" y="1517"/>
                </a:lnTo>
                <a:lnTo>
                  <a:pt x="2928" y="1518"/>
                </a:lnTo>
                <a:lnTo>
                  <a:pt x="2930" y="1520"/>
                </a:lnTo>
                <a:lnTo>
                  <a:pt x="2931" y="1522"/>
                </a:lnTo>
                <a:lnTo>
                  <a:pt x="2932" y="1524"/>
                </a:lnTo>
                <a:lnTo>
                  <a:pt x="2932" y="1527"/>
                </a:lnTo>
                <a:lnTo>
                  <a:pt x="2932" y="1529"/>
                </a:lnTo>
                <a:lnTo>
                  <a:pt x="2932" y="1531"/>
                </a:lnTo>
                <a:lnTo>
                  <a:pt x="2931" y="1533"/>
                </a:lnTo>
                <a:lnTo>
                  <a:pt x="2930" y="1535"/>
                </a:lnTo>
                <a:lnTo>
                  <a:pt x="2929" y="1536"/>
                </a:lnTo>
                <a:lnTo>
                  <a:pt x="2927" y="1538"/>
                </a:lnTo>
                <a:lnTo>
                  <a:pt x="2926" y="1539"/>
                </a:lnTo>
                <a:lnTo>
                  <a:pt x="2922" y="1540"/>
                </a:lnTo>
                <a:lnTo>
                  <a:pt x="2918" y="1540"/>
                </a:lnTo>
                <a:lnTo>
                  <a:pt x="2916" y="1540"/>
                </a:lnTo>
                <a:lnTo>
                  <a:pt x="2913" y="1539"/>
                </a:lnTo>
                <a:lnTo>
                  <a:pt x="2911" y="1537"/>
                </a:lnTo>
                <a:lnTo>
                  <a:pt x="2910" y="1535"/>
                </a:lnTo>
                <a:lnTo>
                  <a:pt x="2908" y="1533"/>
                </a:lnTo>
                <a:lnTo>
                  <a:pt x="2908" y="1531"/>
                </a:lnTo>
                <a:lnTo>
                  <a:pt x="2907" y="1529"/>
                </a:lnTo>
                <a:lnTo>
                  <a:pt x="2907" y="1526"/>
                </a:lnTo>
                <a:lnTo>
                  <a:pt x="2908" y="1524"/>
                </a:lnTo>
                <a:lnTo>
                  <a:pt x="2908" y="1522"/>
                </a:lnTo>
                <a:lnTo>
                  <a:pt x="2909" y="1521"/>
                </a:lnTo>
                <a:lnTo>
                  <a:pt x="2911" y="1519"/>
                </a:lnTo>
                <a:lnTo>
                  <a:pt x="2912" y="1518"/>
                </a:lnTo>
                <a:lnTo>
                  <a:pt x="2914" y="1517"/>
                </a:lnTo>
                <a:lnTo>
                  <a:pt x="2917" y="1515"/>
                </a:lnTo>
                <a:close/>
                <a:moveTo>
                  <a:pt x="1834" y="1688"/>
                </a:moveTo>
                <a:lnTo>
                  <a:pt x="1838" y="1688"/>
                </a:lnTo>
                <a:lnTo>
                  <a:pt x="1841" y="1689"/>
                </a:lnTo>
                <a:lnTo>
                  <a:pt x="1844" y="1691"/>
                </a:lnTo>
                <a:lnTo>
                  <a:pt x="1846" y="1692"/>
                </a:lnTo>
                <a:lnTo>
                  <a:pt x="1847" y="1694"/>
                </a:lnTo>
                <a:lnTo>
                  <a:pt x="1848" y="1696"/>
                </a:lnTo>
                <a:lnTo>
                  <a:pt x="1849" y="1698"/>
                </a:lnTo>
                <a:lnTo>
                  <a:pt x="1849" y="1701"/>
                </a:lnTo>
                <a:lnTo>
                  <a:pt x="1848" y="1703"/>
                </a:lnTo>
                <a:lnTo>
                  <a:pt x="1848" y="1706"/>
                </a:lnTo>
                <a:lnTo>
                  <a:pt x="1846" y="1708"/>
                </a:lnTo>
                <a:lnTo>
                  <a:pt x="1845" y="1710"/>
                </a:lnTo>
                <a:lnTo>
                  <a:pt x="1843" y="1711"/>
                </a:lnTo>
                <a:lnTo>
                  <a:pt x="1841" y="1712"/>
                </a:lnTo>
                <a:lnTo>
                  <a:pt x="1838" y="1713"/>
                </a:lnTo>
                <a:lnTo>
                  <a:pt x="1835" y="1713"/>
                </a:lnTo>
                <a:lnTo>
                  <a:pt x="1831" y="1712"/>
                </a:lnTo>
                <a:lnTo>
                  <a:pt x="1828" y="1710"/>
                </a:lnTo>
                <a:lnTo>
                  <a:pt x="1827" y="1709"/>
                </a:lnTo>
                <a:lnTo>
                  <a:pt x="1825" y="1707"/>
                </a:lnTo>
                <a:lnTo>
                  <a:pt x="1824" y="1705"/>
                </a:lnTo>
                <a:lnTo>
                  <a:pt x="1824" y="1702"/>
                </a:lnTo>
                <a:lnTo>
                  <a:pt x="1824" y="1700"/>
                </a:lnTo>
                <a:lnTo>
                  <a:pt x="1824" y="1697"/>
                </a:lnTo>
                <a:lnTo>
                  <a:pt x="1825" y="1695"/>
                </a:lnTo>
                <a:lnTo>
                  <a:pt x="1826" y="1693"/>
                </a:lnTo>
                <a:lnTo>
                  <a:pt x="1827" y="1691"/>
                </a:lnTo>
                <a:lnTo>
                  <a:pt x="1830" y="1690"/>
                </a:lnTo>
                <a:lnTo>
                  <a:pt x="1832" y="1689"/>
                </a:lnTo>
                <a:lnTo>
                  <a:pt x="1834" y="1688"/>
                </a:lnTo>
                <a:close/>
                <a:moveTo>
                  <a:pt x="2852" y="1507"/>
                </a:moveTo>
                <a:lnTo>
                  <a:pt x="2855" y="1507"/>
                </a:lnTo>
                <a:lnTo>
                  <a:pt x="2858" y="1508"/>
                </a:lnTo>
                <a:lnTo>
                  <a:pt x="2860" y="1509"/>
                </a:lnTo>
                <a:lnTo>
                  <a:pt x="2861" y="1509"/>
                </a:lnTo>
                <a:lnTo>
                  <a:pt x="2862" y="1510"/>
                </a:lnTo>
                <a:lnTo>
                  <a:pt x="2864" y="1512"/>
                </a:lnTo>
                <a:lnTo>
                  <a:pt x="2865" y="1514"/>
                </a:lnTo>
                <a:lnTo>
                  <a:pt x="2866" y="1516"/>
                </a:lnTo>
                <a:lnTo>
                  <a:pt x="2867" y="1519"/>
                </a:lnTo>
                <a:lnTo>
                  <a:pt x="2866" y="1521"/>
                </a:lnTo>
                <a:lnTo>
                  <a:pt x="2866" y="1523"/>
                </a:lnTo>
                <a:lnTo>
                  <a:pt x="2865" y="1525"/>
                </a:lnTo>
                <a:lnTo>
                  <a:pt x="2864" y="1527"/>
                </a:lnTo>
                <a:lnTo>
                  <a:pt x="2863" y="1529"/>
                </a:lnTo>
                <a:lnTo>
                  <a:pt x="2860" y="1531"/>
                </a:lnTo>
                <a:lnTo>
                  <a:pt x="2858" y="1532"/>
                </a:lnTo>
                <a:lnTo>
                  <a:pt x="2856" y="1532"/>
                </a:lnTo>
                <a:lnTo>
                  <a:pt x="2853" y="1532"/>
                </a:lnTo>
                <a:lnTo>
                  <a:pt x="2850" y="1532"/>
                </a:lnTo>
                <a:lnTo>
                  <a:pt x="2848" y="1531"/>
                </a:lnTo>
                <a:lnTo>
                  <a:pt x="2847" y="1530"/>
                </a:lnTo>
                <a:lnTo>
                  <a:pt x="2846" y="1529"/>
                </a:lnTo>
                <a:lnTo>
                  <a:pt x="2844" y="1528"/>
                </a:lnTo>
                <a:lnTo>
                  <a:pt x="2843" y="1526"/>
                </a:lnTo>
                <a:lnTo>
                  <a:pt x="2842" y="1523"/>
                </a:lnTo>
                <a:lnTo>
                  <a:pt x="2841" y="1521"/>
                </a:lnTo>
                <a:lnTo>
                  <a:pt x="2841" y="1518"/>
                </a:lnTo>
                <a:lnTo>
                  <a:pt x="2842" y="1516"/>
                </a:lnTo>
                <a:lnTo>
                  <a:pt x="2843" y="1514"/>
                </a:lnTo>
                <a:lnTo>
                  <a:pt x="2844" y="1513"/>
                </a:lnTo>
                <a:lnTo>
                  <a:pt x="2845" y="1511"/>
                </a:lnTo>
                <a:lnTo>
                  <a:pt x="2848" y="1509"/>
                </a:lnTo>
                <a:lnTo>
                  <a:pt x="2850" y="1508"/>
                </a:lnTo>
                <a:lnTo>
                  <a:pt x="2852" y="1507"/>
                </a:lnTo>
                <a:close/>
                <a:moveTo>
                  <a:pt x="2786" y="1500"/>
                </a:moveTo>
                <a:lnTo>
                  <a:pt x="2790" y="1500"/>
                </a:lnTo>
                <a:lnTo>
                  <a:pt x="2792" y="1500"/>
                </a:lnTo>
                <a:lnTo>
                  <a:pt x="2794" y="1501"/>
                </a:lnTo>
                <a:lnTo>
                  <a:pt x="2795" y="1502"/>
                </a:lnTo>
                <a:lnTo>
                  <a:pt x="2796" y="1503"/>
                </a:lnTo>
                <a:lnTo>
                  <a:pt x="2798" y="1504"/>
                </a:lnTo>
                <a:lnTo>
                  <a:pt x="2799" y="1506"/>
                </a:lnTo>
                <a:lnTo>
                  <a:pt x="2800" y="1509"/>
                </a:lnTo>
                <a:lnTo>
                  <a:pt x="2801" y="1511"/>
                </a:lnTo>
                <a:lnTo>
                  <a:pt x="2801" y="1514"/>
                </a:lnTo>
                <a:lnTo>
                  <a:pt x="2800" y="1518"/>
                </a:lnTo>
                <a:lnTo>
                  <a:pt x="2799" y="1519"/>
                </a:lnTo>
                <a:lnTo>
                  <a:pt x="2797" y="1521"/>
                </a:lnTo>
                <a:lnTo>
                  <a:pt x="2794" y="1523"/>
                </a:lnTo>
                <a:lnTo>
                  <a:pt x="2792" y="1524"/>
                </a:lnTo>
                <a:lnTo>
                  <a:pt x="2790" y="1525"/>
                </a:lnTo>
                <a:lnTo>
                  <a:pt x="2787" y="1525"/>
                </a:lnTo>
                <a:lnTo>
                  <a:pt x="2784" y="1524"/>
                </a:lnTo>
                <a:lnTo>
                  <a:pt x="2782" y="1523"/>
                </a:lnTo>
                <a:lnTo>
                  <a:pt x="2781" y="1523"/>
                </a:lnTo>
                <a:lnTo>
                  <a:pt x="2780" y="1522"/>
                </a:lnTo>
                <a:lnTo>
                  <a:pt x="2778" y="1520"/>
                </a:lnTo>
                <a:lnTo>
                  <a:pt x="2777" y="1518"/>
                </a:lnTo>
                <a:lnTo>
                  <a:pt x="2776" y="1516"/>
                </a:lnTo>
                <a:lnTo>
                  <a:pt x="2776" y="1514"/>
                </a:lnTo>
                <a:lnTo>
                  <a:pt x="2776" y="1511"/>
                </a:lnTo>
                <a:lnTo>
                  <a:pt x="2777" y="1507"/>
                </a:lnTo>
                <a:lnTo>
                  <a:pt x="2778" y="1505"/>
                </a:lnTo>
                <a:lnTo>
                  <a:pt x="2779" y="1504"/>
                </a:lnTo>
                <a:lnTo>
                  <a:pt x="2782" y="1501"/>
                </a:lnTo>
                <a:lnTo>
                  <a:pt x="2784" y="1500"/>
                </a:lnTo>
                <a:lnTo>
                  <a:pt x="2786" y="1500"/>
                </a:lnTo>
                <a:close/>
                <a:moveTo>
                  <a:pt x="1891" y="1655"/>
                </a:moveTo>
                <a:lnTo>
                  <a:pt x="1895" y="1654"/>
                </a:lnTo>
                <a:lnTo>
                  <a:pt x="1899" y="1656"/>
                </a:lnTo>
                <a:lnTo>
                  <a:pt x="1900" y="1656"/>
                </a:lnTo>
                <a:lnTo>
                  <a:pt x="1902" y="1658"/>
                </a:lnTo>
                <a:lnTo>
                  <a:pt x="1904" y="1661"/>
                </a:lnTo>
                <a:lnTo>
                  <a:pt x="1906" y="1666"/>
                </a:lnTo>
                <a:lnTo>
                  <a:pt x="1906" y="1668"/>
                </a:lnTo>
                <a:lnTo>
                  <a:pt x="1905" y="1670"/>
                </a:lnTo>
                <a:lnTo>
                  <a:pt x="1904" y="1673"/>
                </a:lnTo>
                <a:lnTo>
                  <a:pt x="1903" y="1675"/>
                </a:lnTo>
                <a:lnTo>
                  <a:pt x="1901" y="1676"/>
                </a:lnTo>
                <a:lnTo>
                  <a:pt x="1899" y="1678"/>
                </a:lnTo>
                <a:lnTo>
                  <a:pt x="1897" y="1679"/>
                </a:lnTo>
                <a:lnTo>
                  <a:pt x="1895" y="1679"/>
                </a:lnTo>
                <a:lnTo>
                  <a:pt x="1892" y="1679"/>
                </a:lnTo>
                <a:lnTo>
                  <a:pt x="1888" y="1678"/>
                </a:lnTo>
                <a:lnTo>
                  <a:pt x="1886" y="1677"/>
                </a:lnTo>
                <a:lnTo>
                  <a:pt x="1885" y="1676"/>
                </a:lnTo>
                <a:lnTo>
                  <a:pt x="1882" y="1673"/>
                </a:lnTo>
                <a:lnTo>
                  <a:pt x="1881" y="1668"/>
                </a:lnTo>
                <a:lnTo>
                  <a:pt x="1881" y="1666"/>
                </a:lnTo>
                <a:lnTo>
                  <a:pt x="1881" y="1664"/>
                </a:lnTo>
                <a:lnTo>
                  <a:pt x="1882" y="1661"/>
                </a:lnTo>
                <a:lnTo>
                  <a:pt x="1883" y="1659"/>
                </a:lnTo>
                <a:lnTo>
                  <a:pt x="1885" y="1657"/>
                </a:lnTo>
                <a:lnTo>
                  <a:pt x="1887" y="1656"/>
                </a:lnTo>
                <a:lnTo>
                  <a:pt x="1889" y="1655"/>
                </a:lnTo>
                <a:lnTo>
                  <a:pt x="1891" y="1655"/>
                </a:lnTo>
                <a:close/>
                <a:moveTo>
                  <a:pt x="2720" y="1493"/>
                </a:moveTo>
                <a:lnTo>
                  <a:pt x="2724" y="1493"/>
                </a:lnTo>
                <a:lnTo>
                  <a:pt x="2726" y="1493"/>
                </a:lnTo>
                <a:lnTo>
                  <a:pt x="2728" y="1494"/>
                </a:lnTo>
                <a:lnTo>
                  <a:pt x="2730" y="1495"/>
                </a:lnTo>
                <a:lnTo>
                  <a:pt x="2731" y="1496"/>
                </a:lnTo>
                <a:lnTo>
                  <a:pt x="2732" y="1497"/>
                </a:lnTo>
                <a:lnTo>
                  <a:pt x="2734" y="1499"/>
                </a:lnTo>
                <a:lnTo>
                  <a:pt x="2734" y="1502"/>
                </a:lnTo>
                <a:lnTo>
                  <a:pt x="2735" y="1504"/>
                </a:lnTo>
                <a:lnTo>
                  <a:pt x="2735" y="1507"/>
                </a:lnTo>
                <a:lnTo>
                  <a:pt x="2734" y="1511"/>
                </a:lnTo>
                <a:lnTo>
                  <a:pt x="2733" y="1512"/>
                </a:lnTo>
                <a:lnTo>
                  <a:pt x="2732" y="1514"/>
                </a:lnTo>
                <a:lnTo>
                  <a:pt x="2728" y="1516"/>
                </a:lnTo>
                <a:lnTo>
                  <a:pt x="2727" y="1517"/>
                </a:lnTo>
                <a:lnTo>
                  <a:pt x="2725" y="1518"/>
                </a:lnTo>
                <a:lnTo>
                  <a:pt x="2721" y="1518"/>
                </a:lnTo>
                <a:lnTo>
                  <a:pt x="2719" y="1517"/>
                </a:lnTo>
                <a:lnTo>
                  <a:pt x="2716" y="1516"/>
                </a:lnTo>
                <a:lnTo>
                  <a:pt x="2714" y="1515"/>
                </a:lnTo>
                <a:lnTo>
                  <a:pt x="2713" y="1513"/>
                </a:lnTo>
                <a:lnTo>
                  <a:pt x="2711" y="1511"/>
                </a:lnTo>
                <a:lnTo>
                  <a:pt x="2710" y="1509"/>
                </a:lnTo>
                <a:lnTo>
                  <a:pt x="2710" y="1507"/>
                </a:lnTo>
                <a:lnTo>
                  <a:pt x="2710" y="1504"/>
                </a:lnTo>
                <a:lnTo>
                  <a:pt x="2711" y="1500"/>
                </a:lnTo>
                <a:lnTo>
                  <a:pt x="2712" y="1498"/>
                </a:lnTo>
                <a:lnTo>
                  <a:pt x="2713" y="1497"/>
                </a:lnTo>
                <a:lnTo>
                  <a:pt x="2716" y="1494"/>
                </a:lnTo>
                <a:lnTo>
                  <a:pt x="2718" y="1493"/>
                </a:lnTo>
                <a:lnTo>
                  <a:pt x="2720" y="1493"/>
                </a:lnTo>
                <a:close/>
                <a:moveTo>
                  <a:pt x="1949" y="1624"/>
                </a:moveTo>
                <a:lnTo>
                  <a:pt x="1953" y="1623"/>
                </a:lnTo>
                <a:lnTo>
                  <a:pt x="1955" y="1624"/>
                </a:lnTo>
                <a:lnTo>
                  <a:pt x="1957" y="1625"/>
                </a:lnTo>
                <a:lnTo>
                  <a:pt x="1959" y="1626"/>
                </a:lnTo>
                <a:lnTo>
                  <a:pt x="1960" y="1627"/>
                </a:lnTo>
                <a:lnTo>
                  <a:pt x="1963" y="1630"/>
                </a:lnTo>
                <a:lnTo>
                  <a:pt x="1964" y="1633"/>
                </a:lnTo>
                <a:lnTo>
                  <a:pt x="1964" y="1635"/>
                </a:lnTo>
                <a:lnTo>
                  <a:pt x="1964" y="1637"/>
                </a:lnTo>
                <a:lnTo>
                  <a:pt x="1964" y="1640"/>
                </a:lnTo>
                <a:lnTo>
                  <a:pt x="1963" y="1642"/>
                </a:lnTo>
                <a:lnTo>
                  <a:pt x="1962" y="1643"/>
                </a:lnTo>
                <a:lnTo>
                  <a:pt x="1961" y="1644"/>
                </a:lnTo>
                <a:lnTo>
                  <a:pt x="1959" y="1646"/>
                </a:lnTo>
                <a:lnTo>
                  <a:pt x="1957" y="1647"/>
                </a:lnTo>
                <a:lnTo>
                  <a:pt x="1954" y="1648"/>
                </a:lnTo>
                <a:lnTo>
                  <a:pt x="1950" y="1648"/>
                </a:lnTo>
                <a:lnTo>
                  <a:pt x="1948" y="1648"/>
                </a:lnTo>
                <a:lnTo>
                  <a:pt x="1946" y="1647"/>
                </a:lnTo>
                <a:lnTo>
                  <a:pt x="1944" y="1646"/>
                </a:lnTo>
                <a:lnTo>
                  <a:pt x="1943" y="1645"/>
                </a:lnTo>
                <a:lnTo>
                  <a:pt x="1940" y="1642"/>
                </a:lnTo>
                <a:lnTo>
                  <a:pt x="1939" y="1639"/>
                </a:lnTo>
                <a:lnTo>
                  <a:pt x="1939" y="1637"/>
                </a:lnTo>
                <a:lnTo>
                  <a:pt x="1939" y="1634"/>
                </a:lnTo>
                <a:lnTo>
                  <a:pt x="1940" y="1632"/>
                </a:lnTo>
                <a:lnTo>
                  <a:pt x="1941" y="1630"/>
                </a:lnTo>
                <a:lnTo>
                  <a:pt x="1941" y="1629"/>
                </a:lnTo>
                <a:lnTo>
                  <a:pt x="1942" y="1628"/>
                </a:lnTo>
                <a:lnTo>
                  <a:pt x="1944" y="1626"/>
                </a:lnTo>
                <a:lnTo>
                  <a:pt x="1946" y="1625"/>
                </a:lnTo>
                <a:lnTo>
                  <a:pt x="1949" y="1624"/>
                </a:lnTo>
                <a:close/>
                <a:moveTo>
                  <a:pt x="2654" y="1486"/>
                </a:moveTo>
                <a:lnTo>
                  <a:pt x="2658" y="1486"/>
                </a:lnTo>
                <a:lnTo>
                  <a:pt x="2660" y="1487"/>
                </a:lnTo>
                <a:lnTo>
                  <a:pt x="2663" y="1488"/>
                </a:lnTo>
                <a:lnTo>
                  <a:pt x="2665" y="1489"/>
                </a:lnTo>
                <a:lnTo>
                  <a:pt x="2666" y="1491"/>
                </a:lnTo>
                <a:lnTo>
                  <a:pt x="2668" y="1493"/>
                </a:lnTo>
                <a:lnTo>
                  <a:pt x="2669" y="1495"/>
                </a:lnTo>
                <a:lnTo>
                  <a:pt x="2669" y="1497"/>
                </a:lnTo>
                <a:lnTo>
                  <a:pt x="2669" y="1500"/>
                </a:lnTo>
                <a:lnTo>
                  <a:pt x="2668" y="1504"/>
                </a:lnTo>
                <a:lnTo>
                  <a:pt x="2667" y="1506"/>
                </a:lnTo>
                <a:lnTo>
                  <a:pt x="2666" y="1507"/>
                </a:lnTo>
                <a:lnTo>
                  <a:pt x="2663" y="1510"/>
                </a:lnTo>
                <a:lnTo>
                  <a:pt x="2661" y="1511"/>
                </a:lnTo>
                <a:lnTo>
                  <a:pt x="2659" y="1511"/>
                </a:lnTo>
                <a:lnTo>
                  <a:pt x="2655" y="1511"/>
                </a:lnTo>
                <a:lnTo>
                  <a:pt x="2653" y="1511"/>
                </a:lnTo>
                <a:lnTo>
                  <a:pt x="2651" y="1510"/>
                </a:lnTo>
                <a:lnTo>
                  <a:pt x="2649" y="1508"/>
                </a:lnTo>
                <a:lnTo>
                  <a:pt x="2647" y="1507"/>
                </a:lnTo>
                <a:lnTo>
                  <a:pt x="2646" y="1505"/>
                </a:lnTo>
                <a:lnTo>
                  <a:pt x="2645" y="1503"/>
                </a:lnTo>
                <a:lnTo>
                  <a:pt x="2644" y="1500"/>
                </a:lnTo>
                <a:lnTo>
                  <a:pt x="2644" y="1498"/>
                </a:lnTo>
                <a:lnTo>
                  <a:pt x="2645" y="1493"/>
                </a:lnTo>
                <a:lnTo>
                  <a:pt x="2646" y="1492"/>
                </a:lnTo>
                <a:lnTo>
                  <a:pt x="2647" y="1490"/>
                </a:lnTo>
                <a:lnTo>
                  <a:pt x="2651" y="1488"/>
                </a:lnTo>
                <a:lnTo>
                  <a:pt x="2652" y="1487"/>
                </a:lnTo>
                <a:lnTo>
                  <a:pt x="2654" y="1486"/>
                </a:lnTo>
                <a:close/>
                <a:moveTo>
                  <a:pt x="2009" y="1595"/>
                </a:moveTo>
                <a:lnTo>
                  <a:pt x="2013" y="1595"/>
                </a:lnTo>
                <a:lnTo>
                  <a:pt x="2017" y="1596"/>
                </a:lnTo>
                <a:lnTo>
                  <a:pt x="2020" y="1599"/>
                </a:lnTo>
                <a:lnTo>
                  <a:pt x="2023" y="1602"/>
                </a:lnTo>
                <a:lnTo>
                  <a:pt x="2023" y="1603"/>
                </a:lnTo>
                <a:lnTo>
                  <a:pt x="2024" y="1605"/>
                </a:lnTo>
                <a:lnTo>
                  <a:pt x="2024" y="1607"/>
                </a:lnTo>
                <a:lnTo>
                  <a:pt x="2024" y="1610"/>
                </a:lnTo>
                <a:lnTo>
                  <a:pt x="2023" y="1612"/>
                </a:lnTo>
                <a:lnTo>
                  <a:pt x="2022" y="1614"/>
                </a:lnTo>
                <a:lnTo>
                  <a:pt x="2021" y="1616"/>
                </a:lnTo>
                <a:lnTo>
                  <a:pt x="2019" y="1618"/>
                </a:lnTo>
                <a:lnTo>
                  <a:pt x="2016" y="1619"/>
                </a:lnTo>
                <a:lnTo>
                  <a:pt x="2013" y="1620"/>
                </a:lnTo>
                <a:lnTo>
                  <a:pt x="2009" y="1620"/>
                </a:lnTo>
                <a:lnTo>
                  <a:pt x="2005" y="1619"/>
                </a:lnTo>
                <a:lnTo>
                  <a:pt x="2002" y="1616"/>
                </a:lnTo>
                <a:lnTo>
                  <a:pt x="2000" y="1613"/>
                </a:lnTo>
                <a:lnTo>
                  <a:pt x="1999" y="1611"/>
                </a:lnTo>
                <a:lnTo>
                  <a:pt x="1999" y="1610"/>
                </a:lnTo>
                <a:lnTo>
                  <a:pt x="1999" y="1608"/>
                </a:lnTo>
                <a:lnTo>
                  <a:pt x="1999" y="1605"/>
                </a:lnTo>
                <a:lnTo>
                  <a:pt x="1999" y="1603"/>
                </a:lnTo>
                <a:lnTo>
                  <a:pt x="2001" y="1601"/>
                </a:lnTo>
                <a:lnTo>
                  <a:pt x="2002" y="1599"/>
                </a:lnTo>
                <a:lnTo>
                  <a:pt x="2004" y="1597"/>
                </a:lnTo>
                <a:lnTo>
                  <a:pt x="2006" y="1596"/>
                </a:lnTo>
                <a:lnTo>
                  <a:pt x="2009" y="1595"/>
                </a:lnTo>
                <a:close/>
                <a:moveTo>
                  <a:pt x="2588" y="1481"/>
                </a:moveTo>
                <a:lnTo>
                  <a:pt x="2591" y="1481"/>
                </a:lnTo>
                <a:lnTo>
                  <a:pt x="2594" y="1481"/>
                </a:lnTo>
                <a:lnTo>
                  <a:pt x="2596" y="1482"/>
                </a:lnTo>
                <a:lnTo>
                  <a:pt x="2598" y="1483"/>
                </a:lnTo>
                <a:lnTo>
                  <a:pt x="2600" y="1485"/>
                </a:lnTo>
                <a:lnTo>
                  <a:pt x="2601" y="1487"/>
                </a:lnTo>
                <a:lnTo>
                  <a:pt x="2603" y="1489"/>
                </a:lnTo>
                <a:lnTo>
                  <a:pt x="2603" y="1491"/>
                </a:lnTo>
                <a:lnTo>
                  <a:pt x="2603" y="1494"/>
                </a:lnTo>
                <a:lnTo>
                  <a:pt x="2603" y="1496"/>
                </a:lnTo>
                <a:lnTo>
                  <a:pt x="2602" y="1498"/>
                </a:lnTo>
                <a:lnTo>
                  <a:pt x="2601" y="1500"/>
                </a:lnTo>
                <a:lnTo>
                  <a:pt x="2600" y="1502"/>
                </a:lnTo>
                <a:lnTo>
                  <a:pt x="2599" y="1503"/>
                </a:lnTo>
                <a:lnTo>
                  <a:pt x="2597" y="1504"/>
                </a:lnTo>
                <a:lnTo>
                  <a:pt x="2595" y="1505"/>
                </a:lnTo>
                <a:lnTo>
                  <a:pt x="2593" y="1506"/>
                </a:lnTo>
                <a:lnTo>
                  <a:pt x="2590" y="1506"/>
                </a:lnTo>
                <a:lnTo>
                  <a:pt x="2587" y="1505"/>
                </a:lnTo>
                <a:lnTo>
                  <a:pt x="2585" y="1505"/>
                </a:lnTo>
                <a:lnTo>
                  <a:pt x="2583" y="1503"/>
                </a:lnTo>
                <a:lnTo>
                  <a:pt x="2581" y="1502"/>
                </a:lnTo>
                <a:lnTo>
                  <a:pt x="2580" y="1500"/>
                </a:lnTo>
                <a:lnTo>
                  <a:pt x="2579" y="1497"/>
                </a:lnTo>
                <a:lnTo>
                  <a:pt x="2578" y="1495"/>
                </a:lnTo>
                <a:lnTo>
                  <a:pt x="2578" y="1492"/>
                </a:lnTo>
                <a:lnTo>
                  <a:pt x="2578" y="1490"/>
                </a:lnTo>
                <a:lnTo>
                  <a:pt x="2579" y="1488"/>
                </a:lnTo>
                <a:lnTo>
                  <a:pt x="2580" y="1486"/>
                </a:lnTo>
                <a:lnTo>
                  <a:pt x="2581" y="1485"/>
                </a:lnTo>
                <a:lnTo>
                  <a:pt x="2583" y="1483"/>
                </a:lnTo>
                <a:lnTo>
                  <a:pt x="2585" y="1482"/>
                </a:lnTo>
                <a:lnTo>
                  <a:pt x="2586" y="1481"/>
                </a:lnTo>
                <a:lnTo>
                  <a:pt x="2588" y="1481"/>
                </a:lnTo>
                <a:close/>
                <a:moveTo>
                  <a:pt x="2070" y="1569"/>
                </a:moveTo>
                <a:lnTo>
                  <a:pt x="2074" y="1569"/>
                </a:lnTo>
                <a:lnTo>
                  <a:pt x="2076" y="1570"/>
                </a:lnTo>
                <a:lnTo>
                  <a:pt x="2078" y="1571"/>
                </a:lnTo>
                <a:lnTo>
                  <a:pt x="2080" y="1572"/>
                </a:lnTo>
                <a:lnTo>
                  <a:pt x="2082" y="1573"/>
                </a:lnTo>
                <a:lnTo>
                  <a:pt x="2083" y="1575"/>
                </a:lnTo>
                <a:lnTo>
                  <a:pt x="2084" y="1577"/>
                </a:lnTo>
                <a:lnTo>
                  <a:pt x="2085" y="1579"/>
                </a:lnTo>
                <a:lnTo>
                  <a:pt x="2085" y="1582"/>
                </a:lnTo>
                <a:lnTo>
                  <a:pt x="2084" y="1584"/>
                </a:lnTo>
                <a:lnTo>
                  <a:pt x="2084" y="1587"/>
                </a:lnTo>
                <a:lnTo>
                  <a:pt x="2083" y="1589"/>
                </a:lnTo>
                <a:lnTo>
                  <a:pt x="2081" y="1591"/>
                </a:lnTo>
                <a:lnTo>
                  <a:pt x="2079" y="1592"/>
                </a:lnTo>
                <a:lnTo>
                  <a:pt x="2077" y="1593"/>
                </a:lnTo>
                <a:lnTo>
                  <a:pt x="2074" y="1594"/>
                </a:lnTo>
                <a:lnTo>
                  <a:pt x="2070" y="1594"/>
                </a:lnTo>
                <a:lnTo>
                  <a:pt x="2068" y="1593"/>
                </a:lnTo>
                <a:lnTo>
                  <a:pt x="2066" y="1593"/>
                </a:lnTo>
                <a:lnTo>
                  <a:pt x="2064" y="1591"/>
                </a:lnTo>
                <a:lnTo>
                  <a:pt x="2063" y="1590"/>
                </a:lnTo>
                <a:lnTo>
                  <a:pt x="2061" y="1588"/>
                </a:lnTo>
                <a:lnTo>
                  <a:pt x="2060" y="1586"/>
                </a:lnTo>
                <a:lnTo>
                  <a:pt x="2060" y="1584"/>
                </a:lnTo>
                <a:lnTo>
                  <a:pt x="2060" y="1581"/>
                </a:lnTo>
                <a:lnTo>
                  <a:pt x="2060" y="1579"/>
                </a:lnTo>
                <a:lnTo>
                  <a:pt x="2061" y="1577"/>
                </a:lnTo>
                <a:lnTo>
                  <a:pt x="2062" y="1574"/>
                </a:lnTo>
                <a:lnTo>
                  <a:pt x="2063" y="1573"/>
                </a:lnTo>
                <a:lnTo>
                  <a:pt x="2065" y="1571"/>
                </a:lnTo>
                <a:lnTo>
                  <a:pt x="2068" y="1570"/>
                </a:lnTo>
                <a:lnTo>
                  <a:pt x="2070" y="1569"/>
                </a:lnTo>
                <a:close/>
                <a:moveTo>
                  <a:pt x="2522" y="1479"/>
                </a:moveTo>
                <a:lnTo>
                  <a:pt x="2525" y="1479"/>
                </a:lnTo>
                <a:lnTo>
                  <a:pt x="2527" y="1479"/>
                </a:lnTo>
                <a:lnTo>
                  <a:pt x="2529" y="1480"/>
                </a:lnTo>
                <a:lnTo>
                  <a:pt x="2532" y="1481"/>
                </a:lnTo>
                <a:lnTo>
                  <a:pt x="2533" y="1482"/>
                </a:lnTo>
                <a:lnTo>
                  <a:pt x="2535" y="1484"/>
                </a:lnTo>
                <a:lnTo>
                  <a:pt x="2536" y="1486"/>
                </a:lnTo>
                <a:lnTo>
                  <a:pt x="2537" y="1489"/>
                </a:lnTo>
                <a:lnTo>
                  <a:pt x="2537" y="1491"/>
                </a:lnTo>
                <a:lnTo>
                  <a:pt x="2536" y="1496"/>
                </a:lnTo>
                <a:lnTo>
                  <a:pt x="2535" y="1498"/>
                </a:lnTo>
                <a:lnTo>
                  <a:pt x="2534" y="1499"/>
                </a:lnTo>
                <a:lnTo>
                  <a:pt x="2531" y="1502"/>
                </a:lnTo>
                <a:lnTo>
                  <a:pt x="2527" y="1504"/>
                </a:lnTo>
                <a:lnTo>
                  <a:pt x="2525" y="1504"/>
                </a:lnTo>
                <a:lnTo>
                  <a:pt x="2522" y="1504"/>
                </a:lnTo>
                <a:lnTo>
                  <a:pt x="2520" y="1503"/>
                </a:lnTo>
                <a:lnTo>
                  <a:pt x="2518" y="1502"/>
                </a:lnTo>
                <a:lnTo>
                  <a:pt x="2516" y="1500"/>
                </a:lnTo>
                <a:lnTo>
                  <a:pt x="2514" y="1498"/>
                </a:lnTo>
                <a:lnTo>
                  <a:pt x="2513" y="1496"/>
                </a:lnTo>
                <a:lnTo>
                  <a:pt x="2512" y="1494"/>
                </a:lnTo>
                <a:lnTo>
                  <a:pt x="2512" y="1491"/>
                </a:lnTo>
                <a:lnTo>
                  <a:pt x="2513" y="1487"/>
                </a:lnTo>
                <a:lnTo>
                  <a:pt x="2514" y="1485"/>
                </a:lnTo>
                <a:lnTo>
                  <a:pt x="2515" y="1483"/>
                </a:lnTo>
                <a:lnTo>
                  <a:pt x="2518" y="1480"/>
                </a:lnTo>
                <a:lnTo>
                  <a:pt x="2522" y="1479"/>
                </a:lnTo>
                <a:close/>
                <a:moveTo>
                  <a:pt x="2132" y="1546"/>
                </a:moveTo>
                <a:lnTo>
                  <a:pt x="2136" y="1546"/>
                </a:lnTo>
                <a:lnTo>
                  <a:pt x="2139" y="1547"/>
                </a:lnTo>
                <a:lnTo>
                  <a:pt x="2141" y="1548"/>
                </a:lnTo>
                <a:lnTo>
                  <a:pt x="2144" y="1551"/>
                </a:lnTo>
                <a:lnTo>
                  <a:pt x="2145" y="1552"/>
                </a:lnTo>
                <a:lnTo>
                  <a:pt x="2146" y="1555"/>
                </a:lnTo>
                <a:lnTo>
                  <a:pt x="2147" y="1560"/>
                </a:lnTo>
                <a:lnTo>
                  <a:pt x="2146" y="1562"/>
                </a:lnTo>
                <a:lnTo>
                  <a:pt x="2145" y="1564"/>
                </a:lnTo>
                <a:lnTo>
                  <a:pt x="2144" y="1566"/>
                </a:lnTo>
                <a:lnTo>
                  <a:pt x="2143" y="1568"/>
                </a:lnTo>
                <a:lnTo>
                  <a:pt x="2141" y="1569"/>
                </a:lnTo>
                <a:lnTo>
                  <a:pt x="2138" y="1571"/>
                </a:lnTo>
                <a:lnTo>
                  <a:pt x="2136" y="1571"/>
                </a:lnTo>
                <a:lnTo>
                  <a:pt x="2132" y="1571"/>
                </a:lnTo>
                <a:lnTo>
                  <a:pt x="2130" y="1570"/>
                </a:lnTo>
                <a:lnTo>
                  <a:pt x="2128" y="1570"/>
                </a:lnTo>
                <a:lnTo>
                  <a:pt x="2124" y="1567"/>
                </a:lnTo>
                <a:lnTo>
                  <a:pt x="2123" y="1565"/>
                </a:lnTo>
                <a:lnTo>
                  <a:pt x="2122" y="1563"/>
                </a:lnTo>
                <a:lnTo>
                  <a:pt x="2122" y="1558"/>
                </a:lnTo>
                <a:lnTo>
                  <a:pt x="2122" y="1555"/>
                </a:lnTo>
                <a:lnTo>
                  <a:pt x="2123" y="1553"/>
                </a:lnTo>
                <a:lnTo>
                  <a:pt x="2124" y="1551"/>
                </a:lnTo>
                <a:lnTo>
                  <a:pt x="2126" y="1549"/>
                </a:lnTo>
                <a:lnTo>
                  <a:pt x="2128" y="1548"/>
                </a:lnTo>
                <a:lnTo>
                  <a:pt x="2130" y="1547"/>
                </a:lnTo>
                <a:lnTo>
                  <a:pt x="2132" y="1546"/>
                </a:lnTo>
                <a:close/>
                <a:moveTo>
                  <a:pt x="2456" y="1481"/>
                </a:moveTo>
                <a:lnTo>
                  <a:pt x="2458" y="1481"/>
                </a:lnTo>
                <a:lnTo>
                  <a:pt x="2463" y="1482"/>
                </a:lnTo>
                <a:lnTo>
                  <a:pt x="2465" y="1483"/>
                </a:lnTo>
                <a:lnTo>
                  <a:pt x="2467" y="1484"/>
                </a:lnTo>
                <a:lnTo>
                  <a:pt x="2468" y="1486"/>
                </a:lnTo>
                <a:lnTo>
                  <a:pt x="2470" y="1488"/>
                </a:lnTo>
                <a:lnTo>
                  <a:pt x="2471" y="1490"/>
                </a:lnTo>
                <a:lnTo>
                  <a:pt x="2471" y="1493"/>
                </a:lnTo>
                <a:lnTo>
                  <a:pt x="2471" y="1495"/>
                </a:lnTo>
                <a:lnTo>
                  <a:pt x="2470" y="1497"/>
                </a:lnTo>
                <a:lnTo>
                  <a:pt x="2470" y="1499"/>
                </a:lnTo>
                <a:lnTo>
                  <a:pt x="2468" y="1501"/>
                </a:lnTo>
                <a:lnTo>
                  <a:pt x="2467" y="1503"/>
                </a:lnTo>
                <a:lnTo>
                  <a:pt x="2465" y="1504"/>
                </a:lnTo>
                <a:lnTo>
                  <a:pt x="2463" y="1505"/>
                </a:lnTo>
                <a:lnTo>
                  <a:pt x="2461" y="1506"/>
                </a:lnTo>
                <a:lnTo>
                  <a:pt x="2459" y="1506"/>
                </a:lnTo>
                <a:lnTo>
                  <a:pt x="2454" y="1505"/>
                </a:lnTo>
                <a:lnTo>
                  <a:pt x="2452" y="1504"/>
                </a:lnTo>
                <a:lnTo>
                  <a:pt x="2450" y="1503"/>
                </a:lnTo>
                <a:lnTo>
                  <a:pt x="2448" y="1501"/>
                </a:lnTo>
                <a:lnTo>
                  <a:pt x="2447" y="1499"/>
                </a:lnTo>
                <a:lnTo>
                  <a:pt x="2446" y="1497"/>
                </a:lnTo>
                <a:lnTo>
                  <a:pt x="2446" y="1494"/>
                </a:lnTo>
                <a:lnTo>
                  <a:pt x="2446" y="1492"/>
                </a:lnTo>
                <a:lnTo>
                  <a:pt x="2446" y="1490"/>
                </a:lnTo>
                <a:lnTo>
                  <a:pt x="2447" y="1487"/>
                </a:lnTo>
                <a:lnTo>
                  <a:pt x="2449" y="1486"/>
                </a:lnTo>
                <a:lnTo>
                  <a:pt x="2450" y="1484"/>
                </a:lnTo>
                <a:lnTo>
                  <a:pt x="2452" y="1483"/>
                </a:lnTo>
                <a:lnTo>
                  <a:pt x="2454" y="1482"/>
                </a:lnTo>
                <a:lnTo>
                  <a:pt x="2456" y="1481"/>
                </a:lnTo>
                <a:close/>
                <a:moveTo>
                  <a:pt x="2195" y="1526"/>
                </a:moveTo>
                <a:lnTo>
                  <a:pt x="2200" y="1526"/>
                </a:lnTo>
                <a:lnTo>
                  <a:pt x="2202" y="1527"/>
                </a:lnTo>
                <a:lnTo>
                  <a:pt x="2204" y="1528"/>
                </a:lnTo>
                <a:lnTo>
                  <a:pt x="2206" y="1529"/>
                </a:lnTo>
                <a:lnTo>
                  <a:pt x="2207" y="1531"/>
                </a:lnTo>
                <a:lnTo>
                  <a:pt x="2208" y="1533"/>
                </a:lnTo>
                <a:lnTo>
                  <a:pt x="2210" y="1535"/>
                </a:lnTo>
                <a:lnTo>
                  <a:pt x="2211" y="1538"/>
                </a:lnTo>
                <a:lnTo>
                  <a:pt x="2211" y="1540"/>
                </a:lnTo>
                <a:lnTo>
                  <a:pt x="2210" y="1543"/>
                </a:lnTo>
                <a:lnTo>
                  <a:pt x="2208" y="1545"/>
                </a:lnTo>
                <a:lnTo>
                  <a:pt x="2207" y="1547"/>
                </a:lnTo>
                <a:lnTo>
                  <a:pt x="2205" y="1549"/>
                </a:lnTo>
                <a:lnTo>
                  <a:pt x="2203" y="1550"/>
                </a:lnTo>
                <a:lnTo>
                  <a:pt x="2201" y="1551"/>
                </a:lnTo>
                <a:lnTo>
                  <a:pt x="2198" y="1551"/>
                </a:lnTo>
                <a:lnTo>
                  <a:pt x="2195" y="1551"/>
                </a:lnTo>
                <a:lnTo>
                  <a:pt x="2193" y="1550"/>
                </a:lnTo>
                <a:lnTo>
                  <a:pt x="2191" y="1549"/>
                </a:lnTo>
                <a:lnTo>
                  <a:pt x="2189" y="1548"/>
                </a:lnTo>
                <a:lnTo>
                  <a:pt x="2187" y="1546"/>
                </a:lnTo>
                <a:lnTo>
                  <a:pt x="2186" y="1544"/>
                </a:lnTo>
                <a:lnTo>
                  <a:pt x="2185" y="1542"/>
                </a:lnTo>
                <a:lnTo>
                  <a:pt x="2185" y="1540"/>
                </a:lnTo>
                <a:lnTo>
                  <a:pt x="2185" y="1537"/>
                </a:lnTo>
                <a:lnTo>
                  <a:pt x="2185" y="1535"/>
                </a:lnTo>
                <a:lnTo>
                  <a:pt x="2186" y="1533"/>
                </a:lnTo>
                <a:lnTo>
                  <a:pt x="2188" y="1531"/>
                </a:lnTo>
                <a:lnTo>
                  <a:pt x="2189" y="1529"/>
                </a:lnTo>
                <a:lnTo>
                  <a:pt x="2191" y="1528"/>
                </a:lnTo>
                <a:lnTo>
                  <a:pt x="2194" y="1527"/>
                </a:lnTo>
                <a:lnTo>
                  <a:pt x="2195" y="1526"/>
                </a:lnTo>
                <a:close/>
                <a:moveTo>
                  <a:pt x="2390" y="1487"/>
                </a:moveTo>
                <a:lnTo>
                  <a:pt x="2393" y="1487"/>
                </a:lnTo>
                <a:lnTo>
                  <a:pt x="2396" y="1487"/>
                </a:lnTo>
                <a:lnTo>
                  <a:pt x="2398" y="1488"/>
                </a:lnTo>
                <a:lnTo>
                  <a:pt x="2400" y="1489"/>
                </a:lnTo>
                <a:lnTo>
                  <a:pt x="2402" y="1491"/>
                </a:lnTo>
                <a:lnTo>
                  <a:pt x="2403" y="1493"/>
                </a:lnTo>
                <a:lnTo>
                  <a:pt x="2404" y="1495"/>
                </a:lnTo>
                <a:lnTo>
                  <a:pt x="2405" y="1498"/>
                </a:lnTo>
                <a:lnTo>
                  <a:pt x="2405" y="1500"/>
                </a:lnTo>
                <a:lnTo>
                  <a:pt x="2405" y="1503"/>
                </a:lnTo>
                <a:lnTo>
                  <a:pt x="2404" y="1505"/>
                </a:lnTo>
                <a:lnTo>
                  <a:pt x="2403" y="1507"/>
                </a:lnTo>
                <a:lnTo>
                  <a:pt x="2401" y="1509"/>
                </a:lnTo>
                <a:lnTo>
                  <a:pt x="2399" y="1510"/>
                </a:lnTo>
                <a:lnTo>
                  <a:pt x="2397" y="1511"/>
                </a:lnTo>
                <a:lnTo>
                  <a:pt x="2395" y="1512"/>
                </a:lnTo>
                <a:lnTo>
                  <a:pt x="2392" y="1512"/>
                </a:lnTo>
                <a:lnTo>
                  <a:pt x="2389" y="1511"/>
                </a:lnTo>
                <a:lnTo>
                  <a:pt x="2387" y="1510"/>
                </a:lnTo>
                <a:lnTo>
                  <a:pt x="2385" y="1509"/>
                </a:lnTo>
                <a:lnTo>
                  <a:pt x="2383" y="1508"/>
                </a:lnTo>
                <a:lnTo>
                  <a:pt x="2382" y="1506"/>
                </a:lnTo>
                <a:lnTo>
                  <a:pt x="2381" y="1503"/>
                </a:lnTo>
                <a:lnTo>
                  <a:pt x="2380" y="1501"/>
                </a:lnTo>
                <a:lnTo>
                  <a:pt x="2380" y="1498"/>
                </a:lnTo>
                <a:lnTo>
                  <a:pt x="2380" y="1496"/>
                </a:lnTo>
                <a:lnTo>
                  <a:pt x="2381" y="1494"/>
                </a:lnTo>
                <a:lnTo>
                  <a:pt x="2382" y="1492"/>
                </a:lnTo>
                <a:lnTo>
                  <a:pt x="2384" y="1490"/>
                </a:lnTo>
                <a:lnTo>
                  <a:pt x="2386" y="1489"/>
                </a:lnTo>
                <a:lnTo>
                  <a:pt x="2388" y="1488"/>
                </a:lnTo>
                <a:lnTo>
                  <a:pt x="2390" y="1487"/>
                </a:lnTo>
                <a:close/>
                <a:moveTo>
                  <a:pt x="2260" y="1510"/>
                </a:moveTo>
                <a:lnTo>
                  <a:pt x="2265" y="1510"/>
                </a:lnTo>
                <a:lnTo>
                  <a:pt x="2267" y="1511"/>
                </a:lnTo>
                <a:lnTo>
                  <a:pt x="2269" y="1512"/>
                </a:lnTo>
                <a:lnTo>
                  <a:pt x="2271" y="1513"/>
                </a:lnTo>
                <a:lnTo>
                  <a:pt x="2273" y="1515"/>
                </a:lnTo>
                <a:lnTo>
                  <a:pt x="2274" y="1517"/>
                </a:lnTo>
                <a:lnTo>
                  <a:pt x="2275" y="1519"/>
                </a:lnTo>
                <a:lnTo>
                  <a:pt x="2275" y="1522"/>
                </a:lnTo>
                <a:lnTo>
                  <a:pt x="2275" y="1524"/>
                </a:lnTo>
                <a:lnTo>
                  <a:pt x="2274" y="1527"/>
                </a:lnTo>
                <a:lnTo>
                  <a:pt x="2273" y="1529"/>
                </a:lnTo>
                <a:lnTo>
                  <a:pt x="2271" y="1531"/>
                </a:lnTo>
                <a:lnTo>
                  <a:pt x="2270" y="1532"/>
                </a:lnTo>
                <a:lnTo>
                  <a:pt x="2268" y="1534"/>
                </a:lnTo>
                <a:lnTo>
                  <a:pt x="2265" y="1534"/>
                </a:lnTo>
                <a:lnTo>
                  <a:pt x="2260" y="1534"/>
                </a:lnTo>
                <a:lnTo>
                  <a:pt x="2258" y="1534"/>
                </a:lnTo>
                <a:lnTo>
                  <a:pt x="2255" y="1533"/>
                </a:lnTo>
                <a:lnTo>
                  <a:pt x="2254" y="1531"/>
                </a:lnTo>
                <a:lnTo>
                  <a:pt x="2252" y="1529"/>
                </a:lnTo>
                <a:lnTo>
                  <a:pt x="2251" y="1527"/>
                </a:lnTo>
                <a:lnTo>
                  <a:pt x="2250" y="1525"/>
                </a:lnTo>
                <a:lnTo>
                  <a:pt x="2250" y="1522"/>
                </a:lnTo>
                <a:lnTo>
                  <a:pt x="2250" y="1520"/>
                </a:lnTo>
                <a:lnTo>
                  <a:pt x="2250" y="1518"/>
                </a:lnTo>
                <a:lnTo>
                  <a:pt x="2252" y="1515"/>
                </a:lnTo>
                <a:lnTo>
                  <a:pt x="2253" y="1514"/>
                </a:lnTo>
                <a:lnTo>
                  <a:pt x="2255" y="1512"/>
                </a:lnTo>
                <a:lnTo>
                  <a:pt x="2257" y="1511"/>
                </a:lnTo>
                <a:lnTo>
                  <a:pt x="2259" y="1510"/>
                </a:lnTo>
                <a:lnTo>
                  <a:pt x="2260" y="1510"/>
                </a:lnTo>
                <a:close/>
                <a:moveTo>
                  <a:pt x="2325" y="1497"/>
                </a:moveTo>
                <a:lnTo>
                  <a:pt x="2327" y="1496"/>
                </a:lnTo>
                <a:lnTo>
                  <a:pt x="2330" y="1497"/>
                </a:lnTo>
                <a:lnTo>
                  <a:pt x="2332" y="1497"/>
                </a:lnTo>
                <a:lnTo>
                  <a:pt x="2334" y="1499"/>
                </a:lnTo>
                <a:lnTo>
                  <a:pt x="2336" y="1500"/>
                </a:lnTo>
                <a:lnTo>
                  <a:pt x="2338" y="1502"/>
                </a:lnTo>
                <a:lnTo>
                  <a:pt x="2339" y="1504"/>
                </a:lnTo>
                <a:lnTo>
                  <a:pt x="2339" y="1507"/>
                </a:lnTo>
                <a:lnTo>
                  <a:pt x="2339" y="1512"/>
                </a:lnTo>
                <a:lnTo>
                  <a:pt x="2339" y="1514"/>
                </a:lnTo>
                <a:lnTo>
                  <a:pt x="2337" y="1516"/>
                </a:lnTo>
                <a:lnTo>
                  <a:pt x="2336" y="1518"/>
                </a:lnTo>
                <a:lnTo>
                  <a:pt x="2334" y="1520"/>
                </a:lnTo>
                <a:lnTo>
                  <a:pt x="2332" y="1521"/>
                </a:lnTo>
                <a:lnTo>
                  <a:pt x="2329" y="1521"/>
                </a:lnTo>
                <a:lnTo>
                  <a:pt x="2327" y="1522"/>
                </a:lnTo>
                <a:lnTo>
                  <a:pt x="2324" y="1521"/>
                </a:lnTo>
                <a:lnTo>
                  <a:pt x="2322" y="1520"/>
                </a:lnTo>
                <a:lnTo>
                  <a:pt x="2320" y="1519"/>
                </a:lnTo>
                <a:lnTo>
                  <a:pt x="2318" y="1518"/>
                </a:lnTo>
                <a:lnTo>
                  <a:pt x="2316" y="1516"/>
                </a:lnTo>
                <a:lnTo>
                  <a:pt x="2315" y="1514"/>
                </a:lnTo>
                <a:lnTo>
                  <a:pt x="2315" y="1511"/>
                </a:lnTo>
                <a:lnTo>
                  <a:pt x="2314" y="1509"/>
                </a:lnTo>
                <a:lnTo>
                  <a:pt x="2315" y="1506"/>
                </a:lnTo>
                <a:lnTo>
                  <a:pt x="2316" y="1504"/>
                </a:lnTo>
                <a:lnTo>
                  <a:pt x="2317" y="1502"/>
                </a:lnTo>
                <a:lnTo>
                  <a:pt x="2318" y="1500"/>
                </a:lnTo>
                <a:lnTo>
                  <a:pt x="2320" y="1498"/>
                </a:lnTo>
                <a:lnTo>
                  <a:pt x="2322" y="1497"/>
                </a:lnTo>
                <a:lnTo>
                  <a:pt x="2325" y="1497"/>
                </a:lnTo>
                <a:close/>
                <a:moveTo>
                  <a:pt x="939" y="2269"/>
                </a:moveTo>
                <a:lnTo>
                  <a:pt x="942" y="2269"/>
                </a:lnTo>
                <a:lnTo>
                  <a:pt x="945" y="2269"/>
                </a:lnTo>
                <a:lnTo>
                  <a:pt x="938" y="2269"/>
                </a:lnTo>
                <a:lnTo>
                  <a:pt x="939" y="2269"/>
                </a:lnTo>
                <a:close/>
                <a:moveTo>
                  <a:pt x="973" y="2212"/>
                </a:moveTo>
                <a:lnTo>
                  <a:pt x="978" y="2212"/>
                </a:lnTo>
                <a:lnTo>
                  <a:pt x="980" y="2213"/>
                </a:lnTo>
                <a:lnTo>
                  <a:pt x="982" y="2214"/>
                </a:lnTo>
                <a:lnTo>
                  <a:pt x="984" y="2215"/>
                </a:lnTo>
                <a:lnTo>
                  <a:pt x="986" y="2217"/>
                </a:lnTo>
                <a:lnTo>
                  <a:pt x="987" y="2219"/>
                </a:lnTo>
                <a:lnTo>
                  <a:pt x="988" y="2222"/>
                </a:lnTo>
                <a:lnTo>
                  <a:pt x="988" y="2224"/>
                </a:lnTo>
                <a:lnTo>
                  <a:pt x="988" y="2226"/>
                </a:lnTo>
                <a:lnTo>
                  <a:pt x="987" y="2229"/>
                </a:lnTo>
                <a:lnTo>
                  <a:pt x="986" y="2231"/>
                </a:lnTo>
                <a:lnTo>
                  <a:pt x="985" y="2233"/>
                </a:lnTo>
                <a:lnTo>
                  <a:pt x="982" y="2235"/>
                </a:lnTo>
                <a:lnTo>
                  <a:pt x="980" y="2236"/>
                </a:lnTo>
                <a:lnTo>
                  <a:pt x="978" y="2237"/>
                </a:lnTo>
                <a:lnTo>
                  <a:pt x="973" y="2237"/>
                </a:lnTo>
                <a:lnTo>
                  <a:pt x="971" y="2236"/>
                </a:lnTo>
                <a:lnTo>
                  <a:pt x="969" y="2235"/>
                </a:lnTo>
                <a:lnTo>
                  <a:pt x="967" y="2234"/>
                </a:lnTo>
                <a:lnTo>
                  <a:pt x="965" y="2232"/>
                </a:lnTo>
                <a:lnTo>
                  <a:pt x="964" y="2230"/>
                </a:lnTo>
                <a:lnTo>
                  <a:pt x="963" y="2228"/>
                </a:lnTo>
                <a:lnTo>
                  <a:pt x="963" y="2225"/>
                </a:lnTo>
                <a:lnTo>
                  <a:pt x="963" y="2223"/>
                </a:lnTo>
                <a:lnTo>
                  <a:pt x="963" y="2220"/>
                </a:lnTo>
                <a:lnTo>
                  <a:pt x="965" y="2218"/>
                </a:lnTo>
                <a:lnTo>
                  <a:pt x="966" y="2216"/>
                </a:lnTo>
                <a:lnTo>
                  <a:pt x="968" y="2214"/>
                </a:lnTo>
                <a:lnTo>
                  <a:pt x="971" y="2213"/>
                </a:lnTo>
                <a:lnTo>
                  <a:pt x="973" y="2212"/>
                </a:lnTo>
                <a:close/>
                <a:moveTo>
                  <a:pt x="1008" y="2156"/>
                </a:moveTo>
                <a:lnTo>
                  <a:pt x="1013" y="2156"/>
                </a:lnTo>
                <a:lnTo>
                  <a:pt x="1015" y="2157"/>
                </a:lnTo>
                <a:lnTo>
                  <a:pt x="1017" y="2158"/>
                </a:lnTo>
                <a:lnTo>
                  <a:pt x="1019" y="2159"/>
                </a:lnTo>
                <a:lnTo>
                  <a:pt x="1021" y="2161"/>
                </a:lnTo>
                <a:lnTo>
                  <a:pt x="1022" y="2163"/>
                </a:lnTo>
                <a:lnTo>
                  <a:pt x="1023" y="2166"/>
                </a:lnTo>
                <a:lnTo>
                  <a:pt x="1023" y="2168"/>
                </a:lnTo>
                <a:lnTo>
                  <a:pt x="1023" y="2171"/>
                </a:lnTo>
                <a:lnTo>
                  <a:pt x="1022" y="2173"/>
                </a:lnTo>
                <a:lnTo>
                  <a:pt x="1021" y="2175"/>
                </a:lnTo>
                <a:lnTo>
                  <a:pt x="1019" y="2177"/>
                </a:lnTo>
                <a:lnTo>
                  <a:pt x="1017" y="2179"/>
                </a:lnTo>
                <a:lnTo>
                  <a:pt x="1015" y="2180"/>
                </a:lnTo>
                <a:lnTo>
                  <a:pt x="1013" y="2181"/>
                </a:lnTo>
                <a:lnTo>
                  <a:pt x="1008" y="2181"/>
                </a:lnTo>
                <a:lnTo>
                  <a:pt x="1006" y="2180"/>
                </a:lnTo>
                <a:lnTo>
                  <a:pt x="1004" y="2179"/>
                </a:lnTo>
                <a:lnTo>
                  <a:pt x="1002" y="2178"/>
                </a:lnTo>
                <a:lnTo>
                  <a:pt x="1000" y="2176"/>
                </a:lnTo>
                <a:lnTo>
                  <a:pt x="999" y="2174"/>
                </a:lnTo>
                <a:lnTo>
                  <a:pt x="998" y="2171"/>
                </a:lnTo>
                <a:lnTo>
                  <a:pt x="998" y="2169"/>
                </a:lnTo>
                <a:lnTo>
                  <a:pt x="998" y="2166"/>
                </a:lnTo>
                <a:lnTo>
                  <a:pt x="999" y="2164"/>
                </a:lnTo>
                <a:lnTo>
                  <a:pt x="1000" y="2162"/>
                </a:lnTo>
                <a:lnTo>
                  <a:pt x="1001" y="2160"/>
                </a:lnTo>
                <a:lnTo>
                  <a:pt x="1003" y="2158"/>
                </a:lnTo>
                <a:lnTo>
                  <a:pt x="1006" y="2157"/>
                </a:lnTo>
                <a:lnTo>
                  <a:pt x="1008" y="2156"/>
                </a:lnTo>
                <a:close/>
                <a:moveTo>
                  <a:pt x="1045" y="2101"/>
                </a:moveTo>
                <a:lnTo>
                  <a:pt x="1049" y="2101"/>
                </a:lnTo>
                <a:lnTo>
                  <a:pt x="1052" y="2101"/>
                </a:lnTo>
                <a:lnTo>
                  <a:pt x="1054" y="2103"/>
                </a:lnTo>
                <a:lnTo>
                  <a:pt x="1056" y="2104"/>
                </a:lnTo>
                <a:lnTo>
                  <a:pt x="1057" y="2106"/>
                </a:lnTo>
                <a:lnTo>
                  <a:pt x="1059" y="2108"/>
                </a:lnTo>
                <a:lnTo>
                  <a:pt x="1059" y="2111"/>
                </a:lnTo>
                <a:lnTo>
                  <a:pt x="1059" y="2116"/>
                </a:lnTo>
                <a:lnTo>
                  <a:pt x="1058" y="2118"/>
                </a:lnTo>
                <a:lnTo>
                  <a:pt x="1057" y="2120"/>
                </a:lnTo>
                <a:lnTo>
                  <a:pt x="1056" y="2122"/>
                </a:lnTo>
                <a:lnTo>
                  <a:pt x="1054" y="2124"/>
                </a:lnTo>
                <a:lnTo>
                  <a:pt x="1051" y="2125"/>
                </a:lnTo>
                <a:lnTo>
                  <a:pt x="1049" y="2126"/>
                </a:lnTo>
                <a:lnTo>
                  <a:pt x="1044" y="2126"/>
                </a:lnTo>
                <a:lnTo>
                  <a:pt x="1042" y="2125"/>
                </a:lnTo>
                <a:lnTo>
                  <a:pt x="1040" y="2124"/>
                </a:lnTo>
                <a:lnTo>
                  <a:pt x="1038" y="2122"/>
                </a:lnTo>
                <a:lnTo>
                  <a:pt x="1036" y="2120"/>
                </a:lnTo>
                <a:lnTo>
                  <a:pt x="1035" y="2118"/>
                </a:lnTo>
                <a:lnTo>
                  <a:pt x="1034" y="2116"/>
                </a:lnTo>
                <a:lnTo>
                  <a:pt x="1034" y="2111"/>
                </a:lnTo>
                <a:lnTo>
                  <a:pt x="1035" y="2108"/>
                </a:lnTo>
                <a:lnTo>
                  <a:pt x="1036" y="2106"/>
                </a:lnTo>
                <a:lnTo>
                  <a:pt x="1038" y="2104"/>
                </a:lnTo>
                <a:lnTo>
                  <a:pt x="1040" y="2102"/>
                </a:lnTo>
                <a:lnTo>
                  <a:pt x="1042" y="2101"/>
                </a:lnTo>
                <a:lnTo>
                  <a:pt x="1045" y="2101"/>
                </a:lnTo>
                <a:close/>
                <a:moveTo>
                  <a:pt x="1082" y="2046"/>
                </a:moveTo>
                <a:lnTo>
                  <a:pt x="1087" y="2046"/>
                </a:lnTo>
                <a:lnTo>
                  <a:pt x="1089" y="2047"/>
                </a:lnTo>
                <a:lnTo>
                  <a:pt x="1092" y="2048"/>
                </a:lnTo>
                <a:lnTo>
                  <a:pt x="1094" y="2050"/>
                </a:lnTo>
                <a:lnTo>
                  <a:pt x="1095" y="2052"/>
                </a:lnTo>
                <a:lnTo>
                  <a:pt x="1096" y="2054"/>
                </a:lnTo>
                <a:lnTo>
                  <a:pt x="1097" y="2056"/>
                </a:lnTo>
                <a:lnTo>
                  <a:pt x="1097" y="2061"/>
                </a:lnTo>
                <a:lnTo>
                  <a:pt x="1096" y="2064"/>
                </a:lnTo>
                <a:lnTo>
                  <a:pt x="1095" y="2066"/>
                </a:lnTo>
                <a:lnTo>
                  <a:pt x="1093" y="2068"/>
                </a:lnTo>
                <a:lnTo>
                  <a:pt x="1091" y="2069"/>
                </a:lnTo>
                <a:lnTo>
                  <a:pt x="1089" y="2071"/>
                </a:lnTo>
                <a:lnTo>
                  <a:pt x="1086" y="2071"/>
                </a:lnTo>
                <a:lnTo>
                  <a:pt x="1082" y="2071"/>
                </a:lnTo>
                <a:lnTo>
                  <a:pt x="1079" y="2070"/>
                </a:lnTo>
                <a:lnTo>
                  <a:pt x="1077" y="2069"/>
                </a:lnTo>
                <a:lnTo>
                  <a:pt x="1075" y="2067"/>
                </a:lnTo>
                <a:lnTo>
                  <a:pt x="1073" y="2065"/>
                </a:lnTo>
                <a:lnTo>
                  <a:pt x="1072" y="2063"/>
                </a:lnTo>
                <a:lnTo>
                  <a:pt x="1072" y="2061"/>
                </a:lnTo>
                <a:lnTo>
                  <a:pt x="1072" y="2056"/>
                </a:lnTo>
                <a:lnTo>
                  <a:pt x="1073" y="2054"/>
                </a:lnTo>
                <a:lnTo>
                  <a:pt x="1074" y="2051"/>
                </a:lnTo>
                <a:lnTo>
                  <a:pt x="1076" y="2049"/>
                </a:lnTo>
                <a:lnTo>
                  <a:pt x="1078" y="2048"/>
                </a:lnTo>
                <a:lnTo>
                  <a:pt x="1080" y="2047"/>
                </a:lnTo>
                <a:lnTo>
                  <a:pt x="1082" y="2046"/>
                </a:lnTo>
                <a:close/>
                <a:moveTo>
                  <a:pt x="1121" y="1993"/>
                </a:moveTo>
                <a:lnTo>
                  <a:pt x="1126" y="1993"/>
                </a:lnTo>
                <a:lnTo>
                  <a:pt x="1128" y="1993"/>
                </a:lnTo>
                <a:lnTo>
                  <a:pt x="1131" y="1995"/>
                </a:lnTo>
                <a:lnTo>
                  <a:pt x="1133" y="1997"/>
                </a:lnTo>
                <a:lnTo>
                  <a:pt x="1134" y="1999"/>
                </a:lnTo>
                <a:lnTo>
                  <a:pt x="1135" y="2001"/>
                </a:lnTo>
                <a:lnTo>
                  <a:pt x="1136" y="2003"/>
                </a:lnTo>
                <a:lnTo>
                  <a:pt x="1136" y="2006"/>
                </a:lnTo>
                <a:lnTo>
                  <a:pt x="1135" y="2008"/>
                </a:lnTo>
                <a:lnTo>
                  <a:pt x="1135" y="2010"/>
                </a:lnTo>
                <a:lnTo>
                  <a:pt x="1133" y="2013"/>
                </a:lnTo>
                <a:lnTo>
                  <a:pt x="1132" y="2014"/>
                </a:lnTo>
                <a:lnTo>
                  <a:pt x="1130" y="2016"/>
                </a:lnTo>
                <a:lnTo>
                  <a:pt x="1128" y="2017"/>
                </a:lnTo>
                <a:lnTo>
                  <a:pt x="1125" y="2018"/>
                </a:lnTo>
                <a:lnTo>
                  <a:pt x="1120" y="2017"/>
                </a:lnTo>
                <a:lnTo>
                  <a:pt x="1118" y="2017"/>
                </a:lnTo>
                <a:lnTo>
                  <a:pt x="1115" y="2015"/>
                </a:lnTo>
                <a:lnTo>
                  <a:pt x="1114" y="2014"/>
                </a:lnTo>
                <a:lnTo>
                  <a:pt x="1112" y="2011"/>
                </a:lnTo>
                <a:lnTo>
                  <a:pt x="1111" y="2009"/>
                </a:lnTo>
                <a:lnTo>
                  <a:pt x="1110" y="2007"/>
                </a:lnTo>
                <a:lnTo>
                  <a:pt x="1110" y="2004"/>
                </a:lnTo>
                <a:lnTo>
                  <a:pt x="1111" y="2002"/>
                </a:lnTo>
                <a:lnTo>
                  <a:pt x="1112" y="2000"/>
                </a:lnTo>
                <a:lnTo>
                  <a:pt x="1113" y="1997"/>
                </a:lnTo>
                <a:lnTo>
                  <a:pt x="1115" y="1996"/>
                </a:lnTo>
                <a:lnTo>
                  <a:pt x="1116" y="1994"/>
                </a:lnTo>
                <a:lnTo>
                  <a:pt x="1119" y="1993"/>
                </a:lnTo>
                <a:lnTo>
                  <a:pt x="1121" y="1993"/>
                </a:lnTo>
                <a:close/>
                <a:moveTo>
                  <a:pt x="1161" y="1940"/>
                </a:moveTo>
                <a:lnTo>
                  <a:pt x="1163" y="1940"/>
                </a:lnTo>
                <a:lnTo>
                  <a:pt x="1166" y="1940"/>
                </a:lnTo>
                <a:lnTo>
                  <a:pt x="1169" y="1941"/>
                </a:lnTo>
                <a:lnTo>
                  <a:pt x="1171" y="1942"/>
                </a:lnTo>
                <a:lnTo>
                  <a:pt x="1173" y="1944"/>
                </a:lnTo>
                <a:lnTo>
                  <a:pt x="1174" y="1946"/>
                </a:lnTo>
                <a:lnTo>
                  <a:pt x="1175" y="1948"/>
                </a:lnTo>
                <a:lnTo>
                  <a:pt x="1176" y="1951"/>
                </a:lnTo>
                <a:lnTo>
                  <a:pt x="1176" y="1953"/>
                </a:lnTo>
                <a:lnTo>
                  <a:pt x="1175" y="1956"/>
                </a:lnTo>
                <a:lnTo>
                  <a:pt x="1174" y="1958"/>
                </a:lnTo>
                <a:lnTo>
                  <a:pt x="1173" y="1960"/>
                </a:lnTo>
                <a:lnTo>
                  <a:pt x="1171" y="1962"/>
                </a:lnTo>
                <a:lnTo>
                  <a:pt x="1170" y="1963"/>
                </a:lnTo>
                <a:lnTo>
                  <a:pt x="1168" y="1964"/>
                </a:lnTo>
                <a:lnTo>
                  <a:pt x="1165" y="1965"/>
                </a:lnTo>
                <a:lnTo>
                  <a:pt x="1163" y="1965"/>
                </a:lnTo>
                <a:lnTo>
                  <a:pt x="1160" y="1965"/>
                </a:lnTo>
                <a:lnTo>
                  <a:pt x="1158" y="1964"/>
                </a:lnTo>
                <a:lnTo>
                  <a:pt x="1155" y="1962"/>
                </a:lnTo>
                <a:lnTo>
                  <a:pt x="1153" y="1961"/>
                </a:lnTo>
                <a:lnTo>
                  <a:pt x="1152" y="1959"/>
                </a:lnTo>
                <a:lnTo>
                  <a:pt x="1151" y="1956"/>
                </a:lnTo>
                <a:lnTo>
                  <a:pt x="1150" y="1954"/>
                </a:lnTo>
                <a:lnTo>
                  <a:pt x="1150" y="1952"/>
                </a:lnTo>
                <a:lnTo>
                  <a:pt x="1151" y="1949"/>
                </a:lnTo>
                <a:lnTo>
                  <a:pt x="1152" y="1947"/>
                </a:lnTo>
                <a:lnTo>
                  <a:pt x="1153" y="1945"/>
                </a:lnTo>
                <a:lnTo>
                  <a:pt x="1155" y="1943"/>
                </a:lnTo>
                <a:lnTo>
                  <a:pt x="1157" y="1941"/>
                </a:lnTo>
                <a:lnTo>
                  <a:pt x="1159" y="1940"/>
                </a:lnTo>
                <a:lnTo>
                  <a:pt x="1161" y="1940"/>
                </a:lnTo>
                <a:close/>
                <a:moveTo>
                  <a:pt x="1202" y="1888"/>
                </a:moveTo>
                <a:lnTo>
                  <a:pt x="1205" y="1888"/>
                </a:lnTo>
                <a:lnTo>
                  <a:pt x="1208" y="1888"/>
                </a:lnTo>
                <a:lnTo>
                  <a:pt x="1210" y="1889"/>
                </a:lnTo>
                <a:lnTo>
                  <a:pt x="1213" y="1891"/>
                </a:lnTo>
                <a:lnTo>
                  <a:pt x="1214" y="1893"/>
                </a:lnTo>
                <a:lnTo>
                  <a:pt x="1216" y="1895"/>
                </a:lnTo>
                <a:lnTo>
                  <a:pt x="1217" y="1897"/>
                </a:lnTo>
                <a:lnTo>
                  <a:pt x="1217" y="1900"/>
                </a:lnTo>
                <a:lnTo>
                  <a:pt x="1217" y="1902"/>
                </a:lnTo>
                <a:lnTo>
                  <a:pt x="1217" y="1904"/>
                </a:lnTo>
                <a:lnTo>
                  <a:pt x="1214" y="1909"/>
                </a:lnTo>
                <a:lnTo>
                  <a:pt x="1213" y="1910"/>
                </a:lnTo>
                <a:lnTo>
                  <a:pt x="1211" y="1912"/>
                </a:lnTo>
                <a:lnTo>
                  <a:pt x="1209" y="1913"/>
                </a:lnTo>
                <a:lnTo>
                  <a:pt x="1207" y="1913"/>
                </a:lnTo>
                <a:lnTo>
                  <a:pt x="1204" y="1913"/>
                </a:lnTo>
                <a:lnTo>
                  <a:pt x="1201" y="1913"/>
                </a:lnTo>
                <a:lnTo>
                  <a:pt x="1199" y="1912"/>
                </a:lnTo>
                <a:lnTo>
                  <a:pt x="1196" y="1911"/>
                </a:lnTo>
                <a:lnTo>
                  <a:pt x="1195" y="1909"/>
                </a:lnTo>
                <a:lnTo>
                  <a:pt x="1193" y="1907"/>
                </a:lnTo>
                <a:lnTo>
                  <a:pt x="1192" y="1904"/>
                </a:lnTo>
                <a:lnTo>
                  <a:pt x="1192" y="1902"/>
                </a:lnTo>
                <a:lnTo>
                  <a:pt x="1192" y="1900"/>
                </a:lnTo>
                <a:lnTo>
                  <a:pt x="1192" y="1897"/>
                </a:lnTo>
                <a:lnTo>
                  <a:pt x="1195" y="1893"/>
                </a:lnTo>
                <a:lnTo>
                  <a:pt x="1196" y="1891"/>
                </a:lnTo>
                <a:lnTo>
                  <a:pt x="1198" y="1890"/>
                </a:lnTo>
                <a:lnTo>
                  <a:pt x="1200" y="1889"/>
                </a:lnTo>
                <a:lnTo>
                  <a:pt x="1202" y="1888"/>
                </a:lnTo>
                <a:close/>
                <a:moveTo>
                  <a:pt x="1245" y="1838"/>
                </a:moveTo>
                <a:lnTo>
                  <a:pt x="1248" y="1838"/>
                </a:lnTo>
                <a:lnTo>
                  <a:pt x="1250" y="1838"/>
                </a:lnTo>
                <a:lnTo>
                  <a:pt x="1253" y="1839"/>
                </a:lnTo>
                <a:lnTo>
                  <a:pt x="1255" y="1841"/>
                </a:lnTo>
                <a:lnTo>
                  <a:pt x="1257" y="1842"/>
                </a:lnTo>
                <a:lnTo>
                  <a:pt x="1259" y="1845"/>
                </a:lnTo>
                <a:lnTo>
                  <a:pt x="1259" y="1847"/>
                </a:lnTo>
                <a:lnTo>
                  <a:pt x="1260" y="1849"/>
                </a:lnTo>
                <a:lnTo>
                  <a:pt x="1260" y="1852"/>
                </a:lnTo>
                <a:lnTo>
                  <a:pt x="1259" y="1854"/>
                </a:lnTo>
                <a:lnTo>
                  <a:pt x="1258" y="1856"/>
                </a:lnTo>
                <a:lnTo>
                  <a:pt x="1257" y="1859"/>
                </a:lnTo>
                <a:lnTo>
                  <a:pt x="1255" y="1860"/>
                </a:lnTo>
                <a:lnTo>
                  <a:pt x="1253" y="1861"/>
                </a:lnTo>
                <a:lnTo>
                  <a:pt x="1251" y="1862"/>
                </a:lnTo>
                <a:lnTo>
                  <a:pt x="1249" y="1863"/>
                </a:lnTo>
                <a:lnTo>
                  <a:pt x="1247" y="1863"/>
                </a:lnTo>
                <a:lnTo>
                  <a:pt x="1244" y="1862"/>
                </a:lnTo>
                <a:lnTo>
                  <a:pt x="1241" y="1861"/>
                </a:lnTo>
                <a:lnTo>
                  <a:pt x="1239" y="1860"/>
                </a:lnTo>
                <a:lnTo>
                  <a:pt x="1237" y="1858"/>
                </a:lnTo>
                <a:lnTo>
                  <a:pt x="1236" y="1856"/>
                </a:lnTo>
                <a:lnTo>
                  <a:pt x="1235" y="1853"/>
                </a:lnTo>
                <a:lnTo>
                  <a:pt x="1234" y="1851"/>
                </a:lnTo>
                <a:lnTo>
                  <a:pt x="1235" y="1849"/>
                </a:lnTo>
                <a:lnTo>
                  <a:pt x="1235" y="1846"/>
                </a:lnTo>
                <a:lnTo>
                  <a:pt x="1236" y="1844"/>
                </a:lnTo>
                <a:lnTo>
                  <a:pt x="1238" y="1842"/>
                </a:lnTo>
                <a:lnTo>
                  <a:pt x="1239" y="1840"/>
                </a:lnTo>
                <a:lnTo>
                  <a:pt x="1241" y="1839"/>
                </a:lnTo>
                <a:lnTo>
                  <a:pt x="1243" y="1838"/>
                </a:lnTo>
                <a:lnTo>
                  <a:pt x="1245" y="1838"/>
                </a:lnTo>
                <a:close/>
                <a:moveTo>
                  <a:pt x="1289" y="1788"/>
                </a:moveTo>
                <a:lnTo>
                  <a:pt x="1292" y="1788"/>
                </a:lnTo>
                <a:lnTo>
                  <a:pt x="1295" y="1789"/>
                </a:lnTo>
                <a:lnTo>
                  <a:pt x="1297" y="1790"/>
                </a:lnTo>
                <a:lnTo>
                  <a:pt x="1300" y="1791"/>
                </a:lnTo>
                <a:lnTo>
                  <a:pt x="1301" y="1793"/>
                </a:lnTo>
                <a:lnTo>
                  <a:pt x="1303" y="1796"/>
                </a:lnTo>
                <a:lnTo>
                  <a:pt x="1304" y="1798"/>
                </a:lnTo>
                <a:lnTo>
                  <a:pt x="1304" y="1800"/>
                </a:lnTo>
                <a:lnTo>
                  <a:pt x="1303" y="1805"/>
                </a:lnTo>
                <a:lnTo>
                  <a:pt x="1302" y="1807"/>
                </a:lnTo>
                <a:lnTo>
                  <a:pt x="1301" y="1809"/>
                </a:lnTo>
                <a:lnTo>
                  <a:pt x="1299" y="1811"/>
                </a:lnTo>
                <a:lnTo>
                  <a:pt x="1297" y="1812"/>
                </a:lnTo>
                <a:lnTo>
                  <a:pt x="1295" y="1813"/>
                </a:lnTo>
                <a:lnTo>
                  <a:pt x="1293" y="1813"/>
                </a:lnTo>
                <a:lnTo>
                  <a:pt x="1291" y="1813"/>
                </a:lnTo>
                <a:lnTo>
                  <a:pt x="1288" y="1813"/>
                </a:lnTo>
                <a:lnTo>
                  <a:pt x="1285" y="1812"/>
                </a:lnTo>
                <a:lnTo>
                  <a:pt x="1283" y="1810"/>
                </a:lnTo>
                <a:lnTo>
                  <a:pt x="1281" y="1808"/>
                </a:lnTo>
                <a:lnTo>
                  <a:pt x="1280" y="1806"/>
                </a:lnTo>
                <a:lnTo>
                  <a:pt x="1279" y="1804"/>
                </a:lnTo>
                <a:lnTo>
                  <a:pt x="1278" y="1801"/>
                </a:lnTo>
                <a:lnTo>
                  <a:pt x="1279" y="1797"/>
                </a:lnTo>
                <a:lnTo>
                  <a:pt x="1280" y="1794"/>
                </a:lnTo>
                <a:lnTo>
                  <a:pt x="1282" y="1792"/>
                </a:lnTo>
                <a:lnTo>
                  <a:pt x="1283" y="1791"/>
                </a:lnTo>
                <a:lnTo>
                  <a:pt x="1285" y="1790"/>
                </a:lnTo>
                <a:lnTo>
                  <a:pt x="1287" y="1789"/>
                </a:lnTo>
                <a:lnTo>
                  <a:pt x="1289" y="1788"/>
                </a:lnTo>
                <a:close/>
                <a:moveTo>
                  <a:pt x="1334" y="1740"/>
                </a:moveTo>
                <a:lnTo>
                  <a:pt x="1337" y="1740"/>
                </a:lnTo>
                <a:lnTo>
                  <a:pt x="1340" y="1740"/>
                </a:lnTo>
                <a:lnTo>
                  <a:pt x="1343" y="1742"/>
                </a:lnTo>
                <a:lnTo>
                  <a:pt x="1345" y="1744"/>
                </a:lnTo>
                <a:lnTo>
                  <a:pt x="1347" y="1746"/>
                </a:lnTo>
                <a:lnTo>
                  <a:pt x="1348" y="1748"/>
                </a:lnTo>
                <a:lnTo>
                  <a:pt x="1349" y="1750"/>
                </a:lnTo>
                <a:lnTo>
                  <a:pt x="1349" y="1752"/>
                </a:lnTo>
                <a:lnTo>
                  <a:pt x="1348" y="1757"/>
                </a:lnTo>
                <a:lnTo>
                  <a:pt x="1347" y="1759"/>
                </a:lnTo>
                <a:lnTo>
                  <a:pt x="1346" y="1762"/>
                </a:lnTo>
                <a:lnTo>
                  <a:pt x="1342" y="1764"/>
                </a:lnTo>
                <a:lnTo>
                  <a:pt x="1339" y="1765"/>
                </a:lnTo>
                <a:lnTo>
                  <a:pt x="1336" y="1765"/>
                </a:lnTo>
                <a:lnTo>
                  <a:pt x="1333" y="1765"/>
                </a:lnTo>
                <a:lnTo>
                  <a:pt x="1330" y="1764"/>
                </a:lnTo>
                <a:lnTo>
                  <a:pt x="1328" y="1762"/>
                </a:lnTo>
                <a:lnTo>
                  <a:pt x="1326" y="1760"/>
                </a:lnTo>
                <a:lnTo>
                  <a:pt x="1325" y="1758"/>
                </a:lnTo>
                <a:lnTo>
                  <a:pt x="1324" y="1755"/>
                </a:lnTo>
                <a:lnTo>
                  <a:pt x="1324" y="1753"/>
                </a:lnTo>
                <a:lnTo>
                  <a:pt x="1325" y="1748"/>
                </a:lnTo>
                <a:lnTo>
                  <a:pt x="1326" y="1746"/>
                </a:lnTo>
                <a:lnTo>
                  <a:pt x="1327" y="1744"/>
                </a:lnTo>
                <a:lnTo>
                  <a:pt x="1331" y="1741"/>
                </a:lnTo>
                <a:lnTo>
                  <a:pt x="1334" y="1740"/>
                </a:lnTo>
                <a:close/>
                <a:moveTo>
                  <a:pt x="1381" y="1693"/>
                </a:moveTo>
                <a:lnTo>
                  <a:pt x="1384" y="1693"/>
                </a:lnTo>
                <a:lnTo>
                  <a:pt x="1387" y="1694"/>
                </a:lnTo>
                <a:lnTo>
                  <a:pt x="1390" y="1695"/>
                </a:lnTo>
                <a:lnTo>
                  <a:pt x="1392" y="1697"/>
                </a:lnTo>
                <a:lnTo>
                  <a:pt x="1394" y="1699"/>
                </a:lnTo>
                <a:lnTo>
                  <a:pt x="1395" y="1701"/>
                </a:lnTo>
                <a:lnTo>
                  <a:pt x="1396" y="1704"/>
                </a:lnTo>
                <a:lnTo>
                  <a:pt x="1396" y="1706"/>
                </a:lnTo>
                <a:lnTo>
                  <a:pt x="1396" y="1708"/>
                </a:lnTo>
                <a:lnTo>
                  <a:pt x="1395" y="1711"/>
                </a:lnTo>
                <a:lnTo>
                  <a:pt x="1394" y="1713"/>
                </a:lnTo>
                <a:lnTo>
                  <a:pt x="1392" y="1715"/>
                </a:lnTo>
                <a:lnTo>
                  <a:pt x="1389" y="1717"/>
                </a:lnTo>
                <a:lnTo>
                  <a:pt x="1386" y="1718"/>
                </a:lnTo>
                <a:lnTo>
                  <a:pt x="1382" y="1719"/>
                </a:lnTo>
                <a:lnTo>
                  <a:pt x="1379" y="1718"/>
                </a:lnTo>
                <a:lnTo>
                  <a:pt x="1377" y="1717"/>
                </a:lnTo>
                <a:lnTo>
                  <a:pt x="1374" y="1715"/>
                </a:lnTo>
                <a:lnTo>
                  <a:pt x="1373" y="1713"/>
                </a:lnTo>
                <a:lnTo>
                  <a:pt x="1371" y="1710"/>
                </a:lnTo>
                <a:lnTo>
                  <a:pt x="1371" y="1708"/>
                </a:lnTo>
                <a:lnTo>
                  <a:pt x="1371" y="1706"/>
                </a:lnTo>
                <a:lnTo>
                  <a:pt x="1371" y="1703"/>
                </a:lnTo>
                <a:lnTo>
                  <a:pt x="1372" y="1701"/>
                </a:lnTo>
                <a:lnTo>
                  <a:pt x="1373" y="1699"/>
                </a:lnTo>
                <a:lnTo>
                  <a:pt x="1374" y="1697"/>
                </a:lnTo>
                <a:lnTo>
                  <a:pt x="1378" y="1695"/>
                </a:lnTo>
                <a:lnTo>
                  <a:pt x="1381" y="1693"/>
                </a:lnTo>
                <a:close/>
                <a:moveTo>
                  <a:pt x="1429" y="1648"/>
                </a:moveTo>
                <a:lnTo>
                  <a:pt x="1432" y="1648"/>
                </a:lnTo>
                <a:lnTo>
                  <a:pt x="1435" y="1648"/>
                </a:lnTo>
                <a:lnTo>
                  <a:pt x="1438" y="1650"/>
                </a:lnTo>
                <a:lnTo>
                  <a:pt x="1440" y="1651"/>
                </a:lnTo>
                <a:lnTo>
                  <a:pt x="1441" y="1652"/>
                </a:lnTo>
                <a:lnTo>
                  <a:pt x="1442" y="1654"/>
                </a:lnTo>
                <a:lnTo>
                  <a:pt x="1443" y="1656"/>
                </a:lnTo>
                <a:lnTo>
                  <a:pt x="1444" y="1661"/>
                </a:lnTo>
                <a:lnTo>
                  <a:pt x="1444" y="1663"/>
                </a:lnTo>
                <a:lnTo>
                  <a:pt x="1443" y="1666"/>
                </a:lnTo>
                <a:lnTo>
                  <a:pt x="1442" y="1668"/>
                </a:lnTo>
                <a:lnTo>
                  <a:pt x="1440" y="1670"/>
                </a:lnTo>
                <a:lnTo>
                  <a:pt x="1437" y="1672"/>
                </a:lnTo>
                <a:lnTo>
                  <a:pt x="1435" y="1673"/>
                </a:lnTo>
                <a:lnTo>
                  <a:pt x="1434" y="1673"/>
                </a:lnTo>
                <a:lnTo>
                  <a:pt x="1431" y="1673"/>
                </a:lnTo>
                <a:lnTo>
                  <a:pt x="1427" y="1673"/>
                </a:lnTo>
                <a:lnTo>
                  <a:pt x="1425" y="1671"/>
                </a:lnTo>
                <a:lnTo>
                  <a:pt x="1423" y="1670"/>
                </a:lnTo>
                <a:lnTo>
                  <a:pt x="1422" y="1669"/>
                </a:lnTo>
                <a:lnTo>
                  <a:pt x="1421" y="1667"/>
                </a:lnTo>
                <a:lnTo>
                  <a:pt x="1419" y="1665"/>
                </a:lnTo>
                <a:lnTo>
                  <a:pt x="1419" y="1660"/>
                </a:lnTo>
                <a:lnTo>
                  <a:pt x="1419" y="1658"/>
                </a:lnTo>
                <a:lnTo>
                  <a:pt x="1420" y="1655"/>
                </a:lnTo>
                <a:lnTo>
                  <a:pt x="1421" y="1653"/>
                </a:lnTo>
                <a:lnTo>
                  <a:pt x="1423" y="1651"/>
                </a:lnTo>
                <a:lnTo>
                  <a:pt x="1426" y="1649"/>
                </a:lnTo>
                <a:lnTo>
                  <a:pt x="1428" y="1648"/>
                </a:lnTo>
                <a:lnTo>
                  <a:pt x="1429" y="1648"/>
                </a:lnTo>
                <a:close/>
                <a:moveTo>
                  <a:pt x="1479" y="1604"/>
                </a:moveTo>
                <a:lnTo>
                  <a:pt x="1482" y="1604"/>
                </a:lnTo>
                <a:lnTo>
                  <a:pt x="1485" y="1605"/>
                </a:lnTo>
                <a:lnTo>
                  <a:pt x="1488" y="1606"/>
                </a:lnTo>
                <a:lnTo>
                  <a:pt x="1489" y="1607"/>
                </a:lnTo>
                <a:lnTo>
                  <a:pt x="1491" y="1608"/>
                </a:lnTo>
                <a:lnTo>
                  <a:pt x="1492" y="1611"/>
                </a:lnTo>
                <a:lnTo>
                  <a:pt x="1493" y="1613"/>
                </a:lnTo>
                <a:lnTo>
                  <a:pt x="1494" y="1615"/>
                </a:lnTo>
                <a:lnTo>
                  <a:pt x="1494" y="1618"/>
                </a:lnTo>
                <a:lnTo>
                  <a:pt x="1493" y="1620"/>
                </a:lnTo>
                <a:lnTo>
                  <a:pt x="1492" y="1622"/>
                </a:lnTo>
                <a:lnTo>
                  <a:pt x="1491" y="1624"/>
                </a:lnTo>
                <a:lnTo>
                  <a:pt x="1489" y="1626"/>
                </a:lnTo>
                <a:lnTo>
                  <a:pt x="1488" y="1627"/>
                </a:lnTo>
                <a:lnTo>
                  <a:pt x="1486" y="1628"/>
                </a:lnTo>
                <a:lnTo>
                  <a:pt x="1483" y="1629"/>
                </a:lnTo>
                <a:lnTo>
                  <a:pt x="1480" y="1629"/>
                </a:lnTo>
                <a:lnTo>
                  <a:pt x="1477" y="1629"/>
                </a:lnTo>
                <a:lnTo>
                  <a:pt x="1474" y="1627"/>
                </a:lnTo>
                <a:lnTo>
                  <a:pt x="1473" y="1626"/>
                </a:lnTo>
                <a:lnTo>
                  <a:pt x="1471" y="1625"/>
                </a:lnTo>
                <a:lnTo>
                  <a:pt x="1470" y="1623"/>
                </a:lnTo>
                <a:lnTo>
                  <a:pt x="1469" y="1621"/>
                </a:lnTo>
                <a:lnTo>
                  <a:pt x="1468" y="1618"/>
                </a:lnTo>
                <a:lnTo>
                  <a:pt x="1468" y="1616"/>
                </a:lnTo>
                <a:lnTo>
                  <a:pt x="1469" y="1613"/>
                </a:lnTo>
                <a:lnTo>
                  <a:pt x="1470" y="1611"/>
                </a:lnTo>
                <a:lnTo>
                  <a:pt x="1471" y="1609"/>
                </a:lnTo>
                <a:lnTo>
                  <a:pt x="1473" y="1607"/>
                </a:lnTo>
                <a:lnTo>
                  <a:pt x="1474" y="1606"/>
                </a:lnTo>
                <a:lnTo>
                  <a:pt x="1476" y="1605"/>
                </a:lnTo>
                <a:lnTo>
                  <a:pt x="1479" y="1604"/>
                </a:lnTo>
                <a:close/>
                <a:moveTo>
                  <a:pt x="1530" y="1562"/>
                </a:moveTo>
                <a:lnTo>
                  <a:pt x="1533" y="1562"/>
                </a:lnTo>
                <a:lnTo>
                  <a:pt x="1536" y="1563"/>
                </a:lnTo>
                <a:lnTo>
                  <a:pt x="1539" y="1564"/>
                </a:lnTo>
                <a:lnTo>
                  <a:pt x="1542" y="1567"/>
                </a:lnTo>
                <a:lnTo>
                  <a:pt x="1543" y="1569"/>
                </a:lnTo>
                <a:lnTo>
                  <a:pt x="1544" y="1571"/>
                </a:lnTo>
                <a:lnTo>
                  <a:pt x="1545" y="1574"/>
                </a:lnTo>
                <a:lnTo>
                  <a:pt x="1545" y="1576"/>
                </a:lnTo>
                <a:lnTo>
                  <a:pt x="1543" y="1581"/>
                </a:lnTo>
                <a:lnTo>
                  <a:pt x="1543" y="1582"/>
                </a:lnTo>
                <a:lnTo>
                  <a:pt x="1542" y="1583"/>
                </a:lnTo>
                <a:lnTo>
                  <a:pt x="1540" y="1584"/>
                </a:lnTo>
                <a:lnTo>
                  <a:pt x="1537" y="1586"/>
                </a:lnTo>
                <a:lnTo>
                  <a:pt x="1534" y="1587"/>
                </a:lnTo>
                <a:lnTo>
                  <a:pt x="1531" y="1587"/>
                </a:lnTo>
                <a:lnTo>
                  <a:pt x="1528" y="1586"/>
                </a:lnTo>
                <a:lnTo>
                  <a:pt x="1525" y="1585"/>
                </a:lnTo>
                <a:lnTo>
                  <a:pt x="1522" y="1582"/>
                </a:lnTo>
                <a:lnTo>
                  <a:pt x="1521" y="1580"/>
                </a:lnTo>
                <a:lnTo>
                  <a:pt x="1520" y="1578"/>
                </a:lnTo>
                <a:lnTo>
                  <a:pt x="1519" y="1576"/>
                </a:lnTo>
                <a:lnTo>
                  <a:pt x="1519" y="1573"/>
                </a:lnTo>
                <a:lnTo>
                  <a:pt x="1521" y="1568"/>
                </a:lnTo>
                <a:lnTo>
                  <a:pt x="1521" y="1567"/>
                </a:lnTo>
                <a:lnTo>
                  <a:pt x="1522" y="1566"/>
                </a:lnTo>
                <a:lnTo>
                  <a:pt x="1524" y="1565"/>
                </a:lnTo>
                <a:lnTo>
                  <a:pt x="1527" y="1563"/>
                </a:lnTo>
                <a:lnTo>
                  <a:pt x="1530" y="1562"/>
                </a:lnTo>
                <a:close/>
                <a:moveTo>
                  <a:pt x="2903" y="1298"/>
                </a:moveTo>
                <a:lnTo>
                  <a:pt x="2907" y="1298"/>
                </a:lnTo>
                <a:lnTo>
                  <a:pt x="2910" y="1299"/>
                </a:lnTo>
                <a:lnTo>
                  <a:pt x="2912" y="1300"/>
                </a:lnTo>
                <a:lnTo>
                  <a:pt x="2914" y="1302"/>
                </a:lnTo>
                <a:lnTo>
                  <a:pt x="2916" y="1303"/>
                </a:lnTo>
                <a:lnTo>
                  <a:pt x="2917" y="1305"/>
                </a:lnTo>
                <a:lnTo>
                  <a:pt x="2918" y="1308"/>
                </a:lnTo>
                <a:lnTo>
                  <a:pt x="2918" y="1310"/>
                </a:lnTo>
                <a:lnTo>
                  <a:pt x="2918" y="1313"/>
                </a:lnTo>
                <a:lnTo>
                  <a:pt x="2917" y="1317"/>
                </a:lnTo>
                <a:lnTo>
                  <a:pt x="2916" y="1318"/>
                </a:lnTo>
                <a:lnTo>
                  <a:pt x="2914" y="1320"/>
                </a:lnTo>
                <a:lnTo>
                  <a:pt x="2911" y="1322"/>
                </a:lnTo>
                <a:lnTo>
                  <a:pt x="2908" y="1323"/>
                </a:lnTo>
                <a:lnTo>
                  <a:pt x="2903" y="1323"/>
                </a:lnTo>
                <a:lnTo>
                  <a:pt x="2901" y="1323"/>
                </a:lnTo>
                <a:lnTo>
                  <a:pt x="2899" y="1322"/>
                </a:lnTo>
                <a:lnTo>
                  <a:pt x="2897" y="1320"/>
                </a:lnTo>
                <a:lnTo>
                  <a:pt x="2895" y="1318"/>
                </a:lnTo>
                <a:lnTo>
                  <a:pt x="2894" y="1316"/>
                </a:lnTo>
                <a:lnTo>
                  <a:pt x="2893" y="1314"/>
                </a:lnTo>
                <a:lnTo>
                  <a:pt x="2893" y="1311"/>
                </a:lnTo>
                <a:lnTo>
                  <a:pt x="2893" y="1309"/>
                </a:lnTo>
                <a:lnTo>
                  <a:pt x="2894" y="1305"/>
                </a:lnTo>
                <a:lnTo>
                  <a:pt x="2895" y="1303"/>
                </a:lnTo>
                <a:lnTo>
                  <a:pt x="2896" y="1302"/>
                </a:lnTo>
                <a:lnTo>
                  <a:pt x="2900" y="1300"/>
                </a:lnTo>
                <a:lnTo>
                  <a:pt x="2903" y="1298"/>
                </a:lnTo>
                <a:close/>
                <a:moveTo>
                  <a:pt x="1582" y="1522"/>
                </a:moveTo>
                <a:lnTo>
                  <a:pt x="1586" y="1522"/>
                </a:lnTo>
                <a:lnTo>
                  <a:pt x="1589" y="1522"/>
                </a:lnTo>
                <a:lnTo>
                  <a:pt x="1592" y="1524"/>
                </a:lnTo>
                <a:lnTo>
                  <a:pt x="1595" y="1527"/>
                </a:lnTo>
                <a:lnTo>
                  <a:pt x="1597" y="1531"/>
                </a:lnTo>
                <a:lnTo>
                  <a:pt x="1597" y="1534"/>
                </a:lnTo>
                <a:lnTo>
                  <a:pt x="1597" y="1536"/>
                </a:lnTo>
                <a:lnTo>
                  <a:pt x="1596" y="1538"/>
                </a:lnTo>
                <a:lnTo>
                  <a:pt x="1595" y="1541"/>
                </a:lnTo>
                <a:lnTo>
                  <a:pt x="1594" y="1543"/>
                </a:lnTo>
                <a:lnTo>
                  <a:pt x="1592" y="1544"/>
                </a:lnTo>
                <a:lnTo>
                  <a:pt x="1589" y="1546"/>
                </a:lnTo>
                <a:lnTo>
                  <a:pt x="1587" y="1547"/>
                </a:lnTo>
                <a:lnTo>
                  <a:pt x="1583" y="1547"/>
                </a:lnTo>
                <a:lnTo>
                  <a:pt x="1580" y="1546"/>
                </a:lnTo>
                <a:lnTo>
                  <a:pt x="1577" y="1544"/>
                </a:lnTo>
                <a:lnTo>
                  <a:pt x="1574" y="1542"/>
                </a:lnTo>
                <a:lnTo>
                  <a:pt x="1572" y="1537"/>
                </a:lnTo>
                <a:lnTo>
                  <a:pt x="1572" y="1535"/>
                </a:lnTo>
                <a:lnTo>
                  <a:pt x="1572" y="1532"/>
                </a:lnTo>
                <a:lnTo>
                  <a:pt x="1572" y="1530"/>
                </a:lnTo>
                <a:lnTo>
                  <a:pt x="1573" y="1528"/>
                </a:lnTo>
                <a:lnTo>
                  <a:pt x="1575" y="1526"/>
                </a:lnTo>
                <a:lnTo>
                  <a:pt x="1577" y="1524"/>
                </a:lnTo>
                <a:lnTo>
                  <a:pt x="1579" y="1522"/>
                </a:lnTo>
                <a:lnTo>
                  <a:pt x="1582" y="1522"/>
                </a:lnTo>
                <a:close/>
                <a:moveTo>
                  <a:pt x="2838" y="1288"/>
                </a:moveTo>
                <a:lnTo>
                  <a:pt x="2842" y="1288"/>
                </a:lnTo>
                <a:lnTo>
                  <a:pt x="2844" y="1289"/>
                </a:lnTo>
                <a:lnTo>
                  <a:pt x="2847" y="1290"/>
                </a:lnTo>
                <a:lnTo>
                  <a:pt x="2849" y="1291"/>
                </a:lnTo>
                <a:lnTo>
                  <a:pt x="2850" y="1293"/>
                </a:lnTo>
                <a:lnTo>
                  <a:pt x="2852" y="1295"/>
                </a:lnTo>
                <a:lnTo>
                  <a:pt x="2852" y="1297"/>
                </a:lnTo>
                <a:lnTo>
                  <a:pt x="2853" y="1300"/>
                </a:lnTo>
                <a:lnTo>
                  <a:pt x="2853" y="1302"/>
                </a:lnTo>
                <a:lnTo>
                  <a:pt x="2851" y="1306"/>
                </a:lnTo>
                <a:lnTo>
                  <a:pt x="2850" y="1308"/>
                </a:lnTo>
                <a:lnTo>
                  <a:pt x="2849" y="1310"/>
                </a:lnTo>
                <a:lnTo>
                  <a:pt x="2846" y="1312"/>
                </a:lnTo>
                <a:lnTo>
                  <a:pt x="2842" y="1313"/>
                </a:lnTo>
                <a:lnTo>
                  <a:pt x="2838" y="1313"/>
                </a:lnTo>
                <a:lnTo>
                  <a:pt x="2836" y="1312"/>
                </a:lnTo>
                <a:lnTo>
                  <a:pt x="2833" y="1311"/>
                </a:lnTo>
                <a:lnTo>
                  <a:pt x="2831" y="1310"/>
                </a:lnTo>
                <a:lnTo>
                  <a:pt x="2830" y="1308"/>
                </a:lnTo>
                <a:lnTo>
                  <a:pt x="2829" y="1306"/>
                </a:lnTo>
                <a:lnTo>
                  <a:pt x="2828" y="1304"/>
                </a:lnTo>
                <a:lnTo>
                  <a:pt x="2827" y="1301"/>
                </a:lnTo>
                <a:lnTo>
                  <a:pt x="2827" y="1299"/>
                </a:lnTo>
                <a:lnTo>
                  <a:pt x="2829" y="1295"/>
                </a:lnTo>
                <a:lnTo>
                  <a:pt x="2830" y="1293"/>
                </a:lnTo>
                <a:lnTo>
                  <a:pt x="2831" y="1292"/>
                </a:lnTo>
                <a:lnTo>
                  <a:pt x="2834" y="1289"/>
                </a:lnTo>
                <a:lnTo>
                  <a:pt x="2838" y="1288"/>
                </a:lnTo>
                <a:close/>
                <a:moveTo>
                  <a:pt x="1636" y="1483"/>
                </a:moveTo>
                <a:lnTo>
                  <a:pt x="1640" y="1483"/>
                </a:lnTo>
                <a:lnTo>
                  <a:pt x="1643" y="1484"/>
                </a:lnTo>
                <a:lnTo>
                  <a:pt x="1646" y="1486"/>
                </a:lnTo>
                <a:lnTo>
                  <a:pt x="1649" y="1489"/>
                </a:lnTo>
                <a:lnTo>
                  <a:pt x="1650" y="1491"/>
                </a:lnTo>
                <a:lnTo>
                  <a:pt x="1651" y="1493"/>
                </a:lnTo>
                <a:lnTo>
                  <a:pt x="1651" y="1498"/>
                </a:lnTo>
                <a:lnTo>
                  <a:pt x="1650" y="1500"/>
                </a:lnTo>
                <a:lnTo>
                  <a:pt x="1649" y="1503"/>
                </a:lnTo>
                <a:lnTo>
                  <a:pt x="1647" y="1505"/>
                </a:lnTo>
                <a:lnTo>
                  <a:pt x="1645" y="1506"/>
                </a:lnTo>
                <a:lnTo>
                  <a:pt x="1643" y="1508"/>
                </a:lnTo>
                <a:lnTo>
                  <a:pt x="1640" y="1508"/>
                </a:lnTo>
                <a:lnTo>
                  <a:pt x="1637" y="1508"/>
                </a:lnTo>
                <a:lnTo>
                  <a:pt x="1633" y="1507"/>
                </a:lnTo>
                <a:lnTo>
                  <a:pt x="1630" y="1506"/>
                </a:lnTo>
                <a:lnTo>
                  <a:pt x="1628" y="1503"/>
                </a:lnTo>
                <a:lnTo>
                  <a:pt x="1627" y="1501"/>
                </a:lnTo>
                <a:lnTo>
                  <a:pt x="1626" y="1498"/>
                </a:lnTo>
                <a:lnTo>
                  <a:pt x="1626" y="1493"/>
                </a:lnTo>
                <a:lnTo>
                  <a:pt x="1626" y="1491"/>
                </a:lnTo>
                <a:lnTo>
                  <a:pt x="1628" y="1489"/>
                </a:lnTo>
                <a:lnTo>
                  <a:pt x="1629" y="1487"/>
                </a:lnTo>
                <a:lnTo>
                  <a:pt x="1631" y="1485"/>
                </a:lnTo>
                <a:lnTo>
                  <a:pt x="1633" y="1484"/>
                </a:lnTo>
                <a:lnTo>
                  <a:pt x="1636" y="1483"/>
                </a:lnTo>
                <a:close/>
                <a:moveTo>
                  <a:pt x="2772" y="1278"/>
                </a:moveTo>
                <a:lnTo>
                  <a:pt x="2776" y="1278"/>
                </a:lnTo>
                <a:lnTo>
                  <a:pt x="2779" y="1279"/>
                </a:lnTo>
                <a:lnTo>
                  <a:pt x="2781" y="1280"/>
                </a:lnTo>
                <a:lnTo>
                  <a:pt x="2783" y="1281"/>
                </a:lnTo>
                <a:lnTo>
                  <a:pt x="2785" y="1283"/>
                </a:lnTo>
                <a:lnTo>
                  <a:pt x="2786" y="1285"/>
                </a:lnTo>
                <a:lnTo>
                  <a:pt x="2787" y="1288"/>
                </a:lnTo>
                <a:lnTo>
                  <a:pt x="2787" y="1290"/>
                </a:lnTo>
                <a:lnTo>
                  <a:pt x="2787" y="1293"/>
                </a:lnTo>
                <a:lnTo>
                  <a:pt x="2787" y="1295"/>
                </a:lnTo>
                <a:lnTo>
                  <a:pt x="2786" y="1296"/>
                </a:lnTo>
                <a:lnTo>
                  <a:pt x="2785" y="1298"/>
                </a:lnTo>
                <a:lnTo>
                  <a:pt x="2784" y="1300"/>
                </a:lnTo>
                <a:lnTo>
                  <a:pt x="2781" y="1302"/>
                </a:lnTo>
                <a:lnTo>
                  <a:pt x="2777" y="1303"/>
                </a:lnTo>
                <a:lnTo>
                  <a:pt x="2773" y="1303"/>
                </a:lnTo>
                <a:lnTo>
                  <a:pt x="2770" y="1303"/>
                </a:lnTo>
                <a:lnTo>
                  <a:pt x="2768" y="1302"/>
                </a:lnTo>
                <a:lnTo>
                  <a:pt x="2766" y="1300"/>
                </a:lnTo>
                <a:lnTo>
                  <a:pt x="2764" y="1298"/>
                </a:lnTo>
                <a:lnTo>
                  <a:pt x="2763" y="1296"/>
                </a:lnTo>
                <a:lnTo>
                  <a:pt x="2762" y="1294"/>
                </a:lnTo>
                <a:lnTo>
                  <a:pt x="2762" y="1292"/>
                </a:lnTo>
                <a:lnTo>
                  <a:pt x="2762" y="1289"/>
                </a:lnTo>
                <a:lnTo>
                  <a:pt x="2762" y="1287"/>
                </a:lnTo>
                <a:lnTo>
                  <a:pt x="2763" y="1285"/>
                </a:lnTo>
                <a:lnTo>
                  <a:pt x="2764" y="1283"/>
                </a:lnTo>
                <a:lnTo>
                  <a:pt x="2766" y="1282"/>
                </a:lnTo>
                <a:lnTo>
                  <a:pt x="2769" y="1280"/>
                </a:lnTo>
                <a:lnTo>
                  <a:pt x="2772" y="1278"/>
                </a:lnTo>
                <a:close/>
                <a:moveTo>
                  <a:pt x="2707" y="1269"/>
                </a:moveTo>
                <a:lnTo>
                  <a:pt x="2711" y="1269"/>
                </a:lnTo>
                <a:lnTo>
                  <a:pt x="2713" y="1269"/>
                </a:lnTo>
                <a:lnTo>
                  <a:pt x="2716" y="1270"/>
                </a:lnTo>
                <a:lnTo>
                  <a:pt x="2718" y="1272"/>
                </a:lnTo>
                <a:lnTo>
                  <a:pt x="2719" y="1274"/>
                </a:lnTo>
                <a:lnTo>
                  <a:pt x="2721" y="1276"/>
                </a:lnTo>
                <a:lnTo>
                  <a:pt x="2721" y="1278"/>
                </a:lnTo>
                <a:lnTo>
                  <a:pt x="2722" y="1281"/>
                </a:lnTo>
                <a:lnTo>
                  <a:pt x="2722" y="1283"/>
                </a:lnTo>
                <a:lnTo>
                  <a:pt x="2721" y="1285"/>
                </a:lnTo>
                <a:lnTo>
                  <a:pt x="2720" y="1287"/>
                </a:lnTo>
                <a:lnTo>
                  <a:pt x="2719" y="1289"/>
                </a:lnTo>
                <a:lnTo>
                  <a:pt x="2718" y="1290"/>
                </a:lnTo>
                <a:lnTo>
                  <a:pt x="2717" y="1292"/>
                </a:lnTo>
                <a:lnTo>
                  <a:pt x="2715" y="1293"/>
                </a:lnTo>
                <a:lnTo>
                  <a:pt x="2711" y="1294"/>
                </a:lnTo>
                <a:lnTo>
                  <a:pt x="2707" y="1294"/>
                </a:lnTo>
                <a:lnTo>
                  <a:pt x="2705" y="1293"/>
                </a:lnTo>
                <a:lnTo>
                  <a:pt x="2703" y="1292"/>
                </a:lnTo>
                <a:lnTo>
                  <a:pt x="2701" y="1291"/>
                </a:lnTo>
                <a:lnTo>
                  <a:pt x="2699" y="1289"/>
                </a:lnTo>
                <a:lnTo>
                  <a:pt x="2698" y="1287"/>
                </a:lnTo>
                <a:lnTo>
                  <a:pt x="2697" y="1285"/>
                </a:lnTo>
                <a:lnTo>
                  <a:pt x="2696" y="1282"/>
                </a:lnTo>
                <a:lnTo>
                  <a:pt x="2697" y="1280"/>
                </a:lnTo>
                <a:lnTo>
                  <a:pt x="2697" y="1278"/>
                </a:lnTo>
                <a:lnTo>
                  <a:pt x="2698" y="1276"/>
                </a:lnTo>
                <a:lnTo>
                  <a:pt x="2699" y="1274"/>
                </a:lnTo>
                <a:lnTo>
                  <a:pt x="2700" y="1272"/>
                </a:lnTo>
                <a:lnTo>
                  <a:pt x="2701" y="1271"/>
                </a:lnTo>
                <a:lnTo>
                  <a:pt x="2703" y="1270"/>
                </a:lnTo>
                <a:lnTo>
                  <a:pt x="2707" y="1269"/>
                </a:lnTo>
                <a:close/>
                <a:moveTo>
                  <a:pt x="1691" y="1447"/>
                </a:moveTo>
                <a:lnTo>
                  <a:pt x="1695" y="1447"/>
                </a:lnTo>
                <a:lnTo>
                  <a:pt x="1699" y="1448"/>
                </a:lnTo>
                <a:lnTo>
                  <a:pt x="1702" y="1450"/>
                </a:lnTo>
                <a:lnTo>
                  <a:pt x="1703" y="1451"/>
                </a:lnTo>
                <a:lnTo>
                  <a:pt x="1704" y="1453"/>
                </a:lnTo>
                <a:lnTo>
                  <a:pt x="1705" y="1455"/>
                </a:lnTo>
                <a:lnTo>
                  <a:pt x="1706" y="1457"/>
                </a:lnTo>
                <a:lnTo>
                  <a:pt x="1706" y="1460"/>
                </a:lnTo>
                <a:lnTo>
                  <a:pt x="1706" y="1462"/>
                </a:lnTo>
                <a:lnTo>
                  <a:pt x="1705" y="1465"/>
                </a:lnTo>
                <a:lnTo>
                  <a:pt x="1704" y="1467"/>
                </a:lnTo>
                <a:lnTo>
                  <a:pt x="1702" y="1469"/>
                </a:lnTo>
                <a:lnTo>
                  <a:pt x="1700" y="1470"/>
                </a:lnTo>
                <a:lnTo>
                  <a:pt x="1698" y="1471"/>
                </a:lnTo>
                <a:lnTo>
                  <a:pt x="1696" y="1472"/>
                </a:lnTo>
                <a:lnTo>
                  <a:pt x="1692" y="1472"/>
                </a:lnTo>
                <a:lnTo>
                  <a:pt x="1688" y="1471"/>
                </a:lnTo>
                <a:lnTo>
                  <a:pt x="1685" y="1469"/>
                </a:lnTo>
                <a:lnTo>
                  <a:pt x="1684" y="1468"/>
                </a:lnTo>
                <a:lnTo>
                  <a:pt x="1683" y="1466"/>
                </a:lnTo>
                <a:lnTo>
                  <a:pt x="1682" y="1464"/>
                </a:lnTo>
                <a:lnTo>
                  <a:pt x="1681" y="1461"/>
                </a:lnTo>
                <a:lnTo>
                  <a:pt x="1681" y="1459"/>
                </a:lnTo>
                <a:lnTo>
                  <a:pt x="1681" y="1457"/>
                </a:lnTo>
                <a:lnTo>
                  <a:pt x="1682" y="1454"/>
                </a:lnTo>
                <a:lnTo>
                  <a:pt x="1683" y="1452"/>
                </a:lnTo>
                <a:lnTo>
                  <a:pt x="1685" y="1450"/>
                </a:lnTo>
                <a:lnTo>
                  <a:pt x="1687" y="1449"/>
                </a:lnTo>
                <a:lnTo>
                  <a:pt x="1689" y="1448"/>
                </a:lnTo>
                <a:lnTo>
                  <a:pt x="1691" y="1447"/>
                </a:lnTo>
                <a:close/>
                <a:moveTo>
                  <a:pt x="2641" y="1260"/>
                </a:moveTo>
                <a:lnTo>
                  <a:pt x="2645" y="1260"/>
                </a:lnTo>
                <a:lnTo>
                  <a:pt x="2648" y="1260"/>
                </a:lnTo>
                <a:lnTo>
                  <a:pt x="2650" y="1261"/>
                </a:lnTo>
                <a:lnTo>
                  <a:pt x="2652" y="1263"/>
                </a:lnTo>
                <a:lnTo>
                  <a:pt x="2654" y="1265"/>
                </a:lnTo>
                <a:lnTo>
                  <a:pt x="2655" y="1267"/>
                </a:lnTo>
                <a:lnTo>
                  <a:pt x="2656" y="1269"/>
                </a:lnTo>
                <a:lnTo>
                  <a:pt x="2656" y="1271"/>
                </a:lnTo>
                <a:lnTo>
                  <a:pt x="2656" y="1274"/>
                </a:lnTo>
                <a:lnTo>
                  <a:pt x="2656" y="1276"/>
                </a:lnTo>
                <a:lnTo>
                  <a:pt x="2655" y="1278"/>
                </a:lnTo>
                <a:lnTo>
                  <a:pt x="2654" y="1280"/>
                </a:lnTo>
                <a:lnTo>
                  <a:pt x="2653" y="1281"/>
                </a:lnTo>
                <a:lnTo>
                  <a:pt x="2651" y="1283"/>
                </a:lnTo>
                <a:lnTo>
                  <a:pt x="2650" y="1284"/>
                </a:lnTo>
                <a:lnTo>
                  <a:pt x="2646" y="1285"/>
                </a:lnTo>
                <a:lnTo>
                  <a:pt x="2642" y="1285"/>
                </a:lnTo>
                <a:lnTo>
                  <a:pt x="2639" y="1284"/>
                </a:lnTo>
                <a:lnTo>
                  <a:pt x="2637" y="1283"/>
                </a:lnTo>
                <a:lnTo>
                  <a:pt x="2635" y="1282"/>
                </a:lnTo>
                <a:lnTo>
                  <a:pt x="2633" y="1280"/>
                </a:lnTo>
                <a:lnTo>
                  <a:pt x="2632" y="1278"/>
                </a:lnTo>
                <a:lnTo>
                  <a:pt x="2631" y="1276"/>
                </a:lnTo>
                <a:lnTo>
                  <a:pt x="2631" y="1273"/>
                </a:lnTo>
                <a:lnTo>
                  <a:pt x="2631" y="1271"/>
                </a:lnTo>
                <a:lnTo>
                  <a:pt x="2631" y="1269"/>
                </a:lnTo>
                <a:lnTo>
                  <a:pt x="2632" y="1267"/>
                </a:lnTo>
                <a:lnTo>
                  <a:pt x="2633" y="1265"/>
                </a:lnTo>
                <a:lnTo>
                  <a:pt x="2634" y="1264"/>
                </a:lnTo>
                <a:lnTo>
                  <a:pt x="2636" y="1262"/>
                </a:lnTo>
                <a:lnTo>
                  <a:pt x="2638" y="1261"/>
                </a:lnTo>
                <a:lnTo>
                  <a:pt x="2641" y="1260"/>
                </a:lnTo>
                <a:close/>
                <a:moveTo>
                  <a:pt x="1748" y="1413"/>
                </a:moveTo>
                <a:lnTo>
                  <a:pt x="1752" y="1413"/>
                </a:lnTo>
                <a:lnTo>
                  <a:pt x="1755" y="1414"/>
                </a:lnTo>
                <a:lnTo>
                  <a:pt x="1759" y="1416"/>
                </a:lnTo>
                <a:lnTo>
                  <a:pt x="1760" y="1417"/>
                </a:lnTo>
                <a:lnTo>
                  <a:pt x="1761" y="1419"/>
                </a:lnTo>
                <a:lnTo>
                  <a:pt x="1762" y="1421"/>
                </a:lnTo>
                <a:lnTo>
                  <a:pt x="1763" y="1424"/>
                </a:lnTo>
                <a:lnTo>
                  <a:pt x="1763" y="1426"/>
                </a:lnTo>
                <a:lnTo>
                  <a:pt x="1762" y="1429"/>
                </a:lnTo>
                <a:lnTo>
                  <a:pt x="1762" y="1431"/>
                </a:lnTo>
                <a:lnTo>
                  <a:pt x="1760" y="1433"/>
                </a:lnTo>
                <a:lnTo>
                  <a:pt x="1759" y="1435"/>
                </a:lnTo>
                <a:lnTo>
                  <a:pt x="1757" y="1436"/>
                </a:lnTo>
                <a:lnTo>
                  <a:pt x="1752" y="1438"/>
                </a:lnTo>
                <a:lnTo>
                  <a:pt x="1749" y="1438"/>
                </a:lnTo>
                <a:lnTo>
                  <a:pt x="1745" y="1437"/>
                </a:lnTo>
                <a:lnTo>
                  <a:pt x="1742" y="1435"/>
                </a:lnTo>
                <a:lnTo>
                  <a:pt x="1740" y="1433"/>
                </a:lnTo>
                <a:lnTo>
                  <a:pt x="1739" y="1432"/>
                </a:lnTo>
                <a:lnTo>
                  <a:pt x="1738" y="1429"/>
                </a:lnTo>
                <a:lnTo>
                  <a:pt x="1738" y="1427"/>
                </a:lnTo>
                <a:lnTo>
                  <a:pt x="1738" y="1424"/>
                </a:lnTo>
                <a:lnTo>
                  <a:pt x="1738" y="1422"/>
                </a:lnTo>
                <a:lnTo>
                  <a:pt x="1739" y="1420"/>
                </a:lnTo>
                <a:lnTo>
                  <a:pt x="1740" y="1418"/>
                </a:lnTo>
                <a:lnTo>
                  <a:pt x="1742" y="1416"/>
                </a:lnTo>
                <a:lnTo>
                  <a:pt x="1744" y="1414"/>
                </a:lnTo>
                <a:lnTo>
                  <a:pt x="1748" y="1413"/>
                </a:lnTo>
                <a:close/>
                <a:moveTo>
                  <a:pt x="2576" y="1251"/>
                </a:moveTo>
                <a:lnTo>
                  <a:pt x="2580" y="1251"/>
                </a:lnTo>
                <a:lnTo>
                  <a:pt x="2582" y="1252"/>
                </a:lnTo>
                <a:lnTo>
                  <a:pt x="2584" y="1253"/>
                </a:lnTo>
                <a:lnTo>
                  <a:pt x="2586" y="1254"/>
                </a:lnTo>
                <a:lnTo>
                  <a:pt x="2588" y="1256"/>
                </a:lnTo>
                <a:lnTo>
                  <a:pt x="2589" y="1258"/>
                </a:lnTo>
                <a:lnTo>
                  <a:pt x="2590" y="1260"/>
                </a:lnTo>
                <a:lnTo>
                  <a:pt x="2591" y="1263"/>
                </a:lnTo>
                <a:lnTo>
                  <a:pt x="2591" y="1265"/>
                </a:lnTo>
                <a:lnTo>
                  <a:pt x="2590" y="1267"/>
                </a:lnTo>
                <a:lnTo>
                  <a:pt x="2589" y="1269"/>
                </a:lnTo>
                <a:lnTo>
                  <a:pt x="2588" y="1271"/>
                </a:lnTo>
                <a:lnTo>
                  <a:pt x="2587" y="1273"/>
                </a:lnTo>
                <a:lnTo>
                  <a:pt x="2586" y="1274"/>
                </a:lnTo>
                <a:lnTo>
                  <a:pt x="2584" y="1275"/>
                </a:lnTo>
                <a:lnTo>
                  <a:pt x="2580" y="1276"/>
                </a:lnTo>
                <a:lnTo>
                  <a:pt x="2576" y="1276"/>
                </a:lnTo>
                <a:lnTo>
                  <a:pt x="2574" y="1276"/>
                </a:lnTo>
                <a:lnTo>
                  <a:pt x="2572" y="1275"/>
                </a:lnTo>
                <a:lnTo>
                  <a:pt x="2570" y="1273"/>
                </a:lnTo>
                <a:lnTo>
                  <a:pt x="2568" y="1271"/>
                </a:lnTo>
                <a:lnTo>
                  <a:pt x="2567" y="1269"/>
                </a:lnTo>
                <a:lnTo>
                  <a:pt x="2566" y="1267"/>
                </a:lnTo>
                <a:lnTo>
                  <a:pt x="2565" y="1265"/>
                </a:lnTo>
                <a:lnTo>
                  <a:pt x="2565" y="1262"/>
                </a:lnTo>
                <a:lnTo>
                  <a:pt x="2566" y="1260"/>
                </a:lnTo>
                <a:lnTo>
                  <a:pt x="2567" y="1258"/>
                </a:lnTo>
                <a:lnTo>
                  <a:pt x="2568" y="1256"/>
                </a:lnTo>
                <a:lnTo>
                  <a:pt x="2569" y="1255"/>
                </a:lnTo>
                <a:lnTo>
                  <a:pt x="2570" y="1254"/>
                </a:lnTo>
                <a:lnTo>
                  <a:pt x="2572" y="1253"/>
                </a:lnTo>
                <a:lnTo>
                  <a:pt x="2576" y="1251"/>
                </a:lnTo>
                <a:close/>
                <a:moveTo>
                  <a:pt x="1806" y="1381"/>
                </a:moveTo>
                <a:lnTo>
                  <a:pt x="1810" y="1381"/>
                </a:lnTo>
                <a:lnTo>
                  <a:pt x="1812" y="1381"/>
                </a:lnTo>
                <a:lnTo>
                  <a:pt x="1814" y="1382"/>
                </a:lnTo>
                <a:lnTo>
                  <a:pt x="1816" y="1383"/>
                </a:lnTo>
                <a:lnTo>
                  <a:pt x="1817" y="1384"/>
                </a:lnTo>
                <a:lnTo>
                  <a:pt x="1820" y="1388"/>
                </a:lnTo>
                <a:lnTo>
                  <a:pt x="1821" y="1393"/>
                </a:lnTo>
                <a:lnTo>
                  <a:pt x="1821" y="1395"/>
                </a:lnTo>
                <a:lnTo>
                  <a:pt x="1820" y="1397"/>
                </a:lnTo>
                <a:lnTo>
                  <a:pt x="1819" y="1400"/>
                </a:lnTo>
                <a:lnTo>
                  <a:pt x="1819" y="1401"/>
                </a:lnTo>
                <a:lnTo>
                  <a:pt x="1818" y="1402"/>
                </a:lnTo>
                <a:lnTo>
                  <a:pt x="1816" y="1403"/>
                </a:lnTo>
                <a:lnTo>
                  <a:pt x="1814" y="1405"/>
                </a:lnTo>
                <a:lnTo>
                  <a:pt x="1810" y="1406"/>
                </a:lnTo>
                <a:lnTo>
                  <a:pt x="1806" y="1406"/>
                </a:lnTo>
                <a:lnTo>
                  <a:pt x="1805" y="1406"/>
                </a:lnTo>
                <a:lnTo>
                  <a:pt x="1803" y="1405"/>
                </a:lnTo>
                <a:lnTo>
                  <a:pt x="1801" y="1404"/>
                </a:lnTo>
                <a:lnTo>
                  <a:pt x="1799" y="1403"/>
                </a:lnTo>
                <a:lnTo>
                  <a:pt x="1797" y="1399"/>
                </a:lnTo>
                <a:lnTo>
                  <a:pt x="1796" y="1395"/>
                </a:lnTo>
                <a:lnTo>
                  <a:pt x="1796" y="1392"/>
                </a:lnTo>
                <a:lnTo>
                  <a:pt x="1796" y="1390"/>
                </a:lnTo>
                <a:lnTo>
                  <a:pt x="1797" y="1388"/>
                </a:lnTo>
                <a:lnTo>
                  <a:pt x="1798" y="1386"/>
                </a:lnTo>
                <a:lnTo>
                  <a:pt x="1798" y="1385"/>
                </a:lnTo>
                <a:lnTo>
                  <a:pt x="1800" y="1384"/>
                </a:lnTo>
                <a:lnTo>
                  <a:pt x="1802" y="1382"/>
                </a:lnTo>
                <a:lnTo>
                  <a:pt x="1806" y="1381"/>
                </a:lnTo>
                <a:close/>
                <a:moveTo>
                  <a:pt x="2510" y="1243"/>
                </a:moveTo>
                <a:lnTo>
                  <a:pt x="2514" y="1243"/>
                </a:lnTo>
                <a:lnTo>
                  <a:pt x="2516" y="1243"/>
                </a:lnTo>
                <a:lnTo>
                  <a:pt x="2519" y="1244"/>
                </a:lnTo>
                <a:lnTo>
                  <a:pt x="2521" y="1246"/>
                </a:lnTo>
                <a:lnTo>
                  <a:pt x="2522" y="1248"/>
                </a:lnTo>
                <a:lnTo>
                  <a:pt x="2524" y="1250"/>
                </a:lnTo>
                <a:lnTo>
                  <a:pt x="2525" y="1252"/>
                </a:lnTo>
                <a:lnTo>
                  <a:pt x="2525" y="1254"/>
                </a:lnTo>
                <a:lnTo>
                  <a:pt x="2525" y="1257"/>
                </a:lnTo>
                <a:lnTo>
                  <a:pt x="2524" y="1259"/>
                </a:lnTo>
                <a:lnTo>
                  <a:pt x="2524" y="1261"/>
                </a:lnTo>
                <a:lnTo>
                  <a:pt x="2523" y="1263"/>
                </a:lnTo>
                <a:lnTo>
                  <a:pt x="2521" y="1264"/>
                </a:lnTo>
                <a:lnTo>
                  <a:pt x="2518" y="1267"/>
                </a:lnTo>
                <a:lnTo>
                  <a:pt x="2516" y="1267"/>
                </a:lnTo>
                <a:lnTo>
                  <a:pt x="2515" y="1268"/>
                </a:lnTo>
                <a:lnTo>
                  <a:pt x="2511" y="1268"/>
                </a:lnTo>
                <a:lnTo>
                  <a:pt x="2508" y="1267"/>
                </a:lnTo>
                <a:lnTo>
                  <a:pt x="2506" y="1266"/>
                </a:lnTo>
                <a:lnTo>
                  <a:pt x="2504" y="1265"/>
                </a:lnTo>
                <a:lnTo>
                  <a:pt x="2502" y="1263"/>
                </a:lnTo>
                <a:lnTo>
                  <a:pt x="2501" y="1261"/>
                </a:lnTo>
                <a:lnTo>
                  <a:pt x="2500" y="1259"/>
                </a:lnTo>
                <a:lnTo>
                  <a:pt x="2500" y="1256"/>
                </a:lnTo>
                <a:lnTo>
                  <a:pt x="2500" y="1254"/>
                </a:lnTo>
                <a:lnTo>
                  <a:pt x="2500" y="1252"/>
                </a:lnTo>
                <a:lnTo>
                  <a:pt x="2501" y="1250"/>
                </a:lnTo>
                <a:lnTo>
                  <a:pt x="2502" y="1248"/>
                </a:lnTo>
                <a:lnTo>
                  <a:pt x="2503" y="1247"/>
                </a:lnTo>
                <a:lnTo>
                  <a:pt x="2506" y="1244"/>
                </a:lnTo>
                <a:lnTo>
                  <a:pt x="2508" y="1243"/>
                </a:lnTo>
                <a:lnTo>
                  <a:pt x="2510" y="1243"/>
                </a:lnTo>
                <a:close/>
                <a:moveTo>
                  <a:pt x="1865" y="1352"/>
                </a:moveTo>
                <a:lnTo>
                  <a:pt x="1870" y="1352"/>
                </a:lnTo>
                <a:lnTo>
                  <a:pt x="1873" y="1353"/>
                </a:lnTo>
                <a:lnTo>
                  <a:pt x="1875" y="1354"/>
                </a:lnTo>
                <a:lnTo>
                  <a:pt x="1877" y="1356"/>
                </a:lnTo>
                <a:lnTo>
                  <a:pt x="1879" y="1359"/>
                </a:lnTo>
                <a:lnTo>
                  <a:pt x="1880" y="1360"/>
                </a:lnTo>
                <a:lnTo>
                  <a:pt x="1880" y="1362"/>
                </a:lnTo>
                <a:lnTo>
                  <a:pt x="1880" y="1364"/>
                </a:lnTo>
                <a:lnTo>
                  <a:pt x="1880" y="1367"/>
                </a:lnTo>
                <a:lnTo>
                  <a:pt x="1880" y="1369"/>
                </a:lnTo>
                <a:lnTo>
                  <a:pt x="1878" y="1371"/>
                </a:lnTo>
                <a:lnTo>
                  <a:pt x="1877" y="1373"/>
                </a:lnTo>
                <a:lnTo>
                  <a:pt x="1875" y="1375"/>
                </a:lnTo>
                <a:lnTo>
                  <a:pt x="1873" y="1376"/>
                </a:lnTo>
                <a:lnTo>
                  <a:pt x="1870" y="1377"/>
                </a:lnTo>
                <a:lnTo>
                  <a:pt x="1866" y="1377"/>
                </a:lnTo>
                <a:lnTo>
                  <a:pt x="1862" y="1376"/>
                </a:lnTo>
                <a:lnTo>
                  <a:pt x="1860" y="1375"/>
                </a:lnTo>
                <a:lnTo>
                  <a:pt x="1859" y="1373"/>
                </a:lnTo>
                <a:lnTo>
                  <a:pt x="1856" y="1370"/>
                </a:lnTo>
                <a:lnTo>
                  <a:pt x="1856" y="1369"/>
                </a:lnTo>
                <a:lnTo>
                  <a:pt x="1855" y="1367"/>
                </a:lnTo>
                <a:lnTo>
                  <a:pt x="1855" y="1365"/>
                </a:lnTo>
                <a:lnTo>
                  <a:pt x="1855" y="1362"/>
                </a:lnTo>
                <a:lnTo>
                  <a:pt x="1856" y="1360"/>
                </a:lnTo>
                <a:lnTo>
                  <a:pt x="1857" y="1358"/>
                </a:lnTo>
                <a:lnTo>
                  <a:pt x="1858" y="1356"/>
                </a:lnTo>
                <a:lnTo>
                  <a:pt x="1860" y="1354"/>
                </a:lnTo>
                <a:lnTo>
                  <a:pt x="1862" y="1353"/>
                </a:lnTo>
                <a:lnTo>
                  <a:pt x="1865" y="1352"/>
                </a:lnTo>
                <a:close/>
                <a:moveTo>
                  <a:pt x="2444" y="1237"/>
                </a:moveTo>
                <a:lnTo>
                  <a:pt x="2447" y="1237"/>
                </a:lnTo>
                <a:lnTo>
                  <a:pt x="2450" y="1237"/>
                </a:lnTo>
                <a:lnTo>
                  <a:pt x="2452" y="1238"/>
                </a:lnTo>
                <a:lnTo>
                  <a:pt x="2454" y="1239"/>
                </a:lnTo>
                <a:lnTo>
                  <a:pt x="2456" y="1241"/>
                </a:lnTo>
                <a:lnTo>
                  <a:pt x="2457" y="1243"/>
                </a:lnTo>
                <a:lnTo>
                  <a:pt x="2458" y="1245"/>
                </a:lnTo>
                <a:lnTo>
                  <a:pt x="2459" y="1247"/>
                </a:lnTo>
                <a:lnTo>
                  <a:pt x="2459" y="1250"/>
                </a:lnTo>
                <a:lnTo>
                  <a:pt x="2459" y="1252"/>
                </a:lnTo>
                <a:lnTo>
                  <a:pt x="2458" y="1254"/>
                </a:lnTo>
                <a:lnTo>
                  <a:pt x="2457" y="1256"/>
                </a:lnTo>
                <a:lnTo>
                  <a:pt x="2456" y="1258"/>
                </a:lnTo>
                <a:lnTo>
                  <a:pt x="2454" y="1259"/>
                </a:lnTo>
                <a:lnTo>
                  <a:pt x="2453" y="1260"/>
                </a:lnTo>
                <a:lnTo>
                  <a:pt x="2451" y="1261"/>
                </a:lnTo>
                <a:lnTo>
                  <a:pt x="2449" y="1262"/>
                </a:lnTo>
                <a:lnTo>
                  <a:pt x="2446" y="1262"/>
                </a:lnTo>
                <a:lnTo>
                  <a:pt x="2443" y="1262"/>
                </a:lnTo>
                <a:lnTo>
                  <a:pt x="2441" y="1261"/>
                </a:lnTo>
                <a:lnTo>
                  <a:pt x="2439" y="1259"/>
                </a:lnTo>
                <a:lnTo>
                  <a:pt x="2437" y="1258"/>
                </a:lnTo>
                <a:lnTo>
                  <a:pt x="2435" y="1256"/>
                </a:lnTo>
                <a:lnTo>
                  <a:pt x="2434" y="1253"/>
                </a:lnTo>
                <a:lnTo>
                  <a:pt x="2434" y="1251"/>
                </a:lnTo>
                <a:lnTo>
                  <a:pt x="2434" y="1248"/>
                </a:lnTo>
                <a:lnTo>
                  <a:pt x="2434" y="1246"/>
                </a:lnTo>
                <a:lnTo>
                  <a:pt x="2435" y="1244"/>
                </a:lnTo>
                <a:lnTo>
                  <a:pt x="2436" y="1242"/>
                </a:lnTo>
                <a:lnTo>
                  <a:pt x="2437" y="1241"/>
                </a:lnTo>
                <a:lnTo>
                  <a:pt x="2439" y="1239"/>
                </a:lnTo>
                <a:lnTo>
                  <a:pt x="2440" y="1238"/>
                </a:lnTo>
                <a:lnTo>
                  <a:pt x="2442" y="1237"/>
                </a:lnTo>
                <a:lnTo>
                  <a:pt x="2444" y="1237"/>
                </a:lnTo>
                <a:close/>
                <a:moveTo>
                  <a:pt x="1926" y="1326"/>
                </a:moveTo>
                <a:lnTo>
                  <a:pt x="1930" y="1326"/>
                </a:lnTo>
                <a:lnTo>
                  <a:pt x="1932" y="1326"/>
                </a:lnTo>
                <a:lnTo>
                  <a:pt x="1934" y="1327"/>
                </a:lnTo>
                <a:lnTo>
                  <a:pt x="1936" y="1328"/>
                </a:lnTo>
                <a:lnTo>
                  <a:pt x="1938" y="1330"/>
                </a:lnTo>
                <a:lnTo>
                  <a:pt x="1939" y="1331"/>
                </a:lnTo>
                <a:lnTo>
                  <a:pt x="1940" y="1333"/>
                </a:lnTo>
                <a:lnTo>
                  <a:pt x="1941" y="1336"/>
                </a:lnTo>
                <a:lnTo>
                  <a:pt x="1941" y="1338"/>
                </a:lnTo>
                <a:lnTo>
                  <a:pt x="1941" y="1341"/>
                </a:lnTo>
                <a:lnTo>
                  <a:pt x="1940" y="1343"/>
                </a:lnTo>
                <a:lnTo>
                  <a:pt x="1939" y="1345"/>
                </a:lnTo>
                <a:lnTo>
                  <a:pt x="1937" y="1347"/>
                </a:lnTo>
                <a:lnTo>
                  <a:pt x="1935" y="1349"/>
                </a:lnTo>
                <a:lnTo>
                  <a:pt x="1933" y="1350"/>
                </a:lnTo>
                <a:lnTo>
                  <a:pt x="1930" y="1351"/>
                </a:lnTo>
                <a:lnTo>
                  <a:pt x="1926" y="1351"/>
                </a:lnTo>
                <a:lnTo>
                  <a:pt x="1924" y="1350"/>
                </a:lnTo>
                <a:lnTo>
                  <a:pt x="1922" y="1349"/>
                </a:lnTo>
                <a:lnTo>
                  <a:pt x="1920" y="1348"/>
                </a:lnTo>
                <a:lnTo>
                  <a:pt x="1919" y="1347"/>
                </a:lnTo>
                <a:lnTo>
                  <a:pt x="1918" y="1345"/>
                </a:lnTo>
                <a:lnTo>
                  <a:pt x="1917" y="1343"/>
                </a:lnTo>
                <a:lnTo>
                  <a:pt x="1916" y="1340"/>
                </a:lnTo>
                <a:lnTo>
                  <a:pt x="1916" y="1338"/>
                </a:lnTo>
                <a:lnTo>
                  <a:pt x="1916" y="1336"/>
                </a:lnTo>
                <a:lnTo>
                  <a:pt x="1917" y="1333"/>
                </a:lnTo>
                <a:lnTo>
                  <a:pt x="1918" y="1331"/>
                </a:lnTo>
                <a:lnTo>
                  <a:pt x="1919" y="1329"/>
                </a:lnTo>
                <a:lnTo>
                  <a:pt x="1921" y="1328"/>
                </a:lnTo>
                <a:lnTo>
                  <a:pt x="1924" y="1326"/>
                </a:lnTo>
                <a:lnTo>
                  <a:pt x="1926" y="1326"/>
                </a:lnTo>
                <a:close/>
                <a:moveTo>
                  <a:pt x="2378" y="1235"/>
                </a:moveTo>
                <a:lnTo>
                  <a:pt x="2380" y="1234"/>
                </a:lnTo>
                <a:lnTo>
                  <a:pt x="2383" y="1235"/>
                </a:lnTo>
                <a:lnTo>
                  <a:pt x="2385" y="1235"/>
                </a:lnTo>
                <a:lnTo>
                  <a:pt x="2387" y="1237"/>
                </a:lnTo>
                <a:lnTo>
                  <a:pt x="2389" y="1238"/>
                </a:lnTo>
                <a:lnTo>
                  <a:pt x="2391" y="1240"/>
                </a:lnTo>
                <a:lnTo>
                  <a:pt x="2392" y="1242"/>
                </a:lnTo>
                <a:lnTo>
                  <a:pt x="2393" y="1245"/>
                </a:lnTo>
                <a:lnTo>
                  <a:pt x="2393" y="1247"/>
                </a:lnTo>
                <a:lnTo>
                  <a:pt x="2392" y="1252"/>
                </a:lnTo>
                <a:lnTo>
                  <a:pt x="2391" y="1254"/>
                </a:lnTo>
                <a:lnTo>
                  <a:pt x="2390" y="1255"/>
                </a:lnTo>
                <a:lnTo>
                  <a:pt x="2387" y="1258"/>
                </a:lnTo>
                <a:lnTo>
                  <a:pt x="2385" y="1259"/>
                </a:lnTo>
                <a:lnTo>
                  <a:pt x="2383" y="1260"/>
                </a:lnTo>
                <a:lnTo>
                  <a:pt x="2380" y="1260"/>
                </a:lnTo>
                <a:lnTo>
                  <a:pt x="2378" y="1260"/>
                </a:lnTo>
                <a:lnTo>
                  <a:pt x="2375" y="1259"/>
                </a:lnTo>
                <a:lnTo>
                  <a:pt x="2373" y="1258"/>
                </a:lnTo>
                <a:lnTo>
                  <a:pt x="2371" y="1256"/>
                </a:lnTo>
                <a:lnTo>
                  <a:pt x="2370" y="1254"/>
                </a:lnTo>
                <a:lnTo>
                  <a:pt x="2369" y="1252"/>
                </a:lnTo>
                <a:lnTo>
                  <a:pt x="2368" y="1250"/>
                </a:lnTo>
                <a:lnTo>
                  <a:pt x="2368" y="1247"/>
                </a:lnTo>
                <a:lnTo>
                  <a:pt x="2368" y="1243"/>
                </a:lnTo>
                <a:lnTo>
                  <a:pt x="2369" y="1241"/>
                </a:lnTo>
                <a:lnTo>
                  <a:pt x="2371" y="1239"/>
                </a:lnTo>
                <a:lnTo>
                  <a:pt x="2374" y="1236"/>
                </a:lnTo>
                <a:lnTo>
                  <a:pt x="2376" y="1235"/>
                </a:lnTo>
                <a:lnTo>
                  <a:pt x="2378" y="1235"/>
                </a:lnTo>
                <a:close/>
                <a:moveTo>
                  <a:pt x="1988" y="1302"/>
                </a:moveTo>
                <a:lnTo>
                  <a:pt x="1992" y="1302"/>
                </a:lnTo>
                <a:lnTo>
                  <a:pt x="1995" y="1303"/>
                </a:lnTo>
                <a:lnTo>
                  <a:pt x="1997" y="1304"/>
                </a:lnTo>
                <a:lnTo>
                  <a:pt x="2000" y="1307"/>
                </a:lnTo>
                <a:lnTo>
                  <a:pt x="2001" y="1308"/>
                </a:lnTo>
                <a:lnTo>
                  <a:pt x="2002" y="1311"/>
                </a:lnTo>
                <a:lnTo>
                  <a:pt x="2003" y="1316"/>
                </a:lnTo>
                <a:lnTo>
                  <a:pt x="2002" y="1318"/>
                </a:lnTo>
                <a:lnTo>
                  <a:pt x="2002" y="1320"/>
                </a:lnTo>
                <a:lnTo>
                  <a:pt x="2000" y="1322"/>
                </a:lnTo>
                <a:lnTo>
                  <a:pt x="1999" y="1324"/>
                </a:lnTo>
                <a:lnTo>
                  <a:pt x="1997" y="1326"/>
                </a:lnTo>
                <a:lnTo>
                  <a:pt x="1994" y="1327"/>
                </a:lnTo>
                <a:lnTo>
                  <a:pt x="1992" y="1327"/>
                </a:lnTo>
                <a:lnTo>
                  <a:pt x="1988" y="1327"/>
                </a:lnTo>
                <a:lnTo>
                  <a:pt x="1986" y="1327"/>
                </a:lnTo>
                <a:lnTo>
                  <a:pt x="1984" y="1326"/>
                </a:lnTo>
                <a:lnTo>
                  <a:pt x="1980" y="1323"/>
                </a:lnTo>
                <a:lnTo>
                  <a:pt x="1979" y="1321"/>
                </a:lnTo>
                <a:lnTo>
                  <a:pt x="1978" y="1319"/>
                </a:lnTo>
                <a:lnTo>
                  <a:pt x="1977" y="1314"/>
                </a:lnTo>
                <a:lnTo>
                  <a:pt x="1978" y="1312"/>
                </a:lnTo>
                <a:lnTo>
                  <a:pt x="1979" y="1309"/>
                </a:lnTo>
                <a:lnTo>
                  <a:pt x="1980" y="1307"/>
                </a:lnTo>
                <a:lnTo>
                  <a:pt x="1982" y="1305"/>
                </a:lnTo>
                <a:lnTo>
                  <a:pt x="1984" y="1304"/>
                </a:lnTo>
                <a:lnTo>
                  <a:pt x="1986" y="1303"/>
                </a:lnTo>
                <a:lnTo>
                  <a:pt x="1988" y="1302"/>
                </a:lnTo>
                <a:close/>
                <a:moveTo>
                  <a:pt x="2312" y="1236"/>
                </a:moveTo>
                <a:lnTo>
                  <a:pt x="2313" y="1236"/>
                </a:lnTo>
                <a:lnTo>
                  <a:pt x="2318" y="1237"/>
                </a:lnTo>
                <a:lnTo>
                  <a:pt x="2321" y="1238"/>
                </a:lnTo>
                <a:lnTo>
                  <a:pt x="2323" y="1239"/>
                </a:lnTo>
                <a:lnTo>
                  <a:pt x="2324" y="1241"/>
                </a:lnTo>
                <a:lnTo>
                  <a:pt x="2326" y="1243"/>
                </a:lnTo>
                <a:lnTo>
                  <a:pt x="2326" y="1246"/>
                </a:lnTo>
                <a:lnTo>
                  <a:pt x="2327" y="1248"/>
                </a:lnTo>
                <a:lnTo>
                  <a:pt x="2327" y="1251"/>
                </a:lnTo>
                <a:lnTo>
                  <a:pt x="2326" y="1253"/>
                </a:lnTo>
                <a:lnTo>
                  <a:pt x="2325" y="1255"/>
                </a:lnTo>
                <a:lnTo>
                  <a:pt x="2324" y="1257"/>
                </a:lnTo>
                <a:lnTo>
                  <a:pt x="2323" y="1258"/>
                </a:lnTo>
                <a:lnTo>
                  <a:pt x="2321" y="1260"/>
                </a:lnTo>
                <a:lnTo>
                  <a:pt x="2319" y="1261"/>
                </a:lnTo>
                <a:lnTo>
                  <a:pt x="2316" y="1261"/>
                </a:lnTo>
                <a:lnTo>
                  <a:pt x="2315" y="1262"/>
                </a:lnTo>
                <a:lnTo>
                  <a:pt x="2310" y="1261"/>
                </a:lnTo>
                <a:lnTo>
                  <a:pt x="2308" y="1260"/>
                </a:lnTo>
                <a:lnTo>
                  <a:pt x="2306" y="1258"/>
                </a:lnTo>
                <a:lnTo>
                  <a:pt x="2304" y="1257"/>
                </a:lnTo>
                <a:lnTo>
                  <a:pt x="2303" y="1255"/>
                </a:lnTo>
                <a:lnTo>
                  <a:pt x="2302" y="1252"/>
                </a:lnTo>
                <a:lnTo>
                  <a:pt x="2302" y="1250"/>
                </a:lnTo>
                <a:lnTo>
                  <a:pt x="2302" y="1247"/>
                </a:lnTo>
                <a:lnTo>
                  <a:pt x="2302" y="1245"/>
                </a:lnTo>
                <a:lnTo>
                  <a:pt x="2303" y="1243"/>
                </a:lnTo>
                <a:lnTo>
                  <a:pt x="2304" y="1241"/>
                </a:lnTo>
                <a:lnTo>
                  <a:pt x="2306" y="1239"/>
                </a:lnTo>
                <a:lnTo>
                  <a:pt x="2308" y="1238"/>
                </a:lnTo>
                <a:lnTo>
                  <a:pt x="2310" y="1237"/>
                </a:lnTo>
                <a:lnTo>
                  <a:pt x="2312" y="1236"/>
                </a:lnTo>
                <a:close/>
                <a:moveTo>
                  <a:pt x="2051" y="1282"/>
                </a:moveTo>
                <a:lnTo>
                  <a:pt x="2056" y="1282"/>
                </a:lnTo>
                <a:lnTo>
                  <a:pt x="2058" y="1283"/>
                </a:lnTo>
                <a:lnTo>
                  <a:pt x="2060" y="1284"/>
                </a:lnTo>
                <a:lnTo>
                  <a:pt x="2062" y="1285"/>
                </a:lnTo>
                <a:lnTo>
                  <a:pt x="2063" y="1287"/>
                </a:lnTo>
                <a:lnTo>
                  <a:pt x="2064" y="1289"/>
                </a:lnTo>
                <a:lnTo>
                  <a:pt x="2065" y="1291"/>
                </a:lnTo>
                <a:lnTo>
                  <a:pt x="2066" y="1294"/>
                </a:lnTo>
                <a:lnTo>
                  <a:pt x="2066" y="1296"/>
                </a:lnTo>
                <a:lnTo>
                  <a:pt x="2065" y="1298"/>
                </a:lnTo>
                <a:lnTo>
                  <a:pt x="2064" y="1301"/>
                </a:lnTo>
                <a:lnTo>
                  <a:pt x="2063" y="1303"/>
                </a:lnTo>
                <a:lnTo>
                  <a:pt x="2061" y="1304"/>
                </a:lnTo>
                <a:lnTo>
                  <a:pt x="2059" y="1306"/>
                </a:lnTo>
                <a:lnTo>
                  <a:pt x="2057" y="1307"/>
                </a:lnTo>
                <a:lnTo>
                  <a:pt x="2055" y="1307"/>
                </a:lnTo>
                <a:lnTo>
                  <a:pt x="2051" y="1307"/>
                </a:lnTo>
                <a:lnTo>
                  <a:pt x="2048" y="1306"/>
                </a:lnTo>
                <a:lnTo>
                  <a:pt x="2046" y="1305"/>
                </a:lnTo>
                <a:lnTo>
                  <a:pt x="2045" y="1304"/>
                </a:lnTo>
                <a:lnTo>
                  <a:pt x="2043" y="1302"/>
                </a:lnTo>
                <a:lnTo>
                  <a:pt x="2042" y="1300"/>
                </a:lnTo>
                <a:lnTo>
                  <a:pt x="2041" y="1298"/>
                </a:lnTo>
                <a:lnTo>
                  <a:pt x="2040" y="1296"/>
                </a:lnTo>
                <a:lnTo>
                  <a:pt x="2041" y="1293"/>
                </a:lnTo>
                <a:lnTo>
                  <a:pt x="2041" y="1291"/>
                </a:lnTo>
                <a:lnTo>
                  <a:pt x="2042" y="1288"/>
                </a:lnTo>
                <a:lnTo>
                  <a:pt x="2043" y="1286"/>
                </a:lnTo>
                <a:lnTo>
                  <a:pt x="2045" y="1285"/>
                </a:lnTo>
                <a:lnTo>
                  <a:pt x="2047" y="1283"/>
                </a:lnTo>
                <a:lnTo>
                  <a:pt x="2050" y="1282"/>
                </a:lnTo>
                <a:lnTo>
                  <a:pt x="2051" y="1282"/>
                </a:lnTo>
                <a:close/>
                <a:moveTo>
                  <a:pt x="2115" y="1265"/>
                </a:moveTo>
                <a:lnTo>
                  <a:pt x="2120" y="1265"/>
                </a:lnTo>
                <a:lnTo>
                  <a:pt x="2122" y="1266"/>
                </a:lnTo>
                <a:lnTo>
                  <a:pt x="2124" y="1267"/>
                </a:lnTo>
                <a:lnTo>
                  <a:pt x="2126" y="1269"/>
                </a:lnTo>
                <a:lnTo>
                  <a:pt x="2127" y="1270"/>
                </a:lnTo>
                <a:lnTo>
                  <a:pt x="2129" y="1272"/>
                </a:lnTo>
                <a:lnTo>
                  <a:pt x="2129" y="1275"/>
                </a:lnTo>
                <a:lnTo>
                  <a:pt x="2130" y="1277"/>
                </a:lnTo>
                <a:lnTo>
                  <a:pt x="2130" y="1280"/>
                </a:lnTo>
                <a:lnTo>
                  <a:pt x="2129" y="1282"/>
                </a:lnTo>
                <a:lnTo>
                  <a:pt x="2128" y="1284"/>
                </a:lnTo>
                <a:lnTo>
                  <a:pt x="2126" y="1286"/>
                </a:lnTo>
                <a:lnTo>
                  <a:pt x="2125" y="1288"/>
                </a:lnTo>
                <a:lnTo>
                  <a:pt x="2122" y="1289"/>
                </a:lnTo>
                <a:lnTo>
                  <a:pt x="2120" y="1290"/>
                </a:lnTo>
                <a:lnTo>
                  <a:pt x="2115" y="1290"/>
                </a:lnTo>
                <a:lnTo>
                  <a:pt x="2112" y="1289"/>
                </a:lnTo>
                <a:lnTo>
                  <a:pt x="2110" y="1288"/>
                </a:lnTo>
                <a:lnTo>
                  <a:pt x="2108" y="1287"/>
                </a:lnTo>
                <a:lnTo>
                  <a:pt x="2107" y="1285"/>
                </a:lnTo>
                <a:lnTo>
                  <a:pt x="2105" y="1283"/>
                </a:lnTo>
                <a:lnTo>
                  <a:pt x="2105" y="1281"/>
                </a:lnTo>
                <a:lnTo>
                  <a:pt x="2104" y="1278"/>
                </a:lnTo>
                <a:lnTo>
                  <a:pt x="2105" y="1276"/>
                </a:lnTo>
                <a:lnTo>
                  <a:pt x="2105" y="1273"/>
                </a:lnTo>
                <a:lnTo>
                  <a:pt x="2106" y="1271"/>
                </a:lnTo>
                <a:lnTo>
                  <a:pt x="2108" y="1269"/>
                </a:lnTo>
                <a:lnTo>
                  <a:pt x="2110" y="1267"/>
                </a:lnTo>
                <a:lnTo>
                  <a:pt x="2112" y="1266"/>
                </a:lnTo>
                <a:lnTo>
                  <a:pt x="2114" y="1265"/>
                </a:lnTo>
                <a:lnTo>
                  <a:pt x="2115" y="1265"/>
                </a:lnTo>
                <a:close/>
                <a:moveTo>
                  <a:pt x="2246" y="1242"/>
                </a:moveTo>
                <a:lnTo>
                  <a:pt x="2249" y="1242"/>
                </a:lnTo>
                <a:lnTo>
                  <a:pt x="2252" y="1243"/>
                </a:lnTo>
                <a:lnTo>
                  <a:pt x="2254" y="1243"/>
                </a:lnTo>
                <a:lnTo>
                  <a:pt x="2256" y="1245"/>
                </a:lnTo>
                <a:lnTo>
                  <a:pt x="2258" y="1246"/>
                </a:lnTo>
                <a:lnTo>
                  <a:pt x="2259" y="1248"/>
                </a:lnTo>
                <a:lnTo>
                  <a:pt x="2260" y="1251"/>
                </a:lnTo>
                <a:lnTo>
                  <a:pt x="2261" y="1253"/>
                </a:lnTo>
                <a:lnTo>
                  <a:pt x="2261" y="1256"/>
                </a:lnTo>
                <a:lnTo>
                  <a:pt x="2261" y="1258"/>
                </a:lnTo>
                <a:lnTo>
                  <a:pt x="2258" y="1262"/>
                </a:lnTo>
                <a:lnTo>
                  <a:pt x="2257" y="1264"/>
                </a:lnTo>
                <a:lnTo>
                  <a:pt x="2255" y="1266"/>
                </a:lnTo>
                <a:lnTo>
                  <a:pt x="2253" y="1267"/>
                </a:lnTo>
                <a:lnTo>
                  <a:pt x="2251" y="1267"/>
                </a:lnTo>
                <a:lnTo>
                  <a:pt x="2248" y="1267"/>
                </a:lnTo>
                <a:lnTo>
                  <a:pt x="2245" y="1267"/>
                </a:lnTo>
                <a:lnTo>
                  <a:pt x="2243" y="1266"/>
                </a:lnTo>
                <a:lnTo>
                  <a:pt x="2241" y="1265"/>
                </a:lnTo>
                <a:lnTo>
                  <a:pt x="2239" y="1263"/>
                </a:lnTo>
                <a:lnTo>
                  <a:pt x="2237" y="1261"/>
                </a:lnTo>
                <a:lnTo>
                  <a:pt x="2236" y="1259"/>
                </a:lnTo>
                <a:lnTo>
                  <a:pt x="2236" y="1256"/>
                </a:lnTo>
                <a:lnTo>
                  <a:pt x="2236" y="1254"/>
                </a:lnTo>
                <a:lnTo>
                  <a:pt x="2236" y="1251"/>
                </a:lnTo>
                <a:lnTo>
                  <a:pt x="2238" y="1247"/>
                </a:lnTo>
                <a:lnTo>
                  <a:pt x="2240" y="1245"/>
                </a:lnTo>
                <a:lnTo>
                  <a:pt x="2242" y="1244"/>
                </a:lnTo>
                <a:lnTo>
                  <a:pt x="2244" y="1243"/>
                </a:lnTo>
                <a:lnTo>
                  <a:pt x="2246" y="1242"/>
                </a:lnTo>
                <a:close/>
                <a:moveTo>
                  <a:pt x="2180" y="1252"/>
                </a:moveTo>
                <a:lnTo>
                  <a:pt x="2185" y="1252"/>
                </a:lnTo>
                <a:lnTo>
                  <a:pt x="2187" y="1253"/>
                </a:lnTo>
                <a:lnTo>
                  <a:pt x="2189" y="1254"/>
                </a:lnTo>
                <a:lnTo>
                  <a:pt x="2191" y="1256"/>
                </a:lnTo>
                <a:lnTo>
                  <a:pt x="2193" y="1257"/>
                </a:lnTo>
                <a:lnTo>
                  <a:pt x="2194" y="1260"/>
                </a:lnTo>
                <a:lnTo>
                  <a:pt x="2194" y="1262"/>
                </a:lnTo>
                <a:lnTo>
                  <a:pt x="2194" y="1267"/>
                </a:lnTo>
                <a:lnTo>
                  <a:pt x="2193" y="1270"/>
                </a:lnTo>
                <a:lnTo>
                  <a:pt x="2192" y="1272"/>
                </a:lnTo>
                <a:lnTo>
                  <a:pt x="2191" y="1274"/>
                </a:lnTo>
                <a:lnTo>
                  <a:pt x="2189" y="1275"/>
                </a:lnTo>
                <a:lnTo>
                  <a:pt x="2187" y="1276"/>
                </a:lnTo>
                <a:lnTo>
                  <a:pt x="2184" y="1277"/>
                </a:lnTo>
                <a:lnTo>
                  <a:pt x="2179" y="1277"/>
                </a:lnTo>
                <a:lnTo>
                  <a:pt x="2177" y="1276"/>
                </a:lnTo>
                <a:lnTo>
                  <a:pt x="2175" y="1275"/>
                </a:lnTo>
                <a:lnTo>
                  <a:pt x="2173" y="1273"/>
                </a:lnTo>
                <a:lnTo>
                  <a:pt x="2171" y="1271"/>
                </a:lnTo>
                <a:lnTo>
                  <a:pt x="2170" y="1269"/>
                </a:lnTo>
                <a:lnTo>
                  <a:pt x="2169" y="1267"/>
                </a:lnTo>
                <a:lnTo>
                  <a:pt x="2169" y="1262"/>
                </a:lnTo>
                <a:lnTo>
                  <a:pt x="2170" y="1259"/>
                </a:lnTo>
                <a:lnTo>
                  <a:pt x="2171" y="1257"/>
                </a:lnTo>
                <a:lnTo>
                  <a:pt x="2173" y="1255"/>
                </a:lnTo>
                <a:lnTo>
                  <a:pt x="2175" y="1254"/>
                </a:lnTo>
                <a:lnTo>
                  <a:pt x="2177" y="1253"/>
                </a:lnTo>
                <a:lnTo>
                  <a:pt x="2180" y="1252"/>
                </a:lnTo>
                <a:close/>
                <a:moveTo>
                  <a:pt x="717" y="2229"/>
                </a:moveTo>
                <a:lnTo>
                  <a:pt x="721" y="2229"/>
                </a:lnTo>
                <a:lnTo>
                  <a:pt x="723" y="2229"/>
                </a:lnTo>
                <a:lnTo>
                  <a:pt x="725" y="2230"/>
                </a:lnTo>
                <a:lnTo>
                  <a:pt x="727" y="2231"/>
                </a:lnTo>
                <a:lnTo>
                  <a:pt x="729" y="2233"/>
                </a:lnTo>
                <a:lnTo>
                  <a:pt x="730" y="2235"/>
                </a:lnTo>
                <a:lnTo>
                  <a:pt x="731" y="2237"/>
                </a:lnTo>
                <a:lnTo>
                  <a:pt x="732" y="2242"/>
                </a:lnTo>
                <a:lnTo>
                  <a:pt x="732" y="2245"/>
                </a:lnTo>
                <a:lnTo>
                  <a:pt x="731" y="2247"/>
                </a:lnTo>
                <a:lnTo>
                  <a:pt x="729" y="2250"/>
                </a:lnTo>
                <a:lnTo>
                  <a:pt x="727" y="2252"/>
                </a:lnTo>
                <a:lnTo>
                  <a:pt x="724" y="2253"/>
                </a:lnTo>
                <a:lnTo>
                  <a:pt x="722" y="2254"/>
                </a:lnTo>
                <a:lnTo>
                  <a:pt x="718" y="2254"/>
                </a:lnTo>
                <a:lnTo>
                  <a:pt x="716" y="2254"/>
                </a:lnTo>
                <a:lnTo>
                  <a:pt x="714" y="2253"/>
                </a:lnTo>
                <a:lnTo>
                  <a:pt x="712" y="2252"/>
                </a:lnTo>
                <a:lnTo>
                  <a:pt x="710" y="2250"/>
                </a:lnTo>
                <a:lnTo>
                  <a:pt x="708" y="2248"/>
                </a:lnTo>
                <a:lnTo>
                  <a:pt x="707" y="2246"/>
                </a:lnTo>
                <a:lnTo>
                  <a:pt x="707" y="2241"/>
                </a:lnTo>
                <a:lnTo>
                  <a:pt x="707" y="2239"/>
                </a:lnTo>
                <a:lnTo>
                  <a:pt x="708" y="2236"/>
                </a:lnTo>
                <a:lnTo>
                  <a:pt x="710" y="2234"/>
                </a:lnTo>
                <a:lnTo>
                  <a:pt x="712" y="2231"/>
                </a:lnTo>
                <a:lnTo>
                  <a:pt x="714" y="2230"/>
                </a:lnTo>
                <a:lnTo>
                  <a:pt x="717" y="2229"/>
                </a:lnTo>
                <a:close/>
                <a:moveTo>
                  <a:pt x="747" y="2170"/>
                </a:moveTo>
                <a:lnTo>
                  <a:pt x="751" y="2169"/>
                </a:lnTo>
                <a:lnTo>
                  <a:pt x="753" y="2170"/>
                </a:lnTo>
                <a:lnTo>
                  <a:pt x="755" y="2171"/>
                </a:lnTo>
                <a:lnTo>
                  <a:pt x="757" y="2172"/>
                </a:lnTo>
                <a:lnTo>
                  <a:pt x="759" y="2174"/>
                </a:lnTo>
                <a:lnTo>
                  <a:pt x="760" y="2176"/>
                </a:lnTo>
                <a:lnTo>
                  <a:pt x="761" y="2178"/>
                </a:lnTo>
                <a:lnTo>
                  <a:pt x="762" y="2183"/>
                </a:lnTo>
                <a:lnTo>
                  <a:pt x="762" y="2185"/>
                </a:lnTo>
                <a:lnTo>
                  <a:pt x="761" y="2188"/>
                </a:lnTo>
                <a:lnTo>
                  <a:pt x="759" y="2190"/>
                </a:lnTo>
                <a:lnTo>
                  <a:pt x="757" y="2192"/>
                </a:lnTo>
                <a:lnTo>
                  <a:pt x="754" y="2194"/>
                </a:lnTo>
                <a:lnTo>
                  <a:pt x="752" y="2195"/>
                </a:lnTo>
                <a:lnTo>
                  <a:pt x="748" y="2195"/>
                </a:lnTo>
                <a:lnTo>
                  <a:pt x="746" y="2194"/>
                </a:lnTo>
                <a:lnTo>
                  <a:pt x="744" y="2194"/>
                </a:lnTo>
                <a:lnTo>
                  <a:pt x="741" y="2192"/>
                </a:lnTo>
                <a:lnTo>
                  <a:pt x="740" y="2190"/>
                </a:lnTo>
                <a:lnTo>
                  <a:pt x="738" y="2188"/>
                </a:lnTo>
                <a:lnTo>
                  <a:pt x="737" y="2186"/>
                </a:lnTo>
                <a:lnTo>
                  <a:pt x="737" y="2181"/>
                </a:lnTo>
                <a:lnTo>
                  <a:pt x="737" y="2179"/>
                </a:lnTo>
                <a:lnTo>
                  <a:pt x="738" y="2176"/>
                </a:lnTo>
                <a:lnTo>
                  <a:pt x="740" y="2174"/>
                </a:lnTo>
                <a:lnTo>
                  <a:pt x="742" y="2172"/>
                </a:lnTo>
                <a:lnTo>
                  <a:pt x="744" y="2170"/>
                </a:lnTo>
                <a:lnTo>
                  <a:pt x="747" y="2170"/>
                </a:lnTo>
                <a:close/>
                <a:moveTo>
                  <a:pt x="777" y="2111"/>
                </a:moveTo>
                <a:lnTo>
                  <a:pt x="781" y="2111"/>
                </a:lnTo>
                <a:lnTo>
                  <a:pt x="785" y="2112"/>
                </a:lnTo>
                <a:lnTo>
                  <a:pt x="787" y="2113"/>
                </a:lnTo>
                <a:lnTo>
                  <a:pt x="789" y="2115"/>
                </a:lnTo>
                <a:lnTo>
                  <a:pt x="791" y="2117"/>
                </a:lnTo>
                <a:lnTo>
                  <a:pt x="792" y="2119"/>
                </a:lnTo>
                <a:lnTo>
                  <a:pt x="792" y="2122"/>
                </a:lnTo>
                <a:lnTo>
                  <a:pt x="792" y="2124"/>
                </a:lnTo>
                <a:lnTo>
                  <a:pt x="792" y="2127"/>
                </a:lnTo>
                <a:lnTo>
                  <a:pt x="791" y="2129"/>
                </a:lnTo>
                <a:lnTo>
                  <a:pt x="789" y="2132"/>
                </a:lnTo>
                <a:lnTo>
                  <a:pt x="787" y="2134"/>
                </a:lnTo>
                <a:lnTo>
                  <a:pt x="784" y="2135"/>
                </a:lnTo>
                <a:lnTo>
                  <a:pt x="782" y="2136"/>
                </a:lnTo>
                <a:lnTo>
                  <a:pt x="777" y="2136"/>
                </a:lnTo>
                <a:lnTo>
                  <a:pt x="773" y="2135"/>
                </a:lnTo>
                <a:lnTo>
                  <a:pt x="771" y="2133"/>
                </a:lnTo>
                <a:lnTo>
                  <a:pt x="769" y="2131"/>
                </a:lnTo>
                <a:lnTo>
                  <a:pt x="768" y="2129"/>
                </a:lnTo>
                <a:lnTo>
                  <a:pt x="767" y="2127"/>
                </a:lnTo>
                <a:lnTo>
                  <a:pt x="767" y="2125"/>
                </a:lnTo>
                <a:lnTo>
                  <a:pt x="767" y="2122"/>
                </a:lnTo>
                <a:lnTo>
                  <a:pt x="767" y="2120"/>
                </a:lnTo>
                <a:lnTo>
                  <a:pt x="768" y="2117"/>
                </a:lnTo>
                <a:lnTo>
                  <a:pt x="770" y="2115"/>
                </a:lnTo>
                <a:lnTo>
                  <a:pt x="772" y="2113"/>
                </a:lnTo>
                <a:lnTo>
                  <a:pt x="774" y="2111"/>
                </a:lnTo>
                <a:lnTo>
                  <a:pt x="777" y="2111"/>
                </a:lnTo>
                <a:close/>
                <a:moveTo>
                  <a:pt x="808" y="2052"/>
                </a:moveTo>
                <a:lnTo>
                  <a:pt x="813" y="2052"/>
                </a:lnTo>
                <a:lnTo>
                  <a:pt x="817" y="2054"/>
                </a:lnTo>
                <a:lnTo>
                  <a:pt x="819" y="2055"/>
                </a:lnTo>
                <a:lnTo>
                  <a:pt x="821" y="2057"/>
                </a:lnTo>
                <a:lnTo>
                  <a:pt x="822" y="2059"/>
                </a:lnTo>
                <a:lnTo>
                  <a:pt x="823" y="2061"/>
                </a:lnTo>
                <a:lnTo>
                  <a:pt x="823" y="2064"/>
                </a:lnTo>
                <a:lnTo>
                  <a:pt x="823" y="2066"/>
                </a:lnTo>
                <a:lnTo>
                  <a:pt x="823" y="2069"/>
                </a:lnTo>
                <a:lnTo>
                  <a:pt x="822" y="2071"/>
                </a:lnTo>
                <a:lnTo>
                  <a:pt x="820" y="2073"/>
                </a:lnTo>
                <a:lnTo>
                  <a:pt x="818" y="2075"/>
                </a:lnTo>
                <a:lnTo>
                  <a:pt x="815" y="2077"/>
                </a:lnTo>
                <a:lnTo>
                  <a:pt x="813" y="2077"/>
                </a:lnTo>
                <a:lnTo>
                  <a:pt x="809" y="2078"/>
                </a:lnTo>
                <a:lnTo>
                  <a:pt x="804" y="2076"/>
                </a:lnTo>
                <a:lnTo>
                  <a:pt x="802" y="2075"/>
                </a:lnTo>
                <a:lnTo>
                  <a:pt x="801" y="2073"/>
                </a:lnTo>
                <a:lnTo>
                  <a:pt x="799" y="2071"/>
                </a:lnTo>
                <a:lnTo>
                  <a:pt x="798" y="2068"/>
                </a:lnTo>
                <a:lnTo>
                  <a:pt x="798" y="2066"/>
                </a:lnTo>
                <a:lnTo>
                  <a:pt x="798" y="2064"/>
                </a:lnTo>
                <a:lnTo>
                  <a:pt x="798" y="2061"/>
                </a:lnTo>
                <a:lnTo>
                  <a:pt x="799" y="2059"/>
                </a:lnTo>
                <a:lnTo>
                  <a:pt x="801" y="2056"/>
                </a:lnTo>
                <a:lnTo>
                  <a:pt x="803" y="2054"/>
                </a:lnTo>
                <a:lnTo>
                  <a:pt x="806" y="2053"/>
                </a:lnTo>
                <a:lnTo>
                  <a:pt x="808" y="2052"/>
                </a:lnTo>
                <a:close/>
                <a:moveTo>
                  <a:pt x="841" y="1995"/>
                </a:moveTo>
                <a:lnTo>
                  <a:pt x="845" y="1995"/>
                </a:lnTo>
                <a:lnTo>
                  <a:pt x="847" y="1995"/>
                </a:lnTo>
                <a:lnTo>
                  <a:pt x="849" y="1996"/>
                </a:lnTo>
                <a:lnTo>
                  <a:pt x="851" y="1998"/>
                </a:lnTo>
                <a:lnTo>
                  <a:pt x="853" y="1999"/>
                </a:lnTo>
                <a:lnTo>
                  <a:pt x="854" y="2002"/>
                </a:lnTo>
                <a:lnTo>
                  <a:pt x="855" y="2004"/>
                </a:lnTo>
                <a:lnTo>
                  <a:pt x="856" y="2006"/>
                </a:lnTo>
                <a:lnTo>
                  <a:pt x="856" y="2009"/>
                </a:lnTo>
                <a:lnTo>
                  <a:pt x="855" y="2011"/>
                </a:lnTo>
                <a:lnTo>
                  <a:pt x="854" y="2014"/>
                </a:lnTo>
                <a:lnTo>
                  <a:pt x="853" y="2015"/>
                </a:lnTo>
                <a:lnTo>
                  <a:pt x="852" y="2016"/>
                </a:lnTo>
                <a:lnTo>
                  <a:pt x="850" y="2018"/>
                </a:lnTo>
                <a:lnTo>
                  <a:pt x="848" y="2019"/>
                </a:lnTo>
                <a:lnTo>
                  <a:pt x="845" y="2020"/>
                </a:lnTo>
                <a:lnTo>
                  <a:pt x="841" y="2020"/>
                </a:lnTo>
                <a:lnTo>
                  <a:pt x="839" y="2019"/>
                </a:lnTo>
                <a:lnTo>
                  <a:pt x="837" y="2018"/>
                </a:lnTo>
                <a:lnTo>
                  <a:pt x="834" y="2017"/>
                </a:lnTo>
                <a:lnTo>
                  <a:pt x="833" y="2015"/>
                </a:lnTo>
                <a:lnTo>
                  <a:pt x="831" y="2013"/>
                </a:lnTo>
                <a:lnTo>
                  <a:pt x="831" y="2011"/>
                </a:lnTo>
                <a:lnTo>
                  <a:pt x="830" y="2008"/>
                </a:lnTo>
                <a:lnTo>
                  <a:pt x="830" y="2006"/>
                </a:lnTo>
                <a:lnTo>
                  <a:pt x="831" y="2003"/>
                </a:lnTo>
                <a:lnTo>
                  <a:pt x="832" y="2001"/>
                </a:lnTo>
                <a:lnTo>
                  <a:pt x="833" y="2000"/>
                </a:lnTo>
                <a:lnTo>
                  <a:pt x="834" y="1998"/>
                </a:lnTo>
                <a:lnTo>
                  <a:pt x="836" y="1997"/>
                </a:lnTo>
                <a:lnTo>
                  <a:pt x="838" y="1995"/>
                </a:lnTo>
                <a:lnTo>
                  <a:pt x="841" y="1995"/>
                </a:lnTo>
                <a:close/>
                <a:moveTo>
                  <a:pt x="874" y="1938"/>
                </a:moveTo>
                <a:lnTo>
                  <a:pt x="879" y="1938"/>
                </a:lnTo>
                <a:lnTo>
                  <a:pt x="881" y="1938"/>
                </a:lnTo>
                <a:lnTo>
                  <a:pt x="883" y="1939"/>
                </a:lnTo>
                <a:lnTo>
                  <a:pt x="885" y="1941"/>
                </a:lnTo>
                <a:lnTo>
                  <a:pt x="887" y="1943"/>
                </a:lnTo>
                <a:lnTo>
                  <a:pt x="888" y="1945"/>
                </a:lnTo>
                <a:lnTo>
                  <a:pt x="889" y="1947"/>
                </a:lnTo>
                <a:lnTo>
                  <a:pt x="889" y="1950"/>
                </a:lnTo>
                <a:lnTo>
                  <a:pt x="889" y="1952"/>
                </a:lnTo>
                <a:lnTo>
                  <a:pt x="889" y="1954"/>
                </a:lnTo>
                <a:lnTo>
                  <a:pt x="888" y="1957"/>
                </a:lnTo>
                <a:lnTo>
                  <a:pt x="886" y="1959"/>
                </a:lnTo>
                <a:lnTo>
                  <a:pt x="884" y="1961"/>
                </a:lnTo>
                <a:lnTo>
                  <a:pt x="881" y="1962"/>
                </a:lnTo>
                <a:lnTo>
                  <a:pt x="879" y="1963"/>
                </a:lnTo>
                <a:lnTo>
                  <a:pt x="874" y="1963"/>
                </a:lnTo>
                <a:lnTo>
                  <a:pt x="872" y="1962"/>
                </a:lnTo>
                <a:lnTo>
                  <a:pt x="870" y="1961"/>
                </a:lnTo>
                <a:lnTo>
                  <a:pt x="868" y="1960"/>
                </a:lnTo>
                <a:lnTo>
                  <a:pt x="866" y="1958"/>
                </a:lnTo>
                <a:lnTo>
                  <a:pt x="865" y="1956"/>
                </a:lnTo>
                <a:lnTo>
                  <a:pt x="864" y="1953"/>
                </a:lnTo>
                <a:lnTo>
                  <a:pt x="864" y="1951"/>
                </a:lnTo>
                <a:lnTo>
                  <a:pt x="864" y="1948"/>
                </a:lnTo>
                <a:lnTo>
                  <a:pt x="865" y="1946"/>
                </a:lnTo>
                <a:lnTo>
                  <a:pt x="866" y="1944"/>
                </a:lnTo>
                <a:lnTo>
                  <a:pt x="867" y="1941"/>
                </a:lnTo>
                <a:lnTo>
                  <a:pt x="869" y="1940"/>
                </a:lnTo>
                <a:lnTo>
                  <a:pt x="872" y="1938"/>
                </a:lnTo>
                <a:lnTo>
                  <a:pt x="874" y="1938"/>
                </a:lnTo>
                <a:close/>
                <a:moveTo>
                  <a:pt x="909" y="1881"/>
                </a:moveTo>
                <a:lnTo>
                  <a:pt x="914" y="1881"/>
                </a:lnTo>
                <a:lnTo>
                  <a:pt x="916" y="1882"/>
                </a:lnTo>
                <a:lnTo>
                  <a:pt x="918" y="1883"/>
                </a:lnTo>
                <a:lnTo>
                  <a:pt x="920" y="1885"/>
                </a:lnTo>
                <a:lnTo>
                  <a:pt x="922" y="1887"/>
                </a:lnTo>
                <a:lnTo>
                  <a:pt x="923" y="1889"/>
                </a:lnTo>
                <a:lnTo>
                  <a:pt x="924" y="1891"/>
                </a:lnTo>
                <a:lnTo>
                  <a:pt x="924" y="1894"/>
                </a:lnTo>
                <a:lnTo>
                  <a:pt x="924" y="1896"/>
                </a:lnTo>
                <a:lnTo>
                  <a:pt x="923" y="1899"/>
                </a:lnTo>
                <a:lnTo>
                  <a:pt x="922" y="1901"/>
                </a:lnTo>
                <a:lnTo>
                  <a:pt x="921" y="1903"/>
                </a:lnTo>
                <a:lnTo>
                  <a:pt x="918" y="1905"/>
                </a:lnTo>
                <a:lnTo>
                  <a:pt x="916" y="1906"/>
                </a:lnTo>
                <a:lnTo>
                  <a:pt x="914" y="1907"/>
                </a:lnTo>
                <a:lnTo>
                  <a:pt x="909" y="1907"/>
                </a:lnTo>
                <a:lnTo>
                  <a:pt x="907" y="1906"/>
                </a:lnTo>
                <a:lnTo>
                  <a:pt x="905" y="1905"/>
                </a:lnTo>
                <a:lnTo>
                  <a:pt x="903" y="1903"/>
                </a:lnTo>
                <a:lnTo>
                  <a:pt x="901" y="1901"/>
                </a:lnTo>
                <a:lnTo>
                  <a:pt x="900" y="1899"/>
                </a:lnTo>
                <a:lnTo>
                  <a:pt x="899" y="1897"/>
                </a:lnTo>
                <a:lnTo>
                  <a:pt x="899" y="1894"/>
                </a:lnTo>
                <a:lnTo>
                  <a:pt x="899" y="1892"/>
                </a:lnTo>
                <a:lnTo>
                  <a:pt x="899" y="1889"/>
                </a:lnTo>
                <a:lnTo>
                  <a:pt x="901" y="1887"/>
                </a:lnTo>
                <a:lnTo>
                  <a:pt x="902" y="1885"/>
                </a:lnTo>
                <a:lnTo>
                  <a:pt x="904" y="1883"/>
                </a:lnTo>
                <a:lnTo>
                  <a:pt x="907" y="1882"/>
                </a:lnTo>
                <a:lnTo>
                  <a:pt x="909" y="1881"/>
                </a:lnTo>
                <a:close/>
                <a:moveTo>
                  <a:pt x="945" y="1826"/>
                </a:moveTo>
                <a:lnTo>
                  <a:pt x="950" y="1826"/>
                </a:lnTo>
                <a:lnTo>
                  <a:pt x="952" y="1827"/>
                </a:lnTo>
                <a:lnTo>
                  <a:pt x="955" y="1828"/>
                </a:lnTo>
                <a:lnTo>
                  <a:pt x="957" y="1830"/>
                </a:lnTo>
                <a:lnTo>
                  <a:pt x="958" y="1831"/>
                </a:lnTo>
                <a:lnTo>
                  <a:pt x="959" y="1834"/>
                </a:lnTo>
                <a:lnTo>
                  <a:pt x="960" y="1836"/>
                </a:lnTo>
                <a:lnTo>
                  <a:pt x="960" y="1841"/>
                </a:lnTo>
                <a:lnTo>
                  <a:pt x="959" y="1843"/>
                </a:lnTo>
                <a:lnTo>
                  <a:pt x="958" y="1846"/>
                </a:lnTo>
                <a:lnTo>
                  <a:pt x="956" y="1848"/>
                </a:lnTo>
                <a:lnTo>
                  <a:pt x="954" y="1849"/>
                </a:lnTo>
                <a:lnTo>
                  <a:pt x="952" y="1850"/>
                </a:lnTo>
                <a:lnTo>
                  <a:pt x="950" y="1851"/>
                </a:lnTo>
                <a:lnTo>
                  <a:pt x="945" y="1851"/>
                </a:lnTo>
                <a:lnTo>
                  <a:pt x="943" y="1850"/>
                </a:lnTo>
                <a:lnTo>
                  <a:pt x="940" y="1849"/>
                </a:lnTo>
                <a:lnTo>
                  <a:pt x="938" y="1848"/>
                </a:lnTo>
                <a:lnTo>
                  <a:pt x="937" y="1846"/>
                </a:lnTo>
                <a:lnTo>
                  <a:pt x="936" y="1843"/>
                </a:lnTo>
                <a:lnTo>
                  <a:pt x="935" y="1841"/>
                </a:lnTo>
                <a:lnTo>
                  <a:pt x="935" y="1836"/>
                </a:lnTo>
                <a:lnTo>
                  <a:pt x="936" y="1834"/>
                </a:lnTo>
                <a:lnTo>
                  <a:pt x="937" y="1831"/>
                </a:lnTo>
                <a:lnTo>
                  <a:pt x="939" y="1829"/>
                </a:lnTo>
                <a:lnTo>
                  <a:pt x="941" y="1828"/>
                </a:lnTo>
                <a:lnTo>
                  <a:pt x="943" y="1827"/>
                </a:lnTo>
                <a:lnTo>
                  <a:pt x="945" y="1826"/>
                </a:lnTo>
                <a:close/>
                <a:moveTo>
                  <a:pt x="983" y="1771"/>
                </a:moveTo>
                <a:lnTo>
                  <a:pt x="988" y="1771"/>
                </a:lnTo>
                <a:lnTo>
                  <a:pt x="990" y="1772"/>
                </a:lnTo>
                <a:lnTo>
                  <a:pt x="992" y="1773"/>
                </a:lnTo>
                <a:lnTo>
                  <a:pt x="994" y="1775"/>
                </a:lnTo>
                <a:lnTo>
                  <a:pt x="996" y="1777"/>
                </a:lnTo>
                <a:lnTo>
                  <a:pt x="997" y="1779"/>
                </a:lnTo>
                <a:lnTo>
                  <a:pt x="998" y="1782"/>
                </a:lnTo>
                <a:lnTo>
                  <a:pt x="997" y="1787"/>
                </a:lnTo>
                <a:lnTo>
                  <a:pt x="997" y="1789"/>
                </a:lnTo>
                <a:lnTo>
                  <a:pt x="995" y="1791"/>
                </a:lnTo>
                <a:lnTo>
                  <a:pt x="994" y="1793"/>
                </a:lnTo>
                <a:lnTo>
                  <a:pt x="992" y="1795"/>
                </a:lnTo>
                <a:lnTo>
                  <a:pt x="990" y="1796"/>
                </a:lnTo>
                <a:lnTo>
                  <a:pt x="987" y="1797"/>
                </a:lnTo>
                <a:lnTo>
                  <a:pt x="982" y="1796"/>
                </a:lnTo>
                <a:lnTo>
                  <a:pt x="980" y="1796"/>
                </a:lnTo>
                <a:lnTo>
                  <a:pt x="978" y="1794"/>
                </a:lnTo>
                <a:lnTo>
                  <a:pt x="976" y="1793"/>
                </a:lnTo>
                <a:lnTo>
                  <a:pt x="974" y="1791"/>
                </a:lnTo>
                <a:lnTo>
                  <a:pt x="973" y="1789"/>
                </a:lnTo>
                <a:lnTo>
                  <a:pt x="972" y="1786"/>
                </a:lnTo>
                <a:lnTo>
                  <a:pt x="972" y="1781"/>
                </a:lnTo>
                <a:lnTo>
                  <a:pt x="973" y="1779"/>
                </a:lnTo>
                <a:lnTo>
                  <a:pt x="974" y="1777"/>
                </a:lnTo>
                <a:lnTo>
                  <a:pt x="976" y="1775"/>
                </a:lnTo>
                <a:lnTo>
                  <a:pt x="978" y="1773"/>
                </a:lnTo>
                <a:lnTo>
                  <a:pt x="980" y="1772"/>
                </a:lnTo>
                <a:lnTo>
                  <a:pt x="983" y="1771"/>
                </a:lnTo>
                <a:close/>
                <a:moveTo>
                  <a:pt x="1021" y="1718"/>
                </a:moveTo>
                <a:lnTo>
                  <a:pt x="1026" y="1718"/>
                </a:lnTo>
                <a:lnTo>
                  <a:pt x="1029" y="1719"/>
                </a:lnTo>
                <a:lnTo>
                  <a:pt x="1031" y="1720"/>
                </a:lnTo>
                <a:lnTo>
                  <a:pt x="1033" y="1722"/>
                </a:lnTo>
                <a:lnTo>
                  <a:pt x="1035" y="1724"/>
                </a:lnTo>
                <a:lnTo>
                  <a:pt x="1036" y="1726"/>
                </a:lnTo>
                <a:lnTo>
                  <a:pt x="1036" y="1728"/>
                </a:lnTo>
                <a:lnTo>
                  <a:pt x="1036" y="1731"/>
                </a:lnTo>
                <a:lnTo>
                  <a:pt x="1036" y="1733"/>
                </a:lnTo>
                <a:lnTo>
                  <a:pt x="1035" y="1736"/>
                </a:lnTo>
                <a:lnTo>
                  <a:pt x="1034" y="1738"/>
                </a:lnTo>
                <a:lnTo>
                  <a:pt x="1032" y="1740"/>
                </a:lnTo>
                <a:lnTo>
                  <a:pt x="1030" y="1741"/>
                </a:lnTo>
                <a:lnTo>
                  <a:pt x="1028" y="1742"/>
                </a:lnTo>
                <a:lnTo>
                  <a:pt x="1026" y="1743"/>
                </a:lnTo>
                <a:lnTo>
                  <a:pt x="1021" y="1743"/>
                </a:lnTo>
                <a:lnTo>
                  <a:pt x="1018" y="1742"/>
                </a:lnTo>
                <a:lnTo>
                  <a:pt x="1016" y="1741"/>
                </a:lnTo>
                <a:lnTo>
                  <a:pt x="1014" y="1739"/>
                </a:lnTo>
                <a:lnTo>
                  <a:pt x="1013" y="1737"/>
                </a:lnTo>
                <a:lnTo>
                  <a:pt x="1012" y="1735"/>
                </a:lnTo>
                <a:lnTo>
                  <a:pt x="1011" y="1732"/>
                </a:lnTo>
                <a:lnTo>
                  <a:pt x="1011" y="1730"/>
                </a:lnTo>
                <a:lnTo>
                  <a:pt x="1011" y="1727"/>
                </a:lnTo>
                <a:lnTo>
                  <a:pt x="1012" y="1725"/>
                </a:lnTo>
                <a:lnTo>
                  <a:pt x="1013" y="1723"/>
                </a:lnTo>
                <a:lnTo>
                  <a:pt x="1015" y="1721"/>
                </a:lnTo>
                <a:lnTo>
                  <a:pt x="1017" y="1719"/>
                </a:lnTo>
                <a:lnTo>
                  <a:pt x="1019" y="1718"/>
                </a:lnTo>
                <a:lnTo>
                  <a:pt x="1021" y="1718"/>
                </a:lnTo>
                <a:close/>
                <a:moveTo>
                  <a:pt x="1061" y="1665"/>
                </a:moveTo>
                <a:lnTo>
                  <a:pt x="1064" y="1665"/>
                </a:lnTo>
                <a:lnTo>
                  <a:pt x="1067" y="1665"/>
                </a:lnTo>
                <a:lnTo>
                  <a:pt x="1069" y="1666"/>
                </a:lnTo>
                <a:lnTo>
                  <a:pt x="1072" y="1667"/>
                </a:lnTo>
                <a:lnTo>
                  <a:pt x="1073" y="1669"/>
                </a:lnTo>
                <a:lnTo>
                  <a:pt x="1075" y="1671"/>
                </a:lnTo>
                <a:lnTo>
                  <a:pt x="1076" y="1674"/>
                </a:lnTo>
                <a:lnTo>
                  <a:pt x="1076" y="1676"/>
                </a:lnTo>
                <a:lnTo>
                  <a:pt x="1076" y="1678"/>
                </a:lnTo>
                <a:lnTo>
                  <a:pt x="1076" y="1681"/>
                </a:lnTo>
                <a:lnTo>
                  <a:pt x="1075" y="1683"/>
                </a:lnTo>
                <a:lnTo>
                  <a:pt x="1074" y="1685"/>
                </a:lnTo>
                <a:lnTo>
                  <a:pt x="1070" y="1689"/>
                </a:lnTo>
                <a:lnTo>
                  <a:pt x="1068" y="1690"/>
                </a:lnTo>
                <a:lnTo>
                  <a:pt x="1066" y="1690"/>
                </a:lnTo>
                <a:lnTo>
                  <a:pt x="1063" y="1690"/>
                </a:lnTo>
                <a:lnTo>
                  <a:pt x="1061" y="1690"/>
                </a:lnTo>
                <a:lnTo>
                  <a:pt x="1058" y="1689"/>
                </a:lnTo>
                <a:lnTo>
                  <a:pt x="1056" y="1688"/>
                </a:lnTo>
                <a:lnTo>
                  <a:pt x="1054" y="1686"/>
                </a:lnTo>
                <a:lnTo>
                  <a:pt x="1052" y="1684"/>
                </a:lnTo>
                <a:lnTo>
                  <a:pt x="1051" y="1682"/>
                </a:lnTo>
                <a:lnTo>
                  <a:pt x="1051" y="1679"/>
                </a:lnTo>
                <a:lnTo>
                  <a:pt x="1051" y="1677"/>
                </a:lnTo>
                <a:lnTo>
                  <a:pt x="1051" y="1674"/>
                </a:lnTo>
                <a:lnTo>
                  <a:pt x="1052" y="1672"/>
                </a:lnTo>
                <a:lnTo>
                  <a:pt x="1054" y="1670"/>
                </a:lnTo>
                <a:lnTo>
                  <a:pt x="1057" y="1667"/>
                </a:lnTo>
                <a:lnTo>
                  <a:pt x="1059" y="1666"/>
                </a:lnTo>
                <a:lnTo>
                  <a:pt x="1061" y="1665"/>
                </a:lnTo>
                <a:close/>
                <a:moveTo>
                  <a:pt x="1103" y="1613"/>
                </a:moveTo>
                <a:lnTo>
                  <a:pt x="1105" y="1613"/>
                </a:lnTo>
                <a:lnTo>
                  <a:pt x="1108" y="1614"/>
                </a:lnTo>
                <a:lnTo>
                  <a:pt x="1111" y="1615"/>
                </a:lnTo>
                <a:lnTo>
                  <a:pt x="1113" y="1616"/>
                </a:lnTo>
                <a:lnTo>
                  <a:pt x="1115" y="1618"/>
                </a:lnTo>
                <a:lnTo>
                  <a:pt x="1116" y="1620"/>
                </a:lnTo>
                <a:lnTo>
                  <a:pt x="1117" y="1622"/>
                </a:lnTo>
                <a:lnTo>
                  <a:pt x="1118" y="1625"/>
                </a:lnTo>
                <a:lnTo>
                  <a:pt x="1118" y="1627"/>
                </a:lnTo>
                <a:lnTo>
                  <a:pt x="1117" y="1630"/>
                </a:lnTo>
                <a:lnTo>
                  <a:pt x="1116" y="1632"/>
                </a:lnTo>
                <a:lnTo>
                  <a:pt x="1115" y="1634"/>
                </a:lnTo>
                <a:lnTo>
                  <a:pt x="1113" y="1636"/>
                </a:lnTo>
                <a:lnTo>
                  <a:pt x="1111" y="1637"/>
                </a:lnTo>
                <a:lnTo>
                  <a:pt x="1109" y="1638"/>
                </a:lnTo>
                <a:lnTo>
                  <a:pt x="1107" y="1639"/>
                </a:lnTo>
                <a:lnTo>
                  <a:pt x="1105" y="1639"/>
                </a:lnTo>
                <a:lnTo>
                  <a:pt x="1102" y="1638"/>
                </a:lnTo>
                <a:lnTo>
                  <a:pt x="1099" y="1637"/>
                </a:lnTo>
                <a:lnTo>
                  <a:pt x="1097" y="1636"/>
                </a:lnTo>
                <a:lnTo>
                  <a:pt x="1095" y="1634"/>
                </a:lnTo>
                <a:lnTo>
                  <a:pt x="1094" y="1632"/>
                </a:lnTo>
                <a:lnTo>
                  <a:pt x="1093" y="1630"/>
                </a:lnTo>
                <a:lnTo>
                  <a:pt x="1092" y="1627"/>
                </a:lnTo>
                <a:lnTo>
                  <a:pt x="1092" y="1625"/>
                </a:lnTo>
                <a:lnTo>
                  <a:pt x="1093" y="1622"/>
                </a:lnTo>
                <a:lnTo>
                  <a:pt x="1094" y="1620"/>
                </a:lnTo>
                <a:lnTo>
                  <a:pt x="1095" y="1618"/>
                </a:lnTo>
                <a:lnTo>
                  <a:pt x="1097" y="1616"/>
                </a:lnTo>
                <a:lnTo>
                  <a:pt x="1099" y="1615"/>
                </a:lnTo>
                <a:lnTo>
                  <a:pt x="1101" y="1614"/>
                </a:lnTo>
                <a:lnTo>
                  <a:pt x="1103" y="1613"/>
                </a:lnTo>
                <a:close/>
                <a:moveTo>
                  <a:pt x="1146" y="1563"/>
                </a:moveTo>
                <a:lnTo>
                  <a:pt x="1148" y="1563"/>
                </a:lnTo>
                <a:lnTo>
                  <a:pt x="1151" y="1563"/>
                </a:lnTo>
                <a:lnTo>
                  <a:pt x="1154" y="1564"/>
                </a:lnTo>
                <a:lnTo>
                  <a:pt x="1156" y="1566"/>
                </a:lnTo>
                <a:lnTo>
                  <a:pt x="1158" y="1568"/>
                </a:lnTo>
                <a:lnTo>
                  <a:pt x="1159" y="1570"/>
                </a:lnTo>
                <a:lnTo>
                  <a:pt x="1160" y="1572"/>
                </a:lnTo>
                <a:lnTo>
                  <a:pt x="1161" y="1575"/>
                </a:lnTo>
                <a:lnTo>
                  <a:pt x="1160" y="1577"/>
                </a:lnTo>
                <a:lnTo>
                  <a:pt x="1160" y="1579"/>
                </a:lnTo>
                <a:lnTo>
                  <a:pt x="1159" y="1582"/>
                </a:lnTo>
                <a:lnTo>
                  <a:pt x="1157" y="1584"/>
                </a:lnTo>
                <a:lnTo>
                  <a:pt x="1156" y="1585"/>
                </a:lnTo>
                <a:lnTo>
                  <a:pt x="1154" y="1587"/>
                </a:lnTo>
                <a:lnTo>
                  <a:pt x="1152" y="1588"/>
                </a:lnTo>
                <a:lnTo>
                  <a:pt x="1150" y="1588"/>
                </a:lnTo>
                <a:lnTo>
                  <a:pt x="1147" y="1588"/>
                </a:lnTo>
                <a:lnTo>
                  <a:pt x="1144" y="1588"/>
                </a:lnTo>
                <a:lnTo>
                  <a:pt x="1142" y="1587"/>
                </a:lnTo>
                <a:lnTo>
                  <a:pt x="1139" y="1585"/>
                </a:lnTo>
                <a:lnTo>
                  <a:pt x="1138" y="1583"/>
                </a:lnTo>
                <a:lnTo>
                  <a:pt x="1136" y="1581"/>
                </a:lnTo>
                <a:lnTo>
                  <a:pt x="1135" y="1579"/>
                </a:lnTo>
                <a:lnTo>
                  <a:pt x="1135" y="1576"/>
                </a:lnTo>
                <a:lnTo>
                  <a:pt x="1135" y="1574"/>
                </a:lnTo>
                <a:lnTo>
                  <a:pt x="1136" y="1571"/>
                </a:lnTo>
                <a:lnTo>
                  <a:pt x="1137" y="1569"/>
                </a:lnTo>
                <a:lnTo>
                  <a:pt x="1138" y="1567"/>
                </a:lnTo>
                <a:lnTo>
                  <a:pt x="1140" y="1566"/>
                </a:lnTo>
                <a:lnTo>
                  <a:pt x="1142" y="1564"/>
                </a:lnTo>
                <a:lnTo>
                  <a:pt x="1143" y="1563"/>
                </a:lnTo>
                <a:lnTo>
                  <a:pt x="1146" y="1563"/>
                </a:lnTo>
                <a:close/>
                <a:moveTo>
                  <a:pt x="1190" y="1514"/>
                </a:moveTo>
                <a:lnTo>
                  <a:pt x="1193" y="1513"/>
                </a:lnTo>
                <a:lnTo>
                  <a:pt x="1195" y="1514"/>
                </a:lnTo>
                <a:lnTo>
                  <a:pt x="1198" y="1515"/>
                </a:lnTo>
                <a:lnTo>
                  <a:pt x="1201" y="1517"/>
                </a:lnTo>
                <a:lnTo>
                  <a:pt x="1202" y="1519"/>
                </a:lnTo>
                <a:lnTo>
                  <a:pt x="1204" y="1521"/>
                </a:lnTo>
                <a:lnTo>
                  <a:pt x="1204" y="1523"/>
                </a:lnTo>
                <a:lnTo>
                  <a:pt x="1205" y="1526"/>
                </a:lnTo>
                <a:lnTo>
                  <a:pt x="1205" y="1528"/>
                </a:lnTo>
                <a:lnTo>
                  <a:pt x="1204" y="1531"/>
                </a:lnTo>
                <a:lnTo>
                  <a:pt x="1203" y="1533"/>
                </a:lnTo>
                <a:lnTo>
                  <a:pt x="1201" y="1535"/>
                </a:lnTo>
                <a:lnTo>
                  <a:pt x="1200" y="1536"/>
                </a:lnTo>
                <a:lnTo>
                  <a:pt x="1198" y="1537"/>
                </a:lnTo>
                <a:lnTo>
                  <a:pt x="1196" y="1538"/>
                </a:lnTo>
                <a:lnTo>
                  <a:pt x="1194" y="1539"/>
                </a:lnTo>
                <a:lnTo>
                  <a:pt x="1191" y="1539"/>
                </a:lnTo>
                <a:lnTo>
                  <a:pt x="1188" y="1539"/>
                </a:lnTo>
                <a:lnTo>
                  <a:pt x="1186" y="1537"/>
                </a:lnTo>
                <a:lnTo>
                  <a:pt x="1183" y="1536"/>
                </a:lnTo>
                <a:lnTo>
                  <a:pt x="1182" y="1534"/>
                </a:lnTo>
                <a:lnTo>
                  <a:pt x="1180" y="1531"/>
                </a:lnTo>
                <a:lnTo>
                  <a:pt x="1179" y="1529"/>
                </a:lnTo>
                <a:lnTo>
                  <a:pt x="1179" y="1527"/>
                </a:lnTo>
                <a:lnTo>
                  <a:pt x="1179" y="1524"/>
                </a:lnTo>
                <a:lnTo>
                  <a:pt x="1180" y="1522"/>
                </a:lnTo>
                <a:lnTo>
                  <a:pt x="1181" y="1520"/>
                </a:lnTo>
                <a:lnTo>
                  <a:pt x="1183" y="1518"/>
                </a:lnTo>
                <a:lnTo>
                  <a:pt x="1184" y="1516"/>
                </a:lnTo>
                <a:lnTo>
                  <a:pt x="1186" y="1515"/>
                </a:lnTo>
                <a:lnTo>
                  <a:pt x="1188" y="1514"/>
                </a:lnTo>
                <a:lnTo>
                  <a:pt x="1190" y="1514"/>
                </a:lnTo>
                <a:close/>
                <a:moveTo>
                  <a:pt x="1235" y="1466"/>
                </a:moveTo>
                <a:lnTo>
                  <a:pt x="1238" y="1465"/>
                </a:lnTo>
                <a:lnTo>
                  <a:pt x="1241" y="1466"/>
                </a:lnTo>
                <a:lnTo>
                  <a:pt x="1244" y="1467"/>
                </a:lnTo>
                <a:lnTo>
                  <a:pt x="1246" y="1469"/>
                </a:lnTo>
                <a:lnTo>
                  <a:pt x="1248" y="1471"/>
                </a:lnTo>
                <a:lnTo>
                  <a:pt x="1249" y="1473"/>
                </a:lnTo>
                <a:lnTo>
                  <a:pt x="1250" y="1476"/>
                </a:lnTo>
                <a:lnTo>
                  <a:pt x="1250" y="1478"/>
                </a:lnTo>
                <a:lnTo>
                  <a:pt x="1250" y="1481"/>
                </a:lnTo>
                <a:lnTo>
                  <a:pt x="1249" y="1483"/>
                </a:lnTo>
                <a:lnTo>
                  <a:pt x="1248" y="1485"/>
                </a:lnTo>
                <a:lnTo>
                  <a:pt x="1247" y="1487"/>
                </a:lnTo>
                <a:lnTo>
                  <a:pt x="1243" y="1490"/>
                </a:lnTo>
                <a:lnTo>
                  <a:pt x="1240" y="1491"/>
                </a:lnTo>
                <a:lnTo>
                  <a:pt x="1237" y="1491"/>
                </a:lnTo>
                <a:lnTo>
                  <a:pt x="1234" y="1491"/>
                </a:lnTo>
                <a:lnTo>
                  <a:pt x="1231" y="1489"/>
                </a:lnTo>
                <a:lnTo>
                  <a:pt x="1229" y="1487"/>
                </a:lnTo>
                <a:lnTo>
                  <a:pt x="1227" y="1485"/>
                </a:lnTo>
                <a:lnTo>
                  <a:pt x="1226" y="1483"/>
                </a:lnTo>
                <a:lnTo>
                  <a:pt x="1225" y="1481"/>
                </a:lnTo>
                <a:lnTo>
                  <a:pt x="1225" y="1478"/>
                </a:lnTo>
                <a:lnTo>
                  <a:pt x="1225" y="1476"/>
                </a:lnTo>
                <a:lnTo>
                  <a:pt x="1226" y="1474"/>
                </a:lnTo>
                <a:lnTo>
                  <a:pt x="1227" y="1471"/>
                </a:lnTo>
                <a:lnTo>
                  <a:pt x="1228" y="1469"/>
                </a:lnTo>
                <a:lnTo>
                  <a:pt x="1232" y="1467"/>
                </a:lnTo>
                <a:lnTo>
                  <a:pt x="1235" y="1466"/>
                </a:lnTo>
                <a:close/>
                <a:moveTo>
                  <a:pt x="1282" y="1419"/>
                </a:moveTo>
                <a:lnTo>
                  <a:pt x="1285" y="1419"/>
                </a:lnTo>
                <a:lnTo>
                  <a:pt x="1288" y="1420"/>
                </a:lnTo>
                <a:lnTo>
                  <a:pt x="1291" y="1421"/>
                </a:lnTo>
                <a:lnTo>
                  <a:pt x="1294" y="1423"/>
                </a:lnTo>
                <a:lnTo>
                  <a:pt x="1295" y="1425"/>
                </a:lnTo>
                <a:lnTo>
                  <a:pt x="1296" y="1427"/>
                </a:lnTo>
                <a:lnTo>
                  <a:pt x="1297" y="1432"/>
                </a:lnTo>
                <a:lnTo>
                  <a:pt x="1297" y="1434"/>
                </a:lnTo>
                <a:lnTo>
                  <a:pt x="1296" y="1437"/>
                </a:lnTo>
                <a:lnTo>
                  <a:pt x="1295" y="1439"/>
                </a:lnTo>
                <a:lnTo>
                  <a:pt x="1293" y="1441"/>
                </a:lnTo>
                <a:lnTo>
                  <a:pt x="1290" y="1443"/>
                </a:lnTo>
                <a:lnTo>
                  <a:pt x="1287" y="1444"/>
                </a:lnTo>
                <a:lnTo>
                  <a:pt x="1284" y="1444"/>
                </a:lnTo>
                <a:lnTo>
                  <a:pt x="1281" y="1444"/>
                </a:lnTo>
                <a:lnTo>
                  <a:pt x="1278" y="1443"/>
                </a:lnTo>
                <a:lnTo>
                  <a:pt x="1275" y="1441"/>
                </a:lnTo>
                <a:lnTo>
                  <a:pt x="1274" y="1439"/>
                </a:lnTo>
                <a:lnTo>
                  <a:pt x="1273" y="1436"/>
                </a:lnTo>
                <a:lnTo>
                  <a:pt x="1272" y="1431"/>
                </a:lnTo>
                <a:lnTo>
                  <a:pt x="1272" y="1429"/>
                </a:lnTo>
                <a:lnTo>
                  <a:pt x="1273" y="1427"/>
                </a:lnTo>
                <a:lnTo>
                  <a:pt x="1274" y="1424"/>
                </a:lnTo>
                <a:lnTo>
                  <a:pt x="1276" y="1422"/>
                </a:lnTo>
                <a:lnTo>
                  <a:pt x="1279" y="1420"/>
                </a:lnTo>
                <a:lnTo>
                  <a:pt x="1282" y="1419"/>
                </a:lnTo>
                <a:close/>
                <a:moveTo>
                  <a:pt x="2942" y="1097"/>
                </a:moveTo>
                <a:lnTo>
                  <a:pt x="2943" y="1096"/>
                </a:lnTo>
                <a:lnTo>
                  <a:pt x="2943" y="1122"/>
                </a:lnTo>
                <a:lnTo>
                  <a:pt x="2941" y="1122"/>
                </a:lnTo>
                <a:lnTo>
                  <a:pt x="2939" y="1121"/>
                </a:lnTo>
                <a:lnTo>
                  <a:pt x="2937" y="1120"/>
                </a:lnTo>
                <a:lnTo>
                  <a:pt x="2935" y="1118"/>
                </a:lnTo>
                <a:lnTo>
                  <a:pt x="2933" y="1116"/>
                </a:lnTo>
                <a:lnTo>
                  <a:pt x="2932" y="1114"/>
                </a:lnTo>
                <a:lnTo>
                  <a:pt x="2931" y="1112"/>
                </a:lnTo>
                <a:lnTo>
                  <a:pt x="2931" y="1107"/>
                </a:lnTo>
                <a:lnTo>
                  <a:pt x="2933" y="1103"/>
                </a:lnTo>
                <a:lnTo>
                  <a:pt x="2934" y="1101"/>
                </a:lnTo>
                <a:lnTo>
                  <a:pt x="2935" y="1100"/>
                </a:lnTo>
                <a:lnTo>
                  <a:pt x="2938" y="1098"/>
                </a:lnTo>
                <a:lnTo>
                  <a:pt x="2942" y="1097"/>
                </a:lnTo>
                <a:close/>
                <a:moveTo>
                  <a:pt x="1331" y="1374"/>
                </a:moveTo>
                <a:lnTo>
                  <a:pt x="1334" y="1374"/>
                </a:lnTo>
                <a:lnTo>
                  <a:pt x="1337" y="1375"/>
                </a:lnTo>
                <a:lnTo>
                  <a:pt x="1340" y="1376"/>
                </a:lnTo>
                <a:lnTo>
                  <a:pt x="1341" y="1377"/>
                </a:lnTo>
                <a:lnTo>
                  <a:pt x="1343" y="1378"/>
                </a:lnTo>
                <a:lnTo>
                  <a:pt x="1344" y="1380"/>
                </a:lnTo>
                <a:lnTo>
                  <a:pt x="1345" y="1383"/>
                </a:lnTo>
                <a:lnTo>
                  <a:pt x="1346" y="1387"/>
                </a:lnTo>
                <a:lnTo>
                  <a:pt x="1345" y="1390"/>
                </a:lnTo>
                <a:lnTo>
                  <a:pt x="1345" y="1392"/>
                </a:lnTo>
                <a:lnTo>
                  <a:pt x="1343" y="1394"/>
                </a:lnTo>
                <a:lnTo>
                  <a:pt x="1342" y="1396"/>
                </a:lnTo>
                <a:lnTo>
                  <a:pt x="1339" y="1398"/>
                </a:lnTo>
                <a:lnTo>
                  <a:pt x="1335" y="1399"/>
                </a:lnTo>
                <a:lnTo>
                  <a:pt x="1332" y="1399"/>
                </a:lnTo>
                <a:lnTo>
                  <a:pt x="1329" y="1399"/>
                </a:lnTo>
                <a:lnTo>
                  <a:pt x="1326" y="1397"/>
                </a:lnTo>
                <a:lnTo>
                  <a:pt x="1325" y="1396"/>
                </a:lnTo>
                <a:lnTo>
                  <a:pt x="1323" y="1395"/>
                </a:lnTo>
                <a:lnTo>
                  <a:pt x="1322" y="1393"/>
                </a:lnTo>
                <a:lnTo>
                  <a:pt x="1321" y="1391"/>
                </a:lnTo>
                <a:lnTo>
                  <a:pt x="1320" y="1386"/>
                </a:lnTo>
                <a:lnTo>
                  <a:pt x="1321" y="1384"/>
                </a:lnTo>
                <a:lnTo>
                  <a:pt x="1321" y="1381"/>
                </a:lnTo>
                <a:lnTo>
                  <a:pt x="1323" y="1379"/>
                </a:lnTo>
                <a:lnTo>
                  <a:pt x="1324" y="1377"/>
                </a:lnTo>
                <a:lnTo>
                  <a:pt x="1327" y="1375"/>
                </a:lnTo>
                <a:lnTo>
                  <a:pt x="1331" y="1374"/>
                </a:lnTo>
                <a:close/>
                <a:moveTo>
                  <a:pt x="2877" y="1084"/>
                </a:moveTo>
                <a:lnTo>
                  <a:pt x="2881" y="1084"/>
                </a:lnTo>
                <a:lnTo>
                  <a:pt x="2884" y="1085"/>
                </a:lnTo>
                <a:lnTo>
                  <a:pt x="2886" y="1086"/>
                </a:lnTo>
                <a:lnTo>
                  <a:pt x="2888" y="1087"/>
                </a:lnTo>
                <a:lnTo>
                  <a:pt x="2889" y="1089"/>
                </a:lnTo>
                <a:lnTo>
                  <a:pt x="2891" y="1092"/>
                </a:lnTo>
                <a:lnTo>
                  <a:pt x="2891" y="1094"/>
                </a:lnTo>
                <a:lnTo>
                  <a:pt x="2892" y="1096"/>
                </a:lnTo>
                <a:lnTo>
                  <a:pt x="2891" y="1099"/>
                </a:lnTo>
                <a:lnTo>
                  <a:pt x="2890" y="1103"/>
                </a:lnTo>
                <a:lnTo>
                  <a:pt x="2889" y="1104"/>
                </a:lnTo>
                <a:lnTo>
                  <a:pt x="2888" y="1106"/>
                </a:lnTo>
                <a:lnTo>
                  <a:pt x="2885" y="1108"/>
                </a:lnTo>
                <a:lnTo>
                  <a:pt x="2881" y="1109"/>
                </a:lnTo>
                <a:lnTo>
                  <a:pt x="2876" y="1109"/>
                </a:lnTo>
                <a:lnTo>
                  <a:pt x="2874" y="1108"/>
                </a:lnTo>
                <a:lnTo>
                  <a:pt x="2872" y="1107"/>
                </a:lnTo>
                <a:lnTo>
                  <a:pt x="2870" y="1106"/>
                </a:lnTo>
                <a:lnTo>
                  <a:pt x="2868" y="1104"/>
                </a:lnTo>
                <a:lnTo>
                  <a:pt x="2867" y="1102"/>
                </a:lnTo>
                <a:lnTo>
                  <a:pt x="2866" y="1099"/>
                </a:lnTo>
                <a:lnTo>
                  <a:pt x="2866" y="1097"/>
                </a:lnTo>
                <a:lnTo>
                  <a:pt x="2866" y="1094"/>
                </a:lnTo>
                <a:lnTo>
                  <a:pt x="2868" y="1090"/>
                </a:lnTo>
                <a:lnTo>
                  <a:pt x="2869" y="1089"/>
                </a:lnTo>
                <a:lnTo>
                  <a:pt x="2870" y="1087"/>
                </a:lnTo>
                <a:lnTo>
                  <a:pt x="2873" y="1085"/>
                </a:lnTo>
                <a:lnTo>
                  <a:pt x="2877" y="1084"/>
                </a:lnTo>
                <a:close/>
                <a:moveTo>
                  <a:pt x="1381" y="1331"/>
                </a:moveTo>
                <a:lnTo>
                  <a:pt x="1384" y="1331"/>
                </a:lnTo>
                <a:lnTo>
                  <a:pt x="1387" y="1331"/>
                </a:lnTo>
                <a:lnTo>
                  <a:pt x="1390" y="1333"/>
                </a:lnTo>
                <a:lnTo>
                  <a:pt x="1393" y="1335"/>
                </a:lnTo>
                <a:lnTo>
                  <a:pt x="1394" y="1337"/>
                </a:lnTo>
                <a:lnTo>
                  <a:pt x="1395" y="1340"/>
                </a:lnTo>
                <a:lnTo>
                  <a:pt x="1396" y="1342"/>
                </a:lnTo>
                <a:lnTo>
                  <a:pt x="1396" y="1344"/>
                </a:lnTo>
                <a:lnTo>
                  <a:pt x="1395" y="1347"/>
                </a:lnTo>
                <a:lnTo>
                  <a:pt x="1394" y="1349"/>
                </a:lnTo>
                <a:lnTo>
                  <a:pt x="1393" y="1351"/>
                </a:lnTo>
                <a:lnTo>
                  <a:pt x="1391" y="1353"/>
                </a:lnTo>
                <a:lnTo>
                  <a:pt x="1388" y="1355"/>
                </a:lnTo>
                <a:lnTo>
                  <a:pt x="1385" y="1356"/>
                </a:lnTo>
                <a:lnTo>
                  <a:pt x="1382" y="1356"/>
                </a:lnTo>
                <a:lnTo>
                  <a:pt x="1379" y="1355"/>
                </a:lnTo>
                <a:lnTo>
                  <a:pt x="1376" y="1354"/>
                </a:lnTo>
                <a:lnTo>
                  <a:pt x="1373" y="1352"/>
                </a:lnTo>
                <a:lnTo>
                  <a:pt x="1372" y="1349"/>
                </a:lnTo>
                <a:lnTo>
                  <a:pt x="1371" y="1347"/>
                </a:lnTo>
                <a:lnTo>
                  <a:pt x="1370" y="1345"/>
                </a:lnTo>
                <a:lnTo>
                  <a:pt x="1370" y="1342"/>
                </a:lnTo>
                <a:lnTo>
                  <a:pt x="1371" y="1340"/>
                </a:lnTo>
                <a:lnTo>
                  <a:pt x="1372" y="1338"/>
                </a:lnTo>
                <a:lnTo>
                  <a:pt x="1373" y="1335"/>
                </a:lnTo>
                <a:lnTo>
                  <a:pt x="1375" y="1334"/>
                </a:lnTo>
                <a:lnTo>
                  <a:pt x="1378" y="1332"/>
                </a:lnTo>
                <a:lnTo>
                  <a:pt x="1381" y="1331"/>
                </a:lnTo>
                <a:close/>
                <a:moveTo>
                  <a:pt x="2812" y="1072"/>
                </a:moveTo>
                <a:lnTo>
                  <a:pt x="2816" y="1072"/>
                </a:lnTo>
                <a:lnTo>
                  <a:pt x="2819" y="1072"/>
                </a:lnTo>
                <a:lnTo>
                  <a:pt x="2821" y="1074"/>
                </a:lnTo>
                <a:lnTo>
                  <a:pt x="2823" y="1075"/>
                </a:lnTo>
                <a:lnTo>
                  <a:pt x="2824" y="1077"/>
                </a:lnTo>
                <a:lnTo>
                  <a:pt x="2826" y="1079"/>
                </a:lnTo>
                <a:lnTo>
                  <a:pt x="2826" y="1082"/>
                </a:lnTo>
                <a:lnTo>
                  <a:pt x="2827" y="1084"/>
                </a:lnTo>
                <a:lnTo>
                  <a:pt x="2826" y="1087"/>
                </a:lnTo>
                <a:lnTo>
                  <a:pt x="2825" y="1090"/>
                </a:lnTo>
                <a:lnTo>
                  <a:pt x="2824" y="1092"/>
                </a:lnTo>
                <a:lnTo>
                  <a:pt x="2823" y="1094"/>
                </a:lnTo>
                <a:lnTo>
                  <a:pt x="2820" y="1096"/>
                </a:lnTo>
                <a:lnTo>
                  <a:pt x="2816" y="1097"/>
                </a:lnTo>
                <a:lnTo>
                  <a:pt x="2811" y="1097"/>
                </a:lnTo>
                <a:lnTo>
                  <a:pt x="2809" y="1096"/>
                </a:lnTo>
                <a:lnTo>
                  <a:pt x="2807" y="1095"/>
                </a:lnTo>
                <a:lnTo>
                  <a:pt x="2805" y="1093"/>
                </a:lnTo>
                <a:lnTo>
                  <a:pt x="2803" y="1092"/>
                </a:lnTo>
                <a:lnTo>
                  <a:pt x="2802" y="1089"/>
                </a:lnTo>
                <a:lnTo>
                  <a:pt x="2801" y="1087"/>
                </a:lnTo>
                <a:lnTo>
                  <a:pt x="2801" y="1085"/>
                </a:lnTo>
                <a:lnTo>
                  <a:pt x="2801" y="1082"/>
                </a:lnTo>
                <a:lnTo>
                  <a:pt x="2803" y="1078"/>
                </a:lnTo>
                <a:lnTo>
                  <a:pt x="2804" y="1077"/>
                </a:lnTo>
                <a:lnTo>
                  <a:pt x="2805" y="1075"/>
                </a:lnTo>
                <a:lnTo>
                  <a:pt x="2808" y="1073"/>
                </a:lnTo>
                <a:lnTo>
                  <a:pt x="2812" y="1072"/>
                </a:lnTo>
                <a:close/>
                <a:moveTo>
                  <a:pt x="2746" y="1060"/>
                </a:moveTo>
                <a:lnTo>
                  <a:pt x="2751" y="1060"/>
                </a:lnTo>
                <a:lnTo>
                  <a:pt x="2753" y="1061"/>
                </a:lnTo>
                <a:lnTo>
                  <a:pt x="2756" y="1062"/>
                </a:lnTo>
                <a:lnTo>
                  <a:pt x="2758" y="1063"/>
                </a:lnTo>
                <a:lnTo>
                  <a:pt x="2759" y="1065"/>
                </a:lnTo>
                <a:lnTo>
                  <a:pt x="2760" y="1067"/>
                </a:lnTo>
                <a:lnTo>
                  <a:pt x="2761" y="1070"/>
                </a:lnTo>
                <a:lnTo>
                  <a:pt x="2762" y="1072"/>
                </a:lnTo>
                <a:lnTo>
                  <a:pt x="2761" y="1075"/>
                </a:lnTo>
                <a:lnTo>
                  <a:pt x="2760" y="1079"/>
                </a:lnTo>
                <a:lnTo>
                  <a:pt x="2759" y="1080"/>
                </a:lnTo>
                <a:lnTo>
                  <a:pt x="2758" y="1082"/>
                </a:lnTo>
                <a:lnTo>
                  <a:pt x="2755" y="1084"/>
                </a:lnTo>
                <a:lnTo>
                  <a:pt x="2751" y="1085"/>
                </a:lnTo>
                <a:lnTo>
                  <a:pt x="2746" y="1085"/>
                </a:lnTo>
                <a:lnTo>
                  <a:pt x="2744" y="1084"/>
                </a:lnTo>
                <a:lnTo>
                  <a:pt x="2742" y="1083"/>
                </a:lnTo>
                <a:lnTo>
                  <a:pt x="2740" y="1082"/>
                </a:lnTo>
                <a:lnTo>
                  <a:pt x="2738" y="1080"/>
                </a:lnTo>
                <a:lnTo>
                  <a:pt x="2737" y="1078"/>
                </a:lnTo>
                <a:lnTo>
                  <a:pt x="2736" y="1075"/>
                </a:lnTo>
                <a:lnTo>
                  <a:pt x="2736" y="1073"/>
                </a:lnTo>
                <a:lnTo>
                  <a:pt x="2736" y="1070"/>
                </a:lnTo>
                <a:lnTo>
                  <a:pt x="2737" y="1066"/>
                </a:lnTo>
                <a:lnTo>
                  <a:pt x="2738" y="1065"/>
                </a:lnTo>
                <a:lnTo>
                  <a:pt x="2740" y="1063"/>
                </a:lnTo>
                <a:lnTo>
                  <a:pt x="2743" y="1061"/>
                </a:lnTo>
                <a:lnTo>
                  <a:pt x="2746" y="1060"/>
                </a:lnTo>
                <a:close/>
                <a:moveTo>
                  <a:pt x="1432" y="1289"/>
                </a:moveTo>
                <a:lnTo>
                  <a:pt x="1436" y="1289"/>
                </a:lnTo>
                <a:lnTo>
                  <a:pt x="1439" y="1290"/>
                </a:lnTo>
                <a:lnTo>
                  <a:pt x="1442" y="1291"/>
                </a:lnTo>
                <a:lnTo>
                  <a:pt x="1445" y="1294"/>
                </a:lnTo>
                <a:lnTo>
                  <a:pt x="1447" y="1298"/>
                </a:lnTo>
                <a:lnTo>
                  <a:pt x="1447" y="1301"/>
                </a:lnTo>
                <a:lnTo>
                  <a:pt x="1447" y="1303"/>
                </a:lnTo>
                <a:lnTo>
                  <a:pt x="1447" y="1306"/>
                </a:lnTo>
                <a:lnTo>
                  <a:pt x="1446" y="1308"/>
                </a:lnTo>
                <a:lnTo>
                  <a:pt x="1444" y="1310"/>
                </a:lnTo>
                <a:lnTo>
                  <a:pt x="1442" y="1312"/>
                </a:lnTo>
                <a:lnTo>
                  <a:pt x="1441" y="1313"/>
                </a:lnTo>
                <a:lnTo>
                  <a:pt x="1440" y="1314"/>
                </a:lnTo>
                <a:lnTo>
                  <a:pt x="1437" y="1314"/>
                </a:lnTo>
                <a:lnTo>
                  <a:pt x="1433" y="1315"/>
                </a:lnTo>
                <a:lnTo>
                  <a:pt x="1430" y="1314"/>
                </a:lnTo>
                <a:lnTo>
                  <a:pt x="1427" y="1312"/>
                </a:lnTo>
                <a:lnTo>
                  <a:pt x="1424" y="1310"/>
                </a:lnTo>
                <a:lnTo>
                  <a:pt x="1422" y="1305"/>
                </a:lnTo>
                <a:lnTo>
                  <a:pt x="1422" y="1303"/>
                </a:lnTo>
                <a:lnTo>
                  <a:pt x="1422" y="1300"/>
                </a:lnTo>
                <a:lnTo>
                  <a:pt x="1422" y="1298"/>
                </a:lnTo>
                <a:lnTo>
                  <a:pt x="1423" y="1296"/>
                </a:lnTo>
                <a:lnTo>
                  <a:pt x="1425" y="1293"/>
                </a:lnTo>
                <a:lnTo>
                  <a:pt x="1427" y="1292"/>
                </a:lnTo>
                <a:lnTo>
                  <a:pt x="1428" y="1291"/>
                </a:lnTo>
                <a:lnTo>
                  <a:pt x="1429" y="1290"/>
                </a:lnTo>
                <a:lnTo>
                  <a:pt x="1432" y="1289"/>
                </a:lnTo>
                <a:close/>
                <a:moveTo>
                  <a:pt x="2681" y="1048"/>
                </a:moveTo>
                <a:lnTo>
                  <a:pt x="2686" y="1048"/>
                </a:lnTo>
                <a:lnTo>
                  <a:pt x="2688" y="1049"/>
                </a:lnTo>
                <a:lnTo>
                  <a:pt x="2690" y="1050"/>
                </a:lnTo>
                <a:lnTo>
                  <a:pt x="2692" y="1052"/>
                </a:lnTo>
                <a:lnTo>
                  <a:pt x="2694" y="1054"/>
                </a:lnTo>
                <a:lnTo>
                  <a:pt x="2695" y="1056"/>
                </a:lnTo>
                <a:lnTo>
                  <a:pt x="2696" y="1058"/>
                </a:lnTo>
                <a:lnTo>
                  <a:pt x="2696" y="1061"/>
                </a:lnTo>
                <a:lnTo>
                  <a:pt x="2696" y="1063"/>
                </a:lnTo>
                <a:lnTo>
                  <a:pt x="2695" y="1067"/>
                </a:lnTo>
                <a:lnTo>
                  <a:pt x="2694" y="1069"/>
                </a:lnTo>
                <a:lnTo>
                  <a:pt x="2693" y="1070"/>
                </a:lnTo>
                <a:lnTo>
                  <a:pt x="2689" y="1072"/>
                </a:lnTo>
                <a:lnTo>
                  <a:pt x="2686" y="1074"/>
                </a:lnTo>
                <a:lnTo>
                  <a:pt x="2681" y="1074"/>
                </a:lnTo>
                <a:lnTo>
                  <a:pt x="2679" y="1073"/>
                </a:lnTo>
                <a:lnTo>
                  <a:pt x="2677" y="1072"/>
                </a:lnTo>
                <a:lnTo>
                  <a:pt x="2675" y="1070"/>
                </a:lnTo>
                <a:lnTo>
                  <a:pt x="2673" y="1068"/>
                </a:lnTo>
                <a:lnTo>
                  <a:pt x="2672" y="1066"/>
                </a:lnTo>
                <a:lnTo>
                  <a:pt x="2671" y="1064"/>
                </a:lnTo>
                <a:lnTo>
                  <a:pt x="2671" y="1061"/>
                </a:lnTo>
                <a:lnTo>
                  <a:pt x="2671" y="1059"/>
                </a:lnTo>
                <a:lnTo>
                  <a:pt x="2672" y="1055"/>
                </a:lnTo>
                <a:lnTo>
                  <a:pt x="2673" y="1053"/>
                </a:lnTo>
                <a:lnTo>
                  <a:pt x="2675" y="1052"/>
                </a:lnTo>
                <a:lnTo>
                  <a:pt x="2678" y="1050"/>
                </a:lnTo>
                <a:lnTo>
                  <a:pt x="2681" y="1048"/>
                </a:lnTo>
                <a:close/>
                <a:moveTo>
                  <a:pt x="1485" y="1250"/>
                </a:moveTo>
                <a:lnTo>
                  <a:pt x="1489" y="1249"/>
                </a:lnTo>
                <a:lnTo>
                  <a:pt x="1492" y="1250"/>
                </a:lnTo>
                <a:lnTo>
                  <a:pt x="1495" y="1252"/>
                </a:lnTo>
                <a:lnTo>
                  <a:pt x="1498" y="1255"/>
                </a:lnTo>
                <a:lnTo>
                  <a:pt x="1499" y="1257"/>
                </a:lnTo>
                <a:lnTo>
                  <a:pt x="1500" y="1259"/>
                </a:lnTo>
                <a:lnTo>
                  <a:pt x="1500" y="1262"/>
                </a:lnTo>
                <a:lnTo>
                  <a:pt x="1500" y="1264"/>
                </a:lnTo>
                <a:lnTo>
                  <a:pt x="1499" y="1267"/>
                </a:lnTo>
                <a:lnTo>
                  <a:pt x="1498" y="1269"/>
                </a:lnTo>
                <a:lnTo>
                  <a:pt x="1497" y="1271"/>
                </a:lnTo>
                <a:lnTo>
                  <a:pt x="1495" y="1273"/>
                </a:lnTo>
                <a:lnTo>
                  <a:pt x="1492" y="1274"/>
                </a:lnTo>
                <a:lnTo>
                  <a:pt x="1490" y="1275"/>
                </a:lnTo>
                <a:lnTo>
                  <a:pt x="1486" y="1275"/>
                </a:lnTo>
                <a:lnTo>
                  <a:pt x="1483" y="1274"/>
                </a:lnTo>
                <a:lnTo>
                  <a:pt x="1480" y="1272"/>
                </a:lnTo>
                <a:lnTo>
                  <a:pt x="1477" y="1270"/>
                </a:lnTo>
                <a:lnTo>
                  <a:pt x="1476" y="1267"/>
                </a:lnTo>
                <a:lnTo>
                  <a:pt x="1475" y="1265"/>
                </a:lnTo>
                <a:lnTo>
                  <a:pt x="1475" y="1263"/>
                </a:lnTo>
                <a:lnTo>
                  <a:pt x="1475" y="1260"/>
                </a:lnTo>
                <a:lnTo>
                  <a:pt x="1475" y="1258"/>
                </a:lnTo>
                <a:lnTo>
                  <a:pt x="1476" y="1256"/>
                </a:lnTo>
                <a:lnTo>
                  <a:pt x="1478" y="1253"/>
                </a:lnTo>
                <a:lnTo>
                  <a:pt x="1480" y="1252"/>
                </a:lnTo>
                <a:lnTo>
                  <a:pt x="1482" y="1250"/>
                </a:lnTo>
                <a:lnTo>
                  <a:pt x="1485" y="1250"/>
                </a:lnTo>
                <a:close/>
                <a:moveTo>
                  <a:pt x="2616" y="1037"/>
                </a:moveTo>
                <a:lnTo>
                  <a:pt x="2620" y="1037"/>
                </a:lnTo>
                <a:lnTo>
                  <a:pt x="2623" y="1038"/>
                </a:lnTo>
                <a:lnTo>
                  <a:pt x="2625" y="1039"/>
                </a:lnTo>
                <a:lnTo>
                  <a:pt x="2627" y="1041"/>
                </a:lnTo>
                <a:lnTo>
                  <a:pt x="2629" y="1042"/>
                </a:lnTo>
                <a:lnTo>
                  <a:pt x="2630" y="1044"/>
                </a:lnTo>
                <a:lnTo>
                  <a:pt x="2631" y="1047"/>
                </a:lnTo>
                <a:lnTo>
                  <a:pt x="2631" y="1049"/>
                </a:lnTo>
                <a:lnTo>
                  <a:pt x="2631" y="1052"/>
                </a:lnTo>
                <a:lnTo>
                  <a:pt x="2630" y="1056"/>
                </a:lnTo>
                <a:lnTo>
                  <a:pt x="2629" y="1057"/>
                </a:lnTo>
                <a:lnTo>
                  <a:pt x="2627" y="1059"/>
                </a:lnTo>
                <a:lnTo>
                  <a:pt x="2624" y="1061"/>
                </a:lnTo>
                <a:lnTo>
                  <a:pt x="2621" y="1062"/>
                </a:lnTo>
                <a:lnTo>
                  <a:pt x="2616" y="1062"/>
                </a:lnTo>
                <a:lnTo>
                  <a:pt x="2614" y="1062"/>
                </a:lnTo>
                <a:lnTo>
                  <a:pt x="2611" y="1061"/>
                </a:lnTo>
                <a:lnTo>
                  <a:pt x="2610" y="1059"/>
                </a:lnTo>
                <a:lnTo>
                  <a:pt x="2608" y="1057"/>
                </a:lnTo>
                <a:lnTo>
                  <a:pt x="2607" y="1055"/>
                </a:lnTo>
                <a:lnTo>
                  <a:pt x="2606" y="1053"/>
                </a:lnTo>
                <a:lnTo>
                  <a:pt x="2606" y="1050"/>
                </a:lnTo>
                <a:lnTo>
                  <a:pt x="2606" y="1048"/>
                </a:lnTo>
                <a:lnTo>
                  <a:pt x="2607" y="1044"/>
                </a:lnTo>
                <a:lnTo>
                  <a:pt x="2608" y="1042"/>
                </a:lnTo>
                <a:lnTo>
                  <a:pt x="2609" y="1041"/>
                </a:lnTo>
                <a:lnTo>
                  <a:pt x="2612" y="1038"/>
                </a:lnTo>
                <a:lnTo>
                  <a:pt x="2616" y="1037"/>
                </a:lnTo>
                <a:close/>
                <a:moveTo>
                  <a:pt x="1540" y="1212"/>
                </a:moveTo>
                <a:lnTo>
                  <a:pt x="1543" y="1212"/>
                </a:lnTo>
                <a:lnTo>
                  <a:pt x="1547" y="1213"/>
                </a:lnTo>
                <a:lnTo>
                  <a:pt x="1548" y="1214"/>
                </a:lnTo>
                <a:lnTo>
                  <a:pt x="1550" y="1215"/>
                </a:lnTo>
                <a:lnTo>
                  <a:pt x="1553" y="1218"/>
                </a:lnTo>
                <a:lnTo>
                  <a:pt x="1554" y="1220"/>
                </a:lnTo>
                <a:lnTo>
                  <a:pt x="1554" y="1222"/>
                </a:lnTo>
                <a:lnTo>
                  <a:pt x="1554" y="1227"/>
                </a:lnTo>
                <a:lnTo>
                  <a:pt x="1554" y="1230"/>
                </a:lnTo>
                <a:lnTo>
                  <a:pt x="1553" y="1232"/>
                </a:lnTo>
                <a:lnTo>
                  <a:pt x="1551" y="1234"/>
                </a:lnTo>
                <a:lnTo>
                  <a:pt x="1549" y="1235"/>
                </a:lnTo>
                <a:lnTo>
                  <a:pt x="1547" y="1237"/>
                </a:lnTo>
                <a:lnTo>
                  <a:pt x="1544" y="1237"/>
                </a:lnTo>
                <a:lnTo>
                  <a:pt x="1540" y="1237"/>
                </a:lnTo>
                <a:lnTo>
                  <a:pt x="1537" y="1236"/>
                </a:lnTo>
                <a:lnTo>
                  <a:pt x="1535" y="1236"/>
                </a:lnTo>
                <a:lnTo>
                  <a:pt x="1534" y="1235"/>
                </a:lnTo>
                <a:lnTo>
                  <a:pt x="1531" y="1232"/>
                </a:lnTo>
                <a:lnTo>
                  <a:pt x="1530" y="1229"/>
                </a:lnTo>
                <a:lnTo>
                  <a:pt x="1529" y="1227"/>
                </a:lnTo>
                <a:lnTo>
                  <a:pt x="1529" y="1222"/>
                </a:lnTo>
                <a:lnTo>
                  <a:pt x="1530" y="1220"/>
                </a:lnTo>
                <a:lnTo>
                  <a:pt x="1531" y="1218"/>
                </a:lnTo>
                <a:lnTo>
                  <a:pt x="1533" y="1216"/>
                </a:lnTo>
                <a:lnTo>
                  <a:pt x="1535" y="1214"/>
                </a:lnTo>
                <a:lnTo>
                  <a:pt x="1537" y="1213"/>
                </a:lnTo>
                <a:lnTo>
                  <a:pt x="1540" y="1212"/>
                </a:lnTo>
                <a:close/>
                <a:moveTo>
                  <a:pt x="2551" y="1026"/>
                </a:moveTo>
                <a:lnTo>
                  <a:pt x="2555" y="1026"/>
                </a:lnTo>
                <a:lnTo>
                  <a:pt x="2558" y="1027"/>
                </a:lnTo>
                <a:lnTo>
                  <a:pt x="2560" y="1028"/>
                </a:lnTo>
                <a:lnTo>
                  <a:pt x="2562" y="1030"/>
                </a:lnTo>
                <a:lnTo>
                  <a:pt x="2563" y="1031"/>
                </a:lnTo>
                <a:lnTo>
                  <a:pt x="2565" y="1034"/>
                </a:lnTo>
                <a:lnTo>
                  <a:pt x="2566" y="1036"/>
                </a:lnTo>
                <a:lnTo>
                  <a:pt x="2566" y="1038"/>
                </a:lnTo>
                <a:lnTo>
                  <a:pt x="2566" y="1041"/>
                </a:lnTo>
                <a:lnTo>
                  <a:pt x="2564" y="1045"/>
                </a:lnTo>
                <a:lnTo>
                  <a:pt x="2563" y="1047"/>
                </a:lnTo>
                <a:lnTo>
                  <a:pt x="2562" y="1048"/>
                </a:lnTo>
                <a:lnTo>
                  <a:pt x="2559" y="1050"/>
                </a:lnTo>
                <a:lnTo>
                  <a:pt x="2555" y="1052"/>
                </a:lnTo>
                <a:lnTo>
                  <a:pt x="2551" y="1052"/>
                </a:lnTo>
                <a:lnTo>
                  <a:pt x="2549" y="1051"/>
                </a:lnTo>
                <a:lnTo>
                  <a:pt x="2546" y="1050"/>
                </a:lnTo>
                <a:lnTo>
                  <a:pt x="2544" y="1048"/>
                </a:lnTo>
                <a:lnTo>
                  <a:pt x="2543" y="1046"/>
                </a:lnTo>
                <a:lnTo>
                  <a:pt x="2541" y="1044"/>
                </a:lnTo>
                <a:lnTo>
                  <a:pt x="2541" y="1042"/>
                </a:lnTo>
                <a:lnTo>
                  <a:pt x="2540" y="1039"/>
                </a:lnTo>
                <a:lnTo>
                  <a:pt x="2540" y="1037"/>
                </a:lnTo>
                <a:lnTo>
                  <a:pt x="2542" y="1033"/>
                </a:lnTo>
                <a:lnTo>
                  <a:pt x="2543" y="1031"/>
                </a:lnTo>
                <a:lnTo>
                  <a:pt x="2544" y="1030"/>
                </a:lnTo>
                <a:lnTo>
                  <a:pt x="2547" y="1028"/>
                </a:lnTo>
                <a:lnTo>
                  <a:pt x="2551" y="1026"/>
                </a:lnTo>
                <a:close/>
                <a:moveTo>
                  <a:pt x="1596" y="1177"/>
                </a:moveTo>
                <a:lnTo>
                  <a:pt x="1599" y="1177"/>
                </a:lnTo>
                <a:lnTo>
                  <a:pt x="1603" y="1178"/>
                </a:lnTo>
                <a:lnTo>
                  <a:pt x="1606" y="1180"/>
                </a:lnTo>
                <a:lnTo>
                  <a:pt x="1608" y="1181"/>
                </a:lnTo>
                <a:lnTo>
                  <a:pt x="1609" y="1183"/>
                </a:lnTo>
                <a:lnTo>
                  <a:pt x="1610" y="1185"/>
                </a:lnTo>
                <a:lnTo>
                  <a:pt x="1610" y="1188"/>
                </a:lnTo>
                <a:lnTo>
                  <a:pt x="1611" y="1190"/>
                </a:lnTo>
                <a:lnTo>
                  <a:pt x="1610" y="1192"/>
                </a:lnTo>
                <a:lnTo>
                  <a:pt x="1609" y="1195"/>
                </a:lnTo>
                <a:lnTo>
                  <a:pt x="1608" y="1197"/>
                </a:lnTo>
                <a:lnTo>
                  <a:pt x="1606" y="1199"/>
                </a:lnTo>
                <a:lnTo>
                  <a:pt x="1604" y="1200"/>
                </a:lnTo>
                <a:lnTo>
                  <a:pt x="1602" y="1201"/>
                </a:lnTo>
                <a:lnTo>
                  <a:pt x="1600" y="1202"/>
                </a:lnTo>
                <a:lnTo>
                  <a:pt x="1596" y="1202"/>
                </a:lnTo>
                <a:lnTo>
                  <a:pt x="1593" y="1201"/>
                </a:lnTo>
                <a:lnTo>
                  <a:pt x="1589" y="1199"/>
                </a:lnTo>
                <a:lnTo>
                  <a:pt x="1588" y="1198"/>
                </a:lnTo>
                <a:lnTo>
                  <a:pt x="1587" y="1196"/>
                </a:lnTo>
                <a:lnTo>
                  <a:pt x="1586" y="1194"/>
                </a:lnTo>
                <a:lnTo>
                  <a:pt x="1585" y="1191"/>
                </a:lnTo>
                <a:lnTo>
                  <a:pt x="1585" y="1189"/>
                </a:lnTo>
                <a:lnTo>
                  <a:pt x="1585" y="1186"/>
                </a:lnTo>
                <a:lnTo>
                  <a:pt x="1586" y="1184"/>
                </a:lnTo>
                <a:lnTo>
                  <a:pt x="1587" y="1182"/>
                </a:lnTo>
                <a:lnTo>
                  <a:pt x="1589" y="1180"/>
                </a:lnTo>
                <a:lnTo>
                  <a:pt x="1591" y="1178"/>
                </a:lnTo>
                <a:lnTo>
                  <a:pt x="1593" y="1177"/>
                </a:lnTo>
                <a:lnTo>
                  <a:pt x="1596" y="1177"/>
                </a:lnTo>
                <a:close/>
                <a:moveTo>
                  <a:pt x="2486" y="1016"/>
                </a:moveTo>
                <a:lnTo>
                  <a:pt x="2490" y="1016"/>
                </a:lnTo>
                <a:lnTo>
                  <a:pt x="2492" y="1016"/>
                </a:lnTo>
                <a:lnTo>
                  <a:pt x="2495" y="1017"/>
                </a:lnTo>
                <a:lnTo>
                  <a:pt x="2497" y="1019"/>
                </a:lnTo>
                <a:lnTo>
                  <a:pt x="2498" y="1021"/>
                </a:lnTo>
                <a:lnTo>
                  <a:pt x="2499" y="1023"/>
                </a:lnTo>
                <a:lnTo>
                  <a:pt x="2500" y="1025"/>
                </a:lnTo>
                <a:lnTo>
                  <a:pt x="2501" y="1028"/>
                </a:lnTo>
                <a:lnTo>
                  <a:pt x="2500" y="1030"/>
                </a:lnTo>
                <a:lnTo>
                  <a:pt x="2499" y="1034"/>
                </a:lnTo>
                <a:lnTo>
                  <a:pt x="2498" y="1036"/>
                </a:lnTo>
                <a:lnTo>
                  <a:pt x="2497" y="1037"/>
                </a:lnTo>
                <a:lnTo>
                  <a:pt x="2495" y="1039"/>
                </a:lnTo>
                <a:lnTo>
                  <a:pt x="2494" y="1040"/>
                </a:lnTo>
                <a:lnTo>
                  <a:pt x="2490" y="1041"/>
                </a:lnTo>
                <a:lnTo>
                  <a:pt x="2486" y="1041"/>
                </a:lnTo>
                <a:lnTo>
                  <a:pt x="2483" y="1040"/>
                </a:lnTo>
                <a:lnTo>
                  <a:pt x="2481" y="1039"/>
                </a:lnTo>
                <a:lnTo>
                  <a:pt x="2479" y="1038"/>
                </a:lnTo>
                <a:lnTo>
                  <a:pt x="2477" y="1036"/>
                </a:lnTo>
                <a:lnTo>
                  <a:pt x="2476" y="1034"/>
                </a:lnTo>
                <a:lnTo>
                  <a:pt x="2475" y="1031"/>
                </a:lnTo>
                <a:lnTo>
                  <a:pt x="2475" y="1029"/>
                </a:lnTo>
                <a:lnTo>
                  <a:pt x="2475" y="1026"/>
                </a:lnTo>
                <a:lnTo>
                  <a:pt x="2476" y="1022"/>
                </a:lnTo>
                <a:lnTo>
                  <a:pt x="2477" y="1021"/>
                </a:lnTo>
                <a:lnTo>
                  <a:pt x="2479" y="1019"/>
                </a:lnTo>
                <a:lnTo>
                  <a:pt x="2480" y="1018"/>
                </a:lnTo>
                <a:lnTo>
                  <a:pt x="2482" y="1017"/>
                </a:lnTo>
                <a:lnTo>
                  <a:pt x="2486" y="1016"/>
                </a:lnTo>
                <a:close/>
                <a:moveTo>
                  <a:pt x="1653" y="1144"/>
                </a:moveTo>
                <a:lnTo>
                  <a:pt x="1657" y="1144"/>
                </a:lnTo>
                <a:lnTo>
                  <a:pt x="1661" y="1145"/>
                </a:lnTo>
                <a:lnTo>
                  <a:pt x="1662" y="1146"/>
                </a:lnTo>
                <a:lnTo>
                  <a:pt x="1664" y="1147"/>
                </a:lnTo>
                <a:lnTo>
                  <a:pt x="1666" y="1150"/>
                </a:lnTo>
                <a:lnTo>
                  <a:pt x="1668" y="1155"/>
                </a:lnTo>
                <a:lnTo>
                  <a:pt x="1668" y="1158"/>
                </a:lnTo>
                <a:lnTo>
                  <a:pt x="1667" y="1160"/>
                </a:lnTo>
                <a:lnTo>
                  <a:pt x="1667" y="1162"/>
                </a:lnTo>
                <a:lnTo>
                  <a:pt x="1665" y="1164"/>
                </a:lnTo>
                <a:lnTo>
                  <a:pt x="1663" y="1166"/>
                </a:lnTo>
                <a:lnTo>
                  <a:pt x="1661" y="1168"/>
                </a:lnTo>
                <a:lnTo>
                  <a:pt x="1659" y="1169"/>
                </a:lnTo>
                <a:lnTo>
                  <a:pt x="1657" y="1169"/>
                </a:lnTo>
                <a:lnTo>
                  <a:pt x="1653" y="1169"/>
                </a:lnTo>
                <a:lnTo>
                  <a:pt x="1650" y="1168"/>
                </a:lnTo>
                <a:lnTo>
                  <a:pt x="1648" y="1167"/>
                </a:lnTo>
                <a:lnTo>
                  <a:pt x="1646" y="1166"/>
                </a:lnTo>
                <a:lnTo>
                  <a:pt x="1644" y="1163"/>
                </a:lnTo>
                <a:lnTo>
                  <a:pt x="1642" y="1158"/>
                </a:lnTo>
                <a:lnTo>
                  <a:pt x="1642" y="1155"/>
                </a:lnTo>
                <a:lnTo>
                  <a:pt x="1643" y="1153"/>
                </a:lnTo>
                <a:lnTo>
                  <a:pt x="1644" y="1151"/>
                </a:lnTo>
                <a:lnTo>
                  <a:pt x="1645" y="1148"/>
                </a:lnTo>
                <a:lnTo>
                  <a:pt x="1647" y="1147"/>
                </a:lnTo>
                <a:lnTo>
                  <a:pt x="1649" y="1145"/>
                </a:lnTo>
                <a:lnTo>
                  <a:pt x="1651" y="1144"/>
                </a:lnTo>
                <a:lnTo>
                  <a:pt x="1653" y="1144"/>
                </a:lnTo>
                <a:close/>
                <a:moveTo>
                  <a:pt x="2420" y="1005"/>
                </a:moveTo>
                <a:lnTo>
                  <a:pt x="2424" y="1005"/>
                </a:lnTo>
                <a:lnTo>
                  <a:pt x="2427" y="1006"/>
                </a:lnTo>
                <a:lnTo>
                  <a:pt x="2429" y="1007"/>
                </a:lnTo>
                <a:lnTo>
                  <a:pt x="2431" y="1009"/>
                </a:lnTo>
                <a:lnTo>
                  <a:pt x="2433" y="1011"/>
                </a:lnTo>
                <a:lnTo>
                  <a:pt x="2434" y="1013"/>
                </a:lnTo>
                <a:lnTo>
                  <a:pt x="2435" y="1015"/>
                </a:lnTo>
                <a:lnTo>
                  <a:pt x="2435" y="1017"/>
                </a:lnTo>
                <a:lnTo>
                  <a:pt x="2435" y="1020"/>
                </a:lnTo>
                <a:lnTo>
                  <a:pt x="2434" y="1024"/>
                </a:lnTo>
                <a:lnTo>
                  <a:pt x="2433" y="1026"/>
                </a:lnTo>
                <a:lnTo>
                  <a:pt x="2431" y="1027"/>
                </a:lnTo>
                <a:lnTo>
                  <a:pt x="2430" y="1028"/>
                </a:lnTo>
                <a:lnTo>
                  <a:pt x="2428" y="1029"/>
                </a:lnTo>
                <a:lnTo>
                  <a:pt x="2425" y="1031"/>
                </a:lnTo>
                <a:lnTo>
                  <a:pt x="2420" y="1031"/>
                </a:lnTo>
                <a:lnTo>
                  <a:pt x="2418" y="1030"/>
                </a:lnTo>
                <a:lnTo>
                  <a:pt x="2416" y="1029"/>
                </a:lnTo>
                <a:lnTo>
                  <a:pt x="2414" y="1027"/>
                </a:lnTo>
                <a:lnTo>
                  <a:pt x="2412" y="1026"/>
                </a:lnTo>
                <a:lnTo>
                  <a:pt x="2411" y="1024"/>
                </a:lnTo>
                <a:lnTo>
                  <a:pt x="2410" y="1021"/>
                </a:lnTo>
                <a:lnTo>
                  <a:pt x="2410" y="1019"/>
                </a:lnTo>
                <a:lnTo>
                  <a:pt x="2410" y="1016"/>
                </a:lnTo>
                <a:lnTo>
                  <a:pt x="2411" y="1012"/>
                </a:lnTo>
                <a:lnTo>
                  <a:pt x="2412" y="1011"/>
                </a:lnTo>
                <a:lnTo>
                  <a:pt x="2413" y="1009"/>
                </a:lnTo>
                <a:lnTo>
                  <a:pt x="2415" y="1008"/>
                </a:lnTo>
                <a:lnTo>
                  <a:pt x="2416" y="1007"/>
                </a:lnTo>
                <a:lnTo>
                  <a:pt x="2420" y="1005"/>
                </a:lnTo>
                <a:close/>
                <a:moveTo>
                  <a:pt x="1712" y="1113"/>
                </a:moveTo>
                <a:lnTo>
                  <a:pt x="1716" y="1113"/>
                </a:lnTo>
                <a:lnTo>
                  <a:pt x="1718" y="1113"/>
                </a:lnTo>
                <a:lnTo>
                  <a:pt x="1720" y="1114"/>
                </a:lnTo>
                <a:lnTo>
                  <a:pt x="1722" y="1115"/>
                </a:lnTo>
                <a:lnTo>
                  <a:pt x="1723" y="1116"/>
                </a:lnTo>
                <a:lnTo>
                  <a:pt x="1726" y="1120"/>
                </a:lnTo>
                <a:lnTo>
                  <a:pt x="1726" y="1122"/>
                </a:lnTo>
                <a:lnTo>
                  <a:pt x="1727" y="1125"/>
                </a:lnTo>
                <a:lnTo>
                  <a:pt x="1727" y="1127"/>
                </a:lnTo>
                <a:lnTo>
                  <a:pt x="1726" y="1129"/>
                </a:lnTo>
                <a:lnTo>
                  <a:pt x="1725" y="1132"/>
                </a:lnTo>
                <a:lnTo>
                  <a:pt x="1724" y="1134"/>
                </a:lnTo>
                <a:lnTo>
                  <a:pt x="1722" y="1135"/>
                </a:lnTo>
                <a:lnTo>
                  <a:pt x="1720" y="1138"/>
                </a:lnTo>
                <a:lnTo>
                  <a:pt x="1718" y="1138"/>
                </a:lnTo>
                <a:lnTo>
                  <a:pt x="1716" y="1139"/>
                </a:lnTo>
                <a:lnTo>
                  <a:pt x="1712" y="1139"/>
                </a:lnTo>
                <a:lnTo>
                  <a:pt x="1710" y="1138"/>
                </a:lnTo>
                <a:lnTo>
                  <a:pt x="1708" y="1138"/>
                </a:lnTo>
                <a:lnTo>
                  <a:pt x="1707" y="1137"/>
                </a:lnTo>
                <a:lnTo>
                  <a:pt x="1705" y="1134"/>
                </a:lnTo>
                <a:lnTo>
                  <a:pt x="1702" y="1131"/>
                </a:lnTo>
                <a:lnTo>
                  <a:pt x="1702" y="1128"/>
                </a:lnTo>
                <a:lnTo>
                  <a:pt x="1701" y="1126"/>
                </a:lnTo>
                <a:lnTo>
                  <a:pt x="1701" y="1123"/>
                </a:lnTo>
                <a:lnTo>
                  <a:pt x="1702" y="1121"/>
                </a:lnTo>
                <a:lnTo>
                  <a:pt x="1703" y="1119"/>
                </a:lnTo>
                <a:lnTo>
                  <a:pt x="1704" y="1117"/>
                </a:lnTo>
                <a:lnTo>
                  <a:pt x="1706" y="1115"/>
                </a:lnTo>
                <a:lnTo>
                  <a:pt x="1708" y="1114"/>
                </a:lnTo>
                <a:lnTo>
                  <a:pt x="1710" y="1113"/>
                </a:lnTo>
                <a:lnTo>
                  <a:pt x="1712" y="1113"/>
                </a:lnTo>
                <a:close/>
                <a:moveTo>
                  <a:pt x="2355" y="996"/>
                </a:moveTo>
                <a:lnTo>
                  <a:pt x="2358" y="996"/>
                </a:lnTo>
                <a:lnTo>
                  <a:pt x="2361" y="996"/>
                </a:lnTo>
                <a:lnTo>
                  <a:pt x="2363" y="997"/>
                </a:lnTo>
                <a:lnTo>
                  <a:pt x="2365" y="999"/>
                </a:lnTo>
                <a:lnTo>
                  <a:pt x="2367" y="1001"/>
                </a:lnTo>
                <a:lnTo>
                  <a:pt x="2368" y="1003"/>
                </a:lnTo>
                <a:lnTo>
                  <a:pt x="2369" y="1005"/>
                </a:lnTo>
                <a:lnTo>
                  <a:pt x="2370" y="1008"/>
                </a:lnTo>
                <a:lnTo>
                  <a:pt x="2370" y="1010"/>
                </a:lnTo>
                <a:lnTo>
                  <a:pt x="2369" y="1012"/>
                </a:lnTo>
                <a:lnTo>
                  <a:pt x="2368" y="1014"/>
                </a:lnTo>
                <a:lnTo>
                  <a:pt x="2367" y="1016"/>
                </a:lnTo>
                <a:lnTo>
                  <a:pt x="2366" y="1017"/>
                </a:lnTo>
                <a:lnTo>
                  <a:pt x="2363" y="1020"/>
                </a:lnTo>
                <a:lnTo>
                  <a:pt x="2361" y="1021"/>
                </a:lnTo>
                <a:lnTo>
                  <a:pt x="2359" y="1021"/>
                </a:lnTo>
                <a:lnTo>
                  <a:pt x="2355" y="1021"/>
                </a:lnTo>
                <a:lnTo>
                  <a:pt x="2353" y="1021"/>
                </a:lnTo>
                <a:lnTo>
                  <a:pt x="2351" y="1020"/>
                </a:lnTo>
                <a:lnTo>
                  <a:pt x="2349" y="1018"/>
                </a:lnTo>
                <a:lnTo>
                  <a:pt x="2347" y="1016"/>
                </a:lnTo>
                <a:lnTo>
                  <a:pt x="2346" y="1014"/>
                </a:lnTo>
                <a:lnTo>
                  <a:pt x="2345" y="1012"/>
                </a:lnTo>
                <a:lnTo>
                  <a:pt x="2344" y="1010"/>
                </a:lnTo>
                <a:lnTo>
                  <a:pt x="2344" y="1007"/>
                </a:lnTo>
                <a:lnTo>
                  <a:pt x="2345" y="1005"/>
                </a:lnTo>
                <a:lnTo>
                  <a:pt x="2345" y="1003"/>
                </a:lnTo>
                <a:lnTo>
                  <a:pt x="2346" y="1001"/>
                </a:lnTo>
                <a:lnTo>
                  <a:pt x="2348" y="1000"/>
                </a:lnTo>
                <a:lnTo>
                  <a:pt x="2351" y="997"/>
                </a:lnTo>
                <a:lnTo>
                  <a:pt x="2353" y="996"/>
                </a:lnTo>
                <a:lnTo>
                  <a:pt x="2355" y="996"/>
                </a:lnTo>
                <a:close/>
                <a:moveTo>
                  <a:pt x="1772" y="1085"/>
                </a:moveTo>
                <a:lnTo>
                  <a:pt x="1776" y="1085"/>
                </a:lnTo>
                <a:lnTo>
                  <a:pt x="1780" y="1087"/>
                </a:lnTo>
                <a:lnTo>
                  <a:pt x="1782" y="1088"/>
                </a:lnTo>
                <a:lnTo>
                  <a:pt x="1784" y="1089"/>
                </a:lnTo>
                <a:lnTo>
                  <a:pt x="1786" y="1093"/>
                </a:lnTo>
                <a:lnTo>
                  <a:pt x="1787" y="1095"/>
                </a:lnTo>
                <a:lnTo>
                  <a:pt x="1787" y="1098"/>
                </a:lnTo>
                <a:lnTo>
                  <a:pt x="1787" y="1100"/>
                </a:lnTo>
                <a:lnTo>
                  <a:pt x="1786" y="1103"/>
                </a:lnTo>
                <a:lnTo>
                  <a:pt x="1785" y="1105"/>
                </a:lnTo>
                <a:lnTo>
                  <a:pt x="1783" y="1107"/>
                </a:lnTo>
                <a:lnTo>
                  <a:pt x="1781" y="1108"/>
                </a:lnTo>
                <a:lnTo>
                  <a:pt x="1779" y="1110"/>
                </a:lnTo>
                <a:lnTo>
                  <a:pt x="1776" y="1110"/>
                </a:lnTo>
                <a:lnTo>
                  <a:pt x="1772" y="1110"/>
                </a:lnTo>
                <a:lnTo>
                  <a:pt x="1768" y="1109"/>
                </a:lnTo>
                <a:lnTo>
                  <a:pt x="1766" y="1108"/>
                </a:lnTo>
                <a:lnTo>
                  <a:pt x="1765" y="1107"/>
                </a:lnTo>
                <a:lnTo>
                  <a:pt x="1762" y="1103"/>
                </a:lnTo>
                <a:lnTo>
                  <a:pt x="1762" y="1100"/>
                </a:lnTo>
                <a:lnTo>
                  <a:pt x="1761" y="1098"/>
                </a:lnTo>
                <a:lnTo>
                  <a:pt x="1762" y="1095"/>
                </a:lnTo>
                <a:lnTo>
                  <a:pt x="1762" y="1093"/>
                </a:lnTo>
                <a:lnTo>
                  <a:pt x="1763" y="1091"/>
                </a:lnTo>
                <a:lnTo>
                  <a:pt x="1765" y="1089"/>
                </a:lnTo>
                <a:lnTo>
                  <a:pt x="1767" y="1087"/>
                </a:lnTo>
                <a:lnTo>
                  <a:pt x="1769" y="1086"/>
                </a:lnTo>
                <a:lnTo>
                  <a:pt x="1772" y="1085"/>
                </a:lnTo>
                <a:close/>
                <a:moveTo>
                  <a:pt x="2289" y="990"/>
                </a:moveTo>
                <a:lnTo>
                  <a:pt x="2292" y="990"/>
                </a:lnTo>
                <a:lnTo>
                  <a:pt x="2294" y="990"/>
                </a:lnTo>
                <a:lnTo>
                  <a:pt x="2297" y="991"/>
                </a:lnTo>
                <a:lnTo>
                  <a:pt x="2299" y="993"/>
                </a:lnTo>
                <a:lnTo>
                  <a:pt x="2301" y="994"/>
                </a:lnTo>
                <a:lnTo>
                  <a:pt x="2302" y="996"/>
                </a:lnTo>
                <a:lnTo>
                  <a:pt x="2303" y="998"/>
                </a:lnTo>
                <a:lnTo>
                  <a:pt x="2304" y="1001"/>
                </a:lnTo>
                <a:lnTo>
                  <a:pt x="2304" y="1003"/>
                </a:lnTo>
                <a:lnTo>
                  <a:pt x="2304" y="1006"/>
                </a:lnTo>
                <a:lnTo>
                  <a:pt x="2303" y="1008"/>
                </a:lnTo>
                <a:lnTo>
                  <a:pt x="2302" y="1010"/>
                </a:lnTo>
                <a:lnTo>
                  <a:pt x="2301" y="1011"/>
                </a:lnTo>
                <a:lnTo>
                  <a:pt x="2299" y="1013"/>
                </a:lnTo>
                <a:lnTo>
                  <a:pt x="2297" y="1014"/>
                </a:lnTo>
                <a:lnTo>
                  <a:pt x="2295" y="1015"/>
                </a:lnTo>
                <a:lnTo>
                  <a:pt x="2293" y="1015"/>
                </a:lnTo>
                <a:lnTo>
                  <a:pt x="2290" y="1016"/>
                </a:lnTo>
                <a:lnTo>
                  <a:pt x="2288" y="1015"/>
                </a:lnTo>
                <a:lnTo>
                  <a:pt x="2285" y="1014"/>
                </a:lnTo>
                <a:lnTo>
                  <a:pt x="2283" y="1013"/>
                </a:lnTo>
                <a:lnTo>
                  <a:pt x="2281" y="1011"/>
                </a:lnTo>
                <a:lnTo>
                  <a:pt x="2280" y="1009"/>
                </a:lnTo>
                <a:lnTo>
                  <a:pt x="2279" y="1007"/>
                </a:lnTo>
                <a:lnTo>
                  <a:pt x="2278" y="1005"/>
                </a:lnTo>
                <a:lnTo>
                  <a:pt x="2278" y="1002"/>
                </a:lnTo>
                <a:lnTo>
                  <a:pt x="2279" y="1000"/>
                </a:lnTo>
                <a:lnTo>
                  <a:pt x="2279" y="998"/>
                </a:lnTo>
                <a:lnTo>
                  <a:pt x="2280" y="996"/>
                </a:lnTo>
                <a:lnTo>
                  <a:pt x="2282" y="994"/>
                </a:lnTo>
                <a:lnTo>
                  <a:pt x="2283" y="993"/>
                </a:lnTo>
                <a:lnTo>
                  <a:pt x="2285" y="992"/>
                </a:lnTo>
                <a:lnTo>
                  <a:pt x="2287" y="991"/>
                </a:lnTo>
                <a:lnTo>
                  <a:pt x="2289" y="990"/>
                </a:lnTo>
                <a:close/>
                <a:moveTo>
                  <a:pt x="1833" y="1061"/>
                </a:moveTo>
                <a:lnTo>
                  <a:pt x="1838" y="1061"/>
                </a:lnTo>
                <a:lnTo>
                  <a:pt x="1840" y="1061"/>
                </a:lnTo>
                <a:lnTo>
                  <a:pt x="1842" y="1062"/>
                </a:lnTo>
                <a:lnTo>
                  <a:pt x="1845" y="1065"/>
                </a:lnTo>
                <a:lnTo>
                  <a:pt x="1847" y="1067"/>
                </a:lnTo>
                <a:lnTo>
                  <a:pt x="1848" y="1069"/>
                </a:lnTo>
                <a:lnTo>
                  <a:pt x="1848" y="1074"/>
                </a:lnTo>
                <a:lnTo>
                  <a:pt x="1848" y="1076"/>
                </a:lnTo>
                <a:lnTo>
                  <a:pt x="1847" y="1079"/>
                </a:lnTo>
                <a:lnTo>
                  <a:pt x="1844" y="1083"/>
                </a:lnTo>
                <a:lnTo>
                  <a:pt x="1842" y="1084"/>
                </a:lnTo>
                <a:lnTo>
                  <a:pt x="1840" y="1085"/>
                </a:lnTo>
                <a:lnTo>
                  <a:pt x="1838" y="1086"/>
                </a:lnTo>
                <a:lnTo>
                  <a:pt x="1833" y="1086"/>
                </a:lnTo>
                <a:lnTo>
                  <a:pt x="1831" y="1085"/>
                </a:lnTo>
                <a:lnTo>
                  <a:pt x="1829" y="1085"/>
                </a:lnTo>
                <a:lnTo>
                  <a:pt x="1826" y="1082"/>
                </a:lnTo>
                <a:lnTo>
                  <a:pt x="1825" y="1080"/>
                </a:lnTo>
                <a:lnTo>
                  <a:pt x="1824" y="1078"/>
                </a:lnTo>
                <a:lnTo>
                  <a:pt x="1823" y="1073"/>
                </a:lnTo>
                <a:lnTo>
                  <a:pt x="1823" y="1070"/>
                </a:lnTo>
                <a:lnTo>
                  <a:pt x="1824" y="1068"/>
                </a:lnTo>
                <a:lnTo>
                  <a:pt x="1827" y="1064"/>
                </a:lnTo>
                <a:lnTo>
                  <a:pt x="1829" y="1063"/>
                </a:lnTo>
                <a:lnTo>
                  <a:pt x="1831" y="1061"/>
                </a:lnTo>
                <a:lnTo>
                  <a:pt x="1833" y="1061"/>
                </a:lnTo>
                <a:close/>
                <a:moveTo>
                  <a:pt x="2223" y="988"/>
                </a:moveTo>
                <a:lnTo>
                  <a:pt x="2225" y="988"/>
                </a:lnTo>
                <a:lnTo>
                  <a:pt x="2227" y="989"/>
                </a:lnTo>
                <a:lnTo>
                  <a:pt x="2230" y="989"/>
                </a:lnTo>
                <a:lnTo>
                  <a:pt x="2232" y="990"/>
                </a:lnTo>
                <a:lnTo>
                  <a:pt x="2234" y="992"/>
                </a:lnTo>
                <a:lnTo>
                  <a:pt x="2235" y="994"/>
                </a:lnTo>
                <a:lnTo>
                  <a:pt x="2237" y="996"/>
                </a:lnTo>
                <a:lnTo>
                  <a:pt x="2237" y="998"/>
                </a:lnTo>
                <a:lnTo>
                  <a:pt x="2238" y="1001"/>
                </a:lnTo>
                <a:lnTo>
                  <a:pt x="2237" y="1006"/>
                </a:lnTo>
                <a:lnTo>
                  <a:pt x="2236" y="1008"/>
                </a:lnTo>
                <a:lnTo>
                  <a:pt x="2235" y="1009"/>
                </a:lnTo>
                <a:lnTo>
                  <a:pt x="2231" y="1012"/>
                </a:lnTo>
                <a:lnTo>
                  <a:pt x="2229" y="1013"/>
                </a:lnTo>
                <a:lnTo>
                  <a:pt x="2227" y="1014"/>
                </a:lnTo>
                <a:lnTo>
                  <a:pt x="2225" y="1014"/>
                </a:lnTo>
                <a:lnTo>
                  <a:pt x="2222" y="1014"/>
                </a:lnTo>
                <a:lnTo>
                  <a:pt x="2220" y="1013"/>
                </a:lnTo>
                <a:lnTo>
                  <a:pt x="2218" y="1012"/>
                </a:lnTo>
                <a:lnTo>
                  <a:pt x="2216" y="1010"/>
                </a:lnTo>
                <a:lnTo>
                  <a:pt x="2214" y="1008"/>
                </a:lnTo>
                <a:lnTo>
                  <a:pt x="2213" y="1006"/>
                </a:lnTo>
                <a:lnTo>
                  <a:pt x="2212" y="1004"/>
                </a:lnTo>
                <a:lnTo>
                  <a:pt x="2212" y="1001"/>
                </a:lnTo>
                <a:lnTo>
                  <a:pt x="2213" y="997"/>
                </a:lnTo>
                <a:lnTo>
                  <a:pt x="2214" y="995"/>
                </a:lnTo>
                <a:lnTo>
                  <a:pt x="2215" y="993"/>
                </a:lnTo>
                <a:lnTo>
                  <a:pt x="2218" y="990"/>
                </a:lnTo>
                <a:lnTo>
                  <a:pt x="2220" y="989"/>
                </a:lnTo>
                <a:lnTo>
                  <a:pt x="2223" y="988"/>
                </a:lnTo>
                <a:close/>
                <a:moveTo>
                  <a:pt x="1896" y="1040"/>
                </a:moveTo>
                <a:lnTo>
                  <a:pt x="1901" y="1040"/>
                </a:lnTo>
                <a:lnTo>
                  <a:pt x="1903" y="1040"/>
                </a:lnTo>
                <a:lnTo>
                  <a:pt x="1905" y="1041"/>
                </a:lnTo>
                <a:lnTo>
                  <a:pt x="1907" y="1043"/>
                </a:lnTo>
                <a:lnTo>
                  <a:pt x="1908" y="1044"/>
                </a:lnTo>
                <a:lnTo>
                  <a:pt x="1910" y="1046"/>
                </a:lnTo>
                <a:lnTo>
                  <a:pt x="1911" y="1048"/>
                </a:lnTo>
                <a:lnTo>
                  <a:pt x="1911" y="1051"/>
                </a:lnTo>
                <a:lnTo>
                  <a:pt x="1911" y="1054"/>
                </a:lnTo>
                <a:lnTo>
                  <a:pt x="1911" y="1056"/>
                </a:lnTo>
                <a:lnTo>
                  <a:pt x="1910" y="1058"/>
                </a:lnTo>
                <a:lnTo>
                  <a:pt x="1908" y="1060"/>
                </a:lnTo>
                <a:lnTo>
                  <a:pt x="1907" y="1062"/>
                </a:lnTo>
                <a:lnTo>
                  <a:pt x="1904" y="1063"/>
                </a:lnTo>
                <a:lnTo>
                  <a:pt x="1902" y="1064"/>
                </a:lnTo>
                <a:lnTo>
                  <a:pt x="1900" y="1065"/>
                </a:lnTo>
                <a:lnTo>
                  <a:pt x="1896" y="1065"/>
                </a:lnTo>
                <a:lnTo>
                  <a:pt x="1894" y="1064"/>
                </a:lnTo>
                <a:lnTo>
                  <a:pt x="1892" y="1063"/>
                </a:lnTo>
                <a:lnTo>
                  <a:pt x="1890" y="1062"/>
                </a:lnTo>
                <a:lnTo>
                  <a:pt x="1888" y="1060"/>
                </a:lnTo>
                <a:lnTo>
                  <a:pt x="1887" y="1058"/>
                </a:lnTo>
                <a:lnTo>
                  <a:pt x="1886" y="1056"/>
                </a:lnTo>
                <a:lnTo>
                  <a:pt x="1886" y="1053"/>
                </a:lnTo>
                <a:lnTo>
                  <a:pt x="1886" y="1051"/>
                </a:lnTo>
                <a:lnTo>
                  <a:pt x="1886" y="1049"/>
                </a:lnTo>
                <a:lnTo>
                  <a:pt x="1887" y="1046"/>
                </a:lnTo>
                <a:lnTo>
                  <a:pt x="1888" y="1044"/>
                </a:lnTo>
                <a:lnTo>
                  <a:pt x="1890" y="1042"/>
                </a:lnTo>
                <a:lnTo>
                  <a:pt x="1892" y="1041"/>
                </a:lnTo>
                <a:lnTo>
                  <a:pt x="1895" y="1040"/>
                </a:lnTo>
                <a:lnTo>
                  <a:pt x="1896" y="1040"/>
                </a:lnTo>
                <a:close/>
                <a:moveTo>
                  <a:pt x="2156" y="991"/>
                </a:moveTo>
                <a:lnTo>
                  <a:pt x="2157" y="991"/>
                </a:lnTo>
                <a:lnTo>
                  <a:pt x="2162" y="991"/>
                </a:lnTo>
                <a:lnTo>
                  <a:pt x="2164" y="992"/>
                </a:lnTo>
                <a:lnTo>
                  <a:pt x="2166" y="994"/>
                </a:lnTo>
                <a:lnTo>
                  <a:pt x="2168" y="996"/>
                </a:lnTo>
                <a:lnTo>
                  <a:pt x="2169" y="998"/>
                </a:lnTo>
                <a:lnTo>
                  <a:pt x="2170" y="1000"/>
                </a:lnTo>
                <a:lnTo>
                  <a:pt x="2171" y="1003"/>
                </a:lnTo>
                <a:lnTo>
                  <a:pt x="2171" y="1005"/>
                </a:lnTo>
                <a:lnTo>
                  <a:pt x="2170" y="1007"/>
                </a:lnTo>
                <a:lnTo>
                  <a:pt x="2169" y="1009"/>
                </a:lnTo>
                <a:lnTo>
                  <a:pt x="2168" y="1011"/>
                </a:lnTo>
                <a:lnTo>
                  <a:pt x="2166" y="1013"/>
                </a:lnTo>
                <a:lnTo>
                  <a:pt x="2164" y="1014"/>
                </a:lnTo>
                <a:lnTo>
                  <a:pt x="2160" y="1016"/>
                </a:lnTo>
                <a:lnTo>
                  <a:pt x="2159" y="1016"/>
                </a:lnTo>
                <a:lnTo>
                  <a:pt x="2154" y="1016"/>
                </a:lnTo>
                <a:lnTo>
                  <a:pt x="2151" y="1015"/>
                </a:lnTo>
                <a:lnTo>
                  <a:pt x="2149" y="1013"/>
                </a:lnTo>
                <a:lnTo>
                  <a:pt x="2148" y="1011"/>
                </a:lnTo>
                <a:lnTo>
                  <a:pt x="2146" y="1009"/>
                </a:lnTo>
                <a:lnTo>
                  <a:pt x="2145" y="1007"/>
                </a:lnTo>
                <a:lnTo>
                  <a:pt x="2145" y="1004"/>
                </a:lnTo>
                <a:lnTo>
                  <a:pt x="2145" y="1002"/>
                </a:lnTo>
                <a:lnTo>
                  <a:pt x="2146" y="1000"/>
                </a:lnTo>
                <a:lnTo>
                  <a:pt x="2146" y="997"/>
                </a:lnTo>
                <a:lnTo>
                  <a:pt x="2148" y="996"/>
                </a:lnTo>
                <a:lnTo>
                  <a:pt x="2149" y="994"/>
                </a:lnTo>
                <a:lnTo>
                  <a:pt x="2151" y="993"/>
                </a:lnTo>
                <a:lnTo>
                  <a:pt x="2156" y="991"/>
                </a:lnTo>
                <a:close/>
                <a:moveTo>
                  <a:pt x="1960" y="1022"/>
                </a:moveTo>
                <a:lnTo>
                  <a:pt x="1965" y="1022"/>
                </a:lnTo>
                <a:lnTo>
                  <a:pt x="1967" y="1023"/>
                </a:lnTo>
                <a:lnTo>
                  <a:pt x="1969" y="1024"/>
                </a:lnTo>
                <a:lnTo>
                  <a:pt x="1971" y="1025"/>
                </a:lnTo>
                <a:lnTo>
                  <a:pt x="1972" y="1027"/>
                </a:lnTo>
                <a:lnTo>
                  <a:pt x="1974" y="1029"/>
                </a:lnTo>
                <a:lnTo>
                  <a:pt x="1974" y="1031"/>
                </a:lnTo>
                <a:lnTo>
                  <a:pt x="1975" y="1034"/>
                </a:lnTo>
                <a:lnTo>
                  <a:pt x="1975" y="1036"/>
                </a:lnTo>
                <a:lnTo>
                  <a:pt x="1974" y="1039"/>
                </a:lnTo>
                <a:lnTo>
                  <a:pt x="1973" y="1041"/>
                </a:lnTo>
                <a:lnTo>
                  <a:pt x="1971" y="1043"/>
                </a:lnTo>
                <a:lnTo>
                  <a:pt x="1970" y="1045"/>
                </a:lnTo>
                <a:lnTo>
                  <a:pt x="1968" y="1046"/>
                </a:lnTo>
                <a:lnTo>
                  <a:pt x="1965" y="1047"/>
                </a:lnTo>
                <a:lnTo>
                  <a:pt x="1960" y="1047"/>
                </a:lnTo>
                <a:lnTo>
                  <a:pt x="1957" y="1046"/>
                </a:lnTo>
                <a:lnTo>
                  <a:pt x="1955" y="1045"/>
                </a:lnTo>
                <a:lnTo>
                  <a:pt x="1953" y="1044"/>
                </a:lnTo>
                <a:lnTo>
                  <a:pt x="1952" y="1042"/>
                </a:lnTo>
                <a:lnTo>
                  <a:pt x="1950" y="1040"/>
                </a:lnTo>
                <a:lnTo>
                  <a:pt x="1950" y="1038"/>
                </a:lnTo>
                <a:lnTo>
                  <a:pt x="1949" y="1035"/>
                </a:lnTo>
                <a:lnTo>
                  <a:pt x="1949" y="1032"/>
                </a:lnTo>
                <a:lnTo>
                  <a:pt x="1950" y="1030"/>
                </a:lnTo>
                <a:lnTo>
                  <a:pt x="1951" y="1028"/>
                </a:lnTo>
                <a:lnTo>
                  <a:pt x="1952" y="1026"/>
                </a:lnTo>
                <a:lnTo>
                  <a:pt x="1954" y="1024"/>
                </a:lnTo>
                <a:lnTo>
                  <a:pt x="1956" y="1023"/>
                </a:lnTo>
                <a:lnTo>
                  <a:pt x="1959" y="1022"/>
                </a:lnTo>
                <a:lnTo>
                  <a:pt x="1960" y="1022"/>
                </a:lnTo>
                <a:close/>
                <a:moveTo>
                  <a:pt x="2090" y="997"/>
                </a:moveTo>
                <a:lnTo>
                  <a:pt x="2093" y="997"/>
                </a:lnTo>
                <a:lnTo>
                  <a:pt x="2095" y="998"/>
                </a:lnTo>
                <a:lnTo>
                  <a:pt x="2098" y="999"/>
                </a:lnTo>
                <a:lnTo>
                  <a:pt x="2100" y="1000"/>
                </a:lnTo>
                <a:lnTo>
                  <a:pt x="2102" y="1001"/>
                </a:lnTo>
                <a:lnTo>
                  <a:pt x="2103" y="1003"/>
                </a:lnTo>
                <a:lnTo>
                  <a:pt x="2104" y="1006"/>
                </a:lnTo>
                <a:lnTo>
                  <a:pt x="2105" y="1008"/>
                </a:lnTo>
                <a:lnTo>
                  <a:pt x="2105" y="1011"/>
                </a:lnTo>
                <a:lnTo>
                  <a:pt x="2104" y="1013"/>
                </a:lnTo>
                <a:lnTo>
                  <a:pt x="2104" y="1015"/>
                </a:lnTo>
                <a:lnTo>
                  <a:pt x="2102" y="1018"/>
                </a:lnTo>
                <a:lnTo>
                  <a:pt x="2101" y="1019"/>
                </a:lnTo>
                <a:lnTo>
                  <a:pt x="2099" y="1021"/>
                </a:lnTo>
                <a:lnTo>
                  <a:pt x="2097" y="1022"/>
                </a:lnTo>
                <a:lnTo>
                  <a:pt x="2094" y="1023"/>
                </a:lnTo>
                <a:lnTo>
                  <a:pt x="2091" y="1023"/>
                </a:lnTo>
                <a:lnTo>
                  <a:pt x="2089" y="1022"/>
                </a:lnTo>
                <a:lnTo>
                  <a:pt x="2086" y="1021"/>
                </a:lnTo>
                <a:lnTo>
                  <a:pt x="2084" y="1020"/>
                </a:lnTo>
                <a:lnTo>
                  <a:pt x="2082" y="1018"/>
                </a:lnTo>
                <a:lnTo>
                  <a:pt x="2081" y="1016"/>
                </a:lnTo>
                <a:lnTo>
                  <a:pt x="2080" y="1014"/>
                </a:lnTo>
                <a:lnTo>
                  <a:pt x="2079" y="1012"/>
                </a:lnTo>
                <a:lnTo>
                  <a:pt x="2079" y="1009"/>
                </a:lnTo>
                <a:lnTo>
                  <a:pt x="2080" y="1007"/>
                </a:lnTo>
                <a:lnTo>
                  <a:pt x="2082" y="1002"/>
                </a:lnTo>
                <a:lnTo>
                  <a:pt x="2083" y="1001"/>
                </a:lnTo>
                <a:lnTo>
                  <a:pt x="2085" y="999"/>
                </a:lnTo>
                <a:lnTo>
                  <a:pt x="2087" y="998"/>
                </a:lnTo>
                <a:lnTo>
                  <a:pt x="2090" y="997"/>
                </a:lnTo>
                <a:close/>
                <a:moveTo>
                  <a:pt x="2024" y="1008"/>
                </a:moveTo>
                <a:lnTo>
                  <a:pt x="2029" y="1008"/>
                </a:lnTo>
                <a:lnTo>
                  <a:pt x="2032" y="1009"/>
                </a:lnTo>
                <a:lnTo>
                  <a:pt x="2034" y="1010"/>
                </a:lnTo>
                <a:lnTo>
                  <a:pt x="2036" y="1011"/>
                </a:lnTo>
                <a:lnTo>
                  <a:pt x="2037" y="1013"/>
                </a:lnTo>
                <a:lnTo>
                  <a:pt x="2038" y="1015"/>
                </a:lnTo>
                <a:lnTo>
                  <a:pt x="2039" y="1018"/>
                </a:lnTo>
                <a:lnTo>
                  <a:pt x="2039" y="1023"/>
                </a:lnTo>
                <a:lnTo>
                  <a:pt x="2038" y="1025"/>
                </a:lnTo>
                <a:lnTo>
                  <a:pt x="2037" y="1028"/>
                </a:lnTo>
                <a:lnTo>
                  <a:pt x="2036" y="1029"/>
                </a:lnTo>
                <a:lnTo>
                  <a:pt x="2034" y="1031"/>
                </a:lnTo>
                <a:lnTo>
                  <a:pt x="2031" y="1032"/>
                </a:lnTo>
                <a:lnTo>
                  <a:pt x="2029" y="1033"/>
                </a:lnTo>
                <a:lnTo>
                  <a:pt x="2024" y="1033"/>
                </a:lnTo>
                <a:lnTo>
                  <a:pt x="2022" y="1032"/>
                </a:lnTo>
                <a:lnTo>
                  <a:pt x="2019" y="1031"/>
                </a:lnTo>
                <a:lnTo>
                  <a:pt x="2017" y="1029"/>
                </a:lnTo>
                <a:lnTo>
                  <a:pt x="2016" y="1027"/>
                </a:lnTo>
                <a:lnTo>
                  <a:pt x="2015" y="1025"/>
                </a:lnTo>
                <a:lnTo>
                  <a:pt x="2014" y="1023"/>
                </a:lnTo>
                <a:lnTo>
                  <a:pt x="2014" y="1018"/>
                </a:lnTo>
                <a:lnTo>
                  <a:pt x="2015" y="1015"/>
                </a:lnTo>
                <a:lnTo>
                  <a:pt x="2016" y="1013"/>
                </a:lnTo>
                <a:lnTo>
                  <a:pt x="2018" y="1011"/>
                </a:lnTo>
                <a:lnTo>
                  <a:pt x="2020" y="1010"/>
                </a:lnTo>
                <a:lnTo>
                  <a:pt x="2022" y="1008"/>
                </a:lnTo>
                <a:lnTo>
                  <a:pt x="2024" y="1008"/>
                </a:lnTo>
                <a:close/>
                <a:moveTo>
                  <a:pt x="513" y="2208"/>
                </a:moveTo>
                <a:lnTo>
                  <a:pt x="517" y="2208"/>
                </a:lnTo>
                <a:lnTo>
                  <a:pt x="520" y="2209"/>
                </a:lnTo>
                <a:lnTo>
                  <a:pt x="522" y="2210"/>
                </a:lnTo>
                <a:lnTo>
                  <a:pt x="524" y="2211"/>
                </a:lnTo>
                <a:lnTo>
                  <a:pt x="526" y="2213"/>
                </a:lnTo>
                <a:lnTo>
                  <a:pt x="527" y="2215"/>
                </a:lnTo>
                <a:lnTo>
                  <a:pt x="528" y="2218"/>
                </a:lnTo>
                <a:lnTo>
                  <a:pt x="528" y="2220"/>
                </a:lnTo>
                <a:lnTo>
                  <a:pt x="528" y="2223"/>
                </a:lnTo>
                <a:lnTo>
                  <a:pt x="527" y="2225"/>
                </a:lnTo>
                <a:lnTo>
                  <a:pt x="526" y="2228"/>
                </a:lnTo>
                <a:lnTo>
                  <a:pt x="524" y="2231"/>
                </a:lnTo>
                <a:lnTo>
                  <a:pt x="521" y="2232"/>
                </a:lnTo>
                <a:lnTo>
                  <a:pt x="518" y="2233"/>
                </a:lnTo>
                <a:lnTo>
                  <a:pt x="514" y="2234"/>
                </a:lnTo>
                <a:lnTo>
                  <a:pt x="511" y="2233"/>
                </a:lnTo>
                <a:lnTo>
                  <a:pt x="508" y="2232"/>
                </a:lnTo>
                <a:lnTo>
                  <a:pt x="506" y="2230"/>
                </a:lnTo>
                <a:lnTo>
                  <a:pt x="505" y="2228"/>
                </a:lnTo>
                <a:lnTo>
                  <a:pt x="504" y="2226"/>
                </a:lnTo>
                <a:lnTo>
                  <a:pt x="503" y="2224"/>
                </a:lnTo>
                <a:lnTo>
                  <a:pt x="502" y="2221"/>
                </a:lnTo>
                <a:lnTo>
                  <a:pt x="503" y="2219"/>
                </a:lnTo>
                <a:lnTo>
                  <a:pt x="503" y="2216"/>
                </a:lnTo>
                <a:lnTo>
                  <a:pt x="505" y="2213"/>
                </a:lnTo>
                <a:lnTo>
                  <a:pt x="507" y="2211"/>
                </a:lnTo>
                <a:lnTo>
                  <a:pt x="510" y="2209"/>
                </a:lnTo>
                <a:lnTo>
                  <a:pt x="513" y="2208"/>
                </a:lnTo>
                <a:close/>
                <a:moveTo>
                  <a:pt x="537" y="2146"/>
                </a:moveTo>
                <a:lnTo>
                  <a:pt x="541" y="2146"/>
                </a:lnTo>
                <a:lnTo>
                  <a:pt x="544" y="2147"/>
                </a:lnTo>
                <a:lnTo>
                  <a:pt x="546" y="2148"/>
                </a:lnTo>
                <a:lnTo>
                  <a:pt x="548" y="2150"/>
                </a:lnTo>
                <a:lnTo>
                  <a:pt x="550" y="2152"/>
                </a:lnTo>
                <a:lnTo>
                  <a:pt x="551" y="2154"/>
                </a:lnTo>
                <a:lnTo>
                  <a:pt x="552" y="2156"/>
                </a:lnTo>
                <a:lnTo>
                  <a:pt x="552" y="2159"/>
                </a:lnTo>
                <a:lnTo>
                  <a:pt x="552" y="2161"/>
                </a:lnTo>
                <a:lnTo>
                  <a:pt x="551" y="2164"/>
                </a:lnTo>
                <a:lnTo>
                  <a:pt x="550" y="2167"/>
                </a:lnTo>
                <a:lnTo>
                  <a:pt x="547" y="2169"/>
                </a:lnTo>
                <a:lnTo>
                  <a:pt x="545" y="2171"/>
                </a:lnTo>
                <a:lnTo>
                  <a:pt x="542" y="2172"/>
                </a:lnTo>
                <a:lnTo>
                  <a:pt x="538" y="2172"/>
                </a:lnTo>
                <a:lnTo>
                  <a:pt x="535" y="2171"/>
                </a:lnTo>
                <a:lnTo>
                  <a:pt x="532" y="2170"/>
                </a:lnTo>
                <a:lnTo>
                  <a:pt x="530" y="2168"/>
                </a:lnTo>
                <a:lnTo>
                  <a:pt x="529" y="2166"/>
                </a:lnTo>
                <a:lnTo>
                  <a:pt x="527" y="2164"/>
                </a:lnTo>
                <a:lnTo>
                  <a:pt x="527" y="2162"/>
                </a:lnTo>
                <a:lnTo>
                  <a:pt x="526" y="2159"/>
                </a:lnTo>
                <a:lnTo>
                  <a:pt x="527" y="2157"/>
                </a:lnTo>
                <a:lnTo>
                  <a:pt x="527" y="2154"/>
                </a:lnTo>
                <a:lnTo>
                  <a:pt x="529" y="2151"/>
                </a:lnTo>
                <a:lnTo>
                  <a:pt x="531" y="2149"/>
                </a:lnTo>
                <a:lnTo>
                  <a:pt x="534" y="2147"/>
                </a:lnTo>
                <a:lnTo>
                  <a:pt x="537" y="2146"/>
                </a:lnTo>
                <a:close/>
                <a:moveTo>
                  <a:pt x="562" y="2085"/>
                </a:moveTo>
                <a:lnTo>
                  <a:pt x="566" y="2085"/>
                </a:lnTo>
                <a:lnTo>
                  <a:pt x="569" y="2086"/>
                </a:lnTo>
                <a:lnTo>
                  <a:pt x="572" y="2087"/>
                </a:lnTo>
                <a:lnTo>
                  <a:pt x="574" y="2089"/>
                </a:lnTo>
                <a:lnTo>
                  <a:pt x="575" y="2091"/>
                </a:lnTo>
                <a:lnTo>
                  <a:pt x="576" y="2093"/>
                </a:lnTo>
                <a:lnTo>
                  <a:pt x="577" y="2095"/>
                </a:lnTo>
                <a:lnTo>
                  <a:pt x="577" y="2098"/>
                </a:lnTo>
                <a:lnTo>
                  <a:pt x="577" y="2100"/>
                </a:lnTo>
                <a:lnTo>
                  <a:pt x="576" y="2103"/>
                </a:lnTo>
                <a:lnTo>
                  <a:pt x="575" y="2106"/>
                </a:lnTo>
                <a:lnTo>
                  <a:pt x="572" y="2108"/>
                </a:lnTo>
                <a:lnTo>
                  <a:pt x="570" y="2110"/>
                </a:lnTo>
                <a:lnTo>
                  <a:pt x="567" y="2111"/>
                </a:lnTo>
                <a:lnTo>
                  <a:pt x="563" y="2111"/>
                </a:lnTo>
                <a:lnTo>
                  <a:pt x="559" y="2110"/>
                </a:lnTo>
                <a:lnTo>
                  <a:pt x="557" y="2108"/>
                </a:lnTo>
                <a:lnTo>
                  <a:pt x="555" y="2107"/>
                </a:lnTo>
                <a:lnTo>
                  <a:pt x="554" y="2105"/>
                </a:lnTo>
                <a:lnTo>
                  <a:pt x="552" y="2103"/>
                </a:lnTo>
                <a:lnTo>
                  <a:pt x="552" y="2100"/>
                </a:lnTo>
                <a:lnTo>
                  <a:pt x="551" y="2098"/>
                </a:lnTo>
                <a:lnTo>
                  <a:pt x="552" y="2095"/>
                </a:lnTo>
                <a:lnTo>
                  <a:pt x="552" y="2093"/>
                </a:lnTo>
                <a:lnTo>
                  <a:pt x="554" y="2090"/>
                </a:lnTo>
                <a:lnTo>
                  <a:pt x="556" y="2088"/>
                </a:lnTo>
                <a:lnTo>
                  <a:pt x="559" y="2086"/>
                </a:lnTo>
                <a:lnTo>
                  <a:pt x="562" y="2085"/>
                </a:lnTo>
                <a:close/>
                <a:moveTo>
                  <a:pt x="588" y="2024"/>
                </a:moveTo>
                <a:lnTo>
                  <a:pt x="592" y="2024"/>
                </a:lnTo>
                <a:lnTo>
                  <a:pt x="596" y="2025"/>
                </a:lnTo>
                <a:lnTo>
                  <a:pt x="598" y="2026"/>
                </a:lnTo>
                <a:lnTo>
                  <a:pt x="600" y="2028"/>
                </a:lnTo>
                <a:lnTo>
                  <a:pt x="601" y="2030"/>
                </a:lnTo>
                <a:lnTo>
                  <a:pt x="603" y="2032"/>
                </a:lnTo>
                <a:lnTo>
                  <a:pt x="603" y="2035"/>
                </a:lnTo>
                <a:lnTo>
                  <a:pt x="603" y="2037"/>
                </a:lnTo>
                <a:lnTo>
                  <a:pt x="603" y="2040"/>
                </a:lnTo>
                <a:lnTo>
                  <a:pt x="602" y="2042"/>
                </a:lnTo>
                <a:lnTo>
                  <a:pt x="601" y="2045"/>
                </a:lnTo>
                <a:lnTo>
                  <a:pt x="598" y="2047"/>
                </a:lnTo>
                <a:lnTo>
                  <a:pt x="597" y="2048"/>
                </a:lnTo>
                <a:lnTo>
                  <a:pt x="596" y="2049"/>
                </a:lnTo>
                <a:lnTo>
                  <a:pt x="593" y="2050"/>
                </a:lnTo>
                <a:lnTo>
                  <a:pt x="589" y="2050"/>
                </a:lnTo>
                <a:lnTo>
                  <a:pt x="585" y="2049"/>
                </a:lnTo>
                <a:lnTo>
                  <a:pt x="583" y="2048"/>
                </a:lnTo>
                <a:lnTo>
                  <a:pt x="581" y="2046"/>
                </a:lnTo>
                <a:lnTo>
                  <a:pt x="580" y="2044"/>
                </a:lnTo>
                <a:lnTo>
                  <a:pt x="578" y="2042"/>
                </a:lnTo>
                <a:lnTo>
                  <a:pt x="578" y="2039"/>
                </a:lnTo>
                <a:lnTo>
                  <a:pt x="578" y="2037"/>
                </a:lnTo>
                <a:lnTo>
                  <a:pt x="578" y="2034"/>
                </a:lnTo>
                <a:lnTo>
                  <a:pt x="579" y="2032"/>
                </a:lnTo>
                <a:lnTo>
                  <a:pt x="580" y="2029"/>
                </a:lnTo>
                <a:lnTo>
                  <a:pt x="583" y="2027"/>
                </a:lnTo>
                <a:lnTo>
                  <a:pt x="584" y="2026"/>
                </a:lnTo>
                <a:lnTo>
                  <a:pt x="585" y="2025"/>
                </a:lnTo>
                <a:lnTo>
                  <a:pt x="588" y="2024"/>
                </a:lnTo>
                <a:close/>
                <a:moveTo>
                  <a:pt x="616" y="1964"/>
                </a:moveTo>
                <a:lnTo>
                  <a:pt x="619" y="1964"/>
                </a:lnTo>
                <a:lnTo>
                  <a:pt x="623" y="1965"/>
                </a:lnTo>
                <a:lnTo>
                  <a:pt x="625" y="1966"/>
                </a:lnTo>
                <a:lnTo>
                  <a:pt x="627" y="1968"/>
                </a:lnTo>
                <a:lnTo>
                  <a:pt x="629" y="1970"/>
                </a:lnTo>
                <a:lnTo>
                  <a:pt x="630" y="1972"/>
                </a:lnTo>
                <a:lnTo>
                  <a:pt x="631" y="1975"/>
                </a:lnTo>
                <a:lnTo>
                  <a:pt x="631" y="1977"/>
                </a:lnTo>
                <a:lnTo>
                  <a:pt x="630" y="1980"/>
                </a:lnTo>
                <a:lnTo>
                  <a:pt x="629" y="1982"/>
                </a:lnTo>
                <a:lnTo>
                  <a:pt x="628" y="1985"/>
                </a:lnTo>
                <a:lnTo>
                  <a:pt x="626" y="1987"/>
                </a:lnTo>
                <a:lnTo>
                  <a:pt x="623" y="1989"/>
                </a:lnTo>
                <a:lnTo>
                  <a:pt x="620" y="1989"/>
                </a:lnTo>
                <a:lnTo>
                  <a:pt x="616" y="1990"/>
                </a:lnTo>
                <a:lnTo>
                  <a:pt x="612" y="1988"/>
                </a:lnTo>
                <a:lnTo>
                  <a:pt x="610" y="1987"/>
                </a:lnTo>
                <a:lnTo>
                  <a:pt x="608" y="1985"/>
                </a:lnTo>
                <a:lnTo>
                  <a:pt x="607" y="1983"/>
                </a:lnTo>
                <a:lnTo>
                  <a:pt x="606" y="1981"/>
                </a:lnTo>
                <a:lnTo>
                  <a:pt x="605" y="1979"/>
                </a:lnTo>
                <a:lnTo>
                  <a:pt x="605" y="1976"/>
                </a:lnTo>
                <a:lnTo>
                  <a:pt x="605" y="1974"/>
                </a:lnTo>
                <a:lnTo>
                  <a:pt x="606" y="1971"/>
                </a:lnTo>
                <a:lnTo>
                  <a:pt x="608" y="1969"/>
                </a:lnTo>
                <a:lnTo>
                  <a:pt x="610" y="1966"/>
                </a:lnTo>
                <a:lnTo>
                  <a:pt x="613" y="1965"/>
                </a:lnTo>
                <a:lnTo>
                  <a:pt x="616" y="1964"/>
                </a:lnTo>
                <a:close/>
                <a:moveTo>
                  <a:pt x="644" y="1904"/>
                </a:moveTo>
                <a:lnTo>
                  <a:pt x="648" y="1904"/>
                </a:lnTo>
                <a:lnTo>
                  <a:pt x="650" y="1905"/>
                </a:lnTo>
                <a:lnTo>
                  <a:pt x="652" y="1905"/>
                </a:lnTo>
                <a:lnTo>
                  <a:pt x="654" y="1907"/>
                </a:lnTo>
                <a:lnTo>
                  <a:pt x="656" y="1908"/>
                </a:lnTo>
                <a:lnTo>
                  <a:pt x="657" y="1911"/>
                </a:lnTo>
                <a:lnTo>
                  <a:pt x="658" y="1913"/>
                </a:lnTo>
                <a:lnTo>
                  <a:pt x="659" y="1915"/>
                </a:lnTo>
                <a:lnTo>
                  <a:pt x="659" y="1918"/>
                </a:lnTo>
                <a:lnTo>
                  <a:pt x="659" y="1920"/>
                </a:lnTo>
                <a:lnTo>
                  <a:pt x="658" y="1923"/>
                </a:lnTo>
                <a:lnTo>
                  <a:pt x="656" y="1925"/>
                </a:lnTo>
                <a:lnTo>
                  <a:pt x="654" y="1927"/>
                </a:lnTo>
                <a:lnTo>
                  <a:pt x="651" y="1929"/>
                </a:lnTo>
                <a:lnTo>
                  <a:pt x="648" y="1930"/>
                </a:lnTo>
                <a:lnTo>
                  <a:pt x="644" y="1930"/>
                </a:lnTo>
                <a:lnTo>
                  <a:pt x="642" y="1929"/>
                </a:lnTo>
                <a:lnTo>
                  <a:pt x="641" y="1929"/>
                </a:lnTo>
                <a:lnTo>
                  <a:pt x="638" y="1927"/>
                </a:lnTo>
                <a:lnTo>
                  <a:pt x="636" y="1925"/>
                </a:lnTo>
                <a:lnTo>
                  <a:pt x="635" y="1923"/>
                </a:lnTo>
                <a:lnTo>
                  <a:pt x="634" y="1921"/>
                </a:lnTo>
                <a:lnTo>
                  <a:pt x="633" y="1919"/>
                </a:lnTo>
                <a:lnTo>
                  <a:pt x="633" y="1916"/>
                </a:lnTo>
                <a:lnTo>
                  <a:pt x="634" y="1914"/>
                </a:lnTo>
                <a:lnTo>
                  <a:pt x="635" y="1911"/>
                </a:lnTo>
                <a:lnTo>
                  <a:pt x="636" y="1909"/>
                </a:lnTo>
                <a:lnTo>
                  <a:pt x="638" y="1907"/>
                </a:lnTo>
                <a:lnTo>
                  <a:pt x="641" y="1905"/>
                </a:lnTo>
                <a:lnTo>
                  <a:pt x="644" y="1904"/>
                </a:lnTo>
                <a:close/>
                <a:moveTo>
                  <a:pt x="673" y="1845"/>
                </a:moveTo>
                <a:lnTo>
                  <a:pt x="678" y="1845"/>
                </a:lnTo>
                <a:lnTo>
                  <a:pt x="680" y="1845"/>
                </a:lnTo>
                <a:lnTo>
                  <a:pt x="682" y="1846"/>
                </a:lnTo>
                <a:lnTo>
                  <a:pt x="684" y="1848"/>
                </a:lnTo>
                <a:lnTo>
                  <a:pt x="686" y="1849"/>
                </a:lnTo>
                <a:lnTo>
                  <a:pt x="687" y="1852"/>
                </a:lnTo>
                <a:lnTo>
                  <a:pt x="688" y="1854"/>
                </a:lnTo>
                <a:lnTo>
                  <a:pt x="689" y="1856"/>
                </a:lnTo>
                <a:lnTo>
                  <a:pt x="689" y="1859"/>
                </a:lnTo>
                <a:lnTo>
                  <a:pt x="688" y="1861"/>
                </a:lnTo>
                <a:lnTo>
                  <a:pt x="687" y="1864"/>
                </a:lnTo>
                <a:lnTo>
                  <a:pt x="686" y="1866"/>
                </a:lnTo>
                <a:lnTo>
                  <a:pt x="683" y="1868"/>
                </a:lnTo>
                <a:lnTo>
                  <a:pt x="681" y="1870"/>
                </a:lnTo>
                <a:lnTo>
                  <a:pt x="678" y="1871"/>
                </a:lnTo>
                <a:lnTo>
                  <a:pt x="674" y="1871"/>
                </a:lnTo>
                <a:lnTo>
                  <a:pt x="672" y="1870"/>
                </a:lnTo>
                <a:lnTo>
                  <a:pt x="670" y="1869"/>
                </a:lnTo>
                <a:lnTo>
                  <a:pt x="668" y="1868"/>
                </a:lnTo>
                <a:lnTo>
                  <a:pt x="666" y="1866"/>
                </a:lnTo>
                <a:lnTo>
                  <a:pt x="664" y="1864"/>
                </a:lnTo>
                <a:lnTo>
                  <a:pt x="663" y="1862"/>
                </a:lnTo>
                <a:lnTo>
                  <a:pt x="663" y="1859"/>
                </a:lnTo>
                <a:lnTo>
                  <a:pt x="663" y="1857"/>
                </a:lnTo>
                <a:lnTo>
                  <a:pt x="663" y="1854"/>
                </a:lnTo>
                <a:lnTo>
                  <a:pt x="664" y="1852"/>
                </a:lnTo>
                <a:lnTo>
                  <a:pt x="666" y="1849"/>
                </a:lnTo>
                <a:lnTo>
                  <a:pt x="668" y="1847"/>
                </a:lnTo>
                <a:lnTo>
                  <a:pt x="671" y="1846"/>
                </a:lnTo>
                <a:lnTo>
                  <a:pt x="673" y="1845"/>
                </a:lnTo>
                <a:close/>
                <a:moveTo>
                  <a:pt x="704" y="1786"/>
                </a:moveTo>
                <a:lnTo>
                  <a:pt x="708" y="1786"/>
                </a:lnTo>
                <a:lnTo>
                  <a:pt x="713" y="1788"/>
                </a:lnTo>
                <a:lnTo>
                  <a:pt x="715" y="1789"/>
                </a:lnTo>
                <a:lnTo>
                  <a:pt x="717" y="1791"/>
                </a:lnTo>
                <a:lnTo>
                  <a:pt x="718" y="1793"/>
                </a:lnTo>
                <a:lnTo>
                  <a:pt x="719" y="1795"/>
                </a:lnTo>
                <a:lnTo>
                  <a:pt x="719" y="1798"/>
                </a:lnTo>
                <a:lnTo>
                  <a:pt x="719" y="1800"/>
                </a:lnTo>
                <a:lnTo>
                  <a:pt x="718" y="1805"/>
                </a:lnTo>
                <a:lnTo>
                  <a:pt x="716" y="1808"/>
                </a:lnTo>
                <a:lnTo>
                  <a:pt x="714" y="1810"/>
                </a:lnTo>
                <a:lnTo>
                  <a:pt x="711" y="1811"/>
                </a:lnTo>
                <a:lnTo>
                  <a:pt x="709" y="1812"/>
                </a:lnTo>
                <a:lnTo>
                  <a:pt x="704" y="1812"/>
                </a:lnTo>
                <a:lnTo>
                  <a:pt x="700" y="1811"/>
                </a:lnTo>
                <a:lnTo>
                  <a:pt x="698" y="1809"/>
                </a:lnTo>
                <a:lnTo>
                  <a:pt x="696" y="1807"/>
                </a:lnTo>
                <a:lnTo>
                  <a:pt x="695" y="1805"/>
                </a:lnTo>
                <a:lnTo>
                  <a:pt x="694" y="1803"/>
                </a:lnTo>
                <a:lnTo>
                  <a:pt x="694" y="1800"/>
                </a:lnTo>
                <a:lnTo>
                  <a:pt x="694" y="1798"/>
                </a:lnTo>
                <a:lnTo>
                  <a:pt x="695" y="1793"/>
                </a:lnTo>
                <a:lnTo>
                  <a:pt x="697" y="1791"/>
                </a:lnTo>
                <a:lnTo>
                  <a:pt x="699" y="1789"/>
                </a:lnTo>
                <a:lnTo>
                  <a:pt x="701" y="1787"/>
                </a:lnTo>
                <a:lnTo>
                  <a:pt x="704" y="1786"/>
                </a:lnTo>
                <a:close/>
                <a:moveTo>
                  <a:pt x="737" y="1729"/>
                </a:moveTo>
                <a:lnTo>
                  <a:pt x="742" y="1729"/>
                </a:lnTo>
                <a:lnTo>
                  <a:pt x="744" y="1729"/>
                </a:lnTo>
                <a:lnTo>
                  <a:pt x="746" y="1730"/>
                </a:lnTo>
                <a:lnTo>
                  <a:pt x="748" y="1732"/>
                </a:lnTo>
                <a:lnTo>
                  <a:pt x="750" y="1733"/>
                </a:lnTo>
                <a:lnTo>
                  <a:pt x="751" y="1736"/>
                </a:lnTo>
                <a:lnTo>
                  <a:pt x="752" y="1738"/>
                </a:lnTo>
                <a:lnTo>
                  <a:pt x="752" y="1740"/>
                </a:lnTo>
                <a:lnTo>
                  <a:pt x="752" y="1743"/>
                </a:lnTo>
                <a:lnTo>
                  <a:pt x="751" y="1748"/>
                </a:lnTo>
                <a:lnTo>
                  <a:pt x="749" y="1750"/>
                </a:lnTo>
                <a:lnTo>
                  <a:pt x="747" y="1752"/>
                </a:lnTo>
                <a:lnTo>
                  <a:pt x="744" y="1753"/>
                </a:lnTo>
                <a:lnTo>
                  <a:pt x="742" y="1754"/>
                </a:lnTo>
                <a:lnTo>
                  <a:pt x="737" y="1754"/>
                </a:lnTo>
                <a:lnTo>
                  <a:pt x="734" y="1753"/>
                </a:lnTo>
                <a:lnTo>
                  <a:pt x="732" y="1753"/>
                </a:lnTo>
                <a:lnTo>
                  <a:pt x="730" y="1751"/>
                </a:lnTo>
                <a:lnTo>
                  <a:pt x="728" y="1749"/>
                </a:lnTo>
                <a:lnTo>
                  <a:pt x="727" y="1747"/>
                </a:lnTo>
                <a:lnTo>
                  <a:pt x="726" y="1745"/>
                </a:lnTo>
                <a:lnTo>
                  <a:pt x="726" y="1742"/>
                </a:lnTo>
                <a:lnTo>
                  <a:pt x="726" y="1740"/>
                </a:lnTo>
                <a:lnTo>
                  <a:pt x="726" y="1737"/>
                </a:lnTo>
                <a:lnTo>
                  <a:pt x="727" y="1735"/>
                </a:lnTo>
                <a:lnTo>
                  <a:pt x="729" y="1733"/>
                </a:lnTo>
                <a:lnTo>
                  <a:pt x="731" y="1731"/>
                </a:lnTo>
                <a:lnTo>
                  <a:pt x="734" y="1729"/>
                </a:lnTo>
                <a:lnTo>
                  <a:pt x="737" y="1729"/>
                </a:lnTo>
                <a:close/>
                <a:moveTo>
                  <a:pt x="770" y="1671"/>
                </a:moveTo>
                <a:lnTo>
                  <a:pt x="775" y="1671"/>
                </a:lnTo>
                <a:lnTo>
                  <a:pt x="777" y="1672"/>
                </a:lnTo>
                <a:lnTo>
                  <a:pt x="779" y="1673"/>
                </a:lnTo>
                <a:lnTo>
                  <a:pt x="781" y="1674"/>
                </a:lnTo>
                <a:lnTo>
                  <a:pt x="783" y="1676"/>
                </a:lnTo>
                <a:lnTo>
                  <a:pt x="784" y="1679"/>
                </a:lnTo>
                <a:lnTo>
                  <a:pt x="785" y="1681"/>
                </a:lnTo>
                <a:lnTo>
                  <a:pt x="786" y="1683"/>
                </a:lnTo>
                <a:lnTo>
                  <a:pt x="785" y="1686"/>
                </a:lnTo>
                <a:lnTo>
                  <a:pt x="785" y="1688"/>
                </a:lnTo>
                <a:lnTo>
                  <a:pt x="784" y="1691"/>
                </a:lnTo>
                <a:lnTo>
                  <a:pt x="782" y="1693"/>
                </a:lnTo>
                <a:lnTo>
                  <a:pt x="780" y="1695"/>
                </a:lnTo>
                <a:lnTo>
                  <a:pt x="777" y="1696"/>
                </a:lnTo>
                <a:lnTo>
                  <a:pt x="775" y="1697"/>
                </a:lnTo>
                <a:lnTo>
                  <a:pt x="770" y="1697"/>
                </a:lnTo>
                <a:lnTo>
                  <a:pt x="768" y="1696"/>
                </a:lnTo>
                <a:lnTo>
                  <a:pt x="766" y="1695"/>
                </a:lnTo>
                <a:lnTo>
                  <a:pt x="764" y="1694"/>
                </a:lnTo>
                <a:lnTo>
                  <a:pt x="762" y="1692"/>
                </a:lnTo>
                <a:lnTo>
                  <a:pt x="761" y="1690"/>
                </a:lnTo>
                <a:lnTo>
                  <a:pt x="760" y="1687"/>
                </a:lnTo>
                <a:lnTo>
                  <a:pt x="760" y="1685"/>
                </a:lnTo>
                <a:lnTo>
                  <a:pt x="760" y="1682"/>
                </a:lnTo>
                <a:lnTo>
                  <a:pt x="760" y="1680"/>
                </a:lnTo>
                <a:lnTo>
                  <a:pt x="762" y="1677"/>
                </a:lnTo>
                <a:lnTo>
                  <a:pt x="763" y="1675"/>
                </a:lnTo>
                <a:lnTo>
                  <a:pt x="765" y="1673"/>
                </a:lnTo>
                <a:lnTo>
                  <a:pt x="768" y="1672"/>
                </a:lnTo>
                <a:lnTo>
                  <a:pt x="770" y="1671"/>
                </a:lnTo>
                <a:close/>
                <a:moveTo>
                  <a:pt x="805" y="1615"/>
                </a:moveTo>
                <a:lnTo>
                  <a:pt x="809" y="1615"/>
                </a:lnTo>
                <a:lnTo>
                  <a:pt x="812" y="1616"/>
                </a:lnTo>
                <a:lnTo>
                  <a:pt x="814" y="1617"/>
                </a:lnTo>
                <a:lnTo>
                  <a:pt x="816" y="1618"/>
                </a:lnTo>
                <a:lnTo>
                  <a:pt x="818" y="1620"/>
                </a:lnTo>
                <a:lnTo>
                  <a:pt x="819" y="1622"/>
                </a:lnTo>
                <a:lnTo>
                  <a:pt x="820" y="1625"/>
                </a:lnTo>
                <a:lnTo>
                  <a:pt x="820" y="1627"/>
                </a:lnTo>
                <a:lnTo>
                  <a:pt x="820" y="1630"/>
                </a:lnTo>
                <a:lnTo>
                  <a:pt x="819" y="1632"/>
                </a:lnTo>
                <a:lnTo>
                  <a:pt x="818" y="1634"/>
                </a:lnTo>
                <a:lnTo>
                  <a:pt x="816" y="1637"/>
                </a:lnTo>
                <a:lnTo>
                  <a:pt x="814" y="1638"/>
                </a:lnTo>
                <a:lnTo>
                  <a:pt x="812" y="1640"/>
                </a:lnTo>
                <a:lnTo>
                  <a:pt x="809" y="1640"/>
                </a:lnTo>
                <a:lnTo>
                  <a:pt x="805" y="1640"/>
                </a:lnTo>
                <a:lnTo>
                  <a:pt x="802" y="1640"/>
                </a:lnTo>
                <a:lnTo>
                  <a:pt x="800" y="1639"/>
                </a:lnTo>
                <a:lnTo>
                  <a:pt x="798" y="1637"/>
                </a:lnTo>
                <a:lnTo>
                  <a:pt x="797" y="1635"/>
                </a:lnTo>
                <a:lnTo>
                  <a:pt x="795" y="1633"/>
                </a:lnTo>
                <a:lnTo>
                  <a:pt x="794" y="1630"/>
                </a:lnTo>
                <a:lnTo>
                  <a:pt x="794" y="1628"/>
                </a:lnTo>
                <a:lnTo>
                  <a:pt x="794" y="1626"/>
                </a:lnTo>
                <a:lnTo>
                  <a:pt x="795" y="1623"/>
                </a:lnTo>
                <a:lnTo>
                  <a:pt x="796" y="1621"/>
                </a:lnTo>
                <a:lnTo>
                  <a:pt x="798" y="1619"/>
                </a:lnTo>
                <a:lnTo>
                  <a:pt x="800" y="1617"/>
                </a:lnTo>
                <a:lnTo>
                  <a:pt x="802" y="1616"/>
                </a:lnTo>
                <a:lnTo>
                  <a:pt x="805" y="1615"/>
                </a:lnTo>
                <a:close/>
                <a:moveTo>
                  <a:pt x="841" y="1559"/>
                </a:moveTo>
                <a:lnTo>
                  <a:pt x="845" y="1559"/>
                </a:lnTo>
                <a:lnTo>
                  <a:pt x="848" y="1560"/>
                </a:lnTo>
                <a:lnTo>
                  <a:pt x="850" y="1561"/>
                </a:lnTo>
                <a:lnTo>
                  <a:pt x="852" y="1563"/>
                </a:lnTo>
                <a:lnTo>
                  <a:pt x="854" y="1565"/>
                </a:lnTo>
                <a:lnTo>
                  <a:pt x="855" y="1567"/>
                </a:lnTo>
                <a:lnTo>
                  <a:pt x="855" y="1569"/>
                </a:lnTo>
                <a:lnTo>
                  <a:pt x="856" y="1574"/>
                </a:lnTo>
                <a:lnTo>
                  <a:pt x="855" y="1577"/>
                </a:lnTo>
                <a:lnTo>
                  <a:pt x="854" y="1579"/>
                </a:lnTo>
                <a:lnTo>
                  <a:pt x="852" y="1581"/>
                </a:lnTo>
                <a:lnTo>
                  <a:pt x="850" y="1583"/>
                </a:lnTo>
                <a:lnTo>
                  <a:pt x="848" y="1584"/>
                </a:lnTo>
                <a:lnTo>
                  <a:pt x="845" y="1585"/>
                </a:lnTo>
                <a:lnTo>
                  <a:pt x="840" y="1585"/>
                </a:lnTo>
                <a:lnTo>
                  <a:pt x="838" y="1584"/>
                </a:lnTo>
                <a:lnTo>
                  <a:pt x="836" y="1583"/>
                </a:lnTo>
                <a:lnTo>
                  <a:pt x="834" y="1581"/>
                </a:lnTo>
                <a:lnTo>
                  <a:pt x="832" y="1579"/>
                </a:lnTo>
                <a:lnTo>
                  <a:pt x="831" y="1577"/>
                </a:lnTo>
                <a:lnTo>
                  <a:pt x="830" y="1574"/>
                </a:lnTo>
                <a:lnTo>
                  <a:pt x="830" y="1570"/>
                </a:lnTo>
                <a:lnTo>
                  <a:pt x="831" y="1567"/>
                </a:lnTo>
                <a:lnTo>
                  <a:pt x="832" y="1565"/>
                </a:lnTo>
                <a:lnTo>
                  <a:pt x="834" y="1563"/>
                </a:lnTo>
                <a:lnTo>
                  <a:pt x="836" y="1561"/>
                </a:lnTo>
                <a:lnTo>
                  <a:pt x="838" y="1560"/>
                </a:lnTo>
                <a:lnTo>
                  <a:pt x="841" y="1559"/>
                </a:lnTo>
                <a:close/>
                <a:moveTo>
                  <a:pt x="878" y="1504"/>
                </a:moveTo>
                <a:lnTo>
                  <a:pt x="883" y="1504"/>
                </a:lnTo>
                <a:lnTo>
                  <a:pt x="885" y="1505"/>
                </a:lnTo>
                <a:lnTo>
                  <a:pt x="887" y="1506"/>
                </a:lnTo>
                <a:lnTo>
                  <a:pt x="889" y="1508"/>
                </a:lnTo>
                <a:lnTo>
                  <a:pt x="891" y="1510"/>
                </a:lnTo>
                <a:lnTo>
                  <a:pt x="892" y="1512"/>
                </a:lnTo>
                <a:lnTo>
                  <a:pt x="893" y="1515"/>
                </a:lnTo>
                <a:lnTo>
                  <a:pt x="893" y="1520"/>
                </a:lnTo>
                <a:lnTo>
                  <a:pt x="892" y="1522"/>
                </a:lnTo>
                <a:lnTo>
                  <a:pt x="891" y="1524"/>
                </a:lnTo>
                <a:lnTo>
                  <a:pt x="889" y="1526"/>
                </a:lnTo>
                <a:lnTo>
                  <a:pt x="887" y="1528"/>
                </a:lnTo>
                <a:lnTo>
                  <a:pt x="885" y="1529"/>
                </a:lnTo>
                <a:lnTo>
                  <a:pt x="882" y="1530"/>
                </a:lnTo>
                <a:lnTo>
                  <a:pt x="877" y="1530"/>
                </a:lnTo>
                <a:lnTo>
                  <a:pt x="875" y="1529"/>
                </a:lnTo>
                <a:lnTo>
                  <a:pt x="873" y="1528"/>
                </a:lnTo>
                <a:lnTo>
                  <a:pt x="871" y="1526"/>
                </a:lnTo>
                <a:lnTo>
                  <a:pt x="869" y="1524"/>
                </a:lnTo>
                <a:lnTo>
                  <a:pt x="868" y="1522"/>
                </a:lnTo>
                <a:lnTo>
                  <a:pt x="867" y="1519"/>
                </a:lnTo>
                <a:lnTo>
                  <a:pt x="867" y="1514"/>
                </a:lnTo>
                <a:lnTo>
                  <a:pt x="868" y="1512"/>
                </a:lnTo>
                <a:lnTo>
                  <a:pt x="869" y="1510"/>
                </a:lnTo>
                <a:lnTo>
                  <a:pt x="871" y="1508"/>
                </a:lnTo>
                <a:lnTo>
                  <a:pt x="873" y="1506"/>
                </a:lnTo>
                <a:lnTo>
                  <a:pt x="875" y="1505"/>
                </a:lnTo>
                <a:lnTo>
                  <a:pt x="878" y="1504"/>
                </a:lnTo>
                <a:close/>
                <a:moveTo>
                  <a:pt x="916" y="1451"/>
                </a:moveTo>
                <a:lnTo>
                  <a:pt x="921" y="1451"/>
                </a:lnTo>
                <a:lnTo>
                  <a:pt x="924" y="1451"/>
                </a:lnTo>
                <a:lnTo>
                  <a:pt x="926" y="1453"/>
                </a:lnTo>
                <a:lnTo>
                  <a:pt x="928" y="1455"/>
                </a:lnTo>
                <a:lnTo>
                  <a:pt x="929" y="1457"/>
                </a:lnTo>
                <a:lnTo>
                  <a:pt x="930" y="1459"/>
                </a:lnTo>
                <a:lnTo>
                  <a:pt x="931" y="1461"/>
                </a:lnTo>
                <a:lnTo>
                  <a:pt x="931" y="1464"/>
                </a:lnTo>
                <a:lnTo>
                  <a:pt x="931" y="1466"/>
                </a:lnTo>
                <a:lnTo>
                  <a:pt x="930" y="1469"/>
                </a:lnTo>
                <a:lnTo>
                  <a:pt x="929" y="1471"/>
                </a:lnTo>
                <a:lnTo>
                  <a:pt x="927" y="1473"/>
                </a:lnTo>
                <a:lnTo>
                  <a:pt x="925" y="1474"/>
                </a:lnTo>
                <a:lnTo>
                  <a:pt x="923" y="1475"/>
                </a:lnTo>
                <a:lnTo>
                  <a:pt x="921" y="1476"/>
                </a:lnTo>
                <a:lnTo>
                  <a:pt x="915" y="1476"/>
                </a:lnTo>
                <a:lnTo>
                  <a:pt x="913" y="1475"/>
                </a:lnTo>
                <a:lnTo>
                  <a:pt x="911" y="1474"/>
                </a:lnTo>
                <a:lnTo>
                  <a:pt x="909" y="1472"/>
                </a:lnTo>
                <a:lnTo>
                  <a:pt x="907" y="1470"/>
                </a:lnTo>
                <a:lnTo>
                  <a:pt x="906" y="1468"/>
                </a:lnTo>
                <a:lnTo>
                  <a:pt x="906" y="1465"/>
                </a:lnTo>
                <a:lnTo>
                  <a:pt x="905" y="1463"/>
                </a:lnTo>
                <a:lnTo>
                  <a:pt x="906" y="1460"/>
                </a:lnTo>
                <a:lnTo>
                  <a:pt x="907" y="1458"/>
                </a:lnTo>
                <a:lnTo>
                  <a:pt x="908" y="1456"/>
                </a:lnTo>
                <a:lnTo>
                  <a:pt x="910" y="1454"/>
                </a:lnTo>
                <a:lnTo>
                  <a:pt x="912" y="1452"/>
                </a:lnTo>
                <a:lnTo>
                  <a:pt x="914" y="1451"/>
                </a:lnTo>
                <a:lnTo>
                  <a:pt x="916" y="1451"/>
                </a:lnTo>
                <a:close/>
                <a:moveTo>
                  <a:pt x="956" y="1398"/>
                </a:moveTo>
                <a:lnTo>
                  <a:pt x="958" y="1397"/>
                </a:lnTo>
                <a:lnTo>
                  <a:pt x="961" y="1398"/>
                </a:lnTo>
                <a:lnTo>
                  <a:pt x="964" y="1399"/>
                </a:lnTo>
                <a:lnTo>
                  <a:pt x="966" y="1400"/>
                </a:lnTo>
                <a:lnTo>
                  <a:pt x="968" y="1402"/>
                </a:lnTo>
                <a:lnTo>
                  <a:pt x="969" y="1404"/>
                </a:lnTo>
                <a:lnTo>
                  <a:pt x="970" y="1406"/>
                </a:lnTo>
                <a:lnTo>
                  <a:pt x="971" y="1409"/>
                </a:lnTo>
                <a:lnTo>
                  <a:pt x="971" y="1411"/>
                </a:lnTo>
                <a:lnTo>
                  <a:pt x="971" y="1414"/>
                </a:lnTo>
                <a:lnTo>
                  <a:pt x="970" y="1416"/>
                </a:lnTo>
                <a:lnTo>
                  <a:pt x="968" y="1418"/>
                </a:lnTo>
                <a:lnTo>
                  <a:pt x="967" y="1420"/>
                </a:lnTo>
                <a:lnTo>
                  <a:pt x="965" y="1421"/>
                </a:lnTo>
                <a:lnTo>
                  <a:pt x="963" y="1422"/>
                </a:lnTo>
                <a:lnTo>
                  <a:pt x="960" y="1423"/>
                </a:lnTo>
                <a:lnTo>
                  <a:pt x="958" y="1423"/>
                </a:lnTo>
                <a:lnTo>
                  <a:pt x="955" y="1423"/>
                </a:lnTo>
                <a:lnTo>
                  <a:pt x="953" y="1422"/>
                </a:lnTo>
                <a:lnTo>
                  <a:pt x="950" y="1421"/>
                </a:lnTo>
                <a:lnTo>
                  <a:pt x="948" y="1419"/>
                </a:lnTo>
                <a:lnTo>
                  <a:pt x="947" y="1417"/>
                </a:lnTo>
                <a:lnTo>
                  <a:pt x="946" y="1414"/>
                </a:lnTo>
                <a:lnTo>
                  <a:pt x="945" y="1412"/>
                </a:lnTo>
                <a:lnTo>
                  <a:pt x="945" y="1410"/>
                </a:lnTo>
                <a:lnTo>
                  <a:pt x="946" y="1407"/>
                </a:lnTo>
                <a:lnTo>
                  <a:pt x="947" y="1405"/>
                </a:lnTo>
                <a:lnTo>
                  <a:pt x="948" y="1402"/>
                </a:lnTo>
                <a:lnTo>
                  <a:pt x="950" y="1401"/>
                </a:lnTo>
                <a:lnTo>
                  <a:pt x="951" y="1399"/>
                </a:lnTo>
                <a:lnTo>
                  <a:pt x="954" y="1398"/>
                </a:lnTo>
                <a:lnTo>
                  <a:pt x="956" y="1398"/>
                </a:lnTo>
                <a:close/>
                <a:moveTo>
                  <a:pt x="997" y="1346"/>
                </a:moveTo>
                <a:lnTo>
                  <a:pt x="1000" y="1346"/>
                </a:lnTo>
                <a:lnTo>
                  <a:pt x="1002" y="1346"/>
                </a:lnTo>
                <a:lnTo>
                  <a:pt x="1005" y="1347"/>
                </a:lnTo>
                <a:lnTo>
                  <a:pt x="1007" y="1349"/>
                </a:lnTo>
                <a:lnTo>
                  <a:pt x="1009" y="1350"/>
                </a:lnTo>
                <a:lnTo>
                  <a:pt x="1011" y="1353"/>
                </a:lnTo>
                <a:lnTo>
                  <a:pt x="1012" y="1355"/>
                </a:lnTo>
                <a:lnTo>
                  <a:pt x="1012" y="1357"/>
                </a:lnTo>
                <a:lnTo>
                  <a:pt x="1012" y="1360"/>
                </a:lnTo>
                <a:lnTo>
                  <a:pt x="1012" y="1362"/>
                </a:lnTo>
                <a:lnTo>
                  <a:pt x="1011" y="1365"/>
                </a:lnTo>
                <a:lnTo>
                  <a:pt x="1009" y="1367"/>
                </a:lnTo>
                <a:lnTo>
                  <a:pt x="1008" y="1368"/>
                </a:lnTo>
                <a:lnTo>
                  <a:pt x="1006" y="1370"/>
                </a:lnTo>
                <a:lnTo>
                  <a:pt x="1004" y="1371"/>
                </a:lnTo>
                <a:lnTo>
                  <a:pt x="1002" y="1371"/>
                </a:lnTo>
                <a:lnTo>
                  <a:pt x="999" y="1372"/>
                </a:lnTo>
                <a:lnTo>
                  <a:pt x="996" y="1371"/>
                </a:lnTo>
                <a:lnTo>
                  <a:pt x="994" y="1370"/>
                </a:lnTo>
                <a:lnTo>
                  <a:pt x="991" y="1369"/>
                </a:lnTo>
                <a:lnTo>
                  <a:pt x="989" y="1367"/>
                </a:lnTo>
                <a:lnTo>
                  <a:pt x="988" y="1365"/>
                </a:lnTo>
                <a:lnTo>
                  <a:pt x="987" y="1362"/>
                </a:lnTo>
                <a:lnTo>
                  <a:pt x="986" y="1360"/>
                </a:lnTo>
                <a:lnTo>
                  <a:pt x="986" y="1357"/>
                </a:lnTo>
                <a:lnTo>
                  <a:pt x="987" y="1355"/>
                </a:lnTo>
                <a:lnTo>
                  <a:pt x="988" y="1353"/>
                </a:lnTo>
                <a:lnTo>
                  <a:pt x="989" y="1350"/>
                </a:lnTo>
                <a:lnTo>
                  <a:pt x="991" y="1349"/>
                </a:lnTo>
                <a:lnTo>
                  <a:pt x="993" y="1347"/>
                </a:lnTo>
                <a:lnTo>
                  <a:pt x="995" y="1346"/>
                </a:lnTo>
                <a:lnTo>
                  <a:pt x="997" y="1346"/>
                </a:lnTo>
                <a:close/>
                <a:moveTo>
                  <a:pt x="1040" y="1295"/>
                </a:moveTo>
                <a:lnTo>
                  <a:pt x="1042" y="1295"/>
                </a:lnTo>
                <a:lnTo>
                  <a:pt x="1045" y="1296"/>
                </a:lnTo>
                <a:lnTo>
                  <a:pt x="1048" y="1297"/>
                </a:lnTo>
                <a:lnTo>
                  <a:pt x="1050" y="1298"/>
                </a:lnTo>
                <a:lnTo>
                  <a:pt x="1052" y="1300"/>
                </a:lnTo>
                <a:lnTo>
                  <a:pt x="1054" y="1302"/>
                </a:lnTo>
                <a:lnTo>
                  <a:pt x="1054" y="1305"/>
                </a:lnTo>
                <a:lnTo>
                  <a:pt x="1055" y="1307"/>
                </a:lnTo>
                <a:lnTo>
                  <a:pt x="1055" y="1310"/>
                </a:lnTo>
                <a:lnTo>
                  <a:pt x="1054" y="1312"/>
                </a:lnTo>
                <a:lnTo>
                  <a:pt x="1053" y="1314"/>
                </a:lnTo>
                <a:lnTo>
                  <a:pt x="1052" y="1316"/>
                </a:lnTo>
                <a:lnTo>
                  <a:pt x="1050" y="1318"/>
                </a:lnTo>
                <a:lnTo>
                  <a:pt x="1048" y="1319"/>
                </a:lnTo>
                <a:lnTo>
                  <a:pt x="1044" y="1321"/>
                </a:lnTo>
                <a:lnTo>
                  <a:pt x="1041" y="1321"/>
                </a:lnTo>
                <a:lnTo>
                  <a:pt x="1039" y="1320"/>
                </a:lnTo>
                <a:lnTo>
                  <a:pt x="1036" y="1319"/>
                </a:lnTo>
                <a:lnTo>
                  <a:pt x="1033" y="1318"/>
                </a:lnTo>
                <a:lnTo>
                  <a:pt x="1032" y="1316"/>
                </a:lnTo>
                <a:lnTo>
                  <a:pt x="1030" y="1314"/>
                </a:lnTo>
                <a:lnTo>
                  <a:pt x="1029" y="1311"/>
                </a:lnTo>
                <a:lnTo>
                  <a:pt x="1029" y="1309"/>
                </a:lnTo>
                <a:lnTo>
                  <a:pt x="1029" y="1306"/>
                </a:lnTo>
                <a:lnTo>
                  <a:pt x="1030" y="1304"/>
                </a:lnTo>
                <a:lnTo>
                  <a:pt x="1031" y="1302"/>
                </a:lnTo>
                <a:lnTo>
                  <a:pt x="1032" y="1300"/>
                </a:lnTo>
                <a:lnTo>
                  <a:pt x="1034" y="1298"/>
                </a:lnTo>
                <a:lnTo>
                  <a:pt x="1036" y="1297"/>
                </a:lnTo>
                <a:lnTo>
                  <a:pt x="1040" y="1295"/>
                </a:lnTo>
                <a:close/>
                <a:moveTo>
                  <a:pt x="1084" y="1246"/>
                </a:moveTo>
                <a:lnTo>
                  <a:pt x="1087" y="1246"/>
                </a:lnTo>
                <a:lnTo>
                  <a:pt x="1090" y="1246"/>
                </a:lnTo>
                <a:lnTo>
                  <a:pt x="1092" y="1247"/>
                </a:lnTo>
                <a:lnTo>
                  <a:pt x="1095" y="1249"/>
                </a:lnTo>
                <a:lnTo>
                  <a:pt x="1096" y="1251"/>
                </a:lnTo>
                <a:lnTo>
                  <a:pt x="1098" y="1253"/>
                </a:lnTo>
                <a:lnTo>
                  <a:pt x="1099" y="1256"/>
                </a:lnTo>
                <a:lnTo>
                  <a:pt x="1099" y="1258"/>
                </a:lnTo>
                <a:lnTo>
                  <a:pt x="1098" y="1263"/>
                </a:lnTo>
                <a:lnTo>
                  <a:pt x="1097" y="1265"/>
                </a:lnTo>
                <a:lnTo>
                  <a:pt x="1096" y="1267"/>
                </a:lnTo>
                <a:lnTo>
                  <a:pt x="1092" y="1270"/>
                </a:lnTo>
                <a:lnTo>
                  <a:pt x="1090" y="1271"/>
                </a:lnTo>
                <a:lnTo>
                  <a:pt x="1088" y="1271"/>
                </a:lnTo>
                <a:lnTo>
                  <a:pt x="1085" y="1272"/>
                </a:lnTo>
                <a:lnTo>
                  <a:pt x="1082" y="1271"/>
                </a:lnTo>
                <a:lnTo>
                  <a:pt x="1080" y="1270"/>
                </a:lnTo>
                <a:lnTo>
                  <a:pt x="1077" y="1268"/>
                </a:lnTo>
                <a:lnTo>
                  <a:pt x="1076" y="1266"/>
                </a:lnTo>
                <a:lnTo>
                  <a:pt x="1074" y="1264"/>
                </a:lnTo>
                <a:lnTo>
                  <a:pt x="1073" y="1262"/>
                </a:lnTo>
                <a:lnTo>
                  <a:pt x="1073" y="1259"/>
                </a:lnTo>
                <a:lnTo>
                  <a:pt x="1074" y="1254"/>
                </a:lnTo>
                <a:lnTo>
                  <a:pt x="1075" y="1252"/>
                </a:lnTo>
                <a:lnTo>
                  <a:pt x="1077" y="1250"/>
                </a:lnTo>
                <a:lnTo>
                  <a:pt x="1080" y="1247"/>
                </a:lnTo>
                <a:lnTo>
                  <a:pt x="1082" y="1246"/>
                </a:lnTo>
                <a:lnTo>
                  <a:pt x="1084" y="1246"/>
                </a:lnTo>
                <a:close/>
                <a:moveTo>
                  <a:pt x="2904" y="887"/>
                </a:moveTo>
                <a:lnTo>
                  <a:pt x="2909" y="887"/>
                </a:lnTo>
                <a:lnTo>
                  <a:pt x="2911" y="888"/>
                </a:lnTo>
                <a:lnTo>
                  <a:pt x="2913" y="889"/>
                </a:lnTo>
                <a:lnTo>
                  <a:pt x="2917" y="893"/>
                </a:lnTo>
                <a:lnTo>
                  <a:pt x="2918" y="895"/>
                </a:lnTo>
                <a:lnTo>
                  <a:pt x="2918" y="897"/>
                </a:lnTo>
                <a:lnTo>
                  <a:pt x="2918" y="903"/>
                </a:lnTo>
                <a:lnTo>
                  <a:pt x="2917" y="906"/>
                </a:lnTo>
                <a:lnTo>
                  <a:pt x="2915" y="909"/>
                </a:lnTo>
                <a:lnTo>
                  <a:pt x="2912" y="911"/>
                </a:lnTo>
                <a:lnTo>
                  <a:pt x="2908" y="912"/>
                </a:lnTo>
                <a:lnTo>
                  <a:pt x="2903" y="912"/>
                </a:lnTo>
                <a:lnTo>
                  <a:pt x="2900" y="912"/>
                </a:lnTo>
                <a:lnTo>
                  <a:pt x="2898" y="910"/>
                </a:lnTo>
                <a:lnTo>
                  <a:pt x="2895" y="907"/>
                </a:lnTo>
                <a:lnTo>
                  <a:pt x="2894" y="905"/>
                </a:lnTo>
                <a:lnTo>
                  <a:pt x="2893" y="902"/>
                </a:lnTo>
                <a:lnTo>
                  <a:pt x="2893" y="897"/>
                </a:lnTo>
                <a:lnTo>
                  <a:pt x="2895" y="893"/>
                </a:lnTo>
                <a:lnTo>
                  <a:pt x="2897" y="890"/>
                </a:lnTo>
                <a:lnTo>
                  <a:pt x="2900" y="888"/>
                </a:lnTo>
                <a:lnTo>
                  <a:pt x="2904" y="887"/>
                </a:lnTo>
                <a:close/>
                <a:moveTo>
                  <a:pt x="1129" y="1198"/>
                </a:moveTo>
                <a:lnTo>
                  <a:pt x="1132" y="1198"/>
                </a:lnTo>
                <a:lnTo>
                  <a:pt x="1135" y="1198"/>
                </a:lnTo>
                <a:lnTo>
                  <a:pt x="1138" y="1200"/>
                </a:lnTo>
                <a:lnTo>
                  <a:pt x="1141" y="1202"/>
                </a:lnTo>
                <a:lnTo>
                  <a:pt x="1142" y="1204"/>
                </a:lnTo>
                <a:lnTo>
                  <a:pt x="1144" y="1206"/>
                </a:lnTo>
                <a:lnTo>
                  <a:pt x="1144" y="1208"/>
                </a:lnTo>
                <a:lnTo>
                  <a:pt x="1145" y="1211"/>
                </a:lnTo>
                <a:lnTo>
                  <a:pt x="1144" y="1213"/>
                </a:lnTo>
                <a:lnTo>
                  <a:pt x="1144" y="1215"/>
                </a:lnTo>
                <a:lnTo>
                  <a:pt x="1142" y="1218"/>
                </a:lnTo>
                <a:lnTo>
                  <a:pt x="1141" y="1220"/>
                </a:lnTo>
                <a:lnTo>
                  <a:pt x="1138" y="1222"/>
                </a:lnTo>
                <a:lnTo>
                  <a:pt x="1134" y="1223"/>
                </a:lnTo>
                <a:lnTo>
                  <a:pt x="1131" y="1224"/>
                </a:lnTo>
                <a:lnTo>
                  <a:pt x="1128" y="1223"/>
                </a:lnTo>
                <a:lnTo>
                  <a:pt x="1125" y="1222"/>
                </a:lnTo>
                <a:lnTo>
                  <a:pt x="1123" y="1220"/>
                </a:lnTo>
                <a:lnTo>
                  <a:pt x="1121" y="1218"/>
                </a:lnTo>
                <a:lnTo>
                  <a:pt x="1120" y="1216"/>
                </a:lnTo>
                <a:lnTo>
                  <a:pt x="1119" y="1213"/>
                </a:lnTo>
                <a:lnTo>
                  <a:pt x="1119" y="1211"/>
                </a:lnTo>
                <a:lnTo>
                  <a:pt x="1119" y="1208"/>
                </a:lnTo>
                <a:lnTo>
                  <a:pt x="1120" y="1206"/>
                </a:lnTo>
                <a:lnTo>
                  <a:pt x="1121" y="1204"/>
                </a:lnTo>
                <a:lnTo>
                  <a:pt x="1122" y="1202"/>
                </a:lnTo>
                <a:lnTo>
                  <a:pt x="1126" y="1199"/>
                </a:lnTo>
                <a:lnTo>
                  <a:pt x="1129" y="1198"/>
                </a:lnTo>
                <a:close/>
                <a:moveTo>
                  <a:pt x="2839" y="873"/>
                </a:moveTo>
                <a:lnTo>
                  <a:pt x="2844" y="873"/>
                </a:lnTo>
                <a:lnTo>
                  <a:pt x="2846" y="874"/>
                </a:lnTo>
                <a:lnTo>
                  <a:pt x="2849" y="875"/>
                </a:lnTo>
                <a:lnTo>
                  <a:pt x="2852" y="879"/>
                </a:lnTo>
                <a:lnTo>
                  <a:pt x="2853" y="881"/>
                </a:lnTo>
                <a:lnTo>
                  <a:pt x="2854" y="883"/>
                </a:lnTo>
                <a:lnTo>
                  <a:pt x="2854" y="888"/>
                </a:lnTo>
                <a:lnTo>
                  <a:pt x="2852" y="892"/>
                </a:lnTo>
                <a:lnTo>
                  <a:pt x="2850" y="895"/>
                </a:lnTo>
                <a:lnTo>
                  <a:pt x="2847" y="897"/>
                </a:lnTo>
                <a:lnTo>
                  <a:pt x="2843" y="898"/>
                </a:lnTo>
                <a:lnTo>
                  <a:pt x="2838" y="898"/>
                </a:lnTo>
                <a:lnTo>
                  <a:pt x="2836" y="897"/>
                </a:lnTo>
                <a:lnTo>
                  <a:pt x="2834" y="896"/>
                </a:lnTo>
                <a:lnTo>
                  <a:pt x="2830" y="893"/>
                </a:lnTo>
                <a:lnTo>
                  <a:pt x="2829" y="890"/>
                </a:lnTo>
                <a:lnTo>
                  <a:pt x="2828" y="888"/>
                </a:lnTo>
                <a:lnTo>
                  <a:pt x="2828" y="883"/>
                </a:lnTo>
                <a:lnTo>
                  <a:pt x="2830" y="879"/>
                </a:lnTo>
                <a:lnTo>
                  <a:pt x="2832" y="876"/>
                </a:lnTo>
                <a:lnTo>
                  <a:pt x="2835" y="874"/>
                </a:lnTo>
                <a:lnTo>
                  <a:pt x="2839" y="873"/>
                </a:lnTo>
                <a:close/>
                <a:moveTo>
                  <a:pt x="1176" y="1152"/>
                </a:moveTo>
                <a:lnTo>
                  <a:pt x="1180" y="1151"/>
                </a:lnTo>
                <a:lnTo>
                  <a:pt x="1183" y="1152"/>
                </a:lnTo>
                <a:lnTo>
                  <a:pt x="1185" y="1153"/>
                </a:lnTo>
                <a:lnTo>
                  <a:pt x="1188" y="1155"/>
                </a:lnTo>
                <a:lnTo>
                  <a:pt x="1190" y="1157"/>
                </a:lnTo>
                <a:lnTo>
                  <a:pt x="1191" y="1160"/>
                </a:lnTo>
                <a:lnTo>
                  <a:pt x="1191" y="1162"/>
                </a:lnTo>
                <a:lnTo>
                  <a:pt x="1192" y="1165"/>
                </a:lnTo>
                <a:lnTo>
                  <a:pt x="1191" y="1167"/>
                </a:lnTo>
                <a:lnTo>
                  <a:pt x="1191" y="1169"/>
                </a:lnTo>
                <a:lnTo>
                  <a:pt x="1189" y="1172"/>
                </a:lnTo>
                <a:lnTo>
                  <a:pt x="1188" y="1174"/>
                </a:lnTo>
                <a:lnTo>
                  <a:pt x="1186" y="1175"/>
                </a:lnTo>
                <a:lnTo>
                  <a:pt x="1184" y="1176"/>
                </a:lnTo>
                <a:lnTo>
                  <a:pt x="1181" y="1177"/>
                </a:lnTo>
                <a:lnTo>
                  <a:pt x="1178" y="1177"/>
                </a:lnTo>
                <a:lnTo>
                  <a:pt x="1175" y="1177"/>
                </a:lnTo>
                <a:lnTo>
                  <a:pt x="1172" y="1175"/>
                </a:lnTo>
                <a:lnTo>
                  <a:pt x="1169" y="1173"/>
                </a:lnTo>
                <a:lnTo>
                  <a:pt x="1168" y="1171"/>
                </a:lnTo>
                <a:lnTo>
                  <a:pt x="1167" y="1169"/>
                </a:lnTo>
                <a:lnTo>
                  <a:pt x="1166" y="1166"/>
                </a:lnTo>
                <a:lnTo>
                  <a:pt x="1166" y="1164"/>
                </a:lnTo>
                <a:lnTo>
                  <a:pt x="1166" y="1162"/>
                </a:lnTo>
                <a:lnTo>
                  <a:pt x="1167" y="1159"/>
                </a:lnTo>
                <a:lnTo>
                  <a:pt x="1168" y="1157"/>
                </a:lnTo>
                <a:lnTo>
                  <a:pt x="1170" y="1155"/>
                </a:lnTo>
                <a:lnTo>
                  <a:pt x="1171" y="1154"/>
                </a:lnTo>
                <a:lnTo>
                  <a:pt x="1173" y="1153"/>
                </a:lnTo>
                <a:lnTo>
                  <a:pt x="1176" y="1152"/>
                </a:lnTo>
                <a:close/>
                <a:moveTo>
                  <a:pt x="2774" y="859"/>
                </a:moveTo>
                <a:lnTo>
                  <a:pt x="2779" y="859"/>
                </a:lnTo>
                <a:lnTo>
                  <a:pt x="2782" y="860"/>
                </a:lnTo>
                <a:lnTo>
                  <a:pt x="2784" y="861"/>
                </a:lnTo>
                <a:lnTo>
                  <a:pt x="2786" y="863"/>
                </a:lnTo>
                <a:lnTo>
                  <a:pt x="2787" y="865"/>
                </a:lnTo>
                <a:lnTo>
                  <a:pt x="2788" y="867"/>
                </a:lnTo>
                <a:lnTo>
                  <a:pt x="2789" y="869"/>
                </a:lnTo>
                <a:lnTo>
                  <a:pt x="2789" y="874"/>
                </a:lnTo>
                <a:lnTo>
                  <a:pt x="2788" y="878"/>
                </a:lnTo>
                <a:lnTo>
                  <a:pt x="2785" y="881"/>
                </a:lnTo>
                <a:lnTo>
                  <a:pt x="2782" y="883"/>
                </a:lnTo>
                <a:lnTo>
                  <a:pt x="2779" y="884"/>
                </a:lnTo>
                <a:lnTo>
                  <a:pt x="2774" y="884"/>
                </a:lnTo>
                <a:lnTo>
                  <a:pt x="2771" y="884"/>
                </a:lnTo>
                <a:lnTo>
                  <a:pt x="2769" y="882"/>
                </a:lnTo>
                <a:lnTo>
                  <a:pt x="2767" y="881"/>
                </a:lnTo>
                <a:lnTo>
                  <a:pt x="2766" y="879"/>
                </a:lnTo>
                <a:lnTo>
                  <a:pt x="2764" y="877"/>
                </a:lnTo>
                <a:lnTo>
                  <a:pt x="2764" y="874"/>
                </a:lnTo>
                <a:lnTo>
                  <a:pt x="2764" y="869"/>
                </a:lnTo>
                <a:lnTo>
                  <a:pt x="2765" y="865"/>
                </a:lnTo>
                <a:lnTo>
                  <a:pt x="2768" y="862"/>
                </a:lnTo>
                <a:lnTo>
                  <a:pt x="2771" y="860"/>
                </a:lnTo>
                <a:lnTo>
                  <a:pt x="2774" y="859"/>
                </a:lnTo>
                <a:close/>
                <a:moveTo>
                  <a:pt x="2709" y="845"/>
                </a:moveTo>
                <a:lnTo>
                  <a:pt x="2714" y="845"/>
                </a:lnTo>
                <a:lnTo>
                  <a:pt x="2717" y="846"/>
                </a:lnTo>
                <a:lnTo>
                  <a:pt x="2719" y="847"/>
                </a:lnTo>
                <a:lnTo>
                  <a:pt x="2721" y="849"/>
                </a:lnTo>
                <a:lnTo>
                  <a:pt x="2722" y="851"/>
                </a:lnTo>
                <a:lnTo>
                  <a:pt x="2724" y="853"/>
                </a:lnTo>
                <a:lnTo>
                  <a:pt x="2724" y="856"/>
                </a:lnTo>
                <a:lnTo>
                  <a:pt x="2724" y="861"/>
                </a:lnTo>
                <a:lnTo>
                  <a:pt x="2723" y="864"/>
                </a:lnTo>
                <a:lnTo>
                  <a:pt x="2721" y="867"/>
                </a:lnTo>
                <a:lnTo>
                  <a:pt x="2718" y="870"/>
                </a:lnTo>
                <a:lnTo>
                  <a:pt x="2714" y="871"/>
                </a:lnTo>
                <a:lnTo>
                  <a:pt x="2709" y="871"/>
                </a:lnTo>
                <a:lnTo>
                  <a:pt x="2707" y="870"/>
                </a:lnTo>
                <a:lnTo>
                  <a:pt x="2704" y="869"/>
                </a:lnTo>
                <a:lnTo>
                  <a:pt x="2702" y="867"/>
                </a:lnTo>
                <a:lnTo>
                  <a:pt x="2701" y="865"/>
                </a:lnTo>
                <a:lnTo>
                  <a:pt x="2700" y="863"/>
                </a:lnTo>
                <a:lnTo>
                  <a:pt x="2699" y="861"/>
                </a:lnTo>
                <a:lnTo>
                  <a:pt x="2699" y="855"/>
                </a:lnTo>
                <a:lnTo>
                  <a:pt x="2700" y="852"/>
                </a:lnTo>
                <a:lnTo>
                  <a:pt x="2703" y="849"/>
                </a:lnTo>
                <a:lnTo>
                  <a:pt x="2706" y="847"/>
                </a:lnTo>
                <a:lnTo>
                  <a:pt x="2709" y="845"/>
                </a:lnTo>
                <a:close/>
                <a:moveTo>
                  <a:pt x="1225" y="1106"/>
                </a:moveTo>
                <a:lnTo>
                  <a:pt x="1228" y="1106"/>
                </a:lnTo>
                <a:lnTo>
                  <a:pt x="1231" y="1106"/>
                </a:lnTo>
                <a:lnTo>
                  <a:pt x="1234" y="1108"/>
                </a:lnTo>
                <a:lnTo>
                  <a:pt x="1236" y="1109"/>
                </a:lnTo>
                <a:lnTo>
                  <a:pt x="1237" y="1110"/>
                </a:lnTo>
                <a:lnTo>
                  <a:pt x="1238" y="1112"/>
                </a:lnTo>
                <a:lnTo>
                  <a:pt x="1240" y="1114"/>
                </a:lnTo>
                <a:lnTo>
                  <a:pt x="1240" y="1117"/>
                </a:lnTo>
                <a:lnTo>
                  <a:pt x="1240" y="1119"/>
                </a:lnTo>
                <a:lnTo>
                  <a:pt x="1240" y="1122"/>
                </a:lnTo>
                <a:lnTo>
                  <a:pt x="1239" y="1124"/>
                </a:lnTo>
                <a:lnTo>
                  <a:pt x="1238" y="1126"/>
                </a:lnTo>
                <a:lnTo>
                  <a:pt x="1236" y="1128"/>
                </a:lnTo>
                <a:lnTo>
                  <a:pt x="1233" y="1130"/>
                </a:lnTo>
                <a:lnTo>
                  <a:pt x="1230" y="1131"/>
                </a:lnTo>
                <a:lnTo>
                  <a:pt x="1226" y="1131"/>
                </a:lnTo>
                <a:lnTo>
                  <a:pt x="1223" y="1131"/>
                </a:lnTo>
                <a:lnTo>
                  <a:pt x="1220" y="1129"/>
                </a:lnTo>
                <a:lnTo>
                  <a:pt x="1219" y="1128"/>
                </a:lnTo>
                <a:lnTo>
                  <a:pt x="1218" y="1127"/>
                </a:lnTo>
                <a:lnTo>
                  <a:pt x="1216" y="1125"/>
                </a:lnTo>
                <a:lnTo>
                  <a:pt x="1215" y="1123"/>
                </a:lnTo>
                <a:lnTo>
                  <a:pt x="1215" y="1120"/>
                </a:lnTo>
                <a:lnTo>
                  <a:pt x="1214" y="1118"/>
                </a:lnTo>
                <a:lnTo>
                  <a:pt x="1215" y="1115"/>
                </a:lnTo>
                <a:lnTo>
                  <a:pt x="1216" y="1113"/>
                </a:lnTo>
                <a:lnTo>
                  <a:pt x="1217" y="1111"/>
                </a:lnTo>
                <a:lnTo>
                  <a:pt x="1219" y="1109"/>
                </a:lnTo>
                <a:lnTo>
                  <a:pt x="1222" y="1107"/>
                </a:lnTo>
                <a:lnTo>
                  <a:pt x="1225" y="1106"/>
                </a:lnTo>
                <a:close/>
                <a:moveTo>
                  <a:pt x="2645" y="832"/>
                </a:moveTo>
                <a:lnTo>
                  <a:pt x="2649" y="832"/>
                </a:lnTo>
                <a:lnTo>
                  <a:pt x="2652" y="833"/>
                </a:lnTo>
                <a:lnTo>
                  <a:pt x="2654" y="834"/>
                </a:lnTo>
                <a:lnTo>
                  <a:pt x="2656" y="836"/>
                </a:lnTo>
                <a:lnTo>
                  <a:pt x="2658" y="838"/>
                </a:lnTo>
                <a:lnTo>
                  <a:pt x="2659" y="840"/>
                </a:lnTo>
                <a:lnTo>
                  <a:pt x="2660" y="842"/>
                </a:lnTo>
                <a:lnTo>
                  <a:pt x="2660" y="847"/>
                </a:lnTo>
                <a:lnTo>
                  <a:pt x="2658" y="851"/>
                </a:lnTo>
                <a:lnTo>
                  <a:pt x="2656" y="854"/>
                </a:lnTo>
                <a:lnTo>
                  <a:pt x="2653" y="856"/>
                </a:lnTo>
                <a:lnTo>
                  <a:pt x="2649" y="857"/>
                </a:lnTo>
                <a:lnTo>
                  <a:pt x="2644" y="857"/>
                </a:lnTo>
                <a:lnTo>
                  <a:pt x="2642" y="857"/>
                </a:lnTo>
                <a:lnTo>
                  <a:pt x="2640" y="855"/>
                </a:lnTo>
                <a:lnTo>
                  <a:pt x="2638" y="854"/>
                </a:lnTo>
                <a:lnTo>
                  <a:pt x="2636" y="852"/>
                </a:lnTo>
                <a:lnTo>
                  <a:pt x="2635" y="850"/>
                </a:lnTo>
                <a:lnTo>
                  <a:pt x="2634" y="847"/>
                </a:lnTo>
                <a:lnTo>
                  <a:pt x="2634" y="842"/>
                </a:lnTo>
                <a:lnTo>
                  <a:pt x="2636" y="838"/>
                </a:lnTo>
                <a:lnTo>
                  <a:pt x="2638" y="835"/>
                </a:lnTo>
                <a:lnTo>
                  <a:pt x="2641" y="833"/>
                </a:lnTo>
                <a:lnTo>
                  <a:pt x="2645" y="832"/>
                </a:lnTo>
                <a:close/>
                <a:moveTo>
                  <a:pt x="1275" y="1063"/>
                </a:moveTo>
                <a:lnTo>
                  <a:pt x="1279" y="1062"/>
                </a:lnTo>
                <a:lnTo>
                  <a:pt x="1282" y="1063"/>
                </a:lnTo>
                <a:lnTo>
                  <a:pt x="1285" y="1065"/>
                </a:lnTo>
                <a:lnTo>
                  <a:pt x="1287" y="1067"/>
                </a:lnTo>
                <a:lnTo>
                  <a:pt x="1289" y="1069"/>
                </a:lnTo>
                <a:lnTo>
                  <a:pt x="1290" y="1072"/>
                </a:lnTo>
                <a:lnTo>
                  <a:pt x="1290" y="1074"/>
                </a:lnTo>
                <a:lnTo>
                  <a:pt x="1290" y="1077"/>
                </a:lnTo>
                <a:lnTo>
                  <a:pt x="1290" y="1079"/>
                </a:lnTo>
                <a:lnTo>
                  <a:pt x="1289" y="1081"/>
                </a:lnTo>
                <a:lnTo>
                  <a:pt x="1288" y="1083"/>
                </a:lnTo>
                <a:lnTo>
                  <a:pt x="1286" y="1085"/>
                </a:lnTo>
                <a:lnTo>
                  <a:pt x="1283" y="1087"/>
                </a:lnTo>
                <a:lnTo>
                  <a:pt x="1280" y="1088"/>
                </a:lnTo>
                <a:lnTo>
                  <a:pt x="1276" y="1088"/>
                </a:lnTo>
                <a:lnTo>
                  <a:pt x="1273" y="1088"/>
                </a:lnTo>
                <a:lnTo>
                  <a:pt x="1270" y="1086"/>
                </a:lnTo>
                <a:lnTo>
                  <a:pt x="1268" y="1084"/>
                </a:lnTo>
                <a:lnTo>
                  <a:pt x="1266" y="1081"/>
                </a:lnTo>
                <a:lnTo>
                  <a:pt x="1265" y="1079"/>
                </a:lnTo>
                <a:lnTo>
                  <a:pt x="1265" y="1077"/>
                </a:lnTo>
                <a:lnTo>
                  <a:pt x="1265" y="1074"/>
                </a:lnTo>
                <a:lnTo>
                  <a:pt x="1265" y="1072"/>
                </a:lnTo>
                <a:lnTo>
                  <a:pt x="1266" y="1069"/>
                </a:lnTo>
                <a:lnTo>
                  <a:pt x="1267" y="1067"/>
                </a:lnTo>
                <a:lnTo>
                  <a:pt x="1269" y="1065"/>
                </a:lnTo>
                <a:lnTo>
                  <a:pt x="1272" y="1064"/>
                </a:lnTo>
                <a:lnTo>
                  <a:pt x="1275" y="1063"/>
                </a:lnTo>
                <a:close/>
                <a:moveTo>
                  <a:pt x="2580" y="819"/>
                </a:moveTo>
                <a:lnTo>
                  <a:pt x="2585" y="819"/>
                </a:lnTo>
                <a:lnTo>
                  <a:pt x="2587" y="820"/>
                </a:lnTo>
                <a:lnTo>
                  <a:pt x="2589" y="821"/>
                </a:lnTo>
                <a:lnTo>
                  <a:pt x="2591" y="823"/>
                </a:lnTo>
                <a:lnTo>
                  <a:pt x="2593" y="824"/>
                </a:lnTo>
                <a:lnTo>
                  <a:pt x="2594" y="827"/>
                </a:lnTo>
                <a:lnTo>
                  <a:pt x="2595" y="829"/>
                </a:lnTo>
                <a:lnTo>
                  <a:pt x="2595" y="834"/>
                </a:lnTo>
                <a:lnTo>
                  <a:pt x="2593" y="838"/>
                </a:lnTo>
                <a:lnTo>
                  <a:pt x="2591" y="841"/>
                </a:lnTo>
                <a:lnTo>
                  <a:pt x="2588" y="843"/>
                </a:lnTo>
                <a:lnTo>
                  <a:pt x="2584" y="844"/>
                </a:lnTo>
                <a:lnTo>
                  <a:pt x="2579" y="844"/>
                </a:lnTo>
                <a:lnTo>
                  <a:pt x="2577" y="844"/>
                </a:lnTo>
                <a:lnTo>
                  <a:pt x="2575" y="842"/>
                </a:lnTo>
                <a:lnTo>
                  <a:pt x="2573" y="841"/>
                </a:lnTo>
                <a:lnTo>
                  <a:pt x="2571" y="839"/>
                </a:lnTo>
                <a:lnTo>
                  <a:pt x="2570" y="837"/>
                </a:lnTo>
                <a:lnTo>
                  <a:pt x="2569" y="834"/>
                </a:lnTo>
                <a:lnTo>
                  <a:pt x="2569" y="829"/>
                </a:lnTo>
                <a:lnTo>
                  <a:pt x="2571" y="825"/>
                </a:lnTo>
                <a:lnTo>
                  <a:pt x="2573" y="822"/>
                </a:lnTo>
                <a:lnTo>
                  <a:pt x="2576" y="820"/>
                </a:lnTo>
                <a:lnTo>
                  <a:pt x="2580" y="819"/>
                </a:lnTo>
                <a:close/>
                <a:moveTo>
                  <a:pt x="1327" y="1021"/>
                </a:moveTo>
                <a:lnTo>
                  <a:pt x="1330" y="1021"/>
                </a:lnTo>
                <a:lnTo>
                  <a:pt x="1334" y="1022"/>
                </a:lnTo>
                <a:lnTo>
                  <a:pt x="1337" y="1024"/>
                </a:lnTo>
                <a:lnTo>
                  <a:pt x="1340" y="1026"/>
                </a:lnTo>
                <a:lnTo>
                  <a:pt x="1342" y="1031"/>
                </a:lnTo>
                <a:lnTo>
                  <a:pt x="1342" y="1033"/>
                </a:lnTo>
                <a:lnTo>
                  <a:pt x="1342" y="1036"/>
                </a:lnTo>
                <a:lnTo>
                  <a:pt x="1341" y="1038"/>
                </a:lnTo>
                <a:lnTo>
                  <a:pt x="1340" y="1041"/>
                </a:lnTo>
                <a:lnTo>
                  <a:pt x="1339" y="1043"/>
                </a:lnTo>
                <a:lnTo>
                  <a:pt x="1337" y="1044"/>
                </a:lnTo>
                <a:lnTo>
                  <a:pt x="1336" y="1045"/>
                </a:lnTo>
                <a:lnTo>
                  <a:pt x="1334" y="1046"/>
                </a:lnTo>
                <a:lnTo>
                  <a:pt x="1332" y="1047"/>
                </a:lnTo>
                <a:lnTo>
                  <a:pt x="1328" y="1047"/>
                </a:lnTo>
                <a:lnTo>
                  <a:pt x="1325" y="1046"/>
                </a:lnTo>
                <a:lnTo>
                  <a:pt x="1322" y="1045"/>
                </a:lnTo>
                <a:lnTo>
                  <a:pt x="1319" y="1042"/>
                </a:lnTo>
                <a:lnTo>
                  <a:pt x="1317" y="1037"/>
                </a:lnTo>
                <a:lnTo>
                  <a:pt x="1316" y="1035"/>
                </a:lnTo>
                <a:lnTo>
                  <a:pt x="1316" y="1032"/>
                </a:lnTo>
                <a:lnTo>
                  <a:pt x="1317" y="1030"/>
                </a:lnTo>
                <a:lnTo>
                  <a:pt x="1318" y="1028"/>
                </a:lnTo>
                <a:lnTo>
                  <a:pt x="1319" y="1026"/>
                </a:lnTo>
                <a:lnTo>
                  <a:pt x="1321" y="1024"/>
                </a:lnTo>
                <a:lnTo>
                  <a:pt x="1323" y="1023"/>
                </a:lnTo>
                <a:lnTo>
                  <a:pt x="1324" y="1022"/>
                </a:lnTo>
                <a:lnTo>
                  <a:pt x="1327" y="1021"/>
                </a:lnTo>
                <a:close/>
                <a:moveTo>
                  <a:pt x="2515" y="806"/>
                </a:moveTo>
                <a:lnTo>
                  <a:pt x="2520" y="806"/>
                </a:lnTo>
                <a:lnTo>
                  <a:pt x="2522" y="807"/>
                </a:lnTo>
                <a:lnTo>
                  <a:pt x="2524" y="808"/>
                </a:lnTo>
                <a:lnTo>
                  <a:pt x="2526" y="810"/>
                </a:lnTo>
                <a:lnTo>
                  <a:pt x="2528" y="812"/>
                </a:lnTo>
                <a:lnTo>
                  <a:pt x="2529" y="814"/>
                </a:lnTo>
                <a:lnTo>
                  <a:pt x="2530" y="816"/>
                </a:lnTo>
                <a:lnTo>
                  <a:pt x="2530" y="821"/>
                </a:lnTo>
                <a:lnTo>
                  <a:pt x="2528" y="825"/>
                </a:lnTo>
                <a:lnTo>
                  <a:pt x="2526" y="828"/>
                </a:lnTo>
                <a:lnTo>
                  <a:pt x="2523" y="830"/>
                </a:lnTo>
                <a:lnTo>
                  <a:pt x="2519" y="831"/>
                </a:lnTo>
                <a:lnTo>
                  <a:pt x="2515" y="831"/>
                </a:lnTo>
                <a:lnTo>
                  <a:pt x="2512" y="831"/>
                </a:lnTo>
                <a:lnTo>
                  <a:pt x="2510" y="829"/>
                </a:lnTo>
                <a:lnTo>
                  <a:pt x="2508" y="828"/>
                </a:lnTo>
                <a:lnTo>
                  <a:pt x="2506" y="826"/>
                </a:lnTo>
                <a:lnTo>
                  <a:pt x="2505" y="824"/>
                </a:lnTo>
                <a:lnTo>
                  <a:pt x="2504" y="821"/>
                </a:lnTo>
                <a:lnTo>
                  <a:pt x="2504" y="816"/>
                </a:lnTo>
                <a:lnTo>
                  <a:pt x="2506" y="813"/>
                </a:lnTo>
                <a:lnTo>
                  <a:pt x="2508" y="809"/>
                </a:lnTo>
                <a:lnTo>
                  <a:pt x="2511" y="807"/>
                </a:lnTo>
                <a:lnTo>
                  <a:pt x="2515" y="806"/>
                </a:lnTo>
                <a:close/>
                <a:moveTo>
                  <a:pt x="1380" y="982"/>
                </a:moveTo>
                <a:lnTo>
                  <a:pt x="1384" y="982"/>
                </a:lnTo>
                <a:lnTo>
                  <a:pt x="1387" y="983"/>
                </a:lnTo>
                <a:lnTo>
                  <a:pt x="1391" y="985"/>
                </a:lnTo>
                <a:lnTo>
                  <a:pt x="1393" y="988"/>
                </a:lnTo>
                <a:lnTo>
                  <a:pt x="1394" y="990"/>
                </a:lnTo>
                <a:lnTo>
                  <a:pt x="1395" y="992"/>
                </a:lnTo>
                <a:lnTo>
                  <a:pt x="1395" y="995"/>
                </a:lnTo>
                <a:lnTo>
                  <a:pt x="1395" y="997"/>
                </a:lnTo>
                <a:lnTo>
                  <a:pt x="1395" y="1000"/>
                </a:lnTo>
                <a:lnTo>
                  <a:pt x="1394" y="1002"/>
                </a:lnTo>
                <a:lnTo>
                  <a:pt x="1392" y="1004"/>
                </a:lnTo>
                <a:lnTo>
                  <a:pt x="1390" y="1006"/>
                </a:lnTo>
                <a:lnTo>
                  <a:pt x="1387" y="1007"/>
                </a:lnTo>
                <a:lnTo>
                  <a:pt x="1385" y="1008"/>
                </a:lnTo>
                <a:lnTo>
                  <a:pt x="1381" y="1008"/>
                </a:lnTo>
                <a:lnTo>
                  <a:pt x="1378" y="1007"/>
                </a:lnTo>
                <a:lnTo>
                  <a:pt x="1375" y="1005"/>
                </a:lnTo>
                <a:lnTo>
                  <a:pt x="1372" y="1002"/>
                </a:lnTo>
                <a:lnTo>
                  <a:pt x="1371" y="1000"/>
                </a:lnTo>
                <a:lnTo>
                  <a:pt x="1370" y="998"/>
                </a:lnTo>
                <a:lnTo>
                  <a:pt x="1370" y="995"/>
                </a:lnTo>
                <a:lnTo>
                  <a:pt x="1370" y="993"/>
                </a:lnTo>
                <a:lnTo>
                  <a:pt x="1371" y="990"/>
                </a:lnTo>
                <a:lnTo>
                  <a:pt x="1372" y="988"/>
                </a:lnTo>
                <a:lnTo>
                  <a:pt x="1373" y="986"/>
                </a:lnTo>
                <a:lnTo>
                  <a:pt x="1375" y="984"/>
                </a:lnTo>
                <a:lnTo>
                  <a:pt x="1378" y="983"/>
                </a:lnTo>
                <a:lnTo>
                  <a:pt x="1380" y="982"/>
                </a:lnTo>
                <a:close/>
                <a:moveTo>
                  <a:pt x="2450" y="793"/>
                </a:moveTo>
                <a:lnTo>
                  <a:pt x="2455" y="793"/>
                </a:lnTo>
                <a:lnTo>
                  <a:pt x="2457" y="794"/>
                </a:lnTo>
                <a:lnTo>
                  <a:pt x="2459" y="795"/>
                </a:lnTo>
                <a:lnTo>
                  <a:pt x="2461" y="797"/>
                </a:lnTo>
                <a:lnTo>
                  <a:pt x="2463" y="799"/>
                </a:lnTo>
                <a:lnTo>
                  <a:pt x="2464" y="801"/>
                </a:lnTo>
                <a:lnTo>
                  <a:pt x="2465" y="803"/>
                </a:lnTo>
                <a:lnTo>
                  <a:pt x="2465" y="806"/>
                </a:lnTo>
                <a:lnTo>
                  <a:pt x="2465" y="809"/>
                </a:lnTo>
                <a:lnTo>
                  <a:pt x="2464" y="812"/>
                </a:lnTo>
                <a:lnTo>
                  <a:pt x="2461" y="815"/>
                </a:lnTo>
                <a:lnTo>
                  <a:pt x="2458" y="818"/>
                </a:lnTo>
                <a:lnTo>
                  <a:pt x="2454" y="819"/>
                </a:lnTo>
                <a:lnTo>
                  <a:pt x="2450" y="819"/>
                </a:lnTo>
                <a:lnTo>
                  <a:pt x="2447" y="818"/>
                </a:lnTo>
                <a:lnTo>
                  <a:pt x="2445" y="817"/>
                </a:lnTo>
                <a:lnTo>
                  <a:pt x="2443" y="815"/>
                </a:lnTo>
                <a:lnTo>
                  <a:pt x="2441" y="813"/>
                </a:lnTo>
                <a:lnTo>
                  <a:pt x="2440" y="811"/>
                </a:lnTo>
                <a:lnTo>
                  <a:pt x="2440" y="809"/>
                </a:lnTo>
                <a:lnTo>
                  <a:pt x="2439" y="806"/>
                </a:lnTo>
                <a:lnTo>
                  <a:pt x="2439" y="804"/>
                </a:lnTo>
                <a:lnTo>
                  <a:pt x="2441" y="800"/>
                </a:lnTo>
                <a:lnTo>
                  <a:pt x="2443" y="797"/>
                </a:lnTo>
                <a:lnTo>
                  <a:pt x="2446" y="795"/>
                </a:lnTo>
                <a:lnTo>
                  <a:pt x="2450" y="793"/>
                </a:lnTo>
                <a:close/>
                <a:moveTo>
                  <a:pt x="2385" y="781"/>
                </a:moveTo>
                <a:lnTo>
                  <a:pt x="2390" y="781"/>
                </a:lnTo>
                <a:lnTo>
                  <a:pt x="2392" y="782"/>
                </a:lnTo>
                <a:lnTo>
                  <a:pt x="2394" y="783"/>
                </a:lnTo>
                <a:lnTo>
                  <a:pt x="2396" y="785"/>
                </a:lnTo>
                <a:lnTo>
                  <a:pt x="2398" y="786"/>
                </a:lnTo>
                <a:lnTo>
                  <a:pt x="2399" y="789"/>
                </a:lnTo>
                <a:lnTo>
                  <a:pt x="2400" y="791"/>
                </a:lnTo>
                <a:lnTo>
                  <a:pt x="2400" y="794"/>
                </a:lnTo>
                <a:lnTo>
                  <a:pt x="2400" y="796"/>
                </a:lnTo>
                <a:lnTo>
                  <a:pt x="2399" y="800"/>
                </a:lnTo>
                <a:lnTo>
                  <a:pt x="2396" y="803"/>
                </a:lnTo>
                <a:lnTo>
                  <a:pt x="2393" y="805"/>
                </a:lnTo>
                <a:lnTo>
                  <a:pt x="2389" y="806"/>
                </a:lnTo>
                <a:lnTo>
                  <a:pt x="2385" y="806"/>
                </a:lnTo>
                <a:lnTo>
                  <a:pt x="2382" y="806"/>
                </a:lnTo>
                <a:lnTo>
                  <a:pt x="2380" y="805"/>
                </a:lnTo>
                <a:lnTo>
                  <a:pt x="2378" y="803"/>
                </a:lnTo>
                <a:lnTo>
                  <a:pt x="2377" y="801"/>
                </a:lnTo>
                <a:lnTo>
                  <a:pt x="2375" y="799"/>
                </a:lnTo>
                <a:lnTo>
                  <a:pt x="2375" y="796"/>
                </a:lnTo>
                <a:lnTo>
                  <a:pt x="2374" y="794"/>
                </a:lnTo>
                <a:lnTo>
                  <a:pt x="2374" y="791"/>
                </a:lnTo>
                <a:lnTo>
                  <a:pt x="2376" y="788"/>
                </a:lnTo>
                <a:lnTo>
                  <a:pt x="2378" y="784"/>
                </a:lnTo>
                <a:lnTo>
                  <a:pt x="2381" y="782"/>
                </a:lnTo>
                <a:lnTo>
                  <a:pt x="2385" y="781"/>
                </a:lnTo>
                <a:close/>
                <a:moveTo>
                  <a:pt x="1435" y="945"/>
                </a:moveTo>
                <a:lnTo>
                  <a:pt x="1439" y="945"/>
                </a:lnTo>
                <a:lnTo>
                  <a:pt x="1443" y="946"/>
                </a:lnTo>
                <a:lnTo>
                  <a:pt x="1446" y="948"/>
                </a:lnTo>
                <a:lnTo>
                  <a:pt x="1447" y="950"/>
                </a:lnTo>
                <a:lnTo>
                  <a:pt x="1448" y="951"/>
                </a:lnTo>
                <a:lnTo>
                  <a:pt x="1450" y="953"/>
                </a:lnTo>
                <a:lnTo>
                  <a:pt x="1450" y="956"/>
                </a:lnTo>
                <a:lnTo>
                  <a:pt x="1450" y="961"/>
                </a:lnTo>
                <a:lnTo>
                  <a:pt x="1449" y="963"/>
                </a:lnTo>
                <a:lnTo>
                  <a:pt x="1448" y="965"/>
                </a:lnTo>
                <a:lnTo>
                  <a:pt x="1446" y="967"/>
                </a:lnTo>
                <a:lnTo>
                  <a:pt x="1444" y="969"/>
                </a:lnTo>
                <a:lnTo>
                  <a:pt x="1442" y="970"/>
                </a:lnTo>
                <a:lnTo>
                  <a:pt x="1440" y="971"/>
                </a:lnTo>
                <a:lnTo>
                  <a:pt x="1436" y="971"/>
                </a:lnTo>
                <a:lnTo>
                  <a:pt x="1432" y="970"/>
                </a:lnTo>
                <a:lnTo>
                  <a:pt x="1429" y="968"/>
                </a:lnTo>
                <a:lnTo>
                  <a:pt x="1428" y="967"/>
                </a:lnTo>
                <a:lnTo>
                  <a:pt x="1427" y="965"/>
                </a:lnTo>
                <a:lnTo>
                  <a:pt x="1425" y="963"/>
                </a:lnTo>
                <a:lnTo>
                  <a:pt x="1425" y="960"/>
                </a:lnTo>
                <a:lnTo>
                  <a:pt x="1425" y="955"/>
                </a:lnTo>
                <a:lnTo>
                  <a:pt x="1426" y="953"/>
                </a:lnTo>
                <a:lnTo>
                  <a:pt x="1427" y="951"/>
                </a:lnTo>
                <a:lnTo>
                  <a:pt x="1428" y="949"/>
                </a:lnTo>
                <a:lnTo>
                  <a:pt x="1430" y="947"/>
                </a:lnTo>
                <a:lnTo>
                  <a:pt x="1433" y="946"/>
                </a:lnTo>
                <a:lnTo>
                  <a:pt x="1435" y="945"/>
                </a:lnTo>
                <a:close/>
                <a:moveTo>
                  <a:pt x="2320" y="769"/>
                </a:moveTo>
                <a:lnTo>
                  <a:pt x="2325" y="769"/>
                </a:lnTo>
                <a:lnTo>
                  <a:pt x="2327" y="770"/>
                </a:lnTo>
                <a:lnTo>
                  <a:pt x="2329" y="771"/>
                </a:lnTo>
                <a:lnTo>
                  <a:pt x="2331" y="772"/>
                </a:lnTo>
                <a:lnTo>
                  <a:pt x="2333" y="774"/>
                </a:lnTo>
                <a:lnTo>
                  <a:pt x="2334" y="776"/>
                </a:lnTo>
                <a:lnTo>
                  <a:pt x="2335" y="779"/>
                </a:lnTo>
                <a:lnTo>
                  <a:pt x="2335" y="781"/>
                </a:lnTo>
                <a:lnTo>
                  <a:pt x="2335" y="784"/>
                </a:lnTo>
                <a:lnTo>
                  <a:pt x="2334" y="788"/>
                </a:lnTo>
                <a:lnTo>
                  <a:pt x="2332" y="789"/>
                </a:lnTo>
                <a:lnTo>
                  <a:pt x="2331" y="791"/>
                </a:lnTo>
                <a:lnTo>
                  <a:pt x="2328" y="793"/>
                </a:lnTo>
                <a:lnTo>
                  <a:pt x="2324" y="794"/>
                </a:lnTo>
                <a:lnTo>
                  <a:pt x="2320" y="794"/>
                </a:lnTo>
                <a:lnTo>
                  <a:pt x="2317" y="794"/>
                </a:lnTo>
                <a:lnTo>
                  <a:pt x="2315" y="792"/>
                </a:lnTo>
                <a:lnTo>
                  <a:pt x="2313" y="791"/>
                </a:lnTo>
                <a:lnTo>
                  <a:pt x="2312" y="789"/>
                </a:lnTo>
                <a:lnTo>
                  <a:pt x="2310" y="787"/>
                </a:lnTo>
                <a:lnTo>
                  <a:pt x="2310" y="784"/>
                </a:lnTo>
                <a:lnTo>
                  <a:pt x="2309" y="782"/>
                </a:lnTo>
                <a:lnTo>
                  <a:pt x="2309" y="779"/>
                </a:lnTo>
                <a:lnTo>
                  <a:pt x="2311" y="775"/>
                </a:lnTo>
                <a:lnTo>
                  <a:pt x="2313" y="772"/>
                </a:lnTo>
                <a:lnTo>
                  <a:pt x="2316" y="770"/>
                </a:lnTo>
                <a:lnTo>
                  <a:pt x="2320" y="769"/>
                </a:lnTo>
                <a:close/>
                <a:moveTo>
                  <a:pt x="1492" y="911"/>
                </a:moveTo>
                <a:lnTo>
                  <a:pt x="1496" y="911"/>
                </a:lnTo>
                <a:lnTo>
                  <a:pt x="1499" y="912"/>
                </a:lnTo>
                <a:lnTo>
                  <a:pt x="1501" y="913"/>
                </a:lnTo>
                <a:lnTo>
                  <a:pt x="1503" y="914"/>
                </a:lnTo>
                <a:lnTo>
                  <a:pt x="1505" y="917"/>
                </a:lnTo>
                <a:lnTo>
                  <a:pt x="1506" y="920"/>
                </a:lnTo>
                <a:lnTo>
                  <a:pt x="1507" y="922"/>
                </a:lnTo>
                <a:lnTo>
                  <a:pt x="1507" y="924"/>
                </a:lnTo>
                <a:lnTo>
                  <a:pt x="1506" y="927"/>
                </a:lnTo>
                <a:lnTo>
                  <a:pt x="1504" y="931"/>
                </a:lnTo>
                <a:lnTo>
                  <a:pt x="1502" y="933"/>
                </a:lnTo>
                <a:lnTo>
                  <a:pt x="1500" y="935"/>
                </a:lnTo>
                <a:lnTo>
                  <a:pt x="1498" y="936"/>
                </a:lnTo>
                <a:lnTo>
                  <a:pt x="1496" y="936"/>
                </a:lnTo>
                <a:lnTo>
                  <a:pt x="1492" y="936"/>
                </a:lnTo>
                <a:lnTo>
                  <a:pt x="1489" y="935"/>
                </a:lnTo>
                <a:lnTo>
                  <a:pt x="1487" y="934"/>
                </a:lnTo>
                <a:lnTo>
                  <a:pt x="1485" y="933"/>
                </a:lnTo>
                <a:lnTo>
                  <a:pt x="1483" y="930"/>
                </a:lnTo>
                <a:lnTo>
                  <a:pt x="1482" y="928"/>
                </a:lnTo>
                <a:lnTo>
                  <a:pt x="1481" y="925"/>
                </a:lnTo>
                <a:lnTo>
                  <a:pt x="1481" y="923"/>
                </a:lnTo>
                <a:lnTo>
                  <a:pt x="1481" y="920"/>
                </a:lnTo>
                <a:lnTo>
                  <a:pt x="1484" y="916"/>
                </a:lnTo>
                <a:lnTo>
                  <a:pt x="1485" y="914"/>
                </a:lnTo>
                <a:lnTo>
                  <a:pt x="1487" y="912"/>
                </a:lnTo>
                <a:lnTo>
                  <a:pt x="1489" y="911"/>
                </a:lnTo>
                <a:lnTo>
                  <a:pt x="1492" y="911"/>
                </a:lnTo>
                <a:close/>
                <a:moveTo>
                  <a:pt x="2255" y="757"/>
                </a:moveTo>
                <a:lnTo>
                  <a:pt x="2259" y="757"/>
                </a:lnTo>
                <a:lnTo>
                  <a:pt x="2262" y="758"/>
                </a:lnTo>
                <a:lnTo>
                  <a:pt x="2264" y="759"/>
                </a:lnTo>
                <a:lnTo>
                  <a:pt x="2266" y="760"/>
                </a:lnTo>
                <a:lnTo>
                  <a:pt x="2268" y="762"/>
                </a:lnTo>
                <a:lnTo>
                  <a:pt x="2269" y="764"/>
                </a:lnTo>
                <a:lnTo>
                  <a:pt x="2270" y="767"/>
                </a:lnTo>
                <a:lnTo>
                  <a:pt x="2270" y="769"/>
                </a:lnTo>
                <a:lnTo>
                  <a:pt x="2270" y="772"/>
                </a:lnTo>
                <a:lnTo>
                  <a:pt x="2269" y="776"/>
                </a:lnTo>
                <a:lnTo>
                  <a:pt x="2267" y="777"/>
                </a:lnTo>
                <a:lnTo>
                  <a:pt x="2266" y="779"/>
                </a:lnTo>
                <a:lnTo>
                  <a:pt x="2265" y="780"/>
                </a:lnTo>
                <a:lnTo>
                  <a:pt x="2263" y="781"/>
                </a:lnTo>
                <a:lnTo>
                  <a:pt x="2259" y="782"/>
                </a:lnTo>
                <a:lnTo>
                  <a:pt x="2255" y="782"/>
                </a:lnTo>
                <a:lnTo>
                  <a:pt x="2252" y="782"/>
                </a:lnTo>
                <a:lnTo>
                  <a:pt x="2250" y="781"/>
                </a:lnTo>
                <a:lnTo>
                  <a:pt x="2248" y="779"/>
                </a:lnTo>
                <a:lnTo>
                  <a:pt x="2247" y="777"/>
                </a:lnTo>
                <a:lnTo>
                  <a:pt x="2245" y="775"/>
                </a:lnTo>
                <a:lnTo>
                  <a:pt x="2244" y="773"/>
                </a:lnTo>
                <a:lnTo>
                  <a:pt x="2244" y="770"/>
                </a:lnTo>
                <a:lnTo>
                  <a:pt x="2244" y="768"/>
                </a:lnTo>
                <a:lnTo>
                  <a:pt x="2246" y="764"/>
                </a:lnTo>
                <a:lnTo>
                  <a:pt x="2247" y="762"/>
                </a:lnTo>
                <a:lnTo>
                  <a:pt x="2248" y="761"/>
                </a:lnTo>
                <a:lnTo>
                  <a:pt x="2249" y="759"/>
                </a:lnTo>
                <a:lnTo>
                  <a:pt x="2251" y="758"/>
                </a:lnTo>
                <a:lnTo>
                  <a:pt x="2255" y="757"/>
                </a:lnTo>
                <a:close/>
                <a:moveTo>
                  <a:pt x="1550" y="879"/>
                </a:moveTo>
                <a:lnTo>
                  <a:pt x="1554" y="879"/>
                </a:lnTo>
                <a:lnTo>
                  <a:pt x="1556" y="879"/>
                </a:lnTo>
                <a:lnTo>
                  <a:pt x="1557" y="880"/>
                </a:lnTo>
                <a:lnTo>
                  <a:pt x="1559" y="881"/>
                </a:lnTo>
                <a:lnTo>
                  <a:pt x="1561" y="882"/>
                </a:lnTo>
                <a:lnTo>
                  <a:pt x="1563" y="886"/>
                </a:lnTo>
                <a:lnTo>
                  <a:pt x="1564" y="888"/>
                </a:lnTo>
                <a:lnTo>
                  <a:pt x="1565" y="891"/>
                </a:lnTo>
                <a:lnTo>
                  <a:pt x="1565" y="893"/>
                </a:lnTo>
                <a:lnTo>
                  <a:pt x="1564" y="896"/>
                </a:lnTo>
                <a:lnTo>
                  <a:pt x="1563" y="898"/>
                </a:lnTo>
                <a:lnTo>
                  <a:pt x="1563" y="899"/>
                </a:lnTo>
                <a:lnTo>
                  <a:pt x="1562" y="900"/>
                </a:lnTo>
                <a:lnTo>
                  <a:pt x="1560" y="902"/>
                </a:lnTo>
                <a:lnTo>
                  <a:pt x="1558" y="903"/>
                </a:lnTo>
                <a:lnTo>
                  <a:pt x="1554" y="904"/>
                </a:lnTo>
                <a:lnTo>
                  <a:pt x="1550" y="905"/>
                </a:lnTo>
                <a:lnTo>
                  <a:pt x="1548" y="904"/>
                </a:lnTo>
                <a:lnTo>
                  <a:pt x="1546" y="903"/>
                </a:lnTo>
                <a:lnTo>
                  <a:pt x="1544" y="902"/>
                </a:lnTo>
                <a:lnTo>
                  <a:pt x="1543" y="901"/>
                </a:lnTo>
                <a:lnTo>
                  <a:pt x="1540" y="898"/>
                </a:lnTo>
                <a:lnTo>
                  <a:pt x="1539" y="895"/>
                </a:lnTo>
                <a:lnTo>
                  <a:pt x="1539" y="893"/>
                </a:lnTo>
                <a:lnTo>
                  <a:pt x="1539" y="890"/>
                </a:lnTo>
                <a:lnTo>
                  <a:pt x="1540" y="888"/>
                </a:lnTo>
                <a:lnTo>
                  <a:pt x="1540" y="886"/>
                </a:lnTo>
                <a:lnTo>
                  <a:pt x="1541" y="884"/>
                </a:lnTo>
                <a:lnTo>
                  <a:pt x="1542" y="883"/>
                </a:lnTo>
                <a:lnTo>
                  <a:pt x="1544" y="882"/>
                </a:lnTo>
                <a:lnTo>
                  <a:pt x="1546" y="880"/>
                </a:lnTo>
                <a:lnTo>
                  <a:pt x="1550" y="879"/>
                </a:lnTo>
                <a:close/>
                <a:moveTo>
                  <a:pt x="2188" y="748"/>
                </a:moveTo>
                <a:lnTo>
                  <a:pt x="2192" y="748"/>
                </a:lnTo>
                <a:lnTo>
                  <a:pt x="2194" y="748"/>
                </a:lnTo>
                <a:lnTo>
                  <a:pt x="2197" y="749"/>
                </a:lnTo>
                <a:lnTo>
                  <a:pt x="2199" y="751"/>
                </a:lnTo>
                <a:lnTo>
                  <a:pt x="2201" y="753"/>
                </a:lnTo>
                <a:lnTo>
                  <a:pt x="2202" y="755"/>
                </a:lnTo>
                <a:lnTo>
                  <a:pt x="2203" y="757"/>
                </a:lnTo>
                <a:lnTo>
                  <a:pt x="2203" y="759"/>
                </a:lnTo>
                <a:lnTo>
                  <a:pt x="2203" y="762"/>
                </a:lnTo>
                <a:lnTo>
                  <a:pt x="2203" y="764"/>
                </a:lnTo>
                <a:lnTo>
                  <a:pt x="2202" y="766"/>
                </a:lnTo>
                <a:lnTo>
                  <a:pt x="2200" y="770"/>
                </a:lnTo>
                <a:lnTo>
                  <a:pt x="2197" y="772"/>
                </a:lnTo>
                <a:lnTo>
                  <a:pt x="2195" y="773"/>
                </a:lnTo>
                <a:lnTo>
                  <a:pt x="2193" y="773"/>
                </a:lnTo>
                <a:lnTo>
                  <a:pt x="2189" y="774"/>
                </a:lnTo>
                <a:lnTo>
                  <a:pt x="2187" y="773"/>
                </a:lnTo>
                <a:lnTo>
                  <a:pt x="2184" y="772"/>
                </a:lnTo>
                <a:lnTo>
                  <a:pt x="2182" y="771"/>
                </a:lnTo>
                <a:lnTo>
                  <a:pt x="2180" y="769"/>
                </a:lnTo>
                <a:lnTo>
                  <a:pt x="2179" y="767"/>
                </a:lnTo>
                <a:lnTo>
                  <a:pt x="2178" y="765"/>
                </a:lnTo>
                <a:lnTo>
                  <a:pt x="2178" y="762"/>
                </a:lnTo>
                <a:lnTo>
                  <a:pt x="2178" y="759"/>
                </a:lnTo>
                <a:lnTo>
                  <a:pt x="2178" y="757"/>
                </a:lnTo>
                <a:lnTo>
                  <a:pt x="2179" y="755"/>
                </a:lnTo>
                <a:lnTo>
                  <a:pt x="2181" y="752"/>
                </a:lnTo>
                <a:lnTo>
                  <a:pt x="2184" y="749"/>
                </a:lnTo>
                <a:lnTo>
                  <a:pt x="2186" y="749"/>
                </a:lnTo>
                <a:lnTo>
                  <a:pt x="2188" y="748"/>
                </a:lnTo>
                <a:close/>
                <a:moveTo>
                  <a:pt x="1609" y="850"/>
                </a:moveTo>
                <a:lnTo>
                  <a:pt x="1613" y="850"/>
                </a:lnTo>
                <a:lnTo>
                  <a:pt x="1617" y="851"/>
                </a:lnTo>
                <a:lnTo>
                  <a:pt x="1619" y="852"/>
                </a:lnTo>
                <a:lnTo>
                  <a:pt x="1621" y="854"/>
                </a:lnTo>
                <a:lnTo>
                  <a:pt x="1623" y="857"/>
                </a:lnTo>
                <a:lnTo>
                  <a:pt x="1624" y="860"/>
                </a:lnTo>
                <a:lnTo>
                  <a:pt x="1624" y="862"/>
                </a:lnTo>
                <a:lnTo>
                  <a:pt x="1623" y="867"/>
                </a:lnTo>
                <a:lnTo>
                  <a:pt x="1622" y="869"/>
                </a:lnTo>
                <a:lnTo>
                  <a:pt x="1621" y="871"/>
                </a:lnTo>
                <a:lnTo>
                  <a:pt x="1619" y="873"/>
                </a:lnTo>
                <a:lnTo>
                  <a:pt x="1617" y="874"/>
                </a:lnTo>
                <a:lnTo>
                  <a:pt x="1613" y="875"/>
                </a:lnTo>
                <a:lnTo>
                  <a:pt x="1609" y="875"/>
                </a:lnTo>
                <a:lnTo>
                  <a:pt x="1605" y="874"/>
                </a:lnTo>
                <a:lnTo>
                  <a:pt x="1604" y="873"/>
                </a:lnTo>
                <a:lnTo>
                  <a:pt x="1602" y="872"/>
                </a:lnTo>
                <a:lnTo>
                  <a:pt x="1599" y="868"/>
                </a:lnTo>
                <a:lnTo>
                  <a:pt x="1599" y="866"/>
                </a:lnTo>
                <a:lnTo>
                  <a:pt x="1598" y="863"/>
                </a:lnTo>
                <a:lnTo>
                  <a:pt x="1599" y="858"/>
                </a:lnTo>
                <a:lnTo>
                  <a:pt x="1600" y="856"/>
                </a:lnTo>
                <a:lnTo>
                  <a:pt x="1602" y="854"/>
                </a:lnTo>
                <a:lnTo>
                  <a:pt x="1604" y="852"/>
                </a:lnTo>
                <a:lnTo>
                  <a:pt x="1606" y="851"/>
                </a:lnTo>
                <a:lnTo>
                  <a:pt x="1609" y="850"/>
                </a:lnTo>
                <a:close/>
                <a:moveTo>
                  <a:pt x="1670" y="824"/>
                </a:moveTo>
                <a:lnTo>
                  <a:pt x="1674" y="824"/>
                </a:lnTo>
                <a:lnTo>
                  <a:pt x="1676" y="824"/>
                </a:lnTo>
                <a:lnTo>
                  <a:pt x="1678" y="825"/>
                </a:lnTo>
                <a:lnTo>
                  <a:pt x="1680" y="827"/>
                </a:lnTo>
                <a:lnTo>
                  <a:pt x="1682" y="828"/>
                </a:lnTo>
                <a:lnTo>
                  <a:pt x="1683" y="830"/>
                </a:lnTo>
                <a:lnTo>
                  <a:pt x="1684" y="832"/>
                </a:lnTo>
                <a:lnTo>
                  <a:pt x="1685" y="834"/>
                </a:lnTo>
                <a:lnTo>
                  <a:pt x="1685" y="837"/>
                </a:lnTo>
                <a:lnTo>
                  <a:pt x="1685" y="839"/>
                </a:lnTo>
                <a:lnTo>
                  <a:pt x="1684" y="842"/>
                </a:lnTo>
                <a:lnTo>
                  <a:pt x="1683" y="844"/>
                </a:lnTo>
                <a:lnTo>
                  <a:pt x="1681" y="846"/>
                </a:lnTo>
                <a:lnTo>
                  <a:pt x="1679" y="847"/>
                </a:lnTo>
                <a:lnTo>
                  <a:pt x="1677" y="849"/>
                </a:lnTo>
                <a:lnTo>
                  <a:pt x="1674" y="849"/>
                </a:lnTo>
                <a:lnTo>
                  <a:pt x="1670" y="849"/>
                </a:lnTo>
                <a:lnTo>
                  <a:pt x="1668" y="849"/>
                </a:lnTo>
                <a:lnTo>
                  <a:pt x="1666" y="848"/>
                </a:lnTo>
                <a:lnTo>
                  <a:pt x="1664" y="847"/>
                </a:lnTo>
                <a:lnTo>
                  <a:pt x="1662" y="845"/>
                </a:lnTo>
                <a:lnTo>
                  <a:pt x="1661" y="843"/>
                </a:lnTo>
                <a:lnTo>
                  <a:pt x="1660" y="841"/>
                </a:lnTo>
                <a:lnTo>
                  <a:pt x="1659" y="839"/>
                </a:lnTo>
                <a:lnTo>
                  <a:pt x="1659" y="836"/>
                </a:lnTo>
                <a:lnTo>
                  <a:pt x="1659" y="834"/>
                </a:lnTo>
                <a:lnTo>
                  <a:pt x="1660" y="832"/>
                </a:lnTo>
                <a:lnTo>
                  <a:pt x="1661" y="829"/>
                </a:lnTo>
                <a:lnTo>
                  <a:pt x="1663" y="827"/>
                </a:lnTo>
                <a:lnTo>
                  <a:pt x="1665" y="826"/>
                </a:lnTo>
                <a:lnTo>
                  <a:pt x="1667" y="825"/>
                </a:lnTo>
                <a:lnTo>
                  <a:pt x="1670" y="824"/>
                </a:lnTo>
                <a:close/>
                <a:moveTo>
                  <a:pt x="2122" y="743"/>
                </a:moveTo>
                <a:lnTo>
                  <a:pt x="2125" y="743"/>
                </a:lnTo>
                <a:lnTo>
                  <a:pt x="2128" y="744"/>
                </a:lnTo>
                <a:lnTo>
                  <a:pt x="2130" y="744"/>
                </a:lnTo>
                <a:lnTo>
                  <a:pt x="2132" y="746"/>
                </a:lnTo>
                <a:lnTo>
                  <a:pt x="2134" y="747"/>
                </a:lnTo>
                <a:lnTo>
                  <a:pt x="2136" y="749"/>
                </a:lnTo>
                <a:lnTo>
                  <a:pt x="2137" y="752"/>
                </a:lnTo>
                <a:lnTo>
                  <a:pt x="2137" y="754"/>
                </a:lnTo>
                <a:lnTo>
                  <a:pt x="2137" y="757"/>
                </a:lnTo>
                <a:lnTo>
                  <a:pt x="2137" y="759"/>
                </a:lnTo>
                <a:lnTo>
                  <a:pt x="2137" y="761"/>
                </a:lnTo>
                <a:lnTo>
                  <a:pt x="2134" y="765"/>
                </a:lnTo>
                <a:lnTo>
                  <a:pt x="2131" y="767"/>
                </a:lnTo>
                <a:lnTo>
                  <a:pt x="2127" y="769"/>
                </a:lnTo>
                <a:lnTo>
                  <a:pt x="2124" y="769"/>
                </a:lnTo>
                <a:lnTo>
                  <a:pt x="2121" y="769"/>
                </a:lnTo>
                <a:lnTo>
                  <a:pt x="2119" y="768"/>
                </a:lnTo>
                <a:lnTo>
                  <a:pt x="2117" y="766"/>
                </a:lnTo>
                <a:lnTo>
                  <a:pt x="2115" y="765"/>
                </a:lnTo>
                <a:lnTo>
                  <a:pt x="2114" y="763"/>
                </a:lnTo>
                <a:lnTo>
                  <a:pt x="2112" y="761"/>
                </a:lnTo>
                <a:lnTo>
                  <a:pt x="2112" y="758"/>
                </a:lnTo>
                <a:lnTo>
                  <a:pt x="2112" y="756"/>
                </a:lnTo>
                <a:lnTo>
                  <a:pt x="2112" y="753"/>
                </a:lnTo>
                <a:lnTo>
                  <a:pt x="2113" y="751"/>
                </a:lnTo>
                <a:lnTo>
                  <a:pt x="2115" y="748"/>
                </a:lnTo>
                <a:lnTo>
                  <a:pt x="2118" y="745"/>
                </a:lnTo>
                <a:lnTo>
                  <a:pt x="2122" y="743"/>
                </a:lnTo>
                <a:close/>
                <a:moveTo>
                  <a:pt x="1732" y="801"/>
                </a:moveTo>
                <a:lnTo>
                  <a:pt x="1736" y="801"/>
                </a:lnTo>
                <a:lnTo>
                  <a:pt x="1739" y="802"/>
                </a:lnTo>
                <a:lnTo>
                  <a:pt x="1741" y="803"/>
                </a:lnTo>
                <a:lnTo>
                  <a:pt x="1742" y="804"/>
                </a:lnTo>
                <a:lnTo>
                  <a:pt x="1744" y="806"/>
                </a:lnTo>
                <a:lnTo>
                  <a:pt x="1745" y="808"/>
                </a:lnTo>
                <a:lnTo>
                  <a:pt x="1746" y="810"/>
                </a:lnTo>
                <a:lnTo>
                  <a:pt x="1747" y="815"/>
                </a:lnTo>
                <a:lnTo>
                  <a:pt x="1747" y="817"/>
                </a:lnTo>
                <a:lnTo>
                  <a:pt x="1746" y="820"/>
                </a:lnTo>
                <a:lnTo>
                  <a:pt x="1744" y="822"/>
                </a:lnTo>
                <a:lnTo>
                  <a:pt x="1743" y="824"/>
                </a:lnTo>
                <a:lnTo>
                  <a:pt x="1741" y="825"/>
                </a:lnTo>
                <a:lnTo>
                  <a:pt x="1738" y="826"/>
                </a:lnTo>
                <a:lnTo>
                  <a:pt x="1736" y="827"/>
                </a:lnTo>
                <a:lnTo>
                  <a:pt x="1732" y="827"/>
                </a:lnTo>
                <a:lnTo>
                  <a:pt x="1730" y="826"/>
                </a:lnTo>
                <a:lnTo>
                  <a:pt x="1728" y="825"/>
                </a:lnTo>
                <a:lnTo>
                  <a:pt x="1726" y="824"/>
                </a:lnTo>
                <a:lnTo>
                  <a:pt x="1724" y="822"/>
                </a:lnTo>
                <a:lnTo>
                  <a:pt x="1723" y="820"/>
                </a:lnTo>
                <a:lnTo>
                  <a:pt x="1722" y="818"/>
                </a:lnTo>
                <a:lnTo>
                  <a:pt x="1721" y="813"/>
                </a:lnTo>
                <a:lnTo>
                  <a:pt x="1722" y="810"/>
                </a:lnTo>
                <a:lnTo>
                  <a:pt x="1723" y="808"/>
                </a:lnTo>
                <a:lnTo>
                  <a:pt x="1724" y="806"/>
                </a:lnTo>
                <a:lnTo>
                  <a:pt x="1726" y="804"/>
                </a:lnTo>
                <a:lnTo>
                  <a:pt x="1728" y="803"/>
                </a:lnTo>
                <a:lnTo>
                  <a:pt x="1730" y="802"/>
                </a:lnTo>
                <a:lnTo>
                  <a:pt x="1732" y="801"/>
                </a:lnTo>
                <a:close/>
                <a:moveTo>
                  <a:pt x="2056" y="743"/>
                </a:moveTo>
                <a:lnTo>
                  <a:pt x="2058" y="743"/>
                </a:lnTo>
                <a:lnTo>
                  <a:pt x="2061" y="743"/>
                </a:lnTo>
                <a:lnTo>
                  <a:pt x="2063" y="744"/>
                </a:lnTo>
                <a:lnTo>
                  <a:pt x="2065" y="745"/>
                </a:lnTo>
                <a:lnTo>
                  <a:pt x="2067" y="746"/>
                </a:lnTo>
                <a:lnTo>
                  <a:pt x="2069" y="748"/>
                </a:lnTo>
                <a:lnTo>
                  <a:pt x="2070" y="750"/>
                </a:lnTo>
                <a:lnTo>
                  <a:pt x="2071" y="753"/>
                </a:lnTo>
                <a:lnTo>
                  <a:pt x="2071" y="755"/>
                </a:lnTo>
                <a:lnTo>
                  <a:pt x="2071" y="758"/>
                </a:lnTo>
                <a:lnTo>
                  <a:pt x="2071" y="760"/>
                </a:lnTo>
                <a:lnTo>
                  <a:pt x="2070" y="762"/>
                </a:lnTo>
                <a:lnTo>
                  <a:pt x="2068" y="764"/>
                </a:lnTo>
                <a:lnTo>
                  <a:pt x="2067" y="765"/>
                </a:lnTo>
                <a:lnTo>
                  <a:pt x="2065" y="767"/>
                </a:lnTo>
                <a:lnTo>
                  <a:pt x="2063" y="768"/>
                </a:lnTo>
                <a:lnTo>
                  <a:pt x="2061" y="768"/>
                </a:lnTo>
                <a:lnTo>
                  <a:pt x="2059" y="768"/>
                </a:lnTo>
                <a:lnTo>
                  <a:pt x="2056" y="768"/>
                </a:lnTo>
                <a:lnTo>
                  <a:pt x="2054" y="768"/>
                </a:lnTo>
                <a:lnTo>
                  <a:pt x="2051" y="766"/>
                </a:lnTo>
                <a:lnTo>
                  <a:pt x="2049" y="765"/>
                </a:lnTo>
                <a:lnTo>
                  <a:pt x="2048" y="763"/>
                </a:lnTo>
                <a:lnTo>
                  <a:pt x="2047" y="761"/>
                </a:lnTo>
                <a:lnTo>
                  <a:pt x="2046" y="758"/>
                </a:lnTo>
                <a:lnTo>
                  <a:pt x="2045" y="756"/>
                </a:lnTo>
                <a:lnTo>
                  <a:pt x="2046" y="753"/>
                </a:lnTo>
                <a:lnTo>
                  <a:pt x="2046" y="751"/>
                </a:lnTo>
                <a:lnTo>
                  <a:pt x="2047" y="749"/>
                </a:lnTo>
                <a:lnTo>
                  <a:pt x="2048" y="747"/>
                </a:lnTo>
                <a:lnTo>
                  <a:pt x="2050" y="746"/>
                </a:lnTo>
                <a:lnTo>
                  <a:pt x="2052" y="744"/>
                </a:lnTo>
                <a:lnTo>
                  <a:pt x="2054" y="743"/>
                </a:lnTo>
                <a:lnTo>
                  <a:pt x="2056" y="743"/>
                </a:lnTo>
                <a:close/>
                <a:moveTo>
                  <a:pt x="1795" y="782"/>
                </a:moveTo>
                <a:lnTo>
                  <a:pt x="1800" y="782"/>
                </a:lnTo>
                <a:lnTo>
                  <a:pt x="1802" y="783"/>
                </a:lnTo>
                <a:lnTo>
                  <a:pt x="1804" y="784"/>
                </a:lnTo>
                <a:lnTo>
                  <a:pt x="1806" y="785"/>
                </a:lnTo>
                <a:lnTo>
                  <a:pt x="1808" y="787"/>
                </a:lnTo>
                <a:lnTo>
                  <a:pt x="1809" y="789"/>
                </a:lnTo>
                <a:lnTo>
                  <a:pt x="1810" y="791"/>
                </a:lnTo>
                <a:lnTo>
                  <a:pt x="1810" y="794"/>
                </a:lnTo>
                <a:lnTo>
                  <a:pt x="1810" y="796"/>
                </a:lnTo>
                <a:lnTo>
                  <a:pt x="1810" y="799"/>
                </a:lnTo>
                <a:lnTo>
                  <a:pt x="1809" y="801"/>
                </a:lnTo>
                <a:lnTo>
                  <a:pt x="1807" y="803"/>
                </a:lnTo>
                <a:lnTo>
                  <a:pt x="1805" y="805"/>
                </a:lnTo>
                <a:lnTo>
                  <a:pt x="1803" y="806"/>
                </a:lnTo>
                <a:lnTo>
                  <a:pt x="1801" y="807"/>
                </a:lnTo>
                <a:lnTo>
                  <a:pt x="1795" y="807"/>
                </a:lnTo>
                <a:lnTo>
                  <a:pt x="1793" y="806"/>
                </a:lnTo>
                <a:lnTo>
                  <a:pt x="1791" y="805"/>
                </a:lnTo>
                <a:lnTo>
                  <a:pt x="1789" y="804"/>
                </a:lnTo>
                <a:lnTo>
                  <a:pt x="1787" y="802"/>
                </a:lnTo>
                <a:lnTo>
                  <a:pt x="1786" y="800"/>
                </a:lnTo>
                <a:lnTo>
                  <a:pt x="1785" y="798"/>
                </a:lnTo>
                <a:lnTo>
                  <a:pt x="1784" y="795"/>
                </a:lnTo>
                <a:lnTo>
                  <a:pt x="1785" y="793"/>
                </a:lnTo>
                <a:lnTo>
                  <a:pt x="1785" y="790"/>
                </a:lnTo>
                <a:lnTo>
                  <a:pt x="1786" y="788"/>
                </a:lnTo>
                <a:lnTo>
                  <a:pt x="1788" y="786"/>
                </a:lnTo>
                <a:lnTo>
                  <a:pt x="1789" y="784"/>
                </a:lnTo>
                <a:lnTo>
                  <a:pt x="1791" y="783"/>
                </a:lnTo>
                <a:lnTo>
                  <a:pt x="1794" y="782"/>
                </a:lnTo>
                <a:lnTo>
                  <a:pt x="1795" y="782"/>
                </a:lnTo>
                <a:close/>
                <a:moveTo>
                  <a:pt x="1990" y="747"/>
                </a:moveTo>
                <a:lnTo>
                  <a:pt x="1993" y="747"/>
                </a:lnTo>
                <a:lnTo>
                  <a:pt x="1996" y="747"/>
                </a:lnTo>
                <a:lnTo>
                  <a:pt x="1998" y="748"/>
                </a:lnTo>
                <a:lnTo>
                  <a:pt x="2001" y="749"/>
                </a:lnTo>
                <a:lnTo>
                  <a:pt x="2002" y="751"/>
                </a:lnTo>
                <a:lnTo>
                  <a:pt x="2004" y="753"/>
                </a:lnTo>
                <a:lnTo>
                  <a:pt x="2005" y="756"/>
                </a:lnTo>
                <a:lnTo>
                  <a:pt x="2005" y="758"/>
                </a:lnTo>
                <a:lnTo>
                  <a:pt x="2005" y="761"/>
                </a:lnTo>
                <a:lnTo>
                  <a:pt x="2005" y="763"/>
                </a:lnTo>
                <a:lnTo>
                  <a:pt x="2004" y="765"/>
                </a:lnTo>
                <a:lnTo>
                  <a:pt x="2003" y="767"/>
                </a:lnTo>
                <a:lnTo>
                  <a:pt x="1999" y="770"/>
                </a:lnTo>
                <a:lnTo>
                  <a:pt x="1997" y="771"/>
                </a:lnTo>
                <a:lnTo>
                  <a:pt x="1995" y="772"/>
                </a:lnTo>
                <a:lnTo>
                  <a:pt x="1992" y="772"/>
                </a:lnTo>
                <a:lnTo>
                  <a:pt x="1989" y="771"/>
                </a:lnTo>
                <a:lnTo>
                  <a:pt x="1986" y="771"/>
                </a:lnTo>
                <a:lnTo>
                  <a:pt x="1984" y="769"/>
                </a:lnTo>
                <a:lnTo>
                  <a:pt x="1982" y="767"/>
                </a:lnTo>
                <a:lnTo>
                  <a:pt x="1981" y="765"/>
                </a:lnTo>
                <a:lnTo>
                  <a:pt x="1980" y="763"/>
                </a:lnTo>
                <a:lnTo>
                  <a:pt x="1979" y="760"/>
                </a:lnTo>
                <a:lnTo>
                  <a:pt x="1979" y="758"/>
                </a:lnTo>
                <a:lnTo>
                  <a:pt x="1980" y="756"/>
                </a:lnTo>
                <a:lnTo>
                  <a:pt x="1981" y="753"/>
                </a:lnTo>
                <a:lnTo>
                  <a:pt x="1982" y="751"/>
                </a:lnTo>
                <a:lnTo>
                  <a:pt x="1986" y="748"/>
                </a:lnTo>
                <a:lnTo>
                  <a:pt x="1988" y="747"/>
                </a:lnTo>
                <a:lnTo>
                  <a:pt x="1990" y="747"/>
                </a:lnTo>
                <a:close/>
                <a:moveTo>
                  <a:pt x="1859" y="766"/>
                </a:moveTo>
                <a:lnTo>
                  <a:pt x="1864" y="766"/>
                </a:lnTo>
                <a:lnTo>
                  <a:pt x="1867" y="767"/>
                </a:lnTo>
                <a:lnTo>
                  <a:pt x="1869" y="768"/>
                </a:lnTo>
                <a:lnTo>
                  <a:pt x="1871" y="770"/>
                </a:lnTo>
                <a:lnTo>
                  <a:pt x="1872" y="772"/>
                </a:lnTo>
                <a:lnTo>
                  <a:pt x="1873" y="774"/>
                </a:lnTo>
                <a:lnTo>
                  <a:pt x="1874" y="776"/>
                </a:lnTo>
                <a:lnTo>
                  <a:pt x="1874" y="781"/>
                </a:lnTo>
                <a:lnTo>
                  <a:pt x="1874" y="784"/>
                </a:lnTo>
                <a:lnTo>
                  <a:pt x="1872" y="786"/>
                </a:lnTo>
                <a:lnTo>
                  <a:pt x="1871" y="788"/>
                </a:lnTo>
                <a:lnTo>
                  <a:pt x="1869" y="789"/>
                </a:lnTo>
                <a:lnTo>
                  <a:pt x="1867" y="791"/>
                </a:lnTo>
                <a:lnTo>
                  <a:pt x="1864" y="792"/>
                </a:lnTo>
                <a:lnTo>
                  <a:pt x="1859" y="791"/>
                </a:lnTo>
                <a:lnTo>
                  <a:pt x="1857" y="791"/>
                </a:lnTo>
                <a:lnTo>
                  <a:pt x="1854" y="790"/>
                </a:lnTo>
                <a:lnTo>
                  <a:pt x="1853" y="788"/>
                </a:lnTo>
                <a:lnTo>
                  <a:pt x="1851" y="786"/>
                </a:lnTo>
                <a:lnTo>
                  <a:pt x="1850" y="784"/>
                </a:lnTo>
                <a:lnTo>
                  <a:pt x="1849" y="782"/>
                </a:lnTo>
                <a:lnTo>
                  <a:pt x="1849" y="776"/>
                </a:lnTo>
                <a:lnTo>
                  <a:pt x="1850" y="774"/>
                </a:lnTo>
                <a:lnTo>
                  <a:pt x="1851" y="772"/>
                </a:lnTo>
                <a:lnTo>
                  <a:pt x="1852" y="770"/>
                </a:lnTo>
                <a:lnTo>
                  <a:pt x="1854" y="768"/>
                </a:lnTo>
                <a:lnTo>
                  <a:pt x="1856" y="767"/>
                </a:lnTo>
                <a:lnTo>
                  <a:pt x="1859" y="766"/>
                </a:lnTo>
                <a:close/>
                <a:moveTo>
                  <a:pt x="1924" y="754"/>
                </a:moveTo>
                <a:lnTo>
                  <a:pt x="1927" y="754"/>
                </a:lnTo>
                <a:lnTo>
                  <a:pt x="1930" y="755"/>
                </a:lnTo>
                <a:lnTo>
                  <a:pt x="1934" y="757"/>
                </a:lnTo>
                <a:lnTo>
                  <a:pt x="1936" y="758"/>
                </a:lnTo>
                <a:lnTo>
                  <a:pt x="1938" y="760"/>
                </a:lnTo>
                <a:lnTo>
                  <a:pt x="1939" y="763"/>
                </a:lnTo>
                <a:lnTo>
                  <a:pt x="1939" y="765"/>
                </a:lnTo>
                <a:lnTo>
                  <a:pt x="1940" y="768"/>
                </a:lnTo>
                <a:lnTo>
                  <a:pt x="1939" y="770"/>
                </a:lnTo>
                <a:lnTo>
                  <a:pt x="1938" y="773"/>
                </a:lnTo>
                <a:lnTo>
                  <a:pt x="1937" y="775"/>
                </a:lnTo>
                <a:lnTo>
                  <a:pt x="1936" y="776"/>
                </a:lnTo>
                <a:lnTo>
                  <a:pt x="1934" y="778"/>
                </a:lnTo>
                <a:lnTo>
                  <a:pt x="1931" y="779"/>
                </a:lnTo>
                <a:lnTo>
                  <a:pt x="1929" y="780"/>
                </a:lnTo>
                <a:lnTo>
                  <a:pt x="1926" y="780"/>
                </a:lnTo>
                <a:lnTo>
                  <a:pt x="1924" y="780"/>
                </a:lnTo>
                <a:lnTo>
                  <a:pt x="1919" y="777"/>
                </a:lnTo>
                <a:lnTo>
                  <a:pt x="1917" y="776"/>
                </a:lnTo>
                <a:lnTo>
                  <a:pt x="1916" y="774"/>
                </a:lnTo>
                <a:lnTo>
                  <a:pt x="1915" y="772"/>
                </a:lnTo>
                <a:lnTo>
                  <a:pt x="1914" y="769"/>
                </a:lnTo>
                <a:lnTo>
                  <a:pt x="1914" y="766"/>
                </a:lnTo>
                <a:lnTo>
                  <a:pt x="1914" y="764"/>
                </a:lnTo>
                <a:lnTo>
                  <a:pt x="1915" y="762"/>
                </a:lnTo>
                <a:lnTo>
                  <a:pt x="1916" y="760"/>
                </a:lnTo>
                <a:lnTo>
                  <a:pt x="1918" y="758"/>
                </a:lnTo>
                <a:lnTo>
                  <a:pt x="1920" y="756"/>
                </a:lnTo>
                <a:lnTo>
                  <a:pt x="1922" y="755"/>
                </a:lnTo>
                <a:lnTo>
                  <a:pt x="1924" y="754"/>
                </a:lnTo>
                <a:close/>
                <a:moveTo>
                  <a:pt x="309" y="2268"/>
                </a:moveTo>
                <a:lnTo>
                  <a:pt x="312" y="2268"/>
                </a:lnTo>
                <a:lnTo>
                  <a:pt x="315" y="2268"/>
                </a:lnTo>
                <a:lnTo>
                  <a:pt x="318" y="2269"/>
                </a:lnTo>
                <a:lnTo>
                  <a:pt x="305" y="2269"/>
                </a:lnTo>
                <a:lnTo>
                  <a:pt x="307" y="2268"/>
                </a:lnTo>
                <a:lnTo>
                  <a:pt x="309" y="2268"/>
                </a:lnTo>
                <a:close/>
                <a:moveTo>
                  <a:pt x="327" y="2204"/>
                </a:moveTo>
                <a:lnTo>
                  <a:pt x="330" y="2204"/>
                </a:lnTo>
                <a:lnTo>
                  <a:pt x="333" y="2204"/>
                </a:lnTo>
                <a:lnTo>
                  <a:pt x="336" y="2205"/>
                </a:lnTo>
                <a:lnTo>
                  <a:pt x="338" y="2207"/>
                </a:lnTo>
                <a:lnTo>
                  <a:pt x="340" y="2209"/>
                </a:lnTo>
                <a:lnTo>
                  <a:pt x="341" y="2211"/>
                </a:lnTo>
                <a:lnTo>
                  <a:pt x="342" y="2213"/>
                </a:lnTo>
                <a:lnTo>
                  <a:pt x="343" y="2215"/>
                </a:lnTo>
                <a:lnTo>
                  <a:pt x="343" y="2218"/>
                </a:lnTo>
                <a:lnTo>
                  <a:pt x="342" y="2221"/>
                </a:lnTo>
                <a:lnTo>
                  <a:pt x="341" y="2224"/>
                </a:lnTo>
                <a:lnTo>
                  <a:pt x="338" y="2227"/>
                </a:lnTo>
                <a:lnTo>
                  <a:pt x="335" y="2229"/>
                </a:lnTo>
                <a:lnTo>
                  <a:pt x="334" y="2229"/>
                </a:lnTo>
                <a:lnTo>
                  <a:pt x="332" y="2230"/>
                </a:lnTo>
                <a:lnTo>
                  <a:pt x="329" y="2230"/>
                </a:lnTo>
                <a:lnTo>
                  <a:pt x="326" y="2229"/>
                </a:lnTo>
                <a:lnTo>
                  <a:pt x="323" y="2228"/>
                </a:lnTo>
                <a:lnTo>
                  <a:pt x="321" y="2227"/>
                </a:lnTo>
                <a:lnTo>
                  <a:pt x="320" y="2225"/>
                </a:lnTo>
                <a:lnTo>
                  <a:pt x="318" y="2223"/>
                </a:lnTo>
                <a:lnTo>
                  <a:pt x="317" y="2221"/>
                </a:lnTo>
                <a:lnTo>
                  <a:pt x="317" y="2218"/>
                </a:lnTo>
                <a:lnTo>
                  <a:pt x="317" y="2216"/>
                </a:lnTo>
                <a:lnTo>
                  <a:pt x="317" y="2213"/>
                </a:lnTo>
                <a:lnTo>
                  <a:pt x="319" y="2210"/>
                </a:lnTo>
                <a:lnTo>
                  <a:pt x="321" y="2207"/>
                </a:lnTo>
                <a:lnTo>
                  <a:pt x="324" y="2205"/>
                </a:lnTo>
                <a:lnTo>
                  <a:pt x="326" y="2205"/>
                </a:lnTo>
                <a:lnTo>
                  <a:pt x="327" y="2204"/>
                </a:lnTo>
                <a:close/>
                <a:moveTo>
                  <a:pt x="347" y="2141"/>
                </a:moveTo>
                <a:lnTo>
                  <a:pt x="350" y="2141"/>
                </a:lnTo>
                <a:lnTo>
                  <a:pt x="353" y="2141"/>
                </a:lnTo>
                <a:lnTo>
                  <a:pt x="355" y="2142"/>
                </a:lnTo>
                <a:lnTo>
                  <a:pt x="357" y="2144"/>
                </a:lnTo>
                <a:lnTo>
                  <a:pt x="359" y="2145"/>
                </a:lnTo>
                <a:lnTo>
                  <a:pt x="360" y="2148"/>
                </a:lnTo>
                <a:lnTo>
                  <a:pt x="361" y="2150"/>
                </a:lnTo>
                <a:lnTo>
                  <a:pt x="362" y="2152"/>
                </a:lnTo>
                <a:lnTo>
                  <a:pt x="362" y="2155"/>
                </a:lnTo>
                <a:lnTo>
                  <a:pt x="361" y="2157"/>
                </a:lnTo>
                <a:lnTo>
                  <a:pt x="361" y="2159"/>
                </a:lnTo>
                <a:lnTo>
                  <a:pt x="360" y="2161"/>
                </a:lnTo>
                <a:lnTo>
                  <a:pt x="357" y="2163"/>
                </a:lnTo>
                <a:lnTo>
                  <a:pt x="354" y="2165"/>
                </a:lnTo>
                <a:lnTo>
                  <a:pt x="351" y="2166"/>
                </a:lnTo>
                <a:lnTo>
                  <a:pt x="348" y="2167"/>
                </a:lnTo>
                <a:lnTo>
                  <a:pt x="345" y="2166"/>
                </a:lnTo>
                <a:lnTo>
                  <a:pt x="343" y="2165"/>
                </a:lnTo>
                <a:lnTo>
                  <a:pt x="340" y="2164"/>
                </a:lnTo>
                <a:lnTo>
                  <a:pt x="339" y="2162"/>
                </a:lnTo>
                <a:lnTo>
                  <a:pt x="337" y="2160"/>
                </a:lnTo>
                <a:lnTo>
                  <a:pt x="336" y="2157"/>
                </a:lnTo>
                <a:lnTo>
                  <a:pt x="336" y="2155"/>
                </a:lnTo>
                <a:lnTo>
                  <a:pt x="336" y="2152"/>
                </a:lnTo>
                <a:lnTo>
                  <a:pt x="336" y="2150"/>
                </a:lnTo>
                <a:lnTo>
                  <a:pt x="337" y="2148"/>
                </a:lnTo>
                <a:lnTo>
                  <a:pt x="338" y="2146"/>
                </a:lnTo>
                <a:lnTo>
                  <a:pt x="340" y="2144"/>
                </a:lnTo>
                <a:lnTo>
                  <a:pt x="343" y="2142"/>
                </a:lnTo>
                <a:lnTo>
                  <a:pt x="347" y="2141"/>
                </a:lnTo>
                <a:close/>
                <a:moveTo>
                  <a:pt x="367" y="2078"/>
                </a:moveTo>
                <a:lnTo>
                  <a:pt x="370" y="2078"/>
                </a:lnTo>
                <a:lnTo>
                  <a:pt x="373" y="2078"/>
                </a:lnTo>
                <a:lnTo>
                  <a:pt x="375" y="2079"/>
                </a:lnTo>
                <a:lnTo>
                  <a:pt x="378" y="2081"/>
                </a:lnTo>
                <a:lnTo>
                  <a:pt x="379" y="2083"/>
                </a:lnTo>
                <a:lnTo>
                  <a:pt x="381" y="2085"/>
                </a:lnTo>
                <a:lnTo>
                  <a:pt x="382" y="2087"/>
                </a:lnTo>
                <a:lnTo>
                  <a:pt x="382" y="2090"/>
                </a:lnTo>
                <a:lnTo>
                  <a:pt x="382" y="2092"/>
                </a:lnTo>
                <a:lnTo>
                  <a:pt x="381" y="2095"/>
                </a:lnTo>
                <a:lnTo>
                  <a:pt x="380" y="2098"/>
                </a:lnTo>
                <a:lnTo>
                  <a:pt x="377" y="2101"/>
                </a:lnTo>
                <a:lnTo>
                  <a:pt x="376" y="2102"/>
                </a:lnTo>
                <a:lnTo>
                  <a:pt x="375" y="2102"/>
                </a:lnTo>
                <a:lnTo>
                  <a:pt x="371" y="2103"/>
                </a:lnTo>
                <a:lnTo>
                  <a:pt x="368" y="2104"/>
                </a:lnTo>
                <a:lnTo>
                  <a:pt x="365" y="2103"/>
                </a:lnTo>
                <a:lnTo>
                  <a:pt x="363" y="2102"/>
                </a:lnTo>
                <a:lnTo>
                  <a:pt x="360" y="2100"/>
                </a:lnTo>
                <a:lnTo>
                  <a:pt x="359" y="2099"/>
                </a:lnTo>
                <a:lnTo>
                  <a:pt x="357" y="2096"/>
                </a:lnTo>
                <a:lnTo>
                  <a:pt x="356" y="2094"/>
                </a:lnTo>
                <a:lnTo>
                  <a:pt x="356" y="2092"/>
                </a:lnTo>
                <a:lnTo>
                  <a:pt x="356" y="2089"/>
                </a:lnTo>
                <a:lnTo>
                  <a:pt x="357" y="2087"/>
                </a:lnTo>
                <a:lnTo>
                  <a:pt x="358" y="2083"/>
                </a:lnTo>
                <a:lnTo>
                  <a:pt x="361" y="2081"/>
                </a:lnTo>
                <a:lnTo>
                  <a:pt x="362" y="2080"/>
                </a:lnTo>
                <a:lnTo>
                  <a:pt x="363" y="2079"/>
                </a:lnTo>
                <a:lnTo>
                  <a:pt x="367" y="2078"/>
                </a:lnTo>
                <a:close/>
                <a:moveTo>
                  <a:pt x="388" y="2015"/>
                </a:moveTo>
                <a:lnTo>
                  <a:pt x="391" y="2015"/>
                </a:lnTo>
                <a:lnTo>
                  <a:pt x="394" y="2016"/>
                </a:lnTo>
                <a:lnTo>
                  <a:pt x="397" y="2017"/>
                </a:lnTo>
                <a:lnTo>
                  <a:pt x="399" y="2018"/>
                </a:lnTo>
                <a:lnTo>
                  <a:pt x="401" y="2020"/>
                </a:lnTo>
                <a:lnTo>
                  <a:pt x="402" y="2022"/>
                </a:lnTo>
                <a:lnTo>
                  <a:pt x="403" y="2025"/>
                </a:lnTo>
                <a:lnTo>
                  <a:pt x="403" y="2027"/>
                </a:lnTo>
                <a:lnTo>
                  <a:pt x="403" y="2030"/>
                </a:lnTo>
                <a:lnTo>
                  <a:pt x="403" y="2032"/>
                </a:lnTo>
                <a:lnTo>
                  <a:pt x="401" y="2035"/>
                </a:lnTo>
                <a:lnTo>
                  <a:pt x="399" y="2038"/>
                </a:lnTo>
                <a:lnTo>
                  <a:pt x="396" y="2040"/>
                </a:lnTo>
                <a:lnTo>
                  <a:pt x="392" y="2041"/>
                </a:lnTo>
                <a:lnTo>
                  <a:pt x="389" y="2041"/>
                </a:lnTo>
                <a:lnTo>
                  <a:pt x="386" y="2040"/>
                </a:lnTo>
                <a:lnTo>
                  <a:pt x="384" y="2039"/>
                </a:lnTo>
                <a:lnTo>
                  <a:pt x="381" y="2038"/>
                </a:lnTo>
                <a:lnTo>
                  <a:pt x="380" y="2036"/>
                </a:lnTo>
                <a:lnTo>
                  <a:pt x="378" y="2034"/>
                </a:lnTo>
                <a:lnTo>
                  <a:pt x="378" y="2031"/>
                </a:lnTo>
                <a:lnTo>
                  <a:pt x="377" y="2029"/>
                </a:lnTo>
                <a:lnTo>
                  <a:pt x="377" y="2026"/>
                </a:lnTo>
                <a:lnTo>
                  <a:pt x="378" y="2024"/>
                </a:lnTo>
                <a:lnTo>
                  <a:pt x="380" y="2020"/>
                </a:lnTo>
                <a:lnTo>
                  <a:pt x="382" y="2018"/>
                </a:lnTo>
                <a:lnTo>
                  <a:pt x="385" y="2016"/>
                </a:lnTo>
                <a:lnTo>
                  <a:pt x="388" y="2015"/>
                </a:lnTo>
                <a:close/>
                <a:moveTo>
                  <a:pt x="410" y="1953"/>
                </a:moveTo>
                <a:lnTo>
                  <a:pt x="414" y="1953"/>
                </a:lnTo>
                <a:lnTo>
                  <a:pt x="417" y="1953"/>
                </a:lnTo>
                <a:lnTo>
                  <a:pt x="419" y="1955"/>
                </a:lnTo>
                <a:lnTo>
                  <a:pt x="421" y="1956"/>
                </a:lnTo>
                <a:lnTo>
                  <a:pt x="423" y="1958"/>
                </a:lnTo>
                <a:lnTo>
                  <a:pt x="424" y="1960"/>
                </a:lnTo>
                <a:lnTo>
                  <a:pt x="425" y="1963"/>
                </a:lnTo>
                <a:lnTo>
                  <a:pt x="425" y="1965"/>
                </a:lnTo>
                <a:lnTo>
                  <a:pt x="425" y="1968"/>
                </a:lnTo>
                <a:lnTo>
                  <a:pt x="425" y="1970"/>
                </a:lnTo>
                <a:lnTo>
                  <a:pt x="423" y="1973"/>
                </a:lnTo>
                <a:lnTo>
                  <a:pt x="421" y="1976"/>
                </a:lnTo>
                <a:lnTo>
                  <a:pt x="418" y="1977"/>
                </a:lnTo>
                <a:lnTo>
                  <a:pt x="415" y="1978"/>
                </a:lnTo>
                <a:lnTo>
                  <a:pt x="411" y="1979"/>
                </a:lnTo>
                <a:lnTo>
                  <a:pt x="408" y="1978"/>
                </a:lnTo>
                <a:lnTo>
                  <a:pt x="406" y="1977"/>
                </a:lnTo>
                <a:lnTo>
                  <a:pt x="404" y="1975"/>
                </a:lnTo>
                <a:lnTo>
                  <a:pt x="402" y="1973"/>
                </a:lnTo>
                <a:lnTo>
                  <a:pt x="401" y="1971"/>
                </a:lnTo>
                <a:lnTo>
                  <a:pt x="400" y="1969"/>
                </a:lnTo>
                <a:lnTo>
                  <a:pt x="399" y="1966"/>
                </a:lnTo>
                <a:lnTo>
                  <a:pt x="400" y="1964"/>
                </a:lnTo>
                <a:lnTo>
                  <a:pt x="400" y="1961"/>
                </a:lnTo>
                <a:lnTo>
                  <a:pt x="402" y="1958"/>
                </a:lnTo>
                <a:lnTo>
                  <a:pt x="404" y="1956"/>
                </a:lnTo>
                <a:lnTo>
                  <a:pt x="407" y="1954"/>
                </a:lnTo>
                <a:lnTo>
                  <a:pt x="410" y="1953"/>
                </a:lnTo>
                <a:close/>
                <a:moveTo>
                  <a:pt x="433" y="1891"/>
                </a:moveTo>
                <a:lnTo>
                  <a:pt x="437" y="1891"/>
                </a:lnTo>
                <a:lnTo>
                  <a:pt x="440" y="1892"/>
                </a:lnTo>
                <a:lnTo>
                  <a:pt x="443" y="1893"/>
                </a:lnTo>
                <a:lnTo>
                  <a:pt x="445" y="1894"/>
                </a:lnTo>
                <a:lnTo>
                  <a:pt x="446" y="1896"/>
                </a:lnTo>
                <a:lnTo>
                  <a:pt x="448" y="1898"/>
                </a:lnTo>
                <a:lnTo>
                  <a:pt x="448" y="1901"/>
                </a:lnTo>
                <a:lnTo>
                  <a:pt x="449" y="1903"/>
                </a:lnTo>
                <a:lnTo>
                  <a:pt x="449" y="1906"/>
                </a:lnTo>
                <a:lnTo>
                  <a:pt x="448" y="1908"/>
                </a:lnTo>
                <a:lnTo>
                  <a:pt x="446" y="1911"/>
                </a:lnTo>
                <a:lnTo>
                  <a:pt x="444" y="1914"/>
                </a:lnTo>
                <a:lnTo>
                  <a:pt x="441" y="1916"/>
                </a:lnTo>
                <a:lnTo>
                  <a:pt x="438" y="1917"/>
                </a:lnTo>
                <a:lnTo>
                  <a:pt x="435" y="1917"/>
                </a:lnTo>
                <a:lnTo>
                  <a:pt x="431" y="1916"/>
                </a:lnTo>
                <a:lnTo>
                  <a:pt x="429" y="1915"/>
                </a:lnTo>
                <a:lnTo>
                  <a:pt x="427" y="1913"/>
                </a:lnTo>
                <a:lnTo>
                  <a:pt x="425" y="1911"/>
                </a:lnTo>
                <a:lnTo>
                  <a:pt x="424" y="1909"/>
                </a:lnTo>
                <a:lnTo>
                  <a:pt x="423" y="1907"/>
                </a:lnTo>
                <a:lnTo>
                  <a:pt x="423" y="1904"/>
                </a:lnTo>
                <a:lnTo>
                  <a:pt x="423" y="1902"/>
                </a:lnTo>
                <a:lnTo>
                  <a:pt x="424" y="1899"/>
                </a:lnTo>
                <a:lnTo>
                  <a:pt x="425" y="1896"/>
                </a:lnTo>
                <a:lnTo>
                  <a:pt x="428" y="1894"/>
                </a:lnTo>
                <a:lnTo>
                  <a:pt x="430" y="1892"/>
                </a:lnTo>
                <a:lnTo>
                  <a:pt x="433" y="1891"/>
                </a:lnTo>
                <a:close/>
                <a:moveTo>
                  <a:pt x="458" y="1829"/>
                </a:moveTo>
                <a:lnTo>
                  <a:pt x="461" y="1829"/>
                </a:lnTo>
                <a:lnTo>
                  <a:pt x="463" y="1830"/>
                </a:lnTo>
                <a:lnTo>
                  <a:pt x="465" y="1830"/>
                </a:lnTo>
                <a:lnTo>
                  <a:pt x="467" y="1831"/>
                </a:lnTo>
                <a:lnTo>
                  <a:pt x="469" y="1833"/>
                </a:lnTo>
                <a:lnTo>
                  <a:pt x="471" y="1835"/>
                </a:lnTo>
                <a:lnTo>
                  <a:pt x="472" y="1837"/>
                </a:lnTo>
                <a:lnTo>
                  <a:pt x="473" y="1840"/>
                </a:lnTo>
                <a:lnTo>
                  <a:pt x="473" y="1842"/>
                </a:lnTo>
                <a:lnTo>
                  <a:pt x="473" y="1845"/>
                </a:lnTo>
                <a:lnTo>
                  <a:pt x="472" y="1847"/>
                </a:lnTo>
                <a:lnTo>
                  <a:pt x="470" y="1850"/>
                </a:lnTo>
                <a:lnTo>
                  <a:pt x="468" y="1852"/>
                </a:lnTo>
                <a:lnTo>
                  <a:pt x="465" y="1854"/>
                </a:lnTo>
                <a:lnTo>
                  <a:pt x="462" y="1855"/>
                </a:lnTo>
                <a:lnTo>
                  <a:pt x="459" y="1855"/>
                </a:lnTo>
                <a:lnTo>
                  <a:pt x="457" y="1855"/>
                </a:lnTo>
                <a:lnTo>
                  <a:pt x="455" y="1854"/>
                </a:lnTo>
                <a:lnTo>
                  <a:pt x="453" y="1853"/>
                </a:lnTo>
                <a:lnTo>
                  <a:pt x="451" y="1851"/>
                </a:lnTo>
                <a:lnTo>
                  <a:pt x="449" y="1849"/>
                </a:lnTo>
                <a:lnTo>
                  <a:pt x="448" y="1847"/>
                </a:lnTo>
                <a:lnTo>
                  <a:pt x="447" y="1845"/>
                </a:lnTo>
                <a:lnTo>
                  <a:pt x="447" y="1842"/>
                </a:lnTo>
                <a:lnTo>
                  <a:pt x="447" y="1840"/>
                </a:lnTo>
                <a:lnTo>
                  <a:pt x="448" y="1837"/>
                </a:lnTo>
                <a:lnTo>
                  <a:pt x="450" y="1834"/>
                </a:lnTo>
                <a:lnTo>
                  <a:pt x="452" y="1832"/>
                </a:lnTo>
                <a:lnTo>
                  <a:pt x="455" y="1830"/>
                </a:lnTo>
                <a:lnTo>
                  <a:pt x="458" y="1829"/>
                </a:lnTo>
                <a:close/>
                <a:moveTo>
                  <a:pt x="483" y="1768"/>
                </a:moveTo>
                <a:lnTo>
                  <a:pt x="487" y="1768"/>
                </a:lnTo>
                <a:lnTo>
                  <a:pt x="491" y="1769"/>
                </a:lnTo>
                <a:lnTo>
                  <a:pt x="493" y="1770"/>
                </a:lnTo>
                <a:lnTo>
                  <a:pt x="495" y="1772"/>
                </a:lnTo>
                <a:lnTo>
                  <a:pt x="496" y="1774"/>
                </a:lnTo>
                <a:lnTo>
                  <a:pt x="498" y="1776"/>
                </a:lnTo>
                <a:lnTo>
                  <a:pt x="498" y="1779"/>
                </a:lnTo>
                <a:lnTo>
                  <a:pt x="499" y="1781"/>
                </a:lnTo>
                <a:lnTo>
                  <a:pt x="498" y="1784"/>
                </a:lnTo>
                <a:lnTo>
                  <a:pt x="498" y="1786"/>
                </a:lnTo>
                <a:lnTo>
                  <a:pt x="496" y="1789"/>
                </a:lnTo>
                <a:lnTo>
                  <a:pt x="494" y="1791"/>
                </a:lnTo>
                <a:lnTo>
                  <a:pt x="491" y="1793"/>
                </a:lnTo>
                <a:lnTo>
                  <a:pt x="488" y="1794"/>
                </a:lnTo>
                <a:lnTo>
                  <a:pt x="484" y="1794"/>
                </a:lnTo>
                <a:lnTo>
                  <a:pt x="480" y="1793"/>
                </a:lnTo>
                <a:lnTo>
                  <a:pt x="478" y="1792"/>
                </a:lnTo>
                <a:lnTo>
                  <a:pt x="476" y="1790"/>
                </a:lnTo>
                <a:lnTo>
                  <a:pt x="475" y="1788"/>
                </a:lnTo>
                <a:lnTo>
                  <a:pt x="473" y="1786"/>
                </a:lnTo>
                <a:lnTo>
                  <a:pt x="473" y="1784"/>
                </a:lnTo>
                <a:lnTo>
                  <a:pt x="473" y="1781"/>
                </a:lnTo>
                <a:lnTo>
                  <a:pt x="473" y="1779"/>
                </a:lnTo>
                <a:lnTo>
                  <a:pt x="474" y="1776"/>
                </a:lnTo>
                <a:lnTo>
                  <a:pt x="475" y="1773"/>
                </a:lnTo>
                <a:lnTo>
                  <a:pt x="478" y="1771"/>
                </a:lnTo>
                <a:lnTo>
                  <a:pt x="480" y="1769"/>
                </a:lnTo>
                <a:lnTo>
                  <a:pt x="483" y="1768"/>
                </a:lnTo>
                <a:close/>
                <a:moveTo>
                  <a:pt x="510" y="1708"/>
                </a:moveTo>
                <a:lnTo>
                  <a:pt x="514" y="1708"/>
                </a:lnTo>
                <a:lnTo>
                  <a:pt x="517" y="1709"/>
                </a:lnTo>
                <a:lnTo>
                  <a:pt x="520" y="1710"/>
                </a:lnTo>
                <a:lnTo>
                  <a:pt x="522" y="1712"/>
                </a:lnTo>
                <a:lnTo>
                  <a:pt x="523" y="1714"/>
                </a:lnTo>
                <a:lnTo>
                  <a:pt x="524" y="1716"/>
                </a:lnTo>
                <a:lnTo>
                  <a:pt x="525" y="1718"/>
                </a:lnTo>
                <a:lnTo>
                  <a:pt x="525" y="1721"/>
                </a:lnTo>
                <a:lnTo>
                  <a:pt x="525" y="1723"/>
                </a:lnTo>
                <a:lnTo>
                  <a:pt x="524" y="1726"/>
                </a:lnTo>
                <a:lnTo>
                  <a:pt x="522" y="1729"/>
                </a:lnTo>
                <a:lnTo>
                  <a:pt x="520" y="1731"/>
                </a:lnTo>
                <a:lnTo>
                  <a:pt x="519" y="1732"/>
                </a:lnTo>
                <a:lnTo>
                  <a:pt x="517" y="1732"/>
                </a:lnTo>
                <a:lnTo>
                  <a:pt x="514" y="1733"/>
                </a:lnTo>
                <a:lnTo>
                  <a:pt x="511" y="1733"/>
                </a:lnTo>
                <a:lnTo>
                  <a:pt x="507" y="1732"/>
                </a:lnTo>
                <a:lnTo>
                  <a:pt x="504" y="1731"/>
                </a:lnTo>
                <a:lnTo>
                  <a:pt x="503" y="1729"/>
                </a:lnTo>
                <a:lnTo>
                  <a:pt x="501" y="1727"/>
                </a:lnTo>
                <a:lnTo>
                  <a:pt x="500" y="1725"/>
                </a:lnTo>
                <a:lnTo>
                  <a:pt x="499" y="1723"/>
                </a:lnTo>
                <a:lnTo>
                  <a:pt x="499" y="1720"/>
                </a:lnTo>
                <a:lnTo>
                  <a:pt x="499" y="1718"/>
                </a:lnTo>
                <a:lnTo>
                  <a:pt x="500" y="1715"/>
                </a:lnTo>
                <a:lnTo>
                  <a:pt x="502" y="1712"/>
                </a:lnTo>
                <a:lnTo>
                  <a:pt x="504" y="1710"/>
                </a:lnTo>
                <a:lnTo>
                  <a:pt x="506" y="1709"/>
                </a:lnTo>
                <a:lnTo>
                  <a:pt x="507" y="1709"/>
                </a:lnTo>
                <a:lnTo>
                  <a:pt x="510" y="1708"/>
                </a:lnTo>
                <a:close/>
                <a:moveTo>
                  <a:pt x="538" y="1648"/>
                </a:moveTo>
                <a:lnTo>
                  <a:pt x="542" y="1648"/>
                </a:lnTo>
                <a:lnTo>
                  <a:pt x="543" y="1648"/>
                </a:lnTo>
                <a:lnTo>
                  <a:pt x="545" y="1649"/>
                </a:lnTo>
                <a:lnTo>
                  <a:pt x="548" y="1650"/>
                </a:lnTo>
                <a:lnTo>
                  <a:pt x="550" y="1652"/>
                </a:lnTo>
                <a:lnTo>
                  <a:pt x="551" y="1654"/>
                </a:lnTo>
                <a:lnTo>
                  <a:pt x="552" y="1656"/>
                </a:lnTo>
                <a:lnTo>
                  <a:pt x="553" y="1658"/>
                </a:lnTo>
                <a:lnTo>
                  <a:pt x="553" y="1661"/>
                </a:lnTo>
                <a:lnTo>
                  <a:pt x="552" y="1664"/>
                </a:lnTo>
                <a:lnTo>
                  <a:pt x="552" y="1666"/>
                </a:lnTo>
                <a:lnTo>
                  <a:pt x="550" y="1669"/>
                </a:lnTo>
                <a:lnTo>
                  <a:pt x="548" y="1671"/>
                </a:lnTo>
                <a:lnTo>
                  <a:pt x="545" y="1672"/>
                </a:lnTo>
                <a:lnTo>
                  <a:pt x="542" y="1673"/>
                </a:lnTo>
                <a:lnTo>
                  <a:pt x="538" y="1673"/>
                </a:lnTo>
                <a:lnTo>
                  <a:pt x="536" y="1673"/>
                </a:lnTo>
                <a:lnTo>
                  <a:pt x="534" y="1672"/>
                </a:lnTo>
                <a:lnTo>
                  <a:pt x="532" y="1671"/>
                </a:lnTo>
                <a:lnTo>
                  <a:pt x="530" y="1669"/>
                </a:lnTo>
                <a:lnTo>
                  <a:pt x="529" y="1667"/>
                </a:lnTo>
                <a:lnTo>
                  <a:pt x="528" y="1665"/>
                </a:lnTo>
                <a:lnTo>
                  <a:pt x="527" y="1662"/>
                </a:lnTo>
                <a:lnTo>
                  <a:pt x="527" y="1660"/>
                </a:lnTo>
                <a:lnTo>
                  <a:pt x="527" y="1657"/>
                </a:lnTo>
                <a:lnTo>
                  <a:pt x="528" y="1655"/>
                </a:lnTo>
                <a:lnTo>
                  <a:pt x="530" y="1652"/>
                </a:lnTo>
                <a:lnTo>
                  <a:pt x="532" y="1650"/>
                </a:lnTo>
                <a:lnTo>
                  <a:pt x="535" y="1649"/>
                </a:lnTo>
                <a:lnTo>
                  <a:pt x="538" y="1648"/>
                </a:lnTo>
                <a:close/>
                <a:moveTo>
                  <a:pt x="566" y="1588"/>
                </a:moveTo>
                <a:lnTo>
                  <a:pt x="571" y="1588"/>
                </a:lnTo>
                <a:lnTo>
                  <a:pt x="573" y="1588"/>
                </a:lnTo>
                <a:lnTo>
                  <a:pt x="575" y="1589"/>
                </a:lnTo>
                <a:lnTo>
                  <a:pt x="577" y="1591"/>
                </a:lnTo>
                <a:lnTo>
                  <a:pt x="579" y="1592"/>
                </a:lnTo>
                <a:lnTo>
                  <a:pt x="580" y="1595"/>
                </a:lnTo>
                <a:lnTo>
                  <a:pt x="581" y="1597"/>
                </a:lnTo>
                <a:lnTo>
                  <a:pt x="582" y="1599"/>
                </a:lnTo>
                <a:lnTo>
                  <a:pt x="582" y="1602"/>
                </a:lnTo>
                <a:lnTo>
                  <a:pt x="581" y="1604"/>
                </a:lnTo>
                <a:lnTo>
                  <a:pt x="580" y="1607"/>
                </a:lnTo>
                <a:lnTo>
                  <a:pt x="579" y="1609"/>
                </a:lnTo>
                <a:lnTo>
                  <a:pt x="576" y="1611"/>
                </a:lnTo>
                <a:lnTo>
                  <a:pt x="574" y="1613"/>
                </a:lnTo>
                <a:lnTo>
                  <a:pt x="571" y="1614"/>
                </a:lnTo>
                <a:lnTo>
                  <a:pt x="567" y="1614"/>
                </a:lnTo>
                <a:lnTo>
                  <a:pt x="565" y="1613"/>
                </a:lnTo>
                <a:lnTo>
                  <a:pt x="563" y="1613"/>
                </a:lnTo>
                <a:lnTo>
                  <a:pt x="561" y="1611"/>
                </a:lnTo>
                <a:lnTo>
                  <a:pt x="559" y="1609"/>
                </a:lnTo>
                <a:lnTo>
                  <a:pt x="557" y="1607"/>
                </a:lnTo>
                <a:lnTo>
                  <a:pt x="556" y="1605"/>
                </a:lnTo>
                <a:lnTo>
                  <a:pt x="556" y="1603"/>
                </a:lnTo>
                <a:lnTo>
                  <a:pt x="556" y="1600"/>
                </a:lnTo>
                <a:lnTo>
                  <a:pt x="556" y="1598"/>
                </a:lnTo>
                <a:lnTo>
                  <a:pt x="557" y="1595"/>
                </a:lnTo>
                <a:lnTo>
                  <a:pt x="559" y="1593"/>
                </a:lnTo>
                <a:lnTo>
                  <a:pt x="561" y="1590"/>
                </a:lnTo>
                <a:lnTo>
                  <a:pt x="564" y="1589"/>
                </a:lnTo>
                <a:lnTo>
                  <a:pt x="566" y="1588"/>
                </a:lnTo>
                <a:close/>
                <a:moveTo>
                  <a:pt x="597" y="1529"/>
                </a:moveTo>
                <a:lnTo>
                  <a:pt x="601" y="1529"/>
                </a:lnTo>
                <a:lnTo>
                  <a:pt x="605" y="1530"/>
                </a:lnTo>
                <a:lnTo>
                  <a:pt x="607" y="1532"/>
                </a:lnTo>
                <a:lnTo>
                  <a:pt x="609" y="1534"/>
                </a:lnTo>
                <a:lnTo>
                  <a:pt x="610" y="1536"/>
                </a:lnTo>
                <a:lnTo>
                  <a:pt x="611" y="1538"/>
                </a:lnTo>
                <a:lnTo>
                  <a:pt x="612" y="1541"/>
                </a:lnTo>
                <a:lnTo>
                  <a:pt x="612" y="1543"/>
                </a:lnTo>
                <a:lnTo>
                  <a:pt x="611" y="1546"/>
                </a:lnTo>
                <a:lnTo>
                  <a:pt x="610" y="1548"/>
                </a:lnTo>
                <a:lnTo>
                  <a:pt x="609" y="1551"/>
                </a:lnTo>
                <a:lnTo>
                  <a:pt x="606" y="1553"/>
                </a:lnTo>
                <a:lnTo>
                  <a:pt x="604" y="1554"/>
                </a:lnTo>
                <a:lnTo>
                  <a:pt x="601" y="1555"/>
                </a:lnTo>
                <a:lnTo>
                  <a:pt x="597" y="1555"/>
                </a:lnTo>
                <a:lnTo>
                  <a:pt x="593" y="1554"/>
                </a:lnTo>
                <a:lnTo>
                  <a:pt x="591" y="1552"/>
                </a:lnTo>
                <a:lnTo>
                  <a:pt x="589" y="1550"/>
                </a:lnTo>
                <a:lnTo>
                  <a:pt x="587" y="1548"/>
                </a:lnTo>
                <a:lnTo>
                  <a:pt x="586" y="1546"/>
                </a:lnTo>
                <a:lnTo>
                  <a:pt x="586" y="1543"/>
                </a:lnTo>
                <a:lnTo>
                  <a:pt x="586" y="1541"/>
                </a:lnTo>
                <a:lnTo>
                  <a:pt x="586" y="1538"/>
                </a:lnTo>
                <a:lnTo>
                  <a:pt x="587" y="1536"/>
                </a:lnTo>
                <a:lnTo>
                  <a:pt x="589" y="1533"/>
                </a:lnTo>
                <a:lnTo>
                  <a:pt x="591" y="1531"/>
                </a:lnTo>
                <a:lnTo>
                  <a:pt x="594" y="1530"/>
                </a:lnTo>
                <a:lnTo>
                  <a:pt x="597" y="1529"/>
                </a:lnTo>
                <a:close/>
                <a:moveTo>
                  <a:pt x="628" y="1471"/>
                </a:moveTo>
                <a:lnTo>
                  <a:pt x="632" y="1471"/>
                </a:lnTo>
                <a:lnTo>
                  <a:pt x="636" y="1472"/>
                </a:lnTo>
                <a:lnTo>
                  <a:pt x="639" y="1474"/>
                </a:lnTo>
                <a:lnTo>
                  <a:pt x="640" y="1476"/>
                </a:lnTo>
                <a:lnTo>
                  <a:pt x="642" y="1478"/>
                </a:lnTo>
                <a:lnTo>
                  <a:pt x="643" y="1480"/>
                </a:lnTo>
                <a:lnTo>
                  <a:pt x="643" y="1483"/>
                </a:lnTo>
                <a:lnTo>
                  <a:pt x="643" y="1485"/>
                </a:lnTo>
                <a:lnTo>
                  <a:pt x="642" y="1490"/>
                </a:lnTo>
                <a:lnTo>
                  <a:pt x="640" y="1492"/>
                </a:lnTo>
                <a:lnTo>
                  <a:pt x="638" y="1494"/>
                </a:lnTo>
                <a:lnTo>
                  <a:pt x="635" y="1496"/>
                </a:lnTo>
                <a:lnTo>
                  <a:pt x="632" y="1497"/>
                </a:lnTo>
                <a:lnTo>
                  <a:pt x="628" y="1497"/>
                </a:lnTo>
                <a:lnTo>
                  <a:pt x="624" y="1495"/>
                </a:lnTo>
                <a:lnTo>
                  <a:pt x="622" y="1494"/>
                </a:lnTo>
                <a:lnTo>
                  <a:pt x="620" y="1492"/>
                </a:lnTo>
                <a:lnTo>
                  <a:pt x="619" y="1490"/>
                </a:lnTo>
                <a:lnTo>
                  <a:pt x="618" y="1487"/>
                </a:lnTo>
                <a:lnTo>
                  <a:pt x="617" y="1485"/>
                </a:lnTo>
                <a:lnTo>
                  <a:pt x="617" y="1482"/>
                </a:lnTo>
                <a:lnTo>
                  <a:pt x="619" y="1477"/>
                </a:lnTo>
                <a:lnTo>
                  <a:pt x="620" y="1475"/>
                </a:lnTo>
                <a:lnTo>
                  <a:pt x="623" y="1473"/>
                </a:lnTo>
                <a:lnTo>
                  <a:pt x="625" y="1472"/>
                </a:lnTo>
                <a:lnTo>
                  <a:pt x="628" y="1471"/>
                </a:lnTo>
                <a:close/>
                <a:moveTo>
                  <a:pt x="660" y="1413"/>
                </a:moveTo>
                <a:lnTo>
                  <a:pt x="665" y="1413"/>
                </a:lnTo>
                <a:lnTo>
                  <a:pt x="667" y="1414"/>
                </a:lnTo>
                <a:lnTo>
                  <a:pt x="669" y="1415"/>
                </a:lnTo>
                <a:lnTo>
                  <a:pt x="671" y="1416"/>
                </a:lnTo>
                <a:lnTo>
                  <a:pt x="673" y="1418"/>
                </a:lnTo>
                <a:lnTo>
                  <a:pt x="674" y="1420"/>
                </a:lnTo>
                <a:lnTo>
                  <a:pt x="675" y="1423"/>
                </a:lnTo>
                <a:lnTo>
                  <a:pt x="676" y="1425"/>
                </a:lnTo>
                <a:lnTo>
                  <a:pt x="676" y="1428"/>
                </a:lnTo>
                <a:lnTo>
                  <a:pt x="675" y="1430"/>
                </a:lnTo>
                <a:lnTo>
                  <a:pt x="674" y="1433"/>
                </a:lnTo>
                <a:lnTo>
                  <a:pt x="673" y="1434"/>
                </a:lnTo>
                <a:lnTo>
                  <a:pt x="672" y="1435"/>
                </a:lnTo>
                <a:lnTo>
                  <a:pt x="670" y="1437"/>
                </a:lnTo>
                <a:lnTo>
                  <a:pt x="668" y="1438"/>
                </a:lnTo>
                <a:lnTo>
                  <a:pt x="665" y="1439"/>
                </a:lnTo>
                <a:lnTo>
                  <a:pt x="661" y="1439"/>
                </a:lnTo>
                <a:lnTo>
                  <a:pt x="658" y="1438"/>
                </a:lnTo>
                <a:lnTo>
                  <a:pt x="656" y="1437"/>
                </a:lnTo>
                <a:lnTo>
                  <a:pt x="654" y="1436"/>
                </a:lnTo>
                <a:lnTo>
                  <a:pt x="652" y="1434"/>
                </a:lnTo>
                <a:lnTo>
                  <a:pt x="651" y="1432"/>
                </a:lnTo>
                <a:lnTo>
                  <a:pt x="650" y="1430"/>
                </a:lnTo>
                <a:lnTo>
                  <a:pt x="650" y="1427"/>
                </a:lnTo>
                <a:lnTo>
                  <a:pt x="650" y="1425"/>
                </a:lnTo>
                <a:lnTo>
                  <a:pt x="650" y="1422"/>
                </a:lnTo>
                <a:lnTo>
                  <a:pt x="651" y="1420"/>
                </a:lnTo>
                <a:lnTo>
                  <a:pt x="652" y="1418"/>
                </a:lnTo>
                <a:lnTo>
                  <a:pt x="653" y="1417"/>
                </a:lnTo>
                <a:lnTo>
                  <a:pt x="655" y="1415"/>
                </a:lnTo>
                <a:lnTo>
                  <a:pt x="658" y="1414"/>
                </a:lnTo>
                <a:lnTo>
                  <a:pt x="660" y="1413"/>
                </a:lnTo>
                <a:close/>
                <a:moveTo>
                  <a:pt x="694" y="1357"/>
                </a:moveTo>
                <a:lnTo>
                  <a:pt x="699" y="1357"/>
                </a:lnTo>
                <a:lnTo>
                  <a:pt x="701" y="1357"/>
                </a:lnTo>
                <a:lnTo>
                  <a:pt x="703" y="1358"/>
                </a:lnTo>
                <a:lnTo>
                  <a:pt x="705" y="1360"/>
                </a:lnTo>
                <a:lnTo>
                  <a:pt x="707" y="1362"/>
                </a:lnTo>
                <a:lnTo>
                  <a:pt x="708" y="1364"/>
                </a:lnTo>
                <a:lnTo>
                  <a:pt x="709" y="1366"/>
                </a:lnTo>
                <a:lnTo>
                  <a:pt x="710" y="1369"/>
                </a:lnTo>
                <a:lnTo>
                  <a:pt x="709" y="1371"/>
                </a:lnTo>
                <a:lnTo>
                  <a:pt x="709" y="1374"/>
                </a:lnTo>
                <a:lnTo>
                  <a:pt x="708" y="1376"/>
                </a:lnTo>
                <a:lnTo>
                  <a:pt x="706" y="1378"/>
                </a:lnTo>
                <a:lnTo>
                  <a:pt x="704" y="1380"/>
                </a:lnTo>
                <a:lnTo>
                  <a:pt x="701" y="1381"/>
                </a:lnTo>
                <a:lnTo>
                  <a:pt x="699" y="1382"/>
                </a:lnTo>
                <a:lnTo>
                  <a:pt x="694" y="1382"/>
                </a:lnTo>
                <a:lnTo>
                  <a:pt x="692" y="1382"/>
                </a:lnTo>
                <a:lnTo>
                  <a:pt x="690" y="1380"/>
                </a:lnTo>
                <a:lnTo>
                  <a:pt x="688" y="1379"/>
                </a:lnTo>
                <a:lnTo>
                  <a:pt x="686" y="1377"/>
                </a:lnTo>
                <a:lnTo>
                  <a:pt x="685" y="1375"/>
                </a:lnTo>
                <a:lnTo>
                  <a:pt x="684" y="1372"/>
                </a:lnTo>
                <a:lnTo>
                  <a:pt x="684" y="1370"/>
                </a:lnTo>
                <a:lnTo>
                  <a:pt x="684" y="1367"/>
                </a:lnTo>
                <a:lnTo>
                  <a:pt x="684" y="1365"/>
                </a:lnTo>
                <a:lnTo>
                  <a:pt x="685" y="1363"/>
                </a:lnTo>
                <a:lnTo>
                  <a:pt x="687" y="1360"/>
                </a:lnTo>
                <a:lnTo>
                  <a:pt x="689" y="1359"/>
                </a:lnTo>
                <a:lnTo>
                  <a:pt x="692" y="1357"/>
                </a:lnTo>
                <a:lnTo>
                  <a:pt x="694" y="1357"/>
                </a:lnTo>
                <a:close/>
                <a:moveTo>
                  <a:pt x="730" y="1300"/>
                </a:moveTo>
                <a:lnTo>
                  <a:pt x="734" y="1301"/>
                </a:lnTo>
                <a:lnTo>
                  <a:pt x="738" y="1301"/>
                </a:lnTo>
                <a:lnTo>
                  <a:pt x="740" y="1302"/>
                </a:lnTo>
                <a:lnTo>
                  <a:pt x="742" y="1304"/>
                </a:lnTo>
                <a:lnTo>
                  <a:pt x="744" y="1306"/>
                </a:lnTo>
                <a:lnTo>
                  <a:pt x="745" y="1308"/>
                </a:lnTo>
                <a:lnTo>
                  <a:pt x="746" y="1311"/>
                </a:lnTo>
                <a:lnTo>
                  <a:pt x="746" y="1313"/>
                </a:lnTo>
                <a:lnTo>
                  <a:pt x="746" y="1316"/>
                </a:lnTo>
                <a:lnTo>
                  <a:pt x="745" y="1318"/>
                </a:lnTo>
                <a:lnTo>
                  <a:pt x="744" y="1320"/>
                </a:lnTo>
                <a:lnTo>
                  <a:pt x="742" y="1323"/>
                </a:lnTo>
                <a:lnTo>
                  <a:pt x="740" y="1324"/>
                </a:lnTo>
                <a:lnTo>
                  <a:pt x="738" y="1325"/>
                </a:lnTo>
                <a:lnTo>
                  <a:pt x="734" y="1326"/>
                </a:lnTo>
                <a:lnTo>
                  <a:pt x="729" y="1326"/>
                </a:lnTo>
                <a:lnTo>
                  <a:pt x="727" y="1325"/>
                </a:lnTo>
                <a:lnTo>
                  <a:pt x="725" y="1324"/>
                </a:lnTo>
                <a:lnTo>
                  <a:pt x="723" y="1323"/>
                </a:lnTo>
                <a:lnTo>
                  <a:pt x="721" y="1321"/>
                </a:lnTo>
                <a:lnTo>
                  <a:pt x="720" y="1318"/>
                </a:lnTo>
                <a:lnTo>
                  <a:pt x="719" y="1316"/>
                </a:lnTo>
                <a:lnTo>
                  <a:pt x="719" y="1314"/>
                </a:lnTo>
                <a:lnTo>
                  <a:pt x="719" y="1311"/>
                </a:lnTo>
                <a:lnTo>
                  <a:pt x="720" y="1309"/>
                </a:lnTo>
                <a:lnTo>
                  <a:pt x="721" y="1306"/>
                </a:lnTo>
                <a:lnTo>
                  <a:pt x="723" y="1304"/>
                </a:lnTo>
                <a:lnTo>
                  <a:pt x="725" y="1302"/>
                </a:lnTo>
                <a:lnTo>
                  <a:pt x="727" y="1301"/>
                </a:lnTo>
                <a:lnTo>
                  <a:pt x="730" y="1300"/>
                </a:lnTo>
                <a:close/>
                <a:moveTo>
                  <a:pt x="767" y="1245"/>
                </a:moveTo>
                <a:lnTo>
                  <a:pt x="772" y="1245"/>
                </a:lnTo>
                <a:lnTo>
                  <a:pt x="774" y="1246"/>
                </a:lnTo>
                <a:lnTo>
                  <a:pt x="777" y="1247"/>
                </a:lnTo>
                <a:lnTo>
                  <a:pt x="779" y="1249"/>
                </a:lnTo>
                <a:lnTo>
                  <a:pt x="780" y="1251"/>
                </a:lnTo>
                <a:lnTo>
                  <a:pt x="781" y="1253"/>
                </a:lnTo>
                <a:lnTo>
                  <a:pt x="782" y="1256"/>
                </a:lnTo>
                <a:lnTo>
                  <a:pt x="782" y="1261"/>
                </a:lnTo>
                <a:lnTo>
                  <a:pt x="781" y="1263"/>
                </a:lnTo>
                <a:lnTo>
                  <a:pt x="780" y="1265"/>
                </a:lnTo>
                <a:lnTo>
                  <a:pt x="778" y="1268"/>
                </a:lnTo>
                <a:lnTo>
                  <a:pt x="776" y="1269"/>
                </a:lnTo>
                <a:lnTo>
                  <a:pt x="774" y="1270"/>
                </a:lnTo>
                <a:lnTo>
                  <a:pt x="772" y="1271"/>
                </a:lnTo>
                <a:lnTo>
                  <a:pt x="767" y="1271"/>
                </a:lnTo>
                <a:lnTo>
                  <a:pt x="764" y="1270"/>
                </a:lnTo>
                <a:lnTo>
                  <a:pt x="762" y="1269"/>
                </a:lnTo>
                <a:lnTo>
                  <a:pt x="760" y="1267"/>
                </a:lnTo>
                <a:lnTo>
                  <a:pt x="758" y="1265"/>
                </a:lnTo>
                <a:lnTo>
                  <a:pt x="757" y="1263"/>
                </a:lnTo>
                <a:lnTo>
                  <a:pt x="757" y="1261"/>
                </a:lnTo>
                <a:lnTo>
                  <a:pt x="757" y="1256"/>
                </a:lnTo>
                <a:lnTo>
                  <a:pt x="757" y="1253"/>
                </a:lnTo>
                <a:lnTo>
                  <a:pt x="759" y="1251"/>
                </a:lnTo>
                <a:lnTo>
                  <a:pt x="760" y="1249"/>
                </a:lnTo>
                <a:lnTo>
                  <a:pt x="762" y="1247"/>
                </a:lnTo>
                <a:lnTo>
                  <a:pt x="765" y="1246"/>
                </a:lnTo>
                <a:lnTo>
                  <a:pt x="767" y="1245"/>
                </a:lnTo>
                <a:close/>
                <a:moveTo>
                  <a:pt x="805" y="1191"/>
                </a:moveTo>
                <a:lnTo>
                  <a:pt x="810" y="1191"/>
                </a:lnTo>
                <a:lnTo>
                  <a:pt x="813" y="1192"/>
                </a:lnTo>
                <a:lnTo>
                  <a:pt x="815" y="1193"/>
                </a:lnTo>
                <a:lnTo>
                  <a:pt x="817" y="1195"/>
                </a:lnTo>
                <a:lnTo>
                  <a:pt x="818" y="1197"/>
                </a:lnTo>
                <a:lnTo>
                  <a:pt x="819" y="1199"/>
                </a:lnTo>
                <a:lnTo>
                  <a:pt x="820" y="1202"/>
                </a:lnTo>
                <a:lnTo>
                  <a:pt x="820" y="1204"/>
                </a:lnTo>
                <a:lnTo>
                  <a:pt x="820" y="1207"/>
                </a:lnTo>
                <a:lnTo>
                  <a:pt x="819" y="1209"/>
                </a:lnTo>
                <a:lnTo>
                  <a:pt x="818" y="1212"/>
                </a:lnTo>
                <a:lnTo>
                  <a:pt x="816" y="1213"/>
                </a:lnTo>
                <a:lnTo>
                  <a:pt x="814" y="1215"/>
                </a:lnTo>
                <a:lnTo>
                  <a:pt x="812" y="1216"/>
                </a:lnTo>
                <a:lnTo>
                  <a:pt x="810" y="1217"/>
                </a:lnTo>
                <a:lnTo>
                  <a:pt x="804" y="1217"/>
                </a:lnTo>
                <a:lnTo>
                  <a:pt x="802" y="1216"/>
                </a:lnTo>
                <a:lnTo>
                  <a:pt x="800" y="1215"/>
                </a:lnTo>
                <a:lnTo>
                  <a:pt x="798" y="1213"/>
                </a:lnTo>
                <a:lnTo>
                  <a:pt x="796" y="1211"/>
                </a:lnTo>
                <a:lnTo>
                  <a:pt x="795" y="1208"/>
                </a:lnTo>
                <a:lnTo>
                  <a:pt x="794" y="1206"/>
                </a:lnTo>
                <a:lnTo>
                  <a:pt x="794" y="1204"/>
                </a:lnTo>
                <a:lnTo>
                  <a:pt x="795" y="1201"/>
                </a:lnTo>
                <a:lnTo>
                  <a:pt x="795" y="1199"/>
                </a:lnTo>
                <a:lnTo>
                  <a:pt x="797" y="1196"/>
                </a:lnTo>
                <a:lnTo>
                  <a:pt x="798" y="1194"/>
                </a:lnTo>
                <a:lnTo>
                  <a:pt x="800" y="1193"/>
                </a:lnTo>
                <a:lnTo>
                  <a:pt x="803" y="1192"/>
                </a:lnTo>
                <a:lnTo>
                  <a:pt x="805" y="1191"/>
                </a:lnTo>
                <a:close/>
                <a:moveTo>
                  <a:pt x="844" y="1138"/>
                </a:moveTo>
                <a:lnTo>
                  <a:pt x="847" y="1138"/>
                </a:lnTo>
                <a:lnTo>
                  <a:pt x="850" y="1138"/>
                </a:lnTo>
                <a:lnTo>
                  <a:pt x="852" y="1139"/>
                </a:lnTo>
                <a:lnTo>
                  <a:pt x="854" y="1140"/>
                </a:lnTo>
                <a:lnTo>
                  <a:pt x="856" y="1142"/>
                </a:lnTo>
                <a:lnTo>
                  <a:pt x="858" y="1144"/>
                </a:lnTo>
                <a:lnTo>
                  <a:pt x="859" y="1147"/>
                </a:lnTo>
                <a:lnTo>
                  <a:pt x="860" y="1149"/>
                </a:lnTo>
                <a:lnTo>
                  <a:pt x="860" y="1152"/>
                </a:lnTo>
                <a:lnTo>
                  <a:pt x="859" y="1154"/>
                </a:lnTo>
                <a:lnTo>
                  <a:pt x="858" y="1156"/>
                </a:lnTo>
                <a:lnTo>
                  <a:pt x="857" y="1159"/>
                </a:lnTo>
                <a:lnTo>
                  <a:pt x="855" y="1160"/>
                </a:lnTo>
                <a:lnTo>
                  <a:pt x="853" y="1162"/>
                </a:lnTo>
                <a:lnTo>
                  <a:pt x="851" y="1163"/>
                </a:lnTo>
                <a:lnTo>
                  <a:pt x="849" y="1164"/>
                </a:lnTo>
                <a:lnTo>
                  <a:pt x="846" y="1164"/>
                </a:lnTo>
                <a:lnTo>
                  <a:pt x="844" y="1163"/>
                </a:lnTo>
                <a:lnTo>
                  <a:pt x="841" y="1163"/>
                </a:lnTo>
                <a:lnTo>
                  <a:pt x="839" y="1161"/>
                </a:lnTo>
                <a:lnTo>
                  <a:pt x="837" y="1159"/>
                </a:lnTo>
                <a:lnTo>
                  <a:pt x="835" y="1157"/>
                </a:lnTo>
                <a:lnTo>
                  <a:pt x="834" y="1155"/>
                </a:lnTo>
                <a:lnTo>
                  <a:pt x="834" y="1153"/>
                </a:lnTo>
                <a:lnTo>
                  <a:pt x="834" y="1150"/>
                </a:lnTo>
                <a:lnTo>
                  <a:pt x="834" y="1148"/>
                </a:lnTo>
                <a:lnTo>
                  <a:pt x="835" y="1145"/>
                </a:lnTo>
                <a:lnTo>
                  <a:pt x="836" y="1143"/>
                </a:lnTo>
                <a:lnTo>
                  <a:pt x="838" y="1141"/>
                </a:lnTo>
                <a:lnTo>
                  <a:pt x="840" y="1140"/>
                </a:lnTo>
                <a:lnTo>
                  <a:pt x="842" y="1139"/>
                </a:lnTo>
                <a:lnTo>
                  <a:pt x="844" y="1138"/>
                </a:lnTo>
                <a:close/>
                <a:moveTo>
                  <a:pt x="885" y="1085"/>
                </a:moveTo>
                <a:lnTo>
                  <a:pt x="888" y="1085"/>
                </a:lnTo>
                <a:lnTo>
                  <a:pt x="891" y="1085"/>
                </a:lnTo>
                <a:lnTo>
                  <a:pt x="893" y="1086"/>
                </a:lnTo>
                <a:lnTo>
                  <a:pt x="896" y="1088"/>
                </a:lnTo>
                <a:lnTo>
                  <a:pt x="897" y="1089"/>
                </a:lnTo>
                <a:lnTo>
                  <a:pt x="899" y="1092"/>
                </a:lnTo>
                <a:lnTo>
                  <a:pt x="900" y="1094"/>
                </a:lnTo>
                <a:lnTo>
                  <a:pt x="900" y="1096"/>
                </a:lnTo>
                <a:lnTo>
                  <a:pt x="900" y="1099"/>
                </a:lnTo>
                <a:lnTo>
                  <a:pt x="900" y="1101"/>
                </a:lnTo>
                <a:lnTo>
                  <a:pt x="899" y="1104"/>
                </a:lnTo>
                <a:lnTo>
                  <a:pt x="898" y="1106"/>
                </a:lnTo>
                <a:lnTo>
                  <a:pt x="896" y="1108"/>
                </a:lnTo>
                <a:lnTo>
                  <a:pt x="894" y="1109"/>
                </a:lnTo>
                <a:lnTo>
                  <a:pt x="892" y="1110"/>
                </a:lnTo>
                <a:lnTo>
                  <a:pt x="890" y="1111"/>
                </a:lnTo>
                <a:lnTo>
                  <a:pt x="887" y="1111"/>
                </a:lnTo>
                <a:lnTo>
                  <a:pt x="884" y="1110"/>
                </a:lnTo>
                <a:lnTo>
                  <a:pt x="882" y="1109"/>
                </a:lnTo>
                <a:lnTo>
                  <a:pt x="879" y="1108"/>
                </a:lnTo>
                <a:lnTo>
                  <a:pt x="877" y="1106"/>
                </a:lnTo>
                <a:lnTo>
                  <a:pt x="876" y="1104"/>
                </a:lnTo>
                <a:lnTo>
                  <a:pt x="875" y="1102"/>
                </a:lnTo>
                <a:lnTo>
                  <a:pt x="874" y="1099"/>
                </a:lnTo>
                <a:lnTo>
                  <a:pt x="874" y="1097"/>
                </a:lnTo>
                <a:lnTo>
                  <a:pt x="875" y="1094"/>
                </a:lnTo>
                <a:lnTo>
                  <a:pt x="876" y="1092"/>
                </a:lnTo>
                <a:lnTo>
                  <a:pt x="877" y="1090"/>
                </a:lnTo>
                <a:lnTo>
                  <a:pt x="879" y="1088"/>
                </a:lnTo>
                <a:lnTo>
                  <a:pt x="881" y="1086"/>
                </a:lnTo>
                <a:lnTo>
                  <a:pt x="883" y="1085"/>
                </a:lnTo>
                <a:lnTo>
                  <a:pt x="885" y="1085"/>
                </a:lnTo>
                <a:close/>
                <a:moveTo>
                  <a:pt x="2919" y="693"/>
                </a:moveTo>
                <a:lnTo>
                  <a:pt x="2922" y="693"/>
                </a:lnTo>
                <a:lnTo>
                  <a:pt x="2924" y="693"/>
                </a:lnTo>
                <a:lnTo>
                  <a:pt x="2927" y="694"/>
                </a:lnTo>
                <a:lnTo>
                  <a:pt x="2929" y="695"/>
                </a:lnTo>
                <a:lnTo>
                  <a:pt x="2931" y="697"/>
                </a:lnTo>
                <a:lnTo>
                  <a:pt x="2932" y="699"/>
                </a:lnTo>
                <a:lnTo>
                  <a:pt x="2934" y="701"/>
                </a:lnTo>
                <a:lnTo>
                  <a:pt x="2934" y="704"/>
                </a:lnTo>
                <a:lnTo>
                  <a:pt x="2934" y="706"/>
                </a:lnTo>
                <a:lnTo>
                  <a:pt x="2934" y="709"/>
                </a:lnTo>
                <a:lnTo>
                  <a:pt x="2933" y="712"/>
                </a:lnTo>
                <a:lnTo>
                  <a:pt x="2930" y="715"/>
                </a:lnTo>
                <a:lnTo>
                  <a:pt x="2927" y="717"/>
                </a:lnTo>
                <a:lnTo>
                  <a:pt x="2924" y="719"/>
                </a:lnTo>
                <a:lnTo>
                  <a:pt x="2921" y="719"/>
                </a:lnTo>
                <a:lnTo>
                  <a:pt x="2918" y="718"/>
                </a:lnTo>
                <a:lnTo>
                  <a:pt x="2916" y="718"/>
                </a:lnTo>
                <a:lnTo>
                  <a:pt x="2914" y="716"/>
                </a:lnTo>
                <a:lnTo>
                  <a:pt x="2912" y="715"/>
                </a:lnTo>
                <a:lnTo>
                  <a:pt x="2910" y="713"/>
                </a:lnTo>
                <a:lnTo>
                  <a:pt x="2909" y="710"/>
                </a:lnTo>
                <a:lnTo>
                  <a:pt x="2909" y="708"/>
                </a:lnTo>
                <a:lnTo>
                  <a:pt x="2908" y="705"/>
                </a:lnTo>
                <a:lnTo>
                  <a:pt x="2909" y="703"/>
                </a:lnTo>
                <a:lnTo>
                  <a:pt x="2910" y="699"/>
                </a:lnTo>
                <a:lnTo>
                  <a:pt x="2913" y="696"/>
                </a:lnTo>
                <a:lnTo>
                  <a:pt x="2916" y="694"/>
                </a:lnTo>
                <a:lnTo>
                  <a:pt x="2919" y="693"/>
                </a:lnTo>
                <a:close/>
                <a:moveTo>
                  <a:pt x="927" y="1034"/>
                </a:moveTo>
                <a:lnTo>
                  <a:pt x="930" y="1034"/>
                </a:lnTo>
                <a:lnTo>
                  <a:pt x="933" y="1034"/>
                </a:lnTo>
                <a:lnTo>
                  <a:pt x="936" y="1035"/>
                </a:lnTo>
                <a:lnTo>
                  <a:pt x="938" y="1037"/>
                </a:lnTo>
                <a:lnTo>
                  <a:pt x="940" y="1039"/>
                </a:lnTo>
                <a:lnTo>
                  <a:pt x="941" y="1041"/>
                </a:lnTo>
                <a:lnTo>
                  <a:pt x="942" y="1043"/>
                </a:lnTo>
                <a:lnTo>
                  <a:pt x="943" y="1046"/>
                </a:lnTo>
                <a:lnTo>
                  <a:pt x="943" y="1048"/>
                </a:lnTo>
                <a:lnTo>
                  <a:pt x="942" y="1051"/>
                </a:lnTo>
                <a:lnTo>
                  <a:pt x="941" y="1053"/>
                </a:lnTo>
                <a:lnTo>
                  <a:pt x="940" y="1055"/>
                </a:lnTo>
                <a:lnTo>
                  <a:pt x="939" y="1056"/>
                </a:lnTo>
                <a:lnTo>
                  <a:pt x="938" y="1057"/>
                </a:lnTo>
                <a:lnTo>
                  <a:pt x="936" y="1058"/>
                </a:lnTo>
                <a:lnTo>
                  <a:pt x="932" y="1060"/>
                </a:lnTo>
                <a:lnTo>
                  <a:pt x="929" y="1060"/>
                </a:lnTo>
                <a:lnTo>
                  <a:pt x="926" y="1059"/>
                </a:lnTo>
                <a:lnTo>
                  <a:pt x="924" y="1058"/>
                </a:lnTo>
                <a:lnTo>
                  <a:pt x="921" y="1057"/>
                </a:lnTo>
                <a:lnTo>
                  <a:pt x="919" y="1055"/>
                </a:lnTo>
                <a:lnTo>
                  <a:pt x="918" y="1053"/>
                </a:lnTo>
                <a:lnTo>
                  <a:pt x="917" y="1050"/>
                </a:lnTo>
                <a:lnTo>
                  <a:pt x="917" y="1048"/>
                </a:lnTo>
                <a:lnTo>
                  <a:pt x="917" y="1045"/>
                </a:lnTo>
                <a:lnTo>
                  <a:pt x="917" y="1043"/>
                </a:lnTo>
                <a:lnTo>
                  <a:pt x="918" y="1041"/>
                </a:lnTo>
                <a:lnTo>
                  <a:pt x="920" y="1038"/>
                </a:lnTo>
                <a:lnTo>
                  <a:pt x="921" y="1037"/>
                </a:lnTo>
                <a:lnTo>
                  <a:pt x="923" y="1035"/>
                </a:lnTo>
                <a:lnTo>
                  <a:pt x="927" y="1034"/>
                </a:lnTo>
                <a:close/>
                <a:moveTo>
                  <a:pt x="2855" y="678"/>
                </a:moveTo>
                <a:lnTo>
                  <a:pt x="2857" y="678"/>
                </a:lnTo>
                <a:lnTo>
                  <a:pt x="2860" y="678"/>
                </a:lnTo>
                <a:lnTo>
                  <a:pt x="2862" y="679"/>
                </a:lnTo>
                <a:lnTo>
                  <a:pt x="2865" y="680"/>
                </a:lnTo>
                <a:lnTo>
                  <a:pt x="2867" y="682"/>
                </a:lnTo>
                <a:lnTo>
                  <a:pt x="2868" y="684"/>
                </a:lnTo>
                <a:lnTo>
                  <a:pt x="2869" y="686"/>
                </a:lnTo>
                <a:lnTo>
                  <a:pt x="2870" y="688"/>
                </a:lnTo>
                <a:lnTo>
                  <a:pt x="2870" y="691"/>
                </a:lnTo>
                <a:lnTo>
                  <a:pt x="2870" y="694"/>
                </a:lnTo>
                <a:lnTo>
                  <a:pt x="2869" y="696"/>
                </a:lnTo>
                <a:lnTo>
                  <a:pt x="2868" y="697"/>
                </a:lnTo>
                <a:lnTo>
                  <a:pt x="2866" y="700"/>
                </a:lnTo>
                <a:lnTo>
                  <a:pt x="2863" y="702"/>
                </a:lnTo>
                <a:lnTo>
                  <a:pt x="2859" y="703"/>
                </a:lnTo>
                <a:lnTo>
                  <a:pt x="2857" y="704"/>
                </a:lnTo>
                <a:lnTo>
                  <a:pt x="2854" y="703"/>
                </a:lnTo>
                <a:lnTo>
                  <a:pt x="2852" y="702"/>
                </a:lnTo>
                <a:lnTo>
                  <a:pt x="2849" y="701"/>
                </a:lnTo>
                <a:lnTo>
                  <a:pt x="2847" y="700"/>
                </a:lnTo>
                <a:lnTo>
                  <a:pt x="2846" y="698"/>
                </a:lnTo>
                <a:lnTo>
                  <a:pt x="2845" y="695"/>
                </a:lnTo>
                <a:lnTo>
                  <a:pt x="2844" y="693"/>
                </a:lnTo>
                <a:lnTo>
                  <a:pt x="2844" y="690"/>
                </a:lnTo>
                <a:lnTo>
                  <a:pt x="2844" y="688"/>
                </a:lnTo>
                <a:lnTo>
                  <a:pt x="2845" y="686"/>
                </a:lnTo>
                <a:lnTo>
                  <a:pt x="2846" y="684"/>
                </a:lnTo>
                <a:lnTo>
                  <a:pt x="2848" y="681"/>
                </a:lnTo>
                <a:lnTo>
                  <a:pt x="2851" y="679"/>
                </a:lnTo>
                <a:lnTo>
                  <a:pt x="2855" y="678"/>
                </a:lnTo>
                <a:close/>
                <a:moveTo>
                  <a:pt x="971" y="984"/>
                </a:moveTo>
                <a:lnTo>
                  <a:pt x="974" y="984"/>
                </a:lnTo>
                <a:lnTo>
                  <a:pt x="977" y="985"/>
                </a:lnTo>
                <a:lnTo>
                  <a:pt x="980" y="986"/>
                </a:lnTo>
                <a:lnTo>
                  <a:pt x="982" y="988"/>
                </a:lnTo>
                <a:lnTo>
                  <a:pt x="984" y="990"/>
                </a:lnTo>
                <a:lnTo>
                  <a:pt x="985" y="992"/>
                </a:lnTo>
                <a:lnTo>
                  <a:pt x="986" y="993"/>
                </a:lnTo>
                <a:lnTo>
                  <a:pt x="986" y="994"/>
                </a:lnTo>
                <a:lnTo>
                  <a:pt x="987" y="997"/>
                </a:lnTo>
                <a:lnTo>
                  <a:pt x="986" y="1002"/>
                </a:lnTo>
                <a:lnTo>
                  <a:pt x="985" y="1004"/>
                </a:lnTo>
                <a:lnTo>
                  <a:pt x="983" y="1006"/>
                </a:lnTo>
                <a:lnTo>
                  <a:pt x="980" y="1009"/>
                </a:lnTo>
                <a:lnTo>
                  <a:pt x="978" y="1010"/>
                </a:lnTo>
                <a:lnTo>
                  <a:pt x="976" y="1010"/>
                </a:lnTo>
                <a:lnTo>
                  <a:pt x="973" y="1010"/>
                </a:lnTo>
                <a:lnTo>
                  <a:pt x="970" y="1010"/>
                </a:lnTo>
                <a:lnTo>
                  <a:pt x="967" y="1009"/>
                </a:lnTo>
                <a:lnTo>
                  <a:pt x="965" y="1007"/>
                </a:lnTo>
                <a:lnTo>
                  <a:pt x="963" y="1005"/>
                </a:lnTo>
                <a:lnTo>
                  <a:pt x="962" y="1003"/>
                </a:lnTo>
                <a:lnTo>
                  <a:pt x="961" y="1002"/>
                </a:lnTo>
                <a:lnTo>
                  <a:pt x="961" y="1000"/>
                </a:lnTo>
                <a:lnTo>
                  <a:pt x="960" y="998"/>
                </a:lnTo>
                <a:lnTo>
                  <a:pt x="961" y="993"/>
                </a:lnTo>
                <a:lnTo>
                  <a:pt x="962" y="991"/>
                </a:lnTo>
                <a:lnTo>
                  <a:pt x="964" y="988"/>
                </a:lnTo>
                <a:lnTo>
                  <a:pt x="967" y="986"/>
                </a:lnTo>
                <a:lnTo>
                  <a:pt x="969" y="985"/>
                </a:lnTo>
                <a:lnTo>
                  <a:pt x="971" y="984"/>
                </a:lnTo>
                <a:close/>
                <a:moveTo>
                  <a:pt x="2790" y="663"/>
                </a:moveTo>
                <a:lnTo>
                  <a:pt x="2793" y="663"/>
                </a:lnTo>
                <a:lnTo>
                  <a:pt x="2796" y="663"/>
                </a:lnTo>
                <a:lnTo>
                  <a:pt x="2798" y="664"/>
                </a:lnTo>
                <a:lnTo>
                  <a:pt x="2800" y="665"/>
                </a:lnTo>
                <a:lnTo>
                  <a:pt x="2802" y="667"/>
                </a:lnTo>
                <a:lnTo>
                  <a:pt x="2804" y="669"/>
                </a:lnTo>
                <a:lnTo>
                  <a:pt x="2805" y="671"/>
                </a:lnTo>
                <a:lnTo>
                  <a:pt x="2805" y="673"/>
                </a:lnTo>
                <a:lnTo>
                  <a:pt x="2806" y="676"/>
                </a:lnTo>
                <a:lnTo>
                  <a:pt x="2805" y="679"/>
                </a:lnTo>
                <a:lnTo>
                  <a:pt x="2805" y="680"/>
                </a:lnTo>
                <a:lnTo>
                  <a:pt x="2804" y="682"/>
                </a:lnTo>
                <a:lnTo>
                  <a:pt x="2801" y="685"/>
                </a:lnTo>
                <a:lnTo>
                  <a:pt x="2798" y="687"/>
                </a:lnTo>
                <a:lnTo>
                  <a:pt x="2795" y="688"/>
                </a:lnTo>
                <a:lnTo>
                  <a:pt x="2792" y="689"/>
                </a:lnTo>
                <a:lnTo>
                  <a:pt x="2790" y="688"/>
                </a:lnTo>
                <a:lnTo>
                  <a:pt x="2787" y="687"/>
                </a:lnTo>
                <a:lnTo>
                  <a:pt x="2785" y="686"/>
                </a:lnTo>
                <a:lnTo>
                  <a:pt x="2783" y="684"/>
                </a:lnTo>
                <a:lnTo>
                  <a:pt x="2782" y="682"/>
                </a:lnTo>
                <a:lnTo>
                  <a:pt x="2780" y="680"/>
                </a:lnTo>
                <a:lnTo>
                  <a:pt x="2780" y="678"/>
                </a:lnTo>
                <a:lnTo>
                  <a:pt x="2780" y="675"/>
                </a:lnTo>
                <a:lnTo>
                  <a:pt x="2780" y="673"/>
                </a:lnTo>
                <a:lnTo>
                  <a:pt x="2781" y="671"/>
                </a:lnTo>
                <a:lnTo>
                  <a:pt x="2781" y="669"/>
                </a:lnTo>
                <a:lnTo>
                  <a:pt x="2784" y="666"/>
                </a:lnTo>
                <a:lnTo>
                  <a:pt x="2787" y="664"/>
                </a:lnTo>
                <a:lnTo>
                  <a:pt x="2790" y="663"/>
                </a:lnTo>
                <a:close/>
                <a:moveTo>
                  <a:pt x="2726" y="648"/>
                </a:moveTo>
                <a:lnTo>
                  <a:pt x="2729" y="647"/>
                </a:lnTo>
                <a:lnTo>
                  <a:pt x="2731" y="648"/>
                </a:lnTo>
                <a:lnTo>
                  <a:pt x="2734" y="649"/>
                </a:lnTo>
                <a:lnTo>
                  <a:pt x="2736" y="650"/>
                </a:lnTo>
                <a:lnTo>
                  <a:pt x="2738" y="652"/>
                </a:lnTo>
                <a:lnTo>
                  <a:pt x="2739" y="654"/>
                </a:lnTo>
                <a:lnTo>
                  <a:pt x="2740" y="656"/>
                </a:lnTo>
                <a:lnTo>
                  <a:pt x="2741" y="658"/>
                </a:lnTo>
                <a:lnTo>
                  <a:pt x="2741" y="661"/>
                </a:lnTo>
                <a:lnTo>
                  <a:pt x="2741" y="663"/>
                </a:lnTo>
                <a:lnTo>
                  <a:pt x="2740" y="665"/>
                </a:lnTo>
                <a:lnTo>
                  <a:pt x="2739" y="667"/>
                </a:lnTo>
                <a:lnTo>
                  <a:pt x="2737" y="670"/>
                </a:lnTo>
                <a:lnTo>
                  <a:pt x="2734" y="672"/>
                </a:lnTo>
                <a:lnTo>
                  <a:pt x="2730" y="673"/>
                </a:lnTo>
                <a:lnTo>
                  <a:pt x="2728" y="673"/>
                </a:lnTo>
                <a:lnTo>
                  <a:pt x="2725" y="673"/>
                </a:lnTo>
                <a:lnTo>
                  <a:pt x="2723" y="672"/>
                </a:lnTo>
                <a:lnTo>
                  <a:pt x="2721" y="671"/>
                </a:lnTo>
                <a:lnTo>
                  <a:pt x="2719" y="669"/>
                </a:lnTo>
                <a:lnTo>
                  <a:pt x="2717" y="667"/>
                </a:lnTo>
                <a:lnTo>
                  <a:pt x="2716" y="665"/>
                </a:lnTo>
                <a:lnTo>
                  <a:pt x="2715" y="663"/>
                </a:lnTo>
                <a:lnTo>
                  <a:pt x="2715" y="660"/>
                </a:lnTo>
                <a:lnTo>
                  <a:pt x="2716" y="657"/>
                </a:lnTo>
                <a:lnTo>
                  <a:pt x="2716" y="655"/>
                </a:lnTo>
                <a:lnTo>
                  <a:pt x="2717" y="654"/>
                </a:lnTo>
                <a:lnTo>
                  <a:pt x="2719" y="651"/>
                </a:lnTo>
                <a:lnTo>
                  <a:pt x="2722" y="649"/>
                </a:lnTo>
                <a:lnTo>
                  <a:pt x="2726" y="648"/>
                </a:lnTo>
                <a:close/>
                <a:moveTo>
                  <a:pt x="1017" y="936"/>
                </a:moveTo>
                <a:lnTo>
                  <a:pt x="1020" y="936"/>
                </a:lnTo>
                <a:lnTo>
                  <a:pt x="1023" y="937"/>
                </a:lnTo>
                <a:lnTo>
                  <a:pt x="1025" y="938"/>
                </a:lnTo>
                <a:lnTo>
                  <a:pt x="1028" y="940"/>
                </a:lnTo>
                <a:lnTo>
                  <a:pt x="1030" y="942"/>
                </a:lnTo>
                <a:lnTo>
                  <a:pt x="1031" y="944"/>
                </a:lnTo>
                <a:lnTo>
                  <a:pt x="1032" y="946"/>
                </a:lnTo>
                <a:lnTo>
                  <a:pt x="1032" y="949"/>
                </a:lnTo>
                <a:lnTo>
                  <a:pt x="1032" y="951"/>
                </a:lnTo>
                <a:lnTo>
                  <a:pt x="1031" y="954"/>
                </a:lnTo>
                <a:lnTo>
                  <a:pt x="1030" y="956"/>
                </a:lnTo>
                <a:lnTo>
                  <a:pt x="1028" y="958"/>
                </a:lnTo>
                <a:lnTo>
                  <a:pt x="1025" y="961"/>
                </a:lnTo>
                <a:lnTo>
                  <a:pt x="1021" y="962"/>
                </a:lnTo>
                <a:lnTo>
                  <a:pt x="1018" y="962"/>
                </a:lnTo>
                <a:lnTo>
                  <a:pt x="1015" y="962"/>
                </a:lnTo>
                <a:lnTo>
                  <a:pt x="1012" y="960"/>
                </a:lnTo>
                <a:lnTo>
                  <a:pt x="1010" y="958"/>
                </a:lnTo>
                <a:lnTo>
                  <a:pt x="1008" y="956"/>
                </a:lnTo>
                <a:lnTo>
                  <a:pt x="1007" y="954"/>
                </a:lnTo>
                <a:lnTo>
                  <a:pt x="1006" y="952"/>
                </a:lnTo>
                <a:lnTo>
                  <a:pt x="1006" y="949"/>
                </a:lnTo>
                <a:lnTo>
                  <a:pt x="1006" y="947"/>
                </a:lnTo>
                <a:lnTo>
                  <a:pt x="1007" y="944"/>
                </a:lnTo>
                <a:lnTo>
                  <a:pt x="1008" y="942"/>
                </a:lnTo>
                <a:lnTo>
                  <a:pt x="1010" y="940"/>
                </a:lnTo>
                <a:lnTo>
                  <a:pt x="1013" y="938"/>
                </a:lnTo>
                <a:lnTo>
                  <a:pt x="1017" y="936"/>
                </a:lnTo>
                <a:close/>
                <a:moveTo>
                  <a:pt x="2662" y="632"/>
                </a:moveTo>
                <a:lnTo>
                  <a:pt x="2664" y="632"/>
                </a:lnTo>
                <a:lnTo>
                  <a:pt x="2667" y="633"/>
                </a:lnTo>
                <a:lnTo>
                  <a:pt x="2669" y="633"/>
                </a:lnTo>
                <a:lnTo>
                  <a:pt x="2671" y="635"/>
                </a:lnTo>
                <a:lnTo>
                  <a:pt x="2673" y="636"/>
                </a:lnTo>
                <a:lnTo>
                  <a:pt x="2675" y="638"/>
                </a:lnTo>
                <a:lnTo>
                  <a:pt x="2676" y="641"/>
                </a:lnTo>
                <a:lnTo>
                  <a:pt x="2677" y="643"/>
                </a:lnTo>
                <a:lnTo>
                  <a:pt x="2677" y="646"/>
                </a:lnTo>
                <a:lnTo>
                  <a:pt x="2676" y="648"/>
                </a:lnTo>
                <a:lnTo>
                  <a:pt x="2675" y="652"/>
                </a:lnTo>
                <a:lnTo>
                  <a:pt x="2673" y="655"/>
                </a:lnTo>
                <a:lnTo>
                  <a:pt x="2670" y="657"/>
                </a:lnTo>
                <a:lnTo>
                  <a:pt x="2666" y="658"/>
                </a:lnTo>
                <a:lnTo>
                  <a:pt x="2663" y="658"/>
                </a:lnTo>
                <a:lnTo>
                  <a:pt x="2661" y="658"/>
                </a:lnTo>
                <a:lnTo>
                  <a:pt x="2658" y="657"/>
                </a:lnTo>
                <a:lnTo>
                  <a:pt x="2656" y="656"/>
                </a:lnTo>
                <a:lnTo>
                  <a:pt x="2654" y="654"/>
                </a:lnTo>
                <a:lnTo>
                  <a:pt x="2653" y="652"/>
                </a:lnTo>
                <a:lnTo>
                  <a:pt x="2652" y="650"/>
                </a:lnTo>
                <a:lnTo>
                  <a:pt x="2651" y="648"/>
                </a:lnTo>
                <a:lnTo>
                  <a:pt x="2651" y="645"/>
                </a:lnTo>
                <a:lnTo>
                  <a:pt x="2651" y="642"/>
                </a:lnTo>
                <a:lnTo>
                  <a:pt x="2653" y="639"/>
                </a:lnTo>
                <a:lnTo>
                  <a:pt x="2655" y="636"/>
                </a:lnTo>
                <a:lnTo>
                  <a:pt x="2658" y="634"/>
                </a:lnTo>
                <a:lnTo>
                  <a:pt x="2662" y="632"/>
                </a:lnTo>
                <a:close/>
                <a:moveTo>
                  <a:pt x="1064" y="890"/>
                </a:moveTo>
                <a:lnTo>
                  <a:pt x="1067" y="889"/>
                </a:lnTo>
                <a:lnTo>
                  <a:pt x="1070" y="890"/>
                </a:lnTo>
                <a:lnTo>
                  <a:pt x="1073" y="891"/>
                </a:lnTo>
                <a:lnTo>
                  <a:pt x="1075" y="893"/>
                </a:lnTo>
                <a:lnTo>
                  <a:pt x="1077" y="896"/>
                </a:lnTo>
                <a:lnTo>
                  <a:pt x="1078" y="898"/>
                </a:lnTo>
                <a:lnTo>
                  <a:pt x="1079" y="900"/>
                </a:lnTo>
                <a:lnTo>
                  <a:pt x="1079" y="903"/>
                </a:lnTo>
                <a:lnTo>
                  <a:pt x="1079" y="905"/>
                </a:lnTo>
                <a:lnTo>
                  <a:pt x="1078" y="908"/>
                </a:lnTo>
                <a:lnTo>
                  <a:pt x="1077" y="910"/>
                </a:lnTo>
                <a:lnTo>
                  <a:pt x="1075" y="912"/>
                </a:lnTo>
                <a:lnTo>
                  <a:pt x="1073" y="913"/>
                </a:lnTo>
                <a:lnTo>
                  <a:pt x="1072" y="914"/>
                </a:lnTo>
                <a:lnTo>
                  <a:pt x="1068" y="915"/>
                </a:lnTo>
                <a:lnTo>
                  <a:pt x="1065" y="915"/>
                </a:lnTo>
                <a:lnTo>
                  <a:pt x="1062" y="915"/>
                </a:lnTo>
                <a:lnTo>
                  <a:pt x="1059" y="914"/>
                </a:lnTo>
                <a:lnTo>
                  <a:pt x="1056" y="911"/>
                </a:lnTo>
                <a:lnTo>
                  <a:pt x="1055" y="909"/>
                </a:lnTo>
                <a:lnTo>
                  <a:pt x="1054" y="907"/>
                </a:lnTo>
                <a:lnTo>
                  <a:pt x="1053" y="905"/>
                </a:lnTo>
                <a:lnTo>
                  <a:pt x="1053" y="902"/>
                </a:lnTo>
                <a:lnTo>
                  <a:pt x="1053" y="900"/>
                </a:lnTo>
                <a:lnTo>
                  <a:pt x="1054" y="897"/>
                </a:lnTo>
                <a:lnTo>
                  <a:pt x="1055" y="895"/>
                </a:lnTo>
                <a:lnTo>
                  <a:pt x="1057" y="893"/>
                </a:lnTo>
                <a:lnTo>
                  <a:pt x="1058" y="892"/>
                </a:lnTo>
                <a:lnTo>
                  <a:pt x="1060" y="891"/>
                </a:lnTo>
                <a:lnTo>
                  <a:pt x="1064" y="890"/>
                </a:lnTo>
                <a:close/>
                <a:moveTo>
                  <a:pt x="2597" y="618"/>
                </a:moveTo>
                <a:lnTo>
                  <a:pt x="2600" y="617"/>
                </a:lnTo>
                <a:lnTo>
                  <a:pt x="2602" y="618"/>
                </a:lnTo>
                <a:lnTo>
                  <a:pt x="2605" y="619"/>
                </a:lnTo>
                <a:lnTo>
                  <a:pt x="2607" y="620"/>
                </a:lnTo>
                <a:lnTo>
                  <a:pt x="2609" y="621"/>
                </a:lnTo>
                <a:lnTo>
                  <a:pt x="2610" y="623"/>
                </a:lnTo>
                <a:lnTo>
                  <a:pt x="2611" y="626"/>
                </a:lnTo>
                <a:lnTo>
                  <a:pt x="2612" y="628"/>
                </a:lnTo>
                <a:lnTo>
                  <a:pt x="2612" y="631"/>
                </a:lnTo>
                <a:lnTo>
                  <a:pt x="2612" y="633"/>
                </a:lnTo>
                <a:lnTo>
                  <a:pt x="2611" y="637"/>
                </a:lnTo>
                <a:lnTo>
                  <a:pt x="2608" y="640"/>
                </a:lnTo>
                <a:lnTo>
                  <a:pt x="2605" y="642"/>
                </a:lnTo>
                <a:lnTo>
                  <a:pt x="2602" y="643"/>
                </a:lnTo>
                <a:lnTo>
                  <a:pt x="2599" y="643"/>
                </a:lnTo>
                <a:lnTo>
                  <a:pt x="2596" y="643"/>
                </a:lnTo>
                <a:lnTo>
                  <a:pt x="2594" y="642"/>
                </a:lnTo>
                <a:lnTo>
                  <a:pt x="2592" y="641"/>
                </a:lnTo>
                <a:lnTo>
                  <a:pt x="2590" y="639"/>
                </a:lnTo>
                <a:lnTo>
                  <a:pt x="2588" y="637"/>
                </a:lnTo>
                <a:lnTo>
                  <a:pt x="2587" y="635"/>
                </a:lnTo>
                <a:lnTo>
                  <a:pt x="2587" y="633"/>
                </a:lnTo>
                <a:lnTo>
                  <a:pt x="2586" y="630"/>
                </a:lnTo>
                <a:lnTo>
                  <a:pt x="2587" y="627"/>
                </a:lnTo>
                <a:lnTo>
                  <a:pt x="2588" y="624"/>
                </a:lnTo>
                <a:lnTo>
                  <a:pt x="2590" y="621"/>
                </a:lnTo>
                <a:lnTo>
                  <a:pt x="2594" y="619"/>
                </a:lnTo>
                <a:lnTo>
                  <a:pt x="2597" y="618"/>
                </a:lnTo>
                <a:close/>
                <a:moveTo>
                  <a:pt x="2533" y="603"/>
                </a:moveTo>
                <a:lnTo>
                  <a:pt x="2535" y="603"/>
                </a:lnTo>
                <a:lnTo>
                  <a:pt x="2538" y="603"/>
                </a:lnTo>
                <a:lnTo>
                  <a:pt x="2542" y="605"/>
                </a:lnTo>
                <a:lnTo>
                  <a:pt x="2544" y="607"/>
                </a:lnTo>
                <a:lnTo>
                  <a:pt x="2546" y="609"/>
                </a:lnTo>
                <a:lnTo>
                  <a:pt x="2547" y="611"/>
                </a:lnTo>
                <a:lnTo>
                  <a:pt x="2548" y="613"/>
                </a:lnTo>
                <a:lnTo>
                  <a:pt x="2548" y="619"/>
                </a:lnTo>
                <a:lnTo>
                  <a:pt x="2546" y="622"/>
                </a:lnTo>
                <a:lnTo>
                  <a:pt x="2544" y="625"/>
                </a:lnTo>
                <a:lnTo>
                  <a:pt x="2541" y="627"/>
                </a:lnTo>
                <a:lnTo>
                  <a:pt x="2537" y="628"/>
                </a:lnTo>
                <a:lnTo>
                  <a:pt x="2535" y="629"/>
                </a:lnTo>
                <a:lnTo>
                  <a:pt x="2532" y="628"/>
                </a:lnTo>
                <a:lnTo>
                  <a:pt x="2527" y="626"/>
                </a:lnTo>
                <a:lnTo>
                  <a:pt x="2525" y="625"/>
                </a:lnTo>
                <a:lnTo>
                  <a:pt x="2524" y="623"/>
                </a:lnTo>
                <a:lnTo>
                  <a:pt x="2523" y="620"/>
                </a:lnTo>
                <a:lnTo>
                  <a:pt x="2522" y="618"/>
                </a:lnTo>
                <a:lnTo>
                  <a:pt x="2522" y="615"/>
                </a:lnTo>
                <a:lnTo>
                  <a:pt x="2522" y="613"/>
                </a:lnTo>
                <a:lnTo>
                  <a:pt x="2524" y="609"/>
                </a:lnTo>
                <a:lnTo>
                  <a:pt x="2526" y="606"/>
                </a:lnTo>
                <a:lnTo>
                  <a:pt x="2529" y="604"/>
                </a:lnTo>
                <a:lnTo>
                  <a:pt x="2533" y="603"/>
                </a:lnTo>
                <a:close/>
                <a:moveTo>
                  <a:pt x="1112" y="845"/>
                </a:moveTo>
                <a:lnTo>
                  <a:pt x="1115" y="845"/>
                </a:lnTo>
                <a:lnTo>
                  <a:pt x="1119" y="845"/>
                </a:lnTo>
                <a:lnTo>
                  <a:pt x="1121" y="847"/>
                </a:lnTo>
                <a:lnTo>
                  <a:pt x="1123" y="848"/>
                </a:lnTo>
                <a:lnTo>
                  <a:pt x="1124" y="849"/>
                </a:lnTo>
                <a:lnTo>
                  <a:pt x="1126" y="851"/>
                </a:lnTo>
                <a:lnTo>
                  <a:pt x="1127" y="853"/>
                </a:lnTo>
                <a:lnTo>
                  <a:pt x="1127" y="856"/>
                </a:lnTo>
                <a:lnTo>
                  <a:pt x="1127" y="858"/>
                </a:lnTo>
                <a:lnTo>
                  <a:pt x="1127" y="861"/>
                </a:lnTo>
                <a:lnTo>
                  <a:pt x="1126" y="863"/>
                </a:lnTo>
                <a:lnTo>
                  <a:pt x="1125" y="865"/>
                </a:lnTo>
                <a:lnTo>
                  <a:pt x="1123" y="867"/>
                </a:lnTo>
                <a:lnTo>
                  <a:pt x="1120" y="869"/>
                </a:lnTo>
                <a:lnTo>
                  <a:pt x="1118" y="870"/>
                </a:lnTo>
                <a:lnTo>
                  <a:pt x="1117" y="870"/>
                </a:lnTo>
                <a:lnTo>
                  <a:pt x="1113" y="871"/>
                </a:lnTo>
                <a:lnTo>
                  <a:pt x="1110" y="870"/>
                </a:lnTo>
                <a:lnTo>
                  <a:pt x="1107" y="868"/>
                </a:lnTo>
                <a:lnTo>
                  <a:pt x="1106" y="867"/>
                </a:lnTo>
                <a:lnTo>
                  <a:pt x="1105" y="866"/>
                </a:lnTo>
                <a:lnTo>
                  <a:pt x="1103" y="864"/>
                </a:lnTo>
                <a:lnTo>
                  <a:pt x="1102" y="862"/>
                </a:lnTo>
                <a:lnTo>
                  <a:pt x="1101" y="859"/>
                </a:lnTo>
                <a:lnTo>
                  <a:pt x="1101" y="857"/>
                </a:lnTo>
                <a:lnTo>
                  <a:pt x="1102" y="854"/>
                </a:lnTo>
                <a:lnTo>
                  <a:pt x="1103" y="852"/>
                </a:lnTo>
                <a:lnTo>
                  <a:pt x="1104" y="850"/>
                </a:lnTo>
                <a:lnTo>
                  <a:pt x="1106" y="848"/>
                </a:lnTo>
                <a:lnTo>
                  <a:pt x="1109" y="846"/>
                </a:lnTo>
                <a:lnTo>
                  <a:pt x="1110" y="845"/>
                </a:lnTo>
                <a:lnTo>
                  <a:pt x="1112" y="845"/>
                </a:lnTo>
                <a:close/>
                <a:moveTo>
                  <a:pt x="2468" y="588"/>
                </a:moveTo>
                <a:lnTo>
                  <a:pt x="2473" y="588"/>
                </a:lnTo>
                <a:lnTo>
                  <a:pt x="2478" y="590"/>
                </a:lnTo>
                <a:lnTo>
                  <a:pt x="2480" y="592"/>
                </a:lnTo>
                <a:lnTo>
                  <a:pt x="2481" y="594"/>
                </a:lnTo>
                <a:lnTo>
                  <a:pt x="2482" y="596"/>
                </a:lnTo>
                <a:lnTo>
                  <a:pt x="2483" y="599"/>
                </a:lnTo>
                <a:lnTo>
                  <a:pt x="2483" y="604"/>
                </a:lnTo>
                <a:lnTo>
                  <a:pt x="2482" y="608"/>
                </a:lnTo>
                <a:lnTo>
                  <a:pt x="2479" y="610"/>
                </a:lnTo>
                <a:lnTo>
                  <a:pt x="2476" y="613"/>
                </a:lnTo>
                <a:lnTo>
                  <a:pt x="2473" y="614"/>
                </a:lnTo>
                <a:lnTo>
                  <a:pt x="2467" y="614"/>
                </a:lnTo>
                <a:lnTo>
                  <a:pt x="2463" y="612"/>
                </a:lnTo>
                <a:lnTo>
                  <a:pt x="2461" y="610"/>
                </a:lnTo>
                <a:lnTo>
                  <a:pt x="2459" y="608"/>
                </a:lnTo>
                <a:lnTo>
                  <a:pt x="2458" y="606"/>
                </a:lnTo>
                <a:lnTo>
                  <a:pt x="2457" y="603"/>
                </a:lnTo>
                <a:lnTo>
                  <a:pt x="2458" y="598"/>
                </a:lnTo>
                <a:lnTo>
                  <a:pt x="2459" y="594"/>
                </a:lnTo>
                <a:lnTo>
                  <a:pt x="2461" y="592"/>
                </a:lnTo>
                <a:lnTo>
                  <a:pt x="2464" y="589"/>
                </a:lnTo>
                <a:lnTo>
                  <a:pt x="2468" y="588"/>
                </a:lnTo>
                <a:close/>
                <a:moveTo>
                  <a:pt x="1162" y="802"/>
                </a:moveTo>
                <a:lnTo>
                  <a:pt x="1166" y="801"/>
                </a:lnTo>
                <a:lnTo>
                  <a:pt x="1169" y="802"/>
                </a:lnTo>
                <a:lnTo>
                  <a:pt x="1172" y="804"/>
                </a:lnTo>
                <a:lnTo>
                  <a:pt x="1175" y="806"/>
                </a:lnTo>
                <a:lnTo>
                  <a:pt x="1176" y="808"/>
                </a:lnTo>
                <a:lnTo>
                  <a:pt x="1177" y="811"/>
                </a:lnTo>
                <a:lnTo>
                  <a:pt x="1177" y="813"/>
                </a:lnTo>
                <a:lnTo>
                  <a:pt x="1177" y="816"/>
                </a:lnTo>
                <a:lnTo>
                  <a:pt x="1177" y="818"/>
                </a:lnTo>
                <a:lnTo>
                  <a:pt x="1176" y="820"/>
                </a:lnTo>
                <a:lnTo>
                  <a:pt x="1175" y="823"/>
                </a:lnTo>
                <a:lnTo>
                  <a:pt x="1173" y="824"/>
                </a:lnTo>
                <a:lnTo>
                  <a:pt x="1170" y="826"/>
                </a:lnTo>
                <a:lnTo>
                  <a:pt x="1167" y="827"/>
                </a:lnTo>
                <a:lnTo>
                  <a:pt x="1163" y="827"/>
                </a:lnTo>
                <a:lnTo>
                  <a:pt x="1160" y="827"/>
                </a:lnTo>
                <a:lnTo>
                  <a:pt x="1157" y="825"/>
                </a:lnTo>
                <a:lnTo>
                  <a:pt x="1154" y="823"/>
                </a:lnTo>
                <a:lnTo>
                  <a:pt x="1153" y="821"/>
                </a:lnTo>
                <a:lnTo>
                  <a:pt x="1152" y="818"/>
                </a:lnTo>
                <a:lnTo>
                  <a:pt x="1152" y="816"/>
                </a:lnTo>
                <a:lnTo>
                  <a:pt x="1152" y="813"/>
                </a:lnTo>
                <a:lnTo>
                  <a:pt x="1152" y="811"/>
                </a:lnTo>
                <a:lnTo>
                  <a:pt x="1153" y="808"/>
                </a:lnTo>
                <a:lnTo>
                  <a:pt x="1154" y="806"/>
                </a:lnTo>
                <a:lnTo>
                  <a:pt x="1156" y="804"/>
                </a:lnTo>
                <a:lnTo>
                  <a:pt x="1159" y="803"/>
                </a:lnTo>
                <a:lnTo>
                  <a:pt x="1162" y="802"/>
                </a:lnTo>
                <a:close/>
                <a:moveTo>
                  <a:pt x="2403" y="574"/>
                </a:moveTo>
                <a:lnTo>
                  <a:pt x="2409" y="574"/>
                </a:lnTo>
                <a:lnTo>
                  <a:pt x="2411" y="575"/>
                </a:lnTo>
                <a:lnTo>
                  <a:pt x="2413" y="576"/>
                </a:lnTo>
                <a:lnTo>
                  <a:pt x="2415" y="578"/>
                </a:lnTo>
                <a:lnTo>
                  <a:pt x="2417" y="580"/>
                </a:lnTo>
                <a:lnTo>
                  <a:pt x="2418" y="582"/>
                </a:lnTo>
                <a:lnTo>
                  <a:pt x="2419" y="584"/>
                </a:lnTo>
                <a:lnTo>
                  <a:pt x="2418" y="589"/>
                </a:lnTo>
                <a:lnTo>
                  <a:pt x="2417" y="593"/>
                </a:lnTo>
                <a:lnTo>
                  <a:pt x="2415" y="596"/>
                </a:lnTo>
                <a:lnTo>
                  <a:pt x="2412" y="598"/>
                </a:lnTo>
                <a:lnTo>
                  <a:pt x="2408" y="599"/>
                </a:lnTo>
                <a:lnTo>
                  <a:pt x="2403" y="599"/>
                </a:lnTo>
                <a:lnTo>
                  <a:pt x="2400" y="598"/>
                </a:lnTo>
                <a:lnTo>
                  <a:pt x="2398" y="597"/>
                </a:lnTo>
                <a:lnTo>
                  <a:pt x="2396" y="596"/>
                </a:lnTo>
                <a:lnTo>
                  <a:pt x="2395" y="594"/>
                </a:lnTo>
                <a:lnTo>
                  <a:pt x="2394" y="591"/>
                </a:lnTo>
                <a:lnTo>
                  <a:pt x="2393" y="589"/>
                </a:lnTo>
                <a:lnTo>
                  <a:pt x="2393" y="584"/>
                </a:lnTo>
                <a:lnTo>
                  <a:pt x="2394" y="580"/>
                </a:lnTo>
                <a:lnTo>
                  <a:pt x="2397" y="577"/>
                </a:lnTo>
                <a:lnTo>
                  <a:pt x="2400" y="575"/>
                </a:lnTo>
                <a:lnTo>
                  <a:pt x="2403" y="574"/>
                </a:lnTo>
                <a:close/>
                <a:moveTo>
                  <a:pt x="1214" y="761"/>
                </a:moveTo>
                <a:lnTo>
                  <a:pt x="1218" y="760"/>
                </a:lnTo>
                <a:lnTo>
                  <a:pt x="1221" y="761"/>
                </a:lnTo>
                <a:lnTo>
                  <a:pt x="1224" y="763"/>
                </a:lnTo>
                <a:lnTo>
                  <a:pt x="1227" y="765"/>
                </a:lnTo>
                <a:lnTo>
                  <a:pt x="1228" y="768"/>
                </a:lnTo>
                <a:lnTo>
                  <a:pt x="1229" y="770"/>
                </a:lnTo>
                <a:lnTo>
                  <a:pt x="1229" y="773"/>
                </a:lnTo>
                <a:lnTo>
                  <a:pt x="1229" y="775"/>
                </a:lnTo>
                <a:lnTo>
                  <a:pt x="1229" y="778"/>
                </a:lnTo>
                <a:lnTo>
                  <a:pt x="1228" y="780"/>
                </a:lnTo>
                <a:lnTo>
                  <a:pt x="1226" y="782"/>
                </a:lnTo>
                <a:lnTo>
                  <a:pt x="1224" y="784"/>
                </a:lnTo>
                <a:lnTo>
                  <a:pt x="1223" y="785"/>
                </a:lnTo>
                <a:lnTo>
                  <a:pt x="1222" y="785"/>
                </a:lnTo>
                <a:lnTo>
                  <a:pt x="1219" y="786"/>
                </a:lnTo>
                <a:lnTo>
                  <a:pt x="1215" y="786"/>
                </a:lnTo>
                <a:lnTo>
                  <a:pt x="1212" y="786"/>
                </a:lnTo>
                <a:lnTo>
                  <a:pt x="1209" y="784"/>
                </a:lnTo>
                <a:lnTo>
                  <a:pt x="1206" y="781"/>
                </a:lnTo>
                <a:lnTo>
                  <a:pt x="1205" y="779"/>
                </a:lnTo>
                <a:lnTo>
                  <a:pt x="1204" y="777"/>
                </a:lnTo>
                <a:lnTo>
                  <a:pt x="1203" y="774"/>
                </a:lnTo>
                <a:lnTo>
                  <a:pt x="1203" y="772"/>
                </a:lnTo>
                <a:lnTo>
                  <a:pt x="1204" y="769"/>
                </a:lnTo>
                <a:lnTo>
                  <a:pt x="1205" y="767"/>
                </a:lnTo>
                <a:lnTo>
                  <a:pt x="1207" y="765"/>
                </a:lnTo>
                <a:lnTo>
                  <a:pt x="1208" y="763"/>
                </a:lnTo>
                <a:lnTo>
                  <a:pt x="1210" y="762"/>
                </a:lnTo>
                <a:lnTo>
                  <a:pt x="1211" y="761"/>
                </a:lnTo>
                <a:lnTo>
                  <a:pt x="1214" y="761"/>
                </a:lnTo>
                <a:close/>
                <a:moveTo>
                  <a:pt x="2339" y="559"/>
                </a:moveTo>
                <a:lnTo>
                  <a:pt x="2344" y="560"/>
                </a:lnTo>
                <a:lnTo>
                  <a:pt x="2346" y="560"/>
                </a:lnTo>
                <a:lnTo>
                  <a:pt x="2349" y="562"/>
                </a:lnTo>
                <a:lnTo>
                  <a:pt x="2351" y="563"/>
                </a:lnTo>
                <a:lnTo>
                  <a:pt x="2352" y="565"/>
                </a:lnTo>
                <a:lnTo>
                  <a:pt x="2353" y="567"/>
                </a:lnTo>
                <a:lnTo>
                  <a:pt x="2354" y="570"/>
                </a:lnTo>
                <a:lnTo>
                  <a:pt x="2354" y="575"/>
                </a:lnTo>
                <a:lnTo>
                  <a:pt x="2352" y="579"/>
                </a:lnTo>
                <a:lnTo>
                  <a:pt x="2350" y="582"/>
                </a:lnTo>
                <a:lnTo>
                  <a:pt x="2347" y="584"/>
                </a:lnTo>
                <a:lnTo>
                  <a:pt x="2343" y="585"/>
                </a:lnTo>
                <a:lnTo>
                  <a:pt x="2338" y="585"/>
                </a:lnTo>
                <a:lnTo>
                  <a:pt x="2336" y="584"/>
                </a:lnTo>
                <a:lnTo>
                  <a:pt x="2334" y="583"/>
                </a:lnTo>
                <a:lnTo>
                  <a:pt x="2332" y="581"/>
                </a:lnTo>
                <a:lnTo>
                  <a:pt x="2330" y="579"/>
                </a:lnTo>
                <a:lnTo>
                  <a:pt x="2329" y="577"/>
                </a:lnTo>
                <a:lnTo>
                  <a:pt x="2328" y="575"/>
                </a:lnTo>
                <a:lnTo>
                  <a:pt x="2328" y="569"/>
                </a:lnTo>
                <a:lnTo>
                  <a:pt x="2330" y="566"/>
                </a:lnTo>
                <a:lnTo>
                  <a:pt x="2332" y="563"/>
                </a:lnTo>
                <a:lnTo>
                  <a:pt x="2335" y="561"/>
                </a:lnTo>
                <a:lnTo>
                  <a:pt x="2339" y="559"/>
                </a:lnTo>
                <a:close/>
                <a:moveTo>
                  <a:pt x="2274" y="545"/>
                </a:moveTo>
                <a:lnTo>
                  <a:pt x="2279" y="545"/>
                </a:lnTo>
                <a:lnTo>
                  <a:pt x="2282" y="546"/>
                </a:lnTo>
                <a:lnTo>
                  <a:pt x="2284" y="547"/>
                </a:lnTo>
                <a:lnTo>
                  <a:pt x="2286" y="549"/>
                </a:lnTo>
                <a:lnTo>
                  <a:pt x="2287" y="551"/>
                </a:lnTo>
                <a:lnTo>
                  <a:pt x="2289" y="553"/>
                </a:lnTo>
                <a:lnTo>
                  <a:pt x="2289" y="556"/>
                </a:lnTo>
                <a:lnTo>
                  <a:pt x="2289" y="561"/>
                </a:lnTo>
                <a:lnTo>
                  <a:pt x="2288" y="565"/>
                </a:lnTo>
                <a:lnTo>
                  <a:pt x="2285" y="568"/>
                </a:lnTo>
                <a:lnTo>
                  <a:pt x="2282" y="570"/>
                </a:lnTo>
                <a:lnTo>
                  <a:pt x="2279" y="571"/>
                </a:lnTo>
                <a:lnTo>
                  <a:pt x="2274" y="571"/>
                </a:lnTo>
                <a:lnTo>
                  <a:pt x="2271" y="570"/>
                </a:lnTo>
                <a:lnTo>
                  <a:pt x="2269" y="569"/>
                </a:lnTo>
                <a:lnTo>
                  <a:pt x="2267" y="567"/>
                </a:lnTo>
                <a:lnTo>
                  <a:pt x="2266" y="565"/>
                </a:lnTo>
                <a:lnTo>
                  <a:pt x="2264" y="563"/>
                </a:lnTo>
                <a:lnTo>
                  <a:pt x="2264" y="560"/>
                </a:lnTo>
                <a:lnTo>
                  <a:pt x="2264" y="555"/>
                </a:lnTo>
                <a:lnTo>
                  <a:pt x="2265" y="552"/>
                </a:lnTo>
                <a:lnTo>
                  <a:pt x="2268" y="549"/>
                </a:lnTo>
                <a:lnTo>
                  <a:pt x="2271" y="546"/>
                </a:lnTo>
                <a:lnTo>
                  <a:pt x="2274" y="545"/>
                </a:lnTo>
                <a:close/>
                <a:moveTo>
                  <a:pt x="1268" y="722"/>
                </a:moveTo>
                <a:lnTo>
                  <a:pt x="1271" y="721"/>
                </a:lnTo>
                <a:lnTo>
                  <a:pt x="1275" y="722"/>
                </a:lnTo>
                <a:lnTo>
                  <a:pt x="1278" y="724"/>
                </a:lnTo>
                <a:lnTo>
                  <a:pt x="1280" y="727"/>
                </a:lnTo>
                <a:lnTo>
                  <a:pt x="1282" y="729"/>
                </a:lnTo>
                <a:lnTo>
                  <a:pt x="1283" y="732"/>
                </a:lnTo>
                <a:lnTo>
                  <a:pt x="1283" y="737"/>
                </a:lnTo>
                <a:lnTo>
                  <a:pt x="1282" y="739"/>
                </a:lnTo>
                <a:lnTo>
                  <a:pt x="1281" y="741"/>
                </a:lnTo>
                <a:lnTo>
                  <a:pt x="1279" y="743"/>
                </a:lnTo>
                <a:lnTo>
                  <a:pt x="1277" y="745"/>
                </a:lnTo>
                <a:lnTo>
                  <a:pt x="1275" y="746"/>
                </a:lnTo>
                <a:lnTo>
                  <a:pt x="1272" y="747"/>
                </a:lnTo>
                <a:lnTo>
                  <a:pt x="1268" y="747"/>
                </a:lnTo>
                <a:lnTo>
                  <a:pt x="1265" y="746"/>
                </a:lnTo>
                <a:lnTo>
                  <a:pt x="1262" y="745"/>
                </a:lnTo>
                <a:lnTo>
                  <a:pt x="1259" y="742"/>
                </a:lnTo>
                <a:lnTo>
                  <a:pt x="1258" y="740"/>
                </a:lnTo>
                <a:lnTo>
                  <a:pt x="1257" y="737"/>
                </a:lnTo>
                <a:lnTo>
                  <a:pt x="1257" y="732"/>
                </a:lnTo>
                <a:lnTo>
                  <a:pt x="1258" y="730"/>
                </a:lnTo>
                <a:lnTo>
                  <a:pt x="1259" y="727"/>
                </a:lnTo>
                <a:lnTo>
                  <a:pt x="1260" y="725"/>
                </a:lnTo>
                <a:lnTo>
                  <a:pt x="1262" y="724"/>
                </a:lnTo>
                <a:lnTo>
                  <a:pt x="1265" y="722"/>
                </a:lnTo>
                <a:lnTo>
                  <a:pt x="1268" y="722"/>
                </a:lnTo>
                <a:close/>
                <a:moveTo>
                  <a:pt x="2210" y="531"/>
                </a:moveTo>
                <a:lnTo>
                  <a:pt x="2215" y="531"/>
                </a:lnTo>
                <a:lnTo>
                  <a:pt x="2217" y="532"/>
                </a:lnTo>
                <a:lnTo>
                  <a:pt x="2219" y="533"/>
                </a:lnTo>
                <a:lnTo>
                  <a:pt x="2221" y="535"/>
                </a:lnTo>
                <a:lnTo>
                  <a:pt x="2223" y="537"/>
                </a:lnTo>
                <a:lnTo>
                  <a:pt x="2224" y="539"/>
                </a:lnTo>
                <a:lnTo>
                  <a:pt x="2225" y="542"/>
                </a:lnTo>
                <a:lnTo>
                  <a:pt x="2225" y="547"/>
                </a:lnTo>
                <a:lnTo>
                  <a:pt x="2223" y="551"/>
                </a:lnTo>
                <a:lnTo>
                  <a:pt x="2221" y="554"/>
                </a:lnTo>
                <a:lnTo>
                  <a:pt x="2218" y="556"/>
                </a:lnTo>
                <a:lnTo>
                  <a:pt x="2214" y="557"/>
                </a:lnTo>
                <a:lnTo>
                  <a:pt x="2208" y="557"/>
                </a:lnTo>
                <a:lnTo>
                  <a:pt x="2206" y="556"/>
                </a:lnTo>
                <a:lnTo>
                  <a:pt x="2203" y="555"/>
                </a:lnTo>
                <a:lnTo>
                  <a:pt x="2201" y="553"/>
                </a:lnTo>
                <a:lnTo>
                  <a:pt x="2200" y="551"/>
                </a:lnTo>
                <a:lnTo>
                  <a:pt x="2199" y="549"/>
                </a:lnTo>
                <a:lnTo>
                  <a:pt x="2198" y="546"/>
                </a:lnTo>
                <a:lnTo>
                  <a:pt x="2198" y="541"/>
                </a:lnTo>
                <a:lnTo>
                  <a:pt x="2200" y="538"/>
                </a:lnTo>
                <a:lnTo>
                  <a:pt x="2202" y="535"/>
                </a:lnTo>
                <a:lnTo>
                  <a:pt x="2205" y="532"/>
                </a:lnTo>
                <a:lnTo>
                  <a:pt x="2210" y="531"/>
                </a:lnTo>
                <a:close/>
                <a:moveTo>
                  <a:pt x="1323" y="685"/>
                </a:moveTo>
                <a:lnTo>
                  <a:pt x="1326" y="685"/>
                </a:lnTo>
                <a:lnTo>
                  <a:pt x="1330" y="686"/>
                </a:lnTo>
                <a:lnTo>
                  <a:pt x="1333" y="688"/>
                </a:lnTo>
                <a:lnTo>
                  <a:pt x="1335" y="689"/>
                </a:lnTo>
                <a:lnTo>
                  <a:pt x="1336" y="691"/>
                </a:lnTo>
                <a:lnTo>
                  <a:pt x="1337" y="693"/>
                </a:lnTo>
                <a:lnTo>
                  <a:pt x="1338" y="696"/>
                </a:lnTo>
                <a:lnTo>
                  <a:pt x="1338" y="698"/>
                </a:lnTo>
                <a:lnTo>
                  <a:pt x="1338" y="701"/>
                </a:lnTo>
                <a:lnTo>
                  <a:pt x="1337" y="703"/>
                </a:lnTo>
                <a:lnTo>
                  <a:pt x="1336" y="705"/>
                </a:lnTo>
                <a:lnTo>
                  <a:pt x="1334" y="707"/>
                </a:lnTo>
                <a:lnTo>
                  <a:pt x="1332" y="709"/>
                </a:lnTo>
                <a:lnTo>
                  <a:pt x="1330" y="710"/>
                </a:lnTo>
                <a:lnTo>
                  <a:pt x="1327" y="711"/>
                </a:lnTo>
                <a:lnTo>
                  <a:pt x="1323" y="711"/>
                </a:lnTo>
                <a:lnTo>
                  <a:pt x="1320" y="710"/>
                </a:lnTo>
                <a:lnTo>
                  <a:pt x="1316" y="708"/>
                </a:lnTo>
                <a:lnTo>
                  <a:pt x="1315" y="706"/>
                </a:lnTo>
                <a:lnTo>
                  <a:pt x="1314" y="705"/>
                </a:lnTo>
                <a:lnTo>
                  <a:pt x="1313" y="702"/>
                </a:lnTo>
                <a:lnTo>
                  <a:pt x="1312" y="700"/>
                </a:lnTo>
                <a:lnTo>
                  <a:pt x="1312" y="697"/>
                </a:lnTo>
                <a:lnTo>
                  <a:pt x="1312" y="695"/>
                </a:lnTo>
                <a:lnTo>
                  <a:pt x="1313" y="693"/>
                </a:lnTo>
                <a:lnTo>
                  <a:pt x="1314" y="690"/>
                </a:lnTo>
                <a:lnTo>
                  <a:pt x="1316" y="688"/>
                </a:lnTo>
                <a:lnTo>
                  <a:pt x="1318" y="687"/>
                </a:lnTo>
                <a:lnTo>
                  <a:pt x="1320" y="686"/>
                </a:lnTo>
                <a:lnTo>
                  <a:pt x="1323" y="685"/>
                </a:lnTo>
                <a:close/>
                <a:moveTo>
                  <a:pt x="2144" y="517"/>
                </a:moveTo>
                <a:lnTo>
                  <a:pt x="2149" y="517"/>
                </a:lnTo>
                <a:lnTo>
                  <a:pt x="2151" y="518"/>
                </a:lnTo>
                <a:lnTo>
                  <a:pt x="2154" y="519"/>
                </a:lnTo>
                <a:lnTo>
                  <a:pt x="2155" y="521"/>
                </a:lnTo>
                <a:lnTo>
                  <a:pt x="2157" y="523"/>
                </a:lnTo>
                <a:lnTo>
                  <a:pt x="2158" y="525"/>
                </a:lnTo>
                <a:lnTo>
                  <a:pt x="2159" y="528"/>
                </a:lnTo>
                <a:lnTo>
                  <a:pt x="2159" y="533"/>
                </a:lnTo>
                <a:lnTo>
                  <a:pt x="2158" y="537"/>
                </a:lnTo>
                <a:lnTo>
                  <a:pt x="2155" y="540"/>
                </a:lnTo>
                <a:lnTo>
                  <a:pt x="2152" y="542"/>
                </a:lnTo>
                <a:lnTo>
                  <a:pt x="2148" y="543"/>
                </a:lnTo>
                <a:lnTo>
                  <a:pt x="2144" y="543"/>
                </a:lnTo>
                <a:lnTo>
                  <a:pt x="2141" y="542"/>
                </a:lnTo>
                <a:lnTo>
                  <a:pt x="2139" y="541"/>
                </a:lnTo>
                <a:lnTo>
                  <a:pt x="2137" y="539"/>
                </a:lnTo>
                <a:lnTo>
                  <a:pt x="2135" y="537"/>
                </a:lnTo>
                <a:lnTo>
                  <a:pt x="2134" y="535"/>
                </a:lnTo>
                <a:lnTo>
                  <a:pt x="2133" y="533"/>
                </a:lnTo>
                <a:lnTo>
                  <a:pt x="2133" y="528"/>
                </a:lnTo>
                <a:lnTo>
                  <a:pt x="2135" y="524"/>
                </a:lnTo>
                <a:lnTo>
                  <a:pt x="2137" y="521"/>
                </a:lnTo>
                <a:lnTo>
                  <a:pt x="2140" y="519"/>
                </a:lnTo>
                <a:lnTo>
                  <a:pt x="2144" y="517"/>
                </a:lnTo>
                <a:close/>
                <a:moveTo>
                  <a:pt x="1379" y="651"/>
                </a:moveTo>
                <a:lnTo>
                  <a:pt x="1383" y="651"/>
                </a:lnTo>
                <a:lnTo>
                  <a:pt x="1387" y="652"/>
                </a:lnTo>
                <a:lnTo>
                  <a:pt x="1389" y="653"/>
                </a:lnTo>
                <a:lnTo>
                  <a:pt x="1390" y="654"/>
                </a:lnTo>
                <a:lnTo>
                  <a:pt x="1393" y="657"/>
                </a:lnTo>
                <a:lnTo>
                  <a:pt x="1394" y="660"/>
                </a:lnTo>
                <a:lnTo>
                  <a:pt x="1395" y="662"/>
                </a:lnTo>
                <a:lnTo>
                  <a:pt x="1395" y="665"/>
                </a:lnTo>
                <a:lnTo>
                  <a:pt x="1394" y="667"/>
                </a:lnTo>
                <a:lnTo>
                  <a:pt x="1393" y="670"/>
                </a:lnTo>
                <a:lnTo>
                  <a:pt x="1392" y="672"/>
                </a:lnTo>
                <a:lnTo>
                  <a:pt x="1390" y="674"/>
                </a:lnTo>
                <a:lnTo>
                  <a:pt x="1388" y="675"/>
                </a:lnTo>
                <a:lnTo>
                  <a:pt x="1386" y="676"/>
                </a:lnTo>
                <a:lnTo>
                  <a:pt x="1384" y="677"/>
                </a:lnTo>
                <a:lnTo>
                  <a:pt x="1380" y="677"/>
                </a:lnTo>
                <a:lnTo>
                  <a:pt x="1376" y="676"/>
                </a:lnTo>
                <a:lnTo>
                  <a:pt x="1374" y="675"/>
                </a:lnTo>
                <a:lnTo>
                  <a:pt x="1373" y="673"/>
                </a:lnTo>
                <a:lnTo>
                  <a:pt x="1370" y="670"/>
                </a:lnTo>
                <a:lnTo>
                  <a:pt x="1369" y="668"/>
                </a:lnTo>
                <a:lnTo>
                  <a:pt x="1369" y="665"/>
                </a:lnTo>
                <a:lnTo>
                  <a:pt x="1369" y="663"/>
                </a:lnTo>
                <a:lnTo>
                  <a:pt x="1369" y="660"/>
                </a:lnTo>
                <a:lnTo>
                  <a:pt x="1370" y="658"/>
                </a:lnTo>
                <a:lnTo>
                  <a:pt x="1371" y="656"/>
                </a:lnTo>
                <a:lnTo>
                  <a:pt x="1373" y="654"/>
                </a:lnTo>
                <a:lnTo>
                  <a:pt x="1375" y="652"/>
                </a:lnTo>
                <a:lnTo>
                  <a:pt x="1377" y="652"/>
                </a:lnTo>
                <a:lnTo>
                  <a:pt x="1379" y="651"/>
                </a:lnTo>
                <a:close/>
                <a:moveTo>
                  <a:pt x="1438" y="620"/>
                </a:moveTo>
                <a:lnTo>
                  <a:pt x="1442" y="620"/>
                </a:lnTo>
                <a:lnTo>
                  <a:pt x="1444" y="620"/>
                </a:lnTo>
                <a:lnTo>
                  <a:pt x="1446" y="621"/>
                </a:lnTo>
                <a:lnTo>
                  <a:pt x="1447" y="622"/>
                </a:lnTo>
                <a:lnTo>
                  <a:pt x="1449" y="623"/>
                </a:lnTo>
                <a:lnTo>
                  <a:pt x="1452" y="627"/>
                </a:lnTo>
                <a:lnTo>
                  <a:pt x="1452" y="629"/>
                </a:lnTo>
                <a:lnTo>
                  <a:pt x="1453" y="632"/>
                </a:lnTo>
                <a:lnTo>
                  <a:pt x="1453" y="634"/>
                </a:lnTo>
                <a:lnTo>
                  <a:pt x="1452" y="637"/>
                </a:lnTo>
                <a:lnTo>
                  <a:pt x="1451" y="639"/>
                </a:lnTo>
                <a:lnTo>
                  <a:pt x="1450" y="641"/>
                </a:lnTo>
                <a:lnTo>
                  <a:pt x="1448" y="643"/>
                </a:lnTo>
                <a:lnTo>
                  <a:pt x="1446" y="644"/>
                </a:lnTo>
                <a:lnTo>
                  <a:pt x="1442" y="645"/>
                </a:lnTo>
                <a:lnTo>
                  <a:pt x="1438" y="645"/>
                </a:lnTo>
                <a:lnTo>
                  <a:pt x="1436" y="645"/>
                </a:lnTo>
                <a:lnTo>
                  <a:pt x="1434" y="644"/>
                </a:lnTo>
                <a:lnTo>
                  <a:pt x="1432" y="643"/>
                </a:lnTo>
                <a:lnTo>
                  <a:pt x="1431" y="642"/>
                </a:lnTo>
                <a:lnTo>
                  <a:pt x="1428" y="638"/>
                </a:lnTo>
                <a:lnTo>
                  <a:pt x="1427" y="636"/>
                </a:lnTo>
                <a:lnTo>
                  <a:pt x="1427" y="633"/>
                </a:lnTo>
                <a:lnTo>
                  <a:pt x="1427" y="631"/>
                </a:lnTo>
                <a:lnTo>
                  <a:pt x="1428" y="629"/>
                </a:lnTo>
                <a:lnTo>
                  <a:pt x="1429" y="626"/>
                </a:lnTo>
                <a:lnTo>
                  <a:pt x="1430" y="624"/>
                </a:lnTo>
                <a:lnTo>
                  <a:pt x="1432" y="622"/>
                </a:lnTo>
                <a:lnTo>
                  <a:pt x="1434" y="621"/>
                </a:lnTo>
                <a:lnTo>
                  <a:pt x="1438" y="620"/>
                </a:lnTo>
                <a:close/>
                <a:moveTo>
                  <a:pt x="2079" y="506"/>
                </a:moveTo>
                <a:lnTo>
                  <a:pt x="2083" y="506"/>
                </a:lnTo>
                <a:lnTo>
                  <a:pt x="2085" y="507"/>
                </a:lnTo>
                <a:lnTo>
                  <a:pt x="2088" y="508"/>
                </a:lnTo>
                <a:lnTo>
                  <a:pt x="2090" y="509"/>
                </a:lnTo>
                <a:lnTo>
                  <a:pt x="2091" y="511"/>
                </a:lnTo>
                <a:lnTo>
                  <a:pt x="2093" y="513"/>
                </a:lnTo>
                <a:lnTo>
                  <a:pt x="2094" y="515"/>
                </a:lnTo>
                <a:lnTo>
                  <a:pt x="2094" y="518"/>
                </a:lnTo>
                <a:lnTo>
                  <a:pt x="2094" y="521"/>
                </a:lnTo>
                <a:lnTo>
                  <a:pt x="2093" y="525"/>
                </a:lnTo>
                <a:lnTo>
                  <a:pt x="2092" y="526"/>
                </a:lnTo>
                <a:lnTo>
                  <a:pt x="2090" y="528"/>
                </a:lnTo>
                <a:lnTo>
                  <a:pt x="2087" y="530"/>
                </a:lnTo>
                <a:lnTo>
                  <a:pt x="2085" y="531"/>
                </a:lnTo>
                <a:lnTo>
                  <a:pt x="2083" y="532"/>
                </a:lnTo>
                <a:lnTo>
                  <a:pt x="2079" y="532"/>
                </a:lnTo>
                <a:lnTo>
                  <a:pt x="2077" y="531"/>
                </a:lnTo>
                <a:lnTo>
                  <a:pt x="2074" y="530"/>
                </a:lnTo>
                <a:lnTo>
                  <a:pt x="2072" y="528"/>
                </a:lnTo>
                <a:lnTo>
                  <a:pt x="2071" y="527"/>
                </a:lnTo>
                <a:lnTo>
                  <a:pt x="2069" y="524"/>
                </a:lnTo>
                <a:lnTo>
                  <a:pt x="2068" y="522"/>
                </a:lnTo>
                <a:lnTo>
                  <a:pt x="2068" y="520"/>
                </a:lnTo>
                <a:lnTo>
                  <a:pt x="2068" y="517"/>
                </a:lnTo>
                <a:lnTo>
                  <a:pt x="2069" y="513"/>
                </a:lnTo>
                <a:lnTo>
                  <a:pt x="2070" y="511"/>
                </a:lnTo>
                <a:lnTo>
                  <a:pt x="2072" y="510"/>
                </a:lnTo>
                <a:lnTo>
                  <a:pt x="2075" y="507"/>
                </a:lnTo>
                <a:lnTo>
                  <a:pt x="2077" y="506"/>
                </a:lnTo>
                <a:lnTo>
                  <a:pt x="2079" y="506"/>
                </a:lnTo>
                <a:close/>
                <a:moveTo>
                  <a:pt x="1497" y="592"/>
                </a:moveTo>
                <a:lnTo>
                  <a:pt x="1502" y="591"/>
                </a:lnTo>
                <a:lnTo>
                  <a:pt x="1506" y="593"/>
                </a:lnTo>
                <a:lnTo>
                  <a:pt x="1509" y="595"/>
                </a:lnTo>
                <a:lnTo>
                  <a:pt x="1512" y="599"/>
                </a:lnTo>
                <a:lnTo>
                  <a:pt x="1512" y="602"/>
                </a:lnTo>
                <a:lnTo>
                  <a:pt x="1513" y="604"/>
                </a:lnTo>
                <a:lnTo>
                  <a:pt x="1513" y="607"/>
                </a:lnTo>
                <a:lnTo>
                  <a:pt x="1512" y="609"/>
                </a:lnTo>
                <a:lnTo>
                  <a:pt x="1511" y="611"/>
                </a:lnTo>
                <a:lnTo>
                  <a:pt x="1509" y="613"/>
                </a:lnTo>
                <a:lnTo>
                  <a:pt x="1507" y="615"/>
                </a:lnTo>
                <a:lnTo>
                  <a:pt x="1505" y="616"/>
                </a:lnTo>
                <a:lnTo>
                  <a:pt x="1502" y="617"/>
                </a:lnTo>
                <a:lnTo>
                  <a:pt x="1498" y="617"/>
                </a:lnTo>
                <a:lnTo>
                  <a:pt x="1494" y="616"/>
                </a:lnTo>
                <a:lnTo>
                  <a:pt x="1490" y="613"/>
                </a:lnTo>
                <a:lnTo>
                  <a:pt x="1488" y="610"/>
                </a:lnTo>
                <a:lnTo>
                  <a:pt x="1487" y="607"/>
                </a:lnTo>
                <a:lnTo>
                  <a:pt x="1487" y="605"/>
                </a:lnTo>
                <a:lnTo>
                  <a:pt x="1487" y="602"/>
                </a:lnTo>
                <a:lnTo>
                  <a:pt x="1488" y="600"/>
                </a:lnTo>
                <a:lnTo>
                  <a:pt x="1489" y="597"/>
                </a:lnTo>
                <a:lnTo>
                  <a:pt x="1490" y="595"/>
                </a:lnTo>
                <a:lnTo>
                  <a:pt x="1492" y="594"/>
                </a:lnTo>
                <a:lnTo>
                  <a:pt x="1494" y="592"/>
                </a:lnTo>
                <a:lnTo>
                  <a:pt x="1497" y="592"/>
                </a:lnTo>
                <a:close/>
                <a:moveTo>
                  <a:pt x="2013" y="499"/>
                </a:moveTo>
                <a:lnTo>
                  <a:pt x="2016" y="499"/>
                </a:lnTo>
                <a:lnTo>
                  <a:pt x="2019" y="499"/>
                </a:lnTo>
                <a:lnTo>
                  <a:pt x="2021" y="500"/>
                </a:lnTo>
                <a:lnTo>
                  <a:pt x="2023" y="501"/>
                </a:lnTo>
                <a:lnTo>
                  <a:pt x="2025" y="503"/>
                </a:lnTo>
                <a:lnTo>
                  <a:pt x="2027" y="505"/>
                </a:lnTo>
                <a:lnTo>
                  <a:pt x="2028" y="507"/>
                </a:lnTo>
                <a:lnTo>
                  <a:pt x="2028" y="510"/>
                </a:lnTo>
                <a:lnTo>
                  <a:pt x="2028" y="513"/>
                </a:lnTo>
                <a:lnTo>
                  <a:pt x="2028" y="515"/>
                </a:lnTo>
                <a:lnTo>
                  <a:pt x="2027" y="517"/>
                </a:lnTo>
                <a:lnTo>
                  <a:pt x="2026" y="519"/>
                </a:lnTo>
                <a:lnTo>
                  <a:pt x="2025" y="520"/>
                </a:lnTo>
                <a:lnTo>
                  <a:pt x="2023" y="522"/>
                </a:lnTo>
                <a:lnTo>
                  <a:pt x="2022" y="523"/>
                </a:lnTo>
                <a:lnTo>
                  <a:pt x="2020" y="524"/>
                </a:lnTo>
                <a:lnTo>
                  <a:pt x="2018" y="524"/>
                </a:lnTo>
                <a:lnTo>
                  <a:pt x="2014" y="525"/>
                </a:lnTo>
                <a:lnTo>
                  <a:pt x="2012" y="524"/>
                </a:lnTo>
                <a:lnTo>
                  <a:pt x="2009" y="523"/>
                </a:lnTo>
                <a:lnTo>
                  <a:pt x="2007" y="522"/>
                </a:lnTo>
                <a:lnTo>
                  <a:pt x="2005" y="520"/>
                </a:lnTo>
                <a:lnTo>
                  <a:pt x="2004" y="518"/>
                </a:lnTo>
                <a:lnTo>
                  <a:pt x="2003" y="516"/>
                </a:lnTo>
                <a:lnTo>
                  <a:pt x="2002" y="513"/>
                </a:lnTo>
                <a:lnTo>
                  <a:pt x="2002" y="511"/>
                </a:lnTo>
                <a:lnTo>
                  <a:pt x="2003" y="508"/>
                </a:lnTo>
                <a:lnTo>
                  <a:pt x="2003" y="506"/>
                </a:lnTo>
                <a:lnTo>
                  <a:pt x="2004" y="505"/>
                </a:lnTo>
                <a:lnTo>
                  <a:pt x="2006" y="503"/>
                </a:lnTo>
                <a:lnTo>
                  <a:pt x="2007" y="501"/>
                </a:lnTo>
                <a:lnTo>
                  <a:pt x="2009" y="500"/>
                </a:lnTo>
                <a:lnTo>
                  <a:pt x="2011" y="499"/>
                </a:lnTo>
                <a:lnTo>
                  <a:pt x="2013" y="499"/>
                </a:lnTo>
                <a:close/>
                <a:moveTo>
                  <a:pt x="1559" y="567"/>
                </a:moveTo>
                <a:lnTo>
                  <a:pt x="1563" y="567"/>
                </a:lnTo>
                <a:lnTo>
                  <a:pt x="1567" y="568"/>
                </a:lnTo>
                <a:lnTo>
                  <a:pt x="1571" y="571"/>
                </a:lnTo>
                <a:lnTo>
                  <a:pt x="1572" y="573"/>
                </a:lnTo>
                <a:lnTo>
                  <a:pt x="1573" y="575"/>
                </a:lnTo>
                <a:lnTo>
                  <a:pt x="1574" y="577"/>
                </a:lnTo>
                <a:lnTo>
                  <a:pt x="1574" y="580"/>
                </a:lnTo>
                <a:lnTo>
                  <a:pt x="1574" y="582"/>
                </a:lnTo>
                <a:lnTo>
                  <a:pt x="1573" y="585"/>
                </a:lnTo>
                <a:lnTo>
                  <a:pt x="1572" y="587"/>
                </a:lnTo>
                <a:lnTo>
                  <a:pt x="1570" y="589"/>
                </a:lnTo>
                <a:lnTo>
                  <a:pt x="1568" y="590"/>
                </a:lnTo>
                <a:lnTo>
                  <a:pt x="1565" y="592"/>
                </a:lnTo>
                <a:lnTo>
                  <a:pt x="1563" y="592"/>
                </a:lnTo>
                <a:lnTo>
                  <a:pt x="1559" y="592"/>
                </a:lnTo>
                <a:lnTo>
                  <a:pt x="1555" y="591"/>
                </a:lnTo>
                <a:lnTo>
                  <a:pt x="1551" y="588"/>
                </a:lnTo>
                <a:lnTo>
                  <a:pt x="1550" y="586"/>
                </a:lnTo>
                <a:lnTo>
                  <a:pt x="1549" y="584"/>
                </a:lnTo>
                <a:lnTo>
                  <a:pt x="1548" y="581"/>
                </a:lnTo>
                <a:lnTo>
                  <a:pt x="1548" y="579"/>
                </a:lnTo>
                <a:lnTo>
                  <a:pt x="1548" y="576"/>
                </a:lnTo>
                <a:lnTo>
                  <a:pt x="1549" y="574"/>
                </a:lnTo>
                <a:lnTo>
                  <a:pt x="1550" y="572"/>
                </a:lnTo>
                <a:lnTo>
                  <a:pt x="1552" y="570"/>
                </a:lnTo>
                <a:lnTo>
                  <a:pt x="1554" y="568"/>
                </a:lnTo>
                <a:lnTo>
                  <a:pt x="1556" y="567"/>
                </a:lnTo>
                <a:lnTo>
                  <a:pt x="1559" y="567"/>
                </a:lnTo>
                <a:close/>
                <a:moveTo>
                  <a:pt x="1947" y="496"/>
                </a:moveTo>
                <a:lnTo>
                  <a:pt x="1949" y="496"/>
                </a:lnTo>
                <a:lnTo>
                  <a:pt x="1952" y="496"/>
                </a:lnTo>
                <a:lnTo>
                  <a:pt x="1954" y="497"/>
                </a:lnTo>
                <a:lnTo>
                  <a:pt x="1958" y="500"/>
                </a:lnTo>
                <a:lnTo>
                  <a:pt x="1960" y="502"/>
                </a:lnTo>
                <a:lnTo>
                  <a:pt x="1961" y="504"/>
                </a:lnTo>
                <a:lnTo>
                  <a:pt x="1962" y="506"/>
                </a:lnTo>
                <a:lnTo>
                  <a:pt x="1962" y="509"/>
                </a:lnTo>
                <a:lnTo>
                  <a:pt x="1961" y="513"/>
                </a:lnTo>
                <a:lnTo>
                  <a:pt x="1960" y="515"/>
                </a:lnTo>
                <a:lnTo>
                  <a:pt x="1959" y="517"/>
                </a:lnTo>
                <a:lnTo>
                  <a:pt x="1957" y="519"/>
                </a:lnTo>
                <a:lnTo>
                  <a:pt x="1956" y="520"/>
                </a:lnTo>
                <a:lnTo>
                  <a:pt x="1954" y="521"/>
                </a:lnTo>
                <a:lnTo>
                  <a:pt x="1951" y="522"/>
                </a:lnTo>
                <a:lnTo>
                  <a:pt x="1949" y="522"/>
                </a:lnTo>
                <a:lnTo>
                  <a:pt x="1946" y="521"/>
                </a:lnTo>
                <a:lnTo>
                  <a:pt x="1944" y="521"/>
                </a:lnTo>
                <a:lnTo>
                  <a:pt x="1940" y="518"/>
                </a:lnTo>
                <a:lnTo>
                  <a:pt x="1938" y="516"/>
                </a:lnTo>
                <a:lnTo>
                  <a:pt x="1937" y="514"/>
                </a:lnTo>
                <a:lnTo>
                  <a:pt x="1936" y="511"/>
                </a:lnTo>
                <a:lnTo>
                  <a:pt x="1936" y="509"/>
                </a:lnTo>
                <a:lnTo>
                  <a:pt x="1937" y="504"/>
                </a:lnTo>
                <a:lnTo>
                  <a:pt x="1938" y="502"/>
                </a:lnTo>
                <a:lnTo>
                  <a:pt x="1939" y="500"/>
                </a:lnTo>
                <a:lnTo>
                  <a:pt x="1941" y="499"/>
                </a:lnTo>
                <a:lnTo>
                  <a:pt x="1943" y="497"/>
                </a:lnTo>
                <a:lnTo>
                  <a:pt x="1945" y="497"/>
                </a:lnTo>
                <a:lnTo>
                  <a:pt x="1947" y="496"/>
                </a:lnTo>
                <a:close/>
                <a:moveTo>
                  <a:pt x="1621" y="545"/>
                </a:moveTo>
                <a:lnTo>
                  <a:pt x="1626" y="545"/>
                </a:lnTo>
                <a:lnTo>
                  <a:pt x="1628" y="546"/>
                </a:lnTo>
                <a:lnTo>
                  <a:pt x="1630" y="547"/>
                </a:lnTo>
                <a:lnTo>
                  <a:pt x="1632" y="548"/>
                </a:lnTo>
                <a:lnTo>
                  <a:pt x="1634" y="550"/>
                </a:lnTo>
                <a:lnTo>
                  <a:pt x="1635" y="552"/>
                </a:lnTo>
                <a:lnTo>
                  <a:pt x="1636" y="554"/>
                </a:lnTo>
                <a:lnTo>
                  <a:pt x="1636" y="556"/>
                </a:lnTo>
                <a:lnTo>
                  <a:pt x="1636" y="559"/>
                </a:lnTo>
                <a:lnTo>
                  <a:pt x="1636" y="562"/>
                </a:lnTo>
                <a:lnTo>
                  <a:pt x="1635" y="564"/>
                </a:lnTo>
                <a:lnTo>
                  <a:pt x="1634" y="566"/>
                </a:lnTo>
                <a:lnTo>
                  <a:pt x="1632" y="568"/>
                </a:lnTo>
                <a:lnTo>
                  <a:pt x="1630" y="569"/>
                </a:lnTo>
                <a:lnTo>
                  <a:pt x="1627" y="570"/>
                </a:lnTo>
                <a:lnTo>
                  <a:pt x="1626" y="571"/>
                </a:lnTo>
                <a:lnTo>
                  <a:pt x="1621" y="571"/>
                </a:lnTo>
                <a:lnTo>
                  <a:pt x="1619" y="570"/>
                </a:lnTo>
                <a:lnTo>
                  <a:pt x="1617" y="569"/>
                </a:lnTo>
                <a:lnTo>
                  <a:pt x="1615" y="568"/>
                </a:lnTo>
                <a:lnTo>
                  <a:pt x="1613" y="566"/>
                </a:lnTo>
                <a:lnTo>
                  <a:pt x="1612" y="564"/>
                </a:lnTo>
                <a:lnTo>
                  <a:pt x="1611" y="562"/>
                </a:lnTo>
                <a:lnTo>
                  <a:pt x="1610" y="559"/>
                </a:lnTo>
                <a:lnTo>
                  <a:pt x="1610" y="557"/>
                </a:lnTo>
                <a:lnTo>
                  <a:pt x="1611" y="554"/>
                </a:lnTo>
                <a:lnTo>
                  <a:pt x="1612" y="552"/>
                </a:lnTo>
                <a:lnTo>
                  <a:pt x="1613" y="550"/>
                </a:lnTo>
                <a:lnTo>
                  <a:pt x="1615" y="548"/>
                </a:lnTo>
                <a:lnTo>
                  <a:pt x="1617" y="546"/>
                </a:lnTo>
                <a:lnTo>
                  <a:pt x="1620" y="545"/>
                </a:lnTo>
                <a:lnTo>
                  <a:pt x="1621" y="545"/>
                </a:lnTo>
                <a:close/>
                <a:moveTo>
                  <a:pt x="1881" y="497"/>
                </a:moveTo>
                <a:lnTo>
                  <a:pt x="1882" y="497"/>
                </a:lnTo>
                <a:lnTo>
                  <a:pt x="1887" y="498"/>
                </a:lnTo>
                <a:lnTo>
                  <a:pt x="1890" y="499"/>
                </a:lnTo>
                <a:lnTo>
                  <a:pt x="1892" y="501"/>
                </a:lnTo>
                <a:lnTo>
                  <a:pt x="1893" y="502"/>
                </a:lnTo>
                <a:lnTo>
                  <a:pt x="1895" y="505"/>
                </a:lnTo>
                <a:lnTo>
                  <a:pt x="1896" y="507"/>
                </a:lnTo>
                <a:lnTo>
                  <a:pt x="1896" y="510"/>
                </a:lnTo>
                <a:lnTo>
                  <a:pt x="1895" y="514"/>
                </a:lnTo>
                <a:lnTo>
                  <a:pt x="1894" y="516"/>
                </a:lnTo>
                <a:lnTo>
                  <a:pt x="1893" y="518"/>
                </a:lnTo>
                <a:lnTo>
                  <a:pt x="1892" y="520"/>
                </a:lnTo>
                <a:lnTo>
                  <a:pt x="1890" y="521"/>
                </a:lnTo>
                <a:lnTo>
                  <a:pt x="1885" y="523"/>
                </a:lnTo>
                <a:lnTo>
                  <a:pt x="1884" y="523"/>
                </a:lnTo>
                <a:lnTo>
                  <a:pt x="1879" y="522"/>
                </a:lnTo>
                <a:lnTo>
                  <a:pt x="1876" y="521"/>
                </a:lnTo>
                <a:lnTo>
                  <a:pt x="1874" y="520"/>
                </a:lnTo>
                <a:lnTo>
                  <a:pt x="1873" y="518"/>
                </a:lnTo>
                <a:lnTo>
                  <a:pt x="1871" y="516"/>
                </a:lnTo>
                <a:lnTo>
                  <a:pt x="1870" y="514"/>
                </a:lnTo>
                <a:lnTo>
                  <a:pt x="1870" y="511"/>
                </a:lnTo>
                <a:lnTo>
                  <a:pt x="1871" y="506"/>
                </a:lnTo>
                <a:lnTo>
                  <a:pt x="1872" y="504"/>
                </a:lnTo>
                <a:lnTo>
                  <a:pt x="1873" y="502"/>
                </a:lnTo>
                <a:lnTo>
                  <a:pt x="1874" y="500"/>
                </a:lnTo>
                <a:lnTo>
                  <a:pt x="1876" y="499"/>
                </a:lnTo>
                <a:lnTo>
                  <a:pt x="1881" y="497"/>
                </a:lnTo>
                <a:close/>
                <a:moveTo>
                  <a:pt x="1685" y="527"/>
                </a:moveTo>
                <a:lnTo>
                  <a:pt x="1690" y="527"/>
                </a:lnTo>
                <a:lnTo>
                  <a:pt x="1692" y="528"/>
                </a:lnTo>
                <a:lnTo>
                  <a:pt x="1694" y="529"/>
                </a:lnTo>
                <a:lnTo>
                  <a:pt x="1696" y="530"/>
                </a:lnTo>
                <a:lnTo>
                  <a:pt x="1698" y="532"/>
                </a:lnTo>
                <a:lnTo>
                  <a:pt x="1699" y="534"/>
                </a:lnTo>
                <a:lnTo>
                  <a:pt x="1699" y="536"/>
                </a:lnTo>
                <a:lnTo>
                  <a:pt x="1700" y="537"/>
                </a:lnTo>
                <a:lnTo>
                  <a:pt x="1700" y="539"/>
                </a:lnTo>
                <a:lnTo>
                  <a:pt x="1700" y="542"/>
                </a:lnTo>
                <a:lnTo>
                  <a:pt x="1699" y="544"/>
                </a:lnTo>
                <a:lnTo>
                  <a:pt x="1698" y="547"/>
                </a:lnTo>
                <a:lnTo>
                  <a:pt x="1697" y="549"/>
                </a:lnTo>
                <a:lnTo>
                  <a:pt x="1695" y="550"/>
                </a:lnTo>
                <a:lnTo>
                  <a:pt x="1693" y="552"/>
                </a:lnTo>
                <a:lnTo>
                  <a:pt x="1690" y="553"/>
                </a:lnTo>
                <a:lnTo>
                  <a:pt x="1685" y="553"/>
                </a:lnTo>
                <a:lnTo>
                  <a:pt x="1682" y="552"/>
                </a:lnTo>
                <a:lnTo>
                  <a:pt x="1680" y="551"/>
                </a:lnTo>
                <a:lnTo>
                  <a:pt x="1678" y="549"/>
                </a:lnTo>
                <a:lnTo>
                  <a:pt x="1677" y="548"/>
                </a:lnTo>
                <a:lnTo>
                  <a:pt x="1675" y="545"/>
                </a:lnTo>
                <a:lnTo>
                  <a:pt x="1675" y="544"/>
                </a:lnTo>
                <a:lnTo>
                  <a:pt x="1674" y="543"/>
                </a:lnTo>
                <a:lnTo>
                  <a:pt x="1674" y="540"/>
                </a:lnTo>
                <a:lnTo>
                  <a:pt x="1674" y="538"/>
                </a:lnTo>
                <a:lnTo>
                  <a:pt x="1675" y="535"/>
                </a:lnTo>
                <a:lnTo>
                  <a:pt x="1676" y="533"/>
                </a:lnTo>
                <a:lnTo>
                  <a:pt x="1677" y="531"/>
                </a:lnTo>
                <a:lnTo>
                  <a:pt x="1679" y="530"/>
                </a:lnTo>
                <a:lnTo>
                  <a:pt x="1681" y="528"/>
                </a:lnTo>
                <a:lnTo>
                  <a:pt x="1684" y="527"/>
                </a:lnTo>
                <a:lnTo>
                  <a:pt x="1685" y="527"/>
                </a:lnTo>
                <a:close/>
                <a:moveTo>
                  <a:pt x="1815" y="503"/>
                </a:moveTo>
                <a:lnTo>
                  <a:pt x="1818" y="503"/>
                </a:lnTo>
                <a:lnTo>
                  <a:pt x="1820" y="504"/>
                </a:lnTo>
                <a:lnTo>
                  <a:pt x="1823" y="504"/>
                </a:lnTo>
                <a:lnTo>
                  <a:pt x="1825" y="506"/>
                </a:lnTo>
                <a:lnTo>
                  <a:pt x="1827" y="507"/>
                </a:lnTo>
                <a:lnTo>
                  <a:pt x="1828" y="510"/>
                </a:lnTo>
                <a:lnTo>
                  <a:pt x="1829" y="512"/>
                </a:lnTo>
                <a:lnTo>
                  <a:pt x="1830" y="514"/>
                </a:lnTo>
                <a:lnTo>
                  <a:pt x="1830" y="517"/>
                </a:lnTo>
                <a:lnTo>
                  <a:pt x="1830" y="519"/>
                </a:lnTo>
                <a:lnTo>
                  <a:pt x="1828" y="524"/>
                </a:lnTo>
                <a:lnTo>
                  <a:pt x="1826" y="526"/>
                </a:lnTo>
                <a:lnTo>
                  <a:pt x="1824" y="527"/>
                </a:lnTo>
                <a:lnTo>
                  <a:pt x="1822" y="528"/>
                </a:lnTo>
                <a:lnTo>
                  <a:pt x="1819" y="529"/>
                </a:lnTo>
                <a:lnTo>
                  <a:pt x="1817" y="529"/>
                </a:lnTo>
                <a:lnTo>
                  <a:pt x="1814" y="528"/>
                </a:lnTo>
                <a:lnTo>
                  <a:pt x="1811" y="528"/>
                </a:lnTo>
                <a:lnTo>
                  <a:pt x="1809" y="526"/>
                </a:lnTo>
                <a:lnTo>
                  <a:pt x="1807" y="524"/>
                </a:lnTo>
                <a:lnTo>
                  <a:pt x="1806" y="522"/>
                </a:lnTo>
                <a:lnTo>
                  <a:pt x="1805" y="520"/>
                </a:lnTo>
                <a:lnTo>
                  <a:pt x="1804" y="518"/>
                </a:lnTo>
                <a:lnTo>
                  <a:pt x="1804" y="515"/>
                </a:lnTo>
                <a:lnTo>
                  <a:pt x="1805" y="513"/>
                </a:lnTo>
                <a:lnTo>
                  <a:pt x="1807" y="508"/>
                </a:lnTo>
                <a:lnTo>
                  <a:pt x="1808" y="506"/>
                </a:lnTo>
                <a:lnTo>
                  <a:pt x="1810" y="505"/>
                </a:lnTo>
                <a:lnTo>
                  <a:pt x="1812" y="504"/>
                </a:lnTo>
                <a:lnTo>
                  <a:pt x="1815" y="503"/>
                </a:lnTo>
                <a:close/>
                <a:moveTo>
                  <a:pt x="1749" y="513"/>
                </a:moveTo>
                <a:lnTo>
                  <a:pt x="1755" y="513"/>
                </a:lnTo>
                <a:lnTo>
                  <a:pt x="1757" y="514"/>
                </a:lnTo>
                <a:lnTo>
                  <a:pt x="1759" y="515"/>
                </a:lnTo>
                <a:lnTo>
                  <a:pt x="1763" y="519"/>
                </a:lnTo>
                <a:lnTo>
                  <a:pt x="1764" y="521"/>
                </a:lnTo>
                <a:lnTo>
                  <a:pt x="1765" y="524"/>
                </a:lnTo>
                <a:lnTo>
                  <a:pt x="1764" y="529"/>
                </a:lnTo>
                <a:lnTo>
                  <a:pt x="1764" y="531"/>
                </a:lnTo>
                <a:lnTo>
                  <a:pt x="1762" y="533"/>
                </a:lnTo>
                <a:lnTo>
                  <a:pt x="1759" y="537"/>
                </a:lnTo>
                <a:lnTo>
                  <a:pt x="1757" y="538"/>
                </a:lnTo>
                <a:lnTo>
                  <a:pt x="1754" y="539"/>
                </a:lnTo>
                <a:lnTo>
                  <a:pt x="1749" y="539"/>
                </a:lnTo>
                <a:lnTo>
                  <a:pt x="1746" y="538"/>
                </a:lnTo>
                <a:lnTo>
                  <a:pt x="1744" y="537"/>
                </a:lnTo>
                <a:lnTo>
                  <a:pt x="1741" y="533"/>
                </a:lnTo>
                <a:lnTo>
                  <a:pt x="1740" y="531"/>
                </a:lnTo>
                <a:lnTo>
                  <a:pt x="1739" y="528"/>
                </a:lnTo>
                <a:lnTo>
                  <a:pt x="1739" y="523"/>
                </a:lnTo>
                <a:lnTo>
                  <a:pt x="1740" y="521"/>
                </a:lnTo>
                <a:lnTo>
                  <a:pt x="1741" y="519"/>
                </a:lnTo>
                <a:lnTo>
                  <a:pt x="1745" y="515"/>
                </a:lnTo>
                <a:lnTo>
                  <a:pt x="1747" y="514"/>
                </a:lnTo>
                <a:lnTo>
                  <a:pt x="1749" y="513"/>
                </a:lnTo>
                <a:close/>
                <a:moveTo>
                  <a:pt x="160" y="2215"/>
                </a:moveTo>
                <a:lnTo>
                  <a:pt x="162" y="2215"/>
                </a:lnTo>
                <a:lnTo>
                  <a:pt x="165" y="2215"/>
                </a:lnTo>
                <a:lnTo>
                  <a:pt x="168" y="2216"/>
                </a:lnTo>
                <a:lnTo>
                  <a:pt x="170" y="2217"/>
                </a:lnTo>
                <a:lnTo>
                  <a:pt x="172" y="2219"/>
                </a:lnTo>
                <a:lnTo>
                  <a:pt x="173" y="2221"/>
                </a:lnTo>
                <a:lnTo>
                  <a:pt x="174" y="2223"/>
                </a:lnTo>
                <a:lnTo>
                  <a:pt x="175" y="2225"/>
                </a:lnTo>
                <a:lnTo>
                  <a:pt x="175" y="2231"/>
                </a:lnTo>
                <a:lnTo>
                  <a:pt x="173" y="2234"/>
                </a:lnTo>
                <a:lnTo>
                  <a:pt x="171" y="2237"/>
                </a:lnTo>
                <a:lnTo>
                  <a:pt x="168" y="2239"/>
                </a:lnTo>
                <a:lnTo>
                  <a:pt x="164" y="2241"/>
                </a:lnTo>
                <a:lnTo>
                  <a:pt x="162" y="2241"/>
                </a:lnTo>
                <a:lnTo>
                  <a:pt x="159" y="2240"/>
                </a:lnTo>
                <a:lnTo>
                  <a:pt x="157" y="2240"/>
                </a:lnTo>
                <a:lnTo>
                  <a:pt x="154" y="2238"/>
                </a:lnTo>
                <a:lnTo>
                  <a:pt x="153" y="2237"/>
                </a:lnTo>
                <a:lnTo>
                  <a:pt x="151" y="2235"/>
                </a:lnTo>
                <a:lnTo>
                  <a:pt x="150" y="2232"/>
                </a:lnTo>
                <a:lnTo>
                  <a:pt x="149" y="2230"/>
                </a:lnTo>
                <a:lnTo>
                  <a:pt x="149" y="2225"/>
                </a:lnTo>
                <a:lnTo>
                  <a:pt x="151" y="2221"/>
                </a:lnTo>
                <a:lnTo>
                  <a:pt x="153" y="2218"/>
                </a:lnTo>
                <a:lnTo>
                  <a:pt x="156" y="2216"/>
                </a:lnTo>
                <a:lnTo>
                  <a:pt x="160" y="2215"/>
                </a:lnTo>
                <a:close/>
                <a:moveTo>
                  <a:pt x="175" y="2150"/>
                </a:moveTo>
                <a:lnTo>
                  <a:pt x="177" y="2150"/>
                </a:lnTo>
                <a:lnTo>
                  <a:pt x="180" y="2150"/>
                </a:lnTo>
                <a:lnTo>
                  <a:pt x="183" y="2151"/>
                </a:lnTo>
                <a:lnTo>
                  <a:pt x="185" y="2153"/>
                </a:lnTo>
                <a:lnTo>
                  <a:pt x="187" y="2154"/>
                </a:lnTo>
                <a:lnTo>
                  <a:pt x="188" y="2156"/>
                </a:lnTo>
                <a:lnTo>
                  <a:pt x="189" y="2159"/>
                </a:lnTo>
                <a:lnTo>
                  <a:pt x="190" y="2161"/>
                </a:lnTo>
                <a:lnTo>
                  <a:pt x="190" y="2164"/>
                </a:lnTo>
                <a:lnTo>
                  <a:pt x="190" y="2166"/>
                </a:lnTo>
                <a:lnTo>
                  <a:pt x="188" y="2170"/>
                </a:lnTo>
                <a:lnTo>
                  <a:pt x="186" y="2173"/>
                </a:lnTo>
                <a:lnTo>
                  <a:pt x="183" y="2175"/>
                </a:lnTo>
                <a:lnTo>
                  <a:pt x="179" y="2176"/>
                </a:lnTo>
                <a:lnTo>
                  <a:pt x="177" y="2176"/>
                </a:lnTo>
                <a:lnTo>
                  <a:pt x="174" y="2176"/>
                </a:lnTo>
                <a:lnTo>
                  <a:pt x="172" y="2175"/>
                </a:lnTo>
                <a:lnTo>
                  <a:pt x="169" y="2174"/>
                </a:lnTo>
                <a:lnTo>
                  <a:pt x="167" y="2172"/>
                </a:lnTo>
                <a:lnTo>
                  <a:pt x="166" y="2170"/>
                </a:lnTo>
                <a:lnTo>
                  <a:pt x="165" y="2168"/>
                </a:lnTo>
                <a:lnTo>
                  <a:pt x="164" y="2165"/>
                </a:lnTo>
                <a:lnTo>
                  <a:pt x="164" y="2163"/>
                </a:lnTo>
                <a:lnTo>
                  <a:pt x="164" y="2160"/>
                </a:lnTo>
                <a:lnTo>
                  <a:pt x="166" y="2157"/>
                </a:lnTo>
                <a:lnTo>
                  <a:pt x="168" y="2154"/>
                </a:lnTo>
                <a:lnTo>
                  <a:pt x="171" y="2151"/>
                </a:lnTo>
                <a:lnTo>
                  <a:pt x="175" y="2150"/>
                </a:lnTo>
                <a:close/>
                <a:moveTo>
                  <a:pt x="191" y="2086"/>
                </a:moveTo>
                <a:lnTo>
                  <a:pt x="193" y="2086"/>
                </a:lnTo>
                <a:lnTo>
                  <a:pt x="196" y="2086"/>
                </a:lnTo>
                <a:lnTo>
                  <a:pt x="199" y="2087"/>
                </a:lnTo>
                <a:lnTo>
                  <a:pt x="201" y="2088"/>
                </a:lnTo>
                <a:lnTo>
                  <a:pt x="203" y="2090"/>
                </a:lnTo>
                <a:lnTo>
                  <a:pt x="204" y="2092"/>
                </a:lnTo>
                <a:lnTo>
                  <a:pt x="205" y="2094"/>
                </a:lnTo>
                <a:lnTo>
                  <a:pt x="206" y="2097"/>
                </a:lnTo>
                <a:lnTo>
                  <a:pt x="206" y="2100"/>
                </a:lnTo>
                <a:lnTo>
                  <a:pt x="206" y="2102"/>
                </a:lnTo>
                <a:lnTo>
                  <a:pt x="205" y="2104"/>
                </a:lnTo>
                <a:lnTo>
                  <a:pt x="204" y="2106"/>
                </a:lnTo>
                <a:lnTo>
                  <a:pt x="202" y="2109"/>
                </a:lnTo>
                <a:lnTo>
                  <a:pt x="199" y="2111"/>
                </a:lnTo>
                <a:lnTo>
                  <a:pt x="195" y="2112"/>
                </a:lnTo>
                <a:lnTo>
                  <a:pt x="192" y="2112"/>
                </a:lnTo>
                <a:lnTo>
                  <a:pt x="190" y="2112"/>
                </a:lnTo>
                <a:lnTo>
                  <a:pt x="187" y="2111"/>
                </a:lnTo>
                <a:lnTo>
                  <a:pt x="185" y="2109"/>
                </a:lnTo>
                <a:lnTo>
                  <a:pt x="183" y="2108"/>
                </a:lnTo>
                <a:lnTo>
                  <a:pt x="182" y="2106"/>
                </a:lnTo>
                <a:lnTo>
                  <a:pt x="181" y="2103"/>
                </a:lnTo>
                <a:lnTo>
                  <a:pt x="180" y="2101"/>
                </a:lnTo>
                <a:lnTo>
                  <a:pt x="180" y="2098"/>
                </a:lnTo>
                <a:lnTo>
                  <a:pt x="180" y="2096"/>
                </a:lnTo>
                <a:lnTo>
                  <a:pt x="181" y="2094"/>
                </a:lnTo>
                <a:lnTo>
                  <a:pt x="182" y="2092"/>
                </a:lnTo>
                <a:lnTo>
                  <a:pt x="184" y="2089"/>
                </a:lnTo>
                <a:lnTo>
                  <a:pt x="187" y="2087"/>
                </a:lnTo>
                <a:lnTo>
                  <a:pt x="191" y="2086"/>
                </a:lnTo>
                <a:close/>
                <a:moveTo>
                  <a:pt x="207" y="2022"/>
                </a:moveTo>
                <a:lnTo>
                  <a:pt x="210" y="2022"/>
                </a:lnTo>
                <a:lnTo>
                  <a:pt x="213" y="2022"/>
                </a:lnTo>
                <a:lnTo>
                  <a:pt x="215" y="2023"/>
                </a:lnTo>
                <a:lnTo>
                  <a:pt x="218" y="2025"/>
                </a:lnTo>
                <a:lnTo>
                  <a:pt x="219" y="2026"/>
                </a:lnTo>
                <a:lnTo>
                  <a:pt x="221" y="2028"/>
                </a:lnTo>
                <a:lnTo>
                  <a:pt x="222" y="2031"/>
                </a:lnTo>
                <a:lnTo>
                  <a:pt x="223" y="2033"/>
                </a:lnTo>
                <a:lnTo>
                  <a:pt x="223" y="2036"/>
                </a:lnTo>
                <a:lnTo>
                  <a:pt x="222" y="2038"/>
                </a:lnTo>
                <a:lnTo>
                  <a:pt x="222" y="2040"/>
                </a:lnTo>
                <a:lnTo>
                  <a:pt x="221" y="2042"/>
                </a:lnTo>
                <a:lnTo>
                  <a:pt x="218" y="2045"/>
                </a:lnTo>
                <a:lnTo>
                  <a:pt x="215" y="2047"/>
                </a:lnTo>
                <a:lnTo>
                  <a:pt x="212" y="2048"/>
                </a:lnTo>
                <a:lnTo>
                  <a:pt x="209" y="2048"/>
                </a:lnTo>
                <a:lnTo>
                  <a:pt x="206" y="2048"/>
                </a:lnTo>
                <a:lnTo>
                  <a:pt x="204" y="2047"/>
                </a:lnTo>
                <a:lnTo>
                  <a:pt x="201" y="2045"/>
                </a:lnTo>
                <a:lnTo>
                  <a:pt x="200" y="2044"/>
                </a:lnTo>
                <a:lnTo>
                  <a:pt x="198" y="2041"/>
                </a:lnTo>
                <a:lnTo>
                  <a:pt x="197" y="2039"/>
                </a:lnTo>
                <a:lnTo>
                  <a:pt x="197" y="2037"/>
                </a:lnTo>
                <a:lnTo>
                  <a:pt x="196" y="2034"/>
                </a:lnTo>
                <a:lnTo>
                  <a:pt x="197" y="2031"/>
                </a:lnTo>
                <a:lnTo>
                  <a:pt x="197" y="2030"/>
                </a:lnTo>
                <a:lnTo>
                  <a:pt x="198" y="2028"/>
                </a:lnTo>
                <a:lnTo>
                  <a:pt x="201" y="2025"/>
                </a:lnTo>
                <a:lnTo>
                  <a:pt x="204" y="2023"/>
                </a:lnTo>
                <a:lnTo>
                  <a:pt x="207" y="2022"/>
                </a:lnTo>
                <a:close/>
                <a:moveTo>
                  <a:pt x="225" y="1958"/>
                </a:moveTo>
                <a:lnTo>
                  <a:pt x="228" y="1958"/>
                </a:lnTo>
                <a:lnTo>
                  <a:pt x="231" y="1958"/>
                </a:lnTo>
                <a:lnTo>
                  <a:pt x="233" y="1959"/>
                </a:lnTo>
                <a:lnTo>
                  <a:pt x="235" y="1961"/>
                </a:lnTo>
                <a:lnTo>
                  <a:pt x="237" y="1963"/>
                </a:lnTo>
                <a:lnTo>
                  <a:pt x="238" y="1965"/>
                </a:lnTo>
                <a:lnTo>
                  <a:pt x="240" y="1967"/>
                </a:lnTo>
                <a:lnTo>
                  <a:pt x="240" y="1969"/>
                </a:lnTo>
                <a:lnTo>
                  <a:pt x="240" y="1972"/>
                </a:lnTo>
                <a:lnTo>
                  <a:pt x="240" y="1975"/>
                </a:lnTo>
                <a:lnTo>
                  <a:pt x="238" y="1978"/>
                </a:lnTo>
                <a:lnTo>
                  <a:pt x="236" y="1981"/>
                </a:lnTo>
                <a:lnTo>
                  <a:pt x="233" y="1983"/>
                </a:lnTo>
                <a:lnTo>
                  <a:pt x="231" y="1984"/>
                </a:lnTo>
                <a:lnTo>
                  <a:pt x="229" y="1984"/>
                </a:lnTo>
                <a:lnTo>
                  <a:pt x="226" y="1984"/>
                </a:lnTo>
                <a:lnTo>
                  <a:pt x="223" y="1984"/>
                </a:lnTo>
                <a:lnTo>
                  <a:pt x="221" y="1983"/>
                </a:lnTo>
                <a:lnTo>
                  <a:pt x="219" y="1981"/>
                </a:lnTo>
                <a:lnTo>
                  <a:pt x="217" y="1980"/>
                </a:lnTo>
                <a:lnTo>
                  <a:pt x="216" y="1977"/>
                </a:lnTo>
                <a:lnTo>
                  <a:pt x="215" y="1975"/>
                </a:lnTo>
                <a:lnTo>
                  <a:pt x="214" y="1973"/>
                </a:lnTo>
                <a:lnTo>
                  <a:pt x="214" y="1970"/>
                </a:lnTo>
                <a:lnTo>
                  <a:pt x="214" y="1968"/>
                </a:lnTo>
                <a:lnTo>
                  <a:pt x="216" y="1964"/>
                </a:lnTo>
                <a:lnTo>
                  <a:pt x="218" y="1961"/>
                </a:lnTo>
                <a:lnTo>
                  <a:pt x="221" y="1959"/>
                </a:lnTo>
                <a:lnTo>
                  <a:pt x="223" y="1959"/>
                </a:lnTo>
                <a:lnTo>
                  <a:pt x="225" y="1958"/>
                </a:lnTo>
                <a:close/>
                <a:moveTo>
                  <a:pt x="243" y="1895"/>
                </a:moveTo>
                <a:lnTo>
                  <a:pt x="246" y="1894"/>
                </a:lnTo>
                <a:lnTo>
                  <a:pt x="249" y="1895"/>
                </a:lnTo>
                <a:lnTo>
                  <a:pt x="252" y="1896"/>
                </a:lnTo>
                <a:lnTo>
                  <a:pt x="254" y="1897"/>
                </a:lnTo>
                <a:lnTo>
                  <a:pt x="256" y="1899"/>
                </a:lnTo>
                <a:lnTo>
                  <a:pt x="257" y="1901"/>
                </a:lnTo>
                <a:lnTo>
                  <a:pt x="258" y="1904"/>
                </a:lnTo>
                <a:lnTo>
                  <a:pt x="259" y="1906"/>
                </a:lnTo>
                <a:lnTo>
                  <a:pt x="259" y="1909"/>
                </a:lnTo>
                <a:lnTo>
                  <a:pt x="258" y="1911"/>
                </a:lnTo>
                <a:lnTo>
                  <a:pt x="256" y="1915"/>
                </a:lnTo>
                <a:lnTo>
                  <a:pt x="254" y="1917"/>
                </a:lnTo>
                <a:lnTo>
                  <a:pt x="251" y="1919"/>
                </a:lnTo>
                <a:lnTo>
                  <a:pt x="249" y="1920"/>
                </a:lnTo>
                <a:lnTo>
                  <a:pt x="248" y="1920"/>
                </a:lnTo>
                <a:lnTo>
                  <a:pt x="245" y="1921"/>
                </a:lnTo>
                <a:lnTo>
                  <a:pt x="242" y="1920"/>
                </a:lnTo>
                <a:lnTo>
                  <a:pt x="239" y="1919"/>
                </a:lnTo>
                <a:lnTo>
                  <a:pt x="237" y="1918"/>
                </a:lnTo>
                <a:lnTo>
                  <a:pt x="235" y="1916"/>
                </a:lnTo>
                <a:lnTo>
                  <a:pt x="234" y="1914"/>
                </a:lnTo>
                <a:lnTo>
                  <a:pt x="233" y="1911"/>
                </a:lnTo>
                <a:lnTo>
                  <a:pt x="232" y="1909"/>
                </a:lnTo>
                <a:lnTo>
                  <a:pt x="232" y="1906"/>
                </a:lnTo>
                <a:lnTo>
                  <a:pt x="233" y="1904"/>
                </a:lnTo>
                <a:lnTo>
                  <a:pt x="234" y="1900"/>
                </a:lnTo>
                <a:lnTo>
                  <a:pt x="237" y="1898"/>
                </a:lnTo>
                <a:lnTo>
                  <a:pt x="240" y="1896"/>
                </a:lnTo>
                <a:lnTo>
                  <a:pt x="241" y="1895"/>
                </a:lnTo>
                <a:lnTo>
                  <a:pt x="243" y="1895"/>
                </a:lnTo>
                <a:close/>
                <a:moveTo>
                  <a:pt x="263" y="1831"/>
                </a:moveTo>
                <a:lnTo>
                  <a:pt x="266" y="1831"/>
                </a:lnTo>
                <a:lnTo>
                  <a:pt x="269" y="1832"/>
                </a:lnTo>
                <a:lnTo>
                  <a:pt x="271" y="1833"/>
                </a:lnTo>
                <a:lnTo>
                  <a:pt x="273" y="1834"/>
                </a:lnTo>
                <a:lnTo>
                  <a:pt x="275" y="1836"/>
                </a:lnTo>
                <a:lnTo>
                  <a:pt x="277" y="1838"/>
                </a:lnTo>
                <a:lnTo>
                  <a:pt x="278" y="1843"/>
                </a:lnTo>
                <a:lnTo>
                  <a:pt x="278" y="1846"/>
                </a:lnTo>
                <a:lnTo>
                  <a:pt x="277" y="1848"/>
                </a:lnTo>
                <a:lnTo>
                  <a:pt x="276" y="1852"/>
                </a:lnTo>
                <a:lnTo>
                  <a:pt x="273" y="1854"/>
                </a:lnTo>
                <a:lnTo>
                  <a:pt x="271" y="1856"/>
                </a:lnTo>
                <a:lnTo>
                  <a:pt x="267" y="1857"/>
                </a:lnTo>
                <a:lnTo>
                  <a:pt x="264" y="1857"/>
                </a:lnTo>
                <a:lnTo>
                  <a:pt x="261" y="1857"/>
                </a:lnTo>
                <a:lnTo>
                  <a:pt x="259" y="1856"/>
                </a:lnTo>
                <a:lnTo>
                  <a:pt x="256" y="1854"/>
                </a:lnTo>
                <a:lnTo>
                  <a:pt x="255" y="1852"/>
                </a:lnTo>
                <a:lnTo>
                  <a:pt x="253" y="1850"/>
                </a:lnTo>
                <a:lnTo>
                  <a:pt x="252" y="1846"/>
                </a:lnTo>
                <a:lnTo>
                  <a:pt x="252" y="1843"/>
                </a:lnTo>
                <a:lnTo>
                  <a:pt x="252" y="1840"/>
                </a:lnTo>
                <a:lnTo>
                  <a:pt x="254" y="1837"/>
                </a:lnTo>
                <a:lnTo>
                  <a:pt x="256" y="1834"/>
                </a:lnTo>
                <a:lnTo>
                  <a:pt x="259" y="1832"/>
                </a:lnTo>
                <a:lnTo>
                  <a:pt x="263" y="1831"/>
                </a:lnTo>
                <a:close/>
                <a:moveTo>
                  <a:pt x="283" y="1768"/>
                </a:moveTo>
                <a:lnTo>
                  <a:pt x="286" y="1768"/>
                </a:lnTo>
                <a:lnTo>
                  <a:pt x="289" y="1769"/>
                </a:lnTo>
                <a:lnTo>
                  <a:pt x="292" y="1770"/>
                </a:lnTo>
                <a:lnTo>
                  <a:pt x="294" y="1771"/>
                </a:lnTo>
                <a:lnTo>
                  <a:pt x="296" y="1773"/>
                </a:lnTo>
                <a:lnTo>
                  <a:pt x="297" y="1775"/>
                </a:lnTo>
                <a:lnTo>
                  <a:pt x="298" y="1778"/>
                </a:lnTo>
                <a:lnTo>
                  <a:pt x="298" y="1780"/>
                </a:lnTo>
                <a:lnTo>
                  <a:pt x="298" y="1783"/>
                </a:lnTo>
                <a:lnTo>
                  <a:pt x="298" y="1786"/>
                </a:lnTo>
                <a:lnTo>
                  <a:pt x="296" y="1789"/>
                </a:lnTo>
                <a:lnTo>
                  <a:pt x="294" y="1791"/>
                </a:lnTo>
                <a:lnTo>
                  <a:pt x="292" y="1792"/>
                </a:lnTo>
                <a:lnTo>
                  <a:pt x="291" y="1793"/>
                </a:lnTo>
                <a:lnTo>
                  <a:pt x="288" y="1794"/>
                </a:lnTo>
                <a:lnTo>
                  <a:pt x="284" y="1794"/>
                </a:lnTo>
                <a:lnTo>
                  <a:pt x="281" y="1794"/>
                </a:lnTo>
                <a:lnTo>
                  <a:pt x="279" y="1793"/>
                </a:lnTo>
                <a:lnTo>
                  <a:pt x="277" y="1791"/>
                </a:lnTo>
                <a:lnTo>
                  <a:pt x="275" y="1789"/>
                </a:lnTo>
                <a:lnTo>
                  <a:pt x="274" y="1787"/>
                </a:lnTo>
                <a:lnTo>
                  <a:pt x="273" y="1785"/>
                </a:lnTo>
                <a:lnTo>
                  <a:pt x="272" y="1782"/>
                </a:lnTo>
                <a:lnTo>
                  <a:pt x="272" y="1780"/>
                </a:lnTo>
                <a:lnTo>
                  <a:pt x="273" y="1777"/>
                </a:lnTo>
                <a:lnTo>
                  <a:pt x="274" y="1774"/>
                </a:lnTo>
                <a:lnTo>
                  <a:pt x="277" y="1771"/>
                </a:lnTo>
                <a:lnTo>
                  <a:pt x="278" y="1770"/>
                </a:lnTo>
                <a:lnTo>
                  <a:pt x="280" y="1769"/>
                </a:lnTo>
                <a:lnTo>
                  <a:pt x="283" y="1768"/>
                </a:lnTo>
                <a:close/>
                <a:moveTo>
                  <a:pt x="304" y="1706"/>
                </a:moveTo>
                <a:lnTo>
                  <a:pt x="308" y="1706"/>
                </a:lnTo>
                <a:lnTo>
                  <a:pt x="311" y="1706"/>
                </a:lnTo>
                <a:lnTo>
                  <a:pt x="314" y="1708"/>
                </a:lnTo>
                <a:lnTo>
                  <a:pt x="316" y="1709"/>
                </a:lnTo>
                <a:lnTo>
                  <a:pt x="317" y="1711"/>
                </a:lnTo>
                <a:lnTo>
                  <a:pt x="319" y="1713"/>
                </a:lnTo>
                <a:lnTo>
                  <a:pt x="319" y="1715"/>
                </a:lnTo>
                <a:lnTo>
                  <a:pt x="320" y="1718"/>
                </a:lnTo>
                <a:lnTo>
                  <a:pt x="320" y="1721"/>
                </a:lnTo>
                <a:lnTo>
                  <a:pt x="319" y="1723"/>
                </a:lnTo>
                <a:lnTo>
                  <a:pt x="317" y="1726"/>
                </a:lnTo>
                <a:lnTo>
                  <a:pt x="315" y="1729"/>
                </a:lnTo>
                <a:lnTo>
                  <a:pt x="312" y="1731"/>
                </a:lnTo>
                <a:lnTo>
                  <a:pt x="309" y="1732"/>
                </a:lnTo>
                <a:lnTo>
                  <a:pt x="306" y="1732"/>
                </a:lnTo>
                <a:lnTo>
                  <a:pt x="302" y="1731"/>
                </a:lnTo>
                <a:lnTo>
                  <a:pt x="300" y="1730"/>
                </a:lnTo>
                <a:lnTo>
                  <a:pt x="298" y="1728"/>
                </a:lnTo>
                <a:lnTo>
                  <a:pt x="296" y="1727"/>
                </a:lnTo>
                <a:lnTo>
                  <a:pt x="295" y="1724"/>
                </a:lnTo>
                <a:lnTo>
                  <a:pt x="294" y="1722"/>
                </a:lnTo>
                <a:lnTo>
                  <a:pt x="294" y="1720"/>
                </a:lnTo>
                <a:lnTo>
                  <a:pt x="294" y="1717"/>
                </a:lnTo>
                <a:lnTo>
                  <a:pt x="294" y="1714"/>
                </a:lnTo>
                <a:lnTo>
                  <a:pt x="296" y="1711"/>
                </a:lnTo>
                <a:lnTo>
                  <a:pt x="298" y="1709"/>
                </a:lnTo>
                <a:lnTo>
                  <a:pt x="301" y="1707"/>
                </a:lnTo>
                <a:lnTo>
                  <a:pt x="304" y="1706"/>
                </a:lnTo>
                <a:close/>
                <a:moveTo>
                  <a:pt x="327" y="1644"/>
                </a:moveTo>
                <a:lnTo>
                  <a:pt x="330" y="1643"/>
                </a:lnTo>
                <a:lnTo>
                  <a:pt x="334" y="1644"/>
                </a:lnTo>
                <a:lnTo>
                  <a:pt x="336" y="1645"/>
                </a:lnTo>
                <a:lnTo>
                  <a:pt x="338" y="1647"/>
                </a:lnTo>
                <a:lnTo>
                  <a:pt x="340" y="1649"/>
                </a:lnTo>
                <a:lnTo>
                  <a:pt x="341" y="1651"/>
                </a:lnTo>
                <a:lnTo>
                  <a:pt x="342" y="1652"/>
                </a:lnTo>
                <a:lnTo>
                  <a:pt x="342" y="1653"/>
                </a:lnTo>
                <a:lnTo>
                  <a:pt x="342" y="1656"/>
                </a:lnTo>
                <a:lnTo>
                  <a:pt x="342" y="1661"/>
                </a:lnTo>
                <a:lnTo>
                  <a:pt x="340" y="1664"/>
                </a:lnTo>
                <a:lnTo>
                  <a:pt x="338" y="1667"/>
                </a:lnTo>
                <a:lnTo>
                  <a:pt x="335" y="1668"/>
                </a:lnTo>
                <a:lnTo>
                  <a:pt x="331" y="1669"/>
                </a:lnTo>
                <a:lnTo>
                  <a:pt x="328" y="1670"/>
                </a:lnTo>
                <a:lnTo>
                  <a:pt x="325" y="1669"/>
                </a:lnTo>
                <a:lnTo>
                  <a:pt x="322" y="1668"/>
                </a:lnTo>
                <a:lnTo>
                  <a:pt x="320" y="1666"/>
                </a:lnTo>
                <a:lnTo>
                  <a:pt x="319" y="1664"/>
                </a:lnTo>
                <a:lnTo>
                  <a:pt x="317" y="1662"/>
                </a:lnTo>
                <a:lnTo>
                  <a:pt x="317" y="1661"/>
                </a:lnTo>
                <a:lnTo>
                  <a:pt x="316" y="1660"/>
                </a:lnTo>
                <a:lnTo>
                  <a:pt x="316" y="1657"/>
                </a:lnTo>
                <a:lnTo>
                  <a:pt x="317" y="1652"/>
                </a:lnTo>
                <a:lnTo>
                  <a:pt x="319" y="1649"/>
                </a:lnTo>
                <a:lnTo>
                  <a:pt x="321" y="1646"/>
                </a:lnTo>
                <a:lnTo>
                  <a:pt x="324" y="1645"/>
                </a:lnTo>
                <a:lnTo>
                  <a:pt x="327" y="1644"/>
                </a:lnTo>
                <a:close/>
                <a:moveTo>
                  <a:pt x="350" y="1582"/>
                </a:moveTo>
                <a:lnTo>
                  <a:pt x="354" y="1582"/>
                </a:lnTo>
                <a:lnTo>
                  <a:pt x="358" y="1582"/>
                </a:lnTo>
                <a:lnTo>
                  <a:pt x="362" y="1585"/>
                </a:lnTo>
                <a:lnTo>
                  <a:pt x="364" y="1587"/>
                </a:lnTo>
                <a:lnTo>
                  <a:pt x="365" y="1589"/>
                </a:lnTo>
                <a:lnTo>
                  <a:pt x="366" y="1592"/>
                </a:lnTo>
                <a:lnTo>
                  <a:pt x="366" y="1594"/>
                </a:lnTo>
                <a:lnTo>
                  <a:pt x="366" y="1597"/>
                </a:lnTo>
                <a:lnTo>
                  <a:pt x="365" y="1599"/>
                </a:lnTo>
                <a:lnTo>
                  <a:pt x="363" y="1603"/>
                </a:lnTo>
                <a:lnTo>
                  <a:pt x="361" y="1605"/>
                </a:lnTo>
                <a:lnTo>
                  <a:pt x="358" y="1607"/>
                </a:lnTo>
                <a:lnTo>
                  <a:pt x="355" y="1608"/>
                </a:lnTo>
                <a:lnTo>
                  <a:pt x="352" y="1608"/>
                </a:lnTo>
                <a:lnTo>
                  <a:pt x="348" y="1607"/>
                </a:lnTo>
                <a:lnTo>
                  <a:pt x="344" y="1604"/>
                </a:lnTo>
                <a:lnTo>
                  <a:pt x="342" y="1602"/>
                </a:lnTo>
                <a:lnTo>
                  <a:pt x="341" y="1600"/>
                </a:lnTo>
                <a:lnTo>
                  <a:pt x="340" y="1598"/>
                </a:lnTo>
                <a:lnTo>
                  <a:pt x="340" y="1595"/>
                </a:lnTo>
                <a:lnTo>
                  <a:pt x="340" y="1592"/>
                </a:lnTo>
                <a:lnTo>
                  <a:pt x="341" y="1590"/>
                </a:lnTo>
                <a:lnTo>
                  <a:pt x="342" y="1587"/>
                </a:lnTo>
                <a:lnTo>
                  <a:pt x="345" y="1584"/>
                </a:lnTo>
                <a:lnTo>
                  <a:pt x="347" y="1583"/>
                </a:lnTo>
                <a:lnTo>
                  <a:pt x="350" y="1582"/>
                </a:lnTo>
                <a:close/>
                <a:moveTo>
                  <a:pt x="375" y="1520"/>
                </a:moveTo>
                <a:lnTo>
                  <a:pt x="379" y="1520"/>
                </a:lnTo>
                <a:lnTo>
                  <a:pt x="382" y="1521"/>
                </a:lnTo>
                <a:lnTo>
                  <a:pt x="385" y="1522"/>
                </a:lnTo>
                <a:lnTo>
                  <a:pt x="387" y="1524"/>
                </a:lnTo>
                <a:lnTo>
                  <a:pt x="388" y="1526"/>
                </a:lnTo>
                <a:lnTo>
                  <a:pt x="389" y="1528"/>
                </a:lnTo>
                <a:lnTo>
                  <a:pt x="390" y="1531"/>
                </a:lnTo>
                <a:lnTo>
                  <a:pt x="391" y="1533"/>
                </a:lnTo>
                <a:lnTo>
                  <a:pt x="390" y="1536"/>
                </a:lnTo>
                <a:lnTo>
                  <a:pt x="390" y="1538"/>
                </a:lnTo>
                <a:lnTo>
                  <a:pt x="388" y="1541"/>
                </a:lnTo>
                <a:lnTo>
                  <a:pt x="386" y="1544"/>
                </a:lnTo>
                <a:lnTo>
                  <a:pt x="383" y="1545"/>
                </a:lnTo>
                <a:lnTo>
                  <a:pt x="380" y="1546"/>
                </a:lnTo>
                <a:lnTo>
                  <a:pt x="376" y="1546"/>
                </a:lnTo>
                <a:lnTo>
                  <a:pt x="372" y="1545"/>
                </a:lnTo>
                <a:lnTo>
                  <a:pt x="370" y="1544"/>
                </a:lnTo>
                <a:lnTo>
                  <a:pt x="368" y="1543"/>
                </a:lnTo>
                <a:lnTo>
                  <a:pt x="366" y="1541"/>
                </a:lnTo>
                <a:lnTo>
                  <a:pt x="365" y="1538"/>
                </a:lnTo>
                <a:lnTo>
                  <a:pt x="365" y="1536"/>
                </a:lnTo>
                <a:lnTo>
                  <a:pt x="364" y="1533"/>
                </a:lnTo>
                <a:lnTo>
                  <a:pt x="364" y="1531"/>
                </a:lnTo>
                <a:lnTo>
                  <a:pt x="365" y="1528"/>
                </a:lnTo>
                <a:lnTo>
                  <a:pt x="367" y="1525"/>
                </a:lnTo>
                <a:lnTo>
                  <a:pt x="369" y="1523"/>
                </a:lnTo>
                <a:lnTo>
                  <a:pt x="372" y="1521"/>
                </a:lnTo>
                <a:lnTo>
                  <a:pt x="375" y="1520"/>
                </a:lnTo>
                <a:close/>
                <a:moveTo>
                  <a:pt x="401" y="1459"/>
                </a:moveTo>
                <a:lnTo>
                  <a:pt x="405" y="1459"/>
                </a:lnTo>
                <a:lnTo>
                  <a:pt x="408" y="1460"/>
                </a:lnTo>
                <a:lnTo>
                  <a:pt x="411" y="1462"/>
                </a:lnTo>
                <a:lnTo>
                  <a:pt x="413" y="1463"/>
                </a:lnTo>
                <a:lnTo>
                  <a:pt x="414" y="1465"/>
                </a:lnTo>
                <a:lnTo>
                  <a:pt x="415" y="1468"/>
                </a:lnTo>
                <a:lnTo>
                  <a:pt x="416" y="1470"/>
                </a:lnTo>
                <a:lnTo>
                  <a:pt x="416" y="1472"/>
                </a:lnTo>
                <a:lnTo>
                  <a:pt x="416" y="1475"/>
                </a:lnTo>
                <a:lnTo>
                  <a:pt x="415" y="1478"/>
                </a:lnTo>
                <a:lnTo>
                  <a:pt x="413" y="1480"/>
                </a:lnTo>
                <a:lnTo>
                  <a:pt x="411" y="1483"/>
                </a:lnTo>
                <a:lnTo>
                  <a:pt x="408" y="1484"/>
                </a:lnTo>
                <a:lnTo>
                  <a:pt x="405" y="1485"/>
                </a:lnTo>
                <a:lnTo>
                  <a:pt x="402" y="1485"/>
                </a:lnTo>
                <a:lnTo>
                  <a:pt x="398" y="1484"/>
                </a:lnTo>
                <a:lnTo>
                  <a:pt x="396" y="1483"/>
                </a:lnTo>
                <a:lnTo>
                  <a:pt x="394" y="1481"/>
                </a:lnTo>
                <a:lnTo>
                  <a:pt x="392" y="1479"/>
                </a:lnTo>
                <a:lnTo>
                  <a:pt x="391" y="1477"/>
                </a:lnTo>
                <a:lnTo>
                  <a:pt x="390" y="1475"/>
                </a:lnTo>
                <a:lnTo>
                  <a:pt x="390" y="1472"/>
                </a:lnTo>
                <a:lnTo>
                  <a:pt x="390" y="1470"/>
                </a:lnTo>
                <a:lnTo>
                  <a:pt x="391" y="1467"/>
                </a:lnTo>
                <a:lnTo>
                  <a:pt x="393" y="1464"/>
                </a:lnTo>
                <a:lnTo>
                  <a:pt x="395" y="1462"/>
                </a:lnTo>
                <a:lnTo>
                  <a:pt x="398" y="1460"/>
                </a:lnTo>
                <a:lnTo>
                  <a:pt x="401" y="1459"/>
                </a:lnTo>
                <a:close/>
                <a:moveTo>
                  <a:pt x="428" y="1399"/>
                </a:moveTo>
                <a:lnTo>
                  <a:pt x="432" y="1399"/>
                </a:lnTo>
                <a:lnTo>
                  <a:pt x="435" y="1400"/>
                </a:lnTo>
                <a:lnTo>
                  <a:pt x="438" y="1401"/>
                </a:lnTo>
                <a:lnTo>
                  <a:pt x="440" y="1403"/>
                </a:lnTo>
                <a:lnTo>
                  <a:pt x="441" y="1405"/>
                </a:lnTo>
                <a:lnTo>
                  <a:pt x="442" y="1407"/>
                </a:lnTo>
                <a:lnTo>
                  <a:pt x="443" y="1410"/>
                </a:lnTo>
                <a:lnTo>
                  <a:pt x="443" y="1412"/>
                </a:lnTo>
                <a:lnTo>
                  <a:pt x="443" y="1415"/>
                </a:lnTo>
                <a:lnTo>
                  <a:pt x="442" y="1417"/>
                </a:lnTo>
                <a:lnTo>
                  <a:pt x="440" y="1420"/>
                </a:lnTo>
                <a:lnTo>
                  <a:pt x="438" y="1422"/>
                </a:lnTo>
                <a:lnTo>
                  <a:pt x="437" y="1423"/>
                </a:lnTo>
                <a:lnTo>
                  <a:pt x="435" y="1424"/>
                </a:lnTo>
                <a:lnTo>
                  <a:pt x="432" y="1425"/>
                </a:lnTo>
                <a:lnTo>
                  <a:pt x="428" y="1425"/>
                </a:lnTo>
                <a:lnTo>
                  <a:pt x="425" y="1424"/>
                </a:lnTo>
                <a:lnTo>
                  <a:pt x="422" y="1422"/>
                </a:lnTo>
                <a:lnTo>
                  <a:pt x="420" y="1421"/>
                </a:lnTo>
                <a:lnTo>
                  <a:pt x="419" y="1419"/>
                </a:lnTo>
                <a:lnTo>
                  <a:pt x="418" y="1416"/>
                </a:lnTo>
                <a:lnTo>
                  <a:pt x="417" y="1414"/>
                </a:lnTo>
                <a:lnTo>
                  <a:pt x="417" y="1412"/>
                </a:lnTo>
                <a:lnTo>
                  <a:pt x="417" y="1409"/>
                </a:lnTo>
                <a:lnTo>
                  <a:pt x="418" y="1406"/>
                </a:lnTo>
                <a:lnTo>
                  <a:pt x="420" y="1404"/>
                </a:lnTo>
                <a:lnTo>
                  <a:pt x="422" y="1401"/>
                </a:lnTo>
                <a:lnTo>
                  <a:pt x="423" y="1401"/>
                </a:lnTo>
                <a:lnTo>
                  <a:pt x="425" y="1400"/>
                </a:lnTo>
                <a:lnTo>
                  <a:pt x="428" y="1399"/>
                </a:lnTo>
                <a:close/>
                <a:moveTo>
                  <a:pt x="456" y="1339"/>
                </a:moveTo>
                <a:lnTo>
                  <a:pt x="460" y="1339"/>
                </a:lnTo>
                <a:lnTo>
                  <a:pt x="462" y="1339"/>
                </a:lnTo>
                <a:lnTo>
                  <a:pt x="464" y="1340"/>
                </a:lnTo>
                <a:lnTo>
                  <a:pt x="466" y="1342"/>
                </a:lnTo>
                <a:lnTo>
                  <a:pt x="468" y="1343"/>
                </a:lnTo>
                <a:lnTo>
                  <a:pt x="469" y="1345"/>
                </a:lnTo>
                <a:lnTo>
                  <a:pt x="470" y="1348"/>
                </a:lnTo>
                <a:lnTo>
                  <a:pt x="471" y="1350"/>
                </a:lnTo>
                <a:lnTo>
                  <a:pt x="471" y="1353"/>
                </a:lnTo>
                <a:lnTo>
                  <a:pt x="471" y="1355"/>
                </a:lnTo>
                <a:lnTo>
                  <a:pt x="470" y="1358"/>
                </a:lnTo>
                <a:lnTo>
                  <a:pt x="468" y="1360"/>
                </a:lnTo>
                <a:lnTo>
                  <a:pt x="466" y="1362"/>
                </a:lnTo>
                <a:lnTo>
                  <a:pt x="463" y="1364"/>
                </a:lnTo>
                <a:lnTo>
                  <a:pt x="460" y="1365"/>
                </a:lnTo>
                <a:lnTo>
                  <a:pt x="456" y="1365"/>
                </a:lnTo>
                <a:lnTo>
                  <a:pt x="454" y="1365"/>
                </a:lnTo>
                <a:lnTo>
                  <a:pt x="452" y="1364"/>
                </a:lnTo>
                <a:lnTo>
                  <a:pt x="450" y="1362"/>
                </a:lnTo>
                <a:lnTo>
                  <a:pt x="448" y="1361"/>
                </a:lnTo>
                <a:lnTo>
                  <a:pt x="447" y="1359"/>
                </a:lnTo>
                <a:lnTo>
                  <a:pt x="446" y="1356"/>
                </a:lnTo>
                <a:lnTo>
                  <a:pt x="445" y="1354"/>
                </a:lnTo>
                <a:lnTo>
                  <a:pt x="445" y="1351"/>
                </a:lnTo>
                <a:lnTo>
                  <a:pt x="445" y="1349"/>
                </a:lnTo>
                <a:lnTo>
                  <a:pt x="446" y="1346"/>
                </a:lnTo>
                <a:lnTo>
                  <a:pt x="448" y="1344"/>
                </a:lnTo>
                <a:lnTo>
                  <a:pt x="450" y="1341"/>
                </a:lnTo>
                <a:lnTo>
                  <a:pt x="453" y="1340"/>
                </a:lnTo>
                <a:lnTo>
                  <a:pt x="456" y="1339"/>
                </a:lnTo>
                <a:close/>
                <a:moveTo>
                  <a:pt x="485" y="1280"/>
                </a:moveTo>
                <a:lnTo>
                  <a:pt x="489" y="1280"/>
                </a:lnTo>
                <a:lnTo>
                  <a:pt x="491" y="1280"/>
                </a:lnTo>
                <a:lnTo>
                  <a:pt x="493" y="1281"/>
                </a:lnTo>
                <a:lnTo>
                  <a:pt x="496" y="1282"/>
                </a:lnTo>
                <a:lnTo>
                  <a:pt x="497" y="1284"/>
                </a:lnTo>
                <a:lnTo>
                  <a:pt x="499" y="1286"/>
                </a:lnTo>
                <a:lnTo>
                  <a:pt x="500" y="1289"/>
                </a:lnTo>
                <a:lnTo>
                  <a:pt x="500" y="1291"/>
                </a:lnTo>
                <a:lnTo>
                  <a:pt x="500" y="1294"/>
                </a:lnTo>
                <a:lnTo>
                  <a:pt x="500" y="1296"/>
                </a:lnTo>
                <a:lnTo>
                  <a:pt x="499" y="1299"/>
                </a:lnTo>
                <a:lnTo>
                  <a:pt x="497" y="1301"/>
                </a:lnTo>
                <a:lnTo>
                  <a:pt x="495" y="1303"/>
                </a:lnTo>
                <a:lnTo>
                  <a:pt x="492" y="1305"/>
                </a:lnTo>
                <a:lnTo>
                  <a:pt x="490" y="1306"/>
                </a:lnTo>
                <a:lnTo>
                  <a:pt x="485" y="1306"/>
                </a:lnTo>
                <a:lnTo>
                  <a:pt x="483" y="1305"/>
                </a:lnTo>
                <a:lnTo>
                  <a:pt x="481" y="1304"/>
                </a:lnTo>
                <a:lnTo>
                  <a:pt x="479" y="1303"/>
                </a:lnTo>
                <a:lnTo>
                  <a:pt x="477" y="1301"/>
                </a:lnTo>
                <a:lnTo>
                  <a:pt x="476" y="1299"/>
                </a:lnTo>
                <a:lnTo>
                  <a:pt x="475" y="1297"/>
                </a:lnTo>
                <a:lnTo>
                  <a:pt x="474" y="1294"/>
                </a:lnTo>
                <a:lnTo>
                  <a:pt x="474" y="1292"/>
                </a:lnTo>
                <a:lnTo>
                  <a:pt x="475" y="1289"/>
                </a:lnTo>
                <a:lnTo>
                  <a:pt x="476" y="1287"/>
                </a:lnTo>
                <a:lnTo>
                  <a:pt x="477" y="1284"/>
                </a:lnTo>
                <a:lnTo>
                  <a:pt x="480" y="1282"/>
                </a:lnTo>
                <a:lnTo>
                  <a:pt x="482" y="1281"/>
                </a:lnTo>
                <a:lnTo>
                  <a:pt x="485" y="1280"/>
                </a:lnTo>
                <a:close/>
                <a:moveTo>
                  <a:pt x="516" y="1221"/>
                </a:moveTo>
                <a:lnTo>
                  <a:pt x="520" y="1221"/>
                </a:lnTo>
                <a:lnTo>
                  <a:pt x="524" y="1222"/>
                </a:lnTo>
                <a:lnTo>
                  <a:pt x="526" y="1224"/>
                </a:lnTo>
                <a:lnTo>
                  <a:pt x="528" y="1226"/>
                </a:lnTo>
                <a:lnTo>
                  <a:pt x="529" y="1228"/>
                </a:lnTo>
                <a:lnTo>
                  <a:pt x="530" y="1230"/>
                </a:lnTo>
                <a:lnTo>
                  <a:pt x="531" y="1233"/>
                </a:lnTo>
                <a:lnTo>
                  <a:pt x="531" y="1235"/>
                </a:lnTo>
                <a:lnTo>
                  <a:pt x="530" y="1238"/>
                </a:lnTo>
                <a:lnTo>
                  <a:pt x="529" y="1240"/>
                </a:lnTo>
                <a:lnTo>
                  <a:pt x="528" y="1243"/>
                </a:lnTo>
                <a:lnTo>
                  <a:pt x="525" y="1245"/>
                </a:lnTo>
                <a:lnTo>
                  <a:pt x="523" y="1246"/>
                </a:lnTo>
                <a:lnTo>
                  <a:pt x="520" y="1247"/>
                </a:lnTo>
                <a:lnTo>
                  <a:pt x="516" y="1247"/>
                </a:lnTo>
                <a:lnTo>
                  <a:pt x="512" y="1246"/>
                </a:lnTo>
                <a:lnTo>
                  <a:pt x="509" y="1244"/>
                </a:lnTo>
                <a:lnTo>
                  <a:pt x="508" y="1242"/>
                </a:lnTo>
                <a:lnTo>
                  <a:pt x="506" y="1240"/>
                </a:lnTo>
                <a:lnTo>
                  <a:pt x="505" y="1238"/>
                </a:lnTo>
                <a:lnTo>
                  <a:pt x="505" y="1235"/>
                </a:lnTo>
                <a:lnTo>
                  <a:pt x="505" y="1233"/>
                </a:lnTo>
                <a:lnTo>
                  <a:pt x="505" y="1230"/>
                </a:lnTo>
                <a:lnTo>
                  <a:pt x="506" y="1228"/>
                </a:lnTo>
                <a:lnTo>
                  <a:pt x="508" y="1225"/>
                </a:lnTo>
                <a:lnTo>
                  <a:pt x="510" y="1223"/>
                </a:lnTo>
                <a:lnTo>
                  <a:pt x="513" y="1222"/>
                </a:lnTo>
                <a:lnTo>
                  <a:pt x="516" y="1221"/>
                </a:lnTo>
                <a:close/>
                <a:moveTo>
                  <a:pt x="547" y="1163"/>
                </a:moveTo>
                <a:lnTo>
                  <a:pt x="552" y="1163"/>
                </a:lnTo>
                <a:lnTo>
                  <a:pt x="554" y="1164"/>
                </a:lnTo>
                <a:lnTo>
                  <a:pt x="556" y="1164"/>
                </a:lnTo>
                <a:lnTo>
                  <a:pt x="558" y="1166"/>
                </a:lnTo>
                <a:lnTo>
                  <a:pt x="560" y="1168"/>
                </a:lnTo>
                <a:lnTo>
                  <a:pt x="561" y="1170"/>
                </a:lnTo>
                <a:lnTo>
                  <a:pt x="562" y="1172"/>
                </a:lnTo>
                <a:lnTo>
                  <a:pt x="563" y="1175"/>
                </a:lnTo>
                <a:lnTo>
                  <a:pt x="563" y="1177"/>
                </a:lnTo>
                <a:lnTo>
                  <a:pt x="562" y="1180"/>
                </a:lnTo>
                <a:lnTo>
                  <a:pt x="561" y="1182"/>
                </a:lnTo>
                <a:lnTo>
                  <a:pt x="559" y="1185"/>
                </a:lnTo>
                <a:lnTo>
                  <a:pt x="557" y="1187"/>
                </a:lnTo>
                <a:lnTo>
                  <a:pt x="555" y="1188"/>
                </a:lnTo>
                <a:lnTo>
                  <a:pt x="552" y="1189"/>
                </a:lnTo>
                <a:lnTo>
                  <a:pt x="547" y="1189"/>
                </a:lnTo>
                <a:lnTo>
                  <a:pt x="545" y="1188"/>
                </a:lnTo>
                <a:lnTo>
                  <a:pt x="543" y="1187"/>
                </a:lnTo>
                <a:lnTo>
                  <a:pt x="541" y="1186"/>
                </a:lnTo>
                <a:lnTo>
                  <a:pt x="539" y="1184"/>
                </a:lnTo>
                <a:lnTo>
                  <a:pt x="538" y="1182"/>
                </a:lnTo>
                <a:lnTo>
                  <a:pt x="537" y="1179"/>
                </a:lnTo>
                <a:lnTo>
                  <a:pt x="537" y="1177"/>
                </a:lnTo>
                <a:lnTo>
                  <a:pt x="537" y="1174"/>
                </a:lnTo>
                <a:lnTo>
                  <a:pt x="537" y="1172"/>
                </a:lnTo>
                <a:lnTo>
                  <a:pt x="538" y="1169"/>
                </a:lnTo>
                <a:lnTo>
                  <a:pt x="540" y="1167"/>
                </a:lnTo>
                <a:lnTo>
                  <a:pt x="542" y="1165"/>
                </a:lnTo>
                <a:lnTo>
                  <a:pt x="545" y="1164"/>
                </a:lnTo>
                <a:lnTo>
                  <a:pt x="547" y="1163"/>
                </a:lnTo>
                <a:close/>
                <a:moveTo>
                  <a:pt x="580" y="1105"/>
                </a:moveTo>
                <a:lnTo>
                  <a:pt x="585" y="1105"/>
                </a:lnTo>
                <a:lnTo>
                  <a:pt x="587" y="1105"/>
                </a:lnTo>
                <a:lnTo>
                  <a:pt x="589" y="1106"/>
                </a:lnTo>
                <a:lnTo>
                  <a:pt x="592" y="1108"/>
                </a:lnTo>
                <a:lnTo>
                  <a:pt x="593" y="1110"/>
                </a:lnTo>
                <a:lnTo>
                  <a:pt x="595" y="1112"/>
                </a:lnTo>
                <a:lnTo>
                  <a:pt x="595" y="1114"/>
                </a:lnTo>
                <a:lnTo>
                  <a:pt x="596" y="1117"/>
                </a:lnTo>
                <a:lnTo>
                  <a:pt x="596" y="1119"/>
                </a:lnTo>
                <a:lnTo>
                  <a:pt x="595" y="1122"/>
                </a:lnTo>
                <a:lnTo>
                  <a:pt x="594" y="1124"/>
                </a:lnTo>
                <a:lnTo>
                  <a:pt x="593" y="1126"/>
                </a:lnTo>
                <a:lnTo>
                  <a:pt x="592" y="1127"/>
                </a:lnTo>
                <a:lnTo>
                  <a:pt x="590" y="1128"/>
                </a:lnTo>
                <a:lnTo>
                  <a:pt x="588" y="1130"/>
                </a:lnTo>
                <a:lnTo>
                  <a:pt x="585" y="1131"/>
                </a:lnTo>
                <a:lnTo>
                  <a:pt x="580" y="1131"/>
                </a:lnTo>
                <a:lnTo>
                  <a:pt x="578" y="1130"/>
                </a:lnTo>
                <a:lnTo>
                  <a:pt x="576" y="1129"/>
                </a:lnTo>
                <a:lnTo>
                  <a:pt x="574" y="1127"/>
                </a:lnTo>
                <a:lnTo>
                  <a:pt x="572" y="1125"/>
                </a:lnTo>
                <a:lnTo>
                  <a:pt x="571" y="1123"/>
                </a:lnTo>
                <a:lnTo>
                  <a:pt x="570" y="1121"/>
                </a:lnTo>
                <a:lnTo>
                  <a:pt x="570" y="1118"/>
                </a:lnTo>
                <a:lnTo>
                  <a:pt x="570" y="1116"/>
                </a:lnTo>
                <a:lnTo>
                  <a:pt x="570" y="1113"/>
                </a:lnTo>
                <a:lnTo>
                  <a:pt x="571" y="1111"/>
                </a:lnTo>
                <a:lnTo>
                  <a:pt x="572" y="1110"/>
                </a:lnTo>
                <a:lnTo>
                  <a:pt x="573" y="1109"/>
                </a:lnTo>
                <a:lnTo>
                  <a:pt x="575" y="1107"/>
                </a:lnTo>
                <a:lnTo>
                  <a:pt x="578" y="1105"/>
                </a:lnTo>
                <a:lnTo>
                  <a:pt x="580" y="1105"/>
                </a:lnTo>
                <a:close/>
                <a:moveTo>
                  <a:pt x="615" y="1048"/>
                </a:moveTo>
                <a:lnTo>
                  <a:pt x="620" y="1048"/>
                </a:lnTo>
                <a:lnTo>
                  <a:pt x="622" y="1049"/>
                </a:lnTo>
                <a:lnTo>
                  <a:pt x="624" y="1050"/>
                </a:lnTo>
                <a:lnTo>
                  <a:pt x="626" y="1052"/>
                </a:lnTo>
                <a:lnTo>
                  <a:pt x="628" y="1054"/>
                </a:lnTo>
                <a:lnTo>
                  <a:pt x="629" y="1056"/>
                </a:lnTo>
                <a:lnTo>
                  <a:pt x="630" y="1058"/>
                </a:lnTo>
                <a:lnTo>
                  <a:pt x="630" y="1061"/>
                </a:lnTo>
                <a:lnTo>
                  <a:pt x="630" y="1063"/>
                </a:lnTo>
                <a:lnTo>
                  <a:pt x="629" y="1066"/>
                </a:lnTo>
                <a:lnTo>
                  <a:pt x="628" y="1068"/>
                </a:lnTo>
                <a:lnTo>
                  <a:pt x="627" y="1070"/>
                </a:lnTo>
                <a:lnTo>
                  <a:pt x="624" y="1072"/>
                </a:lnTo>
                <a:lnTo>
                  <a:pt x="622" y="1073"/>
                </a:lnTo>
                <a:lnTo>
                  <a:pt x="619" y="1074"/>
                </a:lnTo>
                <a:lnTo>
                  <a:pt x="615" y="1074"/>
                </a:lnTo>
                <a:lnTo>
                  <a:pt x="612" y="1073"/>
                </a:lnTo>
                <a:lnTo>
                  <a:pt x="610" y="1072"/>
                </a:lnTo>
                <a:lnTo>
                  <a:pt x="608" y="1071"/>
                </a:lnTo>
                <a:lnTo>
                  <a:pt x="606" y="1069"/>
                </a:lnTo>
                <a:lnTo>
                  <a:pt x="605" y="1066"/>
                </a:lnTo>
                <a:lnTo>
                  <a:pt x="604" y="1064"/>
                </a:lnTo>
                <a:lnTo>
                  <a:pt x="604" y="1062"/>
                </a:lnTo>
                <a:lnTo>
                  <a:pt x="604" y="1059"/>
                </a:lnTo>
                <a:lnTo>
                  <a:pt x="605" y="1057"/>
                </a:lnTo>
                <a:lnTo>
                  <a:pt x="606" y="1054"/>
                </a:lnTo>
                <a:lnTo>
                  <a:pt x="608" y="1052"/>
                </a:lnTo>
                <a:lnTo>
                  <a:pt x="610" y="1050"/>
                </a:lnTo>
                <a:lnTo>
                  <a:pt x="612" y="1049"/>
                </a:lnTo>
                <a:lnTo>
                  <a:pt x="615" y="1048"/>
                </a:lnTo>
                <a:close/>
                <a:moveTo>
                  <a:pt x="651" y="993"/>
                </a:moveTo>
                <a:lnTo>
                  <a:pt x="656" y="993"/>
                </a:lnTo>
                <a:lnTo>
                  <a:pt x="658" y="993"/>
                </a:lnTo>
                <a:lnTo>
                  <a:pt x="660" y="995"/>
                </a:lnTo>
                <a:lnTo>
                  <a:pt x="662" y="996"/>
                </a:lnTo>
                <a:lnTo>
                  <a:pt x="664" y="998"/>
                </a:lnTo>
                <a:lnTo>
                  <a:pt x="665" y="1000"/>
                </a:lnTo>
                <a:lnTo>
                  <a:pt x="666" y="1003"/>
                </a:lnTo>
                <a:lnTo>
                  <a:pt x="666" y="1008"/>
                </a:lnTo>
                <a:lnTo>
                  <a:pt x="665" y="1010"/>
                </a:lnTo>
                <a:lnTo>
                  <a:pt x="664" y="1013"/>
                </a:lnTo>
                <a:lnTo>
                  <a:pt x="662" y="1015"/>
                </a:lnTo>
                <a:lnTo>
                  <a:pt x="660" y="1017"/>
                </a:lnTo>
                <a:lnTo>
                  <a:pt x="658" y="1018"/>
                </a:lnTo>
                <a:lnTo>
                  <a:pt x="655" y="1018"/>
                </a:lnTo>
                <a:lnTo>
                  <a:pt x="650" y="1018"/>
                </a:lnTo>
                <a:lnTo>
                  <a:pt x="648" y="1018"/>
                </a:lnTo>
                <a:lnTo>
                  <a:pt x="646" y="1016"/>
                </a:lnTo>
                <a:lnTo>
                  <a:pt x="644" y="1015"/>
                </a:lnTo>
                <a:lnTo>
                  <a:pt x="642" y="1013"/>
                </a:lnTo>
                <a:lnTo>
                  <a:pt x="641" y="1011"/>
                </a:lnTo>
                <a:lnTo>
                  <a:pt x="640" y="1008"/>
                </a:lnTo>
                <a:lnTo>
                  <a:pt x="640" y="1003"/>
                </a:lnTo>
                <a:lnTo>
                  <a:pt x="641" y="1001"/>
                </a:lnTo>
                <a:lnTo>
                  <a:pt x="642" y="998"/>
                </a:lnTo>
                <a:lnTo>
                  <a:pt x="644" y="996"/>
                </a:lnTo>
                <a:lnTo>
                  <a:pt x="646" y="994"/>
                </a:lnTo>
                <a:lnTo>
                  <a:pt x="648" y="993"/>
                </a:lnTo>
                <a:lnTo>
                  <a:pt x="651" y="993"/>
                </a:lnTo>
                <a:close/>
                <a:moveTo>
                  <a:pt x="688" y="938"/>
                </a:moveTo>
                <a:lnTo>
                  <a:pt x="693" y="938"/>
                </a:lnTo>
                <a:lnTo>
                  <a:pt x="695" y="939"/>
                </a:lnTo>
                <a:lnTo>
                  <a:pt x="698" y="940"/>
                </a:lnTo>
                <a:lnTo>
                  <a:pt x="700" y="942"/>
                </a:lnTo>
                <a:lnTo>
                  <a:pt x="701" y="944"/>
                </a:lnTo>
                <a:lnTo>
                  <a:pt x="702" y="946"/>
                </a:lnTo>
                <a:lnTo>
                  <a:pt x="703" y="949"/>
                </a:lnTo>
                <a:lnTo>
                  <a:pt x="703" y="954"/>
                </a:lnTo>
                <a:lnTo>
                  <a:pt x="702" y="956"/>
                </a:lnTo>
                <a:lnTo>
                  <a:pt x="701" y="958"/>
                </a:lnTo>
                <a:lnTo>
                  <a:pt x="699" y="960"/>
                </a:lnTo>
                <a:lnTo>
                  <a:pt x="697" y="962"/>
                </a:lnTo>
                <a:lnTo>
                  <a:pt x="695" y="963"/>
                </a:lnTo>
                <a:lnTo>
                  <a:pt x="692" y="964"/>
                </a:lnTo>
                <a:lnTo>
                  <a:pt x="687" y="964"/>
                </a:lnTo>
                <a:lnTo>
                  <a:pt x="685" y="963"/>
                </a:lnTo>
                <a:lnTo>
                  <a:pt x="683" y="962"/>
                </a:lnTo>
                <a:lnTo>
                  <a:pt x="681" y="960"/>
                </a:lnTo>
                <a:lnTo>
                  <a:pt x="679" y="958"/>
                </a:lnTo>
                <a:lnTo>
                  <a:pt x="678" y="956"/>
                </a:lnTo>
                <a:lnTo>
                  <a:pt x="677" y="953"/>
                </a:lnTo>
                <a:lnTo>
                  <a:pt x="677" y="948"/>
                </a:lnTo>
                <a:lnTo>
                  <a:pt x="678" y="946"/>
                </a:lnTo>
                <a:lnTo>
                  <a:pt x="679" y="943"/>
                </a:lnTo>
                <a:lnTo>
                  <a:pt x="681" y="941"/>
                </a:lnTo>
                <a:lnTo>
                  <a:pt x="683" y="940"/>
                </a:lnTo>
                <a:lnTo>
                  <a:pt x="685" y="939"/>
                </a:lnTo>
                <a:lnTo>
                  <a:pt x="688" y="938"/>
                </a:lnTo>
                <a:close/>
                <a:moveTo>
                  <a:pt x="2925" y="500"/>
                </a:moveTo>
                <a:lnTo>
                  <a:pt x="2927" y="499"/>
                </a:lnTo>
                <a:lnTo>
                  <a:pt x="2930" y="500"/>
                </a:lnTo>
                <a:lnTo>
                  <a:pt x="2933" y="501"/>
                </a:lnTo>
                <a:lnTo>
                  <a:pt x="2935" y="502"/>
                </a:lnTo>
                <a:lnTo>
                  <a:pt x="2937" y="504"/>
                </a:lnTo>
                <a:lnTo>
                  <a:pt x="2938" y="506"/>
                </a:lnTo>
                <a:lnTo>
                  <a:pt x="2939" y="508"/>
                </a:lnTo>
                <a:lnTo>
                  <a:pt x="2940" y="510"/>
                </a:lnTo>
                <a:lnTo>
                  <a:pt x="2940" y="513"/>
                </a:lnTo>
                <a:lnTo>
                  <a:pt x="2940" y="516"/>
                </a:lnTo>
                <a:lnTo>
                  <a:pt x="2938" y="519"/>
                </a:lnTo>
                <a:lnTo>
                  <a:pt x="2936" y="522"/>
                </a:lnTo>
                <a:lnTo>
                  <a:pt x="2933" y="524"/>
                </a:lnTo>
                <a:lnTo>
                  <a:pt x="2929" y="526"/>
                </a:lnTo>
                <a:lnTo>
                  <a:pt x="2927" y="526"/>
                </a:lnTo>
                <a:lnTo>
                  <a:pt x="2924" y="525"/>
                </a:lnTo>
                <a:lnTo>
                  <a:pt x="2921" y="524"/>
                </a:lnTo>
                <a:lnTo>
                  <a:pt x="2919" y="523"/>
                </a:lnTo>
                <a:lnTo>
                  <a:pt x="2917" y="521"/>
                </a:lnTo>
                <a:lnTo>
                  <a:pt x="2916" y="519"/>
                </a:lnTo>
                <a:lnTo>
                  <a:pt x="2915" y="517"/>
                </a:lnTo>
                <a:lnTo>
                  <a:pt x="2914" y="515"/>
                </a:lnTo>
                <a:lnTo>
                  <a:pt x="2914" y="512"/>
                </a:lnTo>
                <a:lnTo>
                  <a:pt x="2914" y="510"/>
                </a:lnTo>
                <a:lnTo>
                  <a:pt x="2916" y="506"/>
                </a:lnTo>
                <a:lnTo>
                  <a:pt x="2918" y="503"/>
                </a:lnTo>
                <a:lnTo>
                  <a:pt x="2921" y="501"/>
                </a:lnTo>
                <a:lnTo>
                  <a:pt x="2925" y="500"/>
                </a:lnTo>
                <a:close/>
                <a:moveTo>
                  <a:pt x="727" y="884"/>
                </a:moveTo>
                <a:lnTo>
                  <a:pt x="729" y="884"/>
                </a:lnTo>
                <a:lnTo>
                  <a:pt x="732" y="884"/>
                </a:lnTo>
                <a:lnTo>
                  <a:pt x="734" y="885"/>
                </a:lnTo>
                <a:lnTo>
                  <a:pt x="738" y="887"/>
                </a:lnTo>
                <a:lnTo>
                  <a:pt x="740" y="888"/>
                </a:lnTo>
                <a:lnTo>
                  <a:pt x="741" y="890"/>
                </a:lnTo>
                <a:lnTo>
                  <a:pt x="742" y="893"/>
                </a:lnTo>
                <a:lnTo>
                  <a:pt x="743" y="895"/>
                </a:lnTo>
                <a:lnTo>
                  <a:pt x="743" y="898"/>
                </a:lnTo>
                <a:lnTo>
                  <a:pt x="743" y="900"/>
                </a:lnTo>
                <a:lnTo>
                  <a:pt x="742" y="903"/>
                </a:lnTo>
                <a:lnTo>
                  <a:pt x="740" y="905"/>
                </a:lnTo>
                <a:lnTo>
                  <a:pt x="739" y="907"/>
                </a:lnTo>
                <a:lnTo>
                  <a:pt x="737" y="908"/>
                </a:lnTo>
                <a:lnTo>
                  <a:pt x="734" y="909"/>
                </a:lnTo>
                <a:lnTo>
                  <a:pt x="731" y="910"/>
                </a:lnTo>
                <a:lnTo>
                  <a:pt x="729" y="910"/>
                </a:lnTo>
                <a:lnTo>
                  <a:pt x="726" y="910"/>
                </a:lnTo>
                <a:lnTo>
                  <a:pt x="723" y="909"/>
                </a:lnTo>
                <a:lnTo>
                  <a:pt x="721" y="908"/>
                </a:lnTo>
                <a:lnTo>
                  <a:pt x="719" y="906"/>
                </a:lnTo>
                <a:lnTo>
                  <a:pt x="718" y="904"/>
                </a:lnTo>
                <a:lnTo>
                  <a:pt x="717" y="902"/>
                </a:lnTo>
                <a:lnTo>
                  <a:pt x="716" y="899"/>
                </a:lnTo>
                <a:lnTo>
                  <a:pt x="716" y="897"/>
                </a:lnTo>
                <a:lnTo>
                  <a:pt x="716" y="894"/>
                </a:lnTo>
                <a:lnTo>
                  <a:pt x="717" y="892"/>
                </a:lnTo>
                <a:lnTo>
                  <a:pt x="718" y="889"/>
                </a:lnTo>
                <a:lnTo>
                  <a:pt x="720" y="887"/>
                </a:lnTo>
                <a:lnTo>
                  <a:pt x="722" y="886"/>
                </a:lnTo>
                <a:lnTo>
                  <a:pt x="724" y="885"/>
                </a:lnTo>
                <a:lnTo>
                  <a:pt x="727" y="884"/>
                </a:lnTo>
                <a:close/>
                <a:moveTo>
                  <a:pt x="2860" y="484"/>
                </a:moveTo>
                <a:lnTo>
                  <a:pt x="2863" y="484"/>
                </a:lnTo>
                <a:lnTo>
                  <a:pt x="2866" y="484"/>
                </a:lnTo>
                <a:lnTo>
                  <a:pt x="2868" y="485"/>
                </a:lnTo>
                <a:lnTo>
                  <a:pt x="2871" y="487"/>
                </a:lnTo>
                <a:lnTo>
                  <a:pt x="2872" y="488"/>
                </a:lnTo>
                <a:lnTo>
                  <a:pt x="2874" y="490"/>
                </a:lnTo>
                <a:lnTo>
                  <a:pt x="2875" y="493"/>
                </a:lnTo>
                <a:lnTo>
                  <a:pt x="2876" y="495"/>
                </a:lnTo>
                <a:lnTo>
                  <a:pt x="2876" y="498"/>
                </a:lnTo>
                <a:lnTo>
                  <a:pt x="2875" y="500"/>
                </a:lnTo>
                <a:lnTo>
                  <a:pt x="2875" y="502"/>
                </a:lnTo>
                <a:lnTo>
                  <a:pt x="2874" y="504"/>
                </a:lnTo>
                <a:lnTo>
                  <a:pt x="2872" y="507"/>
                </a:lnTo>
                <a:lnTo>
                  <a:pt x="2869" y="509"/>
                </a:lnTo>
                <a:lnTo>
                  <a:pt x="2865" y="510"/>
                </a:lnTo>
                <a:lnTo>
                  <a:pt x="2862" y="510"/>
                </a:lnTo>
                <a:lnTo>
                  <a:pt x="2860" y="510"/>
                </a:lnTo>
                <a:lnTo>
                  <a:pt x="2857" y="509"/>
                </a:lnTo>
                <a:lnTo>
                  <a:pt x="2855" y="508"/>
                </a:lnTo>
                <a:lnTo>
                  <a:pt x="2853" y="506"/>
                </a:lnTo>
                <a:lnTo>
                  <a:pt x="2852" y="504"/>
                </a:lnTo>
                <a:lnTo>
                  <a:pt x="2850" y="502"/>
                </a:lnTo>
                <a:lnTo>
                  <a:pt x="2850" y="499"/>
                </a:lnTo>
                <a:lnTo>
                  <a:pt x="2850" y="497"/>
                </a:lnTo>
                <a:lnTo>
                  <a:pt x="2850" y="494"/>
                </a:lnTo>
                <a:lnTo>
                  <a:pt x="2851" y="492"/>
                </a:lnTo>
                <a:lnTo>
                  <a:pt x="2851" y="490"/>
                </a:lnTo>
                <a:lnTo>
                  <a:pt x="2854" y="487"/>
                </a:lnTo>
                <a:lnTo>
                  <a:pt x="2857" y="485"/>
                </a:lnTo>
                <a:lnTo>
                  <a:pt x="2860" y="484"/>
                </a:lnTo>
                <a:close/>
                <a:moveTo>
                  <a:pt x="768" y="832"/>
                </a:moveTo>
                <a:lnTo>
                  <a:pt x="770" y="831"/>
                </a:lnTo>
                <a:lnTo>
                  <a:pt x="773" y="832"/>
                </a:lnTo>
                <a:lnTo>
                  <a:pt x="776" y="833"/>
                </a:lnTo>
                <a:lnTo>
                  <a:pt x="778" y="834"/>
                </a:lnTo>
                <a:lnTo>
                  <a:pt x="780" y="836"/>
                </a:lnTo>
                <a:lnTo>
                  <a:pt x="782" y="838"/>
                </a:lnTo>
                <a:lnTo>
                  <a:pt x="783" y="841"/>
                </a:lnTo>
                <a:lnTo>
                  <a:pt x="783" y="843"/>
                </a:lnTo>
                <a:lnTo>
                  <a:pt x="783" y="846"/>
                </a:lnTo>
                <a:lnTo>
                  <a:pt x="783" y="848"/>
                </a:lnTo>
                <a:lnTo>
                  <a:pt x="782" y="850"/>
                </a:lnTo>
                <a:lnTo>
                  <a:pt x="780" y="853"/>
                </a:lnTo>
                <a:lnTo>
                  <a:pt x="779" y="855"/>
                </a:lnTo>
                <a:lnTo>
                  <a:pt x="777" y="856"/>
                </a:lnTo>
                <a:lnTo>
                  <a:pt x="775" y="857"/>
                </a:lnTo>
                <a:lnTo>
                  <a:pt x="772" y="858"/>
                </a:lnTo>
                <a:lnTo>
                  <a:pt x="770" y="858"/>
                </a:lnTo>
                <a:lnTo>
                  <a:pt x="767" y="857"/>
                </a:lnTo>
                <a:lnTo>
                  <a:pt x="764" y="856"/>
                </a:lnTo>
                <a:lnTo>
                  <a:pt x="762" y="855"/>
                </a:lnTo>
                <a:lnTo>
                  <a:pt x="760" y="853"/>
                </a:lnTo>
                <a:lnTo>
                  <a:pt x="759" y="851"/>
                </a:lnTo>
                <a:lnTo>
                  <a:pt x="758" y="849"/>
                </a:lnTo>
                <a:lnTo>
                  <a:pt x="757" y="846"/>
                </a:lnTo>
                <a:lnTo>
                  <a:pt x="757" y="844"/>
                </a:lnTo>
                <a:lnTo>
                  <a:pt x="757" y="841"/>
                </a:lnTo>
                <a:lnTo>
                  <a:pt x="758" y="839"/>
                </a:lnTo>
                <a:lnTo>
                  <a:pt x="760" y="836"/>
                </a:lnTo>
                <a:lnTo>
                  <a:pt x="761" y="835"/>
                </a:lnTo>
                <a:lnTo>
                  <a:pt x="763" y="833"/>
                </a:lnTo>
                <a:lnTo>
                  <a:pt x="766" y="832"/>
                </a:lnTo>
                <a:lnTo>
                  <a:pt x="768" y="832"/>
                </a:lnTo>
                <a:close/>
                <a:moveTo>
                  <a:pt x="2796" y="468"/>
                </a:moveTo>
                <a:lnTo>
                  <a:pt x="2799" y="468"/>
                </a:lnTo>
                <a:lnTo>
                  <a:pt x="2802" y="469"/>
                </a:lnTo>
                <a:lnTo>
                  <a:pt x="2804" y="469"/>
                </a:lnTo>
                <a:lnTo>
                  <a:pt x="2806" y="471"/>
                </a:lnTo>
                <a:lnTo>
                  <a:pt x="2808" y="473"/>
                </a:lnTo>
                <a:lnTo>
                  <a:pt x="2810" y="475"/>
                </a:lnTo>
                <a:lnTo>
                  <a:pt x="2811" y="477"/>
                </a:lnTo>
                <a:lnTo>
                  <a:pt x="2811" y="479"/>
                </a:lnTo>
                <a:lnTo>
                  <a:pt x="2812" y="482"/>
                </a:lnTo>
                <a:lnTo>
                  <a:pt x="2811" y="484"/>
                </a:lnTo>
                <a:lnTo>
                  <a:pt x="2811" y="486"/>
                </a:lnTo>
                <a:lnTo>
                  <a:pt x="2810" y="488"/>
                </a:lnTo>
                <a:lnTo>
                  <a:pt x="2807" y="491"/>
                </a:lnTo>
                <a:lnTo>
                  <a:pt x="2804" y="493"/>
                </a:lnTo>
                <a:lnTo>
                  <a:pt x="2801" y="494"/>
                </a:lnTo>
                <a:lnTo>
                  <a:pt x="2798" y="494"/>
                </a:lnTo>
                <a:lnTo>
                  <a:pt x="2795" y="494"/>
                </a:lnTo>
                <a:lnTo>
                  <a:pt x="2793" y="493"/>
                </a:lnTo>
                <a:lnTo>
                  <a:pt x="2791" y="492"/>
                </a:lnTo>
                <a:lnTo>
                  <a:pt x="2789" y="490"/>
                </a:lnTo>
                <a:lnTo>
                  <a:pt x="2787" y="488"/>
                </a:lnTo>
                <a:lnTo>
                  <a:pt x="2786" y="486"/>
                </a:lnTo>
                <a:lnTo>
                  <a:pt x="2786" y="483"/>
                </a:lnTo>
                <a:lnTo>
                  <a:pt x="2785" y="481"/>
                </a:lnTo>
                <a:lnTo>
                  <a:pt x="2786" y="478"/>
                </a:lnTo>
                <a:lnTo>
                  <a:pt x="2786" y="476"/>
                </a:lnTo>
                <a:lnTo>
                  <a:pt x="2787" y="475"/>
                </a:lnTo>
                <a:lnTo>
                  <a:pt x="2790" y="472"/>
                </a:lnTo>
                <a:lnTo>
                  <a:pt x="2793" y="470"/>
                </a:lnTo>
                <a:lnTo>
                  <a:pt x="2796" y="468"/>
                </a:lnTo>
                <a:close/>
                <a:moveTo>
                  <a:pt x="2732" y="452"/>
                </a:moveTo>
                <a:lnTo>
                  <a:pt x="2735" y="452"/>
                </a:lnTo>
                <a:lnTo>
                  <a:pt x="2737" y="453"/>
                </a:lnTo>
                <a:lnTo>
                  <a:pt x="2740" y="454"/>
                </a:lnTo>
                <a:lnTo>
                  <a:pt x="2742" y="455"/>
                </a:lnTo>
                <a:lnTo>
                  <a:pt x="2744" y="457"/>
                </a:lnTo>
                <a:lnTo>
                  <a:pt x="2746" y="459"/>
                </a:lnTo>
                <a:lnTo>
                  <a:pt x="2747" y="461"/>
                </a:lnTo>
                <a:lnTo>
                  <a:pt x="2747" y="463"/>
                </a:lnTo>
                <a:lnTo>
                  <a:pt x="2747" y="466"/>
                </a:lnTo>
                <a:lnTo>
                  <a:pt x="2747" y="469"/>
                </a:lnTo>
                <a:lnTo>
                  <a:pt x="2746" y="470"/>
                </a:lnTo>
                <a:lnTo>
                  <a:pt x="2746" y="472"/>
                </a:lnTo>
                <a:lnTo>
                  <a:pt x="2743" y="475"/>
                </a:lnTo>
                <a:lnTo>
                  <a:pt x="2740" y="477"/>
                </a:lnTo>
                <a:lnTo>
                  <a:pt x="2737" y="478"/>
                </a:lnTo>
                <a:lnTo>
                  <a:pt x="2734" y="478"/>
                </a:lnTo>
                <a:lnTo>
                  <a:pt x="2731" y="478"/>
                </a:lnTo>
                <a:lnTo>
                  <a:pt x="2729" y="477"/>
                </a:lnTo>
                <a:lnTo>
                  <a:pt x="2726" y="476"/>
                </a:lnTo>
                <a:lnTo>
                  <a:pt x="2725" y="474"/>
                </a:lnTo>
                <a:lnTo>
                  <a:pt x="2723" y="472"/>
                </a:lnTo>
                <a:lnTo>
                  <a:pt x="2722" y="470"/>
                </a:lnTo>
                <a:lnTo>
                  <a:pt x="2721" y="467"/>
                </a:lnTo>
                <a:lnTo>
                  <a:pt x="2721" y="465"/>
                </a:lnTo>
                <a:lnTo>
                  <a:pt x="2722" y="462"/>
                </a:lnTo>
                <a:lnTo>
                  <a:pt x="2722" y="460"/>
                </a:lnTo>
                <a:lnTo>
                  <a:pt x="2723" y="459"/>
                </a:lnTo>
                <a:lnTo>
                  <a:pt x="2725" y="456"/>
                </a:lnTo>
                <a:lnTo>
                  <a:pt x="2728" y="454"/>
                </a:lnTo>
                <a:lnTo>
                  <a:pt x="2732" y="452"/>
                </a:lnTo>
                <a:close/>
                <a:moveTo>
                  <a:pt x="810" y="780"/>
                </a:moveTo>
                <a:lnTo>
                  <a:pt x="812" y="780"/>
                </a:lnTo>
                <a:lnTo>
                  <a:pt x="815" y="781"/>
                </a:lnTo>
                <a:lnTo>
                  <a:pt x="818" y="782"/>
                </a:lnTo>
                <a:lnTo>
                  <a:pt x="820" y="783"/>
                </a:lnTo>
                <a:lnTo>
                  <a:pt x="822" y="785"/>
                </a:lnTo>
                <a:lnTo>
                  <a:pt x="823" y="787"/>
                </a:lnTo>
                <a:lnTo>
                  <a:pt x="825" y="792"/>
                </a:lnTo>
                <a:lnTo>
                  <a:pt x="825" y="795"/>
                </a:lnTo>
                <a:lnTo>
                  <a:pt x="824" y="797"/>
                </a:lnTo>
                <a:lnTo>
                  <a:pt x="823" y="800"/>
                </a:lnTo>
                <a:lnTo>
                  <a:pt x="822" y="802"/>
                </a:lnTo>
                <a:lnTo>
                  <a:pt x="820" y="803"/>
                </a:lnTo>
                <a:lnTo>
                  <a:pt x="818" y="805"/>
                </a:lnTo>
                <a:lnTo>
                  <a:pt x="816" y="806"/>
                </a:lnTo>
                <a:lnTo>
                  <a:pt x="814" y="806"/>
                </a:lnTo>
                <a:lnTo>
                  <a:pt x="811" y="806"/>
                </a:lnTo>
                <a:lnTo>
                  <a:pt x="808" y="806"/>
                </a:lnTo>
                <a:lnTo>
                  <a:pt x="806" y="805"/>
                </a:lnTo>
                <a:lnTo>
                  <a:pt x="803" y="803"/>
                </a:lnTo>
                <a:lnTo>
                  <a:pt x="802" y="801"/>
                </a:lnTo>
                <a:lnTo>
                  <a:pt x="800" y="799"/>
                </a:lnTo>
                <a:lnTo>
                  <a:pt x="799" y="794"/>
                </a:lnTo>
                <a:lnTo>
                  <a:pt x="799" y="792"/>
                </a:lnTo>
                <a:lnTo>
                  <a:pt x="799" y="789"/>
                </a:lnTo>
                <a:lnTo>
                  <a:pt x="800" y="787"/>
                </a:lnTo>
                <a:lnTo>
                  <a:pt x="802" y="785"/>
                </a:lnTo>
                <a:lnTo>
                  <a:pt x="803" y="783"/>
                </a:lnTo>
                <a:lnTo>
                  <a:pt x="805" y="782"/>
                </a:lnTo>
                <a:lnTo>
                  <a:pt x="807" y="781"/>
                </a:lnTo>
                <a:lnTo>
                  <a:pt x="810" y="780"/>
                </a:lnTo>
                <a:close/>
                <a:moveTo>
                  <a:pt x="2668" y="436"/>
                </a:moveTo>
                <a:lnTo>
                  <a:pt x="2671" y="436"/>
                </a:lnTo>
                <a:lnTo>
                  <a:pt x="2673" y="437"/>
                </a:lnTo>
                <a:lnTo>
                  <a:pt x="2676" y="437"/>
                </a:lnTo>
                <a:lnTo>
                  <a:pt x="2678" y="439"/>
                </a:lnTo>
                <a:lnTo>
                  <a:pt x="2680" y="441"/>
                </a:lnTo>
                <a:lnTo>
                  <a:pt x="2681" y="443"/>
                </a:lnTo>
                <a:lnTo>
                  <a:pt x="2682" y="445"/>
                </a:lnTo>
                <a:lnTo>
                  <a:pt x="2683" y="447"/>
                </a:lnTo>
                <a:lnTo>
                  <a:pt x="2683" y="450"/>
                </a:lnTo>
                <a:lnTo>
                  <a:pt x="2683" y="452"/>
                </a:lnTo>
                <a:lnTo>
                  <a:pt x="2682" y="454"/>
                </a:lnTo>
                <a:lnTo>
                  <a:pt x="2681" y="456"/>
                </a:lnTo>
                <a:lnTo>
                  <a:pt x="2679" y="459"/>
                </a:lnTo>
                <a:lnTo>
                  <a:pt x="2676" y="461"/>
                </a:lnTo>
                <a:lnTo>
                  <a:pt x="2672" y="462"/>
                </a:lnTo>
                <a:lnTo>
                  <a:pt x="2670" y="462"/>
                </a:lnTo>
                <a:lnTo>
                  <a:pt x="2667" y="462"/>
                </a:lnTo>
                <a:lnTo>
                  <a:pt x="2664" y="461"/>
                </a:lnTo>
                <a:lnTo>
                  <a:pt x="2662" y="460"/>
                </a:lnTo>
                <a:lnTo>
                  <a:pt x="2660" y="458"/>
                </a:lnTo>
                <a:lnTo>
                  <a:pt x="2659" y="456"/>
                </a:lnTo>
                <a:lnTo>
                  <a:pt x="2658" y="454"/>
                </a:lnTo>
                <a:lnTo>
                  <a:pt x="2657" y="451"/>
                </a:lnTo>
                <a:lnTo>
                  <a:pt x="2657" y="449"/>
                </a:lnTo>
                <a:lnTo>
                  <a:pt x="2657" y="446"/>
                </a:lnTo>
                <a:lnTo>
                  <a:pt x="2658" y="444"/>
                </a:lnTo>
                <a:lnTo>
                  <a:pt x="2659" y="442"/>
                </a:lnTo>
                <a:lnTo>
                  <a:pt x="2661" y="440"/>
                </a:lnTo>
                <a:lnTo>
                  <a:pt x="2664" y="438"/>
                </a:lnTo>
                <a:lnTo>
                  <a:pt x="2668" y="436"/>
                </a:lnTo>
                <a:close/>
                <a:moveTo>
                  <a:pt x="853" y="730"/>
                </a:moveTo>
                <a:lnTo>
                  <a:pt x="856" y="730"/>
                </a:lnTo>
                <a:lnTo>
                  <a:pt x="859" y="731"/>
                </a:lnTo>
                <a:lnTo>
                  <a:pt x="861" y="732"/>
                </a:lnTo>
                <a:lnTo>
                  <a:pt x="864" y="733"/>
                </a:lnTo>
                <a:lnTo>
                  <a:pt x="866" y="735"/>
                </a:lnTo>
                <a:lnTo>
                  <a:pt x="867" y="738"/>
                </a:lnTo>
                <a:lnTo>
                  <a:pt x="867" y="739"/>
                </a:lnTo>
                <a:lnTo>
                  <a:pt x="868" y="740"/>
                </a:lnTo>
                <a:lnTo>
                  <a:pt x="868" y="743"/>
                </a:lnTo>
                <a:lnTo>
                  <a:pt x="868" y="748"/>
                </a:lnTo>
                <a:lnTo>
                  <a:pt x="866" y="750"/>
                </a:lnTo>
                <a:lnTo>
                  <a:pt x="865" y="752"/>
                </a:lnTo>
                <a:lnTo>
                  <a:pt x="863" y="754"/>
                </a:lnTo>
                <a:lnTo>
                  <a:pt x="861" y="755"/>
                </a:lnTo>
                <a:lnTo>
                  <a:pt x="857" y="756"/>
                </a:lnTo>
                <a:lnTo>
                  <a:pt x="854" y="756"/>
                </a:lnTo>
                <a:lnTo>
                  <a:pt x="852" y="756"/>
                </a:lnTo>
                <a:lnTo>
                  <a:pt x="849" y="755"/>
                </a:lnTo>
                <a:lnTo>
                  <a:pt x="846" y="753"/>
                </a:lnTo>
                <a:lnTo>
                  <a:pt x="845" y="751"/>
                </a:lnTo>
                <a:lnTo>
                  <a:pt x="843" y="749"/>
                </a:lnTo>
                <a:lnTo>
                  <a:pt x="843" y="748"/>
                </a:lnTo>
                <a:lnTo>
                  <a:pt x="842" y="746"/>
                </a:lnTo>
                <a:lnTo>
                  <a:pt x="842" y="744"/>
                </a:lnTo>
                <a:lnTo>
                  <a:pt x="843" y="739"/>
                </a:lnTo>
                <a:lnTo>
                  <a:pt x="844" y="737"/>
                </a:lnTo>
                <a:lnTo>
                  <a:pt x="845" y="735"/>
                </a:lnTo>
                <a:lnTo>
                  <a:pt x="847" y="733"/>
                </a:lnTo>
                <a:lnTo>
                  <a:pt x="849" y="732"/>
                </a:lnTo>
                <a:lnTo>
                  <a:pt x="853" y="730"/>
                </a:lnTo>
                <a:close/>
                <a:moveTo>
                  <a:pt x="2604" y="420"/>
                </a:moveTo>
                <a:lnTo>
                  <a:pt x="2606" y="420"/>
                </a:lnTo>
                <a:lnTo>
                  <a:pt x="2609" y="420"/>
                </a:lnTo>
                <a:lnTo>
                  <a:pt x="2612" y="421"/>
                </a:lnTo>
                <a:lnTo>
                  <a:pt x="2614" y="423"/>
                </a:lnTo>
                <a:lnTo>
                  <a:pt x="2616" y="424"/>
                </a:lnTo>
                <a:lnTo>
                  <a:pt x="2617" y="426"/>
                </a:lnTo>
                <a:lnTo>
                  <a:pt x="2618" y="429"/>
                </a:lnTo>
                <a:lnTo>
                  <a:pt x="2619" y="431"/>
                </a:lnTo>
                <a:lnTo>
                  <a:pt x="2619" y="434"/>
                </a:lnTo>
                <a:lnTo>
                  <a:pt x="2619" y="436"/>
                </a:lnTo>
                <a:lnTo>
                  <a:pt x="2618" y="438"/>
                </a:lnTo>
                <a:lnTo>
                  <a:pt x="2617" y="440"/>
                </a:lnTo>
                <a:lnTo>
                  <a:pt x="2615" y="443"/>
                </a:lnTo>
                <a:lnTo>
                  <a:pt x="2612" y="445"/>
                </a:lnTo>
                <a:lnTo>
                  <a:pt x="2608" y="446"/>
                </a:lnTo>
                <a:lnTo>
                  <a:pt x="2606" y="446"/>
                </a:lnTo>
                <a:lnTo>
                  <a:pt x="2603" y="446"/>
                </a:lnTo>
                <a:lnTo>
                  <a:pt x="2600" y="445"/>
                </a:lnTo>
                <a:lnTo>
                  <a:pt x="2598" y="444"/>
                </a:lnTo>
                <a:lnTo>
                  <a:pt x="2596" y="442"/>
                </a:lnTo>
                <a:lnTo>
                  <a:pt x="2595" y="440"/>
                </a:lnTo>
                <a:lnTo>
                  <a:pt x="2594" y="438"/>
                </a:lnTo>
                <a:lnTo>
                  <a:pt x="2593" y="435"/>
                </a:lnTo>
                <a:lnTo>
                  <a:pt x="2593" y="433"/>
                </a:lnTo>
                <a:lnTo>
                  <a:pt x="2593" y="430"/>
                </a:lnTo>
                <a:lnTo>
                  <a:pt x="2594" y="428"/>
                </a:lnTo>
                <a:lnTo>
                  <a:pt x="2595" y="426"/>
                </a:lnTo>
                <a:lnTo>
                  <a:pt x="2597" y="423"/>
                </a:lnTo>
                <a:lnTo>
                  <a:pt x="2600" y="421"/>
                </a:lnTo>
                <a:lnTo>
                  <a:pt x="2604" y="420"/>
                </a:lnTo>
                <a:close/>
                <a:moveTo>
                  <a:pt x="2540" y="404"/>
                </a:moveTo>
                <a:lnTo>
                  <a:pt x="2542" y="404"/>
                </a:lnTo>
                <a:lnTo>
                  <a:pt x="2545" y="404"/>
                </a:lnTo>
                <a:lnTo>
                  <a:pt x="2548" y="405"/>
                </a:lnTo>
                <a:lnTo>
                  <a:pt x="2550" y="406"/>
                </a:lnTo>
                <a:lnTo>
                  <a:pt x="2552" y="408"/>
                </a:lnTo>
                <a:lnTo>
                  <a:pt x="2553" y="410"/>
                </a:lnTo>
                <a:lnTo>
                  <a:pt x="2554" y="412"/>
                </a:lnTo>
                <a:lnTo>
                  <a:pt x="2555" y="415"/>
                </a:lnTo>
                <a:lnTo>
                  <a:pt x="2555" y="417"/>
                </a:lnTo>
                <a:lnTo>
                  <a:pt x="2555" y="420"/>
                </a:lnTo>
                <a:lnTo>
                  <a:pt x="2554" y="422"/>
                </a:lnTo>
                <a:lnTo>
                  <a:pt x="2553" y="424"/>
                </a:lnTo>
                <a:lnTo>
                  <a:pt x="2551" y="427"/>
                </a:lnTo>
                <a:lnTo>
                  <a:pt x="2548" y="429"/>
                </a:lnTo>
                <a:lnTo>
                  <a:pt x="2544" y="430"/>
                </a:lnTo>
                <a:lnTo>
                  <a:pt x="2541" y="430"/>
                </a:lnTo>
                <a:lnTo>
                  <a:pt x="2539" y="430"/>
                </a:lnTo>
                <a:lnTo>
                  <a:pt x="2536" y="429"/>
                </a:lnTo>
                <a:lnTo>
                  <a:pt x="2534" y="427"/>
                </a:lnTo>
                <a:lnTo>
                  <a:pt x="2532" y="426"/>
                </a:lnTo>
                <a:lnTo>
                  <a:pt x="2531" y="424"/>
                </a:lnTo>
                <a:lnTo>
                  <a:pt x="2529" y="421"/>
                </a:lnTo>
                <a:lnTo>
                  <a:pt x="2529" y="419"/>
                </a:lnTo>
                <a:lnTo>
                  <a:pt x="2529" y="416"/>
                </a:lnTo>
                <a:lnTo>
                  <a:pt x="2529" y="414"/>
                </a:lnTo>
                <a:lnTo>
                  <a:pt x="2530" y="412"/>
                </a:lnTo>
                <a:lnTo>
                  <a:pt x="2531" y="410"/>
                </a:lnTo>
                <a:lnTo>
                  <a:pt x="2533" y="407"/>
                </a:lnTo>
                <a:lnTo>
                  <a:pt x="2536" y="405"/>
                </a:lnTo>
                <a:lnTo>
                  <a:pt x="2540" y="404"/>
                </a:lnTo>
                <a:close/>
                <a:moveTo>
                  <a:pt x="898" y="682"/>
                </a:moveTo>
                <a:lnTo>
                  <a:pt x="901" y="682"/>
                </a:lnTo>
                <a:lnTo>
                  <a:pt x="904" y="682"/>
                </a:lnTo>
                <a:lnTo>
                  <a:pt x="907" y="683"/>
                </a:lnTo>
                <a:lnTo>
                  <a:pt x="909" y="685"/>
                </a:lnTo>
                <a:lnTo>
                  <a:pt x="911" y="687"/>
                </a:lnTo>
                <a:lnTo>
                  <a:pt x="912" y="689"/>
                </a:lnTo>
                <a:lnTo>
                  <a:pt x="913" y="692"/>
                </a:lnTo>
                <a:lnTo>
                  <a:pt x="913" y="694"/>
                </a:lnTo>
                <a:lnTo>
                  <a:pt x="912" y="699"/>
                </a:lnTo>
                <a:lnTo>
                  <a:pt x="911" y="702"/>
                </a:lnTo>
                <a:lnTo>
                  <a:pt x="909" y="704"/>
                </a:lnTo>
                <a:lnTo>
                  <a:pt x="906" y="706"/>
                </a:lnTo>
                <a:lnTo>
                  <a:pt x="904" y="707"/>
                </a:lnTo>
                <a:lnTo>
                  <a:pt x="902" y="708"/>
                </a:lnTo>
                <a:lnTo>
                  <a:pt x="899" y="708"/>
                </a:lnTo>
                <a:lnTo>
                  <a:pt x="896" y="707"/>
                </a:lnTo>
                <a:lnTo>
                  <a:pt x="893" y="706"/>
                </a:lnTo>
                <a:lnTo>
                  <a:pt x="891" y="704"/>
                </a:lnTo>
                <a:lnTo>
                  <a:pt x="889" y="702"/>
                </a:lnTo>
                <a:lnTo>
                  <a:pt x="888" y="700"/>
                </a:lnTo>
                <a:lnTo>
                  <a:pt x="887" y="697"/>
                </a:lnTo>
                <a:lnTo>
                  <a:pt x="887" y="695"/>
                </a:lnTo>
                <a:lnTo>
                  <a:pt x="888" y="690"/>
                </a:lnTo>
                <a:lnTo>
                  <a:pt x="889" y="688"/>
                </a:lnTo>
                <a:lnTo>
                  <a:pt x="891" y="686"/>
                </a:lnTo>
                <a:lnTo>
                  <a:pt x="894" y="683"/>
                </a:lnTo>
                <a:lnTo>
                  <a:pt x="896" y="682"/>
                </a:lnTo>
                <a:lnTo>
                  <a:pt x="898" y="682"/>
                </a:lnTo>
                <a:close/>
                <a:moveTo>
                  <a:pt x="2475" y="388"/>
                </a:moveTo>
                <a:lnTo>
                  <a:pt x="2478" y="388"/>
                </a:lnTo>
                <a:lnTo>
                  <a:pt x="2481" y="388"/>
                </a:lnTo>
                <a:lnTo>
                  <a:pt x="2483" y="389"/>
                </a:lnTo>
                <a:lnTo>
                  <a:pt x="2486" y="390"/>
                </a:lnTo>
                <a:lnTo>
                  <a:pt x="2487" y="392"/>
                </a:lnTo>
                <a:lnTo>
                  <a:pt x="2489" y="394"/>
                </a:lnTo>
                <a:lnTo>
                  <a:pt x="2490" y="396"/>
                </a:lnTo>
                <a:lnTo>
                  <a:pt x="2491" y="399"/>
                </a:lnTo>
                <a:lnTo>
                  <a:pt x="2491" y="401"/>
                </a:lnTo>
                <a:lnTo>
                  <a:pt x="2490" y="404"/>
                </a:lnTo>
                <a:lnTo>
                  <a:pt x="2490" y="406"/>
                </a:lnTo>
                <a:lnTo>
                  <a:pt x="2489" y="408"/>
                </a:lnTo>
                <a:lnTo>
                  <a:pt x="2487" y="410"/>
                </a:lnTo>
                <a:lnTo>
                  <a:pt x="2483" y="413"/>
                </a:lnTo>
                <a:lnTo>
                  <a:pt x="2480" y="414"/>
                </a:lnTo>
                <a:lnTo>
                  <a:pt x="2477" y="414"/>
                </a:lnTo>
                <a:lnTo>
                  <a:pt x="2474" y="413"/>
                </a:lnTo>
                <a:lnTo>
                  <a:pt x="2472" y="413"/>
                </a:lnTo>
                <a:lnTo>
                  <a:pt x="2470" y="411"/>
                </a:lnTo>
                <a:lnTo>
                  <a:pt x="2468" y="409"/>
                </a:lnTo>
                <a:lnTo>
                  <a:pt x="2466" y="407"/>
                </a:lnTo>
                <a:lnTo>
                  <a:pt x="2465" y="405"/>
                </a:lnTo>
                <a:lnTo>
                  <a:pt x="2465" y="403"/>
                </a:lnTo>
                <a:lnTo>
                  <a:pt x="2465" y="400"/>
                </a:lnTo>
                <a:lnTo>
                  <a:pt x="2465" y="398"/>
                </a:lnTo>
                <a:lnTo>
                  <a:pt x="2466" y="396"/>
                </a:lnTo>
                <a:lnTo>
                  <a:pt x="2466" y="394"/>
                </a:lnTo>
                <a:lnTo>
                  <a:pt x="2469" y="391"/>
                </a:lnTo>
                <a:lnTo>
                  <a:pt x="2472" y="389"/>
                </a:lnTo>
                <a:lnTo>
                  <a:pt x="2475" y="388"/>
                </a:lnTo>
                <a:close/>
                <a:moveTo>
                  <a:pt x="944" y="635"/>
                </a:moveTo>
                <a:lnTo>
                  <a:pt x="947" y="635"/>
                </a:lnTo>
                <a:lnTo>
                  <a:pt x="950" y="635"/>
                </a:lnTo>
                <a:lnTo>
                  <a:pt x="953" y="637"/>
                </a:lnTo>
                <a:lnTo>
                  <a:pt x="956" y="639"/>
                </a:lnTo>
                <a:lnTo>
                  <a:pt x="958" y="641"/>
                </a:lnTo>
                <a:lnTo>
                  <a:pt x="959" y="643"/>
                </a:lnTo>
                <a:lnTo>
                  <a:pt x="959" y="645"/>
                </a:lnTo>
                <a:lnTo>
                  <a:pt x="960" y="648"/>
                </a:lnTo>
                <a:lnTo>
                  <a:pt x="959" y="650"/>
                </a:lnTo>
                <a:lnTo>
                  <a:pt x="959" y="653"/>
                </a:lnTo>
                <a:lnTo>
                  <a:pt x="957" y="655"/>
                </a:lnTo>
                <a:lnTo>
                  <a:pt x="956" y="657"/>
                </a:lnTo>
                <a:lnTo>
                  <a:pt x="954" y="658"/>
                </a:lnTo>
                <a:lnTo>
                  <a:pt x="952" y="659"/>
                </a:lnTo>
                <a:lnTo>
                  <a:pt x="949" y="661"/>
                </a:lnTo>
                <a:lnTo>
                  <a:pt x="946" y="661"/>
                </a:lnTo>
                <a:lnTo>
                  <a:pt x="943" y="660"/>
                </a:lnTo>
                <a:lnTo>
                  <a:pt x="940" y="659"/>
                </a:lnTo>
                <a:lnTo>
                  <a:pt x="937" y="657"/>
                </a:lnTo>
                <a:lnTo>
                  <a:pt x="936" y="655"/>
                </a:lnTo>
                <a:lnTo>
                  <a:pt x="934" y="652"/>
                </a:lnTo>
                <a:lnTo>
                  <a:pt x="934" y="650"/>
                </a:lnTo>
                <a:lnTo>
                  <a:pt x="933" y="648"/>
                </a:lnTo>
                <a:lnTo>
                  <a:pt x="934" y="645"/>
                </a:lnTo>
                <a:lnTo>
                  <a:pt x="934" y="643"/>
                </a:lnTo>
                <a:lnTo>
                  <a:pt x="936" y="640"/>
                </a:lnTo>
                <a:lnTo>
                  <a:pt x="937" y="638"/>
                </a:lnTo>
                <a:lnTo>
                  <a:pt x="939" y="637"/>
                </a:lnTo>
                <a:lnTo>
                  <a:pt x="941" y="636"/>
                </a:lnTo>
                <a:lnTo>
                  <a:pt x="944" y="635"/>
                </a:lnTo>
                <a:close/>
                <a:moveTo>
                  <a:pt x="2411" y="372"/>
                </a:moveTo>
                <a:lnTo>
                  <a:pt x="2414" y="371"/>
                </a:lnTo>
                <a:lnTo>
                  <a:pt x="2417" y="372"/>
                </a:lnTo>
                <a:lnTo>
                  <a:pt x="2419" y="373"/>
                </a:lnTo>
                <a:lnTo>
                  <a:pt x="2421" y="374"/>
                </a:lnTo>
                <a:lnTo>
                  <a:pt x="2423" y="376"/>
                </a:lnTo>
                <a:lnTo>
                  <a:pt x="2425" y="378"/>
                </a:lnTo>
                <a:lnTo>
                  <a:pt x="2426" y="380"/>
                </a:lnTo>
                <a:lnTo>
                  <a:pt x="2426" y="383"/>
                </a:lnTo>
                <a:lnTo>
                  <a:pt x="2427" y="385"/>
                </a:lnTo>
                <a:lnTo>
                  <a:pt x="2426" y="388"/>
                </a:lnTo>
                <a:lnTo>
                  <a:pt x="2426" y="390"/>
                </a:lnTo>
                <a:lnTo>
                  <a:pt x="2425" y="391"/>
                </a:lnTo>
                <a:lnTo>
                  <a:pt x="2422" y="394"/>
                </a:lnTo>
                <a:lnTo>
                  <a:pt x="2419" y="396"/>
                </a:lnTo>
                <a:lnTo>
                  <a:pt x="2416" y="398"/>
                </a:lnTo>
                <a:lnTo>
                  <a:pt x="2413" y="398"/>
                </a:lnTo>
                <a:lnTo>
                  <a:pt x="2410" y="397"/>
                </a:lnTo>
                <a:lnTo>
                  <a:pt x="2408" y="396"/>
                </a:lnTo>
                <a:lnTo>
                  <a:pt x="2406" y="395"/>
                </a:lnTo>
                <a:lnTo>
                  <a:pt x="2404" y="393"/>
                </a:lnTo>
                <a:lnTo>
                  <a:pt x="2402" y="391"/>
                </a:lnTo>
                <a:lnTo>
                  <a:pt x="2401" y="389"/>
                </a:lnTo>
                <a:lnTo>
                  <a:pt x="2401" y="387"/>
                </a:lnTo>
                <a:lnTo>
                  <a:pt x="2400" y="384"/>
                </a:lnTo>
                <a:lnTo>
                  <a:pt x="2401" y="381"/>
                </a:lnTo>
                <a:lnTo>
                  <a:pt x="2401" y="380"/>
                </a:lnTo>
                <a:lnTo>
                  <a:pt x="2402" y="378"/>
                </a:lnTo>
                <a:lnTo>
                  <a:pt x="2405" y="375"/>
                </a:lnTo>
                <a:lnTo>
                  <a:pt x="2408" y="373"/>
                </a:lnTo>
                <a:lnTo>
                  <a:pt x="2411" y="372"/>
                </a:lnTo>
                <a:close/>
                <a:moveTo>
                  <a:pt x="2347" y="356"/>
                </a:moveTo>
                <a:lnTo>
                  <a:pt x="2350" y="355"/>
                </a:lnTo>
                <a:lnTo>
                  <a:pt x="2352" y="356"/>
                </a:lnTo>
                <a:lnTo>
                  <a:pt x="2355" y="357"/>
                </a:lnTo>
                <a:lnTo>
                  <a:pt x="2357" y="358"/>
                </a:lnTo>
                <a:lnTo>
                  <a:pt x="2359" y="360"/>
                </a:lnTo>
                <a:lnTo>
                  <a:pt x="2361" y="362"/>
                </a:lnTo>
                <a:lnTo>
                  <a:pt x="2362" y="364"/>
                </a:lnTo>
                <a:lnTo>
                  <a:pt x="2362" y="367"/>
                </a:lnTo>
                <a:lnTo>
                  <a:pt x="2362" y="369"/>
                </a:lnTo>
                <a:lnTo>
                  <a:pt x="2362" y="372"/>
                </a:lnTo>
                <a:lnTo>
                  <a:pt x="2361" y="374"/>
                </a:lnTo>
                <a:lnTo>
                  <a:pt x="2361" y="375"/>
                </a:lnTo>
                <a:lnTo>
                  <a:pt x="2358" y="378"/>
                </a:lnTo>
                <a:lnTo>
                  <a:pt x="2355" y="380"/>
                </a:lnTo>
                <a:lnTo>
                  <a:pt x="2352" y="381"/>
                </a:lnTo>
                <a:lnTo>
                  <a:pt x="2349" y="382"/>
                </a:lnTo>
                <a:lnTo>
                  <a:pt x="2346" y="381"/>
                </a:lnTo>
                <a:lnTo>
                  <a:pt x="2344" y="380"/>
                </a:lnTo>
                <a:lnTo>
                  <a:pt x="2341" y="379"/>
                </a:lnTo>
                <a:lnTo>
                  <a:pt x="2340" y="377"/>
                </a:lnTo>
                <a:lnTo>
                  <a:pt x="2338" y="375"/>
                </a:lnTo>
                <a:lnTo>
                  <a:pt x="2337" y="373"/>
                </a:lnTo>
                <a:lnTo>
                  <a:pt x="2336" y="371"/>
                </a:lnTo>
                <a:lnTo>
                  <a:pt x="2336" y="368"/>
                </a:lnTo>
                <a:lnTo>
                  <a:pt x="2337" y="365"/>
                </a:lnTo>
                <a:lnTo>
                  <a:pt x="2337" y="363"/>
                </a:lnTo>
                <a:lnTo>
                  <a:pt x="2338" y="362"/>
                </a:lnTo>
                <a:lnTo>
                  <a:pt x="2340" y="359"/>
                </a:lnTo>
                <a:lnTo>
                  <a:pt x="2343" y="357"/>
                </a:lnTo>
                <a:lnTo>
                  <a:pt x="2347" y="356"/>
                </a:lnTo>
                <a:close/>
                <a:moveTo>
                  <a:pt x="993" y="590"/>
                </a:moveTo>
                <a:lnTo>
                  <a:pt x="996" y="589"/>
                </a:lnTo>
                <a:lnTo>
                  <a:pt x="999" y="590"/>
                </a:lnTo>
                <a:lnTo>
                  <a:pt x="1002" y="591"/>
                </a:lnTo>
                <a:lnTo>
                  <a:pt x="1003" y="592"/>
                </a:lnTo>
                <a:lnTo>
                  <a:pt x="1005" y="594"/>
                </a:lnTo>
                <a:lnTo>
                  <a:pt x="1006" y="596"/>
                </a:lnTo>
                <a:lnTo>
                  <a:pt x="1007" y="598"/>
                </a:lnTo>
                <a:lnTo>
                  <a:pt x="1008" y="601"/>
                </a:lnTo>
                <a:lnTo>
                  <a:pt x="1008" y="603"/>
                </a:lnTo>
                <a:lnTo>
                  <a:pt x="1008" y="606"/>
                </a:lnTo>
                <a:lnTo>
                  <a:pt x="1007" y="608"/>
                </a:lnTo>
                <a:lnTo>
                  <a:pt x="1005" y="610"/>
                </a:lnTo>
                <a:lnTo>
                  <a:pt x="1004" y="612"/>
                </a:lnTo>
                <a:lnTo>
                  <a:pt x="1001" y="614"/>
                </a:lnTo>
                <a:lnTo>
                  <a:pt x="999" y="615"/>
                </a:lnTo>
                <a:lnTo>
                  <a:pt x="997" y="615"/>
                </a:lnTo>
                <a:lnTo>
                  <a:pt x="994" y="616"/>
                </a:lnTo>
                <a:lnTo>
                  <a:pt x="991" y="615"/>
                </a:lnTo>
                <a:lnTo>
                  <a:pt x="988" y="613"/>
                </a:lnTo>
                <a:lnTo>
                  <a:pt x="986" y="612"/>
                </a:lnTo>
                <a:lnTo>
                  <a:pt x="985" y="611"/>
                </a:lnTo>
                <a:lnTo>
                  <a:pt x="983" y="609"/>
                </a:lnTo>
                <a:lnTo>
                  <a:pt x="982" y="607"/>
                </a:lnTo>
                <a:lnTo>
                  <a:pt x="982" y="604"/>
                </a:lnTo>
                <a:lnTo>
                  <a:pt x="982" y="602"/>
                </a:lnTo>
                <a:lnTo>
                  <a:pt x="982" y="599"/>
                </a:lnTo>
                <a:lnTo>
                  <a:pt x="983" y="597"/>
                </a:lnTo>
                <a:lnTo>
                  <a:pt x="984" y="595"/>
                </a:lnTo>
                <a:lnTo>
                  <a:pt x="986" y="593"/>
                </a:lnTo>
                <a:lnTo>
                  <a:pt x="989" y="591"/>
                </a:lnTo>
                <a:lnTo>
                  <a:pt x="991" y="590"/>
                </a:lnTo>
                <a:lnTo>
                  <a:pt x="993" y="590"/>
                </a:lnTo>
                <a:close/>
                <a:moveTo>
                  <a:pt x="2283" y="340"/>
                </a:moveTo>
                <a:lnTo>
                  <a:pt x="2286" y="339"/>
                </a:lnTo>
                <a:lnTo>
                  <a:pt x="2288" y="340"/>
                </a:lnTo>
                <a:lnTo>
                  <a:pt x="2291" y="341"/>
                </a:lnTo>
                <a:lnTo>
                  <a:pt x="2293" y="342"/>
                </a:lnTo>
                <a:lnTo>
                  <a:pt x="2295" y="344"/>
                </a:lnTo>
                <a:lnTo>
                  <a:pt x="2296" y="346"/>
                </a:lnTo>
                <a:lnTo>
                  <a:pt x="2297" y="348"/>
                </a:lnTo>
                <a:lnTo>
                  <a:pt x="2298" y="350"/>
                </a:lnTo>
                <a:lnTo>
                  <a:pt x="2298" y="353"/>
                </a:lnTo>
                <a:lnTo>
                  <a:pt x="2298" y="356"/>
                </a:lnTo>
                <a:lnTo>
                  <a:pt x="2297" y="358"/>
                </a:lnTo>
                <a:lnTo>
                  <a:pt x="2296" y="359"/>
                </a:lnTo>
                <a:lnTo>
                  <a:pt x="2294" y="362"/>
                </a:lnTo>
                <a:lnTo>
                  <a:pt x="2291" y="364"/>
                </a:lnTo>
                <a:lnTo>
                  <a:pt x="2287" y="365"/>
                </a:lnTo>
                <a:lnTo>
                  <a:pt x="2285" y="366"/>
                </a:lnTo>
                <a:lnTo>
                  <a:pt x="2282" y="365"/>
                </a:lnTo>
                <a:lnTo>
                  <a:pt x="2279" y="364"/>
                </a:lnTo>
                <a:lnTo>
                  <a:pt x="2277" y="363"/>
                </a:lnTo>
                <a:lnTo>
                  <a:pt x="2275" y="361"/>
                </a:lnTo>
                <a:lnTo>
                  <a:pt x="2274" y="359"/>
                </a:lnTo>
                <a:lnTo>
                  <a:pt x="2273" y="357"/>
                </a:lnTo>
                <a:lnTo>
                  <a:pt x="2272" y="355"/>
                </a:lnTo>
                <a:lnTo>
                  <a:pt x="2272" y="352"/>
                </a:lnTo>
                <a:lnTo>
                  <a:pt x="2272" y="349"/>
                </a:lnTo>
                <a:lnTo>
                  <a:pt x="2273" y="347"/>
                </a:lnTo>
                <a:lnTo>
                  <a:pt x="2274" y="346"/>
                </a:lnTo>
                <a:lnTo>
                  <a:pt x="2276" y="343"/>
                </a:lnTo>
                <a:lnTo>
                  <a:pt x="2279" y="341"/>
                </a:lnTo>
                <a:lnTo>
                  <a:pt x="2283" y="340"/>
                </a:lnTo>
                <a:close/>
                <a:moveTo>
                  <a:pt x="1042" y="546"/>
                </a:moveTo>
                <a:lnTo>
                  <a:pt x="1046" y="546"/>
                </a:lnTo>
                <a:lnTo>
                  <a:pt x="1049" y="547"/>
                </a:lnTo>
                <a:lnTo>
                  <a:pt x="1052" y="548"/>
                </a:lnTo>
                <a:lnTo>
                  <a:pt x="1055" y="551"/>
                </a:lnTo>
                <a:lnTo>
                  <a:pt x="1056" y="553"/>
                </a:lnTo>
                <a:lnTo>
                  <a:pt x="1057" y="555"/>
                </a:lnTo>
                <a:lnTo>
                  <a:pt x="1058" y="558"/>
                </a:lnTo>
                <a:lnTo>
                  <a:pt x="1058" y="560"/>
                </a:lnTo>
                <a:lnTo>
                  <a:pt x="1057" y="563"/>
                </a:lnTo>
                <a:lnTo>
                  <a:pt x="1056" y="565"/>
                </a:lnTo>
                <a:lnTo>
                  <a:pt x="1055" y="567"/>
                </a:lnTo>
                <a:lnTo>
                  <a:pt x="1053" y="569"/>
                </a:lnTo>
                <a:lnTo>
                  <a:pt x="1050" y="571"/>
                </a:lnTo>
                <a:lnTo>
                  <a:pt x="1047" y="572"/>
                </a:lnTo>
                <a:lnTo>
                  <a:pt x="1044" y="572"/>
                </a:lnTo>
                <a:lnTo>
                  <a:pt x="1040" y="571"/>
                </a:lnTo>
                <a:lnTo>
                  <a:pt x="1037" y="570"/>
                </a:lnTo>
                <a:lnTo>
                  <a:pt x="1035" y="567"/>
                </a:lnTo>
                <a:lnTo>
                  <a:pt x="1033" y="565"/>
                </a:lnTo>
                <a:lnTo>
                  <a:pt x="1032" y="563"/>
                </a:lnTo>
                <a:lnTo>
                  <a:pt x="1032" y="560"/>
                </a:lnTo>
                <a:lnTo>
                  <a:pt x="1032" y="558"/>
                </a:lnTo>
                <a:lnTo>
                  <a:pt x="1032" y="555"/>
                </a:lnTo>
                <a:lnTo>
                  <a:pt x="1033" y="553"/>
                </a:lnTo>
                <a:lnTo>
                  <a:pt x="1034" y="551"/>
                </a:lnTo>
                <a:lnTo>
                  <a:pt x="1036" y="549"/>
                </a:lnTo>
                <a:lnTo>
                  <a:pt x="1039" y="547"/>
                </a:lnTo>
                <a:lnTo>
                  <a:pt x="1042" y="546"/>
                </a:lnTo>
                <a:close/>
                <a:moveTo>
                  <a:pt x="2219" y="324"/>
                </a:moveTo>
                <a:lnTo>
                  <a:pt x="2221" y="323"/>
                </a:lnTo>
                <a:lnTo>
                  <a:pt x="2224" y="324"/>
                </a:lnTo>
                <a:lnTo>
                  <a:pt x="2227" y="325"/>
                </a:lnTo>
                <a:lnTo>
                  <a:pt x="2229" y="326"/>
                </a:lnTo>
                <a:lnTo>
                  <a:pt x="2231" y="328"/>
                </a:lnTo>
                <a:lnTo>
                  <a:pt x="2232" y="330"/>
                </a:lnTo>
                <a:lnTo>
                  <a:pt x="2233" y="332"/>
                </a:lnTo>
                <a:lnTo>
                  <a:pt x="2234" y="335"/>
                </a:lnTo>
                <a:lnTo>
                  <a:pt x="2234" y="337"/>
                </a:lnTo>
                <a:lnTo>
                  <a:pt x="2234" y="340"/>
                </a:lnTo>
                <a:lnTo>
                  <a:pt x="2233" y="342"/>
                </a:lnTo>
                <a:lnTo>
                  <a:pt x="2232" y="343"/>
                </a:lnTo>
                <a:lnTo>
                  <a:pt x="2230" y="346"/>
                </a:lnTo>
                <a:lnTo>
                  <a:pt x="2227" y="348"/>
                </a:lnTo>
                <a:lnTo>
                  <a:pt x="2223" y="350"/>
                </a:lnTo>
                <a:lnTo>
                  <a:pt x="2220" y="350"/>
                </a:lnTo>
                <a:lnTo>
                  <a:pt x="2218" y="349"/>
                </a:lnTo>
                <a:lnTo>
                  <a:pt x="2215" y="348"/>
                </a:lnTo>
                <a:lnTo>
                  <a:pt x="2213" y="347"/>
                </a:lnTo>
                <a:lnTo>
                  <a:pt x="2211" y="345"/>
                </a:lnTo>
                <a:lnTo>
                  <a:pt x="2210" y="343"/>
                </a:lnTo>
                <a:lnTo>
                  <a:pt x="2208" y="341"/>
                </a:lnTo>
                <a:lnTo>
                  <a:pt x="2207" y="339"/>
                </a:lnTo>
                <a:lnTo>
                  <a:pt x="2207" y="336"/>
                </a:lnTo>
                <a:lnTo>
                  <a:pt x="2207" y="333"/>
                </a:lnTo>
                <a:lnTo>
                  <a:pt x="2208" y="332"/>
                </a:lnTo>
                <a:lnTo>
                  <a:pt x="2210" y="330"/>
                </a:lnTo>
                <a:lnTo>
                  <a:pt x="2212" y="327"/>
                </a:lnTo>
                <a:lnTo>
                  <a:pt x="2215" y="325"/>
                </a:lnTo>
                <a:lnTo>
                  <a:pt x="2219" y="324"/>
                </a:lnTo>
                <a:close/>
                <a:moveTo>
                  <a:pt x="1094" y="505"/>
                </a:moveTo>
                <a:lnTo>
                  <a:pt x="1098" y="505"/>
                </a:lnTo>
                <a:lnTo>
                  <a:pt x="1101" y="506"/>
                </a:lnTo>
                <a:lnTo>
                  <a:pt x="1104" y="507"/>
                </a:lnTo>
                <a:lnTo>
                  <a:pt x="1107" y="510"/>
                </a:lnTo>
                <a:lnTo>
                  <a:pt x="1108" y="512"/>
                </a:lnTo>
                <a:lnTo>
                  <a:pt x="1109" y="514"/>
                </a:lnTo>
                <a:lnTo>
                  <a:pt x="1110" y="517"/>
                </a:lnTo>
                <a:lnTo>
                  <a:pt x="1109" y="520"/>
                </a:lnTo>
                <a:lnTo>
                  <a:pt x="1109" y="522"/>
                </a:lnTo>
                <a:lnTo>
                  <a:pt x="1108" y="524"/>
                </a:lnTo>
                <a:lnTo>
                  <a:pt x="1106" y="526"/>
                </a:lnTo>
                <a:lnTo>
                  <a:pt x="1104" y="528"/>
                </a:lnTo>
                <a:lnTo>
                  <a:pt x="1103" y="529"/>
                </a:lnTo>
                <a:lnTo>
                  <a:pt x="1102" y="530"/>
                </a:lnTo>
                <a:lnTo>
                  <a:pt x="1099" y="531"/>
                </a:lnTo>
                <a:lnTo>
                  <a:pt x="1095" y="531"/>
                </a:lnTo>
                <a:lnTo>
                  <a:pt x="1092" y="530"/>
                </a:lnTo>
                <a:lnTo>
                  <a:pt x="1089" y="528"/>
                </a:lnTo>
                <a:lnTo>
                  <a:pt x="1086" y="526"/>
                </a:lnTo>
                <a:lnTo>
                  <a:pt x="1085" y="523"/>
                </a:lnTo>
                <a:lnTo>
                  <a:pt x="1084" y="521"/>
                </a:lnTo>
                <a:lnTo>
                  <a:pt x="1083" y="519"/>
                </a:lnTo>
                <a:lnTo>
                  <a:pt x="1083" y="516"/>
                </a:lnTo>
                <a:lnTo>
                  <a:pt x="1084" y="514"/>
                </a:lnTo>
                <a:lnTo>
                  <a:pt x="1085" y="511"/>
                </a:lnTo>
                <a:lnTo>
                  <a:pt x="1086" y="509"/>
                </a:lnTo>
                <a:lnTo>
                  <a:pt x="1088" y="507"/>
                </a:lnTo>
                <a:lnTo>
                  <a:pt x="1090" y="506"/>
                </a:lnTo>
                <a:lnTo>
                  <a:pt x="1091" y="506"/>
                </a:lnTo>
                <a:lnTo>
                  <a:pt x="1094" y="505"/>
                </a:lnTo>
                <a:close/>
                <a:moveTo>
                  <a:pt x="2153" y="308"/>
                </a:moveTo>
                <a:lnTo>
                  <a:pt x="2156" y="308"/>
                </a:lnTo>
                <a:lnTo>
                  <a:pt x="2159" y="308"/>
                </a:lnTo>
                <a:lnTo>
                  <a:pt x="2161" y="309"/>
                </a:lnTo>
                <a:lnTo>
                  <a:pt x="2164" y="310"/>
                </a:lnTo>
                <a:lnTo>
                  <a:pt x="2165" y="312"/>
                </a:lnTo>
                <a:lnTo>
                  <a:pt x="2167" y="314"/>
                </a:lnTo>
                <a:lnTo>
                  <a:pt x="2168" y="316"/>
                </a:lnTo>
                <a:lnTo>
                  <a:pt x="2169" y="319"/>
                </a:lnTo>
                <a:lnTo>
                  <a:pt x="2169" y="321"/>
                </a:lnTo>
                <a:lnTo>
                  <a:pt x="2168" y="324"/>
                </a:lnTo>
                <a:lnTo>
                  <a:pt x="2168" y="326"/>
                </a:lnTo>
                <a:lnTo>
                  <a:pt x="2167" y="327"/>
                </a:lnTo>
                <a:lnTo>
                  <a:pt x="2165" y="330"/>
                </a:lnTo>
                <a:lnTo>
                  <a:pt x="2161" y="332"/>
                </a:lnTo>
                <a:lnTo>
                  <a:pt x="2158" y="334"/>
                </a:lnTo>
                <a:lnTo>
                  <a:pt x="2155" y="334"/>
                </a:lnTo>
                <a:lnTo>
                  <a:pt x="2153" y="333"/>
                </a:lnTo>
                <a:lnTo>
                  <a:pt x="2150" y="333"/>
                </a:lnTo>
                <a:lnTo>
                  <a:pt x="2148" y="331"/>
                </a:lnTo>
                <a:lnTo>
                  <a:pt x="2146" y="330"/>
                </a:lnTo>
                <a:lnTo>
                  <a:pt x="2144" y="327"/>
                </a:lnTo>
                <a:lnTo>
                  <a:pt x="2143" y="325"/>
                </a:lnTo>
                <a:lnTo>
                  <a:pt x="2143" y="323"/>
                </a:lnTo>
                <a:lnTo>
                  <a:pt x="2143" y="320"/>
                </a:lnTo>
                <a:lnTo>
                  <a:pt x="2143" y="318"/>
                </a:lnTo>
                <a:lnTo>
                  <a:pt x="2144" y="316"/>
                </a:lnTo>
                <a:lnTo>
                  <a:pt x="2144" y="314"/>
                </a:lnTo>
                <a:lnTo>
                  <a:pt x="2147" y="311"/>
                </a:lnTo>
                <a:lnTo>
                  <a:pt x="2150" y="309"/>
                </a:lnTo>
                <a:lnTo>
                  <a:pt x="2153" y="308"/>
                </a:lnTo>
                <a:close/>
                <a:moveTo>
                  <a:pt x="1147" y="466"/>
                </a:moveTo>
                <a:lnTo>
                  <a:pt x="1151" y="466"/>
                </a:lnTo>
                <a:lnTo>
                  <a:pt x="1155" y="467"/>
                </a:lnTo>
                <a:lnTo>
                  <a:pt x="1158" y="468"/>
                </a:lnTo>
                <a:lnTo>
                  <a:pt x="1161" y="471"/>
                </a:lnTo>
                <a:lnTo>
                  <a:pt x="1162" y="474"/>
                </a:lnTo>
                <a:lnTo>
                  <a:pt x="1163" y="476"/>
                </a:lnTo>
                <a:lnTo>
                  <a:pt x="1163" y="481"/>
                </a:lnTo>
                <a:lnTo>
                  <a:pt x="1162" y="483"/>
                </a:lnTo>
                <a:lnTo>
                  <a:pt x="1161" y="486"/>
                </a:lnTo>
                <a:lnTo>
                  <a:pt x="1159" y="488"/>
                </a:lnTo>
                <a:lnTo>
                  <a:pt x="1157" y="490"/>
                </a:lnTo>
                <a:lnTo>
                  <a:pt x="1155" y="491"/>
                </a:lnTo>
                <a:lnTo>
                  <a:pt x="1152" y="492"/>
                </a:lnTo>
                <a:lnTo>
                  <a:pt x="1148" y="492"/>
                </a:lnTo>
                <a:lnTo>
                  <a:pt x="1145" y="491"/>
                </a:lnTo>
                <a:lnTo>
                  <a:pt x="1142" y="489"/>
                </a:lnTo>
                <a:lnTo>
                  <a:pt x="1139" y="486"/>
                </a:lnTo>
                <a:lnTo>
                  <a:pt x="1138" y="484"/>
                </a:lnTo>
                <a:lnTo>
                  <a:pt x="1137" y="481"/>
                </a:lnTo>
                <a:lnTo>
                  <a:pt x="1137" y="476"/>
                </a:lnTo>
                <a:lnTo>
                  <a:pt x="1138" y="474"/>
                </a:lnTo>
                <a:lnTo>
                  <a:pt x="1139" y="472"/>
                </a:lnTo>
                <a:lnTo>
                  <a:pt x="1140" y="470"/>
                </a:lnTo>
                <a:lnTo>
                  <a:pt x="1142" y="468"/>
                </a:lnTo>
                <a:lnTo>
                  <a:pt x="1145" y="467"/>
                </a:lnTo>
                <a:lnTo>
                  <a:pt x="1147" y="466"/>
                </a:lnTo>
                <a:close/>
                <a:moveTo>
                  <a:pt x="2089" y="292"/>
                </a:moveTo>
                <a:lnTo>
                  <a:pt x="2092" y="292"/>
                </a:lnTo>
                <a:lnTo>
                  <a:pt x="2095" y="292"/>
                </a:lnTo>
                <a:lnTo>
                  <a:pt x="2097" y="293"/>
                </a:lnTo>
                <a:lnTo>
                  <a:pt x="2099" y="294"/>
                </a:lnTo>
                <a:lnTo>
                  <a:pt x="2101" y="296"/>
                </a:lnTo>
                <a:lnTo>
                  <a:pt x="2103" y="298"/>
                </a:lnTo>
                <a:lnTo>
                  <a:pt x="2104" y="300"/>
                </a:lnTo>
                <a:lnTo>
                  <a:pt x="2104" y="303"/>
                </a:lnTo>
                <a:lnTo>
                  <a:pt x="2105" y="305"/>
                </a:lnTo>
                <a:lnTo>
                  <a:pt x="2104" y="308"/>
                </a:lnTo>
                <a:lnTo>
                  <a:pt x="2104" y="310"/>
                </a:lnTo>
                <a:lnTo>
                  <a:pt x="2103" y="312"/>
                </a:lnTo>
                <a:lnTo>
                  <a:pt x="2100" y="315"/>
                </a:lnTo>
                <a:lnTo>
                  <a:pt x="2097" y="317"/>
                </a:lnTo>
                <a:lnTo>
                  <a:pt x="2094" y="318"/>
                </a:lnTo>
                <a:lnTo>
                  <a:pt x="2091" y="318"/>
                </a:lnTo>
                <a:lnTo>
                  <a:pt x="2088" y="318"/>
                </a:lnTo>
                <a:lnTo>
                  <a:pt x="2086" y="317"/>
                </a:lnTo>
                <a:lnTo>
                  <a:pt x="2084" y="315"/>
                </a:lnTo>
                <a:lnTo>
                  <a:pt x="2082" y="314"/>
                </a:lnTo>
                <a:lnTo>
                  <a:pt x="2080" y="312"/>
                </a:lnTo>
                <a:lnTo>
                  <a:pt x="2079" y="309"/>
                </a:lnTo>
                <a:lnTo>
                  <a:pt x="2078" y="307"/>
                </a:lnTo>
                <a:lnTo>
                  <a:pt x="2078" y="304"/>
                </a:lnTo>
                <a:lnTo>
                  <a:pt x="2079" y="302"/>
                </a:lnTo>
                <a:lnTo>
                  <a:pt x="2079" y="300"/>
                </a:lnTo>
                <a:lnTo>
                  <a:pt x="2080" y="298"/>
                </a:lnTo>
                <a:lnTo>
                  <a:pt x="2083" y="295"/>
                </a:lnTo>
                <a:lnTo>
                  <a:pt x="2086" y="293"/>
                </a:lnTo>
                <a:lnTo>
                  <a:pt x="2089" y="292"/>
                </a:lnTo>
                <a:close/>
                <a:moveTo>
                  <a:pt x="1203" y="429"/>
                </a:moveTo>
                <a:lnTo>
                  <a:pt x="1206" y="429"/>
                </a:lnTo>
                <a:lnTo>
                  <a:pt x="1210" y="430"/>
                </a:lnTo>
                <a:lnTo>
                  <a:pt x="1213" y="432"/>
                </a:lnTo>
                <a:lnTo>
                  <a:pt x="1215" y="434"/>
                </a:lnTo>
                <a:lnTo>
                  <a:pt x="1216" y="435"/>
                </a:lnTo>
                <a:lnTo>
                  <a:pt x="1217" y="438"/>
                </a:lnTo>
                <a:lnTo>
                  <a:pt x="1218" y="440"/>
                </a:lnTo>
                <a:lnTo>
                  <a:pt x="1218" y="443"/>
                </a:lnTo>
                <a:lnTo>
                  <a:pt x="1218" y="445"/>
                </a:lnTo>
                <a:lnTo>
                  <a:pt x="1217" y="447"/>
                </a:lnTo>
                <a:lnTo>
                  <a:pt x="1216" y="450"/>
                </a:lnTo>
                <a:lnTo>
                  <a:pt x="1214" y="452"/>
                </a:lnTo>
                <a:lnTo>
                  <a:pt x="1212" y="453"/>
                </a:lnTo>
                <a:lnTo>
                  <a:pt x="1210" y="454"/>
                </a:lnTo>
                <a:lnTo>
                  <a:pt x="1207" y="455"/>
                </a:lnTo>
                <a:lnTo>
                  <a:pt x="1203" y="455"/>
                </a:lnTo>
                <a:lnTo>
                  <a:pt x="1200" y="454"/>
                </a:lnTo>
                <a:lnTo>
                  <a:pt x="1196" y="452"/>
                </a:lnTo>
                <a:lnTo>
                  <a:pt x="1195" y="451"/>
                </a:lnTo>
                <a:lnTo>
                  <a:pt x="1194" y="449"/>
                </a:lnTo>
                <a:lnTo>
                  <a:pt x="1193" y="447"/>
                </a:lnTo>
                <a:lnTo>
                  <a:pt x="1192" y="444"/>
                </a:lnTo>
                <a:lnTo>
                  <a:pt x="1192" y="442"/>
                </a:lnTo>
                <a:lnTo>
                  <a:pt x="1192" y="439"/>
                </a:lnTo>
                <a:lnTo>
                  <a:pt x="1193" y="437"/>
                </a:lnTo>
                <a:lnTo>
                  <a:pt x="1194" y="435"/>
                </a:lnTo>
                <a:lnTo>
                  <a:pt x="1196" y="433"/>
                </a:lnTo>
                <a:lnTo>
                  <a:pt x="1198" y="431"/>
                </a:lnTo>
                <a:lnTo>
                  <a:pt x="1200" y="430"/>
                </a:lnTo>
                <a:lnTo>
                  <a:pt x="1203" y="429"/>
                </a:lnTo>
                <a:close/>
                <a:moveTo>
                  <a:pt x="2025" y="276"/>
                </a:moveTo>
                <a:lnTo>
                  <a:pt x="2028" y="276"/>
                </a:lnTo>
                <a:lnTo>
                  <a:pt x="2030" y="276"/>
                </a:lnTo>
                <a:lnTo>
                  <a:pt x="2033" y="277"/>
                </a:lnTo>
                <a:lnTo>
                  <a:pt x="2035" y="279"/>
                </a:lnTo>
                <a:lnTo>
                  <a:pt x="2037" y="280"/>
                </a:lnTo>
                <a:lnTo>
                  <a:pt x="2038" y="282"/>
                </a:lnTo>
                <a:lnTo>
                  <a:pt x="2039" y="285"/>
                </a:lnTo>
                <a:lnTo>
                  <a:pt x="2040" y="287"/>
                </a:lnTo>
                <a:lnTo>
                  <a:pt x="2040" y="290"/>
                </a:lnTo>
                <a:lnTo>
                  <a:pt x="2040" y="292"/>
                </a:lnTo>
                <a:lnTo>
                  <a:pt x="2038" y="296"/>
                </a:lnTo>
                <a:lnTo>
                  <a:pt x="2036" y="299"/>
                </a:lnTo>
                <a:lnTo>
                  <a:pt x="2033" y="301"/>
                </a:lnTo>
                <a:lnTo>
                  <a:pt x="2029" y="302"/>
                </a:lnTo>
                <a:lnTo>
                  <a:pt x="2027" y="302"/>
                </a:lnTo>
                <a:lnTo>
                  <a:pt x="2024" y="302"/>
                </a:lnTo>
                <a:lnTo>
                  <a:pt x="2022" y="301"/>
                </a:lnTo>
                <a:lnTo>
                  <a:pt x="2019" y="300"/>
                </a:lnTo>
                <a:lnTo>
                  <a:pt x="2017" y="298"/>
                </a:lnTo>
                <a:lnTo>
                  <a:pt x="2016" y="296"/>
                </a:lnTo>
                <a:lnTo>
                  <a:pt x="2015" y="294"/>
                </a:lnTo>
                <a:lnTo>
                  <a:pt x="2014" y="291"/>
                </a:lnTo>
                <a:lnTo>
                  <a:pt x="2014" y="289"/>
                </a:lnTo>
                <a:lnTo>
                  <a:pt x="2014" y="286"/>
                </a:lnTo>
                <a:lnTo>
                  <a:pt x="2016" y="282"/>
                </a:lnTo>
                <a:lnTo>
                  <a:pt x="2018" y="280"/>
                </a:lnTo>
                <a:lnTo>
                  <a:pt x="2021" y="277"/>
                </a:lnTo>
                <a:lnTo>
                  <a:pt x="2025" y="276"/>
                </a:lnTo>
                <a:close/>
                <a:moveTo>
                  <a:pt x="1259" y="395"/>
                </a:moveTo>
                <a:lnTo>
                  <a:pt x="1263" y="395"/>
                </a:lnTo>
                <a:lnTo>
                  <a:pt x="1267" y="396"/>
                </a:lnTo>
                <a:lnTo>
                  <a:pt x="1269" y="397"/>
                </a:lnTo>
                <a:lnTo>
                  <a:pt x="1271" y="399"/>
                </a:lnTo>
                <a:lnTo>
                  <a:pt x="1272" y="400"/>
                </a:lnTo>
                <a:lnTo>
                  <a:pt x="1273" y="402"/>
                </a:lnTo>
                <a:lnTo>
                  <a:pt x="1274" y="404"/>
                </a:lnTo>
                <a:lnTo>
                  <a:pt x="1275" y="407"/>
                </a:lnTo>
                <a:lnTo>
                  <a:pt x="1275" y="409"/>
                </a:lnTo>
                <a:lnTo>
                  <a:pt x="1274" y="412"/>
                </a:lnTo>
                <a:lnTo>
                  <a:pt x="1273" y="414"/>
                </a:lnTo>
                <a:lnTo>
                  <a:pt x="1272" y="416"/>
                </a:lnTo>
                <a:lnTo>
                  <a:pt x="1270" y="418"/>
                </a:lnTo>
                <a:lnTo>
                  <a:pt x="1268" y="420"/>
                </a:lnTo>
                <a:lnTo>
                  <a:pt x="1266" y="421"/>
                </a:lnTo>
                <a:lnTo>
                  <a:pt x="1264" y="421"/>
                </a:lnTo>
                <a:lnTo>
                  <a:pt x="1260" y="421"/>
                </a:lnTo>
                <a:lnTo>
                  <a:pt x="1256" y="420"/>
                </a:lnTo>
                <a:lnTo>
                  <a:pt x="1254" y="419"/>
                </a:lnTo>
                <a:lnTo>
                  <a:pt x="1253" y="418"/>
                </a:lnTo>
                <a:lnTo>
                  <a:pt x="1251" y="416"/>
                </a:lnTo>
                <a:lnTo>
                  <a:pt x="1250" y="415"/>
                </a:lnTo>
                <a:lnTo>
                  <a:pt x="1249" y="412"/>
                </a:lnTo>
                <a:lnTo>
                  <a:pt x="1249" y="410"/>
                </a:lnTo>
                <a:lnTo>
                  <a:pt x="1249" y="407"/>
                </a:lnTo>
                <a:lnTo>
                  <a:pt x="1249" y="405"/>
                </a:lnTo>
                <a:lnTo>
                  <a:pt x="1250" y="402"/>
                </a:lnTo>
                <a:lnTo>
                  <a:pt x="1251" y="400"/>
                </a:lnTo>
                <a:lnTo>
                  <a:pt x="1253" y="398"/>
                </a:lnTo>
                <a:lnTo>
                  <a:pt x="1255" y="397"/>
                </a:lnTo>
                <a:lnTo>
                  <a:pt x="1257" y="396"/>
                </a:lnTo>
                <a:lnTo>
                  <a:pt x="1259" y="395"/>
                </a:lnTo>
                <a:close/>
                <a:moveTo>
                  <a:pt x="1960" y="263"/>
                </a:moveTo>
                <a:lnTo>
                  <a:pt x="1965" y="263"/>
                </a:lnTo>
                <a:lnTo>
                  <a:pt x="1967" y="264"/>
                </a:lnTo>
                <a:lnTo>
                  <a:pt x="1969" y="265"/>
                </a:lnTo>
                <a:lnTo>
                  <a:pt x="1971" y="266"/>
                </a:lnTo>
                <a:lnTo>
                  <a:pt x="1973" y="268"/>
                </a:lnTo>
                <a:lnTo>
                  <a:pt x="1974" y="270"/>
                </a:lnTo>
                <a:lnTo>
                  <a:pt x="1975" y="273"/>
                </a:lnTo>
                <a:lnTo>
                  <a:pt x="1975" y="275"/>
                </a:lnTo>
                <a:lnTo>
                  <a:pt x="1975" y="278"/>
                </a:lnTo>
                <a:lnTo>
                  <a:pt x="1974" y="282"/>
                </a:lnTo>
                <a:lnTo>
                  <a:pt x="1972" y="285"/>
                </a:lnTo>
                <a:lnTo>
                  <a:pt x="1970" y="286"/>
                </a:lnTo>
                <a:lnTo>
                  <a:pt x="1968" y="288"/>
                </a:lnTo>
                <a:lnTo>
                  <a:pt x="1965" y="289"/>
                </a:lnTo>
                <a:lnTo>
                  <a:pt x="1960" y="289"/>
                </a:lnTo>
                <a:lnTo>
                  <a:pt x="1958" y="288"/>
                </a:lnTo>
                <a:lnTo>
                  <a:pt x="1955" y="287"/>
                </a:lnTo>
                <a:lnTo>
                  <a:pt x="1953" y="285"/>
                </a:lnTo>
                <a:lnTo>
                  <a:pt x="1952" y="283"/>
                </a:lnTo>
                <a:lnTo>
                  <a:pt x="1950" y="281"/>
                </a:lnTo>
                <a:lnTo>
                  <a:pt x="1950" y="279"/>
                </a:lnTo>
                <a:lnTo>
                  <a:pt x="1949" y="276"/>
                </a:lnTo>
                <a:lnTo>
                  <a:pt x="1949" y="274"/>
                </a:lnTo>
                <a:lnTo>
                  <a:pt x="1951" y="270"/>
                </a:lnTo>
                <a:lnTo>
                  <a:pt x="1953" y="267"/>
                </a:lnTo>
                <a:lnTo>
                  <a:pt x="1955" y="265"/>
                </a:lnTo>
                <a:lnTo>
                  <a:pt x="1956" y="264"/>
                </a:lnTo>
                <a:lnTo>
                  <a:pt x="1960" y="263"/>
                </a:lnTo>
                <a:close/>
                <a:moveTo>
                  <a:pt x="1318" y="364"/>
                </a:moveTo>
                <a:lnTo>
                  <a:pt x="1322" y="364"/>
                </a:lnTo>
                <a:lnTo>
                  <a:pt x="1324" y="365"/>
                </a:lnTo>
                <a:lnTo>
                  <a:pt x="1326" y="366"/>
                </a:lnTo>
                <a:lnTo>
                  <a:pt x="1328" y="367"/>
                </a:lnTo>
                <a:lnTo>
                  <a:pt x="1329" y="368"/>
                </a:lnTo>
                <a:lnTo>
                  <a:pt x="1332" y="371"/>
                </a:lnTo>
                <a:lnTo>
                  <a:pt x="1333" y="374"/>
                </a:lnTo>
                <a:lnTo>
                  <a:pt x="1333" y="376"/>
                </a:lnTo>
                <a:lnTo>
                  <a:pt x="1333" y="379"/>
                </a:lnTo>
                <a:lnTo>
                  <a:pt x="1333" y="381"/>
                </a:lnTo>
                <a:lnTo>
                  <a:pt x="1331" y="384"/>
                </a:lnTo>
                <a:lnTo>
                  <a:pt x="1330" y="386"/>
                </a:lnTo>
                <a:lnTo>
                  <a:pt x="1328" y="388"/>
                </a:lnTo>
                <a:lnTo>
                  <a:pt x="1326" y="389"/>
                </a:lnTo>
                <a:lnTo>
                  <a:pt x="1322" y="390"/>
                </a:lnTo>
                <a:lnTo>
                  <a:pt x="1318" y="390"/>
                </a:lnTo>
                <a:lnTo>
                  <a:pt x="1316" y="390"/>
                </a:lnTo>
                <a:lnTo>
                  <a:pt x="1314" y="389"/>
                </a:lnTo>
                <a:lnTo>
                  <a:pt x="1312" y="388"/>
                </a:lnTo>
                <a:lnTo>
                  <a:pt x="1311" y="387"/>
                </a:lnTo>
                <a:lnTo>
                  <a:pt x="1308" y="383"/>
                </a:lnTo>
                <a:lnTo>
                  <a:pt x="1307" y="381"/>
                </a:lnTo>
                <a:lnTo>
                  <a:pt x="1307" y="378"/>
                </a:lnTo>
                <a:lnTo>
                  <a:pt x="1307" y="376"/>
                </a:lnTo>
                <a:lnTo>
                  <a:pt x="1308" y="373"/>
                </a:lnTo>
                <a:lnTo>
                  <a:pt x="1309" y="371"/>
                </a:lnTo>
                <a:lnTo>
                  <a:pt x="1310" y="369"/>
                </a:lnTo>
                <a:lnTo>
                  <a:pt x="1312" y="367"/>
                </a:lnTo>
                <a:lnTo>
                  <a:pt x="1314" y="366"/>
                </a:lnTo>
                <a:lnTo>
                  <a:pt x="1318" y="364"/>
                </a:lnTo>
                <a:close/>
                <a:moveTo>
                  <a:pt x="1895" y="254"/>
                </a:moveTo>
                <a:lnTo>
                  <a:pt x="1898" y="254"/>
                </a:lnTo>
                <a:lnTo>
                  <a:pt x="1901" y="254"/>
                </a:lnTo>
                <a:lnTo>
                  <a:pt x="1903" y="255"/>
                </a:lnTo>
                <a:lnTo>
                  <a:pt x="1905" y="257"/>
                </a:lnTo>
                <a:lnTo>
                  <a:pt x="1907" y="259"/>
                </a:lnTo>
                <a:lnTo>
                  <a:pt x="1908" y="261"/>
                </a:lnTo>
                <a:lnTo>
                  <a:pt x="1909" y="263"/>
                </a:lnTo>
                <a:lnTo>
                  <a:pt x="1910" y="266"/>
                </a:lnTo>
                <a:lnTo>
                  <a:pt x="1910" y="268"/>
                </a:lnTo>
                <a:lnTo>
                  <a:pt x="1909" y="270"/>
                </a:lnTo>
                <a:lnTo>
                  <a:pt x="1909" y="272"/>
                </a:lnTo>
                <a:lnTo>
                  <a:pt x="1906" y="276"/>
                </a:lnTo>
                <a:lnTo>
                  <a:pt x="1903" y="278"/>
                </a:lnTo>
                <a:lnTo>
                  <a:pt x="1901" y="279"/>
                </a:lnTo>
                <a:lnTo>
                  <a:pt x="1899" y="280"/>
                </a:lnTo>
                <a:lnTo>
                  <a:pt x="1895" y="280"/>
                </a:lnTo>
                <a:lnTo>
                  <a:pt x="1893" y="279"/>
                </a:lnTo>
                <a:lnTo>
                  <a:pt x="1891" y="278"/>
                </a:lnTo>
                <a:lnTo>
                  <a:pt x="1888" y="277"/>
                </a:lnTo>
                <a:lnTo>
                  <a:pt x="1887" y="275"/>
                </a:lnTo>
                <a:lnTo>
                  <a:pt x="1885" y="273"/>
                </a:lnTo>
                <a:lnTo>
                  <a:pt x="1884" y="271"/>
                </a:lnTo>
                <a:lnTo>
                  <a:pt x="1884" y="268"/>
                </a:lnTo>
                <a:lnTo>
                  <a:pt x="1884" y="265"/>
                </a:lnTo>
                <a:lnTo>
                  <a:pt x="1884" y="263"/>
                </a:lnTo>
                <a:lnTo>
                  <a:pt x="1885" y="261"/>
                </a:lnTo>
                <a:lnTo>
                  <a:pt x="1887" y="258"/>
                </a:lnTo>
                <a:lnTo>
                  <a:pt x="1891" y="255"/>
                </a:lnTo>
                <a:lnTo>
                  <a:pt x="1893" y="254"/>
                </a:lnTo>
                <a:lnTo>
                  <a:pt x="1895" y="254"/>
                </a:lnTo>
                <a:close/>
                <a:moveTo>
                  <a:pt x="1378" y="337"/>
                </a:moveTo>
                <a:lnTo>
                  <a:pt x="1382" y="337"/>
                </a:lnTo>
                <a:lnTo>
                  <a:pt x="1386" y="338"/>
                </a:lnTo>
                <a:lnTo>
                  <a:pt x="1388" y="339"/>
                </a:lnTo>
                <a:lnTo>
                  <a:pt x="1390" y="341"/>
                </a:lnTo>
                <a:lnTo>
                  <a:pt x="1392" y="344"/>
                </a:lnTo>
                <a:lnTo>
                  <a:pt x="1393" y="347"/>
                </a:lnTo>
                <a:lnTo>
                  <a:pt x="1393" y="349"/>
                </a:lnTo>
                <a:lnTo>
                  <a:pt x="1393" y="352"/>
                </a:lnTo>
                <a:lnTo>
                  <a:pt x="1392" y="354"/>
                </a:lnTo>
                <a:lnTo>
                  <a:pt x="1391" y="357"/>
                </a:lnTo>
                <a:lnTo>
                  <a:pt x="1390" y="359"/>
                </a:lnTo>
                <a:lnTo>
                  <a:pt x="1388" y="360"/>
                </a:lnTo>
                <a:lnTo>
                  <a:pt x="1385" y="362"/>
                </a:lnTo>
                <a:lnTo>
                  <a:pt x="1382" y="362"/>
                </a:lnTo>
                <a:lnTo>
                  <a:pt x="1378" y="362"/>
                </a:lnTo>
                <a:lnTo>
                  <a:pt x="1374" y="361"/>
                </a:lnTo>
                <a:lnTo>
                  <a:pt x="1372" y="360"/>
                </a:lnTo>
                <a:lnTo>
                  <a:pt x="1370" y="358"/>
                </a:lnTo>
                <a:lnTo>
                  <a:pt x="1368" y="355"/>
                </a:lnTo>
                <a:lnTo>
                  <a:pt x="1367" y="352"/>
                </a:lnTo>
                <a:lnTo>
                  <a:pt x="1367" y="350"/>
                </a:lnTo>
                <a:lnTo>
                  <a:pt x="1367" y="347"/>
                </a:lnTo>
                <a:lnTo>
                  <a:pt x="1368" y="345"/>
                </a:lnTo>
                <a:lnTo>
                  <a:pt x="1369" y="342"/>
                </a:lnTo>
                <a:lnTo>
                  <a:pt x="1371" y="340"/>
                </a:lnTo>
                <a:lnTo>
                  <a:pt x="1373" y="339"/>
                </a:lnTo>
                <a:lnTo>
                  <a:pt x="1375" y="337"/>
                </a:lnTo>
                <a:lnTo>
                  <a:pt x="1378" y="337"/>
                </a:lnTo>
                <a:close/>
                <a:moveTo>
                  <a:pt x="1829" y="249"/>
                </a:moveTo>
                <a:lnTo>
                  <a:pt x="1831" y="249"/>
                </a:lnTo>
                <a:lnTo>
                  <a:pt x="1834" y="249"/>
                </a:lnTo>
                <a:lnTo>
                  <a:pt x="1836" y="250"/>
                </a:lnTo>
                <a:lnTo>
                  <a:pt x="1839" y="252"/>
                </a:lnTo>
                <a:lnTo>
                  <a:pt x="1840" y="253"/>
                </a:lnTo>
                <a:lnTo>
                  <a:pt x="1842" y="255"/>
                </a:lnTo>
                <a:lnTo>
                  <a:pt x="1843" y="257"/>
                </a:lnTo>
                <a:lnTo>
                  <a:pt x="1844" y="260"/>
                </a:lnTo>
                <a:lnTo>
                  <a:pt x="1844" y="263"/>
                </a:lnTo>
                <a:lnTo>
                  <a:pt x="1844" y="265"/>
                </a:lnTo>
                <a:lnTo>
                  <a:pt x="1843" y="267"/>
                </a:lnTo>
                <a:lnTo>
                  <a:pt x="1842" y="269"/>
                </a:lnTo>
                <a:lnTo>
                  <a:pt x="1841" y="271"/>
                </a:lnTo>
                <a:lnTo>
                  <a:pt x="1839" y="272"/>
                </a:lnTo>
                <a:lnTo>
                  <a:pt x="1837" y="274"/>
                </a:lnTo>
                <a:lnTo>
                  <a:pt x="1835" y="274"/>
                </a:lnTo>
                <a:lnTo>
                  <a:pt x="1833" y="275"/>
                </a:lnTo>
                <a:lnTo>
                  <a:pt x="1830" y="275"/>
                </a:lnTo>
                <a:lnTo>
                  <a:pt x="1828" y="275"/>
                </a:lnTo>
                <a:lnTo>
                  <a:pt x="1825" y="274"/>
                </a:lnTo>
                <a:lnTo>
                  <a:pt x="1823" y="273"/>
                </a:lnTo>
                <a:lnTo>
                  <a:pt x="1821" y="271"/>
                </a:lnTo>
                <a:lnTo>
                  <a:pt x="1820" y="269"/>
                </a:lnTo>
                <a:lnTo>
                  <a:pt x="1819" y="267"/>
                </a:lnTo>
                <a:lnTo>
                  <a:pt x="1818" y="264"/>
                </a:lnTo>
                <a:lnTo>
                  <a:pt x="1818" y="262"/>
                </a:lnTo>
                <a:lnTo>
                  <a:pt x="1818" y="259"/>
                </a:lnTo>
                <a:lnTo>
                  <a:pt x="1819" y="257"/>
                </a:lnTo>
                <a:lnTo>
                  <a:pt x="1820" y="255"/>
                </a:lnTo>
                <a:lnTo>
                  <a:pt x="1821" y="253"/>
                </a:lnTo>
                <a:lnTo>
                  <a:pt x="1823" y="252"/>
                </a:lnTo>
                <a:lnTo>
                  <a:pt x="1824" y="251"/>
                </a:lnTo>
                <a:lnTo>
                  <a:pt x="1826" y="250"/>
                </a:lnTo>
                <a:lnTo>
                  <a:pt x="1829" y="249"/>
                </a:lnTo>
                <a:close/>
                <a:moveTo>
                  <a:pt x="1439" y="312"/>
                </a:moveTo>
                <a:lnTo>
                  <a:pt x="1444" y="312"/>
                </a:lnTo>
                <a:lnTo>
                  <a:pt x="1446" y="313"/>
                </a:lnTo>
                <a:lnTo>
                  <a:pt x="1448" y="314"/>
                </a:lnTo>
                <a:lnTo>
                  <a:pt x="1452" y="317"/>
                </a:lnTo>
                <a:lnTo>
                  <a:pt x="1453" y="318"/>
                </a:lnTo>
                <a:lnTo>
                  <a:pt x="1454" y="321"/>
                </a:lnTo>
                <a:lnTo>
                  <a:pt x="1455" y="326"/>
                </a:lnTo>
                <a:lnTo>
                  <a:pt x="1454" y="328"/>
                </a:lnTo>
                <a:lnTo>
                  <a:pt x="1453" y="331"/>
                </a:lnTo>
                <a:lnTo>
                  <a:pt x="1452" y="333"/>
                </a:lnTo>
                <a:lnTo>
                  <a:pt x="1450" y="335"/>
                </a:lnTo>
                <a:lnTo>
                  <a:pt x="1448" y="336"/>
                </a:lnTo>
                <a:lnTo>
                  <a:pt x="1446" y="337"/>
                </a:lnTo>
                <a:lnTo>
                  <a:pt x="1444" y="338"/>
                </a:lnTo>
                <a:lnTo>
                  <a:pt x="1439" y="338"/>
                </a:lnTo>
                <a:lnTo>
                  <a:pt x="1437" y="337"/>
                </a:lnTo>
                <a:lnTo>
                  <a:pt x="1435" y="336"/>
                </a:lnTo>
                <a:lnTo>
                  <a:pt x="1432" y="334"/>
                </a:lnTo>
                <a:lnTo>
                  <a:pt x="1430" y="332"/>
                </a:lnTo>
                <a:lnTo>
                  <a:pt x="1429" y="330"/>
                </a:lnTo>
                <a:lnTo>
                  <a:pt x="1428" y="324"/>
                </a:lnTo>
                <a:lnTo>
                  <a:pt x="1429" y="322"/>
                </a:lnTo>
                <a:lnTo>
                  <a:pt x="1430" y="320"/>
                </a:lnTo>
                <a:lnTo>
                  <a:pt x="1431" y="317"/>
                </a:lnTo>
                <a:lnTo>
                  <a:pt x="1433" y="315"/>
                </a:lnTo>
                <a:lnTo>
                  <a:pt x="1435" y="314"/>
                </a:lnTo>
                <a:lnTo>
                  <a:pt x="1437" y="313"/>
                </a:lnTo>
                <a:lnTo>
                  <a:pt x="1439" y="312"/>
                </a:lnTo>
                <a:close/>
                <a:moveTo>
                  <a:pt x="1762" y="249"/>
                </a:moveTo>
                <a:lnTo>
                  <a:pt x="1764" y="249"/>
                </a:lnTo>
                <a:lnTo>
                  <a:pt x="1767" y="249"/>
                </a:lnTo>
                <a:lnTo>
                  <a:pt x="1769" y="250"/>
                </a:lnTo>
                <a:lnTo>
                  <a:pt x="1772" y="251"/>
                </a:lnTo>
                <a:lnTo>
                  <a:pt x="1774" y="252"/>
                </a:lnTo>
                <a:lnTo>
                  <a:pt x="1775" y="254"/>
                </a:lnTo>
                <a:lnTo>
                  <a:pt x="1777" y="256"/>
                </a:lnTo>
                <a:lnTo>
                  <a:pt x="1777" y="258"/>
                </a:lnTo>
                <a:lnTo>
                  <a:pt x="1777" y="259"/>
                </a:lnTo>
                <a:lnTo>
                  <a:pt x="1778" y="262"/>
                </a:lnTo>
                <a:lnTo>
                  <a:pt x="1778" y="264"/>
                </a:lnTo>
                <a:lnTo>
                  <a:pt x="1777" y="266"/>
                </a:lnTo>
                <a:lnTo>
                  <a:pt x="1776" y="268"/>
                </a:lnTo>
                <a:lnTo>
                  <a:pt x="1775" y="270"/>
                </a:lnTo>
                <a:lnTo>
                  <a:pt x="1773" y="272"/>
                </a:lnTo>
                <a:lnTo>
                  <a:pt x="1771" y="273"/>
                </a:lnTo>
                <a:lnTo>
                  <a:pt x="1769" y="274"/>
                </a:lnTo>
                <a:lnTo>
                  <a:pt x="1767" y="275"/>
                </a:lnTo>
                <a:lnTo>
                  <a:pt x="1765" y="275"/>
                </a:lnTo>
                <a:lnTo>
                  <a:pt x="1762" y="275"/>
                </a:lnTo>
                <a:lnTo>
                  <a:pt x="1760" y="274"/>
                </a:lnTo>
                <a:lnTo>
                  <a:pt x="1758" y="273"/>
                </a:lnTo>
                <a:lnTo>
                  <a:pt x="1756" y="271"/>
                </a:lnTo>
                <a:lnTo>
                  <a:pt x="1754" y="270"/>
                </a:lnTo>
                <a:lnTo>
                  <a:pt x="1753" y="267"/>
                </a:lnTo>
                <a:lnTo>
                  <a:pt x="1752" y="266"/>
                </a:lnTo>
                <a:lnTo>
                  <a:pt x="1752" y="265"/>
                </a:lnTo>
                <a:lnTo>
                  <a:pt x="1752" y="262"/>
                </a:lnTo>
                <a:lnTo>
                  <a:pt x="1752" y="260"/>
                </a:lnTo>
                <a:lnTo>
                  <a:pt x="1752" y="258"/>
                </a:lnTo>
                <a:lnTo>
                  <a:pt x="1753" y="255"/>
                </a:lnTo>
                <a:lnTo>
                  <a:pt x="1755" y="254"/>
                </a:lnTo>
                <a:lnTo>
                  <a:pt x="1756" y="252"/>
                </a:lnTo>
                <a:lnTo>
                  <a:pt x="1758" y="251"/>
                </a:lnTo>
                <a:lnTo>
                  <a:pt x="1760" y="250"/>
                </a:lnTo>
                <a:lnTo>
                  <a:pt x="1762" y="249"/>
                </a:lnTo>
                <a:close/>
                <a:moveTo>
                  <a:pt x="1502" y="291"/>
                </a:moveTo>
                <a:lnTo>
                  <a:pt x="1507" y="291"/>
                </a:lnTo>
                <a:lnTo>
                  <a:pt x="1509" y="292"/>
                </a:lnTo>
                <a:lnTo>
                  <a:pt x="1511" y="293"/>
                </a:lnTo>
                <a:lnTo>
                  <a:pt x="1513" y="295"/>
                </a:lnTo>
                <a:lnTo>
                  <a:pt x="1514" y="295"/>
                </a:lnTo>
                <a:lnTo>
                  <a:pt x="1515" y="296"/>
                </a:lnTo>
                <a:lnTo>
                  <a:pt x="1516" y="298"/>
                </a:lnTo>
                <a:lnTo>
                  <a:pt x="1517" y="301"/>
                </a:lnTo>
                <a:lnTo>
                  <a:pt x="1517" y="303"/>
                </a:lnTo>
                <a:lnTo>
                  <a:pt x="1517" y="306"/>
                </a:lnTo>
                <a:lnTo>
                  <a:pt x="1517" y="308"/>
                </a:lnTo>
                <a:lnTo>
                  <a:pt x="1516" y="311"/>
                </a:lnTo>
                <a:lnTo>
                  <a:pt x="1515" y="312"/>
                </a:lnTo>
                <a:lnTo>
                  <a:pt x="1514" y="313"/>
                </a:lnTo>
                <a:lnTo>
                  <a:pt x="1513" y="314"/>
                </a:lnTo>
                <a:lnTo>
                  <a:pt x="1510" y="316"/>
                </a:lnTo>
                <a:lnTo>
                  <a:pt x="1508" y="317"/>
                </a:lnTo>
                <a:lnTo>
                  <a:pt x="1507" y="317"/>
                </a:lnTo>
                <a:lnTo>
                  <a:pt x="1502" y="317"/>
                </a:lnTo>
                <a:lnTo>
                  <a:pt x="1500" y="317"/>
                </a:lnTo>
                <a:lnTo>
                  <a:pt x="1497" y="316"/>
                </a:lnTo>
                <a:lnTo>
                  <a:pt x="1496" y="314"/>
                </a:lnTo>
                <a:lnTo>
                  <a:pt x="1495" y="313"/>
                </a:lnTo>
                <a:lnTo>
                  <a:pt x="1494" y="312"/>
                </a:lnTo>
                <a:lnTo>
                  <a:pt x="1493" y="310"/>
                </a:lnTo>
                <a:lnTo>
                  <a:pt x="1492" y="308"/>
                </a:lnTo>
                <a:lnTo>
                  <a:pt x="1491" y="305"/>
                </a:lnTo>
                <a:lnTo>
                  <a:pt x="1491" y="303"/>
                </a:lnTo>
                <a:lnTo>
                  <a:pt x="1492" y="300"/>
                </a:lnTo>
                <a:lnTo>
                  <a:pt x="1493" y="298"/>
                </a:lnTo>
                <a:lnTo>
                  <a:pt x="1493" y="297"/>
                </a:lnTo>
                <a:lnTo>
                  <a:pt x="1494" y="296"/>
                </a:lnTo>
                <a:lnTo>
                  <a:pt x="1496" y="294"/>
                </a:lnTo>
                <a:lnTo>
                  <a:pt x="1498" y="293"/>
                </a:lnTo>
                <a:lnTo>
                  <a:pt x="1501" y="292"/>
                </a:lnTo>
                <a:lnTo>
                  <a:pt x="1502" y="291"/>
                </a:lnTo>
                <a:close/>
                <a:moveTo>
                  <a:pt x="1696" y="253"/>
                </a:moveTo>
                <a:lnTo>
                  <a:pt x="1699" y="253"/>
                </a:lnTo>
                <a:lnTo>
                  <a:pt x="1702" y="254"/>
                </a:lnTo>
                <a:lnTo>
                  <a:pt x="1705" y="255"/>
                </a:lnTo>
                <a:lnTo>
                  <a:pt x="1707" y="256"/>
                </a:lnTo>
                <a:lnTo>
                  <a:pt x="1709" y="258"/>
                </a:lnTo>
                <a:lnTo>
                  <a:pt x="1710" y="260"/>
                </a:lnTo>
                <a:lnTo>
                  <a:pt x="1711" y="262"/>
                </a:lnTo>
                <a:lnTo>
                  <a:pt x="1712" y="265"/>
                </a:lnTo>
                <a:lnTo>
                  <a:pt x="1712" y="267"/>
                </a:lnTo>
                <a:lnTo>
                  <a:pt x="1711" y="270"/>
                </a:lnTo>
                <a:lnTo>
                  <a:pt x="1710" y="272"/>
                </a:lnTo>
                <a:lnTo>
                  <a:pt x="1709" y="274"/>
                </a:lnTo>
                <a:lnTo>
                  <a:pt x="1706" y="277"/>
                </a:lnTo>
                <a:lnTo>
                  <a:pt x="1703" y="278"/>
                </a:lnTo>
                <a:lnTo>
                  <a:pt x="1701" y="279"/>
                </a:lnTo>
                <a:lnTo>
                  <a:pt x="1698" y="279"/>
                </a:lnTo>
                <a:lnTo>
                  <a:pt x="1695" y="279"/>
                </a:lnTo>
                <a:lnTo>
                  <a:pt x="1693" y="278"/>
                </a:lnTo>
                <a:lnTo>
                  <a:pt x="1690" y="276"/>
                </a:lnTo>
                <a:lnTo>
                  <a:pt x="1689" y="274"/>
                </a:lnTo>
                <a:lnTo>
                  <a:pt x="1687" y="272"/>
                </a:lnTo>
                <a:lnTo>
                  <a:pt x="1686" y="270"/>
                </a:lnTo>
                <a:lnTo>
                  <a:pt x="1686" y="267"/>
                </a:lnTo>
                <a:lnTo>
                  <a:pt x="1686" y="265"/>
                </a:lnTo>
                <a:lnTo>
                  <a:pt x="1686" y="262"/>
                </a:lnTo>
                <a:lnTo>
                  <a:pt x="1687" y="260"/>
                </a:lnTo>
                <a:lnTo>
                  <a:pt x="1688" y="258"/>
                </a:lnTo>
                <a:lnTo>
                  <a:pt x="1692" y="255"/>
                </a:lnTo>
                <a:lnTo>
                  <a:pt x="1694" y="254"/>
                </a:lnTo>
                <a:lnTo>
                  <a:pt x="1696" y="253"/>
                </a:lnTo>
                <a:close/>
                <a:moveTo>
                  <a:pt x="1566" y="275"/>
                </a:moveTo>
                <a:lnTo>
                  <a:pt x="1571" y="275"/>
                </a:lnTo>
                <a:lnTo>
                  <a:pt x="1573" y="275"/>
                </a:lnTo>
                <a:lnTo>
                  <a:pt x="1575" y="277"/>
                </a:lnTo>
                <a:lnTo>
                  <a:pt x="1577" y="278"/>
                </a:lnTo>
                <a:lnTo>
                  <a:pt x="1579" y="280"/>
                </a:lnTo>
                <a:lnTo>
                  <a:pt x="1580" y="282"/>
                </a:lnTo>
                <a:lnTo>
                  <a:pt x="1581" y="285"/>
                </a:lnTo>
                <a:lnTo>
                  <a:pt x="1581" y="287"/>
                </a:lnTo>
                <a:lnTo>
                  <a:pt x="1581" y="290"/>
                </a:lnTo>
                <a:lnTo>
                  <a:pt x="1580" y="292"/>
                </a:lnTo>
                <a:lnTo>
                  <a:pt x="1579" y="294"/>
                </a:lnTo>
                <a:lnTo>
                  <a:pt x="1578" y="296"/>
                </a:lnTo>
                <a:lnTo>
                  <a:pt x="1576" y="298"/>
                </a:lnTo>
                <a:lnTo>
                  <a:pt x="1574" y="299"/>
                </a:lnTo>
                <a:lnTo>
                  <a:pt x="1571" y="300"/>
                </a:lnTo>
                <a:lnTo>
                  <a:pt x="1566" y="300"/>
                </a:lnTo>
                <a:lnTo>
                  <a:pt x="1563" y="300"/>
                </a:lnTo>
                <a:lnTo>
                  <a:pt x="1561" y="298"/>
                </a:lnTo>
                <a:lnTo>
                  <a:pt x="1559" y="297"/>
                </a:lnTo>
                <a:lnTo>
                  <a:pt x="1557" y="295"/>
                </a:lnTo>
                <a:lnTo>
                  <a:pt x="1556" y="293"/>
                </a:lnTo>
                <a:lnTo>
                  <a:pt x="1555" y="290"/>
                </a:lnTo>
                <a:lnTo>
                  <a:pt x="1555" y="288"/>
                </a:lnTo>
                <a:lnTo>
                  <a:pt x="1555" y="285"/>
                </a:lnTo>
                <a:lnTo>
                  <a:pt x="1556" y="283"/>
                </a:lnTo>
                <a:lnTo>
                  <a:pt x="1557" y="281"/>
                </a:lnTo>
                <a:lnTo>
                  <a:pt x="1559" y="279"/>
                </a:lnTo>
                <a:lnTo>
                  <a:pt x="1561" y="277"/>
                </a:lnTo>
                <a:lnTo>
                  <a:pt x="1563" y="276"/>
                </a:lnTo>
                <a:lnTo>
                  <a:pt x="1565" y="275"/>
                </a:lnTo>
                <a:lnTo>
                  <a:pt x="1566" y="275"/>
                </a:lnTo>
                <a:close/>
                <a:moveTo>
                  <a:pt x="1631" y="262"/>
                </a:moveTo>
                <a:lnTo>
                  <a:pt x="1634" y="262"/>
                </a:lnTo>
                <a:lnTo>
                  <a:pt x="1636" y="262"/>
                </a:lnTo>
                <a:lnTo>
                  <a:pt x="1639" y="263"/>
                </a:lnTo>
                <a:lnTo>
                  <a:pt x="1641" y="264"/>
                </a:lnTo>
                <a:lnTo>
                  <a:pt x="1643" y="266"/>
                </a:lnTo>
                <a:lnTo>
                  <a:pt x="1644" y="268"/>
                </a:lnTo>
                <a:lnTo>
                  <a:pt x="1645" y="270"/>
                </a:lnTo>
                <a:lnTo>
                  <a:pt x="1646" y="273"/>
                </a:lnTo>
                <a:lnTo>
                  <a:pt x="1646" y="275"/>
                </a:lnTo>
                <a:lnTo>
                  <a:pt x="1646" y="278"/>
                </a:lnTo>
                <a:lnTo>
                  <a:pt x="1645" y="280"/>
                </a:lnTo>
                <a:lnTo>
                  <a:pt x="1644" y="282"/>
                </a:lnTo>
                <a:lnTo>
                  <a:pt x="1640" y="286"/>
                </a:lnTo>
                <a:lnTo>
                  <a:pt x="1638" y="287"/>
                </a:lnTo>
                <a:lnTo>
                  <a:pt x="1635" y="288"/>
                </a:lnTo>
                <a:lnTo>
                  <a:pt x="1633" y="288"/>
                </a:lnTo>
                <a:lnTo>
                  <a:pt x="1630" y="287"/>
                </a:lnTo>
                <a:lnTo>
                  <a:pt x="1628" y="287"/>
                </a:lnTo>
                <a:lnTo>
                  <a:pt x="1625" y="285"/>
                </a:lnTo>
                <a:lnTo>
                  <a:pt x="1624" y="284"/>
                </a:lnTo>
                <a:lnTo>
                  <a:pt x="1622" y="282"/>
                </a:lnTo>
                <a:lnTo>
                  <a:pt x="1621" y="279"/>
                </a:lnTo>
                <a:lnTo>
                  <a:pt x="1620" y="277"/>
                </a:lnTo>
                <a:lnTo>
                  <a:pt x="1620" y="274"/>
                </a:lnTo>
                <a:lnTo>
                  <a:pt x="1620" y="272"/>
                </a:lnTo>
                <a:lnTo>
                  <a:pt x="1621" y="269"/>
                </a:lnTo>
                <a:lnTo>
                  <a:pt x="1622" y="267"/>
                </a:lnTo>
                <a:lnTo>
                  <a:pt x="1626" y="264"/>
                </a:lnTo>
                <a:lnTo>
                  <a:pt x="1628" y="262"/>
                </a:lnTo>
                <a:lnTo>
                  <a:pt x="1631" y="262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766763" y="2565400"/>
            <a:ext cx="2592933" cy="3671888"/>
          </a:xfrm>
          <a:prstGeom prst="roundRect">
            <a:avLst>
              <a:gd name="adj" fmla="val 5672"/>
            </a:avLst>
          </a:prstGeom>
          <a:solidFill>
            <a:schemeClr val="accent1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714375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6168008" y="2565400"/>
            <a:ext cx="2520280" cy="3671888"/>
          </a:xfrm>
          <a:prstGeom prst="roundRect">
            <a:avLst>
              <a:gd name="adj" fmla="val 5631"/>
            </a:avLst>
          </a:prstGeom>
          <a:solidFill>
            <a:schemeClr val="accent4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714375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3503712" y="2565400"/>
            <a:ext cx="2520280" cy="3671888"/>
          </a:xfrm>
          <a:prstGeom prst="roundRect">
            <a:avLst>
              <a:gd name="adj" fmla="val 5907"/>
            </a:avLst>
          </a:prstGeom>
          <a:solidFill>
            <a:schemeClr val="accent2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714375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25"/>
          </p:nvPr>
        </p:nvSpPr>
        <p:spPr>
          <a:xfrm>
            <a:off x="8832305" y="2565400"/>
            <a:ext cx="2592934" cy="3671888"/>
          </a:xfrm>
          <a:prstGeom prst="roundRect">
            <a:avLst>
              <a:gd name="adj" fmla="val 5806"/>
            </a:avLst>
          </a:prstGeom>
          <a:solidFill>
            <a:srgbClr val="2C495A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4pPr>
            <a:lvl5pPr marL="714375" indent="-174625">
              <a:spcBef>
                <a:spcPts val="200"/>
              </a:spcBef>
              <a:defRPr sz="1200">
                <a:solidFill>
                  <a:schemeClr val="bg1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766763" y="1916112"/>
            <a:ext cx="2592933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8"/>
          </p:nvPr>
        </p:nvSpPr>
        <p:spPr>
          <a:xfrm>
            <a:off x="3503712" y="1916112"/>
            <a:ext cx="2520280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9"/>
          </p:nvPr>
        </p:nvSpPr>
        <p:spPr>
          <a:xfrm>
            <a:off x="6168008" y="1916112"/>
            <a:ext cx="2520280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30"/>
          </p:nvPr>
        </p:nvSpPr>
        <p:spPr>
          <a:xfrm>
            <a:off x="8832304" y="1916112"/>
            <a:ext cx="2592934" cy="64928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5" name="Freeform 24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345969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Wide" preserve="1" userDrawn="1">
  <p:cSld name="Table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6"/>
          <p:cNvSpPr>
            <a:spLocks noEditPoints="1"/>
          </p:cNvSpPr>
          <p:nvPr userDrawn="1"/>
        </p:nvSpPr>
        <p:spPr bwMode="auto">
          <a:xfrm>
            <a:off x="0" y="-1"/>
            <a:ext cx="2776617" cy="1916113"/>
          </a:xfrm>
          <a:custGeom>
            <a:avLst/>
            <a:gdLst>
              <a:gd name="T0" fmla="*/ 538 w 3259"/>
              <a:gd name="T1" fmla="*/ 418 h 2249"/>
              <a:gd name="T2" fmla="*/ 417 w 3259"/>
              <a:gd name="T3" fmla="*/ 389 h 2249"/>
              <a:gd name="T4" fmla="*/ 294 w 3259"/>
              <a:gd name="T5" fmla="*/ 300 h 2249"/>
              <a:gd name="T6" fmla="*/ 930 w 3259"/>
              <a:gd name="T7" fmla="*/ 266 h 2249"/>
              <a:gd name="T8" fmla="*/ 1044 w 3259"/>
              <a:gd name="T9" fmla="*/ 177 h 2249"/>
              <a:gd name="T10" fmla="*/ 1145 w 3259"/>
              <a:gd name="T11" fmla="*/ 46 h 2249"/>
              <a:gd name="T12" fmla="*/ 589 w 3259"/>
              <a:gd name="T13" fmla="*/ 862 h 2249"/>
              <a:gd name="T14" fmla="*/ 455 w 3259"/>
              <a:gd name="T15" fmla="*/ 846 h 2249"/>
              <a:gd name="T16" fmla="*/ 344 w 3259"/>
              <a:gd name="T17" fmla="*/ 764 h 2249"/>
              <a:gd name="T18" fmla="*/ 982 w 3259"/>
              <a:gd name="T19" fmla="*/ 711 h 2249"/>
              <a:gd name="T20" fmla="*/ 1085 w 3259"/>
              <a:gd name="T21" fmla="*/ 631 h 2249"/>
              <a:gd name="T22" fmla="*/ 1192 w 3259"/>
              <a:gd name="T23" fmla="*/ 510 h 2249"/>
              <a:gd name="T24" fmla="*/ 1657 w 3259"/>
              <a:gd name="T25" fmla="*/ 357 h 2249"/>
              <a:gd name="T26" fmla="*/ 1505 w 3259"/>
              <a:gd name="T27" fmla="*/ 347 h 2249"/>
              <a:gd name="T28" fmla="*/ 1387 w 3259"/>
              <a:gd name="T29" fmla="*/ 322 h 2249"/>
              <a:gd name="T30" fmla="*/ 2026 w 3259"/>
              <a:gd name="T31" fmla="*/ 140 h 2249"/>
              <a:gd name="T32" fmla="*/ 2112 w 3259"/>
              <a:gd name="T33" fmla="*/ 50 h 2249"/>
              <a:gd name="T34" fmla="*/ 793 w 3259"/>
              <a:gd name="T35" fmla="*/ 1325 h 2249"/>
              <a:gd name="T36" fmla="*/ 926 w 3259"/>
              <a:gd name="T37" fmla="*/ 1252 h 2249"/>
              <a:gd name="T38" fmla="*/ 366 w 3259"/>
              <a:gd name="T39" fmla="*/ 1213 h 2249"/>
              <a:gd name="T40" fmla="*/ 253 w 3259"/>
              <a:gd name="T41" fmla="*/ 1152 h 2249"/>
              <a:gd name="T42" fmla="*/ 145 w 3259"/>
              <a:gd name="T43" fmla="*/ 1055 h 2249"/>
              <a:gd name="T44" fmla="*/ 1235 w 3259"/>
              <a:gd name="T45" fmla="*/ 970 h 2249"/>
              <a:gd name="T46" fmla="*/ 1702 w 3259"/>
              <a:gd name="T47" fmla="*/ 813 h 2249"/>
              <a:gd name="T48" fmla="*/ 1551 w 3259"/>
              <a:gd name="T49" fmla="*/ 802 h 2249"/>
              <a:gd name="T50" fmla="*/ 1425 w 3259"/>
              <a:gd name="T51" fmla="*/ 777 h 2249"/>
              <a:gd name="T52" fmla="*/ 2080 w 3259"/>
              <a:gd name="T53" fmla="*/ 601 h 2249"/>
              <a:gd name="T54" fmla="*/ 2161 w 3259"/>
              <a:gd name="T55" fmla="*/ 496 h 2249"/>
              <a:gd name="T56" fmla="*/ 2339 w 3259"/>
              <a:gd name="T57" fmla="*/ 285 h 2249"/>
              <a:gd name="T58" fmla="*/ 2473 w 3259"/>
              <a:gd name="T59" fmla="*/ 4 h 2249"/>
              <a:gd name="T60" fmla="*/ 675 w 3259"/>
              <a:gd name="T61" fmla="*/ 1786 h 2249"/>
              <a:gd name="T62" fmla="*/ 549 w 3259"/>
              <a:gd name="T63" fmla="*/ 1756 h 2249"/>
              <a:gd name="T64" fmla="*/ 434 w 3259"/>
              <a:gd name="T65" fmla="*/ 1678 h 2249"/>
              <a:gd name="T66" fmla="*/ 306 w 3259"/>
              <a:gd name="T67" fmla="*/ 1583 h 2249"/>
              <a:gd name="T68" fmla="*/ 1169 w 3259"/>
              <a:gd name="T69" fmla="*/ 1534 h 2249"/>
              <a:gd name="T70" fmla="*/ 58 w 3259"/>
              <a:gd name="T71" fmla="*/ 1466 h 2249"/>
              <a:gd name="T72" fmla="*/ 1367 w 3259"/>
              <a:gd name="T73" fmla="*/ 1294 h 2249"/>
              <a:gd name="T74" fmla="*/ 1736 w 3259"/>
              <a:gd name="T75" fmla="*/ 1277 h 2249"/>
              <a:gd name="T76" fmla="*/ 1886 w 3259"/>
              <a:gd name="T77" fmla="*/ 1244 h 2249"/>
              <a:gd name="T78" fmla="*/ 2016 w 3259"/>
              <a:gd name="T79" fmla="*/ 1156 h 2249"/>
              <a:gd name="T80" fmla="*/ 2110 w 3259"/>
              <a:gd name="T81" fmla="*/ 1051 h 2249"/>
              <a:gd name="T82" fmla="*/ 2299 w 3259"/>
              <a:gd name="T83" fmla="*/ 857 h 2249"/>
              <a:gd name="T84" fmla="*/ 2471 w 3259"/>
              <a:gd name="T85" fmla="*/ 606 h 2249"/>
              <a:gd name="T86" fmla="*/ 2510 w 3259"/>
              <a:gd name="T87" fmla="*/ 455 h 2249"/>
              <a:gd name="T88" fmla="*/ 2616 w 3259"/>
              <a:gd name="T89" fmla="*/ 203 h 2249"/>
              <a:gd name="T90" fmla="*/ 738 w 3259"/>
              <a:gd name="T91" fmla="*/ 2247 h 2249"/>
              <a:gd name="T92" fmla="*/ 601 w 3259"/>
              <a:gd name="T93" fmla="*/ 2188 h 2249"/>
              <a:gd name="T94" fmla="*/ 471 w 3259"/>
              <a:gd name="T95" fmla="*/ 2118 h 2249"/>
              <a:gd name="T96" fmla="*/ 1113 w 3259"/>
              <a:gd name="T97" fmla="*/ 2086 h 2249"/>
              <a:gd name="T98" fmla="*/ 1222 w 3259"/>
              <a:gd name="T99" fmla="*/ 1996 h 2249"/>
              <a:gd name="T100" fmla="*/ 108 w 3259"/>
              <a:gd name="T101" fmla="*/ 1910 h 2249"/>
              <a:gd name="T102" fmla="*/ 1414 w 3259"/>
              <a:gd name="T103" fmla="*/ 1751 h 2249"/>
              <a:gd name="T104" fmla="*/ 1782 w 3259"/>
              <a:gd name="T105" fmla="*/ 1730 h 2249"/>
              <a:gd name="T106" fmla="*/ 1925 w 3259"/>
              <a:gd name="T107" fmla="*/ 1699 h 2249"/>
              <a:gd name="T108" fmla="*/ 2061 w 3259"/>
              <a:gd name="T109" fmla="*/ 1613 h 2249"/>
              <a:gd name="T110" fmla="*/ 2160 w 3259"/>
              <a:gd name="T111" fmla="*/ 1505 h 2249"/>
              <a:gd name="T112" fmla="*/ 2342 w 3259"/>
              <a:gd name="T113" fmla="*/ 1300 h 2249"/>
              <a:gd name="T114" fmla="*/ 2505 w 3259"/>
              <a:gd name="T115" fmla="*/ 1070 h 2249"/>
              <a:gd name="T116" fmla="*/ 2623 w 3259"/>
              <a:gd name="T117" fmla="*/ 792 h 2249"/>
              <a:gd name="T118" fmla="*/ 2751 w 3259"/>
              <a:gd name="T119" fmla="*/ 523 h 2249"/>
              <a:gd name="T120" fmla="*/ 2814 w 3259"/>
              <a:gd name="T121" fmla="*/ 409 h 2249"/>
              <a:gd name="T122" fmla="*/ 3017 w 3259"/>
              <a:gd name="T123" fmla="*/ 212 h 2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259" h="2249">
                <a:moveTo>
                  <a:pt x="3247" y="16"/>
                </a:moveTo>
                <a:lnTo>
                  <a:pt x="3250" y="16"/>
                </a:lnTo>
                <a:lnTo>
                  <a:pt x="3253" y="17"/>
                </a:lnTo>
                <a:lnTo>
                  <a:pt x="3255" y="19"/>
                </a:lnTo>
                <a:lnTo>
                  <a:pt x="3257" y="22"/>
                </a:lnTo>
                <a:lnTo>
                  <a:pt x="3259" y="26"/>
                </a:lnTo>
                <a:lnTo>
                  <a:pt x="3259" y="28"/>
                </a:lnTo>
                <a:lnTo>
                  <a:pt x="3258" y="31"/>
                </a:lnTo>
                <a:lnTo>
                  <a:pt x="3258" y="33"/>
                </a:lnTo>
                <a:lnTo>
                  <a:pt x="3256" y="35"/>
                </a:lnTo>
                <a:lnTo>
                  <a:pt x="3255" y="37"/>
                </a:lnTo>
                <a:lnTo>
                  <a:pt x="3253" y="38"/>
                </a:lnTo>
                <a:lnTo>
                  <a:pt x="3250" y="39"/>
                </a:lnTo>
                <a:lnTo>
                  <a:pt x="3247" y="40"/>
                </a:lnTo>
                <a:lnTo>
                  <a:pt x="3244" y="39"/>
                </a:lnTo>
                <a:lnTo>
                  <a:pt x="3241" y="38"/>
                </a:lnTo>
                <a:lnTo>
                  <a:pt x="3238" y="36"/>
                </a:lnTo>
                <a:lnTo>
                  <a:pt x="3236" y="34"/>
                </a:lnTo>
                <a:lnTo>
                  <a:pt x="3235" y="29"/>
                </a:lnTo>
                <a:lnTo>
                  <a:pt x="3235" y="27"/>
                </a:lnTo>
                <a:lnTo>
                  <a:pt x="3235" y="25"/>
                </a:lnTo>
                <a:lnTo>
                  <a:pt x="3236" y="23"/>
                </a:lnTo>
                <a:lnTo>
                  <a:pt x="3237" y="21"/>
                </a:lnTo>
                <a:lnTo>
                  <a:pt x="3239" y="19"/>
                </a:lnTo>
                <a:lnTo>
                  <a:pt x="3241" y="17"/>
                </a:lnTo>
                <a:lnTo>
                  <a:pt x="3244" y="16"/>
                </a:lnTo>
                <a:lnTo>
                  <a:pt x="3247" y="16"/>
                </a:lnTo>
                <a:close/>
                <a:moveTo>
                  <a:pt x="550" y="404"/>
                </a:moveTo>
                <a:lnTo>
                  <a:pt x="552" y="404"/>
                </a:lnTo>
                <a:lnTo>
                  <a:pt x="554" y="405"/>
                </a:lnTo>
                <a:lnTo>
                  <a:pt x="556" y="406"/>
                </a:lnTo>
                <a:lnTo>
                  <a:pt x="558" y="407"/>
                </a:lnTo>
                <a:lnTo>
                  <a:pt x="560" y="409"/>
                </a:lnTo>
                <a:lnTo>
                  <a:pt x="561" y="411"/>
                </a:lnTo>
                <a:lnTo>
                  <a:pt x="562" y="413"/>
                </a:lnTo>
                <a:lnTo>
                  <a:pt x="563" y="416"/>
                </a:lnTo>
                <a:lnTo>
                  <a:pt x="563" y="418"/>
                </a:lnTo>
                <a:lnTo>
                  <a:pt x="561" y="423"/>
                </a:lnTo>
                <a:lnTo>
                  <a:pt x="558" y="426"/>
                </a:lnTo>
                <a:lnTo>
                  <a:pt x="557" y="428"/>
                </a:lnTo>
                <a:lnTo>
                  <a:pt x="555" y="429"/>
                </a:lnTo>
                <a:lnTo>
                  <a:pt x="550" y="429"/>
                </a:lnTo>
                <a:lnTo>
                  <a:pt x="549" y="429"/>
                </a:lnTo>
                <a:lnTo>
                  <a:pt x="546" y="429"/>
                </a:lnTo>
                <a:lnTo>
                  <a:pt x="544" y="428"/>
                </a:lnTo>
                <a:lnTo>
                  <a:pt x="542" y="426"/>
                </a:lnTo>
                <a:lnTo>
                  <a:pt x="540" y="425"/>
                </a:lnTo>
                <a:lnTo>
                  <a:pt x="539" y="423"/>
                </a:lnTo>
                <a:lnTo>
                  <a:pt x="538" y="420"/>
                </a:lnTo>
                <a:lnTo>
                  <a:pt x="538" y="418"/>
                </a:lnTo>
                <a:lnTo>
                  <a:pt x="538" y="415"/>
                </a:lnTo>
                <a:lnTo>
                  <a:pt x="539" y="411"/>
                </a:lnTo>
                <a:lnTo>
                  <a:pt x="542" y="407"/>
                </a:lnTo>
                <a:lnTo>
                  <a:pt x="544" y="406"/>
                </a:lnTo>
                <a:lnTo>
                  <a:pt x="546" y="405"/>
                </a:lnTo>
                <a:lnTo>
                  <a:pt x="550" y="404"/>
                </a:lnTo>
                <a:close/>
                <a:moveTo>
                  <a:pt x="693" y="394"/>
                </a:moveTo>
                <a:lnTo>
                  <a:pt x="697" y="395"/>
                </a:lnTo>
                <a:lnTo>
                  <a:pt x="699" y="395"/>
                </a:lnTo>
                <a:lnTo>
                  <a:pt x="700" y="397"/>
                </a:lnTo>
                <a:lnTo>
                  <a:pt x="702" y="398"/>
                </a:lnTo>
                <a:lnTo>
                  <a:pt x="703" y="399"/>
                </a:lnTo>
                <a:lnTo>
                  <a:pt x="705" y="403"/>
                </a:lnTo>
                <a:lnTo>
                  <a:pt x="705" y="406"/>
                </a:lnTo>
                <a:lnTo>
                  <a:pt x="705" y="408"/>
                </a:lnTo>
                <a:lnTo>
                  <a:pt x="705" y="411"/>
                </a:lnTo>
                <a:lnTo>
                  <a:pt x="704" y="413"/>
                </a:lnTo>
                <a:lnTo>
                  <a:pt x="702" y="415"/>
                </a:lnTo>
                <a:lnTo>
                  <a:pt x="700" y="417"/>
                </a:lnTo>
                <a:lnTo>
                  <a:pt x="698" y="418"/>
                </a:lnTo>
                <a:lnTo>
                  <a:pt x="696" y="419"/>
                </a:lnTo>
                <a:lnTo>
                  <a:pt x="693" y="419"/>
                </a:lnTo>
                <a:lnTo>
                  <a:pt x="689" y="419"/>
                </a:lnTo>
                <a:lnTo>
                  <a:pt x="687" y="418"/>
                </a:lnTo>
                <a:lnTo>
                  <a:pt x="685" y="417"/>
                </a:lnTo>
                <a:lnTo>
                  <a:pt x="684" y="415"/>
                </a:lnTo>
                <a:lnTo>
                  <a:pt x="682" y="414"/>
                </a:lnTo>
                <a:lnTo>
                  <a:pt x="681" y="410"/>
                </a:lnTo>
                <a:lnTo>
                  <a:pt x="680" y="407"/>
                </a:lnTo>
                <a:lnTo>
                  <a:pt x="680" y="405"/>
                </a:lnTo>
                <a:lnTo>
                  <a:pt x="681" y="402"/>
                </a:lnTo>
                <a:lnTo>
                  <a:pt x="682" y="400"/>
                </a:lnTo>
                <a:lnTo>
                  <a:pt x="683" y="398"/>
                </a:lnTo>
                <a:lnTo>
                  <a:pt x="685" y="397"/>
                </a:lnTo>
                <a:lnTo>
                  <a:pt x="687" y="395"/>
                </a:lnTo>
                <a:lnTo>
                  <a:pt x="690" y="394"/>
                </a:lnTo>
                <a:lnTo>
                  <a:pt x="693" y="394"/>
                </a:lnTo>
                <a:close/>
                <a:moveTo>
                  <a:pt x="412" y="365"/>
                </a:moveTo>
                <a:lnTo>
                  <a:pt x="415" y="365"/>
                </a:lnTo>
                <a:lnTo>
                  <a:pt x="417" y="366"/>
                </a:lnTo>
                <a:lnTo>
                  <a:pt x="421" y="369"/>
                </a:lnTo>
                <a:lnTo>
                  <a:pt x="423" y="371"/>
                </a:lnTo>
                <a:lnTo>
                  <a:pt x="424" y="373"/>
                </a:lnTo>
                <a:lnTo>
                  <a:pt x="425" y="376"/>
                </a:lnTo>
                <a:lnTo>
                  <a:pt x="425" y="378"/>
                </a:lnTo>
                <a:lnTo>
                  <a:pt x="425" y="380"/>
                </a:lnTo>
                <a:lnTo>
                  <a:pt x="424" y="383"/>
                </a:lnTo>
                <a:lnTo>
                  <a:pt x="422" y="386"/>
                </a:lnTo>
                <a:lnTo>
                  <a:pt x="419" y="388"/>
                </a:lnTo>
                <a:lnTo>
                  <a:pt x="417" y="389"/>
                </a:lnTo>
                <a:lnTo>
                  <a:pt x="416" y="390"/>
                </a:lnTo>
                <a:lnTo>
                  <a:pt x="412" y="390"/>
                </a:lnTo>
                <a:lnTo>
                  <a:pt x="410" y="390"/>
                </a:lnTo>
                <a:lnTo>
                  <a:pt x="407" y="389"/>
                </a:lnTo>
                <a:lnTo>
                  <a:pt x="403" y="386"/>
                </a:lnTo>
                <a:lnTo>
                  <a:pt x="402" y="385"/>
                </a:lnTo>
                <a:lnTo>
                  <a:pt x="400" y="382"/>
                </a:lnTo>
                <a:lnTo>
                  <a:pt x="400" y="380"/>
                </a:lnTo>
                <a:lnTo>
                  <a:pt x="400" y="378"/>
                </a:lnTo>
                <a:lnTo>
                  <a:pt x="400" y="375"/>
                </a:lnTo>
                <a:lnTo>
                  <a:pt x="401" y="373"/>
                </a:lnTo>
                <a:lnTo>
                  <a:pt x="403" y="370"/>
                </a:lnTo>
                <a:lnTo>
                  <a:pt x="405" y="367"/>
                </a:lnTo>
                <a:lnTo>
                  <a:pt x="407" y="366"/>
                </a:lnTo>
                <a:lnTo>
                  <a:pt x="409" y="366"/>
                </a:lnTo>
                <a:lnTo>
                  <a:pt x="412" y="365"/>
                </a:lnTo>
                <a:close/>
                <a:moveTo>
                  <a:pt x="826" y="338"/>
                </a:moveTo>
                <a:lnTo>
                  <a:pt x="829" y="338"/>
                </a:lnTo>
                <a:lnTo>
                  <a:pt x="832" y="339"/>
                </a:lnTo>
                <a:lnTo>
                  <a:pt x="835" y="341"/>
                </a:lnTo>
                <a:lnTo>
                  <a:pt x="837" y="344"/>
                </a:lnTo>
                <a:lnTo>
                  <a:pt x="838" y="346"/>
                </a:lnTo>
                <a:lnTo>
                  <a:pt x="838" y="349"/>
                </a:lnTo>
                <a:lnTo>
                  <a:pt x="838" y="351"/>
                </a:lnTo>
                <a:lnTo>
                  <a:pt x="838" y="354"/>
                </a:lnTo>
                <a:lnTo>
                  <a:pt x="837" y="356"/>
                </a:lnTo>
                <a:lnTo>
                  <a:pt x="836" y="358"/>
                </a:lnTo>
                <a:lnTo>
                  <a:pt x="834" y="360"/>
                </a:lnTo>
                <a:lnTo>
                  <a:pt x="832" y="361"/>
                </a:lnTo>
                <a:lnTo>
                  <a:pt x="829" y="363"/>
                </a:lnTo>
                <a:lnTo>
                  <a:pt x="826" y="363"/>
                </a:lnTo>
                <a:lnTo>
                  <a:pt x="823" y="363"/>
                </a:lnTo>
                <a:lnTo>
                  <a:pt x="820" y="361"/>
                </a:lnTo>
                <a:lnTo>
                  <a:pt x="817" y="359"/>
                </a:lnTo>
                <a:lnTo>
                  <a:pt x="815" y="357"/>
                </a:lnTo>
                <a:lnTo>
                  <a:pt x="813" y="354"/>
                </a:lnTo>
                <a:lnTo>
                  <a:pt x="812" y="352"/>
                </a:lnTo>
                <a:lnTo>
                  <a:pt x="812" y="349"/>
                </a:lnTo>
                <a:lnTo>
                  <a:pt x="813" y="347"/>
                </a:lnTo>
                <a:lnTo>
                  <a:pt x="813" y="345"/>
                </a:lnTo>
                <a:lnTo>
                  <a:pt x="816" y="343"/>
                </a:lnTo>
                <a:lnTo>
                  <a:pt x="817" y="341"/>
                </a:lnTo>
                <a:lnTo>
                  <a:pt x="820" y="339"/>
                </a:lnTo>
                <a:lnTo>
                  <a:pt x="823" y="338"/>
                </a:lnTo>
                <a:lnTo>
                  <a:pt x="826" y="338"/>
                </a:lnTo>
                <a:close/>
                <a:moveTo>
                  <a:pt x="286" y="297"/>
                </a:moveTo>
                <a:lnTo>
                  <a:pt x="289" y="297"/>
                </a:lnTo>
                <a:lnTo>
                  <a:pt x="291" y="298"/>
                </a:lnTo>
                <a:lnTo>
                  <a:pt x="292" y="299"/>
                </a:lnTo>
                <a:lnTo>
                  <a:pt x="294" y="300"/>
                </a:lnTo>
                <a:lnTo>
                  <a:pt x="296" y="302"/>
                </a:lnTo>
                <a:lnTo>
                  <a:pt x="297" y="304"/>
                </a:lnTo>
                <a:lnTo>
                  <a:pt x="298" y="306"/>
                </a:lnTo>
                <a:lnTo>
                  <a:pt x="298" y="309"/>
                </a:lnTo>
                <a:lnTo>
                  <a:pt x="298" y="311"/>
                </a:lnTo>
                <a:lnTo>
                  <a:pt x="298" y="314"/>
                </a:lnTo>
                <a:lnTo>
                  <a:pt x="296" y="316"/>
                </a:lnTo>
                <a:lnTo>
                  <a:pt x="294" y="318"/>
                </a:lnTo>
                <a:lnTo>
                  <a:pt x="292" y="320"/>
                </a:lnTo>
                <a:lnTo>
                  <a:pt x="289" y="321"/>
                </a:lnTo>
                <a:lnTo>
                  <a:pt x="286" y="322"/>
                </a:lnTo>
                <a:lnTo>
                  <a:pt x="282" y="321"/>
                </a:lnTo>
                <a:lnTo>
                  <a:pt x="281" y="321"/>
                </a:lnTo>
                <a:lnTo>
                  <a:pt x="279" y="320"/>
                </a:lnTo>
                <a:lnTo>
                  <a:pt x="277" y="318"/>
                </a:lnTo>
                <a:lnTo>
                  <a:pt x="275" y="316"/>
                </a:lnTo>
                <a:lnTo>
                  <a:pt x="274" y="314"/>
                </a:lnTo>
                <a:lnTo>
                  <a:pt x="273" y="312"/>
                </a:lnTo>
                <a:lnTo>
                  <a:pt x="273" y="310"/>
                </a:lnTo>
                <a:lnTo>
                  <a:pt x="273" y="307"/>
                </a:lnTo>
                <a:lnTo>
                  <a:pt x="274" y="305"/>
                </a:lnTo>
                <a:lnTo>
                  <a:pt x="275" y="303"/>
                </a:lnTo>
                <a:lnTo>
                  <a:pt x="277" y="300"/>
                </a:lnTo>
                <a:lnTo>
                  <a:pt x="280" y="298"/>
                </a:lnTo>
                <a:lnTo>
                  <a:pt x="283" y="297"/>
                </a:lnTo>
                <a:lnTo>
                  <a:pt x="286" y="297"/>
                </a:lnTo>
                <a:close/>
                <a:moveTo>
                  <a:pt x="943" y="254"/>
                </a:moveTo>
                <a:lnTo>
                  <a:pt x="945" y="254"/>
                </a:lnTo>
                <a:lnTo>
                  <a:pt x="948" y="255"/>
                </a:lnTo>
                <a:lnTo>
                  <a:pt x="950" y="256"/>
                </a:lnTo>
                <a:lnTo>
                  <a:pt x="952" y="258"/>
                </a:lnTo>
                <a:lnTo>
                  <a:pt x="954" y="260"/>
                </a:lnTo>
                <a:lnTo>
                  <a:pt x="955" y="263"/>
                </a:lnTo>
                <a:lnTo>
                  <a:pt x="955" y="265"/>
                </a:lnTo>
                <a:lnTo>
                  <a:pt x="955" y="267"/>
                </a:lnTo>
                <a:lnTo>
                  <a:pt x="955" y="270"/>
                </a:lnTo>
                <a:lnTo>
                  <a:pt x="954" y="272"/>
                </a:lnTo>
                <a:lnTo>
                  <a:pt x="953" y="274"/>
                </a:lnTo>
                <a:lnTo>
                  <a:pt x="951" y="276"/>
                </a:lnTo>
                <a:lnTo>
                  <a:pt x="949" y="277"/>
                </a:lnTo>
                <a:lnTo>
                  <a:pt x="947" y="278"/>
                </a:lnTo>
                <a:lnTo>
                  <a:pt x="943" y="279"/>
                </a:lnTo>
                <a:lnTo>
                  <a:pt x="940" y="279"/>
                </a:lnTo>
                <a:lnTo>
                  <a:pt x="937" y="278"/>
                </a:lnTo>
                <a:lnTo>
                  <a:pt x="935" y="277"/>
                </a:lnTo>
                <a:lnTo>
                  <a:pt x="933" y="275"/>
                </a:lnTo>
                <a:lnTo>
                  <a:pt x="932" y="273"/>
                </a:lnTo>
                <a:lnTo>
                  <a:pt x="931" y="270"/>
                </a:lnTo>
                <a:lnTo>
                  <a:pt x="930" y="268"/>
                </a:lnTo>
                <a:lnTo>
                  <a:pt x="930" y="266"/>
                </a:lnTo>
                <a:lnTo>
                  <a:pt x="930" y="263"/>
                </a:lnTo>
                <a:lnTo>
                  <a:pt x="931" y="261"/>
                </a:lnTo>
                <a:lnTo>
                  <a:pt x="932" y="259"/>
                </a:lnTo>
                <a:lnTo>
                  <a:pt x="934" y="257"/>
                </a:lnTo>
                <a:lnTo>
                  <a:pt x="936" y="256"/>
                </a:lnTo>
                <a:lnTo>
                  <a:pt x="938" y="255"/>
                </a:lnTo>
                <a:lnTo>
                  <a:pt x="943" y="254"/>
                </a:lnTo>
                <a:close/>
                <a:moveTo>
                  <a:pt x="166" y="217"/>
                </a:moveTo>
                <a:lnTo>
                  <a:pt x="169" y="218"/>
                </a:lnTo>
                <a:lnTo>
                  <a:pt x="173" y="219"/>
                </a:lnTo>
                <a:lnTo>
                  <a:pt x="175" y="221"/>
                </a:lnTo>
                <a:lnTo>
                  <a:pt x="176" y="223"/>
                </a:lnTo>
                <a:lnTo>
                  <a:pt x="177" y="225"/>
                </a:lnTo>
                <a:lnTo>
                  <a:pt x="178" y="227"/>
                </a:lnTo>
                <a:lnTo>
                  <a:pt x="178" y="232"/>
                </a:lnTo>
                <a:lnTo>
                  <a:pt x="177" y="235"/>
                </a:lnTo>
                <a:lnTo>
                  <a:pt x="176" y="237"/>
                </a:lnTo>
                <a:lnTo>
                  <a:pt x="174" y="239"/>
                </a:lnTo>
                <a:lnTo>
                  <a:pt x="171" y="241"/>
                </a:lnTo>
                <a:lnTo>
                  <a:pt x="169" y="242"/>
                </a:lnTo>
                <a:lnTo>
                  <a:pt x="166" y="242"/>
                </a:lnTo>
                <a:lnTo>
                  <a:pt x="162" y="242"/>
                </a:lnTo>
                <a:lnTo>
                  <a:pt x="158" y="240"/>
                </a:lnTo>
                <a:lnTo>
                  <a:pt x="157" y="239"/>
                </a:lnTo>
                <a:lnTo>
                  <a:pt x="155" y="237"/>
                </a:lnTo>
                <a:lnTo>
                  <a:pt x="154" y="235"/>
                </a:lnTo>
                <a:lnTo>
                  <a:pt x="153" y="232"/>
                </a:lnTo>
                <a:lnTo>
                  <a:pt x="153" y="227"/>
                </a:lnTo>
                <a:lnTo>
                  <a:pt x="154" y="225"/>
                </a:lnTo>
                <a:lnTo>
                  <a:pt x="155" y="223"/>
                </a:lnTo>
                <a:lnTo>
                  <a:pt x="157" y="220"/>
                </a:lnTo>
                <a:lnTo>
                  <a:pt x="160" y="219"/>
                </a:lnTo>
                <a:lnTo>
                  <a:pt x="163" y="218"/>
                </a:lnTo>
                <a:lnTo>
                  <a:pt x="166" y="217"/>
                </a:lnTo>
                <a:close/>
                <a:moveTo>
                  <a:pt x="1044" y="151"/>
                </a:moveTo>
                <a:lnTo>
                  <a:pt x="1048" y="152"/>
                </a:lnTo>
                <a:lnTo>
                  <a:pt x="1050" y="153"/>
                </a:lnTo>
                <a:lnTo>
                  <a:pt x="1052" y="155"/>
                </a:lnTo>
                <a:lnTo>
                  <a:pt x="1054" y="156"/>
                </a:lnTo>
                <a:lnTo>
                  <a:pt x="1055" y="159"/>
                </a:lnTo>
                <a:lnTo>
                  <a:pt x="1056" y="161"/>
                </a:lnTo>
                <a:lnTo>
                  <a:pt x="1056" y="163"/>
                </a:lnTo>
                <a:lnTo>
                  <a:pt x="1056" y="166"/>
                </a:lnTo>
                <a:lnTo>
                  <a:pt x="1056" y="168"/>
                </a:lnTo>
                <a:lnTo>
                  <a:pt x="1055" y="170"/>
                </a:lnTo>
                <a:lnTo>
                  <a:pt x="1053" y="172"/>
                </a:lnTo>
                <a:lnTo>
                  <a:pt x="1051" y="174"/>
                </a:lnTo>
                <a:lnTo>
                  <a:pt x="1049" y="176"/>
                </a:lnTo>
                <a:lnTo>
                  <a:pt x="1046" y="176"/>
                </a:lnTo>
                <a:lnTo>
                  <a:pt x="1044" y="177"/>
                </a:lnTo>
                <a:lnTo>
                  <a:pt x="1039" y="176"/>
                </a:lnTo>
                <a:lnTo>
                  <a:pt x="1037" y="175"/>
                </a:lnTo>
                <a:lnTo>
                  <a:pt x="1035" y="174"/>
                </a:lnTo>
                <a:lnTo>
                  <a:pt x="1034" y="172"/>
                </a:lnTo>
                <a:lnTo>
                  <a:pt x="1032" y="170"/>
                </a:lnTo>
                <a:lnTo>
                  <a:pt x="1031" y="167"/>
                </a:lnTo>
                <a:lnTo>
                  <a:pt x="1031" y="165"/>
                </a:lnTo>
                <a:lnTo>
                  <a:pt x="1031" y="163"/>
                </a:lnTo>
                <a:lnTo>
                  <a:pt x="1032" y="160"/>
                </a:lnTo>
                <a:lnTo>
                  <a:pt x="1033" y="158"/>
                </a:lnTo>
                <a:lnTo>
                  <a:pt x="1034" y="156"/>
                </a:lnTo>
                <a:lnTo>
                  <a:pt x="1036" y="154"/>
                </a:lnTo>
                <a:lnTo>
                  <a:pt x="1039" y="153"/>
                </a:lnTo>
                <a:lnTo>
                  <a:pt x="1041" y="152"/>
                </a:lnTo>
                <a:lnTo>
                  <a:pt x="1044" y="151"/>
                </a:lnTo>
                <a:close/>
                <a:moveTo>
                  <a:pt x="44" y="140"/>
                </a:moveTo>
                <a:lnTo>
                  <a:pt x="47" y="140"/>
                </a:lnTo>
                <a:lnTo>
                  <a:pt x="50" y="142"/>
                </a:lnTo>
                <a:lnTo>
                  <a:pt x="52" y="143"/>
                </a:lnTo>
                <a:lnTo>
                  <a:pt x="54" y="145"/>
                </a:lnTo>
                <a:lnTo>
                  <a:pt x="55" y="147"/>
                </a:lnTo>
                <a:lnTo>
                  <a:pt x="56" y="149"/>
                </a:lnTo>
                <a:lnTo>
                  <a:pt x="56" y="152"/>
                </a:lnTo>
                <a:lnTo>
                  <a:pt x="56" y="154"/>
                </a:lnTo>
                <a:lnTo>
                  <a:pt x="56" y="157"/>
                </a:lnTo>
                <a:lnTo>
                  <a:pt x="55" y="159"/>
                </a:lnTo>
                <a:lnTo>
                  <a:pt x="53" y="162"/>
                </a:lnTo>
                <a:lnTo>
                  <a:pt x="50" y="164"/>
                </a:lnTo>
                <a:lnTo>
                  <a:pt x="47" y="165"/>
                </a:lnTo>
                <a:lnTo>
                  <a:pt x="44" y="165"/>
                </a:lnTo>
                <a:lnTo>
                  <a:pt x="41" y="165"/>
                </a:lnTo>
                <a:lnTo>
                  <a:pt x="38" y="164"/>
                </a:lnTo>
                <a:lnTo>
                  <a:pt x="36" y="162"/>
                </a:lnTo>
                <a:lnTo>
                  <a:pt x="34" y="160"/>
                </a:lnTo>
                <a:lnTo>
                  <a:pt x="33" y="158"/>
                </a:lnTo>
                <a:lnTo>
                  <a:pt x="32" y="156"/>
                </a:lnTo>
                <a:lnTo>
                  <a:pt x="31" y="153"/>
                </a:lnTo>
                <a:lnTo>
                  <a:pt x="31" y="151"/>
                </a:lnTo>
                <a:lnTo>
                  <a:pt x="32" y="149"/>
                </a:lnTo>
                <a:lnTo>
                  <a:pt x="33" y="146"/>
                </a:lnTo>
                <a:lnTo>
                  <a:pt x="35" y="144"/>
                </a:lnTo>
                <a:lnTo>
                  <a:pt x="38" y="142"/>
                </a:lnTo>
                <a:lnTo>
                  <a:pt x="41" y="140"/>
                </a:lnTo>
                <a:lnTo>
                  <a:pt x="44" y="140"/>
                </a:lnTo>
                <a:close/>
                <a:moveTo>
                  <a:pt x="1134" y="39"/>
                </a:moveTo>
                <a:lnTo>
                  <a:pt x="1138" y="40"/>
                </a:lnTo>
                <a:lnTo>
                  <a:pt x="1140" y="41"/>
                </a:lnTo>
                <a:lnTo>
                  <a:pt x="1142" y="42"/>
                </a:lnTo>
                <a:lnTo>
                  <a:pt x="1144" y="44"/>
                </a:lnTo>
                <a:lnTo>
                  <a:pt x="1145" y="46"/>
                </a:lnTo>
                <a:lnTo>
                  <a:pt x="1147" y="50"/>
                </a:lnTo>
                <a:lnTo>
                  <a:pt x="1147" y="53"/>
                </a:lnTo>
                <a:lnTo>
                  <a:pt x="1146" y="55"/>
                </a:lnTo>
                <a:lnTo>
                  <a:pt x="1144" y="60"/>
                </a:lnTo>
                <a:lnTo>
                  <a:pt x="1142" y="62"/>
                </a:lnTo>
                <a:lnTo>
                  <a:pt x="1141" y="63"/>
                </a:lnTo>
                <a:lnTo>
                  <a:pt x="1140" y="63"/>
                </a:lnTo>
                <a:lnTo>
                  <a:pt x="1137" y="64"/>
                </a:lnTo>
                <a:lnTo>
                  <a:pt x="1134" y="65"/>
                </a:lnTo>
                <a:lnTo>
                  <a:pt x="1130" y="64"/>
                </a:lnTo>
                <a:lnTo>
                  <a:pt x="1128" y="63"/>
                </a:lnTo>
                <a:lnTo>
                  <a:pt x="1126" y="62"/>
                </a:lnTo>
                <a:lnTo>
                  <a:pt x="1125" y="60"/>
                </a:lnTo>
                <a:lnTo>
                  <a:pt x="1123" y="58"/>
                </a:lnTo>
                <a:lnTo>
                  <a:pt x="1122" y="54"/>
                </a:lnTo>
                <a:lnTo>
                  <a:pt x="1121" y="51"/>
                </a:lnTo>
                <a:lnTo>
                  <a:pt x="1122" y="49"/>
                </a:lnTo>
                <a:lnTo>
                  <a:pt x="1124" y="44"/>
                </a:lnTo>
                <a:lnTo>
                  <a:pt x="1126" y="42"/>
                </a:lnTo>
                <a:lnTo>
                  <a:pt x="1127" y="41"/>
                </a:lnTo>
                <a:lnTo>
                  <a:pt x="1129" y="41"/>
                </a:lnTo>
                <a:lnTo>
                  <a:pt x="1131" y="40"/>
                </a:lnTo>
                <a:lnTo>
                  <a:pt x="1134" y="39"/>
                </a:lnTo>
                <a:close/>
                <a:moveTo>
                  <a:pt x="596" y="860"/>
                </a:moveTo>
                <a:lnTo>
                  <a:pt x="597" y="860"/>
                </a:lnTo>
                <a:lnTo>
                  <a:pt x="599" y="861"/>
                </a:lnTo>
                <a:lnTo>
                  <a:pt x="602" y="862"/>
                </a:lnTo>
                <a:lnTo>
                  <a:pt x="604" y="863"/>
                </a:lnTo>
                <a:lnTo>
                  <a:pt x="605" y="865"/>
                </a:lnTo>
                <a:lnTo>
                  <a:pt x="607" y="867"/>
                </a:lnTo>
                <a:lnTo>
                  <a:pt x="608" y="869"/>
                </a:lnTo>
                <a:lnTo>
                  <a:pt x="608" y="871"/>
                </a:lnTo>
                <a:lnTo>
                  <a:pt x="608" y="874"/>
                </a:lnTo>
                <a:lnTo>
                  <a:pt x="607" y="878"/>
                </a:lnTo>
                <a:lnTo>
                  <a:pt x="604" y="882"/>
                </a:lnTo>
                <a:lnTo>
                  <a:pt x="602" y="883"/>
                </a:lnTo>
                <a:lnTo>
                  <a:pt x="600" y="884"/>
                </a:lnTo>
                <a:lnTo>
                  <a:pt x="596" y="885"/>
                </a:lnTo>
                <a:lnTo>
                  <a:pt x="594" y="885"/>
                </a:lnTo>
                <a:lnTo>
                  <a:pt x="592" y="884"/>
                </a:lnTo>
                <a:lnTo>
                  <a:pt x="589" y="883"/>
                </a:lnTo>
                <a:lnTo>
                  <a:pt x="587" y="882"/>
                </a:lnTo>
                <a:lnTo>
                  <a:pt x="586" y="880"/>
                </a:lnTo>
                <a:lnTo>
                  <a:pt x="585" y="878"/>
                </a:lnTo>
                <a:lnTo>
                  <a:pt x="584" y="876"/>
                </a:lnTo>
                <a:lnTo>
                  <a:pt x="583" y="873"/>
                </a:lnTo>
                <a:lnTo>
                  <a:pt x="583" y="871"/>
                </a:lnTo>
                <a:lnTo>
                  <a:pt x="585" y="867"/>
                </a:lnTo>
                <a:lnTo>
                  <a:pt x="587" y="863"/>
                </a:lnTo>
                <a:lnTo>
                  <a:pt x="589" y="862"/>
                </a:lnTo>
                <a:lnTo>
                  <a:pt x="591" y="861"/>
                </a:lnTo>
                <a:lnTo>
                  <a:pt x="596" y="860"/>
                </a:lnTo>
                <a:close/>
                <a:moveTo>
                  <a:pt x="738" y="850"/>
                </a:moveTo>
                <a:lnTo>
                  <a:pt x="742" y="850"/>
                </a:lnTo>
                <a:lnTo>
                  <a:pt x="744" y="851"/>
                </a:lnTo>
                <a:lnTo>
                  <a:pt x="746" y="852"/>
                </a:lnTo>
                <a:lnTo>
                  <a:pt x="747" y="854"/>
                </a:lnTo>
                <a:lnTo>
                  <a:pt x="749" y="855"/>
                </a:lnTo>
                <a:lnTo>
                  <a:pt x="750" y="859"/>
                </a:lnTo>
                <a:lnTo>
                  <a:pt x="751" y="861"/>
                </a:lnTo>
                <a:lnTo>
                  <a:pt x="751" y="864"/>
                </a:lnTo>
                <a:lnTo>
                  <a:pt x="750" y="866"/>
                </a:lnTo>
                <a:lnTo>
                  <a:pt x="749" y="868"/>
                </a:lnTo>
                <a:lnTo>
                  <a:pt x="748" y="870"/>
                </a:lnTo>
                <a:lnTo>
                  <a:pt x="746" y="872"/>
                </a:lnTo>
                <a:lnTo>
                  <a:pt x="744" y="873"/>
                </a:lnTo>
                <a:lnTo>
                  <a:pt x="741" y="874"/>
                </a:lnTo>
                <a:lnTo>
                  <a:pt x="738" y="875"/>
                </a:lnTo>
                <a:lnTo>
                  <a:pt x="734" y="874"/>
                </a:lnTo>
                <a:lnTo>
                  <a:pt x="732" y="873"/>
                </a:lnTo>
                <a:lnTo>
                  <a:pt x="731" y="872"/>
                </a:lnTo>
                <a:lnTo>
                  <a:pt x="729" y="871"/>
                </a:lnTo>
                <a:lnTo>
                  <a:pt x="728" y="869"/>
                </a:lnTo>
                <a:lnTo>
                  <a:pt x="726" y="865"/>
                </a:lnTo>
                <a:lnTo>
                  <a:pt x="726" y="863"/>
                </a:lnTo>
                <a:lnTo>
                  <a:pt x="726" y="860"/>
                </a:lnTo>
                <a:lnTo>
                  <a:pt x="727" y="858"/>
                </a:lnTo>
                <a:lnTo>
                  <a:pt x="728" y="856"/>
                </a:lnTo>
                <a:lnTo>
                  <a:pt x="729" y="854"/>
                </a:lnTo>
                <a:lnTo>
                  <a:pt x="731" y="852"/>
                </a:lnTo>
                <a:lnTo>
                  <a:pt x="733" y="851"/>
                </a:lnTo>
                <a:lnTo>
                  <a:pt x="735" y="850"/>
                </a:lnTo>
                <a:lnTo>
                  <a:pt x="738" y="850"/>
                </a:lnTo>
                <a:close/>
                <a:moveTo>
                  <a:pt x="458" y="821"/>
                </a:moveTo>
                <a:lnTo>
                  <a:pt x="460" y="821"/>
                </a:lnTo>
                <a:lnTo>
                  <a:pt x="463" y="822"/>
                </a:lnTo>
                <a:lnTo>
                  <a:pt x="467" y="825"/>
                </a:lnTo>
                <a:lnTo>
                  <a:pt x="468" y="827"/>
                </a:lnTo>
                <a:lnTo>
                  <a:pt x="469" y="829"/>
                </a:lnTo>
                <a:lnTo>
                  <a:pt x="470" y="831"/>
                </a:lnTo>
                <a:lnTo>
                  <a:pt x="470" y="834"/>
                </a:lnTo>
                <a:lnTo>
                  <a:pt x="470" y="836"/>
                </a:lnTo>
                <a:lnTo>
                  <a:pt x="469" y="838"/>
                </a:lnTo>
                <a:lnTo>
                  <a:pt x="467" y="842"/>
                </a:lnTo>
                <a:lnTo>
                  <a:pt x="466" y="843"/>
                </a:lnTo>
                <a:lnTo>
                  <a:pt x="464" y="844"/>
                </a:lnTo>
                <a:lnTo>
                  <a:pt x="463" y="845"/>
                </a:lnTo>
                <a:lnTo>
                  <a:pt x="461" y="845"/>
                </a:lnTo>
                <a:lnTo>
                  <a:pt x="458" y="846"/>
                </a:lnTo>
                <a:lnTo>
                  <a:pt x="455" y="846"/>
                </a:lnTo>
                <a:lnTo>
                  <a:pt x="453" y="845"/>
                </a:lnTo>
                <a:lnTo>
                  <a:pt x="449" y="842"/>
                </a:lnTo>
                <a:lnTo>
                  <a:pt x="447" y="840"/>
                </a:lnTo>
                <a:lnTo>
                  <a:pt x="446" y="838"/>
                </a:lnTo>
                <a:lnTo>
                  <a:pt x="445" y="836"/>
                </a:lnTo>
                <a:lnTo>
                  <a:pt x="445" y="833"/>
                </a:lnTo>
                <a:lnTo>
                  <a:pt x="446" y="831"/>
                </a:lnTo>
                <a:lnTo>
                  <a:pt x="446" y="828"/>
                </a:lnTo>
                <a:lnTo>
                  <a:pt x="448" y="825"/>
                </a:lnTo>
                <a:lnTo>
                  <a:pt x="450" y="824"/>
                </a:lnTo>
                <a:lnTo>
                  <a:pt x="451" y="823"/>
                </a:lnTo>
                <a:lnTo>
                  <a:pt x="453" y="822"/>
                </a:lnTo>
                <a:lnTo>
                  <a:pt x="454" y="821"/>
                </a:lnTo>
                <a:lnTo>
                  <a:pt x="458" y="821"/>
                </a:lnTo>
                <a:close/>
                <a:moveTo>
                  <a:pt x="871" y="793"/>
                </a:moveTo>
                <a:lnTo>
                  <a:pt x="875" y="794"/>
                </a:lnTo>
                <a:lnTo>
                  <a:pt x="878" y="795"/>
                </a:lnTo>
                <a:lnTo>
                  <a:pt x="880" y="797"/>
                </a:lnTo>
                <a:lnTo>
                  <a:pt x="882" y="800"/>
                </a:lnTo>
                <a:lnTo>
                  <a:pt x="883" y="802"/>
                </a:lnTo>
                <a:lnTo>
                  <a:pt x="884" y="804"/>
                </a:lnTo>
                <a:lnTo>
                  <a:pt x="884" y="807"/>
                </a:lnTo>
                <a:lnTo>
                  <a:pt x="883" y="809"/>
                </a:lnTo>
                <a:lnTo>
                  <a:pt x="883" y="811"/>
                </a:lnTo>
                <a:lnTo>
                  <a:pt x="881" y="813"/>
                </a:lnTo>
                <a:lnTo>
                  <a:pt x="880" y="815"/>
                </a:lnTo>
                <a:lnTo>
                  <a:pt x="878" y="817"/>
                </a:lnTo>
                <a:lnTo>
                  <a:pt x="875" y="818"/>
                </a:lnTo>
                <a:lnTo>
                  <a:pt x="871" y="818"/>
                </a:lnTo>
                <a:lnTo>
                  <a:pt x="868" y="818"/>
                </a:lnTo>
                <a:lnTo>
                  <a:pt x="865" y="817"/>
                </a:lnTo>
                <a:lnTo>
                  <a:pt x="863" y="815"/>
                </a:lnTo>
                <a:lnTo>
                  <a:pt x="861" y="812"/>
                </a:lnTo>
                <a:lnTo>
                  <a:pt x="860" y="810"/>
                </a:lnTo>
                <a:lnTo>
                  <a:pt x="859" y="807"/>
                </a:lnTo>
                <a:lnTo>
                  <a:pt x="859" y="805"/>
                </a:lnTo>
                <a:lnTo>
                  <a:pt x="859" y="803"/>
                </a:lnTo>
                <a:lnTo>
                  <a:pt x="861" y="798"/>
                </a:lnTo>
                <a:lnTo>
                  <a:pt x="863" y="797"/>
                </a:lnTo>
                <a:lnTo>
                  <a:pt x="865" y="795"/>
                </a:lnTo>
                <a:lnTo>
                  <a:pt x="868" y="794"/>
                </a:lnTo>
                <a:lnTo>
                  <a:pt x="871" y="793"/>
                </a:lnTo>
                <a:close/>
                <a:moveTo>
                  <a:pt x="331" y="752"/>
                </a:moveTo>
                <a:lnTo>
                  <a:pt x="335" y="753"/>
                </a:lnTo>
                <a:lnTo>
                  <a:pt x="338" y="754"/>
                </a:lnTo>
                <a:lnTo>
                  <a:pt x="340" y="756"/>
                </a:lnTo>
                <a:lnTo>
                  <a:pt x="341" y="758"/>
                </a:lnTo>
                <a:lnTo>
                  <a:pt x="343" y="760"/>
                </a:lnTo>
                <a:lnTo>
                  <a:pt x="343" y="762"/>
                </a:lnTo>
                <a:lnTo>
                  <a:pt x="344" y="764"/>
                </a:lnTo>
                <a:lnTo>
                  <a:pt x="344" y="767"/>
                </a:lnTo>
                <a:lnTo>
                  <a:pt x="343" y="769"/>
                </a:lnTo>
                <a:lnTo>
                  <a:pt x="342" y="771"/>
                </a:lnTo>
                <a:lnTo>
                  <a:pt x="340" y="774"/>
                </a:lnTo>
                <a:lnTo>
                  <a:pt x="337" y="776"/>
                </a:lnTo>
                <a:lnTo>
                  <a:pt x="334" y="777"/>
                </a:lnTo>
                <a:lnTo>
                  <a:pt x="331" y="777"/>
                </a:lnTo>
                <a:lnTo>
                  <a:pt x="328" y="777"/>
                </a:lnTo>
                <a:lnTo>
                  <a:pt x="325" y="775"/>
                </a:lnTo>
                <a:lnTo>
                  <a:pt x="323" y="774"/>
                </a:lnTo>
                <a:lnTo>
                  <a:pt x="321" y="772"/>
                </a:lnTo>
                <a:lnTo>
                  <a:pt x="320" y="770"/>
                </a:lnTo>
                <a:lnTo>
                  <a:pt x="319" y="768"/>
                </a:lnTo>
                <a:lnTo>
                  <a:pt x="319" y="765"/>
                </a:lnTo>
                <a:lnTo>
                  <a:pt x="319" y="763"/>
                </a:lnTo>
                <a:lnTo>
                  <a:pt x="320" y="760"/>
                </a:lnTo>
                <a:lnTo>
                  <a:pt x="321" y="758"/>
                </a:lnTo>
                <a:lnTo>
                  <a:pt x="323" y="756"/>
                </a:lnTo>
                <a:lnTo>
                  <a:pt x="325" y="754"/>
                </a:lnTo>
                <a:lnTo>
                  <a:pt x="328" y="753"/>
                </a:lnTo>
                <a:lnTo>
                  <a:pt x="331" y="752"/>
                </a:lnTo>
                <a:close/>
                <a:moveTo>
                  <a:pt x="988" y="710"/>
                </a:moveTo>
                <a:lnTo>
                  <a:pt x="991" y="710"/>
                </a:lnTo>
                <a:lnTo>
                  <a:pt x="993" y="711"/>
                </a:lnTo>
                <a:lnTo>
                  <a:pt x="995" y="712"/>
                </a:lnTo>
                <a:lnTo>
                  <a:pt x="997" y="714"/>
                </a:lnTo>
                <a:lnTo>
                  <a:pt x="999" y="716"/>
                </a:lnTo>
                <a:lnTo>
                  <a:pt x="1000" y="718"/>
                </a:lnTo>
                <a:lnTo>
                  <a:pt x="1000" y="720"/>
                </a:lnTo>
                <a:lnTo>
                  <a:pt x="1000" y="723"/>
                </a:lnTo>
                <a:lnTo>
                  <a:pt x="1000" y="725"/>
                </a:lnTo>
                <a:lnTo>
                  <a:pt x="999" y="727"/>
                </a:lnTo>
                <a:lnTo>
                  <a:pt x="998" y="730"/>
                </a:lnTo>
                <a:lnTo>
                  <a:pt x="996" y="731"/>
                </a:lnTo>
                <a:lnTo>
                  <a:pt x="994" y="733"/>
                </a:lnTo>
                <a:lnTo>
                  <a:pt x="992" y="734"/>
                </a:lnTo>
                <a:lnTo>
                  <a:pt x="988" y="734"/>
                </a:lnTo>
                <a:lnTo>
                  <a:pt x="985" y="734"/>
                </a:lnTo>
                <a:lnTo>
                  <a:pt x="983" y="733"/>
                </a:lnTo>
                <a:lnTo>
                  <a:pt x="981" y="732"/>
                </a:lnTo>
                <a:lnTo>
                  <a:pt x="979" y="730"/>
                </a:lnTo>
                <a:lnTo>
                  <a:pt x="977" y="728"/>
                </a:lnTo>
                <a:lnTo>
                  <a:pt x="976" y="726"/>
                </a:lnTo>
                <a:lnTo>
                  <a:pt x="976" y="724"/>
                </a:lnTo>
                <a:lnTo>
                  <a:pt x="976" y="721"/>
                </a:lnTo>
                <a:lnTo>
                  <a:pt x="976" y="719"/>
                </a:lnTo>
                <a:lnTo>
                  <a:pt x="977" y="717"/>
                </a:lnTo>
                <a:lnTo>
                  <a:pt x="978" y="714"/>
                </a:lnTo>
                <a:lnTo>
                  <a:pt x="980" y="713"/>
                </a:lnTo>
                <a:lnTo>
                  <a:pt x="982" y="711"/>
                </a:lnTo>
                <a:lnTo>
                  <a:pt x="984" y="710"/>
                </a:lnTo>
                <a:lnTo>
                  <a:pt x="988" y="710"/>
                </a:lnTo>
                <a:close/>
                <a:moveTo>
                  <a:pt x="211" y="673"/>
                </a:moveTo>
                <a:lnTo>
                  <a:pt x="215" y="673"/>
                </a:lnTo>
                <a:lnTo>
                  <a:pt x="216" y="674"/>
                </a:lnTo>
                <a:lnTo>
                  <a:pt x="218" y="675"/>
                </a:lnTo>
                <a:lnTo>
                  <a:pt x="220" y="677"/>
                </a:lnTo>
                <a:lnTo>
                  <a:pt x="221" y="679"/>
                </a:lnTo>
                <a:lnTo>
                  <a:pt x="223" y="681"/>
                </a:lnTo>
                <a:lnTo>
                  <a:pt x="223" y="683"/>
                </a:lnTo>
                <a:lnTo>
                  <a:pt x="223" y="688"/>
                </a:lnTo>
                <a:lnTo>
                  <a:pt x="223" y="690"/>
                </a:lnTo>
                <a:lnTo>
                  <a:pt x="221" y="692"/>
                </a:lnTo>
                <a:lnTo>
                  <a:pt x="220" y="694"/>
                </a:lnTo>
                <a:lnTo>
                  <a:pt x="219" y="695"/>
                </a:lnTo>
                <a:lnTo>
                  <a:pt x="217" y="696"/>
                </a:lnTo>
                <a:lnTo>
                  <a:pt x="214" y="697"/>
                </a:lnTo>
                <a:lnTo>
                  <a:pt x="211" y="698"/>
                </a:lnTo>
                <a:lnTo>
                  <a:pt x="207" y="697"/>
                </a:lnTo>
                <a:lnTo>
                  <a:pt x="206" y="697"/>
                </a:lnTo>
                <a:lnTo>
                  <a:pt x="204" y="696"/>
                </a:lnTo>
                <a:lnTo>
                  <a:pt x="202" y="694"/>
                </a:lnTo>
                <a:lnTo>
                  <a:pt x="201" y="692"/>
                </a:lnTo>
                <a:lnTo>
                  <a:pt x="199" y="690"/>
                </a:lnTo>
                <a:lnTo>
                  <a:pt x="199" y="688"/>
                </a:lnTo>
                <a:lnTo>
                  <a:pt x="199" y="683"/>
                </a:lnTo>
                <a:lnTo>
                  <a:pt x="200" y="681"/>
                </a:lnTo>
                <a:lnTo>
                  <a:pt x="201" y="678"/>
                </a:lnTo>
                <a:lnTo>
                  <a:pt x="202" y="677"/>
                </a:lnTo>
                <a:lnTo>
                  <a:pt x="203" y="676"/>
                </a:lnTo>
                <a:lnTo>
                  <a:pt x="205" y="674"/>
                </a:lnTo>
                <a:lnTo>
                  <a:pt x="208" y="673"/>
                </a:lnTo>
                <a:lnTo>
                  <a:pt x="211" y="673"/>
                </a:lnTo>
                <a:close/>
                <a:moveTo>
                  <a:pt x="1089" y="607"/>
                </a:moveTo>
                <a:lnTo>
                  <a:pt x="1094" y="608"/>
                </a:lnTo>
                <a:lnTo>
                  <a:pt x="1096" y="609"/>
                </a:lnTo>
                <a:lnTo>
                  <a:pt x="1097" y="610"/>
                </a:lnTo>
                <a:lnTo>
                  <a:pt x="1099" y="612"/>
                </a:lnTo>
                <a:lnTo>
                  <a:pt x="1100" y="614"/>
                </a:lnTo>
                <a:lnTo>
                  <a:pt x="1101" y="616"/>
                </a:lnTo>
                <a:lnTo>
                  <a:pt x="1102" y="619"/>
                </a:lnTo>
                <a:lnTo>
                  <a:pt x="1102" y="621"/>
                </a:lnTo>
                <a:lnTo>
                  <a:pt x="1101" y="624"/>
                </a:lnTo>
                <a:lnTo>
                  <a:pt x="1100" y="626"/>
                </a:lnTo>
                <a:lnTo>
                  <a:pt x="1099" y="628"/>
                </a:lnTo>
                <a:lnTo>
                  <a:pt x="1097" y="630"/>
                </a:lnTo>
                <a:lnTo>
                  <a:pt x="1094" y="631"/>
                </a:lnTo>
                <a:lnTo>
                  <a:pt x="1092" y="632"/>
                </a:lnTo>
                <a:lnTo>
                  <a:pt x="1089" y="632"/>
                </a:lnTo>
                <a:lnTo>
                  <a:pt x="1085" y="631"/>
                </a:lnTo>
                <a:lnTo>
                  <a:pt x="1083" y="630"/>
                </a:lnTo>
                <a:lnTo>
                  <a:pt x="1081" y="629"/>
                </a:lnTo>
                <a:lnTo>
                  <a:pt x="1079" y="627"/>
                </a:lnTo>
                <a:lnTo>
                  <a:pt x="1078" y="625"/>
                </a:lnTo>
                <a:lnTo>
                  <a:pt x="1077" y="623"/>
                </a:lnTo>
                <a:lnTo>
                  <a:pt x="1077" y="621"/>
                </a:lnTo>
                <a:lnTo>
                  <a:pt x="1077" y="618"/>
                </a:lnTo>
                <a:lnTo>
                  <a:pt x="1077" y="616"/>
                </a:lnTo>
                <a:lnTo>
                  <a:pt x="1078" y="614"/>
                </a:lnTo>
                <a:lnTo>
                  <a:pt x="1080" y="611"/>
                </a:lnTo>
                <a:lnTo>
                  <a:pt x="1082" y="610"/>
                </a:lnTo>
                <a:lnTo>
                  <a:pt x="1084" y="608"/>
                </a:lnTo>
                <a:lnTo>
                  <a:pt x="1087" y="607"/>
                </a:lnTo>
                <a:lnTo>
                  <a:pt x="1089" y="607"/>
                </a:lnTo>
                <a:close/>
                <a:moveTo>
                  <a:pt x="89" y="596"/>
                </a:moveTo>
                <a:lnTo>
                  <a:pt x="93" y="596"/>
                </a:lnTo>
                <a:lnTo>
                  <a:pt x="96" y="597"/>
                </a:lnTo>
                <a:lnTo>
                  <a:pt x="98" y="599"/>
                </a:lnTo>
                <a:lnTo>
                  <a:pt x="99" y="601"/>
                </a:lnTo>
                <a:lnTo>
                  <a:pt x="101" y="603"/>
                </a:lnTo>
                <a:lnTo>
                  <a:pt x="101" y="605"/>
                </a:lnTo>
                <a:lnTo>
                  <a:pt x="102" y="607"/>
                </a:lnTo>
                <a:lnTo>
                  <a:pt x="102" y="610"/>
                </a:lnTo>
                <a:lnTo>
                  <a:pt x="100" y="614"/>
                </a:lnTo>
                <a:lnTo>
                  <a:pt x="98" y="617"/>
                </a:lnTo>
                <a:lnTo>
                  <a:pt x="96" y="619"/>
                </a:lnTo>
                <a:lnTo>
                  <a:pt x="93" y="620"/>
                </a:lnTo>
                <a:lnTo>
                  <a:pt x="89" y="621"/>
                </a:lnTo>
                <a:lnTo>
                  <a:pt x="86" y="620"/>
                </a:lnTo>
                <a:lnTo>
                  <a:pt x="83" y="619"/>
                </a:lnTo>
                <a:lnTo>
                  <a:pt x="81" y="617"/>
                </a:lnTo>
                <a:lnTo>
                  <a:pt x="79" y="616"/>
                </a:lnTo>
                <a:lnTo>
                  <a:pt x="78" y="614"/>
                </a:lnTo>
                <a:lnTo>
                  <a:pt x="77" y="611"/>
                </a:lnTo>
                <a:lnTo>
                  <a:pt x="77" y="609"/>
                </a:lnTo>
                <a:lnTo>
                  <a:pt x="77" y="607"/>
                </a:lnTo>
                <a:lnTo>
                  <a:pt x="79" y="602"/>
                </a:lnTo>
                <a:lnTo>
                  <a:pt x="81" y="599"/>
                </a:lnTo>
                <a:lnTo>
                  <a:pt x="83" y="597"/>
                </a:lnTo>
                <a:lnTo>
                  <a:pt x="86" y="596"/>
                </a:lnTo>
                <a:lnTo>
                  <a:pt x="89" y="596"/>
                </a:lnTo>
                <a:close/>
                <a:moveTo>
                  <a:pt x="1180" y="494"/>
                </a:moveTo>
                <a:lnTo>
                  <a:pt x="1184" y="495"/>
                </a:lnTo>
                <a:lnTo>
                  <a:pt x="1185" y="495"/>
                </a:lnTo>
                <a:lnTo>
                  <a:pt x="1187" y="497"/>
                </a:lnTo>
                <a:lnTo>
                  <a:pt x="1189" y="498"/>
                </a:lnTo>
                <a:lnTo>
                  <a:pt x="1190" y="500"/>
                </a:lnTo>
                <a:lnTo>
                  <a:pt x="1192" y="505"/>
                </a:lnTo>
                <a:lnTo>
                  <a:pt x="1192" y="507"/>
                </a:lnTo>
                <a:lnTo>
                  <a:pt x="1192" y="510"/>
                </a:lnTo>
                <a:lnTo>
                  <a:pt x="1189" y="514"/>
                </a:lnTo>
                <a:lnTo>
                  <a:pt x="1187" y="516"/>
                </a:lnTo>
                <a:lnTo>
                  <a:pt x="1185" y="518"/>
                </a:lnTo>
                <a:lnTo>
                  <a:pt x="1182" y="519"/>
                </a:lnTo>
                <a:lnTo>
                  <a:pt x="1180" y="519"/>
                </a:lnTo>
                <a:lnTo>
                  <a:pt x="1176" y="518"/>
                </a:lnTo>
                <a:lnTo>
                  <a:pt x="1174" y="518"/>
                </a:lnTo>
                <a:lnTo>
                  <a:pt x="1172" y="516"/>
                </a:lnTo>
                <a:lnTo>
                  <a:pt x="1170" y="515"/>
                </a:lnTo>
                <a:lnTo>
                  <a:pt x="1169" y="513"/>
                </a:lnTo>
                <a:lnTo>
                  <a:pt x="1167" y="508"/>
                </a:lnTo>
                <a:lnTo>
                  <a:pt x="1167" y="506"/>
                </a:lnTo>
                <a:lnTo>
                  <a:pt x="1168" y="503"/>
                </a:lnTo>
                <a:lnTo>
                  <a:pt x="1170" y="499"/>
                </a:lnTo>
                <a:lnTo>
                  <a:pt x="1172" y="497"/>
                </a:lnTo>
                <a:lnTo>
                  <a:pt x="1174" y="495"/>
                </a:lnTo>
                <a:lnTo>
                  <a:pt x="1177" y="494"/>
                </a:lnTo>
                <a:lnTo>
                  <a:pt x="1180" y="494"/>
                </a:lnTo>
                <a:close/>
                <a:moveTo>
                  <a:pt x="1270" y="382"/>
                </a:moveTo>
                <a:lnTo>
                  <a:pt x="1274" y="382"/>
                </a:lnTo>
                <a:lnTo>
                  <a:pt x="1276" y="383"/>
                </a:lnTo>
                <a:lnTo>
                  <a:pt x="1278" y="385"/>
                </a:lnTo>
                <a:lnTo>
                  <a:pt x="1280" y="387"/>
                </a:lnTo>
                <a:lnTo>
                  <a:pt x="1281" y="389"/>
                </a:lnTo>
                <a:lnTo>
                  <a:pt x="1282" y="391"/>
                </a:lnTo>
                <a:lnTo>
                  <a:pt x="1282" y="393"/>
                </a:lnTo>
                <a:lnTo>
                  <a:pt x="1282" y="396"/>
                </a:lnTo>
                <a:lnTo>
                  <a:pt x="1281" y="398"/>
                </a:lnTo>
                <a:lnTo>
                  <a:pt x="1280" y="400"/>
                </a:lnTo>
                <a:lnTo>
                  <a:pt x="1279" y="402"/>
                </a:lnTo>
                <a:lnTo>
                  <a:pt x="1277" y="404"/>
                </a:lnTo>
                <a:lnTo>
                  <a:pt x="1275" y="405"/>
                </a:lnTo>
                <a:lnTo>
                  <a:pt x="1272" y="406"/>
                </a:lnTo>
                <a:lnTo>
                  <a:pt x="1270" y="406"/>
                </a:lnTo>
                <a:lnTo>
                  <a:pt x="1265" y="406"/>
                </a:lnTo>
                <a:lnTo>
                  <a:pt x="1263" y="405"/>
                </a:lnTo>
                <a:lnTo>
                  <a:pt x="1261" y="403"/>
                </a:lnTo>
                <a:lnTo>
                  <a:pt x="1260" y="401"/>
                </a:lnTo>
                <a:lnTo>
                  <a:pt x="1258" y="399"/>
                </a:lnTo>
                <a:lnTo>
                  <a:pt x="1258" y="397"/>
                </a:lnTo>
                <a:lnTo>
                  <a:pt x="1257" y="395"/>
                </a:lnTo>
                <a:lnTo>
                  <a:pt x="1257" y="392"/>
                </a:lnTo>
                <a:lnTo>
                  <a:pt x="1258" y="390"/>
                </a:lnTo>
                <a:lnTo>
                  <a:pt x="1259" y="388"/>
                </a:lnTo>
                <a:lnTo>
                  <a:pt x="1260" y="386"/>
                </a:lnTo>
                <a:lnTo>
                  <a:pt x="1262" y="384"/>
                </a:lnTo>
                <a:lnTo>
                  <a:pt x="1265" y="383"/>
                </a:lnTo>
                <a:lnTo>
                  <a:pt x="1267" y="382"/>
                </a:lnTo>
                <a:lnTo>
                  <a:pt x="1270" y="382"/>
                </a:lnTo>
                <a:close/>
                <a:moveTo>
                  <a:pt x="1657" y="357"/>
                </a:moveTo>
                <a:lnTo>
                  <a:pt x="1661" y="358"/>
                </a:lnTo>
                <a:lnTo>
                  <a:pt x="1665" y="360"/>
                </a:lnTo>
                <a:lnTo>
                  <a:pt x="1668" y="363"/>
                </a:lnTo>
                <a:lnTo>
                  <a:pt x="1668" y="365"/>
                </a:lnTo>
                <a:lnTo>
                  <a:pt x="1669" y="367"/>
                </a:lnTo>
                <a:lnTo>
                  <a:pt x="1669" y="370"/>
                </a:lnTo>
                <a:lnTo>
                  <a:pt x="1669" y="372"/>
                </a:lnTo>
                <a:lnTo>
                  <a:pt x="1668" y="375"/>
                </a:lnTo>
                <a:lnTo>
                  <a:pt x="1667" y="377"/>
                </a:lnTo>
                <a:lnTo>
                  <a:pt x="1665" y="379"/>
                </a:lnTo>
                <a:lnTo>
                  <a:pt x="1663" y="380"/>
                </a:lnTo>
                <a:lnTo>
                  <a:pt x="1661" y="381"/>
                </a:lnTo>
                <a:lnTo>
                  <a:pt x="1659" y="382"/>
                </a:lnTo>
                <a:lnTo>
                  <a:pt x="1657" y="382"/>
                </a:lnTo>
                <a:lnTo>
                  <a:pt x="1652" y="381"/>
                </a:lnTo>
                <a:lnTo>
                  <a:pt x="1649" y="379"/>
                </a:lnTo>
                <a:lnTo>
                  <a:pt x="1646" y="376"/>
                </a:lnTo>
                <a:lnTo>
                  <a:pt x="1645" y="373"/>
                </a:lnTo>
                <a:lnTo>
                  <a:pt x="1644" y="371"/>
                </a:lnTo>
                <a:lnTo>
                  <a:pt x="1644" y="369"/>
                </a:lnTo>
                <a:lnTo>
                  <a:pt x="1645" y="366"/>
                </a:lnTo>
                <a:lnTo>
                  <a:pt x="1645" y="364"/>
                </a:lnTo>
                <a:lnTo>
                  <a:pt x="1647" y="362"/>
                </a:lnTo>
                <a:lnTo>
                  <a:pt x="1648" y="360"/>
                </a:lnTo>
                <a:lnTo>
                  <a:pt x="1650" y="359"/>
                </a:lnTo>
                <a:lnTo>
                  <a:pt x="1652" y="358"/>
                </a:lnTo>
                <a:lnTo>
                  <a:pt x="1655" y="357"/>
                </a:lnTo>
                <a:lnTo>
                  <a:pt x="1657" y="357"/>
                </a:lnTo>
                <a:close/>
                <a:moveTo>
                  <a:pt x="1518" y="334"/>
                </a:moveTo>
                <a:lnTo>
                  <a:pt x="1521" y="334"/>
                </a:lnTo>
                <a:lnTo>
                  <a:pt x="1524" y="336"/>
                </a:lnTo>
                <a:lnTo>
                  <a:pt x="1526" y="337"/>
                </a:lnTo>
                <a:lnTo>
                  <a:pt x="1528" y="339"/>
                </a:lnTo>
                <a:lnTo>
                  <a:pt x="1529" y="341"/>
                </a:lnTo>
                <a:lnTo>
                  <a:pt x="1530" y="343"/>
                </a:lnTo>
                <a:lnTo>
                  <a:pt x="1530" y="346"/>
                </a:lnTo>
                <a:lnTo>
                  <a:pt x="1530" y="348"/>
                </a:lnTo>
                <a:lnTo>
                  <a:pt x="1529" y="351"/>
                </a:lnTo>
                <a:lnTo>
                  <a:pt x="1528" y="353"/>
                </a:lnTo>
                <a:lnTo>
                  <a:pt x="1526" y="355"/>
                </a:lnTo>
                <a:lnTo>
                  <a:pt x="1524" y="357"/>
                </a:lnTo>
                <a:lnTo>
                  <a:pt x="1521" y="358"/>
                </a:lnTo>
                <a:lnTo>
                  <a:pt x="1518" y="359"/>
                </a:lnTo>
                <a:lnTo>
                  <a:pt x="1514" y="358"/>
                </a:lnTo>
                <a:lnTo>
                  <a:pt x="1511" y="357"/>
                </a:lnTo>
                <a:lnTo>
                  <a:pt x="1509" y="355"/>
                </a:lnTo>
                <a:lnTo>
                  <a:pt x="1508" y="354"/>
                </a:lnTo>
                <a:lnTo>
                  <a:pt x="1506" y="351"/>
                </a:lnTo>
                <a:lnTo>
                  <a:pt x="1506" y="349"/>
                </a:lnTo>
                <a:lnTo>
                  <a:pt x="1505" y="347"/>
                </a:lnTo>
                <a:lnTo>
                  <a:pt x="1505" y="344"/>
                </a:lnTo>
                <a:lnTo>
                  <a:pt x="1506" y="342"/>
                </a:lnTo>
                <a:lnTo>
                  <a:pt x="1507" y="340"/>
                </a:lnTo>
                <a:lnTo>
                  <a:pt x="1509" y="337"/>
                </a:lnTo>
                <a:lnTo>
                  <a:pt x="1512" y="335"/>
                </a:lnTo>
                <a:lnTo>
                  <a:pt x="1515" y="334"/>
                </a:lnTo>
                <a:lnTo>
                  <a:pt x="1518" y="334"/>
                </a:lnTo>
                <a:close/>
                <a:moveTo>
                  <a:pt x="1792" y="309"/>
                </a:moveTo>
                <a:lnTo>
                  <a:pt x="1795" y="310"/>
                </a:lnTo>
                <a:lnTo>
                  <a:pt x="1798" y="311"/>
                </a:lnTo>
                <a:lnTo>
                  <a:pt x="1801" y="313"/>
                </a:lnTo>
                <a:lnTo>
                  <a:pt x="1803" y="316"/>
                </a:lnTo>
                <a:lnTo>
                  <a:pt x="1804" y="318"/>
                </a:lnTo>
                <a:lnTo>
                  <a:pt x="1804" y="321"/>
                </a:lnTo>
                <a:lnTo>
                  <a:pt x="1804" y="323"/>
                </a:lnTo>
                <a:lnTo>
                  <a:pt x="1804" y="326"/>
                </a:lnTo>
                <a:lnTo>
                  <a:pt x="1803" y="328"/>
                </a:lnTo>
                <a:lnTo>
                  <a:pt x="1802" y="330"/>
                </a:lnTo>
                <a:lnTo>
                  <a:pt x="1800" y="332"/>
                </a:lnTo>
                <a:lnTo>
                  <a:pt x="1798" y="333"/>
                </a:lnTo>
                <a:lnTo>
                  <a:pt x="1795" y="334"/>
                </a:lnTo>
                <a:lnTo>
                  <a:pt x="1792" y="334"/>
                </a:lnTo>
                <a:lnTo>
                  <a:pt x="1789" y="334"/>
                </a:lnTo>
                <a:lnTo>
                  <a:pt x="1786" y="333"/>
                </a:lnTo>
                <a:lnTo>
                  <a:pt x="1783" y="330"/>
                </a:lnTo>
                <a:lnTo>
                  <a:pt x="1781" y="328"/>
                </a:lnTo>
                <a:lnTo>
                  <a:pt x="1780" y="325"/>
                </a:lnTo>
                <a:lnTo>
                  <a:pt x="1780" y="323"/>
                </a:lnTo>
                <a:lnTo>
                  <a:pt x="1780" y="320"/>
                </a:lnTo>
                <a:lnTo>
                  <a:pt x="1780" y="318"/>
                </a:lnTo>
                <a:lnTo>
                  <a:pt x="1781" y="316"/>
                </a:lnTo>
                <a:lnTo>
                  <a:pt x="1782" y="314"/>
                </a:lnTo>
                <a:lnTo>
                  <a:pt x="1784" y="312"/>
                </a:lnTo>
                <a:lnTo>
                  <a:pt x="1786" y="311"/>
                </a:lnTo>
                <a:lnTo>
                  <a:pt x="1789" y="310"/>
                </a:lnTo>
                <a:lnTo>
                  <a:pt x="1792" y="309"/>
                </a:lnTo>
                <a:close/>
                <a:moveTo>
                  <a:pt x="1384" y="298"/>
                </a:moveTo>
                <a:lnTo>
                  <a:pt x="1388" y="298"/>
                </a:lnTo>
                <a:lnTo>
                  <a:pt x="1391" y="300"/>
                </a:lnTo>
                <a:lnTo>
                  <a:pt x="1393" y="301"/>
                </a:lnTo>
                <a:lnTo>
                  <a:pt x="1394" y="303"/>
                </a:lnTo>
                <a:lnTo>
                  <a:pt x="1396" y="307"/>
                </a:lnTo>
                <a:lnTo>
                  <a:pt x="1396" y="309"/>
                </a:lnTo>
                <a:lnTo>
                  <a:pt x="1396" y="312"/>
                </a:lnTo>
                <a:lnTo>
                  <a:pt x="1396" y="314"/>
                </a:lnTo>
                <a:lnTo>
                  <a:pt x="1395" y="316"/>
                </a:lnTo>
                <a:lnTo>
                  <a:pt x="1393" y="318"/>
                </a:lnTo>
                <a:lnTo>
                  <a:pt x="1392" y="320"/>
                </a:lnTo>
                <a:lnTo>
                  <a:pt x="1389" y="321"/>
                </a:lnTo>
                <a:lnTo>
                  <a:pt x="1387" y="322"/>
                </a:lnTo>
                <a:lnTo>
                  <a:pt x="1384" y="322"/>
                </a:lnTo>
                <a:lnTo>
                  <a:pt x="1380" y="322"/>
                </a:lnTo>
                <a:lnTo>
                  <a:pt x="1376" y="320"/>
                </a:lnTo>
                <a:lnTo>
                  <a:pt x="1375" y="319"/>
                </a:lnTo>
                <a:lnTo>
                  <a:pt x="1374" y="317"/>
                </a:lnTo>
                <a:lnTo>
                  <a:pt x="1372" y="313"/>
                </a:lnTo>
                <a:lnTo>
                  <a:pt x="1371" y="311"/>
                </a:lnTo>
                <a:lnTo>
                  <a:pt x="1372" y="308"/>
                </a:lnTo>
                <a:lnTo>
                  <a:pt x="1372" y="306"/>
                </a:lnTo>
                <a:lnTo>
                  <a:pt x="1373" y="304"/>
                </a:lnTo>
                <a:lnTo>
                  <a:pt x="1374" y="302"/>
                </a:lnTo>
                <a:lnTo>
                  <a:pt x="1376" y="300"/>
                </a:lnTo>
                <a:lnTo>
                  <a:pt x="1378" y="299"/>
                </a:lnTo>
                <a:lnTo>
                  <a:pt x="1381" y="298"/>
                </a:lnTo>
                <a:lnTo>
                  <a:pt x="1384" y="298"/>
                </a:lnTo>
                <a:close/>
                <a:moveTo>
                  <a:pt x="1913" y="232"/>
                </a:moveTo>
                <a:lnTo>
                  <a:pt x="1916" y="232"/>
                </a:lnTo>
                <a:lnTo>
                  <a:pt x="1919" y="233"/>
                </a:lnTo>
                <a:lnTo>
                  <a:pt x="1921" y="235"/>
                </a:lnTo>
                <a:lnTo>
                  <a:pt x="1922" y="236"/>
                </a:lnTo>
                <a:lnTo>
                  <a:pt x="1923" y="237"/>
                </a:lnTo>
                <a:lnTo>
                  <a:pt x="1925" y="239"/>
                </a:lnTo>
                <a:lnTo>
                  <a:pt x="1925" y="242"/>
                </a:lnTo>
                <a:lnTo>
                  <a:pt x="1926" y="244"/>
                </a:lnTo>
                <a:lnTo>
                  <a:pt x="1926" y="246"/>
                </a:lnTo>
                <a:lnTo>
                  <a:pt x="1924" y="251"/>
                </a:lnTo>
                <a:lnTo>
                  <a:pt x="1923" y="253"/>
                </a:lnTo>
                <a:lnTo>
                  <a:pt x="1921" y="255"/>
                </a:lnTo>
                <a:lnTo>
                  <a:pt x="1919" y="256"/>
                </a:lnTo>
                <a:lnTo>
                  <a:pt x="1917" y="256"/>
                </a:lnTo>
                <a:lnTo>
                  <a:pt x="1915" y="257"/>
                </a:lnTo>
                <a:lnTo>
                  <a:pt x="1913" y="257"/>
                </a:lnTo>
                <a:lnTo>
                  <a:pt x="1911" y="257"/>
                </a:lnTo>
                <a:lnTo>
                  <a:pt x="1908" y="256"/>
                </a:lnTo>
                <a:lnTo>
                  <a:pt x="1905" y="254"/>
                </a:lnTo>
                <a:lnTo>
                  <a:pt x="1904" y="253"/>
                </a:lnTo>
                <a:lnTo>
                  <a:pt x="1903" y="252"/>
                </a:lnTo>
                <a:lnTo>
                  <a:pt x="1902" y="250"/>
                </a:lnTo>
                <a:lnTo>
                  <a:pt x="1901" y="248"/>
                </a:lnTo>
                <a:lnTo>
                  <a:pt x="1901" y="245"/>
                </a:lnTo>
                <a:lnTo>
                  <a:pt x="1901" y="243"/>
                </a:lnTo>
                <a:lnTo>
                  <a:pt x="1903" y="238"/>
                </a:lnTo>
                <a:lnTo>
                  <a:pt x="1904" y="236"/>
                </a:lnTo>
                <a:lnTo>
                  <a:pt x="1906" y="235"/>
                </a:lnTo>
                <a:lnTo>
                  <a:pt x="1908" y="233"/>
                </a:lnTo>
                <a:lnTo>
                  <a:pt x="1909" y="233"/>
                </a:lnTo>
                <a:lnTo>
                  <a:pt x="1911" y="232"/>
                </a:lnTo>
                <a:lnTo>
                  <a:pt x="1913" y="232"/>
                </a:lnTo>
                <a:close/>
                <a:moveTo>
                  <a:pt x="2024" y="139"/>
                </a:moveTo>
                <a:lnTo>
                  <a:pt x="2026" y="140"/>
                </a:lnTo>
                <a:lnTo>
                  <a:pt x="2029" y="140"/>
                </a:lnTo>
                <a:lnTo>
                  <a:pt x="2031" y="142"/>
                </a:lnTo>
                <a:lnTo>
                  <a:pt x="2033" y="143"/>
                </a:lnTo>
                <a:lnTo>
                  <a:pt x="2034" y="145"/>
                </a:lnTo>
                <a:lnTo>
                  <a:pt x="2035" y="148"/>
                </a:lnTo>
                <a:lnTo>
                  <a:pt x="2036" y="150"/>
                </a:lnTo>
                <a:lnTo>
                  <a:pt x="2036" y="152"/>
                </a:lnTo>
                <a:lnTo>
                  <a:pt x="2036" y="155"/>
                </a:lnTo>
                <a:lnTo>
                  <a:pt x="2035" y="157"/>
                </a:lnTo>
                <a:lnTo>
                  <a:pt x="2034" y="159"/>
                </a:lnTo>
                <a:lnTo>
                  <a:pt x="2032" y="161"/>
                </a:lnTo>
                <a:lnTo>
                  <a:pt x="2030" y="162"/>
                </a:lnTo>
                <a:lnTo>
                  <a:pt x="2028" y="164"/>
                </a:lnTo>
                <a:lnTo>
                  <a:pt x="2024" y="164"/>
                </a:lnTo>
                <a:lnTo>
                  <a:pt x="2021" y="164"/>
                </a:lnTo>
                <a:lnTo>
                  <a:pt x="2019" y="163"/>
                </a:lnTo>
                <a:lnTo>
                  <a:pt x="2017" y="162"/>
                </a:lnTo>
                <a:lnTo>
                  <a:pt x="2015" y="160"/>
                </a:lnTo>
                <a:lnTo>
                  <a:pt x="2013" y="158"/>
                </a:lnTo>
                <a:lnTo>
                  <a:pt x="2012" y="156"/>
                </a:lnTo>
                <a:lnTo>
                  <a:pt x="2011" y="151"/>
                </a:lnTo>
                <a:lnTo>
                  <a:pt x="2012" y="149"/>
                </a:lnTo>
                <a:lnTo>
                  <a:pt x="2012" y="147"/>
                </a:lnTo>
                <a:lnTo>
                  <a:pt x="2014" y="145"/>
                </a:lnTo>
                <a:lnTo>
                  <a:pt x="2015" y="143"/>
                </a:lnTo>
                <a:lnTo>
                  <a:pt x="2017" y="141"/>
                </a:lnTo>
                <a:lnTo>
                  <a:pt x="2019" y="140"/>
                </a:lnTo>
                <a:lnTo>
                  <a:pt x="2024" y="139"/>
                </a:lnTo>
                <a:close/>
                <a:moveTo>
                  <a:pt x="2125" y="37"/>
                </a:moveTo>
                <a:lnTo>
                  <a:pt x="2129" y="38"/>
                </a:lnTo>
                <a:lnTo>
                  <a:pt x="2131" y="39"/>
                </a:lnTo>
                <a:lnTo>
                  <a:pt x="2133" y="40"/>
                </a:lnTo>
                <a:lnTo>
                  <a:pt x="2135" y="42"/>
                </a:lnTo>
                <a:lnTo>
                  <a:pt x="2136" y="44"/>
                </a:lnTo>
                <a:lnTo>
                  <a:pt x="2137" y="46"/>
                </a:lnTo>
                <a:lnTo>
                  <a:pt x="2137" y="49"/>
                </a:lnTo>
                <a:lnTo>
                  <a:pt x="2137" y="53"/>
                </a:lnTo>
                <a:lnTo>
                  <a:pt x="2136" y="56"/>
                </a:lnTo>
                <a:lnTo>
                  <a:pt x="2134" y="58"/>
                </a:lnTo>
                <a:lnTo>
                  <a:pt x="2132" y="59"/>
                </a:lnTo>
                <a:lnTo>
                  <a:pt x="2130" y="61"/>
                </a:lnTo>
                <a:lnTo>
                  <a:pt x="2127" y="61"/>
                </a:lnTo>
                <a:lnTo>
                  <a:pt x="2125" y="62"/>
                </a:lnTo>
                <a:lnTo>
                  <a:pt x="2120" y="61"/>
                </a:lnTo>
                <a:lnTo>
                  <a:pt x="2118" y="60"/>
                </a:lnTo>
                <a:lnTo>
                  <a:pt x="2116" y="58"/>
                </a:lnTo>
                <a:lnTo>
                  <a:pt x="2115" y="57"/>
                </a:lnTo>
                <a:lnTo>
                  <a:pt x="2114" y="54"/>
                </a:lnTo>
                <a:lnTo>
                  <a:pt x="2113" y="52"/>
                </a:lnTo>
                <a:lnTo>
                  <a:pt x="2112" y="50"/>
                </a:lnTo>
                <a:lnTo>
                  <a:pt x="2113" y="45"/>
                </a:lnTo>
                <a:lnTo>
                  <a:pt x="2114" y="43"/>
                </a:lnTo>
                <a:lnTo>
                  <a:pt x="2116" y="41"/>
                </a:lnTo>
                <a:lnTo>
                  <a:pt x="2118" y="39"/>
                </a:lnTo>
                <a:lnTo>
                  <a:pt x="2120" y="38"/>
                </a:lnTo>
                <a:lnTo>
                  <a:pt x="2122" y="37"/>
                </a:lnTo>
                <a:lnTo>
                  <a:pt x="2125" y="37"/>
                </a:lnTo>
                <a:close/>
                <a:moveTo>
                  <a:pt x="641" y="1315"/>
                </a:moveTo>
                <a:lnTo>
                  <a:pt x="643" y="1315"/>
                </a:lnTo>
                <a:lnTo>
                  <a:pt x="645" y="1315"/>
                </a:lnTo>
                <a:lnTo>
                  <a:pt x="647" y="1316"/>
                </a:lnTo>
                <a:lnTo>
                  <a:pt x="649" y="1318"/>
                </a:lnTo>
                <a:lnTo>
                  <a:pt x="651" y="1319"/>
                </a:lnTo>
                <a:lnTo>
                  <a:pt x="652" y="1321"/>
                </a:lnTo>
                <a:lnTo>
                  <a:pt x="653" y="1324"/>
                </a:lnTo>
                <a:lnTo>
                  <a:pt x="653" y="1326"/>
                </a:lnTo>
                <a:lnTo>
                  <a:pt x="653" y="1328"/>
                </a:lnTo>
                <a:lnTo>
                  <a:pt x="652" y="1333"/>
                </a:lnTo>
                <a:lnTo>
                  <a:pt x="651" y="1335"/>
                </a:lnTo>
                <a:lnTo>
                  <a:pt x="649" y="1336"/>
                </a:lnTo>
                <a:lnTo>
                  <a:pt x="648" y="1338"/>
                </a:lnTo>
                <a:lnTo>
                  <a:pt x="646" y="1338"/>
                </a:lnTo>
                <a:lnTo>
                  <a:pt x="643" y="1339"/>
                </a:lnTo>
                <a:lnTo>
                  <a:pt x="641" y="1339"/>
                </a:lnTo>
                <a:lnTo>
                  <a:pt x="640" y="1339"/>
                </a:lnTo>
                <a:lnTo>
                  <a:pt x="637" y="1339"/>
                </a:lnTo>
                <a:lnTo>
                  <a:pt x="635" y="1338"/>
                </a:lnTo>
                <a:lnTo>
                  <a:pt x="633" y="1336"/>
                </a:lnTo>
                <a:lnTo>
                  <a:pt x="631" y="1335"/>
                </a:lnTo>
                <a:lnTo>
                  <a:pt x="630" y="1333"/>
                </a:lnTo>
                <a:lnTo>
                  <a:pt x="629" y="1330"/>
                </a:lnTo>
                <a:lnTo>
                  <a:pt x="629" y="1328"/>
                </a:lnTo>
                <a:lnTo>
                  <a:pt x="629" y="1326"/>
                </a:lnTo>
                <a:lnTo>
                  <a:pt x="630" y="1321"/>
                </a:lnTo>
                <a:lnTo>
                  <a:pt x="631" y="1319"/>
                </a:lnTo>
                <a:lnTo>
                  <a:pt x="633" y="1318"/>
                </a:lnTo>
                <a:lnTo>
                  <a:pt x="635" y="1316"/>
                </a:lnTo>
                <a:lnTo>
                  <a:pt x="637" y="1315"/>
                </a:lnTo>
                <a:lnTo>
                  <a:pt x="639" y="1315"/>
                </a:lnTo>
                <a:lnTo>
                  <a:pt x="641" y="1315"/>
                </a:lnTo>
                <a:close/>
                <a:moveTo>
                  <a:pt x="784" y="1304"/>
                </a:moveTo>
                <a:lnTo>
                  <a:pt x="788" y="1305"/>
                </a:lnTo>
                <a:lnTo>
                  <a:pt x="791" y="1307"/>
                </a:lnTo>
                <a:lnTo>
                  <a:pt x="793" y="1308"/>
                </a:lnTo>
                <a:lnTo>
                  <a:pt x="794" y="1310"/>
                </a:lnTo>
                <a:lnTo>
                  <a:pt x="796" y="1314"/>
                </a:lnTo>
                <a:lnTo>
                  <a:pt x="796" y="1316"/>
                </a:lnTo>
                <a:lnTo>
                  <a:pt x="796" y="1318"/>
                </a:lnTo>
                <a:lnTo>
                  <a:pt x="794" y="1323"/>
                </a:lnTo>
                <a:lnTo>
                  <a:pt x="793" y="1325"/>
                </a:lnTo>
                <a:lnTo>
                  <a:pt x="791" y="1326"/>
                </a:lnTo>
                <a:lnTo>
                  <a:pt x="789" y="1328"/>
                </a:lnTo>
                <a:lnTo>
                  <a:pt x="787" y="1329"/>
                </a:lnTo>
                <a:lnTo>
                  <a:pt x="784" y="1329"/>
                </a:lnTo>
                <a:lnTo>
                  <a:pt x="780" y="1328"/>
                </a:lnTo>
                <a:lnTo>
                  <a:pt x="776" y="1326"/>
                </a:lnTo>
                <a:lnTo>
                  <a:pt x="775" y="1325"/>
                </a:lnTo>
                <a:lnTo>
                  <a:pt x="774" y="1324"/>
                </a:lnTo>
                <a:lnTo>
                  <a:pt x="772" y="1320"/>
                </a:lnTo>
                <a:lnTo>
                  <a:pt x="772" y="1317"/>
                </a:lnTo>
                <a:lnTo>
                  <a:pt x="772" y="1315"/>
                </a:lnTo>
                <a:lnTo>
                  <a:pt x="773" y="1310"/>
                </a:lnTo>
                <a:lnTo>
                  <a:pt x="775" y="1309"/>
                </a:lnTo>
                <a:lnTo>
                  <a:pt x="776" y="1307"/>
                </a:lnTo>
                <a:lnTo>
                  <a:pt x="778" y="1306"/>
                </a:lnTo>
                <a:lnTo>
                  <a:pt x="781" y="1305"/>
                </a:lnTo>
                <a:lnTo>
                  <a:pt x="784" y="1304"/>
                </a:lnTo>
                <a:close/>
                <a:moveTo>
                  <a:pt x="503" y="1276"/>
                </a:moveTo>
                <a:lnTo>
                  <a:pt x="506" y="1276"/>
                </a:lnTo>
                <a:lnTo>
                  <a:pt x="508" y="1277"/>
                </a:lnTo>
                <a:lnTo>
                  <a:pt x="512" y="1279"/>
                </a:lnTo>
                <a:lnTo>
                  <a:pt x="514" y="1281"/>
                </a:lnTo>
                <a:lnTo>
                  <a:pt x="515" y="1283"/>
                </a:lnTo>
                <a:lnTo>
                  <a:pt x="515" y="1286"/>
                </a:lnTo>
                <a:lnTo>
                  <a:pt x="516" y="1288"/>
                </a:lnTo>
                <a:lnTo>
                  <a:pt x="515" y="1290"/>
                </a:lnTo>
                <a:lnTo>
                  <a:pt x="515" y="1293"/>
                </a:lnTo>
                <a:lnTo>
                  <a:pt x="513" y="1296"/>
                </a:lnTo>
                <a:lnTo>
                  <a:pt x="511" y="1297"/>
                </a:lnTo>
                <a:lnTo>
                  <a:pt x="510" y="1298"/>
                </a:lnTo>
                <a:lnTo>
                  <a:pt x="507" y="1300"/>
                </a:lnTo>
                <a:lnTo>
                  <a:pt x="503" y="1300"/>
                </a:lnTo>
                <a:lnTo>
                  <a:pt x="501" y="1300"/>
                </a:lnTo>
                <a:lnTo>
                  <a:pt x="498" y="1299"/>
                </a:lnTo>
                <a:lnTo>
                  <a:pt x="494" y="1296"/>
                </a:lnTo>
                <a:lnTo>
                  <a:pt x="493" y="1295"/>
                </a:lnTo>
                <a:lnTo>
                  <a:pt x="492" y="1292"/>
                </a:lnTo>
                <a:lnTo>
                  <a:pt x="491" y="1290"/>
                </a:lnTo>
                <a:lnTo>
                  <a:pt x="491" y="1288"/>
                </a:lnTo>
                <a:lnTo>
                  <a:pt x="491" y="1285"/>
                </a:lnTo>
                <a:lnTo>
                  <a:pt x="492" y="1283"/>
                </a:lnTo>
                <a:lnTo>
                  <a:pt x="494" y="1280"/>
                </a:lnTo>
                <a:lnTo>
                  <a:pt x="495" y="1279"/>
                </a:lnTo>
                <a:lnTo>
                  <a:pt x="497" y="1278"/>
                </a:lnTo>
                <a:lnTo>
                  <a:pt x="500" y="1276"/>
                </a:lnTo>
                <a:lnTo>
                  <a:pt x="503" y="1276"/>
                </a:lnTo>
                <a:close/>
                <a:moveTo>
                  <a:pt x="917" y="1248"/>
                </a:moveTo>
                <a:lnTo>
                  <a:pt x="920" y="1249"/>
                </a:lnTo>
                <a:lnTo>
                  <a:pt x="923" y="1250"/>
                </a:lnTo>
                <a:lnTo>
                  <a:pt x="926" y="1252"/>
                </a:lnTo>
                <a:lnTo>
                  <a:pt x="928" y="1254"/>
                </a:lnTo>
                <a:lnTo>
                  <a:pt x="929" y="1257"/>
                </a:lnTo>
                <a:lnTo>
                  <a:pt x="929" y="1259"/>
                </a:lnTo>
                <a:lnTo>
                  <a:pt x="929" y="1261"/>
                </a:lnTo>
                <a:lnTo>
                  <a:pt x="929" y="1264"/>
                </a:lnTo>
                <a:lnTo>
                  <a:pt x="928" y="1266"/>
                </a:lnTo>
                <a:lnTo>
                  <a:pt x="927" y="1268"/>
                </a:lnTo>
                <a:lnTo>
                  <a:pt x="925" y="1270"/>
                </a:lnTo>
                <a:lnTo>
                  <a:pt x="923" y="1271"/>
                </a:lnTo>
                <a:lnTo>
                  <a:pt x="920" y="1272"/>
                </a:lnTo>
                <a:lnTo>
                  <a:pt x="917" y="1273"/>
                </a:lnTo>
                <a:lnTo>
                  <a:pt x="914" y="1272"/>
                </a:lnTo>
                <a:lnTo>
                  <a:pt x="911" y="1271"/>
                </a:lnTo>
                <a:lnTo>
                  <a:pt x="908" y="1269"/>
                </a:lnTo>
                <a:lnTo>
                  <a:pt x="906" y="1267"/>
                </a:lnTo>
                <a:lnTo>
                  <a:pt x="905" y="1264"/>
                </a:lnTo>
                <a:lnTo>
                  <a:pt x="905" y="1262"/>
                </a:lnTo>
                <a:lnTo>
                  <a:pt x="905" y="1260"/>
                </a:lnTo>
                <a:lnTo>
                  <a:pt x="905" y="1257"/>
                </a:lnTo>
                <a:lnTo>
                  <a:pt x="906" y="1255"/>
                </a:lnTo>
                <a:lnTo>
                  <a:pt x="907" y="1253"/>
                </a:lnTo>
                <a:lnTo>
                  <a:pt x="909" y="1251"/>
                </a:lnTo>
                <a:lnTo>
                  <a:pt x="911" y="1250"/>
                </a:lnTo>
                <a:lnTo>
                  <a:pt x="914" y="1249"/>
                </a:lnTo>
                <a:lnTo>
                  <a:pt x="917" y="1248"/>
                </a:lnTo>
                <a:close/>
                <a:moveTo>
                  <a:pt x="377" y="1207"/>
                </a:moveTo>
                <a:lnTo>
                  <a:pt x="380" y="1208"/>
                </a:lnTo>
                <a:lnTo>
                  <a:pt x="383" y="1209"/>
                </a:lnTo>
                <a:lnTo>
                  <a:pt x="385" y="1210"/>
                </a:lnTo>
                <a:lnTo>
                  <a:pt x="387" y="1212"/>
                </a:lnTo>
                <a:lnTo>
                  <a:pt x="388" y="1214"/>
                </a:lnTo>
                <a:lnTo>
                  <a:pt x="389" y="1217"/>
                </a:lnTo>
                <a:lnTo>
                  <a:pt x="389" y="1219"/>
                </a:lnTo>
                <a:lnTo>
                  <a:pt x="389" y="1221"/>
                </a:lnTo>
                <a:lnTo>
                  <a:pt x="388" y="1224"/>
                </a:lnTo>
                <a:lnTo>
                  <a:pt x="387" y="1226"/>
                </a:lnTo>
                <a:lnTo>
                  <a:pt x="385" y="1228"/>
                </a:lnTo>
                <a:lnTo>
                  <a:pt x="383" y="1230"/>
                </a:lnTo>
                <a:lnTo>
                  <a:pt x="380" y="1231"/>
                </a:lnTo>
                <a:lnTo>
                  <a:pt x="377" y="1232"/>
                </a:lnTo>
                <a:lnTo>
                  <a:pt x="373" y="1231"/>
                </a:lnTo>
                <a:lnTo>
                  <a:pt x="370" y="1230"/>
                </a:lnTo>
                <a:lnTo>
                  <a:pt x="368" y="1228"/>
                </a:lnTo>
                <a:lnTo>
                  <a:pt x="367" y="1226"/>
                </a:lnTo>
                <a:lnTo>
                  <a:pt x="366" y="1224"/>
                </a:lnTo>
                <a:lnTo>
                  <a:pt x="365" y="1222"/>
                </a:lnTo>
                <a:lnTo>
                  <a:pt x="364" y="1220"/>
                </a:lnTo>
                <a:lnTo>
                  <a:pt x="365" y="1217"/>
                </a:lnTo>
                <a:lnTo>
                  <a:pt x="365" y="1215"/>
                </a:lnTo>
                <a:lnTo>
                  <a:pt x="366" y="1213"/>
                </a:lnTo>
                <a:lnTo>
                  <a:pt x="368" y="1210"/>
                </a:lnTo>
                <a:lnTo>
                  <a:pt x="371" y="1209"/>
                </a:lnTo>
                <a:lnTo>
                  <a:pt x="374" y="1207"/>
                </a:lnTo>
                <a:lnTo>
                  <a:pt x="377" y="1207"/>
                </a:lnTo>
                <a:close/>
                <a:moveTo>
                  <a:pt x="1034" y="1164"/>
                </a:moveTo>
                <a:lnTo>
                  <a:pt x="1036" y="1165"/>
                </a:lnTo>
                <a:lnTo>
                  <a:pt x="1039" y="1165"/>
                </a:lnTo>
                <a:lnTo>
                  <a:pt x="1041" y="1167"/>
                </a:lnTo>
                <a:lnTo>
                  <a:pt x="1043" y="1168"/>
                </a:lnTo>
                <a:lnTo>
                  <a:pt x="1044" y="1171"/>
                </a:lnTo>
                <a:lnTo>
                  <a:pt x="1045" y="1173"/>
                </a:lnTo>
                <a:lnTo>
                  <a:pt x="1046" y="1175"/>
                </a:lnTo>
                <a:lnTo>
                  <a:pt x="1046" y="1177"/>
                </a:lnTo>
                <a:lnTo>
                  <a:pt x="1045" y="1180"/>
                </a:lnTo>
                <a:lnTo>
                  <a:pt x="1045" y="1182"/>
                </a:lnTo>
                <a:lnTo>
                  <a:pt x="1043" y="1184"/>
                </a:lnTo>
                <a:lnTo>
                  <a:pt x="1042" y="1186"/>
                </a:lnTo>
                <a:lnTo>
                  <a:pt x="1038" y="1188"/>
                </a:lnTo>
                <a:lnTo>
                  <a:pt x="1034" y="1189"/>
                </a:lnTo>
                <a:lnTo>
                  <a:pt x="1031" y="1189"/>
                </a:lnTo>
                <a:lnTo>
                  <a:pt x="1029" y="1188"/>
                </a:lnTo>
                <a:lnTo>
                  <a:pt x="1026" y="1187"/>
                </a:lnTo>
                <a:lnTo>
                  <a:pt x="1024" y="1185"/>
                </a:lnTo>
                <a:lnTo>
                  <a:pt x="1023" y="1183"/>
                </a:lnTo>
                <a:lnTo>
                  <a:pt x="1022" y="1180"/>
                </a:lnTo>
                <a:lnTo>
                  <a:pt x="1021" y="1178"/>
                </a:lnTo>
                <a:lnTo>
                  <a:pt x="1021" y="1176"/>
                </a:lnTo>
                <a:lnTo>
                  <a:pt x="1022" y="1173"/>
                </a:lnTo>
                <a:lnTo>
                  <a:pt x="1023" y="1171"/>
                </a:lnTo>
                <a:lnTo>
                  <a:pt x="1024" y="1169"/>
                </a:lnTo>
                <a:lnTo>
                  <a:pt x="1026" y="1167"/>
                </a:lnTo>
                <a:lnTo>
                  <a:pt x="1029" y="1165"/>
                </a:lnTo>
                <a:lnTo>
                  <a:pt x="1034" y="1164"/>
                </a:lnTo>
                <a:close/>
                <a:moveTo>
                  <a:pt x="257" y="1128"/>
                </a:moveTo>
                <a:lnTo>
                  <a:pt x="260" y="1128"/>
                </a:lnTo>
                <a:lnTo>
                  <a:pt x="262" y="1129"/>
                </a:lnTo>
                <a:lnTo>
                  <a:pt x="263" y="1130"/>
                </a:lnTo>
                <a:lnTo>
                  <a:pt x="265" y="1131"/>
                </a:lnTo>
                <a:lnTo>
                  <a:pt x="267" y="1133"/>
                </a:lnTo>
                <a:lnTo>
                  <a:pt x="268" y="1135"/>
                </a:lnTo>
                <a:lnTo>
                  <a:pt x="269" y="1138"/>
                </a:lnTo>
                <a:lnTo>
                  <a:pt x="269" y="1142"/>
                </a:lnTo>
                <a:lnTo>
                  <a:pt x="268" y="1145"/>
                </a:lnTo>
                <a:lnTo>
                  <a:pt x="267" y="1147"/>
                </a:lnTo>
                <a:lnTo>
                  <a:pt x="266" y="1148"/>
                </a:lnTo>
                <a:lnTo>
                  <a:pt x="265" y="1149"/>
                </a:lnTo>
                <a:lnTo>
                  <a:pt x="262" y="1151"/>
                </a:lnTo>
                <a:lnTo>
                  <a:pt x="259" y="1152"/>
                </a:lnTo>
                <a:lnTo>
                  <a:pt x="257" y="1152"/>
                </a:lnTo>
                <a:lnTo>
                  <a:pt x="253" y="1152"/>
                </a:lnTo>
                <a:lnTo>
                  <a:pt x="251" y="1151"/>
                </a:lnTo>
                <a:lnTo>
                  <a:pt x="250" y="1150"/>
                </a:lnTo>
                <a:lnTo>
                  <a:pt x="248" y="1149"/>
                </a:lnTo>
                <a:lnTo>
                  <a:pt x="246" y="1147"/>
                </a:lnTo>
                <a:lnTo>
                  <a:pt x="245" y="1145"/>
                </a:lnTo>
                <a:lnTo>
                  <a:pt x="245" y="1142"/>
                </a:lnTo>
                <a:lnTo>
                  <a:pt x="244" y="1138"/>
                </a:lnTo>
                <a:lnTo>
                  <a:pt x="245" y="1135"/>
                </a:lnTo>
                <a:lnTo>
                  <a:pt x="246" y="1133"/>
                </a:lnTo>
                <a:lnTo>
                  <a:pt x="247" y="1132"/>
                </a:lnTo>
                <a:lnTo>
                  <a:pt x="248" y="1131"/>
                </a:lnTo>
                <a:lnTo>
                  <a:pt x="251" y="1129"/>
                </a:lnTo>
                <a:lnTo>
                  <a:pt x="254" y="1128"/>
                </a:lnTo>
                <a:lnTo>
                  <a:pt x="257" y="1128"/>
                </a:lnTo>
                <a:close/>
                <a:moveTo>
                  <a:pt x="1135" y="1062"/>
                </a:moveTo>
                <a:lnTo>
                  <a:pt x="1139" y="1063"/>
                </a:lnTo>
                <a:lnTo>
                  <a:pt x="1141" y="1064"/>
                </a:lnTo>
                <a:lnTo>
                  <a:pt x="1143" y="1065"/>
                </a:lnTo>
                <a:lnTo>
                  <a:pt x="1145" y="1067"/>
                </a:lnTo>
                <a:lnTo>
                  <a:pt x="1146" y="1069"/>
                </a:lnTo>
                <a:lnTo>
                  <a:pt x="1147" y="1071"/>
                </a:lnTo>
                <a:lnTo>
                  <a:pt x="1147" y="1073"/>
                </a:lnTo>
                <a:lnTo>
                  <a:pt x="1147" y="1076"/>
                </a:lnTo>
                <a:lnTo>
                  <a:pt x="1146" y="1078"/>
                </a:lnTo>
                <a:lnTo>
                  <a:pt x="1145" y="1080"/>
                </a:lnTo>
                <a:lnTo>
                  <a:pt x="1144" y="1082"/>
                </a:lnTo>
                <a:lnTo>
                  <a:pt x="1142" y="1084"/>
                </a:lnTo>
                <a:lnTo>
                  <a:pt x="1140" y="1085"/>
                </a:lnTo>
                <a:lnTo>
                  <a:pt x="1137" y="1086"/>
                </a:lnTo>
                <a:lnTo>
                  <a:pt x="1135" y="1087"/>
                </a:lnTo>
                <a:lnTo>
                  <a:pt x="1131" y="1086"/>
                </a:lnTo>
                <a:lnTo>
                  <a:pt x="1129" y="1085"/>
                </a:lnTo>
                <a:lnTo>
                  <a:pt x="1127" y="1084"/>
                </a:lnTo>
                <a:lnTo>
                  <a:pt x="1125" y="1082"/>
                </a:lnTo>
                <a:lnTo>
                  <a:pt x="1124" y="1080"/>
                </a:lnTo>
                <a:lnTo>
                  <a:pt x="1123" y="1077"/>
                </a:lnTo>
                <a:lnTo>
                  <a:pt x="1122" y="1075"/>
                </a:lnTo>
                <a:lnTo>
                  <a:pt x="1123" y="1073"/>
                </a:lnTo>
                <a:lnTo>
                  <a:pt x="1123" y="1070"/>
                </a:lnTo>
                <a:lnTo>
                  <a:pt x="1124" y="1068"/>
                </a:lnTo>
                <a:lnTo>
                  <a:pt x="1125" y="1066"/>
                </a:lnTo>
                <a:lnTo>
                  <a:pt x="1127" y="1064"/>
                </a:lnTo>
                <a:lnTo>
                  <a:pt x="1130" y="1063"/>
                </a:lnTo>
                <a:lnTo>
                  <a:pt x="1132" y="1062"/>
                </a:lnTo>
                <a:lnTo>
                  <a:pt x="1135" y="1062"/>
                </a:lnTo>
                <a:close/>
                <a:moveTo>
                  <a:pt x="135" y="1050"/>
                </a:moveTo>
                <a:lnTo>
                  <a:pt x="138" y="1051"/>
                </a:lnTo>
                <a:lnTo>
                  <a:pt x="141" y="1052"/>
                </a:lnTo>
                <a:lnTo>
                  <a:pt x="143" y="1054"/>
                </a:lnTo>
                <a:lnTo>
                  <a:pt x="145" y="1055"/>
                </a:lnTo>
                <a:lnTo>
                  <a:pt x="146" y="1057"/>
                </a:lnTo>
                <a:lnTo>
                  <a:pt x="147" y="1060"/>
                </a:lnTo>
                <a:lnTo>
                  <a:pt x="147" y="1062"/>
                </a:lnTo>
                <a:lnTo>
                  <a:pt x="147" y="1064"/>
                </a:lnTo>
                <a:lnTo>
                  <a:pt x="146" y="1069"/>
                </a:lnTo>
                <a:lnTo>
                  <a:pt x="144" y="1072"/>
                </a:lnTo>
                <a:lnTo>
                  <a:pt x="141" y="1073"/>
                </a:lnTo>
                <a:lnTo>
                  <a:pt x="138" y="1075"/>
                </a:lnTo>
                <a:lnTo>
                  <a:pt x="135" y="1075"/>
                </a:lnTo>
                <a:lnTo>
                  <a:pt x="132" y="1075"/>
                </a:lnTo>
                <a:lnTo>
                  <a:pt x="129" y="1073"/>
                </a:lnTo>
                <a:lnTo>
                  <a:pt x="127" y="1072"/>
                </a:lnTo>
                <a:lnTo>
                  <a:pt x="125" y="1070"/>
                </a:lnTo>
                <a:lnTo>
                  <a:pt x="124" y="1068"/>
                </a:lnTo>
                <a:lnTo>
                  <a:pt x="123" y="1066"/>
                </a:lnTo>
                <a:lnTo>
                  <a:pt x="123" y="1064"/>
                </a:lnTo>
                <a:lnTo>
                  <a:pt x="123" y="1061"/>
                </a:lnTo>
                <a:lnTo>
                  <a:pt x="124" y="1057"/>
                </a:lnTo>
                <a:lnTo>
                  <a:pt x="126" y="1054"/>
                </a:lnTo>
                <a:lnTo>
                  <a:pt x="129" y="1052"/>
                </a:lnTo>
                <a:lnTo>
                  <a:pt x="132" y="1051"/>
                </a:lnTo>
                <a:lnTo>
                  <a:pt x="135" y="1050"/>
                </a:lnTo>
                <a:close/>
                <a:moveTo>
                  <a:pt x="5" y="989"/>
                </a:moveTo>
                <a:lnTo>
                  <a:pt x="9" y="989"/>
                </a:lnTo>
                <a:lnTo>
                  <a:pt x="12" y="991"/>
                </a:lnTo>
                <a:lnTo>
                  <a:pt x="14" y="992"/>
                </a:lnTo>
                <a:lnTo>
                  <a:pt x="15" y="994"/>
                </a:lnTo>
                <a:lnTo>
                  <a:pt x="16" y="996"/>
                </a:lnTo>
                <a:lnTo>
                  <a:pt x="17" y="998"/>
                </a:lnTo>
                <a:lnTo>
                  <a:pt x="17" y="1000"/>
                </a:lnTo>
                <a:lnTo>
                  <a:pt x="17" y="1005"/>
                </a:lnTo>
                <a:lnTo>
                  <a:pt x="15" y="1009"/>
                </a:lnTo>
                <a:lnTo>
                  <a:pt x="12" y="1011"/>
                </a:lnTo>
                <a:lnTo>
                  <a:pt x="9" y="1013"/>
                </a:lnTo>
                <a:lnTo>
                  <a:pt x="5" y="1013"/>
                </a:lnTo>
                <a:lnTo>
                  <a:pt x="1" y="1013"/>
                </a:lnTo>
                <a:lnTo>
                  <a:pt x="0" y="990"/>
                </a:lnTo>
                <a:lnTo>
                  <a:pt x="3" y="989"/>
                </a:lnTo>
                <a:lnTo>
                  <a:pt x="5" y="989"/>
                </a:lnTo>
                <a:close/>
                <a:moveTo>
                  <a:pt x="1225" y="950"/>
                </a:moveTo>
                <a:lnTo>
                  <a:pt x="1229" y="950"/>
                </a:lnTo>
                <a:lnTo>
                  <a:pt x="1231" y="951"/>
                </a:lnTo>
                <a:lnTo>
                  <a:pt x="1233" y="952"/>
                </a:lnTo>
                <a:lnTo>
                  <a:pt x="1234" y="954"/>
                </a:lnTo>
                <a:lnTo>
                  <a:pt x="1236" y="956"/>
                </a:lnTo>
                <a:lnTo>
                  <a:pt x="1237" y="960"/>
                </a:lnTo>
                <a:lnTo>
                  <a:pt x="1237" y="963"/>
                </a:lnTo>
                <a:lnTo>
                  <a:pt x="1237" y="965"/>
                </a:lnTo>
                <a:lnTo>
                  <a:pt x="1236" y="967"/>
                </a:lnTo>
                <a:lnTo>
                  <a:pt x="1235" y="970"/>
                </a:lnTo>
                <a:lnTo>
                  <a:pt x="1233" y="972"/>
                </a:lnTo>
                <a:lnTo>
                  <a:pt x="1231" y="973"/>
                </a:lnTo>
                <a:lnTo>
                  <a:pt x="1228" y="974"/>
                </a:lnTo>
                <a:lnTo>
                  <a:pt x="1225" y="974"/>
                </a:lnTo>
                <a:lnTo>
                  <a:pt x="1221" y="974"/>
                </a:lnTo>
                <a:lnTo>
                  <a:pt x="1219" y="973"/>
                </a:lnTo>
                <a:lnTo>
                  <a:pt x="1218" y="972"/>
                </a:lnTo>
                <a:lnTo>
                  <a:pt x="1216" y="970"/>
                </a:lnTo>
                <a:lnTo>
                  <a:pt x="1214" y="968"/>
                </a:lnTo>
                <a:lnTo>
                  <a:pt x="1213" y="964"/>
                </a:lnTo>
                <a:lnTo>
                  <a:pt x="1213" y="961"/>
                </a:lnTo>
                <a:lnTo>
                  <a:pt x="1213" y="959"/>
                </a:lnTo>
                <a:lnTo>
                  <a:pt x="1214" y="957"/>
                </a:lnTo>
                <a:lnTo>
                  <a:pt x="1215" y="955"/>
                </a:lnTo>
                <a:lnTo>
                  <a:pt x="1217" y="952"/>
                </a:lnTo>
                <a:lnTo>
                  <a:pt x="1220" y="951"/>
                </a:lnTo>
                <a:lnTo>
                  <a:pt x="1222" y="950"/>
                </a:lnTo>
                <a:lnTo>
                  <a:pt x="1225" y="950"/>
                </a:lnTo>
                <a:close/>
                <a:moveTo>
                  <a:pt x="1315" y="837"/>
                </a:moveTo>
                <a:lnTo>
                  <a:pt x="1319" y="838"/>
                </a:lnTo>
                <a:lnTo>
                  <a:pt x="1322" y="839"/>
                </a:lnTo>
                <a:lnTo>
                  <a:pt x="1323" y="840"/>
                </a:lnTo>
                <a:lnTo>
                  <a:pt x="1325" y="842"/>
                </a:lnTo>
                <a:lnTo>
                  <a:pt x="1326" y="844"/>
                </a:lnTo>
                <a:lnTo>
                  <a:pt x="1327" y="847"/>
                </a:lnTo>
                <a:lnTo>
                  <a:pt x="1327" y="849"/>
                </a:lnTo>
                <a:lnTo>
                  <a:pt x="1327" y="851"/>
                </a:lnTo>
                <a:lnTo>
                  <a:pt x="1327" y="854"/>
                </a:lnTo>
                <a:lnTo>
                  <a:pt x="1326" y="856"/>
                </a:lnTo>
                <a:lnTo>
                  <a:pt x="1324" y="858"/>
                </a:lnTo>
                <a:lnTo>
                  <a:pt x="1322" y="860"/>
                </a:lnTo>
                <a:lnTo>
                  <a:pt x="1320" y="861"/>
                </a:lnTo>
                <a:lnTo>
                  <a:pt x="1318" y="862"/>
                </a:lnTo>
                <a:lnTo>
                  <a:pt x="1315" y="862"/>
                </a:lnTo>
                <a:lnTo>
                  <a:pt x="1311" y="861"/>
                </a:lnTo>
                <a:lnTo>
                  <a:pt x="1309" y="860"/>
                </a:lnTo>
                <a:lnTo>
                  <a:pt x="1307" y="859"/>
                </a:lnTo>
                <a:lnTo>
                  <a:pt x="1305" y="857"/>
                </a:lnTo>
                <a:lnTo>
                  <a:pt x="1304" y="855"/>
                </a:lnTo>
                <a:lnTo>
                  <a:pt x="1303" y="853"/>
                </a:lnTo>
                <a:lnTo>
                  <a:pt x="1303" y="850"/>
                </a:lnTo>
                <a:lnTo>
                  <a:pt x="1303" y="848"/>
                </a:lnTo>
                <a:lnTo>
                  <a:pt x="1304" y="846"/>
                </a:lnTo>
                <a:lnTo>
                  <a:pt x="1305" y="843"/>
                </a:lnTo>
                <a:lnTo>
                  <a:pt x="1306" y="841"/>
                </a:lnTo>
                <a:lnTo>
                  <a:pt x="1308" y="840"/>
                </a:lnTo>
                <a:lnTo>
                  <a:pt x="1310" y="838"/>
                </a:lnTo>
                <a:lnTo>
                  <a:pt x="1313" y="838"/>
                </a:lnTo>
                <a:lnTo>
                  <a:pt x="1315" y="837"/>
                </a:lnTo>
                <a:close/>
                <a:moveTo>
                  <a:pt x="1702" y="813"/>
                </a:moveTo>
                <a:lnTo>
                  <a:pt x="1707" y="813"/>
                </a:lnTo>
                <a:lnTo>
                  <a:pt x="1710" y="816"/>
                </a:lnTo>
                <a:lnTo>
                  <a:pt x="1713" y="819"/>
                </a:lnTo>
                <a:lnTo>
                  <a:pt x="1714" y="821"/>
                </a:lnTo>
                <a:lnTo>
                  <a:pt x="1714" y="823"/>
                </a:lnTo>
                <a:lnTo>
                  <a:pt x="1715" y="826"/>
                </a:lnTo>
                <a:lnTo>
                  <a:pt x="1714" y="828"/>
                </a:lnTo>
                <a:lnTo>
                  <a:pt x="1713" y="830"/>
                </a:lnTo>
                <a:lnTo>
                  <a:pt x="1712" y="832"/>
                </a:lnTo>
                <a:lnTo>
                  <a:pt x="1711" y="834"/>
                </a:lnTo>
                <a:lnTo>
                  <a:pt x="1709" y="835"/>
                </a:lnTo>
                <a:lnTo>
                  <a:pt x="1707" y="836"/>
                </a:lnTo>
                <a:lnTo>
                  <a:pt x="1704" y="837"/>
                </a:lnTo>
                <a:lnTo>
                  <a:pt x="1702" y="837"/>
                </a:lnTo>
                <a:lnTo>
                  <a:pt x="1698" y="836"/>
                </a:lnTo>
                <a:lnTo>
                  <a:pt x="1694" y="834"/>
                </a:lnTo>
                <a:lnTo>
                  <a:pt x="1692" y="831"/>
                </a:lnTo>
                <a:lnTo>
                  <a:pt x="1691" y="829"/>
                </a:lnTo>
                <a:lnTo>
                  <a:pt x="1690" y="827"/>
                </a:lnTo>
                <a:lnTo>
                  <a:pt x="1690" y="824"/>
                </a:lnTo>
                <a:lnTo>
                  <a:pt x="1690" y="822"/>
                </a:lnTo>
                <a:lnTo>
                  <a:pt x="1691" y="820"/>
                </a:lnTo>
                <a:lnTo>
                  <a:pt x="1692" y="818"/>
                </a:lnTo>
                <a:lnTo>
                  <a:pt x="1694" y="816"/>
                </a:lnTo>
                <a:lnTo>
                  <a:pt x="1696" y="814"/>
                </a:lnTo>
                <a:lnTo>
                  <a:pt x="1698" y="813"/>
                </a:lnTo>
                <a:lnTo>
                  <a:pt x="1700" y="813"/>
                </a:lnTo>
                <a:lnTo>
                  <a:pt x="1702" y="813"/>
                </a:lnTo>
                <a:close/>
                <a:moveTo>
                  <a:pt x="1563" y="790"/>
                </a:moveTo>
                <a:lnTo>
                  <a:pt x="1567" y="790"/>
                </a:lnTo>
                <a:lnTo>
                  <a:pt x="1570" y="791"/>
                </a:lnTo>
                <a:lnTo>
                  <a:pt x="1572" y="793"/>
                </a:lnTo>
                <a:lnTo>
                  <a:pt x="1573" y="795"/>
                </a:lnTo>
                <a:lnTo>
                  <a:pt x="1574" y="797"/>
                </a:lnTo>
                <a:lnTo>
                  <a:pt x="1575" y="799"/>
                </a:lnTo>
                <a:lnTo>
                  <a:pt x="1576" y="801"/>
                </a:lnTo>
                <a:lnTo>
                  <a:pt x="1575" y="804"/>
                </a:lnTo>
                <a:lnTo>
                  <a:pt x="1575" y="806"/>
                </a:lnTo>
                <a:lnTo>
                  <a:pt x="1574" y="808"/>
                </a:lnTo>
                <a:lnTo>
                  <a:pt x="1572" y="811"/>
                </a:lnTo>
                <a:lnTo>
                  <a:pt x="1569" y="813"/>
                </a:lnTo>
                <a:lnTo>
                  <a:pt x="1566" y="814"/>
                </a:lnTo>
                <a:lnTo>
                  <a:pt x="1563" y="814"/>
                </a:lnTo>
                <a:lnTo>
                  <a:pt x="1560" y="814"/>
                </a:lnTo>
                <a:lnTo>
                  <a:pt x="1557" y="812"/>
                </a:lnTo>
                <a:lnTo>
                  <a:pt x="1555" y="811"/>
                </a:lnTo>
                <a:lnTo>
                  <a:pt x="1553" y="809"/>
                </a:lnTo>
                <a:lnTo>
                  <a:pt x="1552" y="807"/>
                </a:lnTo>
                <a:lnTo>
                  <a:pt x="1551" y="805"/>
                </a:lnTo>
                <a:lnTo>
                  <a:pt x="1551" y="802"/>
                </a:lnTo>
                <a:lnTo>
                  <a:pt x="1551" y="800"/>
                </a:lnTo>
                <a:lnTo>
                  <a:pt x="1552" y="798"/>
                </a:lnTo>
                <a:lnTo>
                  <a:pt x="1553" y="795"/>
                </a:lnTo>
                <a:lnTo>
                  <a:pt x="1555" y="793"/>
                </a:lnTo>
                <a:lnTo>
                  <a:pt x="1557" y="791"/>
                </a:lnTo>
                <a:lnTo>
                  <a:pt x="1560" y="790"/>
                </a:lnTo>
                <a:lnTo>
                  <a:pt x="1563" y="790"/>
                </a:lnTo>
                <a:close/>
                <a:moveTo>
                  <a:pt x="1837" y="765"/>
                </a:moveTo>
                <a:lnTo>
                  <a:pt x="1841" y="766"/>
                </a:lnTo>
                <a:lnTo>
                  <a:pt x="1844" y="767"/>
                </a:lnTo>
                <a:lnTo>
                  <a:pt x="1846" y="769"/>
                </a:lnTo>
                <a:lnTo>
                  <a:pt x="1848" y="772"/>
                </a:lnTo>
                <a:lnTo>
                  <a:pt x="1849" y="774"/>
                </a:lnTo>
                <a:lnTo>
                  <a:pt x="1850" y="776"/>
                </a:lnTo>
                <a:lnTo>
                  <a:pt x="1850" y="779"/>
                </a:lnTo>
                <a:lnTo>
                  <a:pt x="1849" y="781"/>
                </a:lnTo>
                <a:lnTo>
                  <a:pt x="1848" y="783"/>
                </a:lnTo>
                <a:lnTo>
                  <a:pt x="1847" y="785"/>
                </a:lnTo>
                <a:lnTo>
                  <a:pt x="1845" y="787"/>
                </a:lnTo>
                <a:lnTo>
                  <a:pt x="1843" y="788"/>
                </a:lnTo>
                <a:lnTo>
                  <a:pt x="1840" y="789"/>
                </a:lnTo>
                <a:lnTo>
                  <a:pt x="1838" y="790"/>
                </a:lnTo>
                <a:lnTo>
                  <a:pt x="1834" y="789"/>
                </a:lnTo>
                <a:lnTo>
                  <a:pt x="1831" y="788"/>
                </a:lnTo>
                <a:lnTo>
                  <a:pt x="1829" y="786"/>
                </a:lnTo>
                <a:lnTo>
                  <a:pt x="1827" y="783"/>
                </a:lnTo>
                <a:lnTo>
                  <a:pt x="1826" y="781"/>
                </a:lnTo>
                <a:lnTo>
                  <a:pt x="1825" y="778"/>
                </a:lnTo>
                <a:lnTo>
                  <a:pt x="1825" y="776"/>
                </a:lnTo>
                <a:lnTo>
                  <a:pt x="1826" y="774"/>
                </a:lnTo>
                <a:lnTo>
                  <a:pt x="1827" y="772"/>
                </a:lnTo>
                <a:lnTo>
                  <a:pt x="1828" y="770"/>
                </a:lnTo>
                <a:lnTo>
                  <a:pt x="1830" y="768"/>
                </a:lnTo>
                <a:lnTo>
                  <a:pt x="1832" y="767"/>
                </a:lnTo>
                <a:lnTo>
                  <a:pt x="1835" y="765"/>
                </a:lnTo>
                <a:lnTo>
                  <a:pt x="1837" y="765"/>
                </a:lnTo>
                <a:close/>
                <a:moveTo>
                  <a:pt x="1429" y="753"/>
                </a:moveTo>
                <a:lnTo>
                  <a:pt x="1433" y="754"/>
                </a:lnTo>
                <a:lnTo>
                  <a:pt x="1437" y="756"/>
                </a:lnTo>
                <a:lnTo>
                  <a:pt x="1440" y="759"/>
                </a:lnTo>
                <a:lnTo>
                  <a:pt x="1441" y="762"/>
                </a:lnTo>
                <a:lnTo>
                  <a:pt x="1442" y="765"/>
                </a:lnTo>
                <a:lnTo>
                  <a:pt x="1442" y="767"/>
                </a:lnTo>
                <a:lnTo>
                  <a:pt x="1440" y="772"/>
                </a:lnTo>
                <a:lnTo>
                  <a:pt x="1439" y="774"/>
                </a:lnTo>
                <a:lnTo>
                  <a:pt x="1437" y="775"/>
                </a:lnTo>
                <a:lnTo>
                  <a:pt x="1435" y="777"/>
                </a:lnTo>
                <a:lnTo>
                  <a:pt x="1433" y="777"/>
                </a:lnTo>
                <a:lnTo>
                  <a:pt x="1429" y="778"/>
                </a:lnTo>
                <a:lnTo>
                  <a:pt x="1425" y="777"/>
                </a:lnTo>
                <a:lnTo>
                  <a:pt x="1422" y="775"/>
                </a:lnTo>
                <a:lnTo>
                  <a:pt x="1419" y="773"/>
                </a:lnTo>
                <a:lnTo>
                  <a:pt x="1418" y="769"/>
                </a:lnTo>
                <a:lnTo>
                  <a:pt x="1417" y="766"/>
                </a:lnTo>
                <a:lnTo>
                  <a:pt x="1417" y="764"/>
                </a:lnTo>
                <a:lnTo>
                  <a:pt x="1419" y="759"/>
                </a:lnTo>
                <a:lnTo>
                  <a:pt x="1420" y="758"/>
                </a:lnTo>
                <a:lnTo>
                  <a:pt x="1422" y="756"/>
                </a:lnTo>
                <a:lnTo>
                  <a:pt x="1424" y="755"/>
                </a:lnTo>
                <a:lnTo>
                  <a:pt x="1426" y="754"/>
                </a:lnTo>
                <a:lnTo>
                  <a:pt x="1429" y="753"/>
                </a:lnTo>
                <a:close/>
                <a:moveTo>
                  <a:pt x="1959" y="688"/>
                </a:moveTo>
                <a:lnTo>
                  <a:pt x="1962" y="688"/>
                </a:lnTo>
                <a:lnTo>
                  <a:pt x="1964" y="689"/>
                </a:lnTo>
                <a:lnTo>
                  <a:pt x="1967" y="691"/>
                </a:lnTo>
                <a:lnTo>
                  <a:pt x="1968" y="692"/>
                </a:lnTo>
                <a:lnTo>
                  <a:pt x="1969" y="693"/>
                </a:lnTo>
                <a:lnTo>
                  <a:pt x="1970" y="695"/>
                </a:lnTo>
                <a:lnTo>
                  <a:pt x="1971" y="697"/>
                </a:lnTo>
                <a:lnTo>
                  <a:pt x="1971" y="700"/>
                </a:lnTo>
                <a:lnTo>
                  <a:pt x="1971" y="702"/>
                </a:lnTo>
                <a:lnTo>
                  <a:pt x="1970" y="706"/>
                </a:lnTo>
                <a:lnTo>
                  <a:pt x="1968" y="708"/>
                </a:lnTo>
                <a:lnTo>
                  <a:pt x="1966" y="710"/>
                </a:lnTo>
                <a:lnTo>
                  <a:pt x="1965" y="711"/>
                </a:lnTo>
                <a:lnTo>
                  <a:pt x="1963" y="712"/>
                </a:lnTo>
                <a:lnTo>
                  <a:pt x="1961" y="712"/>
                </a:lnTo>
                <a:lnTo>
                  <a:pt x="1959" y="712"/>
                </a:lnTo>
                <a:lnTo>
                  <a:pt x="1956" y="712"/>
                </a:lnTo>
                <a:lnTo>
                  <a:pt x="1953" y="711"/>
                </a:lnTo>
                <a:lnTo>
                  <a:pt x="1951" y="710"/>
                </a:lnTo>
                <a:lnTo>
                  <a:pt x="1950" y="709"/>
                </a:lnTo>
                <a:lnTo>
                  <a:pt x="1949" y="707"/>
                </a:lnTo>
                <a:lnTo>
                  <a:pt x="1948" y="705"/>
                </a:lnTo>
                <a:lnTo>
                  <a:pt x="1947" y="703"/>
                </a:lnTo>
                <a:lnTo>
                  <a:pt x="1947" y="701"/>
                </a:lnTo>
                <a:lnTo>
                  <a:pt x="1947" y="698"/>
                </a:lnTo>
                <a:lnTo>
                  <a:pt x="1948" y="694"/>
                </a:lnTo>
                <a:lnTo>
                  <a:pt x="1950" y="692"/>
                </a:lnTo>
                <a:lnTo>
                  <a:pt x="1952" y="690"/>
                </a:lnTo>
                <a:lnTo>
                  <a:pt x="1953" y="689"/>
                </a:lnTo>
                <a:lnTo>
                  <a:pt x="1955" y="688"/>
                </a:lnTo>
                <a:lnTo>
                  <a:pt x="1957" y="688"/>
                </a:lnTo>
                <a:lnTo>
                  <a:pt x="1959" y="688"/>
                </a:lnTo>
                <a:close/>
                <a:moveTo>
                  <a:pt x="2069" y="595"/>
                </a:moveTo>
                <a:lnTo>
                  <a:pt x="2072" y="595"/>
                </a:lnTo>
                <a:lnTo>
                  <a:pt x="2074" y="596"/>
                </a:lnTo>
                <a:lnTo>
                  <a:pt x="2076" y="597"/>
                </a:lnTo>
                <a:lnTo>
                  <a:pt x="2078" y="599"/>
                </a:lnTo>
                <a:lnTo>
                  <a:pt x="2080" y="601"/>
                </a:lnTo>
                <a:lnTo>
                  <a:pt x="2081" y="603"/>
                </a:lnTo>
                <a:lnTo>
                  <a:pt x="2081" y="606"/>
                </a:lnTo>
                <a:lnTo>
                  <a:pt x="2082" y="608"/>
                </a:lnTo>
                <a:lnTo>
                  <a:pt x="2081" y="610"/>
                </a:lnTo>
                <a:lnTo>
                  <a:pt x="2080" y="613"/>
                </a:lnTo>
                <a:lnTo>
                  <a:pt x="2079" y="615"/>
                </a:lnTo>
                <a:lnTo>
                  <a:pt x="2078" y="616"/>
                </a:lnTo>
                <a:lnTo>
                  <a:pt x="2076" y="618"/>
                </a:lnTo>
                <a:lnTo>
                  <a:pt x="2074" y="619"/>
                </a:lnTo>
                <a:lnTo>
                  <a:pt x="2069" y="620"/>
                </a:lnTo>
                <a:lnTo>
                  <a:pt x="2067" y="620"/>
                </a:lnTo>
                <a:lnTo>
                  <a:pt x="2064" y="619"/>
                </a:lnTo>
                <a:lnTo>
                  <a:pt x="2062" y="618"/>
                </a:lnTo>
                <a:lnTo>
                  <a:pt x="2060" y="616"/>
                </a:lnTo>
                <a:lnTo>
                  <a:pt x="2059" y="614"/>
                </a:lnTo>
                <a:lnTo>
                  <a:pt x="2058" y="612"/>
                </a:lnTo>
                <a:lnTo>
                  <a:pt x="2057" y="609"/>
                </a:lnTo>
                <a:lnTo>
                  <a:pt x="2057" y="607"/>
                </a:lnTo>
                <a:lnTo>
                  <a:pt x="2057" y="605"/>
                </a:lnTo>
                <a:lnTo>
                  <a:pt x="2058" y="602"/>
                </a:lnTo>
                <a:lnTo>
                  <a:pt x="2059" y="600"/>
                </a:lnTo>
                <a:lnTo>
                  <a:pt x="2061" y="598"/>
                </a:lnTo>
                <a:lnTo>
                  <a:pt x="2063" y="597"/>
                </a:lnTo>
                <a:lnTo>
                  <a:pt x="2065" y="596"/>
                </a:lnTo>
                <a:lnTo>
                  <a:pt x="2069" y="595"/>
                </a:lnTo>
                <a:close/>
                <a:moveTo>
                  <a:pt x="2170" y="492"/>
                </a:moveTo>
                <a:lnTo>
                  <a:pt x="2175" y="492"/>
                </a:lnTo>
                <a:lnTo>
                  <a:pt x="2177" y="493"/>
                </a:lnTo>
                <a:lnTo>
                  <a:pt x="2179" y="495"/>
                </a:lnTo>
                <a:lnTo>
                  <a:pt x="2180" y="497"/>
                </a:lnTo>
                <a:lnTo>
                  <a:pt x="2182" y="499"/>
                </a:lnTo>
                <a:lnTo>
                  <a:pt x="2182" y="501"/>
                </a:lnTo>
                <a:lnTo>
                  <a:pt x="2183" y="503"/>
                </a:lnTo>
                <a:lnTo>
                  <a:pt x="2182" y="508"/>
                </a:lnTo>
                <a:lnTo>
                  <a:pt x="2181" y="510"/>
                </a:lnTo>
                <a:lnTo>
                  <a:pt x="2180" y="512"/>
                </a:lnTo>
                <a:lnTo>
                  <a:pt x="2178" y="514"/>
                </a:lnTo>
                <a:lnTo>
                  <a:pt x="2175" y="515"/>
                </a:lnTo>
                <a:lnTo>
                  <a:pt x="2173" y="516"/>
                </a:lnTo>
                <a:lnTo>
                  <a:pt x="2170" y="516"/>
                </a:lnTo>
                <a:lnTo>
                  <a:pt x="2166" y="515"/>
                </a:lnTo>
                <a:lnTo>
                  <a:pt x="2164" y="514"/>
                </a:lnTo>
                <a:lnTo>
                  <a:pt x="2162" y="513"/>
                </a:lnTo>
                <a:lnTo>
                  <a:pt x="2160" y="511"/>
                </a:lnTo>
                <a:lnTo>
                  <a:pt x="2159" y="509"/>
                </a:lnTo>
                <a:lnTo>
                  <a:pt x="2158" y="507"/>
                </a:lnTo>
                <a:lnTo>
                  <a:pt x="2158" y="504"/>
                </a:lnTo>
                <a:lnTo>
                  <a:pt x="2159" y="500"/>
                </a:lnTo>
                <a:lnTo>
                  <a:pt x="2160" y="498"/>
                </a:lnTo>
                <a:lnTo>
                  <a:pt x="2161" y="496"/>
                </a:lnTo>
                <a:lnTo>
                  <a:pt x="2163" y="494"/>
                </a:lnTo>
                <a:lnTo>
                  <a:pt x="2165" y="493"/>
                </a:lnTo>
                <a:lnTo>
                  <a:pt x="2168" y="492"/>
                </a:lnTo>
                <a:lnTo>
                  <a:pt x="2170" y="492"/>
                </a:lnTo>
                <a:close/>
                <a:moveTo>
                  <a:pt x="2263" y="381"/>
                </a:moveTo>
                <a:lnTo>
                  <a:pt x="2267" y="381"/>
                </a:lnTo>
                <a:lnTo>
                  <a:pt x="2268" y="382"/>
                </a:lnTo>
                <a:lnTo>
                  <a:pt x="2270" y="383"/>
                </a:lnTo>
                <a:lnTo>
                  <a:pt x="2272" y="385"/>
                </a:lnTo>
                <a:lnTo>
                  <a:pt x="2273" y="387"/>
                </a:lnTo>
                <a:lnTo>
                  <a:pt x="2275" y="392"/>
                </a:lnTo>
                <a:lnTo>
                  <a:pt x="2275" y="394"/>
                </a:lnTo>
                <a:lnTo>
                  <a:pt x="2275" y="396"/>
                </a:lnTo>
                <a:lnTo>
                  <a:pt x="2274" y="399"/>
                </a:lnTo>
                <a:lnTo>
                  <a:pt x="2273" y="401"/>
                </a:lnTo>
                <a:lnTo>
                  <a:pt x="2270" y="403"/>
                </a:lnTo>
                <a:lnTo>
                  <a:pt x="2268" y="404"/>
                </a:lnTo>
                <a:lnTo>
                  <a:pt x="2265" y="405"/>
                </a:lnTo>
                <a:lnTo>
                  <a:pt x="2263" y="405"/>
                </a:lnTo>
                <a:lnTo>
                  <a:pt x="2259" y="405"/>
                </a:lnTo>
                <a:lnTo>
                  <a:pt x="2257" y="404"/>
                </a:lnTo>
                <a:lnTo>
                  <a:pt x="2255" y="403"/>
                </a:lnTo>
                <a:lnTo>
                  <a:pt x="2253" y="401"/>
                </a:lnTo>
                <a:lnTo>
                  <a:pt x="2252" y="399"/>
                </a:lnTo>
                <a:lnTo>
                  <a:pt x="2251" y="395"/>
                </a:lnTo>
                <a:lnTo>
                  <a:pt x="2250" y="392"/>
                </a:lnTo>
                <a:lnTo>
                  <a:pt x="2251" y="390"/>
                </a:lnTo>
                <a:lnTo>
                  <a:pt x="2252" y="388"/>
                </a:lnTo>
                <a:lnTo>
                  <a:pt x="2253" y="386"/>
                </a:lnTo>
                <a:lnTo>
                  <a:pt x="2255" y="384"/>
                </a:lnTo>
                <a:lnTo>
                  <a:pt x="2257" y="382"/>
                </a:lnTo>
                <a:lnTo>
                  <a:pt x="2260" y="381"/>
                </a:lnTo>
                <a:lnTo>
                  <a:pt x="2263" y="381"/>
                </a:lnTo>
                <a:close/>
                <a:moveTo>
                  <a:pt x="2345" y="263"/>
                </a:moveTo>
                <a:lnTo>
                  <a:pt x="2348" y="263"/>
                </a:lnTo>
                <a:lnTo>
                  <a:pt x="2352" y="264"/>
                </a:lnTo>
                <a:lnTo>
                  <a:pt x="2354" y="266"/>
                </a:lnTo>
                <a:lnTo>
                  <a:pt x="2355" y="268"/>
                </a:lnTo>
                <a:lnTo>
                  <a:pt x="2356" y="270"/>
                </a:lnTo>
                <a:lnTo>
                  <a:pt x="2357" y="272"/>
                </a:lnTo>
                <a:lnTo>
                  <a:pt x="2357" y="274"/>
                </a:lnTo>
                <a:lnTo>
                  <a:pt x="2357" y="277"/>
                </a:lnTo>
                <a:lnTo>
                  <a:pt x="2357" y="279"/>
                </a:lnTo>
                <a:lnTo>
                  <a:pt x="2355" y="281"/>
                </a:lnTo>
                <a:lnTo>
                  <a:pt x="2353" y="284"/>
                </a:lnTo>
                <a:lnTo>
                  <a:pt x="2351" y="286"/>
                </a:lnTo>
                <a:lnTo>
                  <a:pt x="2348" y="287"/>
                </a:lnTo>
                <a:lnTo>
                  <a:pt x="2345" y="287"/>
                </a:lnTo>
                <a:lnTo>
                  <a:pt x="2342" y="287"/>
                </a:lnTo>
                <a:lnTo>
                  <a:pt x="2339" y="285"/>
                </a:lnTo>
                <a:lnTo>
                  <a:pt x="2337" y="284"/>
                </a:lnTo>
                <a:lnTo>
                  <a:pt x="2335" y="282"/>
                </a:lnTo>
                <a:lnTo>
                  <a:pt x="2334" y="280"/>
                </a:lnTo>
                <a:lnTo>
                  <a:pt x="2333" y="278"/>
                </a:lnTo>
                <a:lnTo>
                  <a:pt x="2333" y="275"/>
                </a:lnTo>
                <a:lnTo>
                  <a:pt x="2333" y="273"/>
                </a:lnTo>
                <a:lnTo>
                  <a:pt x="2333" y="271"/>
                </a:lnTo>
                <a:lnTo>
                  <a:pt x="2335" y="268"/>
                </a:lnTo>
                <a:lnTo>
                  <a:pt x="2337" y="266"/>
                </a:lnTo>
                <a:lnTo>
                  <a:pt x="2339" y="264"/>
                </a:lnTo>
                <a:lnTo>
                  <a:pt x="2342" y="263"/>
                </a:lnTo>
                <a:lnTo>
                  <a:pt x="2345" y="263"/>
                </a:lnTo>
                <a:close/>
                <a:moveTo>
                  <a:pt x="2413" y="135"/>
                </a:moveTo>
                <a:lnTo>
                  <a:pt x="2415" y="136"/>
                </a:lnTo>
                <a:lnTo>
                  <a:pt x="2417" y="136"/>
                </a:lnTo>
                <a:lnTo>
                  <a:pt x="2420" y="138"/>
                </a:lnTo>
                <a:lnTo>
                  <a:pt x="2421" y="139"/>
                </a:lnTo>
                <a:lnTo>
                  <a:pt x="2423" y="141"/>
                </a:lnTo>
                <a:lnTo>
                  <a:pt x="2424" y="143"/>
                </a:lnTo>
                <a:lnTo>
                  <a:pt x="2425" y="145"/>
                </a:lnTo>
                <a:lnTo>
                  <a:pt x="2425" y="148"/>
                </a:lnTo>
                <a:lnTo>
                  <a:pt x="2425" y="150"/>
                </a:lnTo>
                <a:lnTo>
                  <a:pt x="2424" y="152"/>
                </a:lnTo>
                <a:lnTo>
                  <a:pt x="2422" y="156"/>
                </a:lnTo>
                <a:lnTo>
                  <a:pt x="2421" y="157"/>
                </a:lnTo>
                <a:lnTo>
                  <a:pt x="2419" y="158"/>
                </a:lnTo>
                <a:lnTo>
                  <a:pt x="2418" y="159"/>
                </a:lnTo>
                <a:lnTo>
                  <a:pt x="2416" y="159"/>
                </a:lnTo>
                <a:lnTo>
                  <a:pt x="2413" y="160"/>
                </a:lnTo>
                <a:lnTo>
                  <a:pt x="2410" y="160"/>
                </a:lnTo>
                <a:lnTo>
                  <a:pt x="2408" y="159"/>
                </a:lnTo>
                <a:lnTo>
                  <a:pt x="2406" y="158"/>
                </a:lnTo>
                <a:lnTo>
                  <a:pt x="2404" y="156"/>
                </a:lnTo>
                <a:lnTo>
                  <a:pt x="2402" y="154"/>
                </a:lnTo>
                <a:lnTo>
                  <a:pt x="2401" y="152"/>
                </a:lnTo>
                <a:lnTo>
                  <a:pt x="2400" y="150"/>
                </a:lnTo>
                <a:lnTo>
                  <a:pt x="2400" y="148"/>
                </a:lnTo>
                <a:lnTo>
                  <a:pt x="2400" y="145"/>
                </a:lnTo>
                <a:lnTo>
                  <a:pt x="2401" y="143"/>
                </a:lnTo>
                <a:lnTo>
                  <a:pt x="2403" y="140"/>
                </a:lnTo>
                <a:lnTo>
                  <a:pt x="2404" y="138"/>
                </a:lnTo>
                <a:lnTo>
                  <a:pt x="2406" y="137"/>
                </a:lnTo>
                <a:lnTo>
                  <a:pt x="2407" y="136"/>
                </a:lnTo>
                <a:lnTo>
                  <a:pt x="2409" y="136"/>
                </a:lnTo>
                <a:lnTo>
                  <a:pt x="2413" y="135"/>
                </a:lnTo>
                <a:close/>
                <a:moveTo>
                  <a:pt x="2465" y="0"/>
                </a:moveTo>
                <a:lnTo>
                  <a:pt x="2466" y="1"/>
                </a:lnTo>
                <a:lnTo>
                  <a:pt x="2469" y="1"/>
                </a:lnTo>
                <a:lnTo>
                  <a:pt x="2471" y="2"/>
                </a:lnTo>
                <a:lnTo>
                  <a:pt x="2473" y="4"/>
                </a:lnTo>
                <a:lnTo>
                  <a:pt x="2475" y="6"/>
                </a:lnTo>
                <a:lnTo>
                  <a:pt x="2476" y="8"/>
                </a:lnTo>
                <a:lnTo>
                  <a:pt x="2477" y="10"/>
                </a:lnTo>
                <a:lnTo>
                  <a:pt x="2477" y="12"/>
                </a:lnTo>
                <a:lnTo>
                  <a:pt x="2476" y="17"/>
                </a:lnTo>
                <a:lnTo>
                  <a:pt x="2475" y="19"/>
                </a:lnTo>
                <a:lnTo>
                  <a:pt x="2474" y="20"/>
                </a:lnTo>
                <a:lnTo>
                  <a:pt x="2472" y="23"/>
                </a:lnTo>
                <a:lnTo>
                  <a:pt x="2470" y="24"/>
                </a:lnTo>
                <a:lnTo>
                  <a:pt x="2468" y="25"/>
                </a:lnTo>
                <a:lnTo>
                  <a:pt x="2465" y="25"/>
                </a:lnTo>
                <a:lnTo>
                  <a:pt x="2460" y="24"/>
                </a:lnTo>
                <a:lnTo>
                  <a:pt x="2458" y="23"/>
                </a:lnTo>
                <a:lnTo>
                  <a:pt x="2456" y="22"/>
                </a:lnTo>
                <a:lnTo>
                  <a:pt x="2455" y="20"/>
                </a:lnTo>
                <a:lnTo>
                  <a:pt x="2453" y="18"/>
                </a:lnTo>
                <a:lnTo>
                  <a:pt x="2453" y="16"/>
                </a:lnTo>
                <a:lnTo>
                  <a:pt x="2452" y="13"/>
                </a:lnTo>
                <a:lnTo>
                  <a:pt x="2453" y="8"/>
                </a:lnTo>
                <a:lnTo>
                  <a:pt x="2455" y="5"/>
                </a:lnTo>
                <a:lnTo>
                  <a:pt x="2457" y="3"/>
                </a:lnTo>
                <a:lnTo>
                  <a:pt x="2459" y="2"/>
                </a:lnTo>
                <a:lnTo>
                  <a:pt x="2460" y="1"/>
                </a:lnTo>
                <a:lnTo>
                  <a:pt x="2463" y="1"/>
                </a:lnTo>
                <a:lnTo>
                  <a:pt x="2465" y="0"/>
                </a:lnTo>
                <a:close/>
                <a:moveTo>
                  <a:pt x="687" y="1770"/>
                </a:moveTo>
                <a:lnTo>
                  <a:pt x="688" y="1770"/>
                </a:lnTo>
                <a:lnTo>
                  <a:pt x="690" y="1771"/>
                </a:lnTo>
                <a:lnTo>
                  <a:pt x="693" y="1772"/>
                </a:lnTo>
                <a:lnTo>
                  <a:pt x="695" y="1773"/>
                </a:lnTo>
                <a:lnTo>
                  <a:pt x="695" y="1774"/>
                </a:lnTo>
                <a:lnTo>
                  <a:pt x="696" y="1775"/>
                </a:lnTo>
                <a:lnTo>
                  <a:pt x="697" y="1777"/>
                </a:lnTo>
                <a:lnTo>
                  <a:pt x="698" y="1779"/>
                </a:lnTo>
                <a:lnTo>
                  <a:pt x="699" y="1782"/>
                </a:lnTo>
                <a:lnTo>
                  <a:pt x="699" y="1784"/>
                </a:lnTo>
                <a:lnTo>
                  <a:pt x="697" y="1788"/>
                </a:lnTo>
                <a:lnTo>
                  <a:pt x="696" y="1790"/>
                </a:lnTo>
                <a:lnTo>
                  <a:pt x="695" y="1792"/>
                </a:lnTo>
                <a:lnTo>
                  <a:pt x="693" y="1793"/>
                </a:lnTo>
                <a:lnTo>
                  <a:pt x="691" y="1794"/>
                </a:lnTo>
                <a:lnTo>
                  <a:pt x="687" y="1795"/>
                </a:lnTo>
                <a:lnTo>
                  <a:pt x="685" y="1795"/>
                </a:lnTo>
                <a:lnTo>
                  <a:pt x="683" y="1794"/>
                </a:lnTo>
                <a:lnTo>
                  <a:pt x="681" y="1793"/>
                </a:lnTo>
                <a:lnTo>
                  <a:pt x="679" y="1792"/>
                </a:lnTo>
                <a:lnTo>
                  <a:pt x="678" y="1791"/>
                </a:lnTo>
                <a:lnTo>
                  <a:pt x="677" y="1790"/>
                </a:lnTo>
                <a:lnTo>
                  <a:pt x="676" y="1788"/>
                </a:lnTo>
                <a:lnTo>
                  <a:pt x="675" y="1786"/>
                </a:lnTo>
                <a:lnTo>
                  <a:pt x="675" y="1784"/>
                </a:lnTo>
                <a:lnTo>
                  <a:pt x="675" y="1781"/>
                </a:lnTo>
                <a:lnTo>
                  <a:pt x="676" y="1777"/>
                </a:lnTo>
                <a:lnTo>
                  <a:pt x="677" y="1775"/>
                </a:lnTo>
                <a:lnTo>
                  <a:pt x="679" y="1773"/>
                </a:lnTo>
                <a:lnTo>
                  <a:pt x="680" y="1772"/>
                </a:lnTo>
                <a:lnTo>
                  <a:pt x="682" y="1771"/>
                </a:lnTo>
                <a:lnTo>
                  <a:pt x="687" y="1770"/>
                </a:lnTo>
                <a:close/>
                <a:moveTo>
                  <a:pt x="830" y="1760"/>
                </a:moveTo>
                <a:lnTo>
                  <a:pt x="834" y="1761"/>
                </a:lnTo>
                <a:lnTo>
                  <a:pt x="838" y="1763"/>
                </a:lnTo>
                <a:lnTo>
                  <a:pt x="840" y="1765"/>
                </a:lnTo>
                <a:lnTo>
                  <a:pt x="842" y="1769"/>
                </a:lnTo>
                <a:lnTo>
                  <a:pt x="843" y="1772"/>
                </a:lnTo>
                <a:lnTo>
                  <a:pt x="842" y="1774"/>
                </a:lnTo>
                <a:lnTo>
                  <a:pt x="841" y="1778"/>
                </a:lnTo>
                <a:lnTo>
                  <a:pt x="840" y="1780"/>
                </a:lnTo>
                <a:lnTo>
                  <a:pt x="839" y="1781"/>
                </a:lnTo>
                <a:lnTo>
                  <a:pt x="838" y="1782"/>
                </a:lnTo>
                <a:lnTo>
                  <a:pt x="836" y="1783"/>
                </a:lnTo>
                <a:lnTo>
                  <a:pt x="833" y="1784"/>
                </a:lnTo>
                <a:lnTo>
                  <a:pt x="830" y="1784"/>
                </a:lnTo>
                <a:lnTo>
                  <a:pt x="826" y="1784"/>
                </a:lnTo>
                <a:lnTo>
                  <a:pt x="823" y="1782"/>
                </a:lnTo>
                <a:lnTo>
                  <a:pt x="820" y="1779"/>
                </a:lnTo>
                <a:lnTo>
                  <a:pt x="819" y="1775"/>
                </a:lnTo>
                <a:lnTo>
                  <a:pt x="818" y="1773"/>
                </a:lnTo>
                <a:lnTo>
                  <a:pt x="818" y="1771"/>
                </a:lnTo>
                <a:lnTo>
                  <a:pt x="820" y="1766"/>
                </a:lnTo>
                <a:lnTo>
                  <a:pt x="821" y="1764"/>
                </a:lnTo>
                <a:lnTo>
                  <a:pt x="822" y="1763"/>
                </a:lnTo>
                <a:lnTo>
                  <a:pt x="823" y="1763"/>
                </a:lnTo>
                <a:lnTo>
                  <a:pt x="825" y="1761"/>
                </a:lnTo>
                <a:lnTo>
                  <a:pt x="827" y="1761"/>
                </a:lnTo>
                <a:lnTo>
                  <a:pt x="830" y="1760"/>
                </a:lnTo>
                <a:close/>
                <a:moveTo>
                  <a:pt x="549" y="1731"/>
                </a:moveTo>
                <a:lnTo>
                  <a:pt x="551" y="1732"/>
                </a:lnTo>
                <a:lnTo>
                  <a:pt x="554" y="1732"/>
                </a:lnTo>
                <a:lnTo>
                  <a:pt x="556" y="1734"/>
                </a:lnTo>
                <a:lnTo>
                  <a:pt x="558" y="1735"/>
                </a:lnTo>
                <a:lnTo>
                  <a:pt x="559" y="1737"/>
                </a:lnTo>
                <a:lnTo>
                  <a:pt x="560" y="1739"/>
                </a:lnTo>
                <a:lnTo>
                  <a:pt x="561" y="1744"/>
                </a:lnTo>
                <a:lnTo>
                  <a:pt x="561" y="1746"/>
                </a:lnTo>
                <a:lnTo>
                  <a:pt x="560" y="1748"/>
                </a:lnTo>
                <a:lnTo>
                  <a:pt x="558" y="1751"/>
                </a:lnTo>
                <a:lnTo>
                  <a:pt x="557" y="1753"/>
                </a:lnTo>
                <a:lnTo>
                  <a:pt x="555" y="1754"/>
                </a:lnTo>
                <a:lnTo>
                  <a:pt x="552" y="1755"/>
                </a:lnTo>
                <a:lnTo>
                  <a:pt x="549" y="1756"/>
                </a:lnTo>
                <a:lnTo>
                  <a:pt x="546" y="1755"/>
                </a:lnTo>
                <a:lnTo>
                  <a:pt x="544" y="1755"/>
                </a:lnTo>
                <a:lnTo>
                  <a:pt x="542" y="1753"/>
                </a:lnTo>
                <a:lnTo>
                  <a:pt x="540" y="1752"/>
                </a:lnTo>
                <a:lnTo>
                  <a:pt x="539" y="1750"/>
                </a:lnTo>
                <a:lnTo>
                  <a:pt x="537" y="1748"/>
                </a:lnTo>
                <a:lnTo>
                  <a:pt x="537" y="1743"/>
                </a:lnTo>
                <a:lnTo>
                  <a:pt x="537" y="1741"/>
                </a:lnTo>
                <a:lnTo>
                  <a:pt x="538" y="1739"/>
                </a:lnTo>
                <a:lnTo>
                  <a:pt x="540" y="1736"/>
                </a:lnTo>
                <a:lnTo>
                  <a:pt x="541" y="1734"/>
                </a:lnTo>
                <a:lnTo>
                  <a:pt x="542" y="1733"/>
                </a:lnTo>
                <a:lnTo>
                  <a:pt x="545" y="1732"/>
                </a:lnTo>
                <a:lnTo>
                  <a:pt x="549" y="1731"/>
                </a:lnTo>
                <a:close/>
                <a:moveTo>
                  <a:pt x="962" y="1704"/>
                </a:moveTo>
                <a:lnTo>
                  <a:pt x="966" y="1704"/>
                </a:lnTo>
                <a:lnTo>
                  <a:pt x="968" y="1705"/>
                </a:lnTo>
                <a:lnTo>
                  <a:pt x="971" y="1707"/>
                </a:lnTo>
                <a:lnTo>
                  <a:pt x="973" y="1710"/>
                </a:lnTo>
                <a:lnTo>
                  <a:pt x="974" y="1715"/>
                </a:lnTo>
                <a:lnTo>
                  <a:pt x="975" y="1717"/>
                </a:lnTo>
                <a:lnTo>
                  <a:pt x="974" y="1719"/>
                </a:lnTo>
                <a:lnTo>
                  <a:pt x="973" y="1721"/>
                </a:lnTo>
                <a:lnTo>
                  <a:pt x="972" y="1723"/>
                </a:lnTo>
                <a:lnTo>
                  <a:pt x="968" y="1727"/>
                </a:lnTo>
                <a:lnTo>
                  <a:pt x="966" y="1728"/>
                </a:lnTo>
                <a:lnTo>
                  <a:pt x="962" y="1728"/>
                </a:lnTo>
                <a:lnTo>
                  <a:pt x="959" y="1728"/>
                </a:lnTo>
                <a:lnTo>
                  <a:pt x="956" y="1727"/>
                </a:lnTo>
                <a:lnTo>
                  <a:pt x="954" y="1725"/>
                </a:lnTo>
                <a:lnTo>
                  <a:pt x="952" y="1722"/>
                </a:lnTo>
                <a:lnTo>
                  <a:pt x="950" y="1717"/>
                </a:lnTo>
                <a:lnTo>
                  <a:pt x="950" y="1715"/>
                </a:lnTo>
                <a:lnTo>
                  <a:pt x="951" y="1713"/>
                </a:lnTo>
                <a:lnTo>
                  <a:pt x="952" y="1711"/>
                </a:lnTo>
                <a:lnTo>
                  <a:pt x="953" y="1709"/>
                </a:lnTo>
                <a:lnTo>
                  <a:pt x="954" y="1707"/>
                </a:lnTo>
                <a:lnTo>
                  <a:pt x="956" y="1705"/>
                </a:lnTo>
                <a:lnTo>
                  <a:pt x="959" y="1704"/>
                </a:lnTo>
                <a:lnTo>
                  <a:pt x="962" y="1704"/>
                </a:lnTo>
                <a:close/>
                <a:moveTo>
                  <a:pt x="422" y="1662"/>
                </a:moveTo>
                <a:lnTo>
                  <a:pt x="426" y="1662"/>
                </a:lnTo>
                <a:lnTo>
                  <a:pt x="429" y="1664"/>
                </a:lnTo>
                <a:lnTo>
                  <a:pt x="431" y="1665"/>
                </a:lnTo>
                <a:lnTo>
                  <a:pt x="432" y="1667"/>
                </a:lnTo>
                <a:lnTo>
                  <a:pt x="433" y="1669"/>
                </a:lnTo>
                <a:lnTo>
                  <a:pt x="434" y="1671"/>
                </a:lnTo>
                <a:lnTo>
                  <a:pt x="434" y="1674"/>
                </a:lnTo>
                <a:lnTo>
                  <a:pt x="434" y="1676"/>
                </a:lnTo>
                <a:lnTo>
                  <a:pt x="434" y="1678"/>
                </a:lnTo>
                <a:lnTo>
                  <a:pt x="433" y="1680"/>
                </a:lnTo>
                <a:lnTo>
                  <a:pt x="431" y="1683"/>
                </a:lnTo>
                <a:lnTo>
                  <a:pt x="428" y="1685"/>
                </a:lnTo>
                <a:lnTo>
                  <a:pt x="425" y="1687"/>
                </a:lnTo>
                <a:lnTo>
                  <a:pt x="422" y="1687"/>
                </a:lnTo>
                <a:lnTo>
                  <a:pt x="419" y="1687"/>
                </a:lnTo>
                <a:lnTo>
                  <a:pt x="416" y="1684"/>
                </a:lnTo>
                <a:lnTo>
                  <a:pt x="414" y="1683"/>
                </a:lnTo>
                <a:lnTo>
                  <a:pt x="412" y="1681"/>
                </a:lnTo>
                <a:lnTo>
                  <a:pt x="411" y="1679"/>
                </a:lnTo>
                <a:lnTo>
                  <a:pt x="410" y="1677"/>
                </a:lnTo>
                <a:lnTo>
                  <a:pt x="410" y="1674"/>
                </a:lnTo>
                <a:lnTo>
                  <a:pt x="410" y="1672"/>
                </a:lnTo>
                <a:lnTo>
                  <a:pt x="411" y="1670"/>
                </a:lnTo>
                <a:lnTo>
                  <a:pt x="412" y="1667"/>
                </a:lnTo>
                <a:lnTo>
                  <a:pt x="414" y="1665"/>
                </a:lnTo>
                <a:lnTo>
                  <a:pt x="417" y="1663"/>
                </a:lnTo>
                <a:lnTo>
                  <a:pt x="419" y="1662"/>
                </a:lnTo>
                <a:lnTo>
                  <a:pt x="422" y="1662"/>
                </a:lnTo>
                <a:close/>
                <a:moveTo>
                  <a:pt x="1079" y="1619"/>
                </a:moveTo>
                <a:lnTo>
                  <a:pt x="1082" y="1619"/>
                </a:lnTo>
                <a:lnTo>
                  <a:pt x="1084" y="1620"/>
                </a:lnTo>
                <a:lnTo>
                  <a:pt x="1086" y="1621"/>
                </a:lnTo>
                <a:lnTo>
                  <a:pt x="1088" y="1623"/>
                </a:lnTo>
                <a:lnTo>
                  <a:pt x="1090" y="1625"/>
                </a:lnTo>
                <a:lnTo>
                  <a:pt x="1091" y="1627"/>
                </a:lnTo>
                <a:lnTo>
                  <a:pt x="1091" y="1630"/>
                </a:lnTo>
                <a:lnTo>
                  <a:pt x="1091" y="1632"/>
                </a:lnTo>
                <a:lnTo>
                  <a:pt x="1091" y="1634"/>
                </a:lnTo>
                <a:lnTo>
                  <a:pt x="1090" y="1636"/>
                </a:lnTo>
                <a:lnTo>
                  <a:pt x="1089" y="1639"/>
                </a:lnTo>
                <a:lnTo>
                  <a:pt x="1087" y="1640"/>
                </a:lnTo>
                <a:lnTo>
                  <a:pt x="1083" y="1643"/>
                </a:lnTo>
                <a:lnTo>
                  <a:pt x="1079" y="1643"/>
                </a:lnTo>
                <a:lnTo>
                  <a:pt x="1077" y="1643"/>
                </a:lnTo>
                <a:lnTo>
                  <a:pt x="1074" y="1642"/>
                </a:lnTo>
                <a:lnTo>
                  <a:pt x="1072" y="1641"/>
                </a:lnTo>
                <a:lnTo>
                  <a:pt x="1070" y="1639"/>
                </a:lnTo>
                <a:lnTo>
                  <a:pt x="1069" y="1637"/>
                </a:lnTo>
                <a:lnTo>
                  <a:pt x="1068" y="1635"/>
                </a:lnTo>
                <a:lnTo>
                  <a:pt x="1067" y="1633"/>
                </a:lnTo>
                <a:lnTo>
                  <a:pt x="1067" y="1630"/>
                </a:lnTo>
                <a:lnTo>
                  <a:pt x="1067" y="1628"/>
                </a:lnTo>
                <a:lnTo>
                  <a:pt x="1068" y="1626"/>
                </a:lnTo>
                <a:lnTo>
                  <a:pt x="1069" y="1624"/>
                </a:lnTo>
                <a:lnTo>
                  <a:pt x="1071" y="1622"/>
                </a:lnTo>
                <a:lnTo>
                  <a:pt x="1075" y="1620"/>
                </a:lnTo>
                <a:lnTo>
                  <a:pt x="1079" y="1619"/>
                </a:lnTo>
                <a:close/>
                <a:moveTo>
                  <a:pt x="302" y="1582"/>
                </a:moveTo>
                <a:lnTo>
                  <a:pt x="306" y="1583"/>
                </a:lnTo>
                <a:lnTo>
                  <a:pt x="307" y="1583"/>
                </a:lnTo>
                <a:lnTo>
                  <a:pt x="309" y="1584"/>
                </a:lnTo>
                <a:lnTo>
                  <a:pt x="311" y="1586"/>
                </a:lnTo>
                <a:lnTo>
                  <a:pt x="312" y="1588"/>
                </a:lnTo>
                <a:lnTo>
                  <a:pt x="313" y="1590"/>
                </a:lnTo>
                <a:lnTo>
                  <a:pt x="314" y="1592"/>
                </a:lnTo>
                <a:lnTo>
                  <a:pt x="314" y="1597"/>
                </a:lnTo>
                <a:lnTo>
                  <a:pt x="313" y="1599"/>
                </a:lnTo>
                <a:lnTo>
                  <a:pt x="312" y="1601"/>
                </a:lnTo>
                <a:lnTo>
                  <a:pt x="310" y="1604"/>
                </a:lnTo>
                <a:lnTo>
                  <a:pt x="308" y="1605"/>
                </a:lnTo>
                <a:lnTo>
                  <a:pt x="305" y="1606"/>
                </a:lnTo>
                <a:lnTo>
                  <a:pt x="302" y="1607"/>
                </a:lnTo>
                <a:lnTo>
                  <a:pt x="299" y="1606"/>
                </a:lnTo>
                <a:lnTo>
                  <a:pt x="297" y="1606"/>
                </a:lnTo>
                <a:lnTo>
                  <a:pt x="295" y="1605"/>
                </a:lnTo>
                <a:lnTo>
                  <a:pt x="293" y="1603"/>
                </a:lnTo>
                <a:lnTo>
                  <a:pt x="292" y="1601"/>
                </a:lnTo>
                <a:lnTo>
                  <a:pt x="291" y="1599"/>
                </a:lnTo>
                <a:lnTo>
                  <a:pt x="290" y="1597"/>
                </a:lnTo>
                <a:lnTo>
                  <a:pt x="290" y="1592"/>
                </a:lnTo>
                <a:lnTo>
                  <a:pt x="291" y="1590"/>
                </a:lnTo>
                <a:lnTo>
                  <a:pt x="292" y="1588"/>
                </a:lnTo>
                <a:lnTo>
                  <a:pt x="293" y="1586"/>
                </a:lnTo>
                <a:lnTo>
                  <a:pt x="294" y="1585"/>
                </a:lnTo>
                <a:lnTo>
                  <a:pt x="296" y="1584"/>
                </a:lnTo>
                <a:lnTo>
                  <a:pt x="299" y="1583"/>
                </a:lnTo>
                <a:lnTo>
                  <a:pt x="302" y="1582"/>
                </a:lnTo>
                <a:close/>
                <a:moveTo>
                  <a:pt x="1180" y="1517"/>
                </a:moveTo>
                <a:lnTo>
                  <a:pt x="1184" y="1517"/>
                </a:lnTo>
                <a:lnTo>
                  <a:pt x="1186" y="1518"/>
                </a:lnTo>
                <a:lnTo>
                  <a:pt x="1188" y="1520"/>
                </a:lnTo>
                <a:lnTo>
                  <a:pt x="1190" y="1521"/>
                </a:lnTo>
                <a:lnTo>
                  <a:pt x="1191" y="1523"/>
                </a:lnTo>
                <a:lnTo>
                  <a:pt x="1192" y="1526"/>
                </a:lnTo>
                <a:lnTo>
                  <a:pt x="1192" y="1528"/>
                </a:lnTo>
                <a:lnTo>
                  <a:pt x="1192" y="1530"/>
                </a:lnTo>
                <a:lnTo>
                  <a:pt x="1192" y="1533"/>
                </a:lnTo>
                <a:lnTo>
                  <a:pt x="1191" y="1535"/>
                </a:lnTo>
                <a:lnTo>
                  <a:pt x="1190" y="1536"/>
                </a:lnTo>
                <a:lnTo>
                  <a:pt x="1189" y="1537"/>
                </a:lnTo>
                <a:lnTo>
                  <a:pt x="1187" y="1539"/>
                </a:lnTo>
                <a:lnTo>
                  <a:pt x="1185" y="1540"/>
                </a:lnTo>
                <a:lnTo>
                  <a:pt x="1183" y="1541"/>
                </a:lnTo>
                <a:lnTo>
                  <a:pt x="1180" y="1541"/>
                </a:lnTo>
                <a:lnTo>
                  <a:pt x="1176" y="1540"/>
                </a:lnTo>
                <a:lnTo>
                  <a:pt x="1174" y="1539"/>
                </a:lnTo>
                <a:lnTo>
                  <a:pt x="1172" y="1538"/>
                </a:lnTo>
                <a:lnTo>
                  <a:pt x="1171" y="1536"/>
                </a:lnTo>
                <a:lnTo>
                  <a:pt x="1169" y="1534"/>
                </a:lnTo>
                <a:lnTo>
                  <a:pt x="1169" y="1532"/>
                </a:lnTo>
                <a:lnTo>
                  <a:pt x="1168" y="1530"/>
                </a:lnTo>
                <a:lnTo>
                  <a:pt x="1168" y="1527"/>
                </a:lnTo>
                <a:lnTo>
                  <a:pt x="1169" y="1525"/>
                </a:lnTo>
                <a:lnTo>
                  <a:pt x="1170" y="1523"/>
                </a:lnTo>
                <a:lnTo>
                  <a:pt x="1170" y="1522"/>
                </a:lnTo>
                <a:lnTo>
                  <a:pt x="1171" y="1521"/>
                </a:lnTo>
                <a:lnTo>
                  <a:pt x="1173" y="1519"/>
                </a:lnTo>
                <a:lnTo>
                  <a:pt x="1175" y="1518"/>
                </a:lnTo>
                <a:lnTo>
                  <a:pt x="1178" y="1517"/>
                </a:lnTo>
                <a:lnTo>
                  <a:pt x="1180" y="1517"/>
                </a:lnTo>
                <a:close/>
                <a:moveTo>
                  <a:pt x="181" y="1505"/>
                </a:moveTo>
                <a:lnTo>
                  <a:pt x="184" y="1506"/>
                </a:lnTo>
                <a:lnTo>
                  <a:pt x="187" y="1507"/>
                </a:lnTo>
                <a:lnTo>
                  <a:pt x="189" y="1508"/>
                </a:lnTo>
                <a:lnTo>
                  <a:pt x="189" y="1509"/>
                </a:lnTo>
                <a:lnTo>
                  <a:pt x="190" y="1510"/>
                </a:lnTo>
                <a:lnTo>
                  <a:pt x="191" y="1512"/>
                </a:lnTo>
                <a:lnTo>
                  <a:pt x="192" y="1514"/>
                </a:lnTo>
                <a:lnTo>
                  <a:pt x="193" y="1516"/>
                </a:lnTo>
                <a:lnTo>
                  <a:pt x="193" y="1519"/>
                </a:lnTo>
                <a:lnTo>
                  <a:pt x="191" y="1523"/>
                </a:lnTo>
                <a:lnTo>
                  <a:pt x="189" y="1526"/>
                </a:lnTo>
                <a:lnTo>
                  <a:pt x="186" y="1528"/>
                </a:lnTo>
                <a:lnTo>
                  <a:pt x="184" y="1529"/>
                </a:lnTo>
                <a:lnTo>
                  <a:pt x="181" y="1529"/>
                </a:lnTo>
                <a:lnTo>
                  <a:pt x="177" y="1529"/>
                </a:lnTo>
                <a:lnTo>
                  <a:pt x="174" y="1528"/>
                </a:lnTo>
                <a:lnTo>
                  <a:pt x="172" y="1526"/>
                </a:lnTo>
                <a:lnTo>
                  <a:pt x="171" y="1525"/>
                </a:lnTo>
                <a:lnTo>
                  <a:pt x="170" y="1523"/>
                </a:lnTo>
                <a:lnTo>
                  <a:pt x="169" y="1520"/>
                </a:lnTo>
                <a:lnTo>
                  <a:pt x="168" y="1518"/>
                </a:lnTo>
                <a:lnTo>
                  <a:pt x="168" y="1516"/>
                </a:lnTo>
                <a:lnTo>
                  <a:pt x="170" y="1511"/>
                </a:lnTo>
                <a:lnTo>
                  <a:pt x="172" y="1509"/>
                </a:lnTo>
                <a:lnTo>
                  <a:pt x="175" y="1507"/>
                </a:lnTo>
                <a:lnTo>
                  <a:pt x="177" y="1506"/>
                </a:lnTo>
                <a:lnTo>
                  <a:pt x="181" y="1505"/>
                </a:lnTo>
                <a:close/>
                <a:moveTo>
                  <a:pt x="51" y="1443"/>
                </a:moveTo>
                <a:lnTo>
                  <a:pt x="55" y="1444"/>
                </a:lnTo>
                <a:lnTo>
                  <a:pt x="57" y="1445"/>
                </a:lnTo>
                <a:lnTo>
                  <a:pt x="59" y="1447"/>
                </a:lnTo>
                <a:lnTo>
                  <a:pt x="61" y="1448"/>
                </a:lnTo>
                <a:lnTo>
                  <a:pt x="62" y="1450"/>
                </a:lnTo>
                <a:lnTo>
                  <a:pt x="62" y="1453"/>
                </a:lnTo>
                <a:lnTo>
                  <a:pt x="63" y="1455"/>
                </a:lnTo>
                <a:lnTo>
                  <a:pt x="62" y="1460"/>
                </a:lnTo>
                <a:lnTo>
                  <a:pt x="60" y="1463"/>
                </a:lnTo>
                <a:lnTo>
                  <a:pt x="58" y="1466"/>
                </a:lnTo>
                <a:lnTo>
                  <a:pt x="56" y="1467"/>
                </a:lnTo>
                <a:lnTo>
                  <a:pt x="54" y="1467"/>
                </a:lnTo>
                <a:lnTo>
                  <a:pt x="51" y="1468"/>
                </a:lnTo>
                <a:lnTo>
                  <a:pt x="47" y="1467"/>
                </a:lnTo>
                <a:lnTo>
                  <a:pt x="44" y="1466"/>
                </a:lnTo>
                <a:lnTo>
                  <a:pt x="42" y="1465"/>
                </a:lnTo>
                <a:lnTo>
                  <a:pt x="41" y="1463"/>
                </a:lnTo>
                <a:lnTo>
                  <a:pt x="40" y="1461"/>
                </a:lnTo>
                <a:lnTo>
                  <a:pt x="39" y="1459"/>
                </a:lnTo>
                <a:lnTo>
                  <a:pt x="39" y="1456"/>
                </a:lnTo>
                <a:lnTo>
                  <a:pt x="39" y="1451"/>
                </a:lnTo>
                <a:lnTo>
                  <a:pt x="41" y="1448"/>
                </a:lnTo>
                <a:lnTo>
                  <a:pt x="44" y="1446"/>
                </a:lnTo>
                <a:lnTo>
                  <a:pt x="45" y="1445"/>
                </a:lnTo>
                <a:lnTo>
                  <a:pt x="47" y="1444"/>
                </a:lnTo>
                <a:lnTo>
                  <a:pt x="51" y="1443"/>
                </a:lnTo>
                <a:close/>
                <a:moveTo>
                  <a:pt x="1271" y="1404"/>
                </a:moveTo>
                <a:lnTo>
                  <a:pt x="1275" y="1405"/>
                </a:lnTo>
                <a:lnTo>
                  <a:pt x="1276" y="1406"/>
                </a:lnTo>
                <a:lnTo>
                  <a:pt x="1278" y="1407"/>
                </a:lnTo>
                <a:lnTo>
                  <a:pt x="1280" y="1409"/>
                </a:lnTo>
                <a:lnTo>
                  <a:pt x="1281" y="1411"/>
                </a:lnTo>
                <a:lnTo>
                  <a:pt x="1282" y="1413"/>
                </a:lnTo>
                <a:lnTo>
                  <a:pt x="1283" y="1415"/>
                </a:lnTo>
                <a:lnTo>
                  <a:pt x="1283" y="1417"/>
                </a:lnTo>
                <a:lnTo>
                  <a:pt x="1282" y="1420"/>
                </a:lnTo>
                <a:lnTo>
                  <a:pt x="1282" y="1422"/>
                </a:lnTo>
                <a:lnTo>
                  <a:pt x="1280" y="1424"/>
                </a:lnTo>
                <a:lnTo>
                  <a:pt x="1278" y="1426"/>
                </a:lnTo>
                <a:lnTo>
                  <a:pt x="1276" y="1428"/>
                </a:lnTo>
                <a:lnTo>
                  <a:pt x="1273" y="1428"/>
                </a:lnTo>
                <a:lnTo>
                  <a:pt x="1271" y="1429"/>
                </a:lnTo>
                <a:lnTo>
                  <a:pt x="1267" y="1428"/>
                </a:lnTo>
                <a:lnTo>
                  <a:pt x="1265" y="1427"/>
                </a:lnTo>
                <a:lnTo>
                  <a:pt x="1263" y="1426"/>
                </a:lnTo>
                <a:lnTo>
                  <a:pt x="1262" y="1425"/>
                </a:lnTo>
                <a:lnTo>
                  <a:pt x="1260" y="1423"/>
                </a:lnTo>
                <a:lnTo>
                  <a:pt x="1259" y="1420"/>
                </a:lnTo>
                <a:lnTo>
                  <a:pt x="1259" y="1418"/>
                </a:lnTo>
                <a:lnTo>
                  <a:pt x="1259" y="1416"/>
                </a:lnTo>
                <a:lnTo>
                  <a:pt x="1259" y="1414"/>
                </a:lnTo>
                <a:lnTo>
                  <a:pt x="1260" y="1411"/>
                </a:lnTo>
                <a:lnTo>
                  <a:pt x="1261" y="1409"/>
                </a:lnTo>
                <a:lnTo>
                  <a:pt x="1263" y="1407"/>
                </a:lnTo>
                <a:lnTo>
                  <a:pt x="1265" y="1406"/>
                </a:lnTo>
                <a:lnTo>
                  <a:pt x="1268" y="1405"/>
                </a:lnTo>
                <a:lnTo>
                  <a:pt x="1271" y="1404"/>
                </a:lnTo>
                <a:close/>
                <a:moveTo>
                  <a:pt x="1361" y="1292"/>
                </a:moveTo>
                <a:lnTo>
                  <a:pt x="1365" y="1293"/>
                </a:lnTo>
                <a:lnTo>
                  <a:pt x="1367" y="1294"/>
                </a:lnTo>
                <a:lnTo>
                  <a:pt x="1369" y="1295"/>
                </a:lnTo>
                <a:lnTo>
                  <a:pt x="1370" y="1297"/>
                </a:lnTo>
                <a:lnTo>
                  <a:pt x="1372" y="1299"/>
                </a:lnTo>
                <a:lnTo>
                  <a:pt x="1372" y="1301"/>
                </a:lnTo>
                <a:lnTo>
                  <a:pt x="1373" y="1303"/>
                </a:lnTo>
                <a:lnTo>
                  <a:pt x="1373" y="1306"/>
                </a:lnTo>
                <a:lnTo>
                  <a:pt x="1372" y="1308"/>
                </a:lnTo>
                <a:lnTo>
                  <a:pt x="1371" y="1310"/>
                </a:lnTo>
                <a:lnTo>
                  <a:pt x="1370" y="1312"/>
                </a:lnTo>
                <a:lnTo>
                  <a:pt x="1368" y="1314"/>
                </a:lnTo>
                <a:lnTo>
                  <a:pt x="1366" y="1315"/>
                </a:lnTo>
                <a:lnTo>
                  <a:pt x="1363" y="1316"/>
                </a:lnTo>
                <a:lnTo>
                  <a:pt x="1361" y="1316"/>
                </a:lnTo>
                <a:lnTo>
                  <a:pt x="1356" y="1316"/>
                </a:lnTo>
                <a:lnTo>
                  <a:pt x="1354" y="1315"/>
                </a:lnTo>
                <a:lnTo>
                  <a:pt x="1353" y="1313"/>
                </a:lnTo>
                <a:lnTo>
                  <a:pt x="1351" y="1311"/>
                </a:lnTo>
                <a:lnTo>
                  <a:pt x="1350" y="1309"/>
                </a:lnTo>
                <a:lnTo>
                  <a:pt x="1349" y="1307"/>
                </a:lnTo>
                <a:lnTo>
                  <a:pt x="1349" y="1305"/>
                </a:lnTo>
                <a:lnTo>
                  <a:pt x="1349" y="1303"/>
                </a:lnTo>
                <a:lnTo>
                  <a:pt x="1349" y="1300"/>
                </a:lnTo>
                <a:lnTo>
                  <a:pt x="1350" y="1298"/>
                </a:lnTo>
                <a:lnTo>
                  <a:pt x="1352" y="1296"/>
                </a:lnTo>
                <a:lnTo>
                  <a:pt x="1354" y="1294"/>
                </a:lnTo>
                <a:lnTo>
                  <a:pt x="1356" y="1293"/>
                </a:lnTo>
                <a:lnTo>
                  <a:pt x="1358" y="1292"/>
                </a:lnTo>
                <a:lnTo>
                  <a:pt x="1361" y="1292"/>
                </a:lnTo>
                <a:close/>
                <a:moveTo>
                  <a:pt x="1748" y="1267"/>
                </a:moveTo>
                <a:lnTo>
                  <a:pt x="1752" y="1268"/>
                </a:lnTo>
                <a:lnTo>
                  <a:pt x="1756" y="1270"/>
                </a:lnTo>
                <a:lnTo>
                  <a:pt x="1758" y="1274"/>
                </a:lnTo>
                <a:lnTo>
                  <a:pt x="1759" y="1275"/>
                </a:lnTo>
                <a:lnTo>
                  <a:pt x="1760" y="1278"/>
                </a:lnTo>
                <a:lnTo>
                  <a:pt x="1760" y="1280"/>
                </a:lnTo>
                <a:lnTo>
                  <a:pt x="1760" y="1282"/>
                </a:lnTo>
                <a:lnTo>
                  <a:pt x="1759" y="1285"/>
                </a:lnTo>
                <a:lnTo>
                  <a:pt x="1758" y="1287"/>
                </a:lnTo>
                <a:lnTo>
                  <a:pt x="1756" y="1288"/>
                </a:lnTo>
                <a:lnTo>
                  <a:pt x="1754" y="1290"/>
                </a:lnTo>
                <a:lnTo>
                  <a:pt x="1752" y="1291"/>
                </a:lnTo>
                <a:lnTo>
                  <a:pt x="1750" y="1292"/>
                </a:lnTo>
                <a:lnTo>
                  <a:pt x="1748" y="1292"/>
                </a:lnTo>
                <a:lnTo>
                  <a:pt x="1744" y="1291"/>
                </a:lnTo>
                <a:lnTo>
                  <a:pt x="1740" y="1289"/>
                </a:lnTo>
                <a:lnTo>
                  <a:pt x="1737" y="1286"/>
                </a:lnTo>
                <a:lnTo>
                  <a:pt x="1736" y="1284"/>
                </a:lnTo>
                <a:lnTo>
                  <a:pt x="1736" y="1281"/>
                </a:lnTo>
                <a:lnTo>
                  <a:pt x="1736" y="1279"/>
                </a:lnTo>
                <a:lnTo>
                  <a:pt x="1736" y="1277"/>
                </a:lnTo>
                <a:lnTo>
                  <a:pt x="1737" y="1274"/>
                </a:lnTo>
                <a:lnTo>
                  <a:pt x="1738" y="1272"/>
                </a:lnTo>
                <a:lnTo>
                  <a:pt x="1740" y="1271"/>
                </a:lnTo>
                <a:lnTo>
                  <a:pt x="1741" y="1269"/>
                </a:lnTo>
                <a:lnTo>
                  <a:pt x="1744" y="1268"/>
                </a:lnTo>
                <a:lnTo>
                  <a:pt x="1746" y="1267"/>
                </a:lnTo>
                <a:lnTo>
                  <a:pt x="1748" y="1267"/>
                </a:lnTo>
                <a:close/>
                <a:moveTo>
                  <a:pt x="1609" y="1244"/>
                </a:moveTo>
                <a:lnTo>
                  <a:pt x="1612" y="1245"/>
                </a:lnTo>
                <a:lnTo>
                  <a:pt x="1615" y="1246"/>
                </a:lnTo>
                <a:lnTo>
                  <a:pt x="1617" y="1248"/>
                </a:lnTo>
                <a:lnTo>
                  <a:pt x="1619" y="1249"/>
                </a:lnTo>
                <a:lnTo>
                  <a:pt x="1620" y="1251"/>
                </a:lnTo>
                <a:lnTo>
                  <a:pt x="1621" y="1254"/>
                </a:lnTo>
                <a:lnTo>
                  <a:pt x="1621" y="1256"/>
                </a:lnTo>
                <a:lnTo>
                  <a:pt x="1621" y="1258"/>
                </a:lnTo>
                <a:lnTo>
                  <a:pt x="1620" y="1261"/>
                </a:lnTo>
                <a:lnTo>
                  <a:pt x="1619" y="1263"/>
                </a:lnTo>
                <a:lnTo>
                  <a:pt x="1617" y="1265"/>
                </a:lnTo>
                <a:lnTo>
                  <a:pt x="1615" y="1267"/>
                </a:lnTo>
                <a:lnTo>
                  <a:pt x="1612" y="1268"/>
                </a:lnTo>
                <a:lnTo>
                  <a:pt x="1609" y="1269"/>
                </a:lnTo>
                <a:lnTo>
                  <a:pt x="1606" y="1268"/>
                </a:lnTo>
                <a:lnTo>
                  <a:pt x="1602" y="1267"/>
                </a:lnTo>
                <a:lnTo>
                  <a:pt x="1600" y="1265"/>
                </a:lnTo>
                <a:lnTo>
                  <a:pt x="1599" y="1264"/>
                </a:lnTo>
                <a:lnTo>
                  <a:pt x="1598" y="1262"/>
                </a:lnTo>
                <a:lnTo>
                  <a:pt x="1597" y="1259"/>
                </a:lnTo>
                <a:lnTo>
                  <a:pt x="1597" y="1257"/>
                </a:lnTo>
                <a:lnTo>
                  <a:pt x="1597" y="1255"/>
                </a:lnTo>
                <a:lnTo>
                  <a:pt x="1597" y="1252"/>
                </a:lnTo>
                <a:lnTo>
                  <a:pt x="1598" y="1250"/>
                </a:lnTo>
                <a:lnTo>
                  <a:pt x="1600" y="1248"/>
                </a:lnTo>
                <a:lnTo>
                  <a:pt x="1603" y="1246"/>
                </a:lnTo>
                <a:lnTo>
                  <a:pt x="1606" y="1245"/>
                </a:lnTo>
                <a:lnTo>
                  <a:pt x="1609" y="1244"/>
                </a:lnTo>
                <a:close/>
                <a:moveTo>
                  <a:pt x="1883" y="1220"/>
                </a:moveTo>
                <a:lnTo>
                  <a:pt x="1886" y="1220"/>
                </a:lnTo>
                <a:lnTo>
                  <a:pt x="1889" y="1222"/>
                </a:lnTo>
                <a:lnTo>
                  <a:pt x="1892" y="1224"/>
                </a:lnTo>
                <a:lnTo>
                  <a:pt x="1894" y="1226"/>
                </a:lnTo>
                <a:lnTo>
                  <a:pt x="1895" y="1229"/>
                </a:lnTo>
                <a:lnTo>
                  <a:pt x="1895" y="1231"/>
                </a:lnTo>
                <a:lnTo>
                  <a:pt x="1895" y="1233"/>
                </a:lnTo>
                <a:lnTo>
                  <a:pt x="1895" y="1236"/>
                </a:lnTo>
                <a:lnTo>
                  <a:pt x="1894" y="1238"/>
                </a:lnTo>
                <a:lnTo>
                  <a:pt x="1892" y="1240"/>
                </a:lnTo>
                <a:lnTo>
                  <a:pt x="1891" y="1241"/>
                </a:lnTo>
                <a:lnTo>
                  <a:pt x="1889" y="1243"/>
                </a:lnTo>
                <a:lnTo>
                  <a:pt x="1886" y="1244"/>
                </a:lnTo>
                <a:lnTo>
                  <a:pt x="1883" y="1244"/>
                </a:lnTo>
                <a:lnTo>
                  <a:pt x="1880" y="1244"/>
                </a:lnTo>
                <a:lnTo>
                  <a:pt x="1877" y="1242"/>
                </a:lnTo>
                <a:lnTo>
                  <a:pt x="1874" y="1240"/>
                </a:lnTo>
                <a:lnTo>
                  <a:pt x="1872" y="1238"/>
                </a:lnTo>
                <a:lnTo>
                  <a:pt x="1871" y="1235"/>
                </a:lnTo>
                <a:lnTo>
                  <a:pt x="1871" y="1233"/>
                </a:lnTo>
                <a:lnTo>
                  <a:pt x="1871" y="1231"/>
                </a:lnTo>
                <a:lnTo>
                  <a:pt x="1871" y="1228"/>
                </a:lnTo>
                <a:lnTo>
                  <a:pt x="1872" y="1226"/>
                </a:lnTo>
                <a:lnTo>
                  <a:pt x="1874" y="1224"/>
                </a:lnTo>
                <a:lnTo>
                  <a:pt x="1875" y="1223"/>
                </a:lnTo>
                <a:lnTo>
                  <a:pt x="1877" y="1221"/>
                </a:lnTo>
                <a:lnTo>
                  <a:pt x="1880" y="1220"/>
                </a:lnTo>
                <a:lnTo>
                  <a:pt x="1883" y="1220"/>
                </a:lnTo>
                <a:close/>
                <a:moveTo>
                  <a:pt x="1475" y="1208"/>
                </a:moveTo>
                <a:lnTo>
                  <a:pt x="1479" y="1209"/>
                </a:lnTo>
                <a:lnTo>
                  <a:pt x="1482" y="1210"/>
                </a:lnTo>
                <a:lnTo>
                  <a:pt x="1485" y="1213"/>
                </a:lnTo>
                <a:lnTo>
                  <a:pt x="1487" y="1217"/>
                </a:lnTo>
                <a:lnTo>
                  <a:pt x="1487" y="1219"/>
                </a:lnTo>
                <a:lnTo>
                  <a:pt x="1487" y="1222"/>
                </a:lnTo>
                <a:lnTo>
                  <a:pt x="1485" y="1226"/>
                </a:lnTo>
                <a:lnTo>
                  <a:pt x="1484" y="1228"/>
                </a:lnTo>
                <a:lnTo>
                  <a:pt x="1483" y="1229"/>
                </a:lnTo>
                <a:lnTo>
                  <a:pt x="1482" y="1230"/>
                </a:lnTo>
                <a:lnTo>
                  <a:pt x="1480" y="1231"/>
                </a:lnTo>
                <a:lnTo>
                  <a:pt x="1478" y="1232"/>
                </a:lnTo>
                <a:lnTo>
                  <a:pt x="1475" y="1232"/>
                </a:lnTo>
                <a:lnTo>
                  <a:pt x="1471" y="1232"/>
                </a:lnTo>
                <a:lnTo>
                  <a:pt x="1468" y="1230"/>
                </a:lnTo>
                <a:lnTo>
                  <a:pt x="1465" y="1227"/>
                </a:lnTo>
                <a:lnTo>
                  <a:pt x="1463" y="1223"/>
                </a:lnTo>
                <a:lnTo>
                  <a:pt x="1463" y="1221"/>
                </a:lnTo>
                <a:lnTo>
                  <a:pt x="1463" y="1218"/>
                </a:lnTo>
                <a:lnTo>
                  <a:pt x="1464" y="1214"/>
                </a:lnTo>
                <a:lnTo>
                  <a:pt x="1466" y="1212"/>
                </a:lnTo>
                <a:lnTo>
                  <a:pt x="1467" y="1211"/>
                </a:lnTo>
                <a:lnTo>
                  <a:pt x="1469" y="1209"/>
                </a:lnTo>
                <a:lnTo>
                  <a:pt x="1472" y="1208"/>
                </a:lnTo>
                <a:lnTo>
                  <a:pt x="1475" y="1208"/>
                </a:lnTo>
                <a:close/>
                <a:moveTo>
                  <a:pt x="2004" y="1143"/>
                </a:moveTo>
                <a:lnTo>
                  <a:pt x="2007" y="1143"/>
                </a:lnTo>
                <a:lnTo>
                  <a:pt x="2010" y="1144"/>
                </a:lnTo>
                <a:lnTo>
                  <a:pt x="2012" y="1145"/>
                </a:lnTo>
                <a:lnTo>
                  <a:pt x="2014" y="1147"/>
                </a:lnTo>
                <a:lnTo>
                  <a:pt x="2015" y="1150"/>
                </a:lnTo>
                <a:lnTo>
                  <a:pt x="2016" y="1152"/>
                </a:lnTo>
                <a:lnTo>
                  <a:pt x="2017" y="1154"/>
                </a:lnTo>
                <a:lnTo>
                  <a:pt x="2016" y="1156"/>
                </a:lnTo>
                <a:lnTo>
                  <a:pt x="2015" y="1161"/>
                </a:lnTo>
                <a:lnTo>
                  <a:pt x="2014" y="1163"/>
                </a:lnTo>
                <a:lnTo>
                  <a:pt x="2012" y="1164"/>
                </a:lnTo>
                <a:lnTo>
                  <a:pt x="2010" y="1165"/>
                </a:lnTo>
                <a:lnTo>
                  <a:pt x="2008" y="1166"/>
                </a:lnTo>
                <a:lnTo>
                  <a:pt x="2006" y="1167"/>
                </a:lnTo>
                <a:lnTo>
                  <a:pt x="2004" y="1167"/>
                </a:lnTo>
                <a:lnTo>
                  <a:pt x="2002" y="1167"/>
                </a:lnTo>
                <a:lnTo>
                  <a:pt x="1999" y="1166"/>
                </a:lnTo>
                <a:lnTo>
                  <a:pt x="1997" y="1164"/>
                </a:lnTo>
                <a:lnTo>
                  <a:pt x="1995" y="1162"/>
                </a:lnTo>
                <a:lnTo>
                  <a:pt x="1993" y="1160"/>
                </a:lnTo>
                <a:lnTo>
                  <a:pt x="1993" y="1158"/>
                </a:lnTo>
                <a:lnTo>
                  <a:pt x="1992" y="1155"/>
                </a:lnTo>
                <a:lnTo>
                  <a:pt x="1992" y="1153"/>
                </a:lnTo>
                <a:lnTo>
                  <a:pt x="1994" y="1149"/>
                </a:lnTo>
                <a:lnTo>
                  <a:pt x="1995" y="1147"/>
                </a:lnTo>
                <a:lnTo>
                  <a:pt x="1997" y="1145"/>
                </a:lnTo>
                <a:lnTo>
                  <a:pt x="1999" y="1144"/>
                </a:lnTo>
                <a:lnTo>
                  <a:pt x="2001" y="1143"/>
                </a:lnTo>
                <a:lnTo>
                  <a:pt x="2003" y="1143"/>
                </a:lnTo>
                <a:lnTo>
                  <a:pt x="2004" y="1143"/>
                </a:lnTo>
                <a:close/>
                <a:moveTo>
                  <a:pt x="2115" y="1050"/>
                </a:moveTo>
                <a:lnTo>
                  <a:pt x="2117" y="1050"/>
                </a:lnTo>
                <a:lnTo>
                  <a:pt x="2120" y="1051"/>
                </a:lnTo>
                <a:lnTo>
                  <a:pt x="2122" y="1052"/>
                </a:lnTo>
                <a:lnTo>
                  <a:pt x="2124" y="1054"/>
                </a:lnTo>
                <a:lnTo>
                  <a:pt x="2125" y="1056"/>
                </a:lnTo>
                <a:lnTo>
                  <a:pt x="2126" y="1058"/>
                </a:lnTo>
                <a:lnTo>
                  <a:pt x="2127" y="1062"/>
                </a:lnTo>
                <a:lnTo>
                  <a:pt x="2127" y="1065"/>
                </a:lnTo>
                <a:lnTo>
                  <a:pt x="2126" y="1067"/>
                </a:lnTo>
                <a:lnTo>
                  <a:pt x="2125" y="1069"/>
                </a:lnTo>
                <a:lnTo>
                  <a:pt x="2123" y="1071"/>
                </a:lnTo>
                <a:lnTo>
                  <a:pt x="2121" y="1072"/>
                </a:lnTo>
                <a:lnTo>
                  <a:pt x="2119" y="1073"/>
                </a:lnTo>
                <a:lnTo>
                  <a:pt x="2115" y="1074"/>
                </a:lnTo>
                <a:lnTo>
                  <a:pt x="2112" y="1074"/>
                </a:lnTo>
                <a:lnTo>
                  <a:pt x="2110" y="1073"/>
                </a:lnTo>
                <a:lnTo>
                  <a:pt x="2108" y="1072"/>
                </a:lnTo>
                <a:lnTo>
                  <a:pt x="2106" y="1070"/>
                </a:lnTo>
                <a:lnTo>
                  <a:pt x="2104" y="1068"/>
                </a:lnTo>
                <a:lnTo>
                  <a:pt x="2103" y="1066"/>
                </a:lnTo>
                <a:lnTo>
                  <a:pt x="2103" y="1062"/>
                </a:lnTo>
                <a:lnTo>
                  <a:pt x="2103" y="1059"/>
                </a:lnTo>
                <a:lnTo>
                  <a:pt x="2104" y="1057"/>
                </a:lnTo>
                <a:lnTo>
                  <a:pt x="2105" y="1055"/>
                </a:lnTo>
                <a:lnTo>
                  <a:pt x="2107" y="1053"/>
                </a:lnTo>
                <a:lnTo>
                  <a:pt x="2108" y="1052"/>
                </a:lnTo>
                <a:lnTo>
                  <a:pt x="2110" y="1051"/>
                </a:lnTo>
                <a:lnTo>
                  <a:pt x="2115" y="1050"/>
                </a:lnTo>
                <a:close/>
                <a:moveTo>
                  <a:pt x="2216" y="947"/>
                </a:moveTo>
                <a:lnTo>
                  <a:pt x="2220" y="948"/>
                </a:lnTo>
                <a:lnTo>
                  <a:pt x="2222" y="949"/>
                </a:lnTo>
                <a:lnTo>
                  <a:pt x="2224" y="950"/>
                </a:lnTo>
                <a:lnTo>
                  <a:pt x="2226" y="952"/>
                </a:lnTo>
                <a:lnTo>
                  <a:pt x="2227" y="954"/>
                </a:lnTo>
                <a:lnTo>
                  <a:pt x="2228" y="956"/>
                </a:lnTo>
                <a:lnTo>
                  <a:pt x="2228" y="959"/>
                </a:lnTo>
                <a:lnTo>
                  <a:pt x="2227" y="963"/>
                </a:lnTo>
                <a:lnTo>
                  <a:pt x="2226" y="966"/>
                </a:lnTo>
                <a:lnTo>
                  <a:pt x="2225" y="968"/>
                </a:lnTo>
                <a:lnTo>
                  <a:pt x="2223" y="969"/>
                </a:lnTo>
                <a:lnTo>
                  <a:pt x="2221" y="971"/>
                </a:lnTo>
                <a:lnTo>
                  <a:pt x="2218" y="971"/>
                </a:lnTo>
                <a:lnTo>
                  <a:pt x="2216" y="972"/>
                </a:lnTo>
                <a:lnTo>
                  <a:pt x="2212" y="971"/>
                </a:lnTo>
                <a:lnTo>
                  <a:pt x="2210" y="970"/>
                </a:lnTo>
                <a:lnTo>
                  <a:pt x="2208" y="968"/>
                </a:lnTo>
                <a:lnTo>
                  <a:pt x="2206" y="967"/>
                </a:lnTo>
                <a:lnTo>
                  <a:pt x="2205" y="965"/>
                </a:lnTo>
                <a:lnTo>
                  <a:pt x="2204" y="962"/>
                </a:lnTo>
                <a:lnTo>
                  <a:pt x="2204" y="960"/>
                </a:lnTo>
                <a:lnTo>
                  <a:pt x="2204" y="955"/>
                </a:lnTo>
                <a:lnTo>
                  <a:pt x="2205" y="953"/>
                </a:lnTo>
                <a:lnTo>
                  <a:pt x="2207" y="951"/>
                </a:lnTo>
                <a:lnTo>
                  <a:pt x="2209" y="949"/>
                </a:lnTo>
                <a:lnTo>
                  <a:pt x="2211" y="948"/>
                </a:lnTo>
                <a:lnTo>
                  <a:pt x="2213" y="947"/>
                </a:lnTo>
                <a:lnTo>
                  <a:pt x="2216" y="947"/>
                </a:lnTo>
                <a:close/>
                <a:moveTo>
                  <a:pt x="2308" y="837"/>
                </a:moveTo>
                <a:lnTo>
                  <a:pt x="2312" y="837"/>
                </a:lnTo>
                <a:lnTo>
                  <a:pt x="2314" y="838"/>
                </a:lnTo>
                <a:lnTo>
                  <a:pt x="2316" y="839"/>
                </a:lnTo>
                <a:lnTo>
                  <a:pt x="2317" y="841"/>
                </a:lnTo>
                <a:lnTo>
                  <a:pt x="2319" y="843"/>
                </a:lnTo>
                <a:lnTo>
                  <a:pt x="2320" y="845"/>
                </a:lnTo>
                <a:lnTo>
                  <a:pt x="2320" y="847"/>
                </a:lnTo>
                <a:lnTo>
                  <a:pt x="2320" y="849"/>
                </a:lnTo>
                <a:lnTo>
                  <a:pt x="2320" y="852"/>
                </a:lnTo>
                <a:lnTo>
                  <a:pt x="2319" y="854"/>
                </a:lnTo>
                <a:lnTo>
                  <a:pt x="2318" y="856"/>
                </a:lnTo>
                <a:lnTo>
                  <a:pt x="2316" y="858"/>
                </a:lnTo>
                <a:lnTo>
                  <a:pt x="2314" y="860"/>
                </a:lnTo>
                <a:lnTo>
                  <a:pt x="2311" y="861"/>
                </a:lnTo>
                <a:lnTo>
                  <a:pt x="2308" y="861"/>
                </a:lnTo>
                <a:lnTo>
                  <a:pt x="2304" y="860"/>
                </a:lnTo>
                <a:lnTo>
                  <a:pt x="2303" y="859"/>
                </a:lnTo>
                <a:lnTo>
                  <a:pt x="2301" y="858"/>
                </a:lnTo>
                <a:lnTo>
                  <a:pt x="2299" y="857"/>
                </a:lnTo>
                <a:lnTo>
                  <a:pt x="2298" y="855"/>
                </a:lnTo>
                <a:lnTo>
                  <a:pt x="2297" y="853"/>
                </a:lnTo>
                <a:lnTo>
                  <a:pt x="2296" y="850"/>
                </a:lnTo>
                <a:lnTo>
                  <a:pt x="2296" y="848"/>
                </a:lnTo>
                <a:lnTo>
                  <a:pt x="2297" y="846"/>
                </a:lnTo>
                <a:lnTo>
                  <a:pt x="2297" y="843"/>
                </a:lnTo>
                <a:lnTo>
                  <a:pt x="2299" y="841"/>
                </a:lnTo>
                <a:lnTo>
                  <a:pt x="2301" y="839"/>
                </a:lnTo>
                <a:lnTo>
                  <a:pt x="2303" y="838"/>
                </a:lnTo>
                <a:lnTo>
                  <a:pt x="2306" y="837"/>
                </a:lnTo>
                <a:lnTo>
                  <a:pt x="2308" y="837"/>
                </a:lnTo>
                <a:close/>
                <a:moveTo>
                  <a:pt x="2391" y="718"/>
                </a:moveTo>
                <a:lnTo>
                  <a:pt x="2394" y="719"/>
                </a:lnTo>
                <a:lnTo>
                  <a:pt x="2397" y="720"/>
                </a:lnTo>
                <a:lnTo>
                  <a:pt x="2399" y="722"/>
                </a:lnTo>
                <a:lnTo>
                  <a:pt x="2401" y="723"/>
                </a:lnTo>
                <a:lnTo>
                  <a:pt x="2402" y="725"/>
                </a:lnTo>
                <a:lnTo>
                  <a:pt x="2402" y="728"/>
                </a:lnTo>
                <a:lnTo>
                  <a:pt x="2403" y="730"/>
                </a:lnTo>
                <a:lnTo>
                  <a:pt x="2403" y="732"/>
                </a:lnTo>
                <a:lnTo>
                  <a:pt x="2402" y="735"/>
                </a:lnTo>
                <a:lnTo>
                  <a:pt x="2401" y="737"/>
                </a:lnTo>
                <a:lnTo>
                  <a:pt x="2399" y="739"/>
                </a:lnTo>
                <a:lnTo>
                  <a:pt x="2396" y="741"/>
                </a:lnTo>
                <a:lnTo>
                  <a:pt x="2394" y="742"/>
                </a:lnTo>
                <a:lnTo>
                  <a:pt x="2391" y="743"/>
                </a:lnTo>
                <a:lnTo>
                  <a:pt x="2387" y="742"/>
                </a:lnTo>
                <a:lnTo>
                  <a:pt x="2384" y="741"/>
                </a:lnTo>
                <a:lnTo>
                  <a:pt x="2382" y="739"/>
                </a:lnTo>
                <a:lnTo>
                  <a:pt x="2381" y="737"/>
                </a:lnTo>
                <a:lnTo>
                  <a:pt x="2379" y="735"/>
                </a:lnTo>
                <a:lnTo>
                  <a:pt x="2379" y="733"/>
                </a:lnTo>
                <a:lnTo>
                  <a:pt x="2378" y="731"/>
                </a:lnTo>
                <a:lnTo>
                  <a:pt x="2379" y="729"/>
                </a:lnTo>
                <a:lnTo>
                  <a:pt x="2379" y="726"/>
                </a:lnTo>
                <a:lnTo>
                  <a:pt x="2380" y="724"/>
                </a:lnTo>
                <a:lnTo>
                  <a:pt x="2382" y="722"/>
                </a:lnTo>
                <a:lnTo>
                  <a:pt x="2385" y="720"/>
                </a:lnTo>
                <a:lnTo>
                  <a:pt x="2388" y="719"/>
                </a:lnTo>
                <a:lnTo>
                  <a:pt x="2391" y="718"/>
                </a:lnTo>
                <a:close/>
                <a:moveTo>
                  <a:pt x="2459" y="591"/>
                </a:moveTo>
                <a:lnTo>
                  <a:pt x="2461" y="591"/>
                </a:lnTo>
                <a:lnTo>
                  <a:pt x="2464" y="592"/>
                </a:lnTo>
                <a:lnTo>
                  <a:pt x="2466" y="593"/>
                </a:lnTo>
                <a:lnTo>
                  <a:pt x="2468" y="595"/>
                </a:lnTo>
                <a:lnTo>
                  <a:pt x="2469" y="597"/>
                </a:lnTo>
                <a:lnTo>
                  <a:pt x="2470" y="599"/>
                </a:lnTo>
                <a:lnTo>
                  <a:pt x="2471" y="601"/>
                </a:lnTo>
                <a:lnTo>
                  <a:pt x="2471" y="603"/>
                </a:lnTo>
                <a:lnTo>
                  <a:pt x="2471" y="606"/>
                </a:lnTo>
                <a:lnTo>
                  <a:pt x="2470" y="608"/>
                </a:lnTo>
                <a:lnTo>
                  <a:pt x="2468" y="611"/>
                </a:lnTo>
                <a:lnTo>
                  <a:pt x="2467" y="612"/>
                </a:lnTo>
                <a:lnTo>
                  <a:pt x="2466" y="613"/>
                </a:lnTo>
                <a:lnTo>
                  <a:pt x="2464" y="614"/>
                </a:lnTo>
                <a:lnTo>
                  <a:pt x="2463" y="615"/>
                </a:lnTo>
                <a:lnTo>
                  <a:pt x="2459" y="615"/>
                </a:lnTo>
                <a:lnTo>
                  <a:pt x="2457" y="615"/>
                </a:lnTo>
                <a:lnTo>
                  <a:pt x="2454" y="614"/>
                </a:lnTo>
                <a:lnTo>
                  <a:pt x="2452" y="613"/>
                </a:lnTo>
                <a:lnTo>
                  <a:pt x="2450" y="612"/>
                </a:lnTo>
                <a:lnTo>
                  <a:pt x="2449" y="610"/>
                </a:lnTo>
                <a:lnTo>
                  <a:pt x="2448" y="608"/>
                </a:lnTo>
                <a:lnTo>
                  <a:pt x="2447" y="606"/>
                </a:lnTo>
                <a:lnTo>
                  <a:pt x="2447" y="603"/>
                </a:lnTo>
                <a:lnTo>
                  <a:pt x="2447" y="601"/>
                </a:lnTo>
                <a:lnTo>
                  <a:pt x="2448" y="598"/>
                </a:lnTo>
                <a:lnTo>
                  <a:pt x="2450" y="595"/>
                </a:lnTo>
                <a:lnTo>
                  <a:pt x="2451" y="594"/>
                </a:lnTo>
                <a:lnTo>
                  <a:pt x="2452" y="593"/>
                </a:lnTo>
                <a:lnTo>
                  <a:pt x="2454" y="592"/>
                </a:lnTo>
                <a:lnTo>
                  <a:pt x="2456" y="592"/>
                </a:lnTo>
                <a:lnTo>
                  <a:pt x="2459" y="591"/>
                </a:lnTo>
                <a:close/>
                <a:moveTo>
                  <a:pt x="2510" y="455"/>
                </a:moveTo>
                <a:lnTo>
                  <a:pt x="2515" y="456"/>
                </a:lnTo>
                <a:lnTo>
                  <a:pt x="2517" y="457"/>
                </a:lnTo>
                <a:lnTo>
                  <a:pt x="2519" y="459"/>
                </a:lnTo>
                <a:lnTo>
                  <a:pt x="2520" y="460"/>
                </a:lnTo>
                <a:lnTo>
                  <a:pt x="2521" y="462"/>
                </a:lnTo>
                <a:lnTo>
                  <a:pt x="2522" y="465"/>
                </a:lnTo>
                <a:lnTo>
                  <a:pt x="2522" y="467"/>
                </a:lnTo>
                <a:lnTo>
                  <a:pt x="2522" y="472"/>
                </a:lnTo>
                <a:lnTo>
                  <a:pt x="2520" y="475"/>
                </a:lnTo>
                <a:lnTo>
                  <a:pt x="2517" y="477"/>
                </a:lnTo>
                <a:lnTo>
                  <a:pt x="2515" y="478"/>
                </a:lnTo>
                <a:lnTo>
                  <a:pt x="2514" y="479"/>
                </a:lnTo>
                <a:lnTo>
                  <a:pt x="2510" y="479"/>
                </a:lnTo>
                <a:lnTo>
                  <a:pt x="2506" y="479"/>
                </a:lnTo>
                <a:lnTo>
                  <a:pt x="2504" y="478"/>
                </a:lnTo>
                <a:lnTo>
                  <a:pt x="2502" y="476"/>
                </a:lnTo>
                <a:lnTo>
                  <a:pt x="2500" y="474"/>
                </a:lnTo>
                <a:lnTo>
                  <a:pt x="2499" y="472"/>
                </a:lnTo>
                <a:lnTo>
                  <a:pt x="2498" y="470"/>
                </a:lnTo>
                <a:lnTo>
                  <a:pt x="2498" y="468"/>
                </a:lnTo>
                <a:lnTo>
                  <a:pt x="2499" y="463"/>
                </a:lnTo>
                <a:lnTo>
                  <a:pt x="2501" y="460"/>
                </a:lnTo>
                <a:lnTo>
                  <a:pt x="2503" y="457"/>
                </a:lnTo>
                <a:lnTo>
                  <a:pt x="2505" y="456"/>
                </a:lnTo>
                <a:lnTo>
                  <a:pt x="2507" y="456"/>
                </a:lnTo>
                <a:lnTo>
                  <a:pt x="2510" y="455"/>
                </a:lnTo>
                <a:close/>
                <a:moveTo>
                  <a:pt x="2565" y="322"/>
                </a:moveTo>
                <a:lnTo>
                  <a:pt x="2568" y="322"/>
                </a:lnTo>
                <a:lnTo>
                  <a:pt x="2570" y="323"/>
                </a:lnTo>
                <a:lnTo>
                  <a:pt x="2574" y="326"/>
                </a:lnTo>
                <a:lnTo>
                  <a:pt x="2576" y="328"/>
                </a:lnTo>
                <a:lnTo>
                  <a:pt x="2577" y="330"/>
                </a:lnTo>
                <a:lnTo>
                  <a:pt x="2577" y="334"/>
                </a:lnTo>
                <a:lnTo>
                  <a:pt x="2577" y="337"/>
                </a:lnTo>
                <a:lnTo>
                  <a:pt x="2576" y="339"/>
                </a:lnTo>
                <a:lnTo>
                  <a:pt x="2574" y="342"/>
                </a:lnTo>
                <a:lnTo>
                  <a:pt x="2573" y="343"/>
                </a:lnTo>
                <a:lnTo>
                  <a:pt x="2572" y="344"/>
                </a:lnTo>
                <a:lnTo>
                  <a:pt x="2569" y="346"/>
                </a:lnTo>
                <a:lnTo>
                  <a:pt x="2565" y="346"/>
                </a:lnTo>
                <a:lnTo>
                  <a:pt x="2563" y="346"/>
                </a:lnTo>
                <a:lnTo>
                  <a:pt x="2560" y="345"/>
                </a:lnTo>
                <a:lnTo>
                  <a:pt x="2556" y="342"/>
                </a:lnTo>
                <a:lnTo>
                  <a:pt x="2555" y="340"/>
                </a:lnTo>
                <a:lnTo>
                  <a:pt x="2554" y="338"/>
                </a:lnTo>
                <a:lnTo>
                  <a:pt x="2553" y="334"/>
                </a:lnTo>
                <a:lnTo>
                  <a:pt x="2553" y="331"/>
                </a:lnTo>
                <a:lnTo>
                  <a:pt x="2554" y="329"/>
                </a:lnTo>
                <a:lnTo>
                  <a:pt x="2556" y="326"/>
                </a:lnTo>
                <a:lnTo>
                  <a:pt x="2557" y="325"/>
                </a:lnTo>
                <a:lnTo>
                  <a:pt x="2559" y="324"/>
                </a:lnTo>
                <a:lnTo>
                  <a:pt x="2562" y="322"/>
                </a:lnTo>
                <a:lnTo>
                  <a:pt x="2565" y="322"/>
                </a:lnTo>
                <a:close/>
                <a:moveTo>
                  <a:pt x="2628" y="192"/>
                </a:moveTo>
                <a:lnTo>
                  <a:pt x="2631" y="192"/>
                </a:lnTo>
                <a:lnTo>
                  <a:pt x="2633" y="193"/>
                </a:lnTo>
                <a:lnTo>
                  <a:pt x="2635" y="195"/>
                </a:lnTo>
                <a:lnTo>
                  <a:pt x="2637" y="196"/>
                </a:lnTo>
                <a:lnTo>
                  <a:pt x="2638" y="198"/>
                </a:lnTo>
                <a:lnTo>
                  <a:pt x="2639" y="201"/>
                </a:lnTo>
                <a:lnTo>
                  <a:pt x="2640" y="203"/>
                </a:lnTo>
                <a:lnTo>
                  <a:pt x="2640" y="205"/>
                </a:lnTo>
                <a:lnTo>
                  <a:pt x="2639" y="207"/>
                </a:lnTo>
                <a:lnTo>
                  <a:pt x="2638" y="210"/>
                </a:lnTo>
                <a:lnTo>
                  <a:pt x="2637" y="213"/>
                </a:lnTo>
                <a:lnTo>
                  <a:pt x="2634" y="215"/>
                </a:lnTo>
                <a:lnTo>
                  <a:pt x="2631" y="216"/>
                </a:lnTo>
                <a:lnTo>
                  <a:pt x="2628" y="216"/>
                </a:lnTo>
                <a:lnTo>
                  <a:pt x="2625" y="216"/>
                </a:lnTo>
                <a:lnTo>
                  <a:pt x="2622" y="215"/>
                </a:lnTo>
                <a:lnTo>
                  <a:pt x="2620" y="214"/>
                </a:lnTo>
                <a:lnTo>
                  <a:pt x="2618" y="212"/>
                </a:lnTo>
                <a:lnTo>
                  <a:pt x="2617" y="210"/>
                </a:lnTo>
                <a:lnTo>
                  <a:pt x="2616" y="208"/>
                </a:lnTo>
                <a:lnTo>
                  <a:pt x="2616" y="206"/>
                </a:lnTo>
                <a:lnTo>
                  <a:pt x="2616" y="203"/>
                </a:lnTo>
                <a:lnTo>
                  <a:pt x="2616" y="201"/>
                </a:lnTo>
                <a:lnTo>
                  <a:pt x="2617" y="199"/>
                </a:lnTo>
                <a:lnTo>
                  <a:pt x="2619" y="196"/>
                </a:lnTo>
                <a:lnTo>
                  <a:pt x="2622" y="194"/>
                </a:lnTo>
                <a:lnTo>
                  <a:pt x="2625" y="192"/>
                </a:lnTo>
                <a:lnTo>
                  <a:pt x="2628" y="192"/>
                </a:lnTo>
                <a:close/>
                <a:moveTo>
                  <a:pt x="2699" y="67"/>
                </a:moveTo>
                <a:lnTo>
                  <a:pt x="2702" y="67"/>
                </a:lnTo>
                <a:lnTo>
                  <a:pt x="2705" y="69"/>
                </a:lnTo>
                <a:lnTo>
                  <a:pt x="2707" y="70"/>
                </a:lnTo>
                <a:lnTo>
                  <a:pt x="2709" y="72"/>
                </a:lnTo>
                <a:lnTo>
                  <a:pt x="2710" y="74"/>
                </a:lnTo>
                <a:lnTo>
                  <a:pt x="2711" y="76"/>
                </a:lnTo>
                <a:lnTo>
                  <a:pt x="2711" y="78"/>
                </a:lnTo>
                <a:lnTo>
                  <a:pt x="2711" y="81"/>
                </a:lnTo>
                <a:lnTo>
                  <a:pt x="2710" y="83"/>
                </a:lnTo>
                <a:lnTo>
                  <a:pt x="2709" y="85"/>
                </a:lnTo>
                <a:lnTo>
                  <a:pt x="2707" y="88"/>
                </a:lnTo>
                <a:lnTo>
                  <a:pt x="2705" y="90"/>
                </a:lnTo>
                <a:lnTo>
                  <a:pt x="2702" y="91"/>
                </a:lnTo>
                <a:lnTo>
                  <a:pt x="2699" y="91"/>
                </a:lnTo>
                <a:lnTo>
                  <a:pt x="2696" y="91"/>
                </a:lnTo>
                <a:lnTo>
                  <a:pt x="2694" y="90"/>
                </a:lnTo>
                <a:lnTo>
                  <a:pt x="2693" y="89"/>
                </a:lnTo>
                <a:lnTo>
                  <a:pt x="2691" y="88"/>
                </a:lnTo>
                <a:lnTo>
                  <a:pt x="2689" y="86"/>
                </a:lnTo>
                <a:lnTo>
                  <a:pt x="2688" y="84"/>
                </a:lnTo>
                <a:lnTo>
                  <a:pt x="2687" y="82"/>
                </a:lnTo>
                <a:lnTo>
                  <a:pt x="2687" y="79"/>
                </a:lnTo>
                <a:lnTo>
                  <a:pt x="2687" y="77"/>
                </a:lnTo>
                <a:lnTo>
                  <a:pt x="2687" y="75"/>
                </a:lnTo>
                <a:lnTo>
                  <a:pt x="2689" y="72"/>
                </a:lnTo>
                <a:lnTo>
                  <a:pt x="2691" y="70"/>
                </a:lnTo>
                <a:lnTo>
                  <a:pt x="2693" y="68"/>
                </a:lnTo>
                <a:lnTo>
                  <a:pt x="2696" y="67"/>
                </a:lnTo>
                <a:lnTo>
                  <a:pt x="2699" y="67"/>
                </a:lnTo>
                <a:close/>
                <a:moveTo>
                  <a:pt x="732" y="2225"/>
                </a:moveTo>
                <a:lnTo>
                  <a:pt x="734" y="2225"/>
                </a:lnTo>
                <a:lnTo>
                  <a:pt x="736" y="2226"/>
                </a:lnTo>
                <a:lnTo>
                  <a:pt x="738" y="2227"/>
                </a:lnTo>
                <a:lnTo>
                  <a:pt x="740" y="2228"/>
                </a:lnTo>
                <a:lnTo>
                  <a:pt x="742" y="2230"/>
                </a:lnTo>
                <a:lnTo>
                  <a:pt x="743" y="2232"/>
                </a:lnTo>
                <a:lnTo>
                  <a:pt x="744" y="2234"/>
                </a:lnTo>
                <a:lnTo>
                  <a:pt x="744" y="2236"/>
                </a:lnTo>
                <a:lnTo>
                  <a:pt x="744" y="2239"/>
                </a:lnTo>
                <a:lnTo>
                  <a:pt x="743" y="2243"/>
                </a:lnTo>
                <a:lnTo>
                  <a:pt x="742" y="2245"/>
                </a:lnTo>
                <a:lnTo>
                  <a:pt x="740" y="2246"/>
                </a:lnTo>
                <a:lnTo>
                  <a:pt x="738" y="2247"/>
                </a:lnTo>
                <a:lnTo>
                  <a:pt x="737" y="2248"/>
                </a:lnTo>
                <a:lnTo>
                  <a:pt x="732" y="2249"/>
                </a:lnTo>
                <a:lnTo>
                  <a:pt x="731" y="2249"/>
                </a:lnTo>
                <a:lnTo>
                  <a:pt x="728" y="2249"/>
                </a:lnTo>
                <a:lnTo>
                  <a:pt x="726" y="2248"/>
                </a:lnTo>
                <a:lnTo>
                  <a:pt x="724" y="2246"/>
                </a:lnTo>
                <a:lnTo>
                  <a:pt x="723" y="2245"/>
                </a:lnTo>
                <a:lnTo>
                  <a:pt x="722" y="2243"/>
                </a:lnTo>
                <a:lnTo>
                  <a:pt x="721" y="2240"/>
                </a:lnTo>
                <a:lnTo>
                  <a:pt x="720" y="2238"/>
                </a:lnTo>
                <a:lnTo>
                  <a:pt x="720" y="2236"/>
                </a:lnTo>
                <a:lnTo>
                  <a:pt x="722" y="2232"/>
                </a:lnTo>
                <a:lnTo>
                  <a:pt x="723" y="2230"/>
                </a:lnTo>
                <a:lnTo>
                  <a:pt x="724" y="2228"/>
                </a:lnTo>
                <a:lnTo>
                  <a:pt x="726" y="2227"/>
                </a:lnTo>
                <a:lnTo>
                  <a:pt x="728" y="2226"/>
                </a:lnTo>
                <a:lnTo>
                  <a:pt x="732" y="2225"/>
                </a:lnTo>
                <a:close/>
                <a:moveTo>
                  <a:pt x="876" y="2215"/>
                </a:moveTo>
                <a:lnTo>
                  <a:pt x="878" y="2215"/>
                </a:lnTo>
                <a:lnTo>
                  <a:pt x="880" y="2215"/>
                </a:lnTo>
                <a:lnTo>
                  <a:pt x="883" y="2217"/>
                </a:lnTo>
                <a:lnTo>
                  <a:pt x="886" y="2220"/>
                </a:lnTo>
                <a:lnTo>
                  <a:pt x="888" y="2224"/>
                </a:lnTo>
                <a:lnTo>
                  <a:pt x="888" y="2226"/>
                </a:lnTo>
                <a:lnTo>
                  <a:pt x="888" y="2229"/>
                </a:lnTo>
                <a:lnTo>
                  <a:pt x="887" y="2231"/>
                </a:lnTo>
                <a:lnTo>
                  <a:pt x="886" y="2233"/>
                </a:lnTo>
                <a:lnTo>
                  <a:pt x="885" y="2235"/>
                </a:lnTo>
                <a:lnTo>
                  <a:pt x="883" y="2236"/>
                </a:lnTo>
                <a:lnTo>
                  <a:pt x="881" y="2238"/>
                </a:lnTo>
                <a:lnTo>
                  <a:pt x="879" y="2238"/>
                </a:lnTo>
                <a:lnTo>
                  <a:pt x="876" y="2239"/>
                </a:lnTo>
                <a:lnTo>
                  <a:pt x="874" y="2239"/>
                </a:lnTo>
                <a:lnTo>
                  <a:pt x="872" y="2238"/>
                </a:lnTo>
                <a:lnTo>
                  <a:pt x="869" y="2236"/>
                </a:lnTo>
                <a:lnTo>
                  <a:pt x="866" y="2234"/>
                </a:lnTo>
                <a:lnTo>
                  <a:pt x="864" y="2230"/>
                </a:lnTo>
                <a:lnTo>
                  <a:pt x="864" y="2227"/>
                </a:lnTo>
                <a:lnTo>
                  <a:pt x="864" y="2225"/>
                </a:lnTo>
                <a:lnTo>
                  <a:pt x="865" y="2223"/>
                </a:lnTo>
                <a:lnTo>
                  <a:pt x="866" y="2221"/>
                </a:lnTo>
                <a:lnTo>
                  <a:pt x="867" y="2219"/>
                </a:lnTo>
                <a:lnTo>
                  <a:pt x="869" y="2217"/>
                </a:lnTo>
                <a:lnTo>
                  <a:pt x="871" y="2216"/>
                </a:lnTo>
                <a:lnTo>
                  <a:pt x="873" y="2215"/>
                </a:lnTo>
                <a:lnTo>
                  <a:pt x="876" y="2215"/>
                </a:lnTo>
                <a:close/>
                <a:moveTo>
                  <a:pt x="594" y="2186"/>
                </a:moveTo>
                <a:lnTo>
                  <a:pt x="597" y="2186"/>
                </a:lnTo>
                <a:lnTo>
                  <a:pt x="599" y="2187"/>
                </a:lnTo>
                <a:lnTo>
                  <a:pt x="601" y="2188"/>
                </a:lnTo>
                <a:lnTo>
                  <a:pt x="603" y="2190"/>
                </a:lnTo>
                <a:lnTo>
                  <a:pt x="604" y="2192"/>
                </a:lnTo>
                <a:lnTo>
                  <a:pt x="605" y="2194"/>
                </a:lnTo>
                <a:lnTo>
                  <a:pt x="606" y="2198"/>
                </a:lnTo>
                <a:lnTo>
                  <a:pt x="606" y="2201"/>
                </a:lnTo>
                <a:lnTo>
                  <a:pt x="605" y="2203"/>
                </a:lnTo>
                <a:lnTo>
                  <a:pt x="603" y="2206"/>
                </a:lnTo>
                <a:lnTo>
                  <a:pt x="601" y="2208"/>
                </a:lnTo>
                <a:lnTo>
                  <a:pt x="598" y="2210"/>
                </a:lnTo>
                <a:lnTo>
                  <a:pt x="594" y="2210"/>
                </a:lnTo>
                <a:lnTo>
                  <a:pt x="592" y="2210"/>
                </a:lnTo>
                <a:lnTo>
                  <a:pt x="590" y="2209"/>
                </a:lnTo>
                <a:lnTo>
                  <a:pt x="587" y="2208"/>
                </a:lnTo>
                <a:lnTo>
                  <a:pt x="586" y="2206"/>
                </a:lnTo>
                <a:lnTo>
                  <a:pt x="584" y="2205"/>
                </a:lnTo>
                <a:lnTo>
                  <a:pt x="583" y="2202"/>
                </a:lnTo>
                <a:lnTo>
                  <a:pt x="582" y="2198"/>
                </a:lnTo>
                <a:lnTo>
                  <a:pt x="583" y="2196"/>
                </a:lnTo>
                <a:lnTo>
                  <a:pt x="583" y="2193"/>
                </a:lnTo>
                <a:lnTo>
                  <a:pt x="585" y="2190"/>
                </a:lnTo>
                <a:lnTo>
                  <a:pt x="588" y="2188"/>
                </a:lnTo>
                <a:lnTo>
                  <a:pt x="591" y="2187"/>
                </a:lnTo>
                <a:lnTo>
                  <a:pt x="594" y="2186"/>
                </a:lnTo>
                <a:close/>
                <a:moveTo>
                  <a:pt x="1008" y="2159"/>
                </a:moveTo>
                <a:lnTo>
                  <a:pt x="1011" y="2159"/>
                </a:lnTo>
                <a:lnTo>
                  <a:pt x="1014" y="2160"/>
                </a:lnTo>
                <a:lnTo>
                  <a:pt x="1016" y="2162"/>
                </a:lnTo>
                <a:lnTo>
                  <a:pt x="1018" y="2165"/>
                </a:lnTo>
                <a:lnTo>
                  <a:pt x="1020" y="2169"/>
                </a:lnTo>
                <a:lnTo>
                  <a:pt x="1020" y="2171"/>
                </a:lnTo>
                <a:lnTo>
                  <a:pt x="1020" y="2174"/>
                </a:lnTo>
                <a:lnTo>
                  <a:pt x="1019" y="2176"/>
                </a:lnTo>
                <a:lnTo>
                  <a:pt x="1018" y="2178"/>
                </a:lnTo>
                <a:lnTo>
                  <a:pt x="1014" y="2181"/>
                </a:lnTo>
                <a:lnTo>
                  <a:pt x="1011" y="2182"/>
                </a:lnTo>
                <a:lnTo>
                  <a:pt x="1008" y="2183"/>
                </a:lnTo>
                <a:lnTo>
                  <a:pt x="1005" y="2182"/>
                </a:lnTo>
                <a:lnTo>
                  <a:pt x="1002" y="2181"/>
                </a:lnTo>
                <a:lnTo>
                  <a:pt x="1000" y="2179"/>
                </a:lnTo>
                <a:lnTo>
                  <a:pt x="998" y="2177"/>
                </a:lnTo>
                <a:lnTo>
                  <a:pt x="996" y="2172"/>
                </a:lnTo>
                <a:lnTo>
                  <a:pt x="996" y="2170"/>
                </a:lnTo>
                <a:lnTo>
                  <a:pt x="996" y="2167"/>
                </a:lnTo>
                <a:lnTo>
                  <a:pt x="997" y="2165"/>
                </a:lnTo>
                <a:lnTo>
                  <a:pt x="998" y="2163"/>
                </a:lnTo>
                <a:lnTo>
                  <a:pt x="1002" y="2160"/>
                </a:lnTo>
                <a:lnTo>
                  <a:pt x="1005" y="2159"/>
                </a:lnTo>
                <a:lnTo>
                  <a:pt x="1008" y="2159"/>
                </a:lnTo>
                <a:close/>
                <a:moveTo>
                  <a:pt x="468" y="2117"/>
                </a:moveTo>
                <a:lnTo>
                  <a:pt x="471" y="2118"/>
                </a:lnTo>
                <a:lnTo>
                  <a:pt x="474" y="2119"/>
                </a:lnTo>
                <a:lnTo>
                  <a:pt x="476" y="2121"/>
                </a:lnTo>
                <a:lnTo>
                  <a:pt x="478" y="2123"/>
                </a:lnTo>
                <a:lnTo>
                  <a:pt x="479" y="2125"/>
                </a:lnTo>
                <a:lnTo>
                  <a:pt x="480" y="2127"/>
                </a:lnTo>
                <a:lnTo>
                  <a:pt x="480" y="2129"/>
                </a:lnTo>
                <a:lnTo>
                  <a:pt x="480" y="2131"/>
                </a:lnTo>
                <a:lnTo>
                  <a:pt x="479" y="2134"/>
                </a:lnTo>
                <a:lnTo>
                  <a:pt x="478" y="2136"/>
                </a:lnTo>
                <a:lnTo>
                  <a:pt x="476" y="2138"/>
                </a:lnTo>
                <a:lnTo>
                  <a:pt x="474" y="2140"/>
                </a:lnTo>
                <a:lnTo>
                  <a:pt x="471" y="2141"/>
                </a:lnTo>
                <a:lnTo>
                  <a:pt x="468" y="2141"/>
                </a:lnTo>
                <a:lnTo>
                  <a:pt x="465" y="2141"/>
                </a:lnTo>
                <a:lnTo>
                  <a:pt x="461" y="2140"/>
                </a:lnTo>
                <a:lnTo>
                  <a:pt x="460" y="2138"/>
                </a:lnTo>
                <a:lnTo>
                  <a:pt x="458" y="2136"/>
                </a:lnTo>
                <a:lnTo>
                  <a:pt x="457" y="2134"/>
                </a:lnTo>
                <a:lnTo>
                  <a:pt x="456" y="2132"/>
                </a:lnTo>
                <a:lnTo>
                  <a:pt x="456" y="2130"/>
                </a:lnTo>
                <a:lnTo>
                  <a:pt x="456" y="2128"/>
                </a:lnTo>
                <a:lnTo>
                  <a:pt x="457" y="2125"/>
                </a:lnTo>
                <a:lnTo>
                  <a:pt x="458" y="2123"/>
                </a:lnTo>
                <a:lnTo>
                  <a:pt x="460" y="2121"/>
                </a:lnTo>
                <a:lnTo>
                  <a:pt x="462" y="2119"/>
                </a:lnTo>
                <a:lnTo>
                  <a:pt x="465" y="2118"/>
                </a:lnTo>
                <a:lnTo>
                  <a:pt x="468" y="2117"/>
                </a:lnTo>
                <a:close/>
                <a:moveTo>
                  <a:pt x="1125" y="2075"/>
                </a:moveTo>
                <a:lnTo>
                  <a:pt x="1127" y="2075"/>
                </a:lnTo>
                <a:lnTo>
                  <a:pt x="1130" y="2076"/>
                </a:lnTo>
                <a:lnTo>
                  <a:pt x="1132" y="2077"/>
                </a:lnTo>
                <a:lnTo>
                  <a:pt x="1134" y="2079"/>
                </a:lnTo>
                <a:lnTo>
                  <a:pt x="1135" y="2081"/>
                </a:lnTo>
                <a:lnTo>
                  <a:pt x="1136" y="2083"/>
                </a:lnTo>
                <a:lnTo>
                  <a:pt x="1137" y="2085"/>
                </a:lnTo>
                <a:lnTo>
                  <a:pt x="1137" y="2088"/>
                </a:lnTo>
                <a:lnTo>
                  <a:pt x="1136" y="2090"/>
                </a:lnTo>
                <a:lnTo>
                  <a:pt x="1135" y="2092"/>
                </a:lnTo>
                <a:lnTo>
                  <a:pt x="1134" y="2094"/>
                </a:lnTo>
                <a:lnTo>
                  <a:pt x="1133" y="2096"/>
                </a:lnTo>
                <a:lnTo>
                  <a:pt x="1129" y="2098"/>
                </a:lnTo>
                <a:lnTo>
                  <a:pt x="1125" y="2099"/>
                </a:lnTo>
                <a:lnTo>
                  <a:pt x="1122" y="2098"/>
                </a:lnTo>
                <a:lnTo>
                  <a:pt x="1120" y="2098"/>
                </a:lnTo>
                <a:lnTo>
                  <a:pt x="1118" y="2096"/>
                </a:lnTo>
                <a:lnTo>
                  <a:pt x="1116" y="2095"/>
                </a:lnTo>
                <a:lnTo>
                  <a:pt x="1114" y="2093"/>
                </a:lnTo>
                <a:lnTo>
                  <a:pt x="1113" y="2090"/>
                </a:lnTo>
                <a:lnTo>
                  <a:pt x="1113" y="2088"/>
                </a:lnTo>
                <a:lnTo>
                  <a:pt x="1113" y="2086"/>
                </a:lnTo>
                <a:lnTo>
                  <a:pt x="1113" y="2084"/>
                </a:lnTo>
                <a:lnTo>
                  <a:pt x="1114" y="2081"/>
                </a:lnTo>
                <a:lnTo>
                  <a:pt x="1115" y="2079"/>
                </a:lnTo>
                <a:lnTo>
                  <a:pt x="1117" y="2078"/>
                </a:lnTo>
                <a:lnTo>
                  <a:pt x="1121" y="2075"/>
                </a:lnTo>
                <a:lnTo>
                  <a:pt x="1125" y="2075"/>
                </a:lnTo>
                <a:close/>
                <a:moveTo>
                  <a:pt x="348" y="2038"/>
                </a:moveTo>
                <a:lnTo>
                  <a:pt x="351" y="2039"/>
                </a:lnTo>
                <a:lnTo>
                  <a:pt x="353" y="2039"/>
                </a:lnTo>
                <a:lnTo>
                  <a:pt x="354" y="2040"/>
                </a:lnTo>
                <a:lnTo>
                  <a:pt x="356" y="2042"/>
                </a:lnTo>
                <a:lnTo>
                  <a:pt x="358" y="2043"/>
                </a:lnTo>
                <a:lnTo>
                  <a:pt x="359" y="2046"/>
                </a:lnTo>
                <a:lnTo>
                  <a:pt x="359" y="2048"/>
                </a:lnTo>
                <a:lnTo>
                  <a:pt x="359" y="2052"/>
                </a:lnTo>
                <a:lnTo>
                  <a:pt x="359" y="2055"/>
                </a:lnTo>
                <a:lnTo>
                  <a:pt x="358" y="2057"/>
                </a:lnTo>
                <a:lnTo>
                  <a:pt x="356" y="2059"/>
                </a:lnTo>
                <a:lnTo>
                  <a:pt x="353" y="2061"/>
                </a:lnTo>
                <a:lnTo>
                  <a:pt x="351" y="2062"/>
                </a:lnTo>
                <a:lnTo>
                  <a:pt x="348" y="2062"/>
                </a:lnTo>
                <a:lnTo>
                  <a:pt x="344" y="2062"/>
                </a:lnTo>
                <a:lnTo>
                  <a:pt x="341" y="2060"/>
                </a:lnTo>
                <a:lnTo>
                  <a:pt x="339" y="2058"/>
                </a:lnTo>
                <a:lnTo>
                  <a:pt x="338" y="2057"/>
                </a:lnTo>
                <a:lnTo>
                  <a:pt x="337" y="2055"/>
                </a:lnTo>
                <a:lnTo>
                  <a:pt x="336" y="2052"/>
                </a:lnTo>
                <a:lnTo>
                  <a:pt x="336" y="2048"/>
                </a:lnTo>
                <a:lnTo>
                  <a:pt x="337" y="2046"/>
                </a:lnTo>
                <a:lnTo>
                  <a:pt x="338" y="2043"/>
                </a:lnTo>
                <a:lnTo>
                  <a:pt x="340" y="2041"/>
                </a:lnTo>
                <a:lnTo>
                  <a:pt x="342" y="2039"/>
                </a:lnTo>
                <a:lnTo>
                  <a:pt x="345" y="2038"/>
                </a:lnTo>
                <a:lnTo>
                  <a:pt x="348" y="2038"/>
                </a:lnTo>
                <a:close/>
                <a:moveTo>
                  <a:pt x="1226" y="1972"/>
                </a:moveTo>
                <a:lnTo>
                  <a:pt x="1230" y="1973"/>
                </a:lnTo>
                <a:lnTo>
                  <a:pt x="1234" y="1975"/>
                </a:lnTo>
                <a:lnTo>
                  <a:pt x="1235" y="1977"/>
                </a:lnTo>
                <a:lnTo>
                  <a:pt x="1237" y="1979"/>
                </a:lnTo>
                <a:lnTo>
                  <a:pt x="1237" y="1981"/>
                </a:lnTo>
                <a:lnTo>
                  <a:pt x="1238" y="1984"/>
                </a:lnTo>
                <a:lnTo>
                  <a:pt x="1238" y="1986"/>
                </a:lnTo>
                <a:lnTo>
                  <a:pt x="1237" y="1988"/>
                </a:lnTo>
                <a:lnTo>
                  <a:pt x="1236" y="1990"/>
                </a:lnTo>
                <a:lnTo>
                  <a:pt x="1235" y="1992"/>
                </a:lnTo>
                <a:lnTo>
                  <a:pt x="1233" y="1994"/>
                </a:lnTo>
                <a:lnTo>
                  <a:pt x="1231" y="1995"/>
                </a:lnTo>
                <a:lnTo>
                  <a:pt x="1228" y="1996"/>
                </a:lnTo>
                <a:lnTo>
                  <a:pt x="1226" y="1996"/>
                </a:lnTo>
                <a:lnTo>
                  <a:pt x="1222" y="1996"/>
                </a:lnTo>
                <a:lnTo>
                  <a:pt x="1218" y="1993"/>
                </a:lnTo>
                <a:lnTo>
                  <a:pt x="1216" y="1992"/>
                </a:lnTo>
                <a:lnTo>
                  <a:pt x="1215" y="1990"/>
                </a:lnTo>
                <a:lnTo>
                  <a:pt x="1214" y="1987"/>
                </a:lnTo>
                <a:lnTo>
                  <a:pt x="1214" y="1985"/>
                </a:lnTo>
                <a:lnTo>
                  <a:pt x="1214" y="1983"/>
                </a:lnTo>
                <a:lnTo>
                  <a:pt x="1214" y="1981"/>
                </a:lnTo>
                <a:lnTo>
                  <a:pt x="1215" y="1978"/>
                </a:lnTo>
                <a:lnTo>
                  <a:pt x="1217" y="1976"/>
                </a:lnTo>
                <a:lnTo>
                  <a:pt x="1219" y="1975"/>
                </a:lnTo>
                <a:lnTo>
                  <a:pt x="1221" y="1973"/>
                </a:lnTo>
                <a:lnTo>
                  <a:pt x="1223" y="1973"/>
                </a:lnTo>
                <a:lnTo>
                  <a:pt x="1226" y="1972"/>
                </a:lnTo>
                <a:close/>
                <a:moveTo>
                  <a:pt x="226" y="1961"/>
                </a:moveTo>
                <a:lnTo>
                  <a:pt x="229" y="1961"/>
                </a:lnTo>
                <a:lnTo>
                  <a:pt x="232" y="1962"/>
                </a:lnTo>
                <a:lnTo>
                  <a:pt x="234" y="1964"/>
                </a:lnTo>
                <a:lnTo>
                  <a:pt x="235" y="1965"/>
                </a:lnTo>
                <a:lnTo>
                  <a:pt x="236" y="1966"/>
                </a:lnTo>
                <a:lnTo>
                  <a:pt x="237" y="1968"/>
                </a:lnTo>
                <a:lnTo>
                  <a:pt x="238" y="1970"/>
                </a:lnTo>
                <a:lnTo>
                  <a:pt x="238" y="1972"/>
                </a:lnTo>
                <a:lnTo>
                  <a:pt x="238" y="1974"/>
                </a:lnTo>
                <a:lnTo>
                  <a:pt x="236" y="1979"/>
                </a:lnTo>
                <a:lnTo>
                  <a:pt x="234" y="1981"/>
                </a:lnTo>
                <a:lnTo>
                  <a:pt x="232" y="1983"/>
                </a:lnTo>
                <a:lnTo>
                  <a:pt x="229" y="1984"/>
                </a:lnTo>
                <a:lnTo>
                  <a:pt x="226" y="1985"/>
                </a:lnTo>
                <a:lnTo>
                  <a:pt x="223" y="1984"/>
                </a:lnTo>
                <a:lnTo>
                  <a:pt x="220" y="1983"/>
                </a:lnTo>
                <a:lnTo>
                  <a:pt x="218" y="1982"/>
                </a:lnTo>
                <a:lnTo>
                  <a:pt x="217" y="1981"/>
                </a:lnTo>
                <a:lnTo>
                  <a:pt x="216" y="1980"/>
                </a:lnTo>
                <a:lnTo>
                  <a:pt x="215" y="1978"/>
                </a:lnTo>
                <a:lnTo>
                  <a:pt x="214" y="1976"/>
                </a:lnTo>
                <a:lnTo>
                  <a:pt x="214" y="1974"/>
                </a:lnTo>
                <a:lnTo>
                  <a:pt x="214" y="1971"/>
                </a:lnTo>
                <a:lnTo>
                  <a:pt x="216" y="1967"/>
                </a:lnTo>
                <a:lnTo>
                  <a:pt x="218" y="1964"/>
                </a:lnTo>
                <a:lnTo>
                  <a:pt x="220" y="1962"/>
                </a:lnTo>
                <a:lnTo>
                  <a:pt x="223" y="1961"/>
                </a:lnTo>
                <a:lnTo>
                  <a:pt x="226" y="1961"/>
                </a:lnTo>
                <a:close/>
                <a:moveTo>
                  <a:pt x="96" y="1899"/>
                </a:moveTo>
                <a:lnTo>
                  <a:pt x="100" y="1900"/>
                </a:lnTo>
                <a:lnTo>
                  <a:pt x="103" y="1901"/>
                </a:lnTo>
                <a:lnTo>
                  <a:pt x="104" y="1902"/>
                </a:lnTo>
                <a:lnTo>
                  <a:pt x="106" y="1904"/>
                </a:lnTo>
                <a:lnTo>
                  <a:pt x="107" y="1906"/>
                </a:lnTo>
                <a:lnTo>
                  <a:pt x="108" y="1908"/>
                </a:lnTo>
                <a:lnTo>
                  <a:pt x="108" y="1910"/>
                </a:lnTo>
                <a:lnTo>
                  <a:pt x="108" y="1915"/>
                </a:lnTo>
                <a:lnTo>
                  <a:pt x="106" y="1919"/>
                </a:lnTo>
                <a:lnTo>
                  <a:pt x="103" y="1921"/>
                </a:lnTo>
                <a:lnTo>
                  <a:pt x="102" y="1922"/>
                </a:lnTo>
                <a:lnTo>
                  <a:pt x="100" y="1923"/>
                </a:lnTo>
                <a:lnTo>
                  <a:pt x="96" y="1923"/>
                </a:lnTo>
                <a:lnTo>
                  <a:pt x="92" y="1922"/>
                </a:lnTo>
                <a:lnTo>
                  <a:pt x="90" y="1921"/>
                </a:lnTo>
                <a:lnTo>
                  <a:pt x="88" y="1920"/>
                </a:lnTo>
                <a:lnTo>
                  <a:pt x="87" y="1918"/>
                </a:lnTo>
                <a:lnTo>
                  <a:pt x="85" y="1916"/>
                </a:lnTo>
                <a:lnTo>
                  <a:pt x="85" y="1914"/>
                </a:lnTo>
                <a:lnTo>
                  <a:pt x="84" y="1912"/>
                </a:lnTo>
                <a:lnTo>
                  <a:pt x="85" y="1907"/>
                </a:lnTo>
                <a:lnTo>
                  <a:pt x="87" y="1904"/>
                </a:lnTo>
                <a:lnTo>
                  <a:pt x="89" y="1901"/>
                </a:lnTo>
                <a:lnTo>
                  <a:pt x="91" y="1900"/>
                </a:lnTo>
                <a:lnTo>
                  <a:pt x="93" y="1900"/>
                </a:lnTo>
                <a:lnTo>
                  <a:pt x="96" y="1899"/>
                </a:lnTo>
                <a:close/>
                <a:moveTo>
                  <a:pt x="1316" y="1860"/>
                </a:moveTo>
                <a:lnTo>
                  <a:pt x="1320" y="1861"/>
                </a:lnTo>
                <a:lnTo>
                  <a:pt x="1324" y="1863"/>
                </a:lnTo>
                <a:lnTo>
                  <a:pt x="1327" y="1866"/>
                </a:lnTo>
                <a:lnTo>
                  <a:pt x="1328" y="1868"/>
                </a:lnTo>
                <a:lnTo>
                  <a:pt x="1328" y="1871"/>
                </a:lnTo>
                <a:lnTo>
                  <a:pt x="1328" y="1873"/>
                </a:lnTo>
                <a:lnTo>
                  <a:pt x="1328" y="1875"/>
                </a:lnTo>
                <a:lnTo>
                  <a:pt x="1327" y="1877"/>
                </a:lnTo>
                <a:lnTo>
                  <a:pt x="1326" y="1880"/>
                </a:lnTo>
                <a:lnTo>
                  <a:pt x="1324" y="1882"/>
                </a:lnTo>
                <a:lnTo>
                  <a:pt x="1321" y="1883"/>
                </a:lnTo>
                <a:lnTo>
                  <a:pt x="1319" y="1884"/>
                </a:lnTo>
                <a:lnTo>
                  <a:pt x="1316" y="1884"/>
                </a:lnTo>
                <a:lnTo>
                  <a:pt x="1312" y="1884"/>
                </a:lnTo>
                <a:lnTo>
                  <a:pt x="1309" y="1882"/>
                </a:lnTo>
                <a:lnTo>
                  <a:pt x="1306" y="1878"/>
                </a:lnTo>
                <a:lnTo>
                  <a:pt x="1305" y="1876"/>
                </a:lnTo>
                <a:lnTo>
                  <a:pt x="1304" y="1874"/>
                </a:lnTo>
                <a:lnTo>
                  <a:pt x="1304" y="1871"/>
                </a:lnTo>
                <a:lnTo>
                  <a:pt x="1305" y="1869"/>
                </a:lnTo>
                <a:lnTo>
                  <a:pt x="1305" y="1867"/>
                </a:lnTo>
                <a:lnTo>
                  <a:pt x="1307" y="1865"/>
                </a:lnTo>
                <a:lnTo>
                  <a:pt x="1309" y="1863"/>
                </a:lnTo>
                <a:lnTo>
                  <a:pt x="1311" y="1861"/>
                </a:lnTo>
                <a:lnTo>
                  <a:pt x="1314" y="1860"/>
                </a:lnTo>
                <a:lnTo>
                  <a:pt x="1316" y="1860"/>
                </a:lnTo>
                <a:close/>
                <a:moveTo>
                  <a:pt x="1406" y="1748"/>
                </a:moveTo>
                <a:lnTo>
                  <a:pt x="1410" y="1748"/>
                </a:lnTo>
                <a:lnTo>
                  <a:pt x="1412" y="1749"/>
                </a:lnTo>
                <a:lnTo>
                  <a:pt x="1414" y="1751"/>
                </a:lnTo>
                <a:lnTo>
                  <a:pt x="1416" y="1753"/>
                </a:lnTo>
                <a:lnTo>
                  <a:pt x="1417" y="1755"/>
                </a:lnTo>
                <a:lnTo>
                  <a:pt x="1418" y="1757"/>
                </a:lnTo>
                <a:lnTo>
                  <a:pt x="1418" y="1759"/>
                </a:lnTo>
                <a:lnTo>
                  <a:pt x="1418" y="1761"/>
                </a:lnTo>
                <a:lnTo>
                  <a:pt x="1418" y="1764"/>
                </a:lnTo>
                <a:lnTo>
                  <a:pt x="1417" y="1766"/>
                </a:lnTo>
                <a:lnTo>
                  <a:pt x="1415" y="1768"/>
                </a:lnTo>
                <a:lnTo>
                  <a:pt x="1413" y="1769"/>
                </a:lnTo>
                <a:lnTo>
                  <a:pt x="1411" y="1771"/>
                </a:lnTo>
                <a:lnTo>
                  <a:pt x="1409" y="1771"/>
                </a:lnTo>
                <a:lnTo>
                  <a:pt x="1406" y="1772"/>
                </a:lnTo>
                <a:lnTo>
                  <a:pt x="1402" y="1771"/>
                </a:lnTo>
                <a:lnTo>
                  <a:pt x="1400" y="1770"/>
                </a:lnTo>
                <a:lnTo>
                  <a:pt x="1398" y="1769"/>
                </a:lnTo>
                <a:lnTo>
                  <a:pt x="1397" y="1767"/>
                </a:lnTo>
                <a:lnTo>
                  <a:pt x="1395" y="1765"/>
                </a:lnTo>
                <a:lnTo>
                  <a:pt x="1395" y="1763"/>
                </a:lnTo>
                <a:lnTo>
                  <a:pt x="1394" y="1760"/>
                </a:lnTo>
                <a:lnTo>
                  <a:pt x="1394" y="1758"/>
                </a:lnTo>
                <a:lnTo>
                  <a:pt x="1395" y="1756"/>
                </a:lnTo>
                <a:lnTo>
                  <a:pt x="1396" y="1754"/>
                </a:lnTo>
                <a:lnTo>
                  <a:pt x="1397" y="1752"/>
                </a:lnTo>
                <a:lnTo>
                  <a:pt x="1399" y="1750"/>
                </a:lnTo>
                <a:lnTo>
                  <a:pt x="1401" y="1749"/>
                </a:lnTo>
                <a:lnTo>
                  <a:pt x="1404" y="1748"/>
                </a:lnTo>
                <a:lnTo>
                  <a:pt x="1406" y="1748"/>
                </a:lnTo>
                <a:close/>
                <a:moveTo>
                  <a:pt x="1793" y="1723"/>
                </a:moveTo>
                <a:lnTo>
                  <a:pt x="1797" y="1724"/>
                </a:lnTo>
                <a:lnTo>
                  <a:pt x="1801" y="1726"/>
                </a:lnTo>
                <a:lnTo>
                  <a:pt x="1804" y="1729"/>
                </a:lnTo>
                <a:lnTo>
                  <a:pt x="1805" y="1731"/>
                </a:lnTo>
                <a:lnTo>
                  <a:pt x="1805" y="1733"/>
                </a:lnTo>
                <a:lnTo>
                  <a:pt x="1805" y="1736"/>
                </a:lnTo>
                <a:lnTo>
                  <a:pt x="1805" y="1738"/>
                </a:lnTo>
                <a:lnTo>
                  <a:pt x="1804" y="1740"/>
                </a:lnTo>
                <a:lnTo>
                  <a:pt x="1803" y="1742"/>
                </a:lnTo>
                <a:lnTo>
                  <a:pt x="1801" y="1744"/>
                </a:lnTo>
                <a:lnTo>
                  <a:pt x="1800" y="1745"/>
                </a:lnTo>
                <a:lnTo>
                  <a:pt x="1797" y="1746"/>
                </a:lnTo>
                <a:lnTo>
                  <a:pt x="1795" y="1747"/>
                </a:lnTo>
                <a:lnTo>
                  <a:pt x="1793" y="1747"/>
                </a:lnTo>
                <a:lnTo>
                  <a:pt x="1789" y="1746"/>
                </a:lnTo>
                <a:lnTo>
                  <a:pt x="1786" y="1744"/>
                </a:lnTo>
                <a:lnTo>
                  <a:pt x="1783" y="1741"/>
                </a:lnTo>
                <a:lnTo>
                  <a:pt x="1782" y="1739"/>
                </a:lnTo>
                <a:lnTo>
                  <a:pt x="1781" y="1737"/>
                </a:lnTo>
                <a:lnTo>
                  <a:pt x="1781" y="1734"/>
                </a:lnTo>
                <a:lnTo>
                  <a:pt x="1782" y="1732"/>
                </a:lnTo>
                <a:lnTo>
                  <a:pt x="1782" y="1730"/>
                </a:lnTo>
                <a:lnTo>
                  <a:pt x="1784" y="1728"/>
                </a:lnTo>
                <a:lnTo>
                  <a:pt x="1787" y="1725"/>
                </a:lnTo>
                <a:lnTo>
                  <a:pt x="1789" y="1724"/>
                </a:lnTo>
                <a:lnTo>
                  <a:pt x="1791" y="1723"/>
                </a:lnTo>
                <a:lnTo>
                  <a:pt x="1793" y="1723"/>
                </a:lnTo>
                <a:close/>
                <a:moveTo>
                  <a:pt x="1654" y="1700"/>
                </a:moveTo>
                <a:lnTo>
                  <a:pt x="1658" y="1700"/>
                </a:lnTo>
                <a:lnTo>
                  <a:pt x="1661" y="1702"/>
                </a:lnTo>
                <a:lnTo>
                  <a:pt x="1663" y="1703"/>
                </a:lnTo>
                <a:lnTo>
                  <a:pt x="1664" y="1705"/>
                </a:lnTo>
                <a:lnTo>
                  <a:pt x="1665" y="1707"/>
                </a:lnTo>
                <a:lnTo>
                  <a:pt x="1666" y="1709"/>
                </a:lnTo>
                <a:lnTo>
                  <a:pt x="1666" y="1711"/>
                </a:lnTo>
                <a:lnTo>
                  <a:pt x="1666" y="1714"/>
                </a:lnTo>
                <a:lnTo>
                  <a:pt x="1666" y="1716"/>
                </a:lnTo>
                <a:lnTo>
                  <a:pt x="1665" y="1718"/>
                </a:lnTo>
                <a:lnTo>
                  <a:pt x="1663" y="1721"/>
                </a:lnTo>
                <a:lnTo>
                  <a:pt x="1660" y="1723"/>
                </a:lnTo>
                <a:lnTo>
                  <a:pt x="1657" y="1724"/>
                </a:lnTo>
                <a:lnTo>
                  <a:pt x="1654" y="1724"/>
                </a:lnTo>
                <a:lnTo>
                  <a:pt x="1651" y="1724"/>
                </a:lnTo>
                <a:lnTo>
                  <a:pt x="1648" y="1722"/>
                </a:lnTo>
                <a:lnTo>
                  <a:pt x="1646" y="1721"/>
                </a:lnTo>
                <a:lnTo>
                  <a:pt x="1645" y="1719"/>
                </a:lnTo>
                <a:lnTo>
                  <a:pt x="1643" y="1717"/>
                </a:lnTo>
                <a:lnTo>
                  <a:pt x="1643" y="1715"/>
                </a:lnTo>
                <a:lnTo>
                  <a:pt x="1642" y="1713"/>
                </a:lnTo>
                <a:lnTo>
                  <a:pt x="1642" y="1710"/>
                </a:lnTo>
                <a:lnTo>
                  <a:pt x="1643" y="1708"/>
                </a:lnTo>
                <a:lnTo>
                  <a:pt x="1644" y="1706"/>
                </a:lnTo>
                <a:lnTo>
                  <a:pt x="1646" y="1703"/>
                </a:lnTo>
                <a:lnTo>
                  <a:pt x="1649" y="1701"/>
                </a:lnTo>
                <a:lnTo>
                  <a:pt x="1651" y="1700"/>
                </a:lnTo>
                <a:lnTo>
                  <a:pt x="1654" y="1700"/>
                </a:lnTo>
                <a:close/>
                <a:moveTo>
                  <a:pt x="1929" y="1675"/>
                </a:moveTo>
                <a:lnTo>
                  <a:pt x="1932" y="1675"/>
                </a:lnTo>
                <a:lnTo>
                  <a:pt x="1935" y="1676"/>
                </a:lnTo>
                <a:lnTo>
                  <a:pt x="1937" y="1678"/>
                </a:lnTo>
                <a:lnTo>
                  <a:pt x="1939" y="1681"/>
                </a:lnTo>
                <a:lnTo>
                  <a:pt x="1940" y="1683"/>
                </a:lnTo>
                <a:lnTo>
                  <a:pt x="1941" y="1687"/>
                </a:lnTo>
                <a:lnTo>
                  <a:pt x="1941" y="1689"/>
                </a:lnTo>
                <a:lnTo>
                  <a:pt x="1940" y="1691"/>
                </a:lnTo>
                <a:lnTo>
                  <a:pt x="1939" y="1693"/>
                </a:lnTo>
                <a:lnTo>
                  <a:pt x="1938" y="1695"/>
                </a:lnTo>
                <a:lnTo>
                  <a:pt x="1936" y="1697"/>
                </a:lnTo>
                <a:lnTo>
                  <a:pt x="1934" y="1698"/>
                </a:lnTo>
                <a:lnTo>
                  <a:pt x="1931" y="1699"/>
                </a:lnTo>
                <a:lnTo>
                  <a:pt x="1929" y="1700"/>
                </a:lnTo>
                <a:lnTo>
                  <a:pt x="1925" y="1699"/>
                </a:lnTo>
                <a:lnTo>
                  <a:pt x="1922" y="1698"/>
                </a:lnTo>
                <a:lnTo>
                  <a:pt x="1920" y="1696"/>
                </a:lnTo>
                <a:lnTo>
                  <a:pt x="1918" y="1693"/>
                </a:lnTo>
                <a:lnTo>
                  <a:pt x="1917" y="1691"/>
                </a:lnTo>
                <a:lnTo>
                  <a:pt x="1917" y="1689"/>
                </a:lnTo>
                <a:lnTo>
                  <a:pt x="1917" y="1685"/>
                </a:lnTo>
                <a:lnTo>
                  <a:pt x="1917" y="1683"/>
                </a:lnTo>
                <a:lnTo>
                  <a:pt x="1918" y="1681"/>
                </a:lnTo>
                <a:lnTo>
                  <a:pt x="1919" y="1679"/>
                </a:lnTo>
                <a:lnTo>
                  <a:pt x="1921" y="1677"/>
                </a:lnTo>
                <a:lnTo>
                  <a:pt x="1923" y="1676"/>
                </a:lnTo>
                <a:lnTo>
                  <a:pt x="1926" y="1675"/>
                </a:lnTo>
                <a:lnTo>
                  <a:pt x="1929" y="1675"/>
                </a:lnTo>
                <a:close/>
                <a:moveTo>
                  <a:pt x="1520" y="1663"/>
                </a:moveTo>
                <a:lnTo>
                  <a:pt x="1524" y="1663"/>
                </a:lnTo>
                <a:lnTo>
                  <a:pt x="1528" y="1665"/>
                </a:lnTo>
                <a:lnTo>
                  <a:pt x="1530" y="1668"/>
                </a:lnTo>
                <a:lnTo>
                  <a:pt x="1532" y="1672"/>
                </a:lnTo>
                <a:lnTo>
                  <a:pt x="1532" y="1674"/>
                </a:lnTo>
                <a:lnTo>
                  <a:pt x="1532" y="1676"/>
                </a:lnTo>
                <a:lnTo>
                  <a:pt x="1532" y="1679"/>
                </a:lnTo>
                <a:lnTo>
                  <a:pt x="1531" y="1681"/>
                </a:lnTo>
                <a:lnTo>
                  <a:pt x="1530" y="1683"/>
                </a:lnTo>
                <a:lnTo>
                  <a:pt x="1528" y="1684"/>
                </a:lnTo>
                <a:lnTo>
                  <a:pt x="1526" y="1685"/>
                </a:lnTo>
                <a:lnTo>
                  <a:pt x="1524" y="1687"/>
                </a:lnTo>
                <a:lnTo>
                  <a:pt x="1520" y="1688"/>
                </a:lnTo>
                <a:lnTo>
                  <a:pt x="1517" y="1687"/>
                </a:lnTo>
                <a:lnTo>
                  <a:pt x="1513" y="1684"/>
                </a:lnTo>
                <a:lnTo>
                  <a:pt x="1511" y="1681"/>
                </a:lnTo>
                <a:lnTo>
                  <a:pt x="1509" y="1678"/>
                </a:lnTo>
                <a:lnTo>
                  <a:pt x="1509" y="1675"/>
                </a:lnTo>
                <a:lnTo>
                  <a:pt x="1509" y="1673"/>
                </a:lnTo>
                <a:lnTo>
                  <a:pt x="1509" y="1671"/>
                </a:lnTo>
                <a:lnTo>
                  <a:pt x="1510" y="1669"/>
                </a:lnTo>
                <a:lnTo>
                  <a:pt x="1511" y="1667"/>
                </a:lnTo>
                <a:lnTo>
                  <a:pt x="1513" y="1665"/>
                </a:lnTo>
                <a:lnTo>
                  <a:pt x="1515" y="1664"/>
                </a:lnTo>
                <a:lnTo>
                  <a:pt x="1517" y="1663"/>
                </a:lnTo>
                <a:lnTo>
                  <a:pt x="1520" y="1663"/>
                </a:lnTo>
                <a:close/>
                <a:moveTo>
                  <a:pt x="2050" y="1597"/>
                </a:moveTo>
                <a:lnTo>
                  <a:pt x="2053" y="1598"/>
                </a:lnTo>
                <a:lnTo>
                  <a:pt x="2055" y="1598"/>
                </a:lnTo>
                <a:lnTo>
                  <a:pt x="2058" y="1600"/>
                </a:lnTo>
                <a:lnTo>
                  <a:pt x="2060" y="1602"/>
                </a:lnTo>
                <a:lnTo>
                  <a:pt x="2061" y="1604"/>
                </a:lnTo>
                <a:lnTo>
                  <a:pt x="2062" y="1606"/>
                </a:lnTo>
                <a:lnTo>
                  <a:pt x="2062" y="1609"/>
                </a:lnTo>
                <a:lnTo>
                  <a:pt x="2062" y="1611"/>
                </a:lnTo>
                <a:lnTo>
                  <a:pt x="2061" y="1613"/>
                </a:lnTo>
                <a:lnTo>
                  <a:pt x="2060" y="1615"/>
                </a:lnTo>
                <a:lnTo>
                  <a:pt x="2059" y="1617"/>
                </a:lnTo>
                <a:lnTo>
                  <a:pt x="2057" y="1619"/>
                </a:lnTo>
                <a:lnTo>
                  <a:pt x="2055" y="1620"/>
                </a:lnTo>
                <a:lnTo>
                  <a:pt x="2054" y="1621"/>
                </a:lnTo>
                <a:lnTo>
                  <a:pt x="2052" y="1621"/>
                </a:lnTo>
                <a:lnTo>
                  <a:pt x="2050" y="1621"/>
                </a:lnTo>
                <a:lnTo>
                  <a:pt x="2047" y="1621"/>
                </a:lnTo>
                <a:lnTo>
                  <a:pt x="2045" y="1620"/>
                </a:lnTo>
                <a:lnTo>
                  <a:pt x="2042" y="1619"/>
                </a:lnTo>
                <a:lnTo>
                  <a:pt x="2040" y="1616"/>
                </a:lnTo>
                <a:lnTo>
                  <a:pt x="2039" y="1614"/>
                </a:lnTo>
                <a:lnTo>
                  <a:pt x="2038" y="1612"/>
                </a:lnTo>
                <a:lnTo>
                  <a:pt x="2038" y="1610"/>
                </a:lnTo>
                <a:lnTo>
                  <a:pt x="2038" y="1608"/>
                </a:lnTo>
                <a:lnTo>
                  <a:pt x="2039" y="1605"/>
                </a:lnTo>
                <a:lnTo>
                  <a:pt x="2040" y="1603"/>
                </a:lnTo>
                <a:lnTo>
                  <a:pt x="2041" y="1601"/>
                </a:lnTo>
                <a:lnTo>
                  <a:pt x="2043" y="1600"/>
                </a:lnTo>
                <a:lnTo>
                  <a:pt x="2044" y="1599"/>
                </a:lnTo>
                <a:lnTo>
                  <a:pt x="2046" y="1598"/>
                </a:lnTo>
                <a:lnTo>
                  <a:pt x="2048" y="1597"/>
                </a:lnTo>
                <a:lnTo>
                  <a:pt x="2050" y="1597"/>
                </a:lnTo>
                <a:close/>
                <a:moveTo>
                  <a:pt x="2160" y="1505"/>
                </a:moveTo>
                <a:lnTo>
                  <a:pt x="2163" y="1505"/>
                </a:lnTo>
                <a:lnTo>
                  <a:pt x="2165" y="1506"/>
                </a:lnTo>
                <a:lnTo>
                  <a:pt x="2167" y="1507"/>
                </a:lnTo>
                <a:lnTo>
                  <a:pt x="2169" y="1508"/>
                </a:lnTo>
                <a:lnTo>
                  <a:pt x="2171" y="1510"/>
                </a:lnTo>
                <a:lnTo>
                  <a:pt x="2172" y="1512"/>
                </a:lnTo>
                <a:lnTo>
                  <a:pt x="2172" y="1517"/>
                </a:lnTo>
                <a:lnTo>
                  <a:pt x="2172" y="1519"/>
                </a:lnTo>
                <a:lnTo>
                  <a:pt x="2171" y="1522"/>
                </a:lnTo>
                <a:lnTo>
                  <a:pt x="2170" y="1524"/>
                </a:lnTo>
                <a:lnTo>
                  <a:pt x="2169" y="1525"/>
                </a:lnTo>
                <a:lnTo>
                  <a:pt x="2165" y="1528"/>
                </a:lnTo>
                <a:lnTo>
                  <a:pt x="2160" y="1529"/>
                </a:lnTo>
                <a:lnTo>
                  <a:pt x="2158" y="1528"/>
                </a:lnTo>
                <a:lnTo>
                  <a:pt x="2156" y="1528"/>
                </a:lnTo>
                <a:lnTo>
                  <a:pt x="2153" y="1526"/>
                </a:lnTo>
                <a:lnTo>
                  <a:pt x="2152" y="1525"/>
                </a:lnTo>
                <a:lnTo>
                  <a:pt x="2150" y="1523"/>
                </a:lnTo>
                <a:lnTo>
                  <a:pt x="2149" y="1521"/>
                </a:lnTo>
                <a:lnTo>
                  <a:pt x="2148" y="1516"/>
                </a:lnTo>
                <a:lnTo>
                  <a:pt x="2149" y="1514"/>
                </a:lnTo>
                <a:lnTo>
                  <a:pt x="2149" y="1512"/>
                </a:lnTo>
                <a:lnTo>
                  <a:pt x="2151" y="1510"/>
                </a:lnTo>
                <a:lnTo>
                  <a:pt x="2152" y="1508"/>
                </a:lnTo>
                <a:lnTo>
                  <a:pt x="2156" y="1505"/>
                </a:lnTo>
                <a:lnTo>
                  <a:pt x="2160" y="1505"/>
                </a:lnTo>
                <a:close/>
                <a:moveTo>
                  <a:pt x="2261" y="1402"/>
                </a:moveTo>
                <a:lnTo>
                  <a:pt x="2266" y="1403"/>
                </a:lnTo>
                <a:lnTo>
                  <a:pt x="2268" y="1404"/>
                </a:lnTo>
                <a:lnTo>
                  <a:pt x="2270" y="1405"/>
                </a:lnTo>
                <a:lnTo>
                  <a:pt x="2271" y="1407"/>
                </a:lnTo>
                <a:lnTo>
                  <a:pt x="2272" y="1409"/>
                </a:lnTo>
                <a:lnTo>
                  <a:pt x="2273" y="1411"/>
                </a:lnTo>
                <a:lnTo>
                  <a:pt x="2273" y="1413"/>
                </a:lnTo>
                <a:lnTo>
                  <a:pt x="2273" y="1418"/>
                </a:lnTo>
                <a:lnTo>
                  <a:pt x="2272" y="1420"/>
                </a:lnTo>
                <a:lnTo>
                  <a:pt x="2270" y="1422"/>
                </a:lnTo>
                <a:lnTo>
                  <a:pt x="2268" y="1424"/>
                </a:lnTo>
                <a:lnTo>
                  <a:pt x="2266" y="1425"/>
                </a:lnTo>
                <a:lnTo>
                  <a:pt x="2264" y="1426"/>
                </a:lnTo>
                <a:lnTo>
                  <a:pt x="2261" y="1426"/>
                </a:lnTo>
                <a:lnTo>
                  <a:pt x="2257" y="1425"/>
                </a:lnTo>
                <a:lnTo>
                  <a:pt x="2255" y="1424"/>
                </a:lnTo>
                <a:lnTo>
                  <a:pt x="2253" y="1423"/>
                </a:lnTo>
                <a:lnTo>
                  <a:pt x="2252" y="1421"/>
                </a:lnTo>
                <a:lnTo>
                  <a:pt x="2251" y="1419"/>
                </a:lnTo>
                <a:lnTo>
                  <a:pt x="2250" y="1417"/>
                </a:lnTo>
                <a:lnTo>
                  <a:pt x="2249" y="1415"/>
                </a:lnTo>
                <a:lnTo>
                  <a:pt x="2250" y="1410"/>
                </a:lnTo>
                <a:lnTo>
                  <a:pt x="2251" y="1408"/>
                </a:lnTo>
                <a:lnTo>
                  <a:pt x="2253" y="1406"/>
                </a:lnTo>
                <a:lnTo>
                  <a:pt x="2255" y="1404"/>
                </a:lnTo>
                <a:lnTo>
                  <a:pt x="2257" y="1403"/>
                </a:lnTo>
                <a:lnTo>
                  <a:pt x="2259" y="1402"/>
                </a:lnTo>
                <a:lnTo>
                  <a:pt x="2261" y="1402"/>
                </a:lnTo>
                <a:close/>
                <a:moveTo>
                  <a:pt x="2354" y="1291"/>
                </a:moveTo>
                <a:lnTo>
                  <a:pt x="2358" y="1292"/>
                </a:lnTo>
                <a:lnTo>
                  <a:pt x="2361" y="1294"/>
                </a:lnTo>
                <a:lnTo>
                  <a:pt x="2364" y="1297"/>
                </a:lnTo>
                <a:lnTo>
                  <a:pt x="2365" y="1299"/>
                </a:lnTo>
                <a:lnTo>
                  <a:pt x="2366" y="1302"/>
                </a:lnTo>
                <a:lnTo>
                  <a:pt x="2366" y="1304"/>
                </a:lnTo>
                <a:lnTo>
                  <a:pt x="2365" y="1306"/>
                </a:lnTo>
                <a:lnTo>
                  <a:pt x="2365" y="1309"/>
                </a:lnTo>
                <a:lnTo>
                  <a:pt x="2363" y="1311"/>
                </a:lnTo>
                <a:lnTo>
                  <a:pt x="2361" y="1313"/>
                </a:lnTo>
                <a:lnTo>
                  <a:pt x="2359" y="1314"/>
                </a:lnTo>
                <a:lnTo>
                  <a:pt x="2356" y="1315"/>
                </a:lnTo>
                <a:lnTo>
                  <a:pt x="2354" y="1315"/>
                </a:lnTo>
                <a:lnTo>
                  <a:pt x="2350" y="1315"/>
                </a:lnTo>
                <a:lnTo>
                  <a:pt x="2347" y="1313"/>
                </a:lnTo>
                <a:lnTo>
                  <a:pt x="2343" y="1309"/>
                </a:lnTo>
                <a:lnTo>
                  <a:pt x="2342" y="1307"/>
                </a:lnTo>
                <a:lnTo>
                  <a:pt x="2342" y="1305"/>
                </a:lnTo>
                <a:lnTo>
                  <a:pt x="2342" y="1303"/>
                </a:lnTo>
                <a:lnTo>
                  <a:pt x="2342" y="1300"/>
                </a:lnTo>
                <a:lnTo>
                  <a:pt x="2343" y="1298"/>
                </a:lnTo>
                <a:lnTo>
                  <a:pt x="2344" y="1296"/>
                </a:lnTo>
                <a:lnTo>
                  <a:pt x="2346" y="1294"/>
                </a:lnTo>
                <a:lnTo>
                  <a:pt x="2349" y="1292"/>
                </a:lnTo>
                <a:lnTo>
                  <a:pt x="2351" y="1292"/>
                </a:lnTo>
                <a:lnTo>
                  <a:pt x="2354" y="1291"/>
                </a:lnTo>
                <a:close/>
                <a:moveTo>
                  <a:pt x="2436" y="1173"/>
                </a:moveTo>
                <a:lnTo>
                  <a:pt x="2439" y="1173"/>
                </a:lnTo>
                <a:lnTo>
                  <a:pt x="2442" y="1175"/>
                </a:lnTo>
                <a:lnTo>
                  <a:pt x="2445" y="1176"/>
                </a:lnTo>
                <a:lnTo>
                  <a:pt x="2447" y="1178"/>
                </a:lnTo>
                <a:lnTo>
                  <a:pt x="2448" y="1180"/>
                </a:lnTo>
                <a:lnTo>
                  <a:pt x="2449" y="1182"/>
                </a:lnTo>
                <a:lnTo>
                  <a:pt x="2449" y="1185"/>
                </a:lnTo>
                <a:lnTo>
                  <a:pt x="2449" y="1187"/>
                </a:lnTo>
                <a:lnTo>
                  <a:pt x="2448" y="1189"/>
                </a:lnTo>
                <a:lnTo>
                  <a:pt x="2447" y="1191"/>
                </a:lnTo>
                <a:lnTo>
                  <a:pt x="2445" y="1194"/>
                </a:lnTo>
                <a:lnTo>
                  <a:pt x="2442" y="1196"/>
                </a:lnTo>
                <a:lnTo>
                  <a:pt x="2439" y="1197"/>
                </a:lnTo>
                <a:lnTo>
                  <a:pt x="2436" y="1197"/>
                </a:lnTo>
                <a:lnTo>
                  <a:pt x="2433" y="1197"/>
                </a:lnTo>
                <a:lnTo>
                  <a:pt x="2430" y="1195"/>
                </a:lnTo>
                <a:lnTo>
                  <a:pt x="2428" y="1194"/>
                </a:lnTo>
                <a:lnTo>
                  <a:pt x="2426" y="1192"/>
                </a:lnTo>
                <a:lnTo>
                  <a:pt x="2425" y="1190"/>
                </a:lnTo>
                <a:lnTo>
                  <a:pt x="2424" y="1188"/>
                </a:lnTo>
                <a:lnTo>
                  <a:pt x="2424" y="1185"/>
                </a:lnTo>
                <a:lnTo>
                  <a:pt x="2424" y="1183"/>
                </a:lnTo>
                <a:lnTo>
                  <a:pt x="2425" y="1181"/>
                </a:lnTo>
                <a:lnTo>
                  <a:pt x="2426" y="1179"/>
                </a:lnTo>
                <a:lnTo>
                  <a:pt x="2428" y="1176"/>
                </a:lnTo>
                <a:lnTo>
                  <a:pt x="2430" y="1174"/>
                </a:lnTo>
                <a:lnTo>
                  <a:pt x="2433" y="1173"/>
                </a:lnTo>
                <a:lnTo>
                  <a:pt x="2436" y="1173"/>
                </a:lnTo>
                <a:close/>
                <a:moveTo>
                  <a:pt x="2505" y="1046"/>
                </a:moveTo>
                <a:lnTo>
                  <a:pt x="2507" y="1046"/>
                </a:lnTo>
                <a:lnTo>
                  <a:pt x="2509" y="1047"/>
                </a:lnTo>
                <a:lnTo>
                  <a:pt x="2511" y="1048"/>
                </a:lnTo>
                <a:lnTo>
                  <a:pt x="2513" y="1049"/>
                </a:lnTo>
                <a:lnTo>
                  <a:pt x="2516" y="1053"/>
                </a:lnTo>
                <a:lnTo>
                  <a:pt x="2516" y="1055"/>
                </a:lnTo>
                <a:lnTo>
                  <a:pt x="2517" y="1058"/>
                </a:lnTo>
                <a:lnTo>
                  <a:pt x="2516" y="1060"/>
                </a:lnTo>
                <a:lnTo>
                  <a:pt x="2516" y="1062"/>
                </a:lnTo>
                <a:lnTo>
                  <a:pt x="2515" y="1064"/>
                </a:lnTo>
                <a:lnTo>
                  <a:pt x="2514" y="1066"/>
                </a:lnTo>
                <a:lnTo>
                  <a:pt x="2511" y="1068"/>
                </a:lnTo>
                <a:lnTo>
                  <a:pt x="2508" y="1069"/>
                </a:lnTo>
                <a:lnTo>
                  <a:pt x="2505" y="1070"/>
                </a:lnTo>
                <a:lnTo>
                  <a:pt x="2502" y="1070"/>
                </a:lnTo>
                <a:lnTo>
                  <a:pt x="2500" y="1069"/>
                </a:lnTo>
                <a:lnTo>
                  <a:pt x="2498" y="1068"/>
                </a:lnTo>
                <a:lnTo>
                  <a:pt x="2496" y="1066"/>
                </a:lnTo>
                <a:lnTo>
                  <a:pt x="2493" y="1062"/>
                </a:lnTo>
                <a:lnTo>
                  <a:pt x="2493" y="1060"/>
                </a:lnTo>
                <a:lnTo>
                  <a:pt x="2493" y="1058"/>
                </a:lnTo>
                <a:lnTo>
                  <a:pt x="2493" y="1055"/>
                </a:lnTo>
                <a:lnTo>
                  <a:pt x="2494" y="1053"/>
                </a:lnTo>
                <a:lnTo>
                  <a:pt x="2494" y="1051"/>
                </a:lnTo>
                <a:lnTo>
                  <a:pt x="2495" y="1050"/>
                </a:lnTo>
                <a:lnTo>
                  <a:pt x="2498" y="1048"/>
                </a:lnTo>
                <a:lnTo>
                  <a:pt x="2501" y="1046"/>
                </a:lnTo>
                <a:lnTo>
                  <a:pt x="2505" y="1046"/>
                </a:lnTo>
                <a:close/>
                <a:moveTo>
                  <a:pt x="2556" y="911"/>
                </a:moveTo>
                <a:lnTo>
                  <a:pt x="2560" y="912"/>
                </a:lnTo>
                <a:lnTo>
                  <a:pt x="2562" y="913"/>
                </a:lnTo>
                <a:lnTo>
                  <a:pt x="2564" y="914"/>
                </a:lnTo>
                <a:lnTo>
                  <a:pt x="2566" y="916"/>
                </a:lnTo>
                <a:lnTo>
                  <a:pt x="2567" y="918"/>
                </a:lnTo>
                <a:lnTo>
                  <a:pt x="2567" y="920"/>
                </a:lnTo>
                <a:lnTo>
                  <a:pt x="2568" y="923"/>
                </a:lnTo>
                <a:lnTo>
                  <a:pt x="2567" y="927"/>
                </a:lnTo>
                <a:lnTo>
                  <a:pt x="2565" y="930"/>
                </a:lnTo>
                <a:lnTo>
                  <a:pt x="2562" y="933"/>
                </a:lnTo>
                <a:lnTo>
                  <a:pt x="2561" y="934"/>
                </a:lnTo>
                <a:lnTo>
                  <a:pt x="2559" y="934"/>
                </a:lnTo>
                <a:lnTo>
                  <a:pt x="2556" y="935"/>
                </a:lnTo>
                <a:lnTo>
                  <a:pt x="2551" y="934"/>
                </a:lnTo>
                <a:lnTo>
                  <a:pt x="2549" y="933"/>
                </a:lnTo>
                <a:lnTo>
                  <a:pt x="2547" y="932"/>
                </a:lnTo>
                <a:lnTo>
                  <a:pt x="2546" y="930"/>
                </a:lnTo>
                <a:lnTo>
                  <a:pt x="2545" y="928"/>
                </a:lnTo>
                <a:lnTo>
                  <a:pt x="2544" y="926"/>
                </a:lnTo>
                <a:lnTo>
                  <a:pt x="2544" y="923"/>
                </a:lnTo>
                <a:lnTo>
                  <a:pt x="2545" y="919"/>
                </a:lnTo>
                <a:lnTo>
                  <a:pt x="2546" y="915"/>
                </a:lnTo>
                <a:lnTo>
                  <a:pt x="2549" y="913"/>
                </a:lnTo>
                <a:lnTo>
                  <a:pt x="2551" y="912"/>
                </a:lnTo>
                <a:lnTo>
                  <a:pt x="2552" y="911"/>
                </a:lnTo>
                <a:lnTo>
                  <a:pt x="2556" y="911"/>
                </a:lnTo>
                <a:close/>
                <a:moveTo>
                  <a:pt x="2611" y="778"/>
                </a:moveTo>
                <a:lnTo>
                  <a:pt x="2613" y="778"/>
                </a:lnTo>
                <a:lnTo>
                  <a:pt x="2616" y="779"/>
                </a:lnTo>
                <a:lnTo>
                  <a:pt x="2618" y="780"/>
                </a:lnTo>
                <a:lnTo>
                  <a:pt x="2620" y="781"/>
                </a:lnTo>
                <a:lnTo>
                  <a:pt x="2621" y="783"/>
                </a:lnTo>
                <a:lnTo>
                  <a:pt x="2622" y="785"/>
                </a:lnTo>
                <a:lnTo>
                  <a:pt x="2623" y="790"/>
                </a:lnTo>
                <a:lnTo>
                  <a:pt x="2623" y="792"/>
                </a:lnTo>
                <a:lnTo>
                  <a:pt x="2622" y="794"/>
                </a:lnTo>
                <a:lnTo>
                  <a:pt x="2620" y="797"/>
                </a:lnTo>
                <a:lnTo>
                  <a:pt x="2617" y="800"/>
                </a:lnTo>
                <a:lnTo>
                  <a:pt x="2614" y="801"/>
                </a:lnTo>
                <a:lnTo>
                  <a:pt x="2611" y="802"/>
                </a:lnTo>
                <a:lnTo>
                  <a:pt x="2608" y="801"/>
                </a:lnTo>
                <a:lnTo>
                  <a:pt x="2606" y="801"/>
                </a:lnTo>
                <a:lnTo>
                  <a:pt x="2604" y="799"/>
                </a:lnTo>
                <a:lnTo>
                  <a:pt x="2602" y="798"/>
                </a:lnTo>
                <a:lnTo>
                  <a:pt x="2601" y="796"/>
                </a:lnTo>
                <a:lnTo>
                  <a:pt x="2600" y="794"/>
                </a:lnTo>
                <a:lnTo>
                  <a:pt x="2599" y="789"/>
                </a:lnTo>
                <a:lnTo>
                  <a:pt x="2599" y="787"/>
                </a:lnTo>
                <a:lnTo>
                  <a:pt x="2600" y="785"/>
                </a:lnTo>
                <a:lnTo>
                  <a:pt x="2602" y="782"/>
                </a:lnTo>
                <a:lnTo>
                  <a:pt x="2604" y="779"/>
                </a:lnTo>
                <a:lnTo>
                  <a:pt x="2607" y="778"/>
                </a:lnTo>
                <a:lnTo>
                  <a:pt x="2611" y="778"/>
                </a:lnTo>
                <a:close/>
                <a:moveTo>
                  <a:pt x="2673" y="648"/>
                </a:moveTo>
                <a:lnTo>
                  <a:pt x="2676" y="648"/>
                </a:lnTo>
                <a:lnTo>
                  <a:pt x="2679" y="649"/>
                </a:lnTo>
                <a:lnTo>
                  <a:pt x="2681" y="650"/>
                </a:lnTo>
                <a:lnTo>
                  <a:pt x="2683" y="652"/>
                </a:lnTo>
                <a:lnTo>
                  <a:pt x="2684" y="654"/>
                </a:lnTo>
                <a:lnTo>
                  <a:pt x="2685" y="656"/>
                </a:lnTo>
                <a:lnTo>
                  <a:pt x="2685" y="658"/>
                </a:lnTo>
                <a:lnTo>
                  <a:pt x="2685" y="661"/>
                </a:lnTo>
                <a:lnTo>
                  <a:pt x="2685" y="663"/>
                </a:lnTo>
                <a:lnTo>
                  <a:pt x="2684" y="665"/>
                </a:lnTo>
                <a:lnTo>
                  <a:pt x="2682" y="668"/>
                </a:lnTo>
                <a:lnTo>
                  <a:pt x="2679" y="670"/>
                </a:lnTo>
                <a:lnTo>
                  <a:pt x="2676" y="671"/>
                </a:lnTo>
                <a:lnTo>
                  <a:pt x="2673" y="672"/>
                </a:lnTo>
                <a:lnTo>
                  <a:pt x="2670" y="671"/>
                </a:lnTo>
                <a:lnTo>
                  <a:pt x="2668" y="670"/>
                </a:lnTo>
                <a:lnTo>
                  <a:pt x="2666" y="669"/>
                </a:lnTo>
                <a:lnTo>
                  <a:pt x="2664" y="667"/>
                </a:lnTo>
                <a:lnTo>
                  <a:pt x="2663" y="665"/>
                </a:lnTo>
                <a:lnTo>
                  <a:pt x="2662" y="663"/>
                </a:lnTo>
                <a:lnTo>
                  <a:pt x="2661" y="661"/>
                </a:lnTo>
                <a:lnTo>
                  <a:pt x="2661" y="659"/>
                </a:lnTo>
                <a:lnTo>
                  <a:pt x="2662" y="656"/>
                </a:lnTo>
                <a:lnTo>
                  <a:pt x="2663" y="654"/>
                </a:lnTo>
                <a:lnTo>
                  <a:pt x="2665" y="651"/>
                </a:lnTo>
                <a:lnTo>
                  <a:pt x="2667" y="649"/>
                </a:lnTo>
                <a:lnTo>
                  <a:pt x="2670" y="648"/>
                </a:lnTo>
                <a:lnTo>
                  <a:pt x="2673" y="648"/>
                </a:lnTo>
                <a:close/>
                <a:moveTo>
                  <a:pt x="2744" y="521"/>
                </a:moveTo>
                <a:lnTo>
                  <a:pt x="2748" y="522"/>
                </a:lnTo>
                <a:lnTo>
                  <a:pt x="2751" y="523"/>
                </a:lnTo>
                <a:lnTo>
                  <a:pt x="2753" y="525"/>
                </a:lnTo>
                <a:lnTo>
                  <a:pt x="2754" y="527"/>
                </a:lnTo>
                <a:lnTo>
                  <a:pt x="2755" y="529"/>
                </a:lnTo>
                <a:lnTo>
                  <a:pt x="2756" y="531"/>
                </a:lnTo>
                <a:lnTo>
                  <a:pt x="2756" y="533"/>
                </a:lnTo>
                <a:lnTo>
                  <a:pt x="2756" y="535"/>
                </a:lnTo>
                <a:lnTo>
                  <a:pt x="2756" y="538"/>
                </a:lnTo>
                <a:lnTo>
                  <a:pt x="2755" y="540"/>
                </a:lnTo>
                <a:lnTo>
                  <a:pt x="2753" y="542"/>
                </a:lnTo>
                <a:lnTo>
                  <a:pt x="2750" y="544"/>
                </a:lnTo>
                <a:lnTo>
                  <a:pt x="2747" y="545"/>
                </a:lnTo>
                <a:lnTo>
                  <a:pt x="2744" y="545"/>
                </a:lnTo>
                <a:lnTo>
                  <a:pt x="2741" y="545"/>
                </a:lnTo>
                <a:lnTo>
                  <a:pt x="2738" y="544"/>
                </a:lnTo>
                <a:lnTo>
                  <a:pt x="2736" y="542"/>
                </a:lnTo>
                <a:lnTo>
                  <a:pt x="2735" y="540"/>
                </a:lnTo>
                <a:lnTo>
                  <a:pt x="2734" y="538"/>
                </a:lnTo>
                <a:lnTo>
                  <a:pt x="2733" y="536"/>
                </a:lnTo>
                <a:lnTo>
                  <a:pt x="2732" y="534"/>
                </a:lnTo>
                <a:lnTo>
                  <a:pt x="2733" y="532"/>
                </a:lnTo>
                <a:lnTo>
                  <a:pt x="2733" y="529"/>
                </a:lnTo>
                <a:lnTo>
                  <a:pt x="2734" y="527"/>
                </a:lnTo>
                <a:lnTo>
                  <a:pt x="2736" y="525"/>
                </a:lnTo>
                <a:lnTo>
                  <a:pt x="2739" y="523"/>
                </a:lnTo>
                <a:lnTo>
                  <a:pt x="2741" y="522"/>
                </a:lnTo>
                <a:lnTo>
                  <a:pt x="2744" y="521"/>
                </a:lnTo>
                <a:close/>
                <a:moveTo>
                  <a:pt x="2825" y="402"/>
                </a:moveTo>
                <a:lnTo>
                  <a:pt x="2829" y="403"/>
                </a:lnTo>
                <a:lnTo>
                  <a:pt x="2832" y="404"/>
                </a:lnTo>
                <a:lnTo>
                  <a:pt x="2834" y="406"/>
                </a:lnTo>
                <a:lnTo>
                  <a:pt x="2835" y="408"/>
                </a:lnTo>
                <a:lnTo>
                  <a:pt x="2836" y="410"/>
                </a:lnTo>
                <a:lnTo>
                  <a:pt x="2837" y="412"/>
                </a:lnTo>
                <a:lnTo>
                  <a:pt x="2837" y="415"/>
                </a:lnTo>
                <a:lnTo>
                  <a:pt x="2837" y="417"/>
                </a:lnTo>
                <a:lnTo>
                  <a:pt x="2836" y="419"/>
                </a:lnTo>
                <a:lnTo>
                  <a:pt x="2835" y="421"/>
                </a:lnTo>
                <a:lnTo>
                  <a:pt x="2833" y="423"/>
                </a:lnTo>
                <a:lnTo>
                  <a:pt x="2830" y="425"/>
                </a:lnTo>
                <a:lnTo>
                  <a:pt x="2828" y="426"/>
                </a:lnTo>
                <a:lnTo>
                  <a:pt x="2825" y="426"/>
                </a:lnTo>
                <a:lnTo>
                  <a:pt x="2821" y="426"/>
                </a:lnTo>
                <a:lnTo>
                  <a:pt x="2818" y="424"/>
                </a:lnTo>
                <a:lnTo>
                  <a:pt x="2816" y="422"/>
                </a:lnTo>
                <a:lnTo>
                  <a:pt x="2815" y="420"/>
                </a:lnTo>
                <a:lnTo>
                  <a:pt x="2814" y="418"/>
                </a:lnTo>
                <a:lnTo>
                  <a:pt x="2813" y="416"/>
                </a:lnTo>
                <a:lnTo>
                  <a:pt x="2813" y="414"/>
                </a:lnTo>
                <a:lnTo>
                  <a:pt x="2813" y="411"/>
                </a:lnTo>
                <a:lnTo>
                  <a:pt x="2814" y="409"/>
                </a:lnTo>
                <a:lnTo>
                  <a:pt x="2815" y="407"/>
                </a:lnTo>
                <a:lnTo>
                  <a:pt x="2817" y="405"/>
                </a:lnTo>
                <a:lnTo>
                  <a:pt x="2820" y="403"/>
                </a:lnTo>
                <a:lnTo>
                  <a:pt x="2822" y="402"/>
                </a:lnTo>
                <a:lnTo>
                  <a:pt x="2825" y="402"/>
                </a:lnTo>
                <a:close/>
                <a:moveTo>
                  <a:pt x="2916" y="290"/>
                </a:moveTo>
                <a:lnTo>
                  <a:pt x="2920" y="291"/>
                </a:lnTo>
                <a:lnTo>
                  <a:pt x="2922" y="292"/>
                </a:lnTo>
                <a:lnTo>
                  <a:pt x="2924" y="293"/>
                </a:lnTo>
                <a:lnTo>
                  <a:pt x="2925" y="295"/>
                </a:lnTo>
                <a:lnTo>
                  <a:pt x="2927" y="297"/>
                </a:lnTo>
                <a:lnTo>
                  <a:pt x="2927" y="299"/>
                </a:lnTo>
                <a:lnTo>
                  <a:pt x="2928" y="302"/>
                </a:lnTo>
                <a:lnTo>
                  <a:pt x="2928" y="304"/>
                </a:lnTo>
                <a:lnTo>
                  <a:pt x="2927" y="306"/>
                </a:lnTo>
                <a:lnTo>
                  <a:pt x="2926" y="308"/>
                </a:lnTo>
                <a:lnTo>
                  <a:pt x="2925" y="310"/>
                </a:lnTo>
                <a:lnTo>
                  <a:pt x="2923" y="312"/>
                </a:lnTo>
                <a:lnTo>
                  <a:pt x="2921" y="313"/>
                </a:lnTo>
                <a:lnTo>
                  <a:pt x="2918" y="314"/>
                </a:lnTo>
                <a:lnTo>
                  <a:pt x="2916" y="314"/>
                </a:lnTo>
                <a:lnTo>
                  <a:pt x="2912" y="314"/>
                </a:lnTo>
                <a:lnTo>
                  <a:pt x="2910" y="313"/>
                </a:lnTo>
                <a:lnTo>
                  <a:pt x="2908" y="311"/>
                </a:lnTo>
                <a:lnTo>
                  <a:pt x="2906" y="309"/>
                </a:lnTo>
                <a:lnTo>
                  <a:pt x="2905" y="307"/>
                </a:lnTo>
                <a:lnTo>
                  <a:pt x="2904" y="305"/>
                </a:lnTo>
                <a:lnTo>
                  <a:pt x="2904" y="303"/>
                </a:lnTo>
                <a:lnTo>
                  <a:pt x="2904" y="301"/>
                </a:lnTo>
                <a:lnTo>
                  <a:pt x="2904" y="298"/>
                </a:lnTo>
                <a:lnTo>
                  <a:pt x="2905" y="296"/>
                </a:lnTo>
                <a:lnTo>
                  <a:pt x="2907" y="294"/>
                </a:lnTo>
                <a:lnTo>
                  <a:pt x="2909" y="293"/>
                </a:lnTo>
                <a:lnTo>
                  <a:pt x="2911" y="291"/>
                </a:lnTo>
                <a:lnTo>
                  <a:pt x="2913" y="291"/>
                </a:lnTo>
                <a:lnTo>
                  <a:pt x="2916" y="290"/>
                </a:lnTo>
                <a:close/>
                <a:moveTo>
                  <a:pt x="3017" y="188"/>
                </a:moveTo>
                <a:lnTo>
                  <a:pt x="3019" y="188"/>
                </a:lnTo>
                <a:lnTo>
                  <a:pt x="3021" y="188"/>
                </a:lnTo>
                <a:lnTo>
                  <a:pt x="3023" y="190"/>
                </a:lnTo>
                <a:lnTo>
                  <a:pt x="3025" y="191"/>
                </a:lnTo>
                <a:lnTo>
                  <a:pt x="3027" y="193"/>
                </a:lnTo>
                <a:lnTo>
                  <a:pt x="3028" y="195"/>
                </a:lnTo>
                <a:lnTo>
                  <a:pt x="3029" y="200"/>
                </a:lnTo>
                <a:lnTo>
                  <a:pt x="3028" y="202"/>
                </a:lnTo>
                <a:lnTo>
                  <a:pt x="3027" y="204"/>
                </a:lnTo>
                <a:lnTo>
                  <a:pt x="3026" y="207"/>
                </a:lnTo>
                <a:lnTo>
                  <a:pt x="3025" y="208"/>
                </a:lnTo>
                <a:lnTo>
                  <a:pt x="3021" y="211"/>
                </a:lnTo>
                <a:lnTo>
                  <a:pt x="3017" y="212"/>
                </a:lnTo>
                <a:lnTo>
                  <a:pt x="3014" y="211"/>
                </a:lnTo>
                <a:lnTo>
                  <a:pt x="3012" y="211"/>
                </a:lnTo>
                <a:lnTo>
                  <a:pt x="3010" y="209"/>
                </a:lnTo>
                <a:lnTo>
                  <a:pt x="3008" y="208"/>
                </a:lnTo>
                <a:lnTo>
                  <a:pt x="3006" y="206"/>
                </a:lnTo>
                <a:lnTo>
                  <a:pt x="3005" y="204"/>
                </a:lnTo>
                <a:lnTo>
                  <a:pt x="3005" y="199"/>
                </a:lnTo>
                <a:lnTo>
                  <a:pt x="3005" y="197"/>
                </a:lnTo>
                <a:lnTo>
                  <a:pt x="3006" y="195"/>
                </a:lnTo>
                <a:lnTo>
                  <a:pt x="3007" y="193"/>
                </a:lnTo>
                <a:lnTo>
                  <a:pt x="3008" y="191"/>
                </a:lnTo>
                <a:lnTo>
                  <a:pt x="3012" y="188"/>
                </a:lnTo>
                <a:lnTo>
                  <a:pt x="3017" y="188"/>
                </a:lnTo>
                <a:close/>
                <a:moveTo>
                  <a:pt x="3127" y="95"/>
                </a:moveTo>
                <a:lnTo>
                  <a:pt x="3130" y="96"/>
                </a:lnTo>
                <a:lnTo>
                  <a:pt x="3132" y="97"/>
                </a:lnTo>
                <a:lnTo>
                  <a:pt x="3135" y="98"/>
                </a:lnTo>
                <a:lnTo>
                  <a:pt x="3137" y="100"/>
                </a:lnTo>
                <a:lnTo>
                  <a:pt x="3138" y="102"/>
                </a:lnTo>
                <a:lnTo>
                  <a:pt x="3139" y="105"/>
                </a:lnTo>
                <a:lnTo>
                  <a:pt x="3139" y="107"/>
                </a:lnTo>
                <a:lnTo>
                  <a:pt x="3139" y="109"/>
                </a:lnTo>
                <a:lnTo>
                  <a:pt x="3138" y="111"/>
                </a:lnTo>
                <a:lnTo>
                  <a:pt x="3138" y="114"/>
                </a:lnTo>
                <a:lnTo>
                  <a:pt x="3136" y="115"/>
                </a:lnTo>
                <a:lnTo>
                  <a:pt x="3134" y="117"/>
                </a:lnTo>
                <a:lnTo>
                  <a:pt x="3133" y="118"/>
                </a:lnTo>
                <a:lnTo>
                  <a:pt x="3131" y="119"/>
                </a:lnTo>
                <a:lnTo>
                  <a:pt x="3129" y="119"/>
                </a:lnTo>
                <a:lnTo>
                  <a:pt x="3127" y="119"/>
                </a:lnTo>
                <a:lnTo>
                  <a:pt x="3124" y="119"/>
                </a:lnTo>
                <a:lnTo>
                  <a:pt x="3122" y="118"/>
                </a:lnTo>
                <a:lnTo>
                  <a:pt x="3120" y="117"/>
                </a:lnTo>
                <a:lnTo>
                  <a:pt x="3118" y="115"/>
                </a:lnTo>
                <a:lnTo>
                  <a:pt x="3116" y="113"/>
                </a:lnTo>
                <a:lnTo>
                  <a:pt x="3116" y="110"/>
                </a:lnTo>
                <a:lnTo>
                  <a:pt x="3115" y="108"/>
                </a:lnTo>
                <a:lnTo>
                  <a:pt x="3115" y="106"/>
                </a:lnTo>
                <a:lnTo>
                  <a:pt x="3116" y="104"/>
                </a:lnTo>
                <a:lnTo>
                  <a:pt x="3117" y="101"/>
                </a:lnTo>
                <a:lnTo>
                  <a:pt x="3118" y="100"/>
                </a:lnTo>
                <a:lnTo>
                  <a:pt x="3120" y="98"/>
                </a:lnTo>
                <a:lnTo>
                  <a:pt x="3122" y="97"/>
                </a:lnTo>
                <a:lnTo>
                  <a:pt x="3123" y="96"/>
                </a:lnTo>
                <a:lnTo>
                  <a:pt x="3125" y="96"/>
                </a:lnTo>
                <a:lnTo>
                  <a:pt x="3127" y="95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766764" y="2204864"/>
            <a:ext cx="10658474" cy="1080120"/>
          </a:xfrm>
          <a:prstGeom prst="roundRect">
            <a:avLst/>
          </a:prstGeom>
          <a:solidFill>
            <a:schemeClr val="accent1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buClrTx/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766764" y="3645024"/>
            <a:ext cx="10658474" cy="1080120"/>
          </a:xfrm>
          <a:prstGeom prst="roundRect">
            <a:avLst/>
          </a:prstGeom>
          <a:solidFill>
            <a:schemeClr val="accent2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buClrTx/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4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766764" y="5085184"/>
            <a:ext cx="10658474" cy="1152104"/>
          </a:xfrm>
          <a:prstGeom prst="roundRect">
            <a:avLst/>
          </a:prstGeom>
          <a:solidFill>
            <a:schemeClr val="accent4"/>
          </a:solidFill>
        </p:spPr>
        <p:txBody>
          <a:bodyPr lIns="90000" tIns="54000" rIns="90000" bIns="54000"/>
          <a:lstStyle>
            <a:lvl1pPr marL="0" indent="0">
              <a:spcBef>
                <a:spcPts val="200"/>
              </a:spcBef>
              <a:buClrTx/>
              <a:buFontTx/>
              <a:buNone/>
              <a:defRPr sz="1600">
                <a:solidFill>
                  <a:schemeClr val="bg1"/>
                </a:solidFill>
              </a:defRPr>
            </a:lvl1pPr>
            <a:lvl2pPr marL="182563" indent="-182563"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2pPr>
            <a:lvl3pPr marL="357188" indent="-174625">
              <a:spcBef>
                <a:spcPts val="200"/>
              </a:spcBef>
              <a:buClrTx/>
              <a:defRPr sz="1200">
                <a:solidFill>
                  <a:schemeClr val="bg1"/>
                </a:solidFill>
              </a:defRPr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24"/>
          </p:nvPr>
        </p:nvSpPr>
        <p:spPr>
          <a:xfrm>
            <a:off x="766763" y="1916113"/>
            <a:ext cx="10658475" cy="288752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8"/>
          </p:nvPr>
        </p:nvSpPr>
        <p:spPr>
          <a:xfrm>
            <a:off x="766764" y="3356992"/>
            <a:ext cx="10658474" cy="288032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29"/>
          </p:nvPr>
        </p:nvSpPr>
        <p:spPr>
          <a:xfrm>
            <a:off x="766763" y="4797152"/>
            <a:ext cx="10658475" cy="288032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Freeform 20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3939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ummary" preserve="1" userDrawn="1">
  <p:cSld name="Summar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 6"/>
          <p:cNvSpPr>
            <a:spLocks noChangeAspect="1" noEditPoints="1"/>
          </p:cNvSpPr>
          <p:nvPr userDrawn="1"/>
        </p:nvSpPr>
        <p:spPr bwMode="auto">
          <a:xfrm>
            <a:off x="9624392" y="0"/>
            <a:ext cx="2567608" cy="1918008"/>
          </a:xfrm>
          <a:custGeom>
            <a:avLst/>
            <a:gdLst>
              <a:gd name="T0" fmla="*/ 2083 w 2668"/>
              <a:gd name="T1" fmla="*/ 241 h 1993"/>
              <a:gd name="T2" fmla="*/ 1920 w 2668"/>
              <a:gd name="T3" fmla="*/ 240 h 1993"/>
              <a:gd name="T4" fmla="*/ 1791 w 2668"/>
              <a:gd name="T5" fmla="*/ 201 h 1993"/>
              <a:gd name="T6" fmla="*/ 2357 w 2668"/>
              <a:gd name="T7" fmla="*/ 195 h 1993"/>
              <a:gd name="T8" fmla="*/ 1643 w 2668"/>
              <a:gd name="T9" fmla="*/ 166 h 1993"/>
              <a:gd name="T10" fmla="*/ 1524 w 2668"/>
              <a:gd name="T11" fmla="*/ 133 h 1993"/>
              <a:gd name="T12" fmla="*/ 2615 w 2668"/>
              <a:gd name="T13" fmla="*/ 59 h 1993"/>
              <a:gd name="T14" fmla="*/ 1269 w 2668"/>
              <a:gd name="T15" fmla="*/ 0 h 1993"/>
              <a:gd name="T16" fmla="*/ 2128 w 2668"/>
              <a:gd name="T17" fmla="*/ 670 h 1993"/>
              <a:gd name="T18" fmla="*/ 1819 w 2668"/>
              <a:gd name="T19" fmla="*/ 667 h 1993"/>
              <a:gd name="T20" fmla="*/ 1688 w 2668"/>
              <a:gd name="T21" fmla="*/ 617 h 1993"/>
              <a:gd name="T22" fmla="*/ 2391 w 2668"/>
              <a:gd name="T23" fmla="*/ 609 h 1993"/>
              <a:gd name="T24" fmla="*/ 2538 w 2668"/>
              <a:gd name="T25" fmla="*/ 533 h 1993"/>
              <a:gd name="T26" fmla="*/ 1413 w 2668"/>
              <a:gd name="T27" fmla="*/ 535 h 1993"/>
              <a:gd name="T28" fmla="*/ 1299 w 2668"/>
              <a:gd name="T29" fmla="*/ 442 h 1993"/>
              <a:gd name="T30" fmla="*/ 1176 w 2668"/>
              <a:gd name="T31" fmla="*/ 386 h 1993"/>
              <a:gd name="T32" fmla="*/ 1053 w 2668"/>
              <a:gd name="T33" fmla="*/ 277 h 1993"/>
              <a:gd name="T34" fmla="*/ 865 w 2668"/>
              <a:gd name="T35" fmla="*/ 85 h 1993"/>
              <a:gd name="T36" fmla="*/ 2012 w 2668"/>
              <a:gd name="T37" fmla="*/ 1119 h 1993"/>
              <a:gd name="T38" fmla="*/ 1863 w 2668"/>
              <a:gd name="T39" fmla="*/ 1095 h 1993"/>
              <a:gd name="T40" fmla="*/ 1741 w 2668"/>
              <a:gd name="T41" fmla="*/ 1086 h 1993"/>
              <a:gd name="T42" fmla="*/ 2294 w 2668"/>
              <a:gd name="T43" fmla="*/ 1049 h 1993"/>
              <a:gd name="T44" fmla="*/ 2437 w 2668"/>
              <a:gd name="T45" fmla="*/ 1023 h 1993"/>
              <a:gd name="T46" fmla="*/ 1450 w 2668"/>
              <a:gd name="T47" fmla="*/ 975 h 1993"/>
              <a:gd name="T48" fmla="*/ 1345 w 2668"/>
              <a:gd name="T49" fmla="*/ 919 h 1993"/>
              <a:gd name="T50" fmla="*/ 1201 w 2668"/>
              <a:gd name="T51" fmla="*/ 834 h 1993"/>
              <a:gd name="T52" fmla="*/ 1000 w 2668"/>
              <a:gd name="T53" fmla="*/ 639 h 1993"/>
              <a:gd name="T54" fmla="*/ 891 w 2668"/>
              <a:gd name="T55" fmla="*/ 560 h 1993"/>
              <a:gd name="T56" fmla="*/ 786 w 2668"/>
              <a:gd name="T57" fmla="*/ 431 h 1993"/>
              <a:gd name="T58" fmla="*/ 624 w 2668"/>
              <a:gd name="T59" fmla="*/ 222 h 1993"/>
              <a:gd name="T60" fmla="*/ 517 w 2668"/>
              <a:gd name="T61" fmla="*/ 102 h 1993"/>
              <a:gd name="T62" fmla="*/ 2067 w 2668"/>
              <a:gd name="T63" fmla="*/ 1531 h 1993"/>
              <a:gd name="T64" fmla="*/ 1770 w 2668"/>
              <a:gd name="T65" fmla="*/ 1541 h 1993"/>
              <a:gd name="T66" fmla="*/ 2194 w 2668"/>
              <a:gd name="T67" fmla="*/ 1506 h 1993"/>
              <a:gd name="T68" fmla="*/ 2350 w 2668"/>
              <a:gd name="T69" fmla="*/ 1480 h 1993"/>
              <a:gd name="T70" fmla="*/ 1490 w 2668"/>
              <a:gd name="T71" fmla="*/ 1433 h 1993"/>
              <a:gd name="T72" fmla="*/ 1382 w 2668"/>
              <a:gd name="T73" fmla="*/ 1370 h 1993"/>
              <a:gd name="T74" fmla="*/ 2588 w 2668"/>
              <a:gd name="T75" fmla="*/ 1347 h 1993"/>
              <a:gd name="T76" fmla="*/ 1149 w 2668"/>
              <a:gd name="T77" fmla="*/ 1207 h 1993"/>
              <a:gd name="T78" fmla="*/ 1021 w 2668"/>
              <a:gd name="T79" fmla="*/ 1120 h 1993"/>
              <a:gd name="T80" fmla="*/ 836 w 2668"/>
              <a:gd name="T81" fmla="*/ 888 h 1993"/>
              <a:gd name="T82" fmla="*/ 740 w 2668"/>
              <a:gd name="T83" fmla="*/ 800 h 1993"/>
              <a:gd name="T84" fmla="*/ 653 w 2668"/>
              <a:gd name="T85" fmla="*/ 661 h 1993"/>
              <a:gd name="T86" fmla="*/ 495 w 2668"/>
              <a:gd name="T87" fmla="*/ 448 h 1993"/>
              <a:gd name="T88" fmla="*/ 407 w 2668"/>
              <a:gd name="T89" fmla="*/ 304 h 1993"/>
              <a:gd name="T90" fmla="*/ 272 w 2668"/>
              <a:gd name="T91" fmla="*/ 78 h 1993"/>
              <a:gd name="T92" fmla="*/ 1948 w 2668"/>
              <a:gd name="T93" fmla="*/ 1973 h 1993"/>
              <a:gd name="T94" fmla="*/ 2113 w 2668"/>
              <a:gd name="T95" fmla="*/ 1971 h 1993"/>
              <a:gd name="T96" fmla="*/ 1661 w 2668"/>
              <a:gd name="T97" fmla="*/ 1948 h 1993"/>
              <a:gd name="T98" fmla="*/ 1549 w 2668"/>
              <a:gd name="T99" fmla="*/ 1901 h 1993"/>
              <a:gd name="T100" fmla="*/ 2366 w 2668"/>
              <a:gd name="T101" fmla="*/ 1883 h 1993"/>
              <a:gd name="T102" fmla="*/ 2520 w 2668"/>
              <a:gd name="T103" fmla="*/ 1828 h 1993"/>
              <a:gd name="T104" fmla="*/ 1276 w 2668"/>
              <a:gd name="T105" fmla="*/ 1764 h 1993"/>
              <a:gd name="T106" fmla="*/ 1181 w 2668"/>
              <a:gd name="T107" fmla="*/ 1660 h 1993"/>
              <a:gd name="T108" fmla="*/ 1062 w 2668"/>
              <a:gd name="T109" fmla="*/ 1584 h 1993"/>
              <a:gd name="T110" fmla="*/ 874 w 2668"/>
              <a:gd name="T111" fmla="*/ 1349 h 1993"/>
              <a:gd name="T112" fmla="*/ 789 w 2668"/>
              <a:gd name="T113" fmla="*/ 1257 h 1993"/>
              <a:gd name="T114" fmla="*/ 685 w 2668"/>
              <a:gd name="T115" fmla="*/ 1134 h 1993"/>
              <a:gd name="T116" fmla="*/ 546 w 2668"/>
              <a:gd name="T117" fmla="*/ 887 h 1993"/>
              <a:gd name="T118" fmla="*/ 447 w 2668"/>
              <a:gd name="T119" fmla="*/ 771 h 1993"/>
              <a:gd name="T120" fmla="*/ 323 w 2668"/>
              <a:gd name="T121" fmla="*/ 523 h 1993"/>
              <a:gd name="T122" fmla="*/ 230 w 2668"/>
              <a:gd name="T123" fmla="*/ 389 h 1993"/>
              <a:gd name="T124" fmla="*/ 100 w 2668"/>
              <a:gd name="T125" fmla="*/ 156 h 19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68" h="1993">
                <a:moveTo>
                  <a:pt x="12" y="18"/>
                </a:moveTo>
                <a:lnTo>
                  <a:pt x="15" y="18"/>
                </a:lnTo>
                <a:lnTo>
                  <a:pt x="18" y="19"/>
                </a:lnTo>
                <a:lnTo>
                  <a:pt x="20" y="21"/>
                </a:lnTo>
                <a:lnTo>
                  <a:pt x="22" y="23"/>
                </a:lnTo>
                <a:lnTo>
                  <a:pt x="23" y="25"/>
                </a:lnTo>
                <a:lnTo>
                  <a:pt x="24" y="28"/>
                </a:lnTo>
                <a:lnTo>
                  <a:pt x="24" y="32"/>
                </a:lnTo>
                <a:lnTo>
                  <a:pt x="23" y="34"/>
                </a:lnTo>
                <a:lnTo>
                  <a:pt x="22" y="36"/>
                </a:lnTo>
                <a:lnTo>
                  <a:pt x="21" y="38"/>
                </a:lnTo>
                <a:lnTo>
                  <a:pt x="19" y="40"/>
                </a:lnTo>
                <a:lnTo>
                  <a:pt x="17" y="41"/>
                </a:lnTo>
                <a:lnTo>
                  <a:pt x="15" y="41"/>
                </a:lnTo>
                <a:lnTo>
                  <a:pt x="12" y="42"/>
                </a:lnTo>
                <a:lnTo>
                  <a:pt x="9" y="41"/>
                </a:lnTo>
                <a:lnTo>
                  <a:pt x="6" y="40"/>
                </a:lnTo>
                <a:lnTo>
                  <a:pt x="4" y="39"/>
                </a:lnTo>
                <a:lnTo>
                  <a:pt x="2" y="36"/>
                </a:lnTo>
                <a:lnTo>
                  <a:pt x="1" y="34"/>
                </a:lnTo>
                <a:lnTo>
                  <a:pt x="0" y="32"/>
                </a:lnTo>
                <a:lnTo>
                  <a:pt x="0" y="27"/>
                </a:lnTo>
                <a:lnTo>
                  <a:pt x="1" y="25"/>
                </a:lnTo>
                <a:lnTo>
                  <a:pt x="2" y="23"/>
                </a:lnTo>
                <a:lnTo>
                  <a:pt x="4" y="21"/>
                </a:lnTo>
                <a:lnTo>
                  <a:pt x="6" y="20"/>
                </a:lnTo>
                <a:lnTo>
                  <a:pt x="7" y="19"/>
                </a:lnTo>
                <a:lnTo>
                  <a:pt x="9" y="18"/>
                </a:lnTo>
                <a:lnTo>
                  <a:pt x="12" y="18"/>
                </a:lnTo>
                <a:close/>
                <a:moveTo>
                  <a:pt x="2074" y="220"/>
                </a:moveTo>
                <a:lnTo>
                  <a:pt x="2076" y="220"/>
                </a:lnTo>
                <a:lnTo>
                  <a:pt x="2079" y="221"/>
                </a:lnTo>
                <a:lnTo>
                  <a:pt x="2081" y="222"/>
                </a:lnTo>
                <a:lnTo>
                  <a:pt x="2082" y="224"/>
                </a:lnTo>
                <a:lnTo>
                  <a:pt x="2084" y="225"/>
                </a:lnTo>
                <a:lnTo>
                  <a:pt x="2085" y="227"/>
                </a:lnTo>
                <a:lnTo>
                  <a:pt x="2086" y="230"/>
                </a:lnTo>
                <a:lnTo>
                  <a:pt x="2086" y="232"/>
                </a:lnTo>
                <a:lnTo>
                  <a:pt x="2086" y="235"/>
                </a:lnTo>
                <a:lnTo>
                  <a:pt x="2086" y="237"/>
                </a:lnTo>
                <a:lnTo>
                  <a:pt x="2085" y="239"/>
                </a:lnTo>
                <a:lnTo>
                  <a:pt x="2083" y="241"/>
                </a:lnTo>
                <a:lnTo>
                  <a:pt x="2081" y="243"/>
                </a:lnTo>
                <a:lnTo>
                  <a:pt x="2079" y="244"/>
                </a:lnTo>
                <a:lnTo>
                  <a:pt x="2077" y="245"/>
                </a:lnTo>
                <a:lnTo>
                  <a:pt x="2075" y="245"/>
                </a:lnTo>
                <a:lnTo>
                  <a:pt x="2072" y="245"/>
                </a:lnTo>
                <a:lnTo>
                  <a:pt x="2069" y="245"/>
                </a:lnTo>
                <a:lnTo>
                  <a:pt x="2067" y="243"/>
                </a:lnTo>
                <a:lnTo>
                  <a:pt x="2065" y="242"/>
                </a:lnTo>
                <a:lnTo>
                  <a:pt x="2064" y="240"/>
                </a:lnTo>
                <a:lnTo>
                  <a:pt x="2062" y="238"/>
                </a:lnTo>
                <a:lnTo>
                  <a:pt x="2062" y="236"/>
                </a:lnTo>
                <a:lnTo>
                  <a:pt x="2061" y="234"/>
                </a:lnTo>
                <a:lnTo>
                  <a:pt x="2061" y="231"/>
                </a:lnTo>
                <a:lnTo>
                  <a:pt x="2062" y="229"/>
                </a:lnTo>
                <a:lnTo>
                  <a:pt x="2063" y="226"/>
                </a:lnTo>
                <a:lnTo>
                  <a:pt x="2064" y="224"/>
                </a:lnTo>
                <a:lnTo>
                  <a:pt x="2066" y="223"/>
                </a:lnTo>
                <a:lnTo>
                  <a:pt x="2068" y="222"/>
                </a:lnTo>
                <a:lnTo>
                  <a:pt x="2071" y="221"/>
                </a:lnTo>
                <a:lnTo>
                  <a:pt x="2073" y="220"/>
                </a:lnTo>
                <a:lnTo>
                  <a:pt x="2074" y="220"/>
                </a:lnTo>
                <a:close/>
                <a:moveTo>
                  <a:pt x="1929" y="219"/>
                </a:moveTo>
                <a:lnTo>
                  <a:pt x="1932" y="220"/>
                </a:lnTo>
                <a:lnTo>
                  <a:pt x="1934" y="220"/>
                </a:lnTo>
                <a:lnTo>
                  <a:pt x="1937" y="222"/>
                </a:lnTo>
                <a:lnTo>
                  <a:pt x="1938" y="223"/>
                </a:lnTo>
                <a:lnTo>
                  <a:pt x="1940" y="225"/>
                </a:lnTo>
                <a:lnTo>
                  <a:pt x="1941" y="228"/>
                </a:lnTo>
                <a:lnTo>
                  <a:pt x="1942" y="230"/>
                </a:lnTo>
                <a:lnTo>
                  <a:pt x="1942" y="233"/>
                </a:lnTo>
                <a:lnTo>
                  <a:pt x="1941" y="235"/>
                </a:lnTo>
                <a:lnTo>
                  <a:pt x="1940" y="237"/>
                </a:lnTo>
                <a:lnTo>
                  <a:pt x="1939" y="239"/>
                </a:lnTo>
                <a:lnTo>
                  <a:pt x="1938" y="241"/>
                </a:lnTo>
                <a:lnTo>
                  <a:pt x="1936" y="242"/>
                </a:lnTo>
                <a:lnTo>
                  <a:pt x="1934" y="243"/>
                </a:lnTo>
                <a:lnTo>
                  <a:pt x="1931" y="244"/>
                </a:lnTo>
                <a:lnTo>
                  <a:pt x="1929" y="244"/>
                </a:lnTo>
                <a:lnTo>
                  <a:pt x="1926" y="244"/>
                </a:lnTo>
                <a:lnTo>
                  <a:pt x="1924" y="243"/>
                </a:lnTo>
                <a:lnTo>
                  <a:pt x="1921" y="242"/>
                </a:lnTo>
                <a:lnTo>
                  <a:pt x="1920" y="240"/>
                </a:lnTo>
                <a:lnTo>
                  <a:pt x="1918" y="238"/>
                </a:lnTo>
                <a:lnTo>
                  <a:pt x="1917" y="236"/>
                </a:lnTo>
                <a:lnTo>
                  <a:pt x="1917" y="233"/>
                </a:lnTo>
                <a:lnTo>
                  <a:pt x="1916" y="231"/>
                </a:lnTo>
                <a:lnTo>
                  <a:pt x="1917" y="228"/>
                </a:lnTo>
                <a:lnTo>
                  <a:pt x="1918" y="226"/>
                </a:lnTo>
                <a:lnTo>
                  <a:pt x="1919" y="224"/>
                </a:lnTo>
                <a:lnTo>
                  <a:pt x="1920" y="222"/>
                </a:lnTo>
                <a:lnTo>
                  <a:pt x="1922" y="221"/>
                </a:lnTo>
                <a:lnTo>
                  <a:pt x="1924" y="220"/>
                </a:lnTo>
                <a:lnTo>
                  <a:pt x="1927" y="219"/>
                </a:lnTo>
                <a:lnTo>
                  <a:pt x="1929" y="219"/>
                </a:lnTo>
                <a:close/>
                <a:moveTo>
                  <a:pt x="2217" y="204"/>
                </a:moveTo>
                <a:lnTo>
                  <a:pt x="2221" y="204"/>
                </a:lnTo>
                <a:lnTo>
                  <a:pt x="2225" y="206"/>
                </a:lnTo>
                <a:lnTo>
                  <a:pt x="2228" y="210"/>
                </a:lnTo>
                <a:lnTo>
                  <a:pt x="2229" y="212"/>
                </a:lnTo>
                <a:lnTo>
                  <a:pt x="2229" y="214"/>
                </a:lnTo>
                <a:lnTo>
                  <a:pt x="2229" y="219"/>
                </a:lnTo>
                <a:lnTo>
                  <a:pt x="2228" y="221"/>
                </a:lnTo>
                <a:lnTo>
                  <a:pt x="2227" y="223"/>
                </a:lnTo>
                <a:lnTo>
                  <a:pt x="2226" y="225"/>
                </a:lnTo>
                <a:lnTo>
                  <a:pt x="2224" y="227"/>
                </a:lnTo>
                <a:lnTo>
                  <a:pt x="2221" y="228"/>
                </a:lnTo>
                <a:lnTo>
                  <a:pt x="2219" y="229"/>
                </a:lnTo>
                <a:lnTo>
                  <a:pt x="2217" y="229"/>
                </a:lnTo>
                <a:lnTo>
                  <a:pt x="2212" y="228"/>
                </a:lnTo>
                <a:lnTo>
                  <a:pt x="2209" y="226"/>
                </a:lnTo>
                <a:lnTo>
                  <a:pt x="2206" y="223"/>
                </a:lnTo>
                <a:lnTo>
                  <a:pt x="2205" y="221"/>
                </a:lnTo>
                <a:lnTo>
                  <a:pt x="2204" y="218"/>
                </a:lnTo>
                <a:lnTo>
                  <a:pt x="2204" y="213"/>
                </a:lnTo>
                <a:lnTo>
                  <a:pt x="2205" y="211"/>
                </a:lnTo>
                <a:lnTo>
                  <a:pt x="2206" y="209"/>
                </a:lnTo>
                <a:lnTo>
                  <a:pt x="2208" y="207"/>
                </a:lnTo>
                <a:lnTo>
                  <a:pt x="2210" y="206"/>
                </a:lnTo>
                <a:lnTo>
                  <a:pt x="2212" y="204"/>
                </a:lnTo>
                <a:lnTo>
                  <a:pt x="2215" y="204"/>
                </a:lnTo>
                <a:lnTo>
                  <a:pt x="2217" y="204"/>
                </a:lnTo>
                <a:close/>
                <a:moveTo>
                  <a:pt x="1786" y="200"/>
                </a:moveTo>
                <a:lnTo>
                  <a:pt x="1789" y="201"/>
                </a:lnTo>
                <a:lnTo>
                  <a:pt x="1791" y="201"/>
                </a:lnTo>
                <a:lnTo>
                  <a:pt x="1793" y="203"/>
                </a:lnTo>
                <a:lnTo>
                  <a:pt x="1795" y="204"/>
                </a:lnTo>
                <a:lnTo>
                  <a:pt x="1797" y="206"/>
                </a:lnTo>
                <a:lnTo>
                  <a:pt x="1798" y="208"/>
                </a:lnTo>
                <a:lnTo>
                  <a:pt x="1799" y="210"/>
                </a:lnTo>
                <a:lnTo>
                  <a:pt x="1799" y="213"/>
                </a:lnTo>
                <a:lnTo>
                  <a:pt x="1799" y="215"/>
                </a:lnTo>
                <a:lnTo>
                  <a:pt x="1798" y="218"/>
                </a:lnTo>
                <a:lnTo>
                  <a:pt x="1797" y="220"/>
                </a:lnTo>
                <a:lnTo>
                  <a:pt x="1794" y="223"/>
                </a:lnTo>
                <a:lnTo>
                  <a:pt x="1793" y="224"/>
                </a:lnTo>
                <a:lnTo>
                  <a:pt x="1791" y="225"/>
                </a:lnTo>
                <a:lnTo>
                  <a:pt x="1787" y="226"/>
                </a:lnTo>
                <a:lnTo>
                  <a:pt x="1784" y="225"/>
                </a:lnTo>
                <a:lnTo>
                  <a:pt x="1782" y="225"/>
                </a:lnTo>
                <a:lnTo>
                  <a:pt x="1779" y="224"/>
                </a:lnTo>
                <a:lnTo>
                  <a:pt x="1778" y="222"/>
                </a:lnTo>
                <a:lnTo>
                  <a:pt x="1776" y="220"/>
                </a:lnTo>
                <a:lnTo>
                  <a:pt x="1775" y="218"/>
                </a:lnTo>
                <a:lnTo>
                  <a:pt x="1774" y="216"/>
                </a:lnTo>
                <a:lnTo>
                  <a:pt x="1774" y="213"/>
                </a:lnTo>
                <a:lnTo>
                  <a:pt x="1774" y="211"/>
                </a:lnTo>
                <a:lnTo>
                  <a:pt x="1775" y="209"/>
                </a:lnTo>
                <a:lnTo>
                  <a:pt x="1776" y="207"/>
                </a:lnTo>
                <a:lnTo>
                  <a:pt x="1778" y="203"/>
                </a:lnTo>
                <a:lnTo>
                  <a:pt x="1780" y="202"/>
                </a:lnTo>
                <a:lnTo>
                  <a:pt x="1782" y="201"/>
                </a:lnTo>
                <a:lnTo>
                  <a:pt x="1786" y="200"/>
                </a:lnTo>
                <a:close/>
                <a:moveTo>
                  <a:pt x="2357" y="170"/>
                </a:moveTo>
                <a:lnTo>
                  <a:pt x="2361" y="170"/>
                </a:lnTo>
                <a:lnTo>
                  <a:pt x="2364" y="172"/>
                </a:lnTo>
                <a:lnTo>
                  <a:pt x="2367" y="175"/>
                </a:lnTo>
                <a:lnTo>
                  <a:pt x="2368" y="177"/>
                </a:lnTo>
                <a:lnTo>
                  <a:pt x="2369" y="179"/>
                </a:lnTo>
                <a:lnTo>
                  <a:pt x="2369" y="181"/>
                </a:lnTo>
                <a:lnTo>
                  <a:pt x="2369" y="184"/>
                </a:lnTo>
                <a:lnTo>
                  <a:pt x="2369" y="186"/>
                </a:lnTo>
                <a:lnTo>
                  <a:pt x="2368" y="188"/>
                </a:lnTo>
                <a:lnTo>
                  <a:pt x="2366" y="190"/>
                </a:lnTo>
                <a:lnTo>
                  <a:pt x="2365" y="192"/>
                </a:lnTo>
                <a:lnTo>
                  <a:pt x="2360" y="194"/>
                </a:lnTo>
                <a:lnTo>
                  <a:pt x="2357" y="195"/>
                </a:lnTo>
                <a:lnTo>
                  <a:pt x="2353" y="194"/>
                </a:lnTo>
                <a:lnTo>
                  <a:pt x="2349" y="193"/>
                </a:lnTo>
                <a:lnTo>
                  <a:pt x="2346" y="190"/>
                </a:lnTo>
                <a:lnTo>
                  <a:pt x="2345" y="188"/>
                </a:lnTo>
                <a:lnTo>
                  <a:pt x="2345" y="186"/>
                </a:lnTo>
                <a:lnTo>
                  <a:pt x="2344" y="183"/>
                </a:lnTo>
                <a:lnTo>
                  <a:pt x="2344" y="181"/>
                </a:lnTo>
                <a:lnTo>
                  <a:pt x="2345" y="179"/>
                </a:lnTo>
                <a:lnTo>
                  <a:pt x="2345" y="176"/>
                </a:lnTo>
                <a:lnTo>
                  <a:pt x="2347" y="174"/>
                </a:lnTo>
                <a:lnTo>
                  <a:pt x="2349" y="173"/>
                </a:lnTo>
                <a:lnTo>
                  <a:pt x="2351" y="171"/>
                </a:lnTo>
                <a:lnTo>
                  <a:pt x="2353" y="170"/>
                </a:lnTo>
                <a:lnTo>
                  <a:pt x="2357" y="170"/>
                </a:lnTo>
                <a:close/>
                <a:moveTo>
                  <a:pt x="1647" y="165"/>
                </a:moveTo>
                <a:lnTo>
                  <a:pt x="1651" y="166"/>
                </a:lnTo>
                <a:lnTo>
                  <a:pt x="1653" y="167"/>
                </a:lnTo>
                <a:lnTo>
                  <a:pt x="1655" y="168"/>
                </a:lnTo>
                <a:lnTo>
                  <a:pt x="1657" y="170"/>
                </a:lnTo>
                <a:lnTo>
                  <a:pt x="1658" y="172"/>
                </a:lnTo>
                <a:lnTo>
                  <a:pt x="1659" y="174"/>
                </a:lnTo>
                <a:lnTo>
                  <a:pt x="1660" y="177"/>
                </a:lnTo>
                <a:lnTo>
                  <a:pt x="1660" y="179"/>
                </a:lnTo>
                <a:lnTo>
                  <a:pt x="1659" y="182"/>
                </a:lnTo>
                <a:lnTo>
                  <a:pt x="1657" y="185"/>
                </a:lnTo>
                <a:lnTo>
                  <a:pt x="1654" y="188"/>
                </a:lnTo>
                <a:lnTo>
                  <a:pt x="1653" y="189"/>
                </a:lnTo>
                <a:lnTo>
                  <a:pt x="1651" y="190"/>
                </a:lnTo>
                <a:lnTo>
                  <a:pt x="1647" y="191"/>
                </a:lnTo>
                <a:lnTo>
                  <a:pt x="1643" y="190"/>
                </a:lnTo>
                <a:lnTo>
                  <a:pt x="1641" y="189"/>
                </a:lnTo>
                <a:lnTo>
                  <a:pt x="1639" y="188"/>
                </a:lnTo>
                <a:lnTo>
                  <a:pt x="1637" y="186"/>
                </a:lnTo>
                <a:lnTo>
                  <a:pt x="1636" y="184"/>
                </a:lnTo>
                <a:lnTo>
                  <a:pt x="1635" y="182"/>
                </a:lnTo>
                <a:lnTo>
                  <a:pt x="1634" y="179"/>
                </a:lnTo>
                <a:lnTo>
                  <a:pt x="1634" y="177"/>
                </a:lnTo>
                <a:lnTo>
                  <a:pt x="1635" y="174"/>
                </a:lnTo>
                <a:lnTo>
                  <a:pt x="1637" y="171"/>
                </a:lnTo>
                <a:lnTo>
                  <a:pt x="1640" y="168"/>
                </a:lnTo>
                <a:lnTo>
                  <a:pt x="1641" y="167"/>
                </a:lnTo>
                <a:lnTo>
                  <a:pt x="1643" y="166"/>
                </a:lnTo>
                <a:lnTo>
                  <a:pt x="1647" y="165"/>
                </a:lnTo>
                <a:close/>
                <a:moveTo>
                  <a:pt x="2492" y="120"/>
                </a:moveTo>
                <a:lnTo>
                  <a:pt x="2495" y="121"/>
                </a:lnTo>
                <a:lnTo>
                  <a:pt x="2497" y="122"/>
                </a:lnTo>
                <a:lnTo>
                  <a:pt x="2499" y="122"/>
                </a:lnTo>
                <a:lnTo>
                  <a:pt x="2501" y="125"/>
                </a:lnTo>
                <a:lnTo>
                  <a:pt x="2503" y="128"/>
                </a:lnTo>
                <a:lnTo>
                  <a:pt x="2504" y="130"/>
                </a:lnTo>
                <a:lnTo>
                  <a:pt x="2504" y="133"/>
                </a:lnTo>
                <a:lnTo>
                  <a:pt x="2504" y="135"/>
                </a:lnTo>
                <a:lnTo>
                  <a:pt x="2504" y="138"/>
                </a:lnTo>
                <a:lnTo>
                  <a:pt x="2502" y="140"/>
                </a:lnTo>
                <a:lnTo>
                  <a:pt x="2501" y="142"/>
                </a:lnTo>
                <a:lnTo>
                  <a:pt x="2499" y="143"/>
                </a:lnTo>
                <a:lnTo>
                  <a:pt x="2497" y="145"/>
                </a:lnTo>
                <a:lnTo>
                  <a:pt x="2494" y="145"/>
                </a:lnTo>
                <a:lnTo>
                  <a:pt x="2492" y="146"/>
                </a:lnTo>
                <a:lnTo>
                  <a:pt x="2488" y="145"/>
                </a:lnTo>
                <a:lnTo>
                  <a:pt x="2487" y="144"/>
                </a:lnTo>
                <a:lnTo>
                  <a:pt x="2485" y="144"/>
                </a:lnTo>
                <a:lnTo>
                  <a:pt x="2482" y="141"/>
                </a:lnTo>
                <a:lnTo>
                  <a:pt x="2480" y="138"/>
                </a:lnTo>
                <a:lnTo>
                  <a:pt x="2479" y="135"/>
                </a:lnTo>
                <a:lnTo>
                  <a:pt x="2479" y="133"/>
                </a:lnTo>
                <a:lnTo>
                  <a:pt x="2479" y="131"/>
                </a:lnTo>
                <a:lnTo>
                  <a:pt x="2480" y="128"/>
                </a:lnTo>
                <a:lnTo>
                  <a:pt x="2481" y="126"/>
                </a:lnTo>
                <a:lnTo>
                  <a:pt x="2483" y="124"/>
                </a:lnTo>
                <a:lnTo>
                  <a:pt x="2485" y="123"/>
                </a:lnTo>
                <a:lnTo>
                  <a:pt x="2487" y="121"/>
                </a:lnTo>
                <a:lnTo>
                  <a:pt x="2489" y="121"/>
                </a:lnTo>
                <a:lnTo>
                  <a:pt x="2492" y="120"/>
                </a:lnTo>
                <a:close/>
                <a:moveTo>
                  <a:pt x="1512" y="116"/>
                </a:moveTo>
                <a:lnTo>
                  <a:pt x="1514" y="116"/>
                </a:lnTo>
                <a:lnTo>
                  <a:pt x="1517" y="117"/>
                </a:lnTo>
                <a:lnTo>
                  <a:pt x="1521" y="120"/>
                </a:lnTo>
                <a:lnTo>
                  <a:pt x="1523" y="122"/>
                </a:lnTo>
                <a:lnTo>
                  <a:pt x="1524" y="124"/>
                </a:lnTo>
                <a:lnTo>
                  <a:pt x="1524" y="126"/>
                </a:lnTo>
                <a:lnTo>
                  <a:pt x="1525" y="129"/>
                </a:lnTo>
                <a:lnTo>
                  <a:pt x="1524" y="131"/>
                </a:lnTo>
                <a:lnTo>
                  <a:pt x="1524" y="133"/>
                </a:lnTo>
                <a:lnTo>
                  <a:pt x="1522" y="137"/>
                </a:lnTo>
                <a:lnTo>
                  <a:pt x="1519" y="139"/>
                </a:lnTo>
                <a:lnTo>
                  <a:pt x="1516" y="141"/>
                </a:lnTo>
                <a:lnTo>
                  <a:pt x="1512" y="141"/>
                </a:lnTo>
                <a:lnTo>
                  <a:pt x="1509" y="141"/>
                </a:lnTo>
                <a:lnTo>
                  <a:pt x="1507" y="140"/>
                </a:lnTo>
                <a:lnTo>
                  <a:pt x="1503" y="137"/>
                </a:lnTo>
                <a:lnTo>
                  <a:pt x="1501" y="135"/>
                </a:lnTo>
                <a:lnTo>
                  <a:pt x="1500" y="133"/>
                </a:lnTo>
                <a:lnTo>
                  <a:pt x="1500" y="131"/>
                </a:lnTo>
                <a:lnTo>
                  <a:pt x="1499" y="128"/>
                </a:lnTo>
                <a:lnTo>
                  <a:pt x="1500" y="126"/>
                </a:lnTo>
                <a:lnTo>
                  <a:pt x="1500" y="124"/>
                </a:lnTo>
                <a:lnTo>
                  <a:pt x="1502" y="120"/>
                </a:lnTo>
                <a:lnTo>
                  <a:pt x="1505" y="118"/>
                </a:lnTo>
                <a:lnTo>
                  <a:pt x="1508" y="116"/>
                </a:lnTo>
                <a:lnTo>
                  <a:pt x="1512" y="116"/>
                </a:lnTo>
                <a:close/>
                <a:moveTo>
                  <a:pt x="2621" y="57"/>
                </a:moveTo>
                <a:lnTo>
                  <a:pt x="2625" y="58"/>
                </a:lnTo>
                <a:lnTo>
                  <a:pt x="2628" y="59"/>
                </a:lnTo>
                <a:lnTo>
                  <a:pt x="2630" y="61"/>
                </a:lnTo>
                <a:lnTo>
                  <a:pt x="2632" y="64"/>
                </a:lnTo>
                <a:lnTo>
                  <a:pt x="2634" y="69"/>
                </a:lnTo>
                <a:lnTo>
                  <a:pt x="2634" y="71"/>
                </a:lnTo>
                <a:lnTo>
                  <a:pt x="2633" y="74"/>
                </a:lnTo>
                <a:lnTo>
                  <a:pt x="2632" y="76"/>
                </a:lnTo>
                <a:lnTo>
                  <a:pt x="2631" y="78"/>
                </a:lnTo>
                <a:lnTo>
                  <a:pt x="2629" y="80"/>
                </a:lnTo>
                <a:lnTo>
                  <a:pt x="2627" y="81"/>
                </a:lnTo>
                <a:lnTo>
                  <a:pt x="2624" y="82"/>
                </a:lnTo>
                <a:lnTo>
                  <a:pt x="2621" y="83"/>
                </a:lnTo>
                <a:lnTo>
                  <a:pt x="2618" y="82"/>
                </a:lnTo>
                <a:lnTo>
                  <a:pt x="2615" y="81"/>
                </a:lnTo>
                <a:lnTo>
                  <a:pt x="2612" y="79"/>
                </a:lnTo>
                <a:lnTo>
                  <a:pt x="2610" y="76"/>
                </a:lnTo>
                <a:lnTo>
                  <a:pt x="2609" y="71"/>
                </a:lnTo>
                <a:lnTo>
                  <a:pt x="2609" y="69"/>
                </a:lnTo>
                <a:lnTo>
                  <a:pt x="2609" y="67"/>
                </a:lnTo>
                <a:lnTo>
                  <a:pt x="2610" y="64"/>
                </a:lnTo>
                <a:lnTo>
                  <a:pt x="2611" y="62"/>
                </a:lnTo>
                <a:lnTo>
                  <a:pt x="2613" y="60"/>
                </a:lnTo>
                <a:lnTo>
                  <a:pt x="2615" y="59"/>
                </a:lnTo>
                <a:lnTo>
                  <a:pt x="2618" y="58"/>
                </a:lnTo>
                <a:lnTo>
                  <a:pt x="2621" y="57"/>
                </a:lnTo>
                <a:close/>
                <a:moveTo>
                  <a:pt x="1382" y="54"/>
                </a:moveTo>
                <a:lnTo>
                  <a:pt x="1385" y="54"/>
                </a:lnTo>
                <a:lnTo>
                  <a:pt x="1388" y="55"/>
                </a:lnTo>
                <a:lnTo>
                  <a:pt x="1390" y="57"/>
                </a:lnTo>
                <a:lnTo>
                  <a:pt x="1392" y="58"/>
                </a:lnTo>
                <a:lnTo>
                  <a:pt x="1393" y="60"/>
                </a:lnTo>
                <a:lnTo>
                  <a:pt x="1394" y="63"/>
                </a:lnTo>
                <a:lnTo>
                  <a:pt x="1395" y="65"/>
                </a:lnTo>
                <a:lnTo>
                  <a:pt x="1395" y="68"/>
                </a:lnTo>
                <a:lnTo>
                  <a:pt x="1394" y="70"/>
                </a:lnTo>
                <a:lnTo>
                  <a:pt x="1393" y="72"/>
                </a:lnTo>
                <a:lnTo>
                  <a:pt x="1391" y="75"/>
                </a:lnTo>
                <a:lnTo>
                  <a:pt x="1389" y="77"/>
                </a:lnTo>
                <a:lnTo>
                  <a:pt x="1385" y="79"/>
                </a:lnTo>
                <a:lnTo>
                  <a:pt x="1382" y="79"/>
                </a:lnTo>
                <a:lnTo>
                  <a:pt x="1379" y="79"/>
                </a:lnTo>
                <a:lnTo>
                  <a:pt x="1376" y="78"/>
                </a:lnTo>
                <a:lnTo>
                  <a:pt x="1374" y="76"/>
                </a:lnTo>
                <a:lnTo>
                  <a:pt x="1372" y="74"/>
                </a:lnTo>
                <a:lnTo>
                  <a:pt x="1371" y="72"/>
                </a:lnTo>
                <a:lnTo>
                  <a:pt x="1370" y="70"/>
                </a:lnTo>
                <a:lnTo>
                  <a:pt x="1370" y="68"/>
                </a:lnTo>
                <a:lnTo>
                  <a:pt x="1370" y="65"/>
                </a:lnTo>
                <a:lnTo>
                  <a:pt x="1370" y="63"/>
                </a:lnTo>
                <a:lnTo>
                  <a:pt x="1371" y="60"/>
                </a:lnTo>
                <a:lnTo>
                  <a:pt x="1373" y="58"/>
                </a:lnTo>
                <a:lnTo>
                  <a:pt x="1376" y="56"/>
                </a:lnTo>
                <a:lnTo>
                  <a:pt x="1379" y="54"/>
                </a:lnTo>
                <a:lnTo>
                  <a:pt x="1382" y="54"/>
                </a:lnTo>
                <a:close/>
                <a:moveTo>
                  <a:pt x="1269" y="0"/>
                </a:moveTo>
                <a:lnTo>
                  <a:pt x="1267" y="3"/>
                </a:lnTo>
                <a:lnTo>
                  <a:pt x="1264" y="5"/>
                </a:lnTo>
                <a:lnTo>
                  <a:pt x="1261" y="6"/>
                </a:lnTo>
                <a:lnTo>
                  <a:pt x="1258" y="6"/>
                </a:lnTo>
                <a:lnTo>
                  <a:pt x="1254" y="6"/>
                </a:lnTo>
                <a:lnTo>
                  <a:pt x="1253" y="5"/>
                </a:lnTo>
                <a:lnTo>
                  <a:pt x="1251" y="4"/>
                </a:lnTo>
                <a:lnTo>
                  <a:pt x="1249" y="2"/>
                </a:lnTo>
                <a:lnTo>
                  <a:pt x="1247" y="0"/>
                </a:lnTo>
                <a:lnTo>
                  <a:pt x="1269" y="0"/>
                </a:lnTo>
                <a:close/>
                <a:moveTo>
                  <a:pt x="1972" y="658"/>
                </a:moveTo>
                <a:lnTo>
                  <a:pt x="1975" y="659"/>
                </a:lnTo>
                <a:lnTo>
                  <a:pt x="1977" y="659"/>
                </a:lnTo>
                <a:lnTo>
                  <a:pt x="1979" y="661"/>
                </a:lnTo>
                <a:lnTo>
                  <a:pt x="1981" y="662"/>
                </a:lnTo>
                <a:lnTo>
                  <a:pt x="1983" y="664"/>
                </a:lnTo>
                <a:lnTo>
                  <a:pt x="1984" y="666"/>
                </a:lnTo>
                <a:lnTo>
                  <a:pt x="1984" y="668"/>
                </a:lnTo>
                <a:lnTo>
                  <a:pt x="1985" y="671"/>
                </a:lnTo>
                <a:lnTo>
                  <a:pt x="1984" y="673"/>
                </a:lnTo>
                <a:lnTo>
                  <a:pt x="1984" y="676"/>
                </a:lnTo>
                <a:lnTo>
                  <a:pt x="1982" y="678"/>
                </a:lnTo>
                <a:lnTo>
                  <a:pt x="1981" y="680"/>
                </a:lnTo>
                <a:lnTo>
                  <a:pt x="1979" y="681"/>
                </a:lnTo>
                <a:lnTo>
                  <a:pt x="1977" y="682"/>
                </a:lnTo>
                <a:lnTo>
                  <a:pt x="1975" y="683"/>
                </a:lnTo>
                <a:lnTo>
                  <a:pt x="1972" y="683"/>
                </a:lnTo>
                <a:lnTo>
                  <a:pt x="1970" y="683"/>
                </a:lnTo>
                <a:lnTo>
                  <a:pt x="1967" y="682"/>
                </a:lnTo>
                <a:lnTo>
                  <a:pt x="1965" y="681"/>
                </a:lnTo>
                <a:lnTo>
                  <a:pt x="1963" y="679"/>
                </a:lnTo>
                <a:lnTo>
                  <a:pt x="1961" y="675"/>
                </a:lnTo>
                <a:lnTo>
                  <a:pt x="1960" y="673"/>
                </a:lnTo>
                <a:lnTo>
                  <a:pt x="1960" y="671"/>
                </a:lnTo>
                <a:lnTo>
                  <a:pt x="1960" y="668"/>
                </a:lnTo>
                <a:lnTo>
                  <a:pt x="1961" y="666"/>
                </a:lnTo>
                <a:lnTo>
                  <a:pt x="1962" y="664"/>
                </a:lnTo>
                <a:lnTo>
                  <a:pt x="1964" y="662"/>
                </a:lnTo>
                <a:lnTo>
                  <a:pt x="1965" y="660"/>
                </a:lnTo>
                <a:lnTo>
                  <a:pt x="1967" y="659"/>
                </a:lnTo>
                <a:lnTo>
                  <a:pt x="1970" y="659"/>
                </a:lnTo>
                <a:lnTo>
                  <a:pt x="1972" y="658"/>
                </a:lnTo>
                <a:close/>
                <a:moveTo>
                  <a:pt x="2117" y="651"/>
                </a:moveTo>
                <a:lnTo>
                  <a:pt x="2121" y="652"/>
                </a:lnTo>
                <a:lnTo>
                  <a:pt x="2123" y="653"/>
                </a:lnTo>
                <a:lnTo>
                  <a:pt x="2125" y="655"/>
                </a:lnTo>
                <a:lnTo>
                  <a:pt x="2128" y="658"/>
                </a:lnTo>
                <a:lnTo>
                  <a:pt x="2129" y="660"/>
                </a:lnTo>
                <a:lnTo>
                  <a:pt x="2129" y="663"/>
                </a:lnTo>
                <a:lnTo>
                  <a:pt x="2129" y="665"/>
                </a:lnTo>
                <a:lnTo>
                  <a:pt x="2129" y="667"/>
                </a:lnTo>
                <a:lnTo>
                  <a:pt x="2128" y="670"/>
                </a:lnTo>
                <a:lnTo>
                  <a:pt x="2127" y="672"/>
                </a:lnTo>
                <a:lnTo>
                  <a:pt x="2125" y="673"/>
                </a:lnTo>
                <a:lnTo>
                  <a:pt x="2123" y="675"/>
                </a:lnTo>
                <a:lnTo>
                  <a:pt x="2121" y="676"/>
                </a:lnTo>
                <a:lnTo>
                  <a:pt x="2118" y="676"/>
                </a:lnTo>
                <a:lnTo>
                  <a:pt x="2117" y="676"/>
                </a:lnTo>
                <a:lnTo>
                  <a:pt x="2112" y="676"/>
                </a:lnTo>
                <a:lnTo>
                  <a:pt x="2110" y="675"/>
                </a:lnTo>
                <a:lnTo>
                  <a:pt x="2109" y="673"/>
                </a:lnTo>
                <a:lnTo>
                  <a:pt x="2106" y="670"/>
                </a:lnTo>
                <a:lnTo>
                  <a:pt x="2105" y="668"/>
                </a:lnTo>
                <a:lnTo>
                  <a:pt x="2105" y="665"/>
                </a:lnTo>
                <a:lnTo>
                  <a:pt x="2105" y="663"/>
                </a:lnTo>
                <a:lnTo>
                  <a:pt x="2105" y="660"/>
                </a:lnTo>
                <a:lnTo>
                  <a:pt x="2106" y="658"/>
                </a:lnTo>
                <a:lnTo>
                  <a:pt x="2107" y="656"/>
                </a:lnTo>
                <a:lnTo>
                  <a:pt x="2109" y="654"/>
                </a:lnTo>
                <a:lnTo>
                  <a:pt x="2111" y="653"/>
                </a:lnTo>
                <a:lnTo>
                  <a:pt x="2113" y="652"/>
                </a:lnTo>
                <a:lnTo>
                  <a:pt x="2116" y="652"/>
                </a:lnTo>
                <a:lnTo>
                  <a:pt x="2117" y="651"/>
                </a:lnTo>
                <a:close/>
                <a:moveTo>
                  <a:pt x="1829" y="647"/>
                </a:moveTo>
                <a:lnTo>
                  <a:pt x="1831" y="647"/>
                </a:lnTo>
                <a:lnTo>
                  <a:pt x="1833" y="647"/>
                </a:lnTo>
                <a:lnTo>
                  <a:pt x="1835" y="649"/>
                </a:lnTo>
                <a:lnTo>
                  <a:pt x="1837" y="650"/>
                </a:lnTo>
                <a:lnTo>
                  <a:pt x="1839" y="652"/>
                </a:lnTo>
                <a:lnTo>
                  <a:pt x="1840" y="654"/>
                </a:lnTo>
                <a:lnTo>
                  <a:pt x="1841" y="656"/>
                </a:lnTo>
                <a:lnTo>
                  <a:pt x="1841" y="658"/>
                </a:lnTo>
                <a:lnTo>
                  <a:pt x="1841" y="661"/>
                </a:lnTo>
                <a:lnTo>
                  <a:pt x="1841" y="663"/>
                </a:lnTo>
                <a:lnTo>
                  <a:pt x="1840" y="665"/>
                </a:lnTo>
                <a:lnTo>
                  <a:pt x="1837" y="669"/>
                </a:lnTo>
                <a:lnTo>
                  <a:pt x="1835" y="670"/>
                </a:lnTo>
                <a:lnTo>
                  <a:pt x="1833" y="671"/>
                </a:lnTo>
                <a:lnTo>
                  <a:pt x="1829" y="672"/>
                </a:lnTo>
                <a:lnTo>
                  <a:pt x="1827" y="672"/>
                </a:lnTo>
                <a:lnTo>
                  <a:pt x="1825" y="671"/>
                </a:lnTo>
                <a:lnTo>
                  <a:pt x="1823" y="670"/>
                </a:lnTo>
                <a:lnTo>
                  <a:pt x="1821" y="668"/>
                </a:lnTo>
                <a:lnTo>
                  <a:pt x="1819" y="667"/>
                </a:lnTo>
                <a:lnTo>
                  <a:pt x="1818" y="665"/>
                </a:lnTo>
                <a:lnTo>
                  <a:pt x="1817" y="662"/>
                </a:lnTo>
                <a:lnTo>
                  <a:pt x="1817" y="660"/>
                </a:lnTo>
                <a:lnTo>
                  <a:pt x="1817" y="657"/>
                </a:lnTo>
                <a:lnTo>
                  <a:pt x="1817" y="655"/>
                </a:lnTo>
                <a:lnTo>
                  <a:pt x="1818" y="653"/>
                </a:lnTo>
                <a:lnTo>
                  <a:pt x="1821" y="650"/>
                </a:lnTo>
                <a:lnTo>
                  <a:pt x="1823" y="648"/>
                </a:lnTo>
                <a:lnTo>
                  <a:pt x="1825" y="648"/>
                </a:lnTo>
                <a:lnTo>
                  <a:pt x="1829" y="647"/>
                </a:lnTo>
                <a:close/>
                <a:moveTo>
                  <a:pt x="2259" y="627"/>
                </a:moveTo>
                <a:lnTo>
                  <a:pt x="2263" y="627"/>
                </a:lnTo>
                <a:lnTo>
                  <a:pt x="2265" y="628"/>
                </a:lnTo>
                <a:lnTo>
                  <a:pt x="2266" y="629"/>
                </a:lnTo>
                <a:lnTo>
                  <a:pt x="2268" y="631"/>
                </a:lnTo>
                <a:lnTo>
                  <a:pt x="2269" y="632"/>
                </a:lnTo>
                <a:lnTo>
                  <a:pt x="2271" y="636"/>
                </a:lnTo>
                <a:lnTo>
                  <a:pt x="2271" y="639"/>
                </a:lnTo>
                <a:lnTo>
                  <a:pt x="2271" y="641"/>
                </a:lnTo>
                <a:lnTo>
                  <a:pt x="2270" y="643"/>
                </a:lnTo>
                <a:lnTo>
                  <a:pt x="2269" y="646"/>
                </a:lnTo>
                <a:lnTo>
                  <a:pt x="2268" y="648"/>
                </a:lnTo>
                <a:lnTo>
                  <a:pt x="2266" y="649"/>
                </a:lnTo>
                <a:lnTo>
                  <a:pt x="2264" y="650"/>
                </a:lnTo>
                <a:lnTo>
                  <a:pt x="2262" y="651"/>
                </a:lnTo>
                <a:lnTo>
                  <a:pt x="2259" y="652"/>
                </a:lnTo>
                <a:lnTo>
                  <a:pt x="2255" y="651"/>
                </a:lnTo>
                <a:lnTo>
                  <a:pt x="2253" y="650"/>
                </a:lnTo>
                <a:lnTo>
                  <a:pt x="2251" y="649"/>
                </a:lnTo>
                <a:lnTo>
                  <a:pt x="2250" y="648"/>
                </a:lnTo>
                <a:lnTo>
                  <a:pt x="2248" y="646"/>
                </a:lnTo>
                <a:lnTo>
                  <a:pt x="2247" y="642"/>
                </a:lnTo>
                <a:lnTo>
                  <a:pt x="2246" y="639"/>
                </a:lnTo>
                <a:lnTo>
                  <a:pt x="2246" y="637"/>
                </a:lnTo>
                <a:lnTo>
                  <a:pt x="2247" y="635"/>
                </a:lnTo>
                <a:lnTo>
                  <a:pt x="2248" y="633"/>
                </a:lnTo>
                <a:lnTo>
                  <a:pt x="2250" y="631"/>
                </a:lnTo>
                <a:lnTo>
                  <a:pt x="2251" y="629"/>
                </a:lnTo>
                <a:lnTo>
                  <a:pt x="2253" y="628"/>
                </a:lnTo>
                <a:lnTo>
                  <a:pt x="2256" y="627"/>
                </a:lnTo>
                <a:lnTo>
                  <a:pt x="2259" y="627"/>
                </a:lnTo>
                <a:close/>
                <a:moveTo>
                  <a:pt x="1688" y="617"/>
                </a:moveTo>
                <a:lnTo>
                  <a:pt x="1691" y="618"/>
                </a:lnTo>
                <a:lnTo>
                  <a:pt x="1694" y="619"/>
                </a:lnTo>
                <a:lnTo>
                  <a:pt x="1696" y="620"/>
                </a:lnTo>
                <a:lnTo>
                  <a:pt x="1698" y="622"/>
                </a:lnTo>
                <a:lnTo>
                  <a:pt x="1699" y="624"/>
                </a:lnTo>
                <a:lnTo>
                  <a:pt x="1701" y="628"/>
                </a:lnTo>
                <a:lnTo>
                  <a:pt x="1701" y="631"/>
                </a:lnTo>
                <a:lnTo>
                  <a:pt x="1700" y="633"/>
                </a:lnTo>
                <a:lnTo>
                  <a:pt x="1698" y="637"/>
                </a:lnTo>
                <a:lnTo>
                  <a:pt x="1696" y="640"/>
                </a:lnTo>
                <a:lnTo>
                  <a:pt x="1694" y="641"/>
                </a:lnTo>
                <a:lnTo>
                  <a:pt x="1692" y="642"/>
                </a:lnTo>
                <a:lnTo>
                  <a:pt x="1688" y="642"/>
                </a:lnTo>
                <a:lnTo>
                  <a:pt x="1685" y="642"/>
                </a:lnTo>
                <a:lnTo>
                  <a:pt x="1683" y="641"/>
                </a:lnTo>
                <a:lnTo>
                  <a:pt x="1681" y="640"/>
                </a:lnTo>
                <a:lnTo>
                  <a:pt x="1677" y="636"/>
                </a:lnTo>
                <a:lnTo>
                  <a:pt x="1676" y="632"/>
                </a:lnTo>
                <a:lnTo>
                  <a:pt x="1676" y="629"/>
                </a:lnTo>
                <a:lnTo>
                  <a:pt x="1676" y="627"/>
                </a:lnTo>
                <a:lnTo>
                  <a:pt x="1677" y="625"/>
                </a:lnTo>
                <a:lnTo>
                  <a:pt x="1678" y="623"/>
                </a:lnTo>
                <a:lnTo>
                  <a:pt x="1681" y="620"/>
                </a:lnTo>
                <a:lnTo>
                  <a:pt x="1682" y="619"/>
                </a:lnTo>
                <a:lnTo>
                  <a:pt x="1684" y="618"/>
                </a:lnTo>
                <a:lnTo>
                  <a:pt x="1688" y="617"/>
                </a:lnTo>
                <a:close/>
                <a:moveTo>
                  <a:pt x="2396" y="585"/>
                </a:moveTo>
                <a:lnTo>
                  <a:pt x="2400" y="586"/>
                </a:lnTo>
                <a:lnTo>
                  <a:pt x="2404" y="587"/>
                </a:lnTo>
                <a:lnTo>
                  <a:pt x="2406" y="590"/>
                </a:lnTo>
                <a:lnTo>
                  <a:pt x="2408" y="593"/>
                </a:lnTo>
                <a:lnTo>
                  <a:pt x="2409" y="596"/>
                </a:lnTo>
                <a:lnTo>
                  <a:pt x="2409" y="598"/>
                </a:lnTo>
                <a:lnTo>
                  <a:pt x="2409" y="601"/>
                </a:lnTo>
                <a:lnTo>
                  <a:pt x="2408" y="603"/>
                </a:lnTo>
                <a:lnTo>
                  <a:pt x="2407" y="605"/>
                </a:lnTo>
                <a:lnTo>
                  <a:pt x="2405" y="607"/>
                </a:lnTo>
                <a:lnTo>
                  <a:pt x="2403" y="608"/>
                </a:lnTo>
                <a:lnTo>
                  <a:pt x="2401" y="609"/>
                </a:lnTo>
                <a:lnTo>
                  <a:pt x="2396" y="610"/>
                </a:lnTo>
                <a:lnTo>
                  <a:pt x="2393" y="610"/>
                </a:lnTo>
                <a:lnTo>
                  <a:pt x="2391" y="609"/>
                </a:lnTo>
                <a:lnTo>
                  <a:pt x="2389" y="608"/>
                </a:lnTo>
                <a:lnTo>
                  <a:pt x="2387" y="605"/>
                </a:lnTo>
                <a:lnTo>
                  <a:pt x="2385" y="602"/>
                </a:lnTo>
                <a:lnTo>
                  <a:pt x="2384" y="599"/>
                </a:lnTo>
                <a:lnTo>
                  <a:pt x="2384" y="597"/>
                </a:lnTo>
                <a:lnTo>
                  <a:pt x="2384" y="595"/>
                </a:lnTo>
                <a:lnTo>
                  <a:pt x="2385" y="592"/>
                </a:lnTo>
                <a:lnTo>
                  <a:pt x="2386" y="590"/>
                </a:lnTo>
                <a:lnTo>
                  <a:pt x="2388" y="588"/>
                </a:lnTo>
                <a:lnTo>
                  <a:pt x="2390" y="587"/>
                </a:lnTo>
                <a:lnTo>
                  <a:pt x="2392" y="586"/>
                </a:lnTo>
                <a:lnTo>
                  <a:pt x="2396" y="585"/>
                </a:lnTo>
                <a:close/>
                <a:moveTo>
                  <a:pt x="1552" y="572"/>
                </a:moveTo>
                <a:lnTo>
                  <a:pt x="1556" y="573"/>
                </a:lnTo>
                <a:lnTo>
                  <a:pt x="1559" y="574"/>
                </a:lnTo>
                <a:lnTo>
                  <a:pt x="1560" y="576"/>
                </a:lnTo>
                <a:lnTo>
                  <a:pt x="1562" y="577"/>
                </a:lnTo>
                <a:lnTo>
                  <a:pt x="1563" y="580"/>
                </a:lnTo>
                <a:lnTo>
                  <a:pt x="1564" y="582"/>
                </a:lnTo>
                <a:lnTo>
                  <a:pt x="1564" y="584"/>
                </a:lnTo>
                <a:lnTo>
                  <a:pt x="1563" y="589"/>
                </a:lnTo>
                <a:lnTo>
                  <a:pt x="1561" y="592"/>
                </a:lnTo>
                <a:lnTo>
                  <a:pt x="1559" y="595"/>
                </a:lnTo>
                <a:lnTo>
                  <a:pt x="1555" y="596"/>
                </a:lnTo>
                <a:lnTo>
                  <a:pt x="1552" y="597"/>
                </a:lnTo>
                <a:lnTo>
                  <a:pt x="1547" y="596"/>
                </a:lnTo>
                <a:lnTo>
                  <a:pt x="1545" y="595"/>
                </a:lnTo>
                <a:lnTo>
                  <a:pt x="1543" y="593"/>
                </a:lnTo>
                <a:lnTo>
                  <a:pt x="1541" y="592"/>
                </a:lnTo>
                <a:lnTo>
                  <a:pt x="1540" y="590"/>
                </a:lnTo>
                <a:lnTo>
                  <a:pt x="1540" y="587"/>
                </a:lnTo>
                <a:lnTo>
                  <a:pt x="1539" y="585"/>
                </a:lnTo>
                <a:lnTo>
                  <a:pt x="1540" y="580"/>
                </a:lnTo>
                <a:lnTo>
                  <a:pt x="1542" y="577"/>
                </a:lnTo>
                <a:lnTo>
                  <a:pt x="1545" y="574"/>
                </a:lnTo>
                <a:lnTo>
                  <a:pt x="1548" y="573"/>
                </a:lnTo>
                <a:lnTo>
                  <a:pt x="1552" y="572"/>
                </a:lnTo>
                <a:close/>
                <a:moveTo>
                  <a:pt x="2529" y="529"/>
                </a:moveTo>
                <a:lnTo>
                  <a:pt x="2532" y="530"/>
                </a:lnTo>
                <a:lnTo>
                  <a:pt x="2536" y="531"/>
                </a:lnTo>
                <a:lnTo>
                  <a:pt x="2537" y="532"/>
                </a:lnTo>
                <a:lnTo>
                  <a:pt x="2538" y="533"/>
                </a:lnTo>
                <a:lnTo>
                  <a:pt x="2540" y="536"/>
                </a:lnTo>
                <a:lnTo>
                  <a:pt x="2541" y="539"/>
                </a:lnTo>
                <a:lnTo>
                  <a:pt x="2542" y="541"/>
                </a:lnTo>
                <a:lnTo>
                  <a:pt x="2541" y="546"/>
                </a:lnTo>
                <a:lnTo>
                  <a:pt x="2540" y="548"/>
                </a:lnTo>
                <a:lnTo>
                  <a:pt x="2538" y="550"/>
                </a:lnTo>
                <a:lnTo>
                  <a:pt x="2537" y="552"/>
                </a:lnTo>
                <a:lnTo>
                  <a:pt x="2534" y="553"/>
                </a:lnTo>
                <a:lnTo>
                  <a:pt x="2532" y="554"/>
                </a:lnTo>
                <a:lnTo>
                  <a:pt x="2529" y="554"/>
                </a:lnTo>
                <a:lnTo>
                  <a:pt x="2526" y="554"/>
                </a:lnTo>
                <a:lnTo>
                  <a:pt x="2523" y="552"/>
                </a:lnTo>
                <a:lnTo>
                  <a:pt x="2521" y="551"/>
                </a:lnTo>
                <a:lnTo>
                  <a:pt x="2520" y="550"/>
                </a:lnTo>
                <a:lnTo>
                  <a:pt x="2518" y="547"/>
                </a:lnTo>
                <a:lnTo>
                  <a:pt x="2517" y="545"/>
                </a:lnTo>
                <a:lnTo>
                  <a:pt x="2517" y="542"/>
                </a:lnTo>
                <a:lnTo>
                  <a:pt x="2517" y="538"/>
                </a:lnTo>
                <a:lnTo>
                  <a:pt x="2518" y="535"/>
                </a:lnTo>
                <a:lnTo>
                  <a:pt x="2520" y="533"/>
                </a:lnTo>
                <a:lnTo>
                  <a:pt x="2522" y="532"/>
                </a:lnTo>
                <a:lnTo>
                  <a:pt x="2524" y="530"/>
                </a:lnTo>
                <a:lnTo>
                  <a:pt x="2526" y="529"/>
                </a:lnTo>
                <a:lnTo>
                  <a:pt x="2529" y="529"/>
                </a:lnTo>
                <a:close/>
                <a:moveTo>
                  <a:pt x="1421" y="513"/>
                </a:moveTo>
                <a:lnTo>
                  <a:pt x="1424" y="513"/>
                </a:lnTo>
                <a:lnTo>
                  <a:pt x="1426" y="514"/>
                </a:lnTo>
                <a:lnTo>
                  <a:pt x="1428" y="516"/>
                </a:lnTo>
                <a:lnTo>
                  <a:pt x="1430" y="517"/>
                </a:lnTo>
                <a:lnTo>
                  <a:pt x="1432" y="519"/>
                </a:lnTo>
                <a:lnTo>
                  <a:pt x="1433" y="521"/>
                </a:lnTo>
                <a:lnTo>
                  <a:pt x="1433" y="524"/>
                </a:lnTo>
                <a:lnTo>
                  <a:pt x="1433" y="526"/>
                </a:lnTo>
                <a:lnTo>
                  <a:pt x="1433" y="529"/>
                </a:lnTo>
                <a:lnTo>
                  <a:pt x="1432" y="531"/>
                </a:lnTo>
                <a:lnTo>
                  <a:pt x="1430" y="534"/>
                </a:lnTo>
                <a:lnTo>
                  <a:pt x="1427" y="536"/>
                </a:lnTo>
                <a:lnTo>
                  <a:pt x="1424" y="537"/>
                </a:lnTo>
                <a:lnTo>
                  <a:pt x="1421" y="538"/>
                </a:lnTo>
                <a:lnTo>
                  <a:pt x="1418" y="537"/>
                </a:lnTo>
                <a:lnTo>
                  <a:pt x="1415" y="536"/>
                </a:lnTo>
                <a:lnTo>
                  <a:pt x="1413" y="535"/>
                </a:lnTo>
                <a:lnTo>
                  <a:pt x="1411" y="533"/>
                </a:lnTo>
                <a:lnTo>
                  <a:pt x="1410" y="531"/>
                </a:lnTo>
                <a:lnTo>
                  <a:pt x="1409" y="529"/>
                </a:lnTo>
                <a:lnTo>
                  <a:pt x="1408" y="527"/>
                </a:lnTo>
                <a:lnTo>
                  <a:pt x="1408" y="524"/>
                </a:lnTo>
                <a:lnTo>
                  <a:pt x="1409" y="522"/>
                </a:lnTo>
                <a:lnTo>
                  <a:pt x="1410" y="520"/>
                </a:lnTo>
                <a:lnTo>
                  <a:pt x="1412" y="517"/>
                </a:lnTo>
                <a:lnTo>
                  <a:pt x="1414" y="515"/>
                </a:lnTo>
                <a:lnTo>
                  <a:pt x="1417" y="513"/>
                </a:lnTo>
                <a:lnTo>
                  <a:pt x="1421" y="513"/>
                </a:lnTo>
                <a:close/>
                <a:moveTo>
                  <a:pt x="2656" y="461"/>
                </a:moveTo>
                <a:lnTo>
                  <a:pt x="2659" y="461"/>
                </a:lnTo>
                <a:lnTo>
                  <a:pt x="2662" y="462"/>
                </a:lnTo>
                <a:lnTo>
                  <a:pt x="2664" y="464"/>
                </a:lnTo>
                <a:lnTo>
                  <a:pt x="2666" y="467"/>
                </a:lnTo>
                <a:lnTo>
                  <a:pt x="2668" y="469"/>
                </a:lnTo>
                <a:lnTo>
                  <a:pt x="2668" y="472"/>
                </a:lnTo>
                <a:lnTo>
                  <a:pt x="2668" y="474"/>
                </a:lnTo>
                <a:lnTo>
                  <a:pt x="2668" y="476"/>
                </a:lnTo>
                <a:lnTo>
                  <a:pt x="2667" y="479"/>
                </a:lnTo>
                <a:lnTo>
                  <a:pt x="2666" y="481"/>
                </a:lnTo>
                <a:lnTo>
                  <a:pt x="2664" y="482"/>
                </a:lnTo>
                <a:lnTo>
                  <a:pt x="2662" y="484"/>
                </a:lnTo>
                <a:lnTo>
                  <a:pt x="2659" y="485"/>
                </a:lnTo>
                <a:lnTo>
                  <a:pt x="2656" y="486"/>
                </a:lnTo>
                <a:lnTo>
                  <a:pt x="2653" y="485"/>
                </a:lnTo>
                <a:lnTo>
                  <a:pt x="2650" y="484"/>
                </a:lnTo>
                <a:lnTo>
                  <a:pt x="2647" y="482"/>
                </a:lnTo>
                <a:lnTo>
                  <a:pt x="2645" y="480"/>
                </a:lnTo>
                <a:lnTo>
                  <a:pt x="2644" y="477"/>
                </a:lnTo>
                <a:lnTo>
                  <a:pt x="2643" y="475"/>
                </a:lnTo>
                <a:lnTo>
                  <a:pt x="2643" y="473"/>
                </a:lnTo>
                <a:lnTo>
                  <a:pt x="2644" y="470"/>
                </a:lnTo>
                <a:lnTo>
                  <a:pt x="2644" y="468"/>
                </a:lnTo>
                <a:lnTo>
                  <a:pt x="2646" y="466"/>
                </a:lnTo>
                <a:lnTo>
                  <a:pt x="2647" y="464"/>
                </a:lnTo>
                <a:lnTo>
                  <a:pt x="2649" y="463"/>
                </a:lnTo>
                <a:lnTo>
                  <a:pt x="2652" y="461"/>
                </a:lnTo>
                <a:lnTo>
                  <a:pt x="2656" y="461"/>
                </a:lnTo>
                <a:close/>
                <a:moveTo>
                  <a:pt x="1296" y="442"/>
                </a:moveTo>
                <a:lnTo>
                  <a:pt x="1299" y="442"/>
                </a:lnTo>
                <a:lnTo>
                  <a:pt x="1302" y="444"/>
                </a:lnTo>
                <a:lnTo>
                  <a:pt x="1304" y="445"/>
                </a:lnTo>
                <a:lnTo>
                  <a:pt x="1306" y="447"/>
                </a:lnTo>
                <a:lnTo>
                  <a:pt x="1307" y="449"/>
                </a:lnTo>
                <a:lnTo>
                  <a:pt x="1308" y="451"/>
                </a:lnTo>
                <a:lnTo>
                  <a:pt x="1308" y="454"/>
                </a:lnTo>
                <a:lnTo>
                  <a:pt x="1308" y="456"/>
                </a:lnTo>
                <a:lnTo>
                  <a:pt x="1307" y="458"/>
                </a:lnTo>
                <a:lnTo>
                  <a:pt x="1306" y="461"/>
                </a:lnTo>
                <a:lnTo>
                  <a:pt x="1304" y="463"/>
                </a:lnTo>
                <a:lnTo>
                  <a:pt x="1301" y="465"/>
                </a:lnTo>
                <a:lnTo>
                  <a:pt x="1299" y="466"/>
                </a:lnTo>
                <a:lnTo>
                  <a:pt x="1296" y="467"/>
                </a:lnTo>
                <a:lnTo>
                  <a:pt x="1292" y="466"/>
                </a:lnTo>
                <a:lnTo>
                  <a:pt x="1289" y="465"/>
                </a:lnTo>
                <a:lnTo>
                  <a:pt x="1287" y="463"/>
                </a:lnTo>
                <a:lnTo>
                  <a:pt x="1285" y="461"/>
                </a:lnTo>
                <a:lnTo>
                  <a:pt x="1284" y="459"/>
                </a:lnTo>
                <a:lnTo>
                  <a:pt x="1283" y="457"/>
                </a:lnTo>
                <a:lnTo>
                  <a:pt x="1283" y="455"/>
                </a:lnTo>
                <a:lnTo>
                  <a:pt x="1283" y="452"/>
                </a:lnTo>
                <a:lnTo>
                  <a:pt x="1284" y="450"/>
                </a:lnTo>
                <a:lnTo>
                  <a:pt x="1285" y="447"/>
                </a:lnTo>
                <a:lnTo>
                  <a:pt x="1287" y="445"/>
                </a:lnTo>
                <a:lnTo>
                  <a:pt x="1290" y="443"/>
                </a:lnTo>
                <a:lnTo>
                  <a:pt x="1292" y="442"/>
                </a:lnTo>
                <a:lnTo>
                  <a:pt x="1296" y="442"/>
                </a:lnTo>
                <a:close/>
                <a:moveTo>
                  <a:pt x="1176" y="361"/>
                </a:moveTo>
                <a:lnTo>
                  <a:pt x="1180" y="361"/>
                </a:lnTo>
                <a:lnTo>
                  <a:pt x="1184" y="363"/>
                </a:lnTo>
                <a:lnTo>
                  <a:pt x="1186" y="365"/>
                </a:lnTo>
                <a:lnTo>
                  <a:pt x="1187" y="367"/>
                </a:lnTo>
                <a:lnTo>
                  <a:pt x="1189" y="371"/>
                </a:lnTo>
                <a:lnTo>
                  <a:pt x="1189" y="374"/>
                </a:lnTo>
                <a:lnTo>
                  <a:pt x="1189" y="376"/>
                </a:lnTo>
                <a:lnTo>
                  <a:pt x="1188" y="378"/>
                </a:lnTo>
                <a:lnTo>
                  <a:pt x="1187" y="381"/>
                </a:lnTo>
                <a:lnTo>
                  <a:pt x="1184" y="383"/>
                </a:lnTo>
                <a:lnTo>
                  <a:pt x="1183" y="384"/>
                </a:lnTo>
                <a:lnTo>
                  <a:pt x="1182" y="384"/>
                </a:lnTo>
                <a:lnTo>
                  <a:pt x="1179" y="385"/>
                </a:lnTo>
                <a:lnTo>
                  <a:pt x="1176" y="386"/>
                </a:lnTo>
                <a:lnTo>
                  <a:pt x="1173" y="385"/>
                </a:lnTo>
                <a:lnTo>
                  <a:pt x="1169" y="383"/>
                </a:lnTo>
                <a:lnTo>
                  <a:pt x="1167" y="381"/>
                </a:lnTo>
                <a:lnTo>
                  <a:pt x="1166" y="380"/>
                </a:lnTo>
                <a:lnTo>
                  <a:pt x="1164" y="375"/>
                </a:lnTo>
                <a:lnTo>
                  <a:pt x="1164" y="373"/>
                </a:lnTo>
                <a:lnTo>
                  <a:pt x="1164" y="370"/>
                </a:lnTo>
                <a:lnTo>
                  <a:pt x="1165" y="368"/>
                </a:lnTo>
                <a:lnTo>
                  <a:pt x="1166" y="366"/>
                </a:lnTo>
                <a:lnTo>
                  <a:pt x="1168" y="364"/>
                </a:lnTo>
                <a:lnTo>
                  <a:pt x="1170" y="363"/>
                </a:lnTo>
                <a:lnTo>
                  <a:pt x="1171" y="362"/>
                </a:lnTo>
                <a:lnTo>
                  <a:pt x="1174" y="361"/>
                </a:lnTo>
                <a:lnTo>
                  <a:pt x="1176" y="361"/>
                </a:lnTo>
                <a:close/>
                <a:moveTo>
                  <a:pt x="1063" y="272"/>
                </a:moveTo>
                <a:lnTo>
                  <a:pt x="1067" y="272"/>
                </a:lnTo>
                <a:lnTo>
                  <a:pt x="1069" y="273"/>
                </a:lnTo>
                <a:lnTo>
                  <a:pt x="1071" y="275"/>
                </a:lnTo>
                <a:lnTo>
                  <a:pt x="1073" y="276"/>
                </a:lnTo>
                <a:lnTo>
                  <a:pt x="1074" y="278"/>
                </a:lnTo>
                <a:lnTo>
                  <a:pt x="1075" y="281"/>
                </a:lnTo>
                <a:lnTo>
                  <a:pt x="1076" y="283"/>
                </a:lnTo>
                <a:lnTo>
                  <a:pt x="1076" y="285"/>
                </a:lnTo>
                <a:lnTo>
                  <a:pt x="1075" y="288"/>
                </a:lnTo>
                <a:lnTo>
                  <a:pt x="1074" y="290"/>
                </a:lnTo>
                <a:lnTo>
                  <a:pt x="1074" y="291"/>
                </a:lnTo>
                <a:lnTo>
                  <a:pt x="1073" y="292"/>
                </a:lnTo>
                <a:lnTo>
                  <a:pt x="1071" y="294"/>
                </a:lnTo>
                <a:lnTo>
                  <a:pt x="1068" y="295"/>
                </a:lnTo>
                <a:lnTo>
                  <a:pt x="1066" y="296"/>
                </a:lnTo>
                <a:lnTo>
                  <a:pt x="1063" y="297"/>
                </a:lnTo>
                <a:lnTo>
                  <a:pt x="1059" y="296"/>
                </a:lnTo>
                <a:lnTo>
                  <a:pt x="1057" y="295"/>
                </a:lnTo>
                <a:lnTo>
                  <a:pt x="1055" y="294"/>
                </a:lnTo>
                <a:lnTo>
                  <a:pt x="1054" y="292"/>
                </a:lnTo>
                <a:lnTo>
                  <a:pt x="1052" y="290"/>
                </a:lnTo>
                <a:lnTo>
                  <a:pt x="1051" y="288"/>
                </a:lnTo>
                <a:lnTo>
                  <a:pt x="1051" y="285"/>
                </a:lnTo>
                <a:lnTo>
                  <a:pt x="1051" y="283"/>
                </a:lnTo>
                <a:lnTo>
                  <a:pt x="1051" y="280"/>
                </a:lnTo>
                <a:lnTo>
                  <a:pt x="1052" y="278"/>
                </a:lnTo>
                <a:lnTo>
                  <a:pt x="1053" y="277"/>
                </a:lnTo>
                <a:lnTo>
                  <a:pt x="1054" y="276"/>
                </a:lnTo>
                <a:lnTo>
                  <a:pt x="1056" y="274"/>
                </a:lnTo>
                <a:lnTo>
                  <a:pt x="1058" y="273"/>
                </a:lnTo>
                <a:lnTo>
                  <a:pt x="1061" y="272"/>
                </a:lnTo>
                <a:lnTo>
                  <a:pt x="1063" y="272"/>
                </a:lnTo>
                <a:close/>
                <a:moveTo>
                  <a:pt x="956" y="176"/>
                </a:moveTo>
                <a:lnTo>
                  <a:pt x="960" y="177"/>
                </a:lnTo>
                <a:lnTo>
                  <a:pt x="962" y="178"/>
                </a:lnTo>
                <a:lnTo>
                  <a:pt x="964" y="179"/>
                </a:lnTo>
                <a:lnTo>
                  <a:pt x="966" y="181"/>
                </a:lnTo>
                <a:lnTo>
                  <a:pt x="967" y="183"/>
                </a:lnTo>
                <a:lnTo>
                  <a:pt x="968" y="186"/>
                </a:lnTo>
                <a:lnTo>
                  <a:pt x="968" y="188"/>
                </a:lnTo>
                <a:lnTo>
                  <a:pt x="967" y="193"/>
                </a:lnTo>
                <a:lnTo>
                  <a:pt x="966" y="195"/>
                </a:lnTo>
                <a:lnTo>
                  <a:pt x="965" y="197"/>
                </a:lnTo>
                <a:lnTo>
                  <a:pt x="963" y="199"/>
                </a:lnTo>
                <a:lnTo>
                  <a:pt x="961" y="200"/>
                </a:lnTo>
                <a:lnTo>
                  <a:pt x="958" y="201"/>
                </a:lnTo>
                <a:lnTo>
                  <a:pt x="956" y="201"/>
                </a:lnTo>
                <a:lnTo>
                  <a:pt x="951" y="200"/>
                </a:lnTo>
                <a:lnTo>
                  <a:pt x="949" y="199"/>
                </a:lnTo>
                <a:lnTo>
                  <a:pt x="947" y="198"/>
                </a:lnTo>
                <a:lnTo>
                  <a:pt x="945" y="196"/>
                </a:lnTo>
                <a:lnTo>
                  <a:pt x="944" y="193"/>
                </a:lnTo>
                <a:lnTo>
                  <a:pt x="943" y="191"/>
                </a:lnTo>
                <a:lnTo>
                  <a:pt x="943" y="189"/>
                </a:lnTo>
                <a:lnTo>
                  <a:pt x="944" y="184"/>
                </a:lnTo>
                <a:lnTo>
                  <a:pt x="945" y="182"/>
                </a:lnTo>
                <a:lnTo>
                  <a:pt x="947" y="180"/>
                </a:lnTo>
                <a:lnTo>
                  <a:pt x="949" y="178"/>
                </a:lnTo>
                <a:lnTo>
                  <a:pt x="951" y="177"/>
                </a:lnTo>
                <a:lnTo>
                  <a:pt x="953" y="176"/>
                </a:lnTo>
                <a:lnTo>
                  <a:pt x="956" y="176"/>
                </a:lnTo>
                <a:close/>
                <a:moveTo>
                  <a:pt x="853" y="75"/>
                </a:moveTo>
                <a:lnTo>
                  <a:pt x="856" y="75"/>
                </a:lnTo>
                <a:lnTo>
                  <a:pt x="858" y="76"/>
                </a:lnTo>
                <a:lnTo>
                  <a:pt x="860" y="77"/>
                </a:lnTo>
                <a:lnTo>
                  <a:pt x="862" y="79"/>
                </a:lnTo>
                <a:lnTo>
                  <a:pt x="864" y="81"/>
                </a:lnTo>
                <a:lnTo>
                  <a:pt x="865" y="83"/>
                </a:lnTo>
                <a:lnTo>
                  <a:pt x="865" y="85"/>
                </a:lnTo>
                <a:lnTo>
                  <a:pt x="866" y="87"/>
                </a:lnTo>
                <a:lnTo>
                  <a:pt x="865" y="90"/>
                </a:lnTo>
                <a:lnTo>
                  <a:pt x="865" y="92"/>
                </a:lnTo>
                <a:lnTo>
                  <a:pt x="863" y="94"/>
                </a:lnTo>
                <a:lnTo>
                  <a:pt x="862" y="96"/>
                </a:lnTo>
                <a:lnTo>
                  <a:pt x="860" y="98"/>
                </a:lnTo>
                <a:lnTo>
                  <a:pt x="858" y="99"/>
                </a:lnTo>
                <a:lnTo>
                  <a:pt x="853" y="100"/>
                </a:lnTo>
                <a:lnTo>
                  <a:pt x="851" y="99"/>
                </a:lnTo>
                <a:lnTo>
                  <a:pt x="848" y="99"/>
                </a:lnTo>
                <a:lnTo>
                  <a:pt x="846" y="98"/>
                </a:lnTo>
                <a:lnTo>
                  <a:pt x="844" y="96"/>
                </a:lnTo>
                <a:lnTo>
                  <a:pt x="843" y="94"/>
                </a:lnTo>
                <a:lnTo>
                  <a:pt x="842" y="92"/>
                </a:lnTo>
                <a:lnTo>
                  <a:pt x="841" y="89"/>
                </a:lnTo>
                <a:lnTo>
                  <a:pt x="841" y="87"/>
                </a:lnTo>
                <a:lnTo>
                  <a:pt x="841" y="85"/>
                </a:lnTo>
                <a:lnTo>
                  <a:pt x="842" y="82"/>
                </a:lnTo>
                <a:lnTo>
                  <a:pt x="843" y="80"/>
                </a:lnTo>
                <a:lnTo>
                  <a:pt x="845" y="78"/>
                </a:lnTo>
                <a:lnTo>
                  <a:pt x="846" y="77"/>
                </a:lnTo>
                <a:lnTo>
                  <a:pt x="849" y="76"/>
                </a:lnTo>
                <a:lnTo>
                  <a:pt x="853" y="75"/>
                </a:lnTo>
                <a:close/>
                <a:moveTo>
                  <a:pt x="2016" y="1095"/>
                </a:moveTo>
                <a:lnTo>
                  <a:pt x="2019" y="1095"/>
                </a:lnTo>
                <a:lnTo>
                  <a:pt x="2021" y="1096"/>
                </a:lnTo>
                <a:lnTo>
                  <a:pt x="2023" y="1097"/>
                </a:lnTo>
                <a:lnTo>
                  <a:pt x="2025" y="1099"/>
                </a:lnTo>
                <a:lnTo>
                  <a:pt x="2026" y="1100"/>
                </a:lnTo>
                <a:lnTo>
                  <a:pt x="2028" y="1102"/>
                </a:lnTo>
                <a:lnTo>
                  <a:pt x="2028" y="1105"/>
                </a:lnTo>
                <a:lnTo>
                  <a:pt x="2029" y="1107"/>
                </a:lnTo>
                <a:lnTo>
                  <a:pt x="2029" y="1109"/>
                </a:lnTo>
                <a:lnTo>
                  <a:pt x="2028" y="1112"/>
                </a:lnTo>
                <a:lnTo>
                  <a:pt x="2027" y="1114"/>
                </a:lnTo>
                <a:lnTo>
                  <a:pt x="2025" y="1116"/>
                </a:lnTo>
                <a:lnTo>
                  <a:pt x="2024" y="1117"/>
                </a:lnTo>
                <a:lnTo>
                  <a:pt x="2022" y="1119"/>
                </a:lnTo>
                <a:lnTo>
                  <a:pt x="2019" y="1119"/>
                </a:lnTo>
                <a:lnTo>
                  <a:pt x="2017" y="1120"/>
                </a:lnTo>
                <a:lnTo>
                  <a:pt x="2014" y="1120"/>
                </a:lnTo>
                <a:lnTo>
                  <a:pt x="2012" y="1119"/>
                </a:lnTo>
                <a:lnTo>
                  <a:pt x="2010" y="1118"/>
                </a:lnTo>
                <a:lnTo>
                  <a:pt x="2008" y="1116"/>
                </a:lnTo>
                <a:lnTo>
                  <a:pt x="2006" y="1115"/>
                </a:lnTo>
                <a:lnTo>
                  <a:pt x="2004" y="1113"/>
                </a:lnTo>
                <a:lnTo>
                  <a:pt x="2003" y="1110"/>
                </a:lnTo>
                <a:lnTo>
                  <a:pt x="2003" y="1108"/>
                </a:lnTo>
                <a:lnTo>
                  <a:pt x="2003" y="1105"/>
                </a:lnTo>
                <a:lnTo>
                  <a:pt x="2004" y="1103"/>
                </a:lnTo>
                <a:lnTo>
                  <a:pt x="2006" y="1101"/>
                </a:lnTo>
                <a:lnTo>
                  <a:pt x="2007" y="1099"/>
                </a:lnTo>
                <a:lnTo>
                  <a:pt x="2009" y="1098"/>
                </a:lnTo>
                <a:lnTo>
                  <a:pt x="2011" y="1096"/>
                </a:lnTo>
                <a:lnTo>
                  <a:pt x="2013" y="1096"/>
                </a:lnTo>
                <a:lnTo>
                  <a:pt x="2016" y="1095"/>
                </a:lnTo>
                <a:close/>
                <a:moveTo>
                  <a:pt x="1872" y="1091"/>
                </a:moveTo>
                <a:lnTo>
                  <a:pt x="1874" y="1092"/>
                </a:lnTo>
                <a:lnTo>
                  <a:pt x="1877" y="1093"/>
                </a:lnTo>
                <a:lnTo>
                  <a:pt x="1879" y="1094"/>
                </a:lnTo>
                <a:lnTo>
                  <a:pt x="1881" y="1096"/>
                </a:lnTo>
                <a:lnTo>
                  <a:pt x="1882" y="1098"/>
                </a:lnTo>
                <a:lnTo>
                  <a:pt x="1883" y="1100"/>
                </a:lnTo>
                <a:lnTo>
                  <a:pt x="1884" y="1102"/>
                </a:lnTo>
                <a:lnTo>
                  <a:pt x="1884" y="1105"/>
                </a:lnTo>
                <a:lnTo>
                  <a:pt x="1883" y="1107"/>
                </a:lnTo>
                <a:lnTo>
                  <a:pt x="1883" y="1109"/>
                </a:lnTo>
                <a:lnTo>
                  <a:pt x="1881" y="1111"/>
                </a:lnTo>
                <a:lnTo>
                  <a:pt x="1880" y="1113"/>
                </a:lnTo>
                <a:lnTo>
                  <a:pt x="1878" y="1114"/>
                </a:lnTo>
                <a:lnTo>
                  <a:pt x="1876" y="1115"/>
                </a:lnTo>
                <a:lnTo>
                  <a:pt x="1872" y="1116"/>
                </a:lnTo>
                <a:lnTo>
                  <a:pt x="1869" y="1115"/>
                </a:lnTo>
                <a:lnTo>
                  <a:pt x="1866" y="1115"/>
                </a:lnTo>
                <a:lnTo>
                  <a:pt x="1864" y="1113"/>
                </a:lnTo>
                <a:lnTo>
                  <a:pt x="1862" y="1112"/>
                </a:lnTo>
                <a:lnTo>
                  <a:pt x="1861" y="1110"/>
                </a:lnTo>
                <a:lnTo>
                  <a:pt x="1860" y="1107"/>
                </a:lnTo>
                <a:lnTo>
                  <a:pt x="1859" y="1105"/>
                </a:lnTo>
                <a:lnTo>
                  <a:pt x="1859" y="1103"/>
                </a:lnTo>
                <a:lnTo>
                  <a:pt x="1860" y="1100"/>
                </a:lnTo>
                <a:lnTo>
                  <a:pt x="1861" y="1098"/>
                </a:lnTo>
                <a:lnTo>
                  <a:pt x="1862" y="1096"/>
                </a:lnTo>
                <a:lnTo>
                  <a:pt x="1863" y="1095"/>
                </a:lnTo>
                <a:lnTo>
                  <a:pt x="1865" y="1093"/>
                </a:lnTo>
                <a:lnTo>
                  <a:pt x="1867" y="1092"/>
                </a:lnTo>
                <a:lnTo>
                  <a:pt x="1872" y="1091"/>
                </a:lnTo>
                <a:close/>
                <a:moveTo>
                  <a:pt x="2160" y="1080"/>
                </a:moveTo>
                <a:lnTo>
                  <a:pt x="2164" y="1081"/>
                </a:lnTo>
                <a:lnTo>
                  <a:pt x="2167" y="1083"/>
                </a:lnTo>
                <a:lnTo>
                  <a:pt x="2170" y="1086"/>
                </a:lnTo>
                <a:lnTo>
                  <a:pt x="2171" y="1088"/>
                </a:lnTo>
                <a:lnTo>
                  <a:pt x="2172" y="1090"/>
                </a:lnTo>
                <a:lnTo>
                  <a:pt x="2172" y="1093"/>
                </a:lnTo>
                <a:lnTo>
                  <a:pt x="2171" y="1095"/>
                </a:lnTo>
                <a:lnTo>
                  <a:pt x="2171" y="1097"/>
                </a:lnTo>
                <a:lnTo>
                  <a:pt x="2170" y="1099"/>
                </a:lnTo>
                <a:lnTo>
                  <a:pt x="2168" y="1101"/>
                </a:lnTo>
                <a:lnTo>
                  <a:pt x="2166" y="1103"/>
                </a:lnTo>
                <a:lnTo>
                  <a:pt x="2164" y="1104"/>
                </a:lnTo>
                <a:lnTo>
                  <a:pt x="2162" y="1104"/>
                </a:lnTo>
                <a:lnTo>
                  <a:pt x="2159" y="1105"/>
                </a:lnTo>
                <a:lnTo>
                  <a:pt x="2155" y="1104"/>
                </a:lnTo>
                <a:lnTo>
                  <a:pt x="2152" y="1102"/>
                </a:lnTo>
                <a:lnTo>
                  <a:pt x="2149" y="1099"/>
                </a:lnTo>
                <a:lnTo>
                  <a:pt x="2148" y="1097"/>
                </a:lnTo>
                <a:lnTo>
                  <a:pt x="2147" y="1094"/>
                </a:lnTo>
                <a:lnTo>
                  <a:pt x="2147" y="1092"/>
                </a:lnTo>
                <a:lnTo>
                  <a:pt x="2148" y="1090"/>
                </a:lnTo>
                <a:lnTo>
                  <a:pt x="2148" y="1087"/>
                </a:lnTo>
                <a:lnTo>
                  <a:pt x="2149" y="1085"/>
                </a:lnTo>
                <a:lnTo>
                  <a:pt x="2151" y="1083"/>
                </a:lnTo>
                <a:lnTo>
                  <a:pt x="2153" y="1082"/>
                </a:lnTo>
                <a:lnTo>
                  <a:pt x="2155" y="1081"/>
                </a:lnTo>
                <a:lnTo>
                  <a:pt x="2157" y="1080"/>
                </a:lnTo>
                <a:lnTo>
                  <a:pt x="2160" y="1080"/>
                </a:lnTo>
                <a:close/>
                <a:moveTo>
                  <a:pt x="1730" y="1069"/>
                </a:moveTo>
                <a:lnTo>
                  <a:pt x="1732" y="1069"/>
                </a:lnTo>
                <a:lnTo>
                  <a:pt x="1735" y="1070"/>
                </a:lnTo>
                <a:lnTo>
                  <a:pt x="1737" y="1071"/>
                </a:lnTo>
                <a:lnTo>
                  <a:pt x="1739" y="1073"/>
                </a:lnTo>
                <a:lnTo>
                  <a:pt x="1740" y="1074"/>
                </a:lnTo>
                <a:lnTo>
                  <a:pt x="1741" y="1076"/>
                </a:lnTo>
                <a:lnTo>
                  <a:pt x="1742" y="1079"/>
                </a:lnTo>
                <a:lnTo>
                  <a:pt x="1742" y="1084"/>
                </a:lnTo>
                <a:lnTo>
                  <a:pt x="1741" y="1086"/>
                </a:lnTo>
                <a:lnTo>
                  <a:pt x="1740" y="1088"/>
                </a:lnTo>
                <a:lnTo>
                  <a:pt x="1739" y="1089"/>
                </a:lnTo>
                <a:lnTo>
                  <a:pt x="1737" y="1091"/>
                </a:lnTo>
                <a:lnTo>
                  <a:pt x="1734" y="1093"/>
                </a:lnTo>
                <a:lnTo>
                  <a:pt x="1730" y="1093"/>
                </a:lnTo>
                <a:lnTo>
                  <a:pt x="1727" y="1093"/>
                </a:lnTo>
                <a:lnTo>
                  <a:pt x="1725" y="1092"/>
                </a:lnTo>
                <a:lnTo>
                  <a:pt x="1723" y="1091"/>
                </a:lnTo>
                <a:lnTo>
                  <a:pt x="1721" y="1089"/>
                </a:lnTo>
                <a:lnTo>
                  <a:pt x="1719" y="1087"/>
                </a:lnTo>
                <a:lnTo>
                  <a:pt x="1718" y="1085"/>
                </a:lnTo>
                <a:lnTo>
                  <a:pt x="1718" y="1083"/>
                </a:lnTo>
                <a:lnTo>
                  <a:pt x="1718" y="1078"/>
                </a:lnTo>
                <a:lnTo>
                  <a:pt x="1718" y="1076"/>
                </a:lnTo>
                <a:lnTo>
                  <a:pt x="1719" y="1074"/>
                </a:lnTo>
                <a:lnTo>
                  <a:pt x="1721" y="1073"/>
                </a:lnTo>
                <a:lnTo>
                  <a:pt x="1722" y="1071"/>
                </a:lnTo>
                <a:lnTo>
                  <a:pt x="1726" y="1069"/>
                </a:lnTo>
                <a:lnTo>
                  <a:pt x="1730" y="1069"/>
                </a:lnTo>
                <a:close/>
                <a:moveTo>
                  <a:pt x="2300" y="1047"/>
                </a:moveTo>
                <a:lnTo>
                  <a:pt x="2303" y="1048"/>
                </a:lnTo>
                <a:lnTo>
                  <a:pt x="2307" y="1049"/>
                </a:lnTo>
                <a:lnTo>
                  <a:pt x="2310" y="1052"/>
                </a:lnTo>
                <a:lnTo>
                  <a:pt x="2311" y="1056"/>
                </a:lnTo>
                <a:lnTo>
                  <a:pt x="2312" y="1058"/>
                </a:lnTo>
                <a:lnTo>
                  <a:pt x="2312" y="1061"/>
                </a:lnTo>
                <a:lnTo>
                  <a:pt x="2310" y="1065"/>
                </a:lnTo>
                <a:lnTo>
                  <a:pt x="2309" y="1067"/>
                </a:lnTo>
                <a:lnTo>
                  <a:pt x="2307" y="1069"/>
                </a:lnTo>
                <a:lnTo>
                  <a:pt x="2305" y="1070"/>
                </a:lnTo>
                <a:lnTo>
                  <a:pt x="2303" y="1071"/>
                </a:lnTo>
                <a:lnTo>
                  <a:pt x="2300" y="1072"/>
                </a:lnTo>
                <a:lnTo>
                  <a:pt x="2296" y="1071"/>
                </a:lnTo>
                <a:lnTo>
                  <a:pt x="2292" y="1069"/>
                </a:lnTo>
                <a:lnTo>
                  <a:pt x="2290" y="1067"/>
                </a:lnTo>
                <a:lnTo>
                  <a:pt x="2288" y="1063"/>
                </a:lnTo>
                <a:lnTo>
                  <a:pt x="2287" y="1060"/>
                </a:lnTo>
                <a:lnTo>
                  <a:pt x="2287" y="1058"/>
                </a:lnTo>
                <a:lnTo>
                  <a:pt x="2289" y="1054"/>
                </a:lnTo>
                <a:lnTo>
                  <a:pt x="2290" y="1052"/>
                </a:lnTo>
                <a:lnTo>
                  <a:pt x="2292" y="1050"/>
                </a:lnTo>
                <a:lnTo>
                  <a:pt x="2294" y="1049"/>
                </a:lnTo>
                <a:lnTo>
                  <a:pt x="2296" y="1048"/>
                </a:lnTo>
                <a:lnTo>
                  <a:pt x="2300" y="1047"/>
                </a:lnTo>
                <a:close/>
                <a:moveTo>
                  <a:pt x="1592" y="1028"/>
                </a:moveTo>
                <a:lnTo>
                  <a:pt x="1596" y="1029"/>
                </a:lnTo>
                <a:lnTo>
                  <a:pt x="1598" y="1030"/>
                </a:lnTo>
                <a:lnTo>
                  <a:pt x="1600" y="1031"/>
                </a:lnTo>
                <a:lnTo>
                  <a:pt x="1602" y="1033"/>
                </a:lnTo>
                <a:lnTo>
                  <a:pt x="1603" y="1035"/>
                </a:lnTo>
                <a:lnTo>
                  <a:pt x="1604" y="1038"/>
                </a:lnTo>
                <a:lnTo>
                  <a:pt x="1604" y="1040"/>
                </a:lnTo>
                <a:lnTo>
                  <a:pt x="1603" y="1045"/>
                </a:lnTo>
                <a:lnTo>
                  <a:pt x="1601" y="1048"/>
                </a:lnTo>
                <a:lnTo>
                  <a:pt x="1599" y="1051"/>
                </a:lnTo>
                <a:lnTo>
                  <a:pt x="1595" y="1052"/>
                </a:lnTo>
                <a:lnTo>
                  <a:pt x="1592" y="1053"/>
                </a:lnTo>
                <a:lnTo>
                  <a:pt x="1588" y="1052"/>
                </a:lnTo>
                <a:lnTo>
                  <a:pt x="1585" y="1051"/>
                </a:lnTo>
                <a:lnTo>
                  <a:pt x="1583" y="1050"/>
                </a:lnTo>
                <a:lnTo>
                  <a:pt x="1582" y="1048"/>
                </a:lnTo>
                <a:lnTo>
                  <a:pt x="1581" y="1046"/>
                </a:lnTo>
                <a:lnTo>
                  <a:pt x="1580" y="1044"/>
                </a:lnTo>
                <a:lnTo>
                  <a:pt x="1579" y="1041"/>
                </a:lnTo>
                <a:lnTo>
                  <a:pt x="1580" y="1036"/>
                </a:lnTo>
                <a:lnTo>
                  <a:pt x="1582" y="1033"/>
                </a:lnTo>
                <a:lnTo>
                  <a:pt x="1585" y="1030"/>
                </a:lnTo>
                <a:lnTo>
                  <a:pt x="1588" y="1029"/>
                </a:lnTo>
                <a:lnTo>
                  <a:pt x="1592" y="1028"/>
                </a:lnTo>
                <a:close/>
                <a:moveTo>
                  <a:pt x="2435" y="998"/>
                </a:moveTo>
                <a:lnTo>
                  <a:pt x="2439" y="999"/>
                </a:lnTo>
                <a:lnTo>
                  <a:pt x="2440" y="1000"/>
                </a:lnTo>
                <a:lnTo>
                  <a:pt x="2442" y="1000"/>
                </a:lnTo>
                <a:lnTo>
                  <a:pt x="2444" y="1003"/>
                </a:lnTo>
                <a:lnTo>
                  <a:pt x="2446" y="1006"/>
                </a:lnTo>
                <a:lnTo>
                  <a:pt x="2447" y="1008"/>
                </a:lnTo>
                <a:lnTo>
                  <a:pt x="2447" y="1011"/>
                </a:lnTo>
                <a:lnTo>
                  <a:pt x="2447" y="1013"/>
                </a:lnTo>
                <a:lnTo>
                  <a:pt x="2446" y="1015"/>
                </a:lnTo>
                <a:lnTo>
                  <a:pt x="2445" y="1018"/>
                </a:lnTo>
                <a:lnTo>
                  <a:pt x="2444" y="1019"/>
                </a:lnTo>
                <a:lnTo>
                  <a:pt x="2442" y="1021"/>
                </a:lnTo>
                <a:lnTo>
                  <a:pt x="2440" y="1022"/>
                </a:lnTo>
                <a:lnTo>
                  <a:pt x="2437" y="1023"/>
                </a:lnTo>
                <a:lnTo>
                  <a:pt x="2435" y="1023"/>
                </a:lnTo>
                <a:lnTo>
                  <a:pt x="2431" y="1023"/>
                </a:lnTo>
                <a:lnTo>
                  <a:pt x="2430" y="1022"/>
                </a:lnTo>
                <a:lnTo>
                  <a:pt x="2428" y="1021"/>
                </a:lnTo>
                <a:lnTo>
                  <a:pt x="2426" y="1019"/>
                </a:lnTo>
                <a:lnTo>
                  <a:pt x="2424" y="1016"/>
                </a:lnTo>
                <a:lnTo>
                  <a:pt x="2423" y="1013"/>
                </a:lnTo>
                <a:lnTo>
                  <a:pt x="2423" y="1011"/>
                </a:lnTo>
                <a:lnTo>
                  <a:pt x="2423" y="1008"/>
                </a:lnTo>
                <a:lnTo>
                  <a:pt x="2424" y="1006"/>
                </a:lnTo>
                <a:lnTo>
                  <a:pt x="2425" y="1004"/>
                </a:lnTo>
                <a:lnTo>
                  <a:pt x="2426" y="1002"/>
                </a:lnTo>
                <a:lnTo>
                  <a:pt x="2428" y="1001"/>
                </a:lnTo>
                <a:lnTo>
                  <a:pt x="2430" y="999"/>
                </a:lnTo>
                <a:lnTo>
                  <a:pt x="2433" y="999"/>
                </a:lnTo>
                <a:lnTo>
                  <a:pt x="2435" y="998"/>
                </a:lnTo>
                <a:close/>
                <a:moveTo>
                  <a:pt x="1459" y="971"/>
                </a:moveTo>
                <a:lnTo>
                  <a:pt x="1462" y="972"/>
                </a:lnTo>
                <a:lnTo>
                  <a:pt x="1465" y="972"/>
                </a:lnTo>
                <a:lnTo>
                  <a:pt x="1467" y="974"/>
                </a:lnTo>
                <a:lnTo>
                  <a:pt x="1469" y="975"/>
                </a:lnTo>
                <a:lnTo>
                  <a:pt x="1470" y="977"/>
                </a:lnTo>
                <a:lnTo>
                  <a:pt x="1471" y="980"/>
                </a:lnTo>
                <a:lnTo>
                  <a:pt x="1471" y="982"/>
                </a:lnTo>
                <a:lnTo>
                  <a:pt x="1472" y="984"/>
                </a:lnTo>
                <a:lnTo>
                  <a:pt x="1471" y="987"/>
                </a:lnTo>
                <a:lnTo>
                  <a:pt x="1470" y="989"/>
                </a:lnTo>
                <a:lnTo>
                  <a:pt x="1468" y="992"/>
                </a:lnTo>
                <a:lnTo>
                  <a:pt x="1466" y="994"/>
                </a:lnTo>
                <a:lnTo>
                  <a:pt x="1463" y="995"/>
                </a:lnTo>
                <a:lnTo>
                  <a:pt x="1459" y="997"/>
                </a:lnTo>
                <a:lnTo>
                  <a:pt x="1457" y="997"/>
                </a:lnTo>
                <a:lnTo>
                  <a:pt x="1454" y="995"/>
                </a:lnTo>
                <a:lnTo>
                  <a:pt x="1452" y="993"/>
                </a:lnTo>
                <a:lnTo>
                  <a:pt x="1450" y="992"/>
                </a:lnTo>
                <a:lnTo>
                  <a:pt x="1449" y="990"/>
                </a:lnTo>
                <a:lnTo>
                  <a:pt x="1448" y="988"/>
                </a:lnTo>
                <a:lnTo>
                  <a:pt x="1447" y="985"/>
                </a:lnTo>
                <a:lnTo>
                  <a:pt x="1447" y="983"/>
                </a:lnTo>
                <a:lnTo>
                  <a:pt x="1447" y="981"/>
                </a:lnTo>
                <a:lnTo>
                  <a:pt x="1448" y="978"/>
                </a:lnTo>
                <a:lnTo>
                  <a:pt x="1450" y="975"/>
                </a:lnTo>
                <a:lnTo>
                  <a:pt x="1453" y="973"/>
                </a:lnTo>
                <a:lnTo>
                  <a:pt x="1456" y="972"/>
                </a:lnTo>
                <a:lnTo>
                  <a:pt x="1459" y="971"/>
                </a:lnTo>
                <a:close/>
                <a:moveTo>
                  <a:pt x="2565" y="935"/>
                </a:moveTo>
                <a:lnTo>
                  <a:pt x="2568" y="936"/>
                </a:lnTo>
                <a:lnTo>
                  <a:pt x="2571" y="937"/>
                </a:lnTo>
                <a:lnTo>
                  <a:pt x="2574" y="939"/>
                </a:lnTo>
                <a:lnTo>
                  <a:pt x="2576" y="942"/>
                </a:lnTo>
                <a:lnTo>
                  <a:pt x="2577" y="944"/>
                </a:lnTo>
                <a:lnTo>
                  <a:pt x="2577" y="947"/>
                </a:lnTo>
                <a:lnTo>
                  <a:pt x="2577" y="949"/>
                </a:lnTo>
                <a:lnTo>
                  <a:pt x="2577" y="951"/>
                </a:lnTo>
                <a:lnTo>
                  <a:pt x="2576" y="953"/>
                </a:lnTo>
                <a:lnTo>
                  <a:pt x="2574" y="955"/>
                </a:lnTo>
                <a:lnTo>
                  <a:pt x="2573" y="957"/>
                </a:lnTo>
                <a:lnTo>
                  <a:pt x="2571" y="959"/>
                </a:lnTo>
                <a:lnTo>
                  <a:pt x="2568" y="960"/>
                </a:lnTo>
                <a:lnTo>
                  <a:pt x="2565" y="960"/>
                </a:lnTo>
                <a:lnTo>
                  <a:pt x="2562" y="960"/>
                </a:lnTo>
                <a:lnTo>
                  <a:pt x="2559" y="958"/>
                </a:lnTo>
                <a:lnTo>
                  <a:pt x="2556" y="956"/>
                </a:lnTo>
                <a:lnTo>
                  <a:pt x="2554" y="954"/>
                </a:lnTo>
                <a:lnTo>
                  <a:pt x="2553" y="951"/>
                </a:lnTo>
                <a:lnTo>
                  <a:pt x="2553" y="949"/>
                </a:lnTo>
                <a:lnTo>
                  <a:pt x="2553" y="946"/>
                </a:lnTo>
                <a:lnTo>
                  <a:pt x="2553" y="944"/>
                </a:lnTo>
                <a:lnTo>
                  <a:pt x="2554" y="942"/>
                </a:lnTo>
                <a:lnTo>
                  <a:pt x="2555" y="940"/>
                </a:lnTo>
                <a:lnTo>
                  <a:pt x="2557" y="938"/>
                </a:lnTo>
                <a:lnTo>
                  <a:pt x="2559" y="937"/>
                </a:lnTo>
                <a:lnTo>
                  <a:pt x="2562" y="936"/>
                </a:lnTo>
                <a:lnTo>
                  <a:pt x="2565" y="935"/>
                </a:lnTo>
                <a:close/>
                <a:moveTo>
                  <a:pt x="1333" y="902"/>
                </a:moveTo>
                <a:lnTo>
                  <a:pt x="1336" y="903"/>
                </a:lnTo>
                <a:lnTo>
                  <a:pt x="1339" y="904"/>
                </a:lnTo>
                <a:lnTo>
                  <a:pt x="1341" y="905"/>
                </a:lnTo>
                <a:lnTo>
                  <a:pt x="1343" y="907"/>
                </a:lnTo>
                <a:lnTo>
                  <a:pt x="1344" y="909"/>
                </a:lnTo>
                <a:lnTo>
                  <a:pt x="1345" y="911"/>
                </a:lnTo>
                <a:lnTo>
                  <a:pt x="1345" y="914"/>
                </a:lnTo>
                <a:lnTo>
                  <a:pt x="1345" y="916"/>
                </a:lnTo>
                <a:lnTo>
                  <a:pt x="1345" y="919"/>
                </a:lnTo>
                <a:lnTo>
                  <a:pt x="1344" y="921"/>
                </a:lnTo>
                <a:lnTo>
                  <a:pt x="1342" y="923"/>
                </a:lnTo>
                <a:lnTo>
                  <a:pt x="1339" y="925"/>
                </a:lnTo>
                <a:lnTo>
                  <a:pt x="1336" y="926"/>
                </a:lnTo>
                <a:lnTo>
                  <a:pt x="1333" y="927"/>
                </a:lnTo>
                <a:lnTo>
                  <a:pt x="1330" y="926"/>
                </a:lnTo>
                <a:lnTo>
                  <a:pt x="1327" y="925"/>
                </a:lnTo>
                <a:lnTo>
                  <a:pt x="1325" y="923"/>
                </a:lnTo>
                <a:lnTo>
                  <a:pt x="1323" y="922"/>
                </a:lnTo>
                <a:lnTo>
                  <a:pt x="1322" y="920"/>
                </a:lnTo>
                <a:lnTo>
                  <a:pt x="1321" y="917"/>
                </a:lnTo>
                <a:lnTo>
                  <a:pt x="1321" y="915"/>
                </a:lnTo>
                <a:lnTo>
                  <a:pt x="1321" y="913"/>
                </a:lnTo>
                <a:lnTo>
                  <a:pt x="1321" y="910"/>
                </a:lnTo>
                <a:lnTo>
                  <a:pt x="1323" y="908"/>
                </a:lnTo>
                <a:lnTo>
                  <a:pt x="1325" y="905"/>
                </a:lnTo>
                <a:lnTo>
                  <a:pt x="1327" y="904"/>
                </a:lnTo>
                <a:lnTo>
                  <a:pt x="1330" y="902"/>
                </a:lnTo>
                <a:lnTo>
                  <a:pt x="1333" y="902"/>
                </a:lnTo>
                <a:close/>
                <a:moveTo>
                  <a:pt x="1213" y="822"/>
                </a:moveTo>
                <a:lnTo>
                  <a:pt x="1217" y="823"/>
                </a:lnTo>
                <a:lnTo>
                  <a:pt x="1221" y="824"/>
                </a:lnTo>
                <a:lnTo>
                  <a:pt x="1223" y="826"/>
                </a:lnTo>
                <a:lnTo>
                  <a:pt x="1224" y="828"/>
                </a:lnTo>
                <a:lnTo>
                  <a:pt x="1225" y="830"/>
                </a:lnTo>
                <a:lnTo>
                  <a:pt x="1226" y="832"/>
                </a:lnTo>
                <a:lnTo>
                  <a:pt x="1226" y="835"/>
                </a:lnTo>
                <a:lnTo>
                  <a:pt x="1225" y="837"/>
                </a:lnTo>
                <a:lnTo>
                  <a:pt x="1225" y="839"/>
                </a:lnTo>
                <a:lnTo>
                  <a:pt x="1223" y="842"/>
                </a:lnTo>
                <a:lnTo>
                  <a:pt x="1221" y="844"/>
                </a:lnTo>
                <a:lnTo>
                  <a:pt x="1220" y="845"/>
                </a:lnTo>
                <a:lnTo>
                  <a:pt x="1219" y="845"/>
                </a:lnTo>
                <a:lnTo>
                  <a:pt x="1216" y="846"/>
                </a:lnTo>
                <a:lnTo>
                  <a:pt x="1213" y="847"/>
                </a:lnTo>
                <a:lnTo>
                  <a:pt x="1210" y="846"/>
                </a:lnTo>
                <a:lnTo>
                  <a:pt x="1206" y="844"/>
                </a:lnTo>
                <a:lnTo>
                  <a:pt x="1204" y="843"/>
                </a:lnTo>
                <a:lnTo>
                  <a:pt x="1203" y="841"/>
                </a:lnTo>
                <a:lnTo>
                  <a:pt x="1202" y="839"/>
                </a:lnTo>
                <a:lnTo>
                  <a:pt x="1201" y="836"/>
                </a:lnTo>
                <a:lnTo>
                  <a:pt x="1201" y="834"/>
                </a:lnTo>
                <a:lnTo>
                  <a:pt x="1201" y="832"/>
                </a:lnTo>
                <a:lnTo>
                  <a:pt x="1202" y="829"/>
                </a:lnTo>
                <a:lnTo>
                  <a:pt x="1203" y="827"/>
                </a:lnTo>
                <a:lnTo>
                  <a:pt x="1206" y="825"/>
                </a:lnTo>
                <a:lnTo>
                  <a:pt x="1207" y="824"/>
                </a:lnTo>
                <a:lnTo>
                  <a:pt x="1208" y="823"/>
                </a:lnTo>
                <a:lnTo>
                  <a:pt x="1211" y="822"/>
                </a:lnTo>
                <a:lnTo>
                  <a:pt x="1213" y="822"/>
                </a:lnTo>
                <a:close/>
                <a:moveTo>
                  <a:pt x="1100" y="733"/>
                </a:moveTo>
                <a:lnTo>
                  <a:pt x="1104" y="734"/>
                </a:lnTo>
                <a:lnTo>
                  <a:pt x="1108" y="736"/>
                </a:lnTo>
                <a:lnTo>
                  <a:pt x="1110" y="738"/>
                </a:lnTo>
                <a:lnTo>
                  <a:pt x="1111" y="740"/>
                </a:lnTo>
                <a:lnTo>
                  <a:pt x="1112" y="742"/>
                </a:lnTo>
                <a:lnTo>
                  <a:pt x="1112" y="744"/>
                </a:lnTo>
                <a:lnTo>
                  <a:pt x="1112" y="747"/>
                </a:lnTo>
                <a:lnTo>
                  <a:pt x="1112" y="749"/>
                </a:lnTo>
                <a:lnTo>
                  <a:pt x="1111" y="751"/>
                </a:lnTo>
                <a:lnTo>
                  <a:pt x="1110" y="752"/>
                </a:lnTo>
                <a:lnTo>
                  <a:pt x="1110" y="753"/>
                </a:lnTo>
                <a:lnTo>
                  <a:pt x="1108" y="755"/>
                </a:lnTo>
                <a:lnTo>
                  <a:pt x="1105" y="757"/>
                </a:lnTo>
                <a:lnTo>
                  <a:pt x="1103" y="757"/>
                </a:lnTo>
                <a:lnTo>
                  <a:pt x="1100" y="758"/>
                </a:lnTo>
                <a:lnTo>
                  <a:pt x="1096" y="757"/>
                </a:lnTo>
                <a:lnTo>
                  <a:pt x="1092" y="755"/>
                </a:lnTo>
                <a:lnTo>
                  <a:pt x="1091" y="753"/>
                </a:lnTo>
                <a:lnTo>
                  <a:pt x="1089" y="751"/>
                </a:lnTo>
                <a:lnTo>
                  <a:pt x="1088" y="749"/>
                </a:lnTo>
                <a:lnTo>
                  <a:pt x="1088" y="746"/>
                </a:lnTo>
                <a:lnTo>
                  <a:pt x="1088" y="744"/>
                </a:lnTo>
                <a:lnTo>
                  <a:pt x="1088" y="742"/>
                </a:lnTo>
                <a:lnTo>
                  <a:pt x="1089" y="740"/>
                </a:lnTo>
                <a:lnTo>
                  <a:pt x="1090" y="738"/>
                </a:lnTo>
                <a:lnTo>
                  <a:pt x="1091" y="737"/>
                </a:lnTo>
                <a:lnTo>
                  <a:pt x="1093" y="736"/>
                </a:lnTo>
                <a:lnTo>
                  <a:pt x="1095" y="734"/>
                </a:lnTo>
                <a:lnTo>
                  <a:pt x="1098" y="733"/>
                </a:lnTo>
                <a:lnTo>
                  <a:pt x="1100" y="733"/>
                </a:lnTo>
                <a:close/>
                <a:moveTo>
                  <a:pt x="993" y="637"/>
                </a:moveTo>
                <a:lnTo>
                  <a:pt x="997" y="638"/>
                </a:lnTo>
                <a:lnTo>
                  <a:pt x="1000" y="639"/>
                </a:lnTo>
                <a:lnTo>
                  <a:pt x="1001" y="640"/>
                </a:lnTo>
                <a:lnTo>
                  <a:pt x="1003" y="642"/>
                </a:lnTo>
                <a:lnTo>
                  <a:pt x="1004" y="644"/>
                </a:lnTo>
                <a:lnTo>
                  <a:pt x="1005" y="647"/>
                </a:lnTo>
                <a:lnTo>
                  <a:pt x="1005" y="649"/>
                </a:lnTo>
                <a:lnTo>
                  <a:pt x="1004" y="654"/>
                </a:lnTo>
                <a:lnTo>
                  <a:pt x="1003" y="656"/>
                </a:lnTo>
                <a:lnTo>
                  <a:pt x="1002" y="658"/>
                </a:lnTo>
                <a:lnTo>
                  <a:pt x="1000" y="659"/>
                </a:lnTo>
                <a:lnTo>
                  <a:pt x="998" y="661"/>
                </a:lnTo>
                <a:lnTo>
                  <a:pt x="995" y="661"/>
                </a:lnTo>
                <a:lnTo>
                  <a:pt x="993" y="662"/>
                </a:lnTo>
                <a:lnTo>
                  <a:pt x="988" y="661"/>
                </a:lnTo>
                <a:lnTo>
                  <a:pt x="986" y="660"/>
                </a:lnTo>
                <a:lnTo>
                  <a:pt x="984" y="658"/>
                </a:lnTo>
                <a:lnTo>
                  <a:pt x="983" y="656"/>
                </a:lnTo>
                <a:lnTo>
                  <a:pt x="982" y="654"/>
                </a:lnTo>
                <a:lnTo>
                  <a:pt x="981" y="652"/>
                </a:lnTo>
                <a:lnTo>
                  <a:pt x="981" y="650"/>
                </a:lnTo>
                <a:lnTo>
                  <a:pt x="981" y="645"/>
                </a:lnTo>
                <a:lnTo>
                  <a:pt x="982" y="643"/>
                </a:lnTo>
                <a:lnTo>
                  <a:pt x="984" y="641"/>
                </a:lnTo>
                <a:lnTo>
                  <a:pt x="986" y="639"/>
                </a:lnTo>
                <a:lnTo>
                  <a:pt x="988" y="638"/>
                </a:lnTo>
                <a:lnTo>
                  <a:pt x="991" y="637"/>
                </a:lnTo>
                <a:lnTo>
                  <a:pt x="993" y="637"/>
                </a:lnTo>
                <a:close/>
                <a:moveTo>
                  <a:pt x="891" y="535"/>
                </a:moveTo>
                <a:lnTo>
                  <a:pt x="894" y="535"/>
                </a:lnTo>
                <a:lnTo>
                  <a:pt x="896" y="536"/>
                </a:lnTo>
                <a:lnTo>
                  <a:pt x="898" y="537"/>
                </a:lnTo>
                <a:lnTo>
                  <a:pt x="900" y="539"/>
                </a:lnTo>
                <a:lnTo>
                  <a:pt x="902" y="541"/>
                </a:lnTo>
                <a:lnTo>
                  <a:pt x="903" y="543"/>
                </a:lnTo>
                <a:lnTo>
                  <a:pt x="903" y="545"/>
                </a:lnTo>
                <a:lnTo>
                  <a:pt x="903" y="548"/>
                </a:lnTo>
                <a:lnTo>
                  <a:pt x="903" y="550"/>
                </a:lnTo>
                <a:lnTo>
                  <a:pt x="902" y="552"/>
                </a:lnTo>
                <a:lnTo>
                  <a:pt x="901" y="554"/>
                </a:lnTo>
                <a:lnTo>
                  <a:pt x="900" y="556"/>
                </a:lnTo>
                <a:lnTo>
                  <a:pt x="898" y="558"/>
                </a:lnTo>
                <a:lnTo>
                  <a:pt x="896" y="559"/>
                </a:lnTo>
                <a:lnTo>
                  <a:pt x="891" y="560"/>
                </a:lnTo>
                <a:lnTo>
                  <a:pt x="889" y="559"/>
                </a:lnTo>
                <a:lnTo>
                  <a:pt x="886" y="559"/>
                </a:lnTo>
                <a:lnTo>
                  <a:pt x="884" y="558"/>
                </a:lnTo>
                <a:lnTo>
                  <a:pt x="882" y="556"/>
                </a:lnTo>
                <a:lnTo>
                  <a:pt x="881" y="554"/>
                </a:lnTo>
                <a:lnTo>
                  <a:pt x="880" y="552"/>
                </a:lnTo>
                <a:lnTo>
                  <a:pt x="879" y="549"/>
                </a:lnTo>
                <a:lnTo>
                  <a:pt x="879" y="547"/>
                </a:lnTo>
                <a:lnTo>
                  <a:pt x="879" y="545"/>
                </a:lnTo>
                <a:lnTo>
                  <a:pt x="880" y="542"/>
                </a:lnTo>
                <a:lnTo>
                  <a:pt x="881" y="540"/>
                </a:lnTo>
                <a:lnTo>
                  <a:pt x="883" y="538"/>
                </a:lnTo>
                <a:lnTo>
                  <a:pt x="885" y="537"/>
                </a:lnTo>
                <a:lnTo>
                  <a:pt x="887" y="536"/>
                </a:lnTo>
                <a:lnTo>
                  <a:pt x="891" y="535"/>
                </a:lnTo>
                <a:close/>
                <a:moveTo>
                  <a:pt x="794" y="428"/>
                </a:moveTo>
                <a:lnTo>
                  <a:pt x="797" y="429"/>
                </a:lnTo>
                <a:lnTo>
                  <a:pt x="799" y="429"/>
                </a:lnTo>
                <a:lnTo>
                  <a:pt x="802" y="431"/>
                </a:lnTo>
                <a:lnTo>
                  <a:pt x="804" y="433"/>
                </a:lnTo>
                <a:lnTo>
                  <a:pt x="805" y="435"/>
                </a:lnTo>
                <a:lnTo>
                  <a:pt x="806" y="437"/>
                </a:lnTo>
                <a:lnTo>
                  <a:pt x="807" y="439"/>
                </a:lnTo>
                <a:lnTo>
                  <a:pt x="807" y="442"/>
                </a:lnTo>
                <a:lnTo>
                  <a:pt x="806" y="444"/>
                </a:lnTo>
                <a:lnTo>
                  <a:pt x="805" y="446"/>
                </a:lnTo>
                <a:lnTo>
                  <a:pt x="804" y="448"/>
                </a:lnTo>
                <a:lnTo>
                  <a:pt x="803" y="450"/>
                </a:lnTo>
                <a:lnTo>
                  <a:pt x="799" y="452"/>
                </a:lnTo>
                <a:lnTo>
                  <a:pt x="794" y="453"/>
                </a:lnTo>
                <a:lnTo>
                  <a:pt x="792" y="453"/>
                </a:lnTo>
                <a:lnTo>
                  <a:pt x="789" y="452"/>
                </a:lnTo>
                <a:lnTo>
                  <a:pt x="787" y="451"/>
                </a:lnTo>
                <a:lnTo>
                  <a:pt x="785" y="449"/>
                </a:lnTo>
                <a:lnTo>
                  <a:pt x="784" y="447"/>
                </a:lnTo>
                <a:lnTo>
                  <a:pt x="783" y="444"/>
                </a:lnTo>
                <a:lnTo>
                  <a:pt x="782" y="442"/>
                </a:lnTo>
                <a:lnTo>
                  <a:pt x="782" y="440"/>
                </a:lnTo>
                <a:lnTo>
                  <a:pt x="783" y="437"/>
                </a:lnTo>
                <a:lnTo>
                  <a:pt x="783" y="435"/>
                </a:lnTo>
                <a:lnTo>
                  <a:pt x="785" y="433"/>
                </a:lnTo>
                <a:lnTo>
                  <a:pt x="786" y="431"/>
                </a:lnTo>
                <a:lnTo>
                  <a:pt x="790" y="429"/>
                </a:lnTo>
                <a:lnTo>
                  <a:pt x="794" y="428"/>
                </a:lnTo>
                <a:close/>
                <a:moveTo>
                  <a:pt x="702" y="318"/>
                </a:moveTo>
                <a:lnTo>
                  <a:pt x="705" y="318"/>
                </a:lnTo>
                <a:lnTo>
                  <a:pt x="707" y="319"/>
                </a:lnTo>
                <a:lnTo>
                  <a:pt x="710" y="320"/>
                </a:lnTo>
                <a:lnTo>
                  <a:pt x="712" y="322"/>
                </a:lnTo>
                <a:lnTo>
                  <a:pt x="713" y="324"/>
                </a:lnTo>
                <a:lnTo>
                  <a:pt x="714" y="327"/>
                </a:lnTo>
                <a:lnTo>
                  <a:pt x="714" y="329"/>
                </a:lnTo>
                <a:lnTo>
                  <a:pt x="714" y="331"/>
                </a:lnTo>
                <a:lnTo>
                  <a:pt x="713" y="336"/>
                </a:lnTo>
                <a:lnTo>
                  <a:pt x="712" y="338"/>
                </a:lnTo>
                <a:lnTo>
                  <a:pt x="710" y="340"/>
                </a:lnTo>
                <a:lnTo>
                  <a:pt x="708" y="341"/>
                </a:lnTo>
                <a:lnTo>
                  <a:pt x="706" y="342"/>
                </a:lnTo>
                <a:lnTo>
                  <a:pt x="702" y="342"/>
                </a:lnTo>
                <a:lnTo>
                  <a:pt x="700" y="342"/>
                </a:lnTo>
                <a:lnTo>
                  <a:pt x="697" y="341"/>
                </a:lnTo>
                <a:lnTo>
                  <a:pt x="695" y="340"/>
                </a:lnTo>
                <a:lnTo>
                  <a:pt x="693" y="338"/>
                </a:lnTo>
                <a:lnTo>
                  <a:pt x="691" y="336"/>
                </a:lnTo>
                <a:lnTo>
                  <a:pt x="690" y="333"/>
                </a:lnTo>
                <a:lnTo>
                  <a:pt x="690" y="331"/>
                </a:lnTo>
                <a:lnTo>
                  <a:pt x="690" y="329"/>
                </a:lnTo>
                <a:lnTo>
                  <a:pt x="691" y="324"/>
                </a:lnTo>
                <a:lnTo>
                  <a:pt x="693" y="322"/>
                </a:lnTo>
                <a:lnTo>
                  <a:pt x="695" y="320"/>
                </a:lnTo>
                <a:lnTo>
                  <a:pt x="696" y="319"/>
                </a:lnTo>
                <a:lnTo>
                  <a:pt x="698" y="318"/>
                </a:lnTo>
                <a:lnTo>
                  <a:pt x="702" y="318"/>
                </a:lnTo>
                <a:close/>
                <a:moveTo>
                  <a:pt x="613" y="204"/>
                </a:moveTo>
                <a:lnTo>
                  <a:pt x="616" y="204"/>
                </a:lnTo>
                <a:lnTo>
                  <a:pt x="619" y="205"/>
                </a:lnTo>
                <a:lnTo>
                  <a:pt x="621" y="206"/>
                </a:lnTo>
                <a:lnTo>
                  <a:pt x="622" y="207"/>
                </a:lnTo>
                <a:lnTo>
                  <a:pt x="623" y="209"/>
                </a:lnTo>
                <a:lnTo>
                  <a:pt x="624" y="211"/>
                </a:lnTo>
                <a:lnTo>
                  <a:pt x="625" y="213"/>
                </a:lnTo>
                <a:lnTo>
                  <a:pt x="625" y="215"/>
                </a:lnTo>
                <a:lnTo>
                  <a:pt x="625" y="218"/>
                </a:lnTo>
                <a:lnTo>
                  <a:pt x="624" y="222"/>
                </a:lnTo>
                <a:lnTo>
                  <a:pt x="622" y="224"/>
                </a:lnTo>
                <a:lnTo>
                  <a:pt x="620" y="226"/>
                </a:lnTo>
                <a:lnTo>
                  <a:pt x="619" y="227"/>
                </a:lnTo>
                <a:lnTo>
                  <a:pt x="617" y="228"/>
                </a:lnTo>
                <a:lnTo>
                  <a:pt x="615" y="228"/>
                </a:lnTo>
                <a:lnTo>
                  <a:pt x="613" y="228"/>
                </a:lnTo>
                <a:lnTo>
                  <a:pt x="610" y="228"/>
                </a:lnTo>
                <a:lnTo>
                  <a:pt x="608" y="227"/>
                </a:lnTo>
                <a:lnTo>
                  <a:pt x="605" y="225"/>
                </a:lnTo>
                <a:lnTo>
                  <a:pt x="604" y="224"/>
                </a:lnTo>
                <a:lnTo>
                  <a:pt x="603" y="223"/>
                </a:lnTo>
                <a:lnTo>
                  <a:pt x="602" y="221"/>
                </a:lnTo>
                <a:lnTo>
                  <a:pt x="601" y="219"/>
                </a:lnTo>
                <a:lnTo>
                  <a:pt x="601" y="217"/>
                </a:lnTo>
                <a:lnTo>
                  <a:pt x="601" y="214"/>
                </a:lnTo>
                <a:lnTo>
                  <a:pt x="602" y="210"/>
                </a:lnTo>
                <a:lnTo>
                  <a:pt x="604" y="208"/>
                </a:lnTo>
                <a:lnTo>
                  <a:pt x="606" y="206"/>
                </a:lnTo>
                <a:lnTo>
                  <a:pt x="607" y="205"/>
                </a:lnTo>
                <a:lnTo>
                  <a:pt x="609" y="204"/>
                </a:lnTo>
                <a:lnTo>
                  <a:pt x="611" y="204"/>
                </a:lnTo>
                <a:lnTo>
                  <a:pt x="613" y="204"/>
                </a:lnTo>
                <a:close/>
                <a:moveTo>
                  <a:pt x="529" y="87"/>
                </a:moveTo>
                <a:lnTo>
                  <a:pt x="531" y="87"/>
                </a:lnTo>
                <a:lnTo>
                  <a:pt x="534" y="88"/>
                </a:lnTo>
                <a:lnTo>
                  <a:pt x="537" y="90"/>
                </a:lnTo>
                <a:lnTo>
                  <a:pt x="539" y="92"/>
                </a:lnTo>
                <a:lnTo>
                  <a:pt x="540" y="94"/>
                </a:lnTo>
                <a:lnTo>
                  <a:pt x="541" y="97"/>
                </a:lnTo>
                <a:lnTo>
                  <a:pt x="541" y="101"/>
                </a:lnTo>
                <a:lnTo>
                  <a:pt x="540" y="104"/>
                </a:lnTo>
                <a:lnTo>
                  <a:pt x="539" y="106"/>
                </a:lnTo>
                <a:lnTo>
                  <a:pt x="538" y="108"/>
                </a:lnTo>
                <a:lnTo>
                  <a:pt x="536" y="109"/>
                </a:lnTo>
                <a:lnTo>
                  <a:pt x="532" y="111"/>
                </a:lnTo>
                <a:lnTo>
                  <a:pt x="529" y="112"/>
                </a:lnTo>
                <a:lnTo>
                  <a:pt x="526" y="111"/>
                </a:lnTo>
                <a:lnTo>
                  <a:pt x="523" y="110"/>
                </a:lnTo>
                <a:lnTo>
                  <a:pt x="521" y="109"/>
                </a:lnTo>
                <a:lnTo>
                  <a:pt x="519" y="106"/>
                </a:lnTo>
                <a:lnTo>
                  <a:pt x="517" y="104"/>
                </a:lnTo>
                <a:lnTo>
                  <a:pt x="517" y="102"/>
                </a:lnTo>
                <a:lnTo>
                  <a:pt x="516" y="97"/>
                </a:lnTo>
                <a:lnTo>
                  <a:pt x="517" y="95"/>
                </a:lnTo>
                <a:lnTo>
                  <a:pt x="518" y="93"/>
                </a:lnTo>
                <a:lnTo>
                  <a:pt x="520" y="91"/>
                </a:lnTo>
                <a:lnTo>
                  <a:pt x="522" y="89"/>
                </a:lnTo>
                <a:lnTo>
                  <a:pt x="525" y="88"/>
                </a:lnTo>
                <a:lnTo>
                  <a:pt x="529" y="87"/>
                </a:lnTo>
                <a:close/>
                <a:moveTo>
                  <a:pt x="1915" y="1532"/>
                </a:moveTo>
                <a:lnTo>
                  <a:pt x="1917" y="1532"/>
                </a:lnTo>
                <a:lnTo>
                  <a:pt x="1919" y="1533"/>
                </a:lnTo>
                <a:lnTo>
                  <a:pt x="1922" y="1534"/>
                </a:lnTo>
                <a:lnTo>
                  <a:pt x="1923" y="1536"/>
                </a:lnTo>
                <a:lnTo>
                  <a:pt x="1925" y="1538"/>
                </a:lnTo>
                <a:lnTo>
                  <a:pt x="1926" y="1540"/>
                </a:lnTo>
                <a:lnTo>
                  <a:pt x="1927" y="1542"/>
                </a:lnTo>
                <a:lnTo>
                  <a:pt x="1927" y="1545"/>
                </a:lnTo>
                <a:lnTo>
                  <a:pt x="1926" y="1547"/>
                </a:lnTo>
                <a:lnTo>
                  <a:pt x="1926" y="1549"/>
                </a:lnTo>
                <a:lnTo>
                  <a:pt x="1924" y="1551"/>
                </a:lnTo>
                <a:lnTo>
                  <a:pt x="1923" y="1553"/>
                </a:lnTo>
                <a:lnTo>
                  <a:pt x="1919" y="1555"/>
                </a:lnTo>
                <a:lnTo>
                  <a:pt x="1917" y="1556"/>
                </a:lnTo>
                <a:lnTo>
                  <a:pt x="1915" y="1556"/>
                </a:lnTo>
                <a:lnTo>
                  <a:pt x="1912" y="1556"/>
                </a:lnTo>
                <a:lnTo>
                  <a:pt x="1910" y="1555"/>
                </a:lnTo>
                <a:lnTo>
                  <a:pt x="1907" y="1554"/>
                </a:lnTo>
                <a:lnTo>
                  <a:pt x="1906" y="1552"/>
                </a:lnTo>
                <a:lnTo>
                  <a:pt x="1904" y="1551"/>
                </a:lnTo>
                <a:lnTo>
                  <a:pt x="1903" y="1548"/>
                </a:lnTo>
                <a:lnTo>
                  <a:pt x="1903" y="1546"/>
                </a:lnTo>
                <a:lnTo>
                  <a:pt x="1902" y="1544"/>
                </a:lnTo>
                <a:lnTo>
                  <a:pt x="1903" y="1541"/>
                </a:lnTo>
                <a:lnTo>
                  <a:pt x="1903" y="1539"/>
                </a:lnTo>
                <a:lnTo>
                  <a:pt x="1905" y="1537"/>
                </a:lnTo>
                <a:lnTo>
                  <a:pt x="1906" y="1535"/>
                </a:lnTo>
                <a:lnTo>
                  <a:pt x="1910" y="1533"/>
                </a:lnTo>
                <a:lnTo>
                  <a:pt x="1912" y="1532"/>
                </a:lnTo>
                <a:lnTo>
                  <a:pt x="1915" y="1532"/>
                </a:lnTo>
                <a:close/>
                <a:moveTo>
                  <a:pt x="2059" y="1527"/>
                </a:moveTo>
                <a:lnTo>
                  <a:pt x="2064" y="1528"/>
                </a:lnTo>
                <a:lnTo>
                  <a:pt x="2066" y="1529"/>
                </a:lnTo>
                <a:lnTo>
                  <a:pt x="2067" y="1531"/>
                </a:lnTo>
                <a:lnTo>
                  <a:pt x="2070" y="1534"/>
                </a:lnTo>
                <a:lnTo>
                  <a:pt x="2071" y="1536"/>
                </a:lnTo>
                <a:lnTo>
                  <a:pt x="2071" y="1538"/>
                </a:lnTo>
                <a:lnTo>
                  <a:pt x="2071" y="1541"/>
                </a:lnTo>
                <a:lnTo>
                  <a:pt x="2071" y="1543"/>
                </a:lnTo>
                <a:lnTo>
                  <a:pt x="2070" y="1545"/>
                </a:lnTo>
                <a:lnTo>
                  <a:pt x="2069" y="1547"/>
                </a:lnTo>
                <a:lnTo>
                  <a:pt x="2067" y="1549"/>
                </a:lnTo>
                <a:lnTo>
                  <a:pt x="2065" y="1550"/>
                </a:lnTo>
                <a:lnTo>
                  <a:pt x="2061" y="1552"/>
                </a:lnTo>
                <a:lnTo>
                  <a:pt x="2055" y="1551"/>
                </a:lnTo>
                <a:lnTo>
                  <a:pt x="2053" y="1550"/>
                </a:lnTo>
                <a:lnTo>
                  <a:pt x="2051" y="1549"/>
                </a:lnTo>
                <a:lnTo>
                  <a:pt x="2050" y="1547"/>
                </a:lnTo>
                <a:lnTo>
                  <a:pt x="2049" y="1545"/>
                </a:lnTo>
                <a:lnTo>
                  <a:pt x="2048" y="1543"/>
                </a:lnTo>
                <a:lnTo>
                  <a:pt x="2047" y="1541"/>
                </a:lnTo>
                <a:lnTo>
                  <a:pt x="2047" y="1538"/>
                </a:lnTo>
                <a:lnTo>
                  <a:pt x="2048" y="1536"/>
                </a:lnTo>
                <a:lnTo>
                  <a:pt x="2049" y="1534"/>
                </a:lnTo>
                <a:lnTo>
                  <a:pt x="2050" y="1532"/>
                </a:lnTo>
                <a:lnTo>
                  <a:pt x="2052" y="1530"/>
                </a:lnTo>
                <a:lnTo>
                  <a:pt x="2054" y="1529"/>
                </a:lnTo>
                <a:lnTo>
                  <a:pt x="2058" y="1527"/>
                </a:lnTo>
                <a:lnTo>
                  <a:pt x="2059" y="1527"/>
                </a:lnTo>
                <a:close/>
                <a:moveTo>
                  <a:pt x="1772" y="1517"/>
                </a:moveTo>
                <a:lnTo>
                  <a:pt x="1774" y="1517"/>
                </a:lnTo>
                <a:lnTo>
                  <a:pt x="1776" y="1517"/>
                </a:lnTo>
                <a:lnTo>
                  <a:pt x="1778" y="1519"/>
                </a:lnTo>
                <a:lnTo>
                  <a:pt x="1780" y="1520"/>
                </a:lnTo>
                <a:lnTo>
                  <a:pt x="1782" y="1522"/>
                </a:lnTo>
                <a:lnTo>
                  <a:pt x="1783" y="1524"/>
                </a:lnTo>
                <a:lnTo>
                  <a:pt x="1784" y="1526"/>
                </a:lnTo>
                <a:lnTo>
                  <a:pt x="1784" y="1528"/>
                </a:lnTo>
                <a:lnTo>
                  <a:pt x="1784" y="1531"/>
                </a:lnTo>
                <a:lnTo>
                  <a:pt x="1783" y="1533"/>
                </a:lnTo>
                <a:lnTo>
                  <a:pt x="1782" y="1535"/>
                </a:lnTo>
                <a:lnTo>
                  <a:pt x="1779" y="1538"/>
                </a:lnTo>
                <a:lnTo>
                  <a:pt x="1778" y="1539"/>
                </a:lnTo>
                <a:lnTo>
                  <a:pt x="1776" y="1540"/>
                </a:lnTo>
                <a:lnTo>
                  <a:pt x="1772" y="1541"/>
                </a:lnTo>
                <a:lnTo>
                  <a:pt x="1770" y="1541"/>
                </a:lnTo>
                <a:lnTo>
                  <a:pt x="1767" y="1540"/>
                </a:lnTo>
                <a:lnTo>
                  <a:pt x="1765" y="1539"/>
                </a:lnTo>
                <a:lnTo>
                  <a:pt x="1763" y="1537"/>
                </a:lnTo>
                <a:lnTo>
                  <a:pt x="1762" y="1536"/>
                </a:lnTo>
                <a:lnTo>
                  <a:pt x="1761" y="1534"/>
                </a:lnTo>
                <a:lnTo>
                  <a:pt x="1760" y="1531"/>
                </a:lnTo>
                <a:lnTo>
                  <a:pt x="1759" y="1529"/>
                </a:lnTo>
                <a:lnTo>
                  <a:pt x="1760" y="1527"/>
                </a:lnTo>
                <a:lnTo>
                  <a:pt x="1760" y="1525"/>
                </a:lnTo>
                <a:lnTo>
                  <a:pt x="1761" y="1523"/>
                </a:lnTo>
                <a:lnTo>
                  <a:pt x="1764" y="1519"/>
                </a:lnTo>
                <a:lnTo>
                  <a:pt x="1766" y="1518"/>
                </a:lnTo>
                <a:lnTo>
                  <a:pt x="1767" y="1517"/>
                </a:lnTo>
                <a:lnTo>
                  <a:pt x="1772" y="1517"/>
                </a:lnTo>
                <a:close/>
                <a:moveTo>
                  <a:pt x="2201" y="1504"/>
                </a:moveTo>
                <a:lnTo>
                  <a:pt x="2205" y="1504"/>
                </a:lnTo>
                <a:lnTo>
                  <a:pt x="2207" y="1505"/>
                </a:lnTo>
                <a:lnTo>
                  <a:pt x="2209" y="1506"/>
                </a:lnTo>
                <a:lnTo>
                  <a:pt x="2210" y="1508"/>
                </a:lnTo>
                <a:lnTo>
                  <a:pt x="2211" y="1509"/>
                </a:lnTo>
                <a:lnTo>
                  <a:pt x="2213" y="1513"/>
                </a:lnTo>
                <a:lnTo>
                  <a:pt x="2213" y="1516"/>
                </a:lnTo>
                <a:lnTo>
                  <a:pt x="2213" y="1518"/>
                </a:lnTo>
                <a:lnTo>
                  <a:pt x="2213" y="1520"/>
                </a:lnTo>
                <a:lnTo>
                  <a:pt x="2212" y="1522"/>
                </a:lnTo>
                <a:lnTo>
                  <a:pt x="2210" y="1524"/>
                </a:lnTo>
                <a:lnTo>
                  <a:pt x="2208" y="1526"/>
                </a:lnTo>
                <a:lnTo>
                  <a:pt x="2206" y="1527"/>
                </a:lnTo>
                <a:lnTo>
                  <a:pt x="2204" y="1528"/>
                </a:lnTo>
                <a:lnTo>
                  <a:pt x="2201" y="1528"/>
                </a:lnTo>
                <a:lnTo>
                  <a:pt x="2197" y="1527"/>
                </a:lnTo>
                <a:lnTo>
                  <a:pt x="2195" y="1527"/>
                </a:lnTo>
                <a:lnTo>
                  <a:pt x="2194" y="1526"/>
                </a:lnTo>
                <a:lnTo>
                  <a:pt x="2192" y="1524"/>
                </a:lnTo>
                <a:lnTo>
                  <a:pt x="2191" y="1523"/>
                </a:lnTo>
                <a:lnTo>
                  <a:pt x="2189" y="1519"/>
                </a:lnTo>
                <a:lnTo>
                  <a:pt x="2189" y="1516"/>
                </a:lnTo>
                <a:lnTo>
                  <a:pt x="2189" y="1514"/>
                </a:lnTo>
                <a:lnTo>
                  <a:pt x="2190" y="1512"/>
                </a:lnTo>
                <a:lnTo>
                  <a:pt x="2191" y="1510"/>
                </a:lnTo>
                <a:lnTo>
                  <a:pt x="2192" y="1508"/>
                </a:lnTo>
                <a:lnTo>
                  <a:pt x="2194" y="1506"/>
                </a:lnTo>
                <a:lnTo>
                  <a:pt x="2196" y="1505"/>
                </a:lnTo>
                <a:lnTo>
                  <a:pt x="2199" y="1504"/>
                </a:lnTo>
                <a:lnTo>
                  <a:pt x="2201" y="1504"/>
                </a:lnTo>
                <a:close/>
                <a:moveTo>
                  <a:pt x="1632" y="1482"/>
                </a:moveTo>
                <a:lnTo>
                  <a:pt x="1636" y="1483"/>
                </a:lnTo>
                <a:lnTo>
                  <a:pt x="1638" y="1484"/>
                </a:lnTo>
                <a:lnTo>
                  <a:pt x="1640" y="1485"/>
                </a:lnTo>
                <a:lnTo>
                  <a:pt x="1642" y="1487"/>
                </a:lnTo>
                <a:lnTo>
                  <a:pt x="1643" y="1489"/>
                </a:lnTo>
                <a:lnTo>
                  <a:pt x="1644" y="1491"/>
                </a:lnTo>
                <a:lnTo>
                  <a:pt x="1644" y="1493"/>
                </a:lnTo>
                <a:lnTo>
                  <a:pt x="1644" y="1495"/>
                </a:lnTo>
                <a:lnTo>
                  <a:pt x="1644" y="1498"/>
                </a:lnTo>
                <a:lnTo>
                  <a:pt x="1642" y="1501"/>
                </a:lnTo>
                <a:lnTo>
                  <a:pt x="1639" y="1504"/>
                </a:lnTo>
                <a:lnTo>
                  <a:pt x="1636" y="1506"/>
                </a:lnTo>
                <a:lnTo>
                  <a:pt x="1634" y="1506"/>
                </a:lnTo>
                <a:lnTo>
                  <a:pt x="1632" y="1506"/>
                </a:lnTo>
                <a:lnTo>
                  <a:pt x="1628" y="1506"/>
                </a:lnTo>
                <a:lnTo>
                  <a:pt x="1626" y="1505"/>
                </a:lnTo>
                <a:lnTo>
                  <a:pt x="1624" y="1503"/>
                </a:lnTo>
                <a:lnTo>
                  <a:pt x="1623" y="1502"/>
                </a:lnTo>
                <a:lnTo>
                  <a:pt x="1621" y="1500"/>
                </a:lnTo>
                <a:lnTo>
                  <a:pt x="1620" y="1498"/>
                </a:lnTo>
                <a:lnTo>
                  <a:pt x="1620" y="1495"/>
                </a:lnTo>
                <a:lnTo>
                  <a:pt x="1620" y="1493"/>
                </a:lnTo>
                <a:lnTo>
                  <a:pt x="1621" y="1491"/>
                </a:lnTo>
                <a:lnTo>
                  <a:pt x="1622" y="1487"/>
                </a:lnTo>
                <a:lnTo>
                  <a:pt x="1625" y="1484"/>
                </a:lnTo>
                <a:lnTo>
                  <a:pt x="1628" y="1483"/>
                </a:lnTo>
                <a:lnTo>
                  <a:pt x="1630" y="1482"/>
                </a:lnTo>
                <a:lnTo>
                  <a:pt x="1632" y="1482"/>
                </a:lnTo>
                <a:close/>
                <a:moveTo>
                  <a:pt x="2339" y="1463"/>
                </a:moveTo>
                <a:lnTo>
                  <a:pt x="2343" y="1464"/>
                </a:lnTo>
                <a:lnTo>
                  <a:pt x="2345" y="1464"/>
                </a:lnTo>
                <a:lnTo>
                  <a:pt x="2346" y="1465"/>
                </a:lnTo>
                <a:lnTo>
                  <a:pt x="2349" y="1468"/>
                </a:lnTo>
                <a:lnTo>
                  <a:pt x="2350" y="1469"/>
                </a:lnTo>
                <a:lnTo>
                  <a:pt x="2351" y="1471"/>
                </a:lnTo>
                <a:lnTo>
                  <a:pt x="2351" y="1476"/>
                </a:lnTo>
                <a:lnTo>
                  <a:pt x="2351" y="1478"/>
                </a:lnTo>
                <a:lnTo>
                  <a:pt x="2350" y="1480"/>
                </a:lnTo>
                <a:lnTo>
                  <a:pt x="2349" y="1482"/>
                </a:lnTo>
                <a:lnTo>
                  <a:pt x="2348" y="1484"/>
                </a:lnTo>
                <a:lnTo>
                  <a:pt x="2346" y="1486"/>
                </a:lnTo>
                <a:lnTo>
                  <a:pt x="2343" y="1487"/>
                </a:lnTo>
                <a:lnTo>
                  <a:pt x="2339" y="1487"/>
                </a:lnTo>
                <a:lnTo>
                  <a:pt x="2336" y="1487"/>
                </a:lnTo>
                <a:lnTo>
                  <a:pt x="2334" y="1486"/>
                </a:lnTo>
                <a:lnTo>
                  <a:pt x="2332" y="1485"/>
                </a:lnTo>
                <a:lnTo>
                  <a:pt x="2330" y="1483"/>
                </a:lnTo>
                <a:lnTo>
                  <a:pt x="2329" y="1481"/>
                </a:lnTo>
                <a:lnTo>
                  <a:pt x="2328" y="1479"/>
                </a:lnTo>
                <a:lnTo>
                  <a:pt x="2327" y="1475"/>
                </a:lnTo>
                <a:lnTo>
                  <a:pt x="2328" y="1472"/>
                </a:lnTo>
                <a:lnTo>
                  <a:pt x="2328" y="1470"/>
                </a:lnTo>
                <a:lnTo>
                  <a:pt x="2329" y="1468"/>
                </a:lnTo>
                <a:lnTo>
                  <a:pt x="2331" y="1466"/>
                </a:lnTo>
                <a:lnTo>
                  <a:pt x="2333" y="1465"/>
                </a:lnTo>
                <a:lnTo>
                  <a:pt x="2335" y="1464"/>
                </a:lnTo>
                <a:lnTo>
                  <a:pt x="2339" y="1463"/>
                </a:lnTo>
                <a:close/>
                <a:moveTo>
                  <a:pt x="1498" y="1430"/>
                </a:moveTo>
                <a:lnTo>
                  <a:pt x="1501" y="1430"/>
                </a:lnTo>
                <a:lnTo>
                  <a:pt x="1503" y="1431"/>
                </a:lnTo>
                <a:lnTo>
                  <a:pt x="1507" y="1434"/>
                </a:lnTo>
                <a:lnTo>
                  <a:pt x="1508" y="1436"/>
                </a:lnTo>
                <a:lnTo>
                  <a:pt x="1509" y="1438"/>
                </a:lnTo>
                <a:lnTo>
                  <a:pt x="1510" y="1443"/>
                </a:lnTo>
                <a:lnTo>
                  <a:pt x="1510" y="1445"/>
                </a:lnTo>
                <a:lnTo>
                  <a:pt x="1509" y="1447"/>
                </a:lnTo>
                <a:lnTo>
                  <a:pt x="1507" y="1450"/>
                </a:lnTo>
                <a:lnTo>
                  <a:pt x="1505" y="1453"/>
                </a:lnTo>
                <a:lnTo>
                  <a:pt x="1501" y="1454"/>
                </a:lnTo>
                <a:lnTo>
                  <a:pt x="1498" y="1454"/>
                </a:lnTo>
                <a:lnTo>
                  <a:pt x="1495" y="1454"/>
                </a:lnTo>
                <a:lnTo>
                  <a:pt x="1493" y="1453"/>
                </a:lnTo>
                <a:lnTo>
                  <a:pt x="1489" y="1450"/>
                </a:lnTo>
                <a:lnTo>
                  <a:pt x="1488" y="1449"/>
                </a:lnTo>
                <a:lnTo>
                  <a:pt x="1487" y="1446"/>
                </a:lnTo>
                <a:lnTo>
                  <a:pt x="1486" y="1442"/>
                </a:lnTo>
                <a:lnTo>
                  <a:pt x="1486" y="1440"/>
                </a:lnTo>
                <a:lnTo>
                  <a:pt x="1487" y="1437"/>
                </a:lnTo>
                <a:lnTo>
                  <a:pt x="1489" y="1434"/>
                </a:lnTo>
                <a:lnTo>
                  <a:pt x="1490" y="1433"/>
                </a:lnTo>
                <a:lnTo>
                  <a:pt x="1492" y="1432"/>
                </a:lnTo>
                <a:lnTo>
                  <a:pt x="1495" y="1431"/>
                </a:lnTo>
                <a:lnTo>
                  <a:pt x="1498" y="1430"/>
                </a:lnTo>
                <a:close/>
                <a:moveTo>
                  <a:pt x="2472" y="1408"/>
                </a:moveTo>
                <a:lnTo>
                  <a:pt x="2475" y="1408"/>
                </a:lnTo>
                <a:lnTo>
                  <a:pt x="2479" y="1410"/>
                </a:lnTo>
                <a:lnTo>
                  <a:pt x="2480" y="1411"/>
                </a:lnTo>
                <a:lnTo>
                  <a:pt x="2481" y="1412"/>
                </a:lnTo>
                <a:lnTo>
                  <a:pt x="2483" y="1415"/>
                </a:lnTo>
                <a:lnTo>
                  <a:pt x="2484" y="1417"/>
                </a:lnTo>
                <a:lnTo>
                  <a:pt x="2484" y="1419"/>
                </a:lnTo>
                <a:lnTo>
                  <a:pt x="2484" y="1422"/>
                </a:lnTo>
                <a:lnTo>
                  <a:pt x="2484" y="1424"/>
                </a:lnTo>
                <a:lnTo>
                  <a:pt x="2483" y="1426"/>
                </a:lnTo>
                <a:lnTo>
                  <a:pt x="2481" y="1428"/>
                </a:lnTo>
                <a:lnTo>
                  <a:pt x="2480" y="1429"/>
                </a:lnTo>
                <a:lnTo>
                  <a:pt x="2479" y="1430"/>
                </a:lnTo>
                <a:lnTo>
                  <a:pt x="2477" y="1431"/>
                </a:lnTo>
                <a:lnTo>
                  <a:pt x="2475" y="1432"/>
                </a:lnTo>
                <a:lnTo>
                  <a:pt x="2472" y="1432"/>
                </a:lnTo>
                <a:lnTo>
                  <a:pt x="2469" y="1432"/>
                </a:lnTo>
                <a:lnTo>
                  <a:pt x="2466" y="1430"/>
                </a:lnTo>
                <a:lnTo>
                  <a:pt x="2464" y="1429"/>
                </a:lnTo>
                <a:lnTo>
                  <a:pt x="2463" y="1428"/>
                </a:lnTo>
                <a:lnTo>
                  <a:pt x="2461" y="1425"/>
                </a:lnTo>
                <a:lnTo>
                  <a:pt x="2460" y="1423"/>
                </a:lnTo>
                <a:lnTo>
                  <a:pt x="2460" y="1420"/>
                </a:lnTo>
                <a:lnTo>
                  <a:pt x="2460" y="1418"/>
                </a:lnTo>
                <a:lnTo>
                  <a:pt x="2461" y="1416"/>
                </a:lnTo>
                <a:lnTo>
                  <a:pt x="2462" y="1414"/>
                </a:lnTo>
                <a:lnTo>
                  <a:pt x="2463" y="1412"/>
                </a:lnTo>
                <a:lnTo>
                  <a:pt x="2464" y="1411"/>
                </a:lnTo>
                <a:lnTo>
                  <a:pt x="2465" y="1410"/>
                </a:lnTo>
                <a:lnTo>
                  <a:pt x="2467" y="1409"/>
                </a:lnTo>
                <a:lnTo>
                  <a:pt x="2470" y="1408"/>
                </a:lnTo>
                <a:lnTo>
                  <a:pt x="2472" y="1408"/>
                </a:lnTo>
                <a:close/>
                <a:moveTo>
                  <a:pt x="1371" y="1363"/>
                </a:moveTo>
                <a:lnTo>
                  <a:pt x="1374" y="1364"/>
                </a:lnTo>
                <a:lnTo>
                  <a:pt x="1377" y="1365"/>
                </a:lnTo>
                <a:lnTo>
                  <a:pt x="1379" y="1366"/>
                </a:lnTo>
                <a:lnTo>
                  <a:pt x="1380" y="1368"/>
                </a:lnTo>
                <a:lnTo>
                  <a:pt x="1382" y="1370"/>
                </a:lnTo>
                <a:lnTo>
                  <a:pt x="1382" y="1372"/>
                </a:lnTo>
                <a:lnTo>
                  <a:pt x="1383" y="1375"/>
                </a:lnTo>
                <a:lnTo>
                  <a:pt x="1383" y="1377"/>
                </a:lnTo>
                <a:lnTo>
                  <a:pt x="1381" y="1382"/>
                </a:lnTo>
                <a:lnTo>
                  <a:pt x="1379" y="1384"/>
                </a:lnTo>
                <a:lnTo>
                  <a:pt x="1376" y="1386"/>
                </a:lnTo>
                <a:lnTo>
                  <a:pt x="1374" y="1387"/>
                </a:lnTo>
                <a:lnTo>
                  <a:pt x="1371" y="1388"/>
                </a:lnTo>
                <a:lnTo>
                  <a:pt x="1367" y="1387"/>
                </a:lnTo>
                <a:lnTo>
                  <a:pt x="1364" y="1386"/>
                </a:lnTo>
                <a:lnTo>
                  <a:pt x="1362" y="1384"/>
                </a:lnTo>
                <a:lnTo>
                  <a:pt x="1361" y="1383"/>
                </a:lnTo>
                <a:lnTo>
                  <a:pt x="1360" y="1381"/>
                </a:lnTo>
                <a:lnTo>
                  <a:pt x="1359" y="1379"/>
                </a:lnTo>
                <a:lnTo>
                  <a:pt x="1358" y="1376"/>
                </a:lnTo>
                <a:lnTo>
                  <a:pt x="1359" y="1374"/>
                </a:lnTo>
                <a:lnTo>
                  <a:pt x="1360" y="1369"/>
                </a:lnTo>
                <a:lnTo>
                  <a:pt x="1362" y="1367"/>
                </a:lnTo>
                <a:lnTo>
                  <a:pt x="1365" y="1365"/>
                </a:lnTo>
                <a:lnTo>
                  <a:pt x="1368" y="1364"/>
                </a:lnTo>
                <a:lnTo>
                  <a:pt x="1371" y="1363"/>
                </a:lnTo>
                <a:close/>
                <a:moveTo>
                  <a:pt x="2599" y="1340"/>
                </a:moveTo>
                <a:lnTo>
                  <a:pt x="2602" y="1341"/>
                </a:lnTo>
                <a:lnTo>
                  <a:pt x="2605" y="1342"/>
                </a:lnTo>
                <a:lnTo>
                  <a:pt x="2608" y="1344"/>
                </a:lnTo>
                <a:lnTo>
                  <a:pt x="2610" y="1346"/>
                </a:lnTo>
                <a:lnTo>
                  <a:pt x="2611" y="1351"/>
                </a:lnTo>
                <a:lnTo>
                  <a:pt x="2611" y="1353"/>
                </a:lnTo>
                <a:lnTo>
                  <a:pt x="2611" y="1356"/>
                </a:lnTo>
                <a:lnTo>
                  <a:pt x="2610" y="1358"/>
                </a:lnTo>
                <a:lnTo>
                  <a:pt x="2609" y="1360"/>
                </a:lnTo>
                <a:lnTo>
                  <a:pt x="2605" y="1363"/>
                </a:lnTo>
                <a:lnTo>
                  <a:pt x="2602" y="1364"/>
                </a:lnTo>
                <a:lnTo>
                  <a:pt x="2599" y="1365"/>
                </a:lnTo>
                <a:lnTo>
                  <a:pt x="2596" y="1364"/>
                </a:lnTo>
                <a:lnTo>
                  <a:pt x="2593" y="1363"/>
                </a:lnTo>
                <a:lnTo>
                  <a:pt x="2591" y="1361"/>
                </a:lnTo>
                <a:lnTo>
                  <a:pt x="2589" y="1359"/>
                </a:lnTo>
                <a:lnTo>
                  <a:pt x="2587" y="1354"/>
                </a:lnTo>
                <a:lnTo>
                  <a:pt x="2587" y="1352"/>
                </a:lnTo>
                <a:lnTo>
                  <a:pt x="2588" y="1350"/>
                </a:lnTo>
                <a:lnTo>
                  <a:pt x="2588" y="1347"/>
                </a:lnTo>
                <a:lnTo>
                  <a:pt x="2590" y="1345"/>
                </a:lnTo>
                <a:lnTo>
                  <a:pt x="2593" y="1342"/>
                </a:lnTo>
                <a:lnTo>
                  <a:pt x="2596" y="1341"/>
                </a:lnTo>
                <a:lnTo>
                  <a:pt x="2599" y="1340"/>
                </a:lnTo>
                <a:close/>
                <a:moveTo>
                  <a:pt x="1250" y="1284"/>
                </a:moveTo>
                <a:lnTo>
                  <a:pt x="1254" y="1285"/>
                </a:lnTo>
                <a:lnTo>
                  <a:pt x="1257" y="1287"/>
                </a:lnTo>
                <a:lnTo>
                  <a:pt x="1259" y="1288"/>
                </a:lnTo>
                <a:lnTo>
                  <a:pt x="1261" y="1290"/>
                </a:lnTo>
                <a:lnTo>
                  <a:pt x="1262" y="1292"/>
                </a:lnTo>
                <a:lnTo>
                  <a:pt x="1262" y="1295"/>
                </a:lnTo>
                <a:lnTo>
                  <a:pt x="1262" y="1297"/>
                </a:lnTo>
                <a:lnTo>
                  <a:pt x="1262" y="1299"/>
                </a:lnTo>
                <a:lnTo>
                  <a:pt x="1261" y="1302"/>
                </a:lnTo>
                <a:lnTo>
                  <a:pt x="1260" y="1304"/>
                </a:lnTo>
                <a:lnTo>
                  <a:pt x="1258" y="1306"/>
                </a:lnTo>
                <a:lnTo>
                  <a:pt x="1257" y="1307"/>
                </a:lnTo>
                <a:lnTo>
                  <a:pt x="1256" y="1307"/>
                </a:lnTo>
                <a:lnTo>
                  <a:pt x="1253" y="1308"/>
                </a:lnTo>
                <a:lnTo>
                  <a:pt x="1250" y="1309"/>
                </a:lnTo>
                <a:lnTo>
                  <a:pt x="1247" y="1308"/>
                </a:lnTo>
                <a:lnTo>
                  <a:pt x="1243" y="1306"/>
                </a:lnTo>
                <a:lnTo>
                  <a:pt x="1241" y="1305"/>
                </a:lnTo>
                <a:lnTo>
                  <a:pt x="1240" y="1303"/>
                </a:lnTo>
                <a:lnTo>
                  <a:pt x="1239" y="1301"/>
                </a:lnTo>
                <a:lnTo>
                  <a:pt x="1238" y="1299"/>
                </a:lnTo>
                <a:lnTo>
                  <a:pt x="1238" y="1296"/>
                </a:lnTo>
                <a:lnTo>
                  <a:pt x="1238" y="1294"/>
                </a:lnTo>
                <a:lnTo>
                  <a:pt x="1239" y="1292"/>
                </a:lnTo>
                <a:lnTo>
                  <a:pt x="1240" y="1289"/>
                </a:lnTo>
                <a:lnTo>
                  <a:pt x="1242" y="1287"/>
                </a:lnTo>
                <a:lnTo>
                  <a:pt x="1244" y="1286"/>
                </a:lnTo>
                <a:lnTo>
                  <a:pt x="1245" y="1286"/>
                </a:lnTo>
                <a:lnTo>
                  <a:pt x="1247" y="1285"/>
                </a:lnTo>
                <a:lnTo>
                  <a:pt x="1250" y="1284"/>
                </a:lnTo>
                <a:close/>
                <a:moveTo>
                  <a:pt x="1137" y="1196"/>
                </a:moveTo>
                <a:lnTo>
                  <a:pt x="1141" y="1196"/>
                </a:lnTo>
                <a:lnTo>
                  <a:pt x="1145" y="1199"/>
                </a:lnTo>
                <a:lnTo>
                  <a:pt x="1146" y="1200"/>
                </a:lnTo>
                <a:lnTo>
                  <a:pt x="1148" y="1202"/>
                </a:lnTo>
                <a:lnTo>
                  <a:pt x="1148" y="1205"/>
                </a:lnTo>
                <a:lnTo>
                  <a:pt x="1149" y="1207"/>
                </a:lnTo>
                <a:lnTo>
                  <a:pt x="1149" y="1209"/>
                </a:lnTo>
                <a:lnTo>
                  <a:pt x="1148" y="1212"/>
                </a:lnTo>
                <a:lnTo>
                  <a:pt x="1147" y="1214"/>
                </a:lnTo>
                <a:lnTo>
                  <a:pt x="1147" y="1215"/>
                </a:lnTo>
                <a:lnTo>
                  <a:pt x="1146" y="1216"/>
                </a:lnTo>
                <a:lnTo>
                  <a:pt x="1144" y="1218"/>
                </a:lnTo>
                <a:lnTo>
                  <a:pt x="1142" y="1219"/>
                </a:lnTo>
                <a:lnTo>
                  <a:pt x="1139" y="1220"/>
                </a:lnTo>
                <a:lnTo>
                  <a:pt x="1137" y="1220"/>
                </a:lnTo>
                <a:lnTo>
                  <a:pt x="1133" y="1219"/>
                </a:lnTo>
                <a:lnTo>
                  <a:pt x="1129" y="1217"/>
                </a:lnTo>
                <a:lnTo>
                  <a:pt x="1127" y="1215"/>
                </a:lnTo>
                <a:lnTo>
                  <a:pt x="1126" y="1213"/>
                </a:lnTo>
                <a:lnTo>
                  <a:pt x="1125" y="1211"/>
                </a:lnTo>
                <a:lnTo>
                  <a:pt x="1125" y="1209"/>
                </a:lnTo>
                <a:lnTo>
                  <a:pt x="1125" y="1207"/>
                </a:lnTo>
                <a:lnTo>
                  <a:pt x="1125" y="1204"/>
                </a:lnTo>
                <a:lnTo>
                  <a:pt x="1126" y="1202"/>
                </a:lnTo>
                <a:lnTo>
                  <a:pt x="1127" y="1201"/>
                </a:lnTo>
                <a:lnTo>
                  <a:pt x="1128" y="1200"/>
                </a:lnTo>
                <a:lnTo>
                  <a:pt x="1129" y="1198"/>
                </a:lnTo>
                <a:lnTo>
                  <a:pt x="1132" y="1197"/>
                </a:lnTo>
                <a:lnTo>
                  <a:pt x="1134" y="1196"/>
                </a:lnTo>
                <a:lnTo>
                  <a:pt x="1137" y="1196"/>
                </a:lnTo>
                <a:close/>
                <a:moveTo>
                  <a:pt x="1030" y="1099"/>
                </a:moveTo>
                <a:lnTo>
                  <a:pt x="1034" y="1100"/>
                </a:lnTo>
                <a:lnTo>
                  <a:pt x="1036" y="1101"/>
                </a:lnTo>
                <a:lnTo>
                  <a:pt x="1038" y="1103"/>
                </a:lnTo>
                <a:lnTo>
                  <a:pt x="1040" y="1105"/>
                </a:lnTo>
                <a:lnTo>
                  <a:pt x="1041" y="1107"/>
                </a:lnTo>
                <a:lnTo>
                  <a:pt x="1042" y="1109"/>
                </a:lnTo>
                <a:lnTo>
                  <a:pt x="1042" y="1111"/>
                </a:lnTo>
                <a:lnTo>
                  <a:pt x="1041" y="1116"/>
                </a:lnTo>
                <a:lnTo>
                  <a:pt x="1040" y="1118"/>
                </a:lnTo>
                <a:lnTo>
                  <a:pt x="1039" y="1120"/>
                </a:lnTo>
                <a:lnTo>
                  <a:pt x="1037" y="1121"/>
                </a:lnTo>
                <a:lnTo>
                  <a:pt x="1035" y="1123"/>
                </a:lnTo>
                <a:lnTo>
                  <a:pt x="1032" y="1123"/>
                </a:lnTo>
                <a:lnTo>
                  <a:pt x="1030" y="1124"/>
                </a:lnTo>
                <a:lnTo>
                  <a:pt x="1025" y="1123"/>
                </a:lnTo>
                <a:lnTo>
                  <a:pt x="1023" y="1122"/>
                </a:lnTo>
                <a:lnTo>
                  <a:pt x="1021" y="1120"/>
                </a:lnTo>
                <a:lnTo>
                  <a:pt x="1020" y="1118"/>
                </a:lnTo>
                <a:lnTo>
                  <a:pt x="1019" y="1116"/>
                </a:lnTo>
                <a:lnTo>
                  <a:pt x="1018" y="1114"/>
                </a:lnTo>
                <a:lnTo>
                  <a:pt x="1018" y="1112"/>
                </a:lnTo>
                <a:lnTo>
                  <a:pt x="1019" y="1107"/>
                </a:lnTo>
                <a:lnTo>
                  <a:pt x="1020" y="1105"/>
                </a:lnTo>
                <a:lnTo>
                  <a:pt x="1021" y="1103"/>
                </a:lnTo>
                <a:lnTo>
                  <a:pt x="1023" y="1101"/>
                </a:lnTo>
                <a:lnTo>
                  <a:pt x="1025" y="1100"/>
                </a:lnTo>
                <a:lnTo>
                  <a:pt x="1028" y="1100"/>
                </a:lnTo>
                <a:lnTo>
                  <a:pt x="1030" y="1099"/>
                </a:lnTo>
                <a:close/>
                <a:moveTo>
                  <a:pt x="929" y="997"/>
                </a:moveTo>
                <a:lnTo>
                  <a:pt x="931" y="997"/>
                </a:lnTo>
                <a:lnTo>
                  <a:pt x="934" y="998"/>
                </a:lnTo>
                <a:lnTo>
                  <a:pt x="936" y="999"/>
                </a:lnTo>
                <a:lnTo>
                  <a:pt x="938" y="1000"/>
                </a:lnTo>
                <a:lnTo>
                  <a:pt x="939" y="1002"/>
                </a:lnTo>
                <a:lnTo>
                  <a:pt x="940" y="1005"/>
                </a:lnTo>
                <a:lnTo>
                  <a:pt x="941" y="1009"/>
                </a:lnTo>
                <a:lnTo>
                  <a:pt x="941" y="1011"/>
                </a:lnTo>
                <a:lnTo>
                  <a:pt x="940" y="1014"/>
                </a:lnTo>
                <a:lnTo>
                  <a:pt x="939" y="1016"/>
                </a:lnTo>
                <a:lnTo>
                  <a:pt x="937" y="1018"/>
                </a:lnTo>
                <a:lnTo>
                  <a:pt x="935" y="1019"/>
                </a:lnTo>
                <a:lnTo>
                  <a:pt x="933" y="1020"/>
                </a:lnTo>
                <a:lnTo>
                  <a:pt x="929" y="1021"/>
                </a:lnTo>
                <a:lnTo>
                  <a:pt x="926" y="1021"/>
                </a:lnTo>
                <a:lnTo>
                  <a:pt x="924" y="1020"/>
                </a:lnTo>
                <a:lnTo>
                  <a:pt x="922" y="1019"/>
                </a:lnTo>
                <a:lnTo>
                  <a:pt x="920" y="1017"/>
                </a:lnTo>
                <a:lnTo>
                  <a:pt x="919" y="1015"/>
                </a:lnTo>
                <a:lnTo>
                  <a:pt x="917" y="1013"/>
                </a:lnTo>
                <a:lnTo>
                  <a:pt x="917" y="1008"/>
                </a:lnTo>
                <a:lnTo>
                  <a:pt x="917" y="1006"/>
                </a:lnTo>
                <a:lnTo>
                  <a:pt x="918" y="1004"/>
                </a:lnTo>
                <a:lnTo>
                  <a:pt x="919" y="1002"/>
                </a:lnTo>
                <a:lnTo>
                  <a:pt x="921" y="1000"/>
                </a:lnTo>
                <a:lnTo>
                  <a:pt x="923" y="998"/>
                </a:lnTo>
                <a:lnTo>
                  <a:pt x="925" y="997"/>
                </a:lnTo>
                <a:lnTo>
                  <a:pt x="929" y="997"/>
                </a:lnTo>
                <a:close/>
                <a:moveTo>
                  <a:pt x="833" y="888"/>
                </a:moveTo>
                <a:lnTo>
                  <a:pt x="836" y="888"/>
                </a:lnTo>
                <a:lnTo>
                  <a:pt x="838" y="889"/>
                </a:lnTo>
                <a:lnTo>
                  <a:pt x="841" y="890"/>
                </a:lnTo>
                <a:lnTo>
                  <a:pt x="843" y="892"/>
                </a:lnTo>
                <a:lnTo>
                  <a:pt x="844" y="894"/>
                </a:lnTo>
                <a:lnTo>
                  <a:pt x="845" y="896"/>
                </a:lnTo>
                <a:lnTo>
                  <a:pt x="845" y="899"/>
                </a:lnTo>
                <a:lnTo>
                  <a:pt x="845" y="901"/>
                </a:lnTo>
                <a:lnTo>
                  <a:pt x="845" y="903"/>
                </a:lnTo>
                <a:lnTo>
                  <a:pt x="844" y="906"/>
                </a:lnTo>
                <a:lnTo>
                  <a:pt x="843" y="908"/>
                </a:lnTo>
                <a:lnTo>
                  <a:pt x="841" y="909"/>
                </a:lnTo>
                <a:lnTo>
                  <a:pt x="837" y="912"/>
                </a:lnTo>
                <a:lnTo>
                  <a:pt x="833" y="912"/>
                </a:lnTo>
                <a:lnTo>
                  <a:pt x="831" y="912"/>
                </a:lnTo>
                <a:lnTo>
                  <a:pt x="828" y="911"/>
                </a:lnTo>
                <a:lnTo>
                  <a:pt x="826" y="910"/>
                </a:lnTo>
                <a:lnTo>
                  <a:pt x="824" y="908"/>
                </a:lnTo>
                <a:lnTo>
                  <a:pt x="823" y="906"/>
                </a:lnTo>
                <a:lnTo>
                  <a:pt x="822" y="904"/>
                </a:lnTo>
                <a:lnTo>
                  <a:pt x="821" y="901"/>
                </a:lnTo>
                <a:lnTo>
                  <a:pt x="821" y="899"/>
                </a:lnTo>
                <a:lnTo>
                  <a:pt x="822" y="897"/>
                </a:lnTo>
                <a:lnTo>
                  <a:pt x="822" y="895"/>
                </a:lnTo>
                <a:lnTo>
                  <a:pt x="824" y="893"/>
                </a:lnTo>
                <a:lnTo>
                  <a:pt x="825" y="891"/>
                </a:lnTo>
                <a:lnTo>
                  <a:pt x="829" y="889"/>
                </a:lnTo>
                <a:lnTo>
                  <a:pt x="833" y="888"/>
                </a:lnTo>
                <a:close/>
                <a:moveTo>
                  <a:pt x="742" y="776"/>
                </a:moveTo>
                <a:lnTo>
                  <a:pt x="745" y="776"/>
                </a:lnTo>
                <a:lnTo>
                  <a:pt x="747" y="777"/>
                </a:lnTo>
                <a:lnTo>
                  <a:pt x="750" y="779"/>
                </a:lnTo>
                <a:lnTo>
                  <a:pt x="752" y="781"/>
                </a:lnTo>
                <a:lnTo>
                  <a:pt x="753" y="783"/>
                </a:lnTo>
                <a:lnTo>
                  <a:pt x="754" y="785"/>
                </a:lnTo>
                <a:lnTo>
                  <a:pt x="754" y="787"/>
                </a:lnTo>
                <a:lnTo>
                  <a:pt x="754" y="790"/>
                </a:lnTo>
                <a:lnTo>
                  <a:pt x="753" y="794"/>
                </a:lnTo>
                <a:lnTo>
                  <a:pt x="752" y="796"/>
                </a:lnTo>
                <a:lnTo>
                  <a:pt x="750" y="798"/>
                </a:lnTo>
                <a:lnTo>
                  <a:pt x="746" y="800"/>
                </a:lnTo>
                <a:lnTo>
                  <a:pt x="742" y="800"/>
                </a:lnTo>
                <a:lnTo>
                  <a:pt x="740" y="800"/>
                </a:lnTo>
                <a:lnTo>
                  <a:pt x="737" y="799"/>
                </a:lnTo>
                <a:lnTo>
                  <a:pt x="735" y="798"/>
                </a:lnTo>
                <a:lnTo>
                  <a:pt x="733" y="796"/>
                </a:lnTo>
                <a:lnTo>
                  <a:pt x="731" y="794"/>
                </a:lnTo>
                <a:lnTo>
                  <a:pt x="731" y="792"/>
                </a:lnTo>
                <a:lnTo>
                  <a:pt x="730" y="789"/>
                </a:lnTo>
                <a:lnTo>
                  <a:pt x="730" y="787"/>
                </a:lnTo>
                <a:lnTo>
                  <a:pt x="732" y="782"/>
                </a:lnTo>
                <a:lnTo>
                  <a:pt x="733" y="780"/>
                </a:lnTo>
                <a:lnTo>
                  <a:pt x="735" y="779"/>
                </a:lnTo>
                <a:lnTo>
                  <a:pt x="738" y="777"/>
                </a:lnTo>
                <a:lnTo>
                  <a:pt x="742" y="776"/>
                </a:lnTo>
                <a:close/>
                <a:moveTo>
                  <a:pt x="654" y="661"/>
                </a:moveTo>
                <a:lnTo>
                  <a:pt x="657" y="662"/>
                </a:lnTo>
                <a:lnTo>
                  <a:pt x="660" y="662"/>
                </a:lnTo>
                <a:lnTo>
                  <a:pt x="662" y="664"/>
                </a:lnTo>
                <a:lnTo>
                  <a:pt x="663" y="665"/>
                </a:lnTo>
                <a:lnTo>
                  <a:pt x="664" y="666"/>
                </a:lnTo>
                <a:lnTo>
                  <a:pt x="665" y="668"/>
                </a:lnTo>
                <a:lnTo>
                  <a:pt x="666" y="671"/>
                </a:lnTo>
                <a:lnTo>
                  <a:pt x="667" y="673"/>
                </a:lnTo>
                <a:lnTo>
                  <a:pt x="666" y="675"/>
                </a:lnTo>
                <a:lnTo>
                  <a:pt x="665" y="680"/>
                </a:lnTo>
                <a:lnTo>
                  <a:pt x="663" y="682"/>
                </a:lnTo>
                <a:lnTo>
                  <a:pt x="662" y="683"/>
                </a:lnTo>
                <a:lnTo>
                  <a:pt x="658" y="685"/>
                </a:lnTo>
                <a:lnTo>
                  <a:pt x="656" y="685"/>
                </a:lnTo>
                <a:lnTo>
                  <a:pt x="654" y="686"/>
                </a:lnTo>
                <a:lnTo>
                  <a:pt x="652" y="685"/>
                </a:lnTo>
                <a:lnTo>
                  <a:pt x="649" y="684"/>
                </a:lnTo>
                <a:lnTo>
                  <a:pt x="647" y="683"/>
                </a:lnTo>
                <a:lnTo>
                  <a:pt x="646" y="682"/>
                </a:lnTo>
                <a:lnTo>
                  <a:pt x="645" y="681"/>
                </a:lnTo>
                <a:lnTo>
                  <a:pt x="643" y="678"/>
                </a:lnTo>
                <a:lnTo>
                  <a:pt x="643" y="676"/>
                </a:lnTo>
                <a:lnTo>
                  <a:pt x="642" y="674"/>
                </a:lnTo>
                <a:lnTo>
                  <a:pt x="642" y="671"/>
                </a:lnTo>
                <a:lnTo>
                  <a:pt x="644" y="667"/>
                </a:lnTo>
                <a:lnTo>
                  <a:pt x="645" y="665"/>
                </a:lnTo>
                <a:lnTo>
                  <a:pt x="647" y="664"/>
                </a:lnTo>
                <a:lnTo>
                  <a:pt x="651" y="662"/>
                </a:lnTo>
                <a:lnTo>
                  <a:pt x="653" y="661"/>
                </a:lnTo>
                <a:lnTo>
                  <a:pt x="654" y="661"/>
                </a:lnTo>
                <a:close/>
                <a:moveTo>
                  <a:pt x="571" y="544"/>
                </a:moveTo>
                <a:lnTo>
                  <a:pt x="574" y="544"/>
                </a:lnTo>
                <a:lnTo>
                  <a:pt x="577" y="545"/>
                </a:lnTo>
                <a:lnTo>
                  <a:pt x="579" y="547"/>
                </a:lnTo>
                <a:lnTo>
                  <a:pt x="581" y="549"/>
                </a:lnTo>
                <a:lnTo>
                  <a:pt x="582" y="551"/>
                </a:lnTo>
                <a:lnTo>
                  <a:pt x="583" y="553"/>
                </a:lnTo>
                <a:lnTo>
                  <a:pt x="583" y="558"/>
                </a:lnTo>
                <a:lnTo>
                  <a:pt x="583" y="560"/>
                </a:lnTo>
                <a:lnTo>
                  <a:pt x="581" y="562"/>
                </a:lnTo>
                <a:lnTo>
                  <a:pt x="580" y="564"/>
                </a:lnTo>
                <a:lnTo>
                  <a:pt x="578" y="566"/>
                </a:lnTo>
                <a:lnTo>
                  <a:pt x="575" y="567"/>
                </a:lnTo>
                <a:lnTo>
                  <a:pt x="571" y="568"/>
                </a:lnTo>
                <a:lnTo>
                  <a:pt x="568" y="568"/>
                </a:lnTo>
                <a:lnTo>
                  <a:pt x="566" y="567"/>
                </a:lnTo>
                <a:lnTo>
                  <a:pt x="563" y="565"/>
                </a:lnTo>
                <a:lnTo>
                  <a:pt x="561" y="563"/>
                </a:lnTo>
                <a:lnTo>
                  <a:pt x="560" y="560"/>
                </a:lnTo>
                <a:lnTo>
                  <a:pt x="559" y="558"/>
                </a:lnTo>
                <a:lnTo>
                  <a:pt x="559" y="554"/>
                </a:lnTo>
                <a:lnTo>
                  <a:pt x="560" y="551"/>
                </a:lnTo>
                <a:lnTo>
                  <a:pt x="561" y="549"/>
                </a:lnTo>
                <a:lnTo>
                  <a:pt x="562" y="547"/>
                </a:lnTo>
                <a:lnTo>
                  <a:pt x="564" y="546"/>
                </a:lnTo>
                <a:lnTo>
                  <a:pt x="568" y="544"/>
                </a:lnTo>
                <a:lnTo>
                  <a:pt x="571" y="544"/>
                </a:lnTo>
                <a:close/>
                <a:moveTo>
                  <a:pt x="491" y="424"/>
                </a:moveTo>
                <a:lnTo>
                  <a:pt x="494" y="424"/>
                </a:lnTo>
                <a:lnTo>
                  <a:pt x="497" y="425"/>
                </a:lnTo>
                <a:lnTo>
                  <a:pt x="499" y="427"/>
                </a:lnTo>
                <a:lnTo>
                  <a:pt x="501" y="429"/>
                </a:lnTo>
                <a:lnTo>
                  <a:pt x="503" y="432"/>
                </a:lnTo>
                <a:lnTo>
                  <a:pt x="503" y="434"/>
                </a:lnTo>
                <a:lnTo>
                  <a:pt x="503" y="438"/>
                </a:lnTo>
                <a:lnTo>
                  <a:pt x="502" y="441"/>
                </a:lnTo>
                <a:lnTo>
                  <a:pt x="501" y="443"/>
                </a:lnTo>
                <a:lnTo>
                  <a:pt x="500" y="445"/>
                </a:lnTo>
                <a:lnTo>
                  <a:pt x="498" y="446"/>
                </a:lnTo>
                <a:lnTo>
                  <a:pt x="496" y="447"/>
                </a:lnTo>
                <a:lnTo>
                  <a:pt x="495" y="448"/>
                </a:lnTo>
                <a:lnTo>
                  <a:pt x="491" y="448"/>
                </a:lnTo>
                <a:lnTo>
                  <a:pt x="488" y="448"/>
                </a:lnTo>
                <a:lnTo>
                  <a:pt x="486" y="447"/>
                </a:lnTo>
                <a:lnTo>
                  <a:pt x="483" y="445"/>
                </a:lnTo>
                <a:lnTo>
                  <a:pt x="481" y="443"/>
                </a:lnTo>
                <a:lnTo>
                  <a:pt x="480" y="440"/>
                </a:lnTo>
                <a:lnTo>
                  <a:pt x="479" y="438"/>
                </a:lnTo>
                <a:lnTo>
                  <a:pt x="479" y="433"/>
                </a:lnTo>
                <a:lnTo>
                  <a:pt x="480" y="431"/>
                </a:lnTo>
                <a:lnTo>
                  <a:pt x="481" y="429"/>
                </a:lnTo>
                <a:lnTo>
                  <a:pt x="483" y="427"/>
                </a:lnTo>
                <a:lnTo>
                  <a:pt x="485" y="426"/>
                </a:lnTo>
                <a:lnTo>
                  <a:pt x="486" y="425"/>
                </a:lnTo>
                <a:lnTo>
                  <a:pt x="488" y="424"/>
                </a:lnTo>
                <a:lnTo>
                  <a:pt x="491" y="424"/>
                </a:lnTo>
                <a:close/>
                <a:moveTo>
                  <a:pt x="414" y="302"/>
                </a:moveTo>
                <a:lnTo>
                  <a:pt x="417" y="303"/>
                </a:lnTo>
                <a:lnTo>
                  <a:pt x="420" y="304"/>
                </a:lnTo>
                <a:lnTo>
                  <a:pt x="422" y="305"/>
                </a:lnTo>
                <a:lnTo>
                  <a:pt x="424" y="308"/>
                </a:lnTo>
                <a:lnTo>
                  <a:pt x="425" y="310"/>
                </a:lnTo>
                <a:lnTo>
                  <a:pt x="426" y="312"/>
                </a:lnTo>
                <a:lnTo>
                  <a:pt x="426" y="315"/>
                </a:lnTo>
                <a:lnTo>
                  <a:pt x="426" y="317"/>
                </a:lnTo>
                <a:lnTo>
                  <a:pt x="425" y="319"/>
                </a:lnTo>
                <a:lnTo>
                  <a:pt x="424" y="321"/>
                </a:lnTo>
                <a:lnTo>
                  <a:pt x="422" y="323"/>
                </a:lnTo>
                <a:lnTo>
                  <a:pt x="420" y="325"/>
                </a:lnTo>
                <a:lnTo>
                  <a:pt x="417" y="326"/>
                </a:lnTo>
                <a:lnTo>
                  <a:pt x="414" y="327"/>
                </a:lnTo>
                <a:lnTo>
                  <a:pt x="411" y="326"/>
                </a:lnTo>
                <a:lnTo>
                  <a:pt x="408" y="325"/>
                </a:lnTo>
                <a:lnTo>
                  <a:pt x="406" y="323"/>
                </a:lnTo>
                <a:lnTo>
                  <a:pt x="404" y="321"/>
                </a:lnTo>
                <a:lnTo>
                  <a:pt x="403" y="319"/>
                </a:lnTo>
                <a:lnTo>
                  <a:pt x="402" y="316"/>
                </a:lnTo>
                <a:lnTo>
                  <a:pt x="402" y="314"/>
                </a:lnTo>
                <a:lnTo>
                  <a:pt x="402" y="312"/>
                </a:lnTo>
                <a:lnTo>
                  <a:pt x="403" y="309"/>
                </a:lnTo>
                <a:lnTo>
                  <a:pt x="404" y="307"/>
                </a:lnTo>
                <a:lnTo>
                  <a:pt x="406" y="306"/>
                </a:lnTo>
                <a:lnTo>
                  <a:pt x="407" y="304"/>
                </a:lnTo>
                <a:lnTo>
                  <a:pt x="411" y="303"/>
                </a:lnTo>
                <a:lnTo>
                  <a:pt x="414" y="302"/>
                </a:lnTo>
                <a:close/>
                <a:moveTo>
                  <a:pt x="339" y="179"/>
                </a:moveTo>
                <a:lnTo>
                  <a:pt x="342" y="180"/>
                </a:lnTo>
                <a:lnTo>
                  <a:pt x="345" y="181"/>
                </a:lnTo>
                <a:lnTo>
                  <a:pt x="347" y="183"/>
                </a:lnTo>
                <a:lnTo>
                  <a:pt x="349" y="185"/>
                </a:lnTo>
                <a:lnTo>
                  <a:pt x="350" y="187"/>
                </a:lnTo>
                <a:lnTo>
                  <a:pt x="351" y="190"/>
                </a:lnTo>
                <a:lnTo>
                  <a:pt x="351" y="192"/>
                </a:lnTo>
                <a:lnTo>
                  <a:pt x="351" y="194"/>
                </a:lnTo>
                <a:lnTo>
                  <a:pt x="350" y="197"/>
                </a:lnTo>
                <a:lnTo>
                  <a:pt x="349" y="199"/>
                </a:lnTo>
                <a:lnTo>
                  <a:pt x="347" y="200"/>
                </a:lnTo>
                <a:lnTo>
                  <a:pt x="345" y="202"/>
                </a:lnTo>
                <a:lnTo>
                  <a:pt x="342" y="203"/>
                </a:lnTo>
                <a:lnTo>
                  <a:pt x="339" y="204"/>
                </a:lnTo>
                <a:lnTo>
                  <a:pt x="336" y="203"/>
                </a:lnTo>
                <a:lnTo>
                  <a:pt x="333" y="202"/>
                </a:lnTo>
                <a:lnTo>
                  <a:pt x="330" y="200"/>
                </a:lnTo>
                <a:lnTo>
                  <a:pt x="328" y="198"/>
                </a:lnTo>
                <a:lnTo>
                  <a:pt x="327" y="195"/>
                </a:lnTo>
                <a:lnTo>
                  <a:pt x="327" y="193"/>
                </a:lnTo>
                <a:lnTo>
                  <a:pt x="327" y="191"/>
                </a:lnTo>
                <a:lnTo>
                  <a:pt x="327" y="188"/>
                </a:lnTo>
                <a:lnTo>
                  <a:pt x="328" y="186"/>
                </a:lnTo>
                <a:lnTo>
                  <a:pt x="329" y="184"/>
                </a:lnTo>
                <a:lnTo>
                  <a:pt x="331" y="182"/>
                </a:lnTo>
                <a:lnTo>
                  <a:pt x="333" y="181"/>
                </a:lnTo>
                <a:lnTo>
                  <a:pt x="336" y="180"/>
                </a:lnTo>
                <a:lnTo>
                  <a:pt x="339" y="179"/>
                </a:lnTo>
                <a:close/>
                <a:moveTo>
                  <a:pt x="266" y="55"/>
                </a:moveTo>
                <a:lnTo>
                  <a:pt x="269" y="56"/>
                </a:lnTo>
                <a:lnTo>
                  <a:pt x="272" y="57"/>
                </a:lnTo>
                <a:lnTo>
                  <a:pt x="274" y="59"/>
                </a:lnTo>
                <a:lnTo>
                  <a:pt x="276" y="61"/>
                </a:lnTo>
                <a:lnTo>
                  <a:pt x="278" y="66"/>
                </a:lnTo>
                <a:lnTo>
                  <a:pt x="278" y="68"/>
                </a:lnTo>
                <a:lnTo>
                  <a:pt x="277" y="70"/>
                </a:lnTo>
                <a:lnTo>
                  <a:pt x="277" y="73"/>
                </a:lnTo>
                <a:lnTo>
                  <a:pt x="275" y="75"/>
                </a:lnTo>
                <a:lnTo>
                  <a:pt x="272" y="78"/>
                </a:lnTo>
                <a:lnTo>
                  <a:pt x="269" y="79"/>
                </a:lnTo>
                <a:lnTo>
                  <a:pt x="266" y="79"/>
                </a:lnTo>
                <a:lnTo>
                  <a:pt x="263" y="79"/>
                </a:lnTo>
                <a:lnTo>
                  <a:pt x="260" y="78"/>
                </a:lnTo>
                <a:lnTo>
                  <a:pt x="257" y="76"/>
                </a:lnTo>
                <a:lnTo>
                  <a:pt x="255" y="73"/>
                </a:lnTo>
                <a:lnTo>
                  <a:pt x="254" y="69"/>
                </a:lnTo>
                <a:lnTo>
                  <a:pt x="254" y="66"/>
                </a:lnTo>
                <a:lnTo>
                  <a:pt x="254" y="64"/>
                </a:lnTo>
                <a:lnTo>
                  <a:pt x="255" y="62"/>
                </a:lnTo>
                <a:lnTo>
                  <a:pt x="256" y="60"/>
                </a:lnTo>
                <a:lnTo>
                  <a:pt x="260" y="57"/>
                </a:lnTo>
                <a:lnTo>
                  <a:pt x="263" y="56"/>
                </a:lnTo>
                <a:lnTo>
                  <a:pt x="266" y="55"/>
                </a:lnTo>
                <a:close/>
                <a:moveTo>
                  <a:pt x="1957" y="1969"/>
                </a:moveTo>
                <a:lnTo>
                  <a:pt x="1959" y="1969"/>
                </a:lnTo>
                <a:lnTo>
                  <a:pt x="1962" y="1970"/>
                </a:lnTo>
                <a:lnTo>
                  <a:pt x="1964" y="1971"/>
                </a:lnTo>
                <a:lnTo>
                  <a:pt x="1965" y="1973"/>
                </a:lnTo>
                <a:lnTo>
                  <a:pt x="1967" y="1974"/>
                </a:lnTo>
                <a:lnTo>
                  <a:pt x="1968" y="1976"/>
                </a:lnTo>
                <a:lnTo>
                  <a:pt x="1969" y="1978"/>
                </a:lnTo>
                <a:lnTo>
                  <a:pt x="1969" y="1981"/>
                </a:lnTo>
                <a:lnTo>
                  <a:pt x="1969" y="1983"/>
                </a:lnTo>
                <a:lnTo>
                  <a:pt x="1968" y="1986"/>
                </a:lnTo>
                <a:lnTo>
                  <a:pt x="1967" y="1988"/>
                </a:lnTo>
                <a:lnTo>
                  <a:pt x="1966" y="1989"/>
                </a:lnTo>
                <a:lnTo>
                  <a:pt x="1962" y="1992"/>
                </a:lnTo>
                <a:lnTo>
                  <a:pt x="1960" y="1993"/>
                </a:lnTo>
                <a:lnTo>
                  <a:pt x="1957" y="1993"/>
                </a:lnTo>
                <a:lnTo>
                  <a:pt x="1955" y="1993"/>
                </a:lnTo>
                <a:lnTo>
                  <a:pt x="1953" y="1992"/>
                </a:lnTo>
                <a:lnTo>
                  <a:pt x="1951" y="1991"/>
                </a:lnTo>
                <a:lnTo>
                  <a:pt x="1949" y="1990"/>
                </a:lnTo>
                <a:lnTo>
                  <a:pt x="1947" y="1988"/>
                </a:lnTo>
                <a:lnTo>
                  <a:pt x="1946" y="1986"/>
                </a:lnTo>
                <a:lnTo>
                  <a:pt x="1945" y="1984"/>
                </a:lnTo>
                <a:lnTo>
                  <a:pt x="1945" y="1981"/>
                </a:lnTo>
                <a:lnTo>
                  <a:pt x="1945" y="1979"/>
                </a:lnTo>
                <a:lnTo>
                  <a:pt x="1946" y="1977"/>
                </a:lnTo>
                <a:lnTo>
                  <a:pt x="1947" y="1975"/>
                </a:lnTo>
                <a:lnTo>
                  <a:pt x="1948" y="1973"/>
                </a:lnTo>
                <a:lnTo>
                  <a:pt x="1952" y="1970"/>
                </a:lnTo>
                <a:lnTo>
                  <a:pt x="1954" y="1969"/>
                </a:lnTo>
                <a:lnTo>
                  <a:pt x="1957" y="1969"/>
                </a:lnTo>
                <a:close/>
                <a:moveTo>
                  <a:pt x="1814" y="1962"/>
                </a:moveTo>
                <a:lnTo>
                  <a:pt x="1815" y="1962"/>
                </a:lnTo>
                <a:lnTo>
                  <a:pt x="1817" y="1963"/>
                </a:lnTo>
                <a:lnTo>
                  <a:pt x="1820" y="1964"/>
                </a:lnTo>
                <a:lnTo>
                  <a:pt x="1821" y="1965"/>
                </a:lnTo>
                <a:lnTo>
                  <a:pt x="1823" y="1967"/>
                </a:lnTo>
                <a:lnTo>
                  <a:pt x="1824" y="1968"/>
                </a:lnTo>
                <a:lnTo>
                  <a:pt x="1825" y="1971"/>
                </a:lnTo>
                <a:lnTo>
                  <a:pt x="1826" y="1973"/>
                </a:lnTo>
                <a:lnTo>
                  <a:pt x="1826" y="1975"/>
                </a:lnTo>
                <a:lnTo>
                  <a:pt x="1824" y="1980"/>
                </a:lnTo>
                <a:lnTo>
                  <a:pt x="1823" y="1981"/>
                </a:lnTo>
                <a:lnTo>
                  <a:pt x="1822" y="1983"/>
                </a:lnTo>
                <a:lnTo>
                  <a:pt x="1820" y="1984"/>
                </a:lnTo>
                <a:lnTo>
                  <a:pt x="1818" y="1985"/>
                </a:lnTo>
                <a:lnTo>
                  <a:pt x="1814" y="1986"/>
                </a:lnTo>
                <a:lnTo>
                  <a:pt x="1812" y="1986"/>
                </a:lnTo>
                <a:lnTo>
                  <a:pt x="1810" y="1985"/>
                </a:lnTo>
                <a:lnTo>
                  <a:pt x="1808" y="1984"/>
                </a:lnTo>
                <a:lnTo>
                  <a:pt x="1806" y="1983"/>
                </a:lnTo>
                <a:lnTo>
                  <a:pt x="1804" y="1981"/>
                </a:lnTo>
                <a:lnTo>
                  <a:pt x="1803" y="1979"/>
                </a:lnTo>
                <a:lnTo>
                  <a:pt x="1802" y="1977"/>
                </a:lnTo>
                <a:lnTo>
                  <a:pt x="1802" y="1975"/>
                </a:lnTo>
                <a:lnTo>
                  <a:pt x="1802" y="1972"/>
                </a:lnTo>
                <a:lnTo>
                  <a:pt x="1803" y="1968"/>
                </a:lnTo>
                <a:lnTo>
                  <a:pt x="1804" y="1966"/>
                </a:lnTo>
                <a:lnTo>
                  <a:pt x="1806" y="1965"/>
                </a:lnTo>
                <a:lnTo>
                  <a:pt x="1807" y="1964"/>
                </a:lnTo>
                <a:lnTo>
                  <a:pt x="1809" y="1963"/>
                </a:lnTo>
                <a:lnTo>
                  <a:pt x="1814" y="1962"/>
                </a:lnTo>
                <a:close/>
                <a:moveTo>
                  <a:pt x="2101" y="1956"/>
                </a:moveTo>
                <a:lnTo>
                  <a:pt x="2106" y="1957"/>
                </a:lnTo>
                <a:lnTo>
                  <a:pt x="2109" y="1959"/>
                </a:lnTo>
                <a:lnTo>
                  <a:pt x="2112" y="1962"/>
                </a:lnTo>
                <a:lnTo>
                  <a:pt x="2113" y="1964"/>
                </a:lnTo>
                <a:lnTo>
                  <a:pt x="2113" y="1966"/>
                </a:lnTo>
                <a:lnTo>
                  <a:pt x="2113" y="1968"/>
                </a:lnTo>
                <a:lnTo>
                  <a:pt x="2113" y="1971"/>
                </a:lnTo>
                <a:lnTo>
                  <a:pt x="2112" y="1973"/>
                </a:lnTo>
                <a:lnTo>
                  <a:pt x="2111" y="1975"/>
                </a:lnTo>
                <a:lnTo>
                  <a:pt x="2108" y="1978"/>
                </a:lnTo>
                <a:lnTo>
                  <a:pt x="2106" y="1979"/>
                </a:lnTo>
                <a:lnTo>
                  <a:pt x="2103" y="1980"/>
                </a:lnTo>
                <a:lnTo>
                  <a:pt x="2101" y="1980"/>
                </a:lnTo>
                <a:lnTo>
                  <a:pt x="2097" y="1979"/>
                </a:lnTo>
                <a:lnTo>
                  <a:pt x="2094" y="1977"/>
                </a:lnTo>
                <a:lnTo>
                  <a:pt x="2091" y="1974"/>
                </a:lnTo>
                <a:lnTo>
                  <a:pt x="2090" y="1972"/>
                </a:lnTo>
                <a:lnTo>
                  <a:pt x="2090" y="1970"/>
                </a:lnTo>
                <a:lnTo>
                  <a:pt x="2089" y="1967"/>
                </a:lnTo>
                <a:lnTo>
                  <a:pt x="2090" y="1965"/>
                </a:lnTo>
                <a:lnTo>
                  <a:pt x="2091" y="1963"/>
                </a:lnTo>
                <a:lnTo>
                  <a:pt x="2092" y="1961"/>
                </a:lnTo>
                <a:lnTo>
                  <a:pt x="2095" y="1958"/>
                </a:lnTo>
                <a:lnTo>
                  <a:pt x="2097" y="1957"/>
                </a:lnTo>
                <a:lnTo>
                  <a:pt x="2099" y="1956"/>
                </a:lnTo>
                <a:lnTo>
                  <a:pt x="2101" y="1956"/>
                </a:lnTo>
                <a:close/>
                <a:moveTo>
                  <a:pt x="1673" y="1934"/>
                </a:moveTo>
                <a:lnTo>
                  <a:pt x="1676" y="1934"/>
                </a:lnTo>
                <a:lnTo>
                  <a:pt x="1678" y="1935"/>
                </a:lnTo>
                <a:lnTo>
                  <a:pt x="1680" y="1937"/>
                </a:lnTo>
                <a:lnTo>
                  <a:pt x="1682" y="1938"/>
                </a:lnTo>
                <a:lnTo>
                  <a:pt x="1683" y="1940"/>
                </a:lnTo>
                <a:lnTo>
                  <a:pt x="1684" y="1942"/>
                </a:lnTo>
                <a:lnTo>
                  <a:pt x="1685" y="1944"/>
                </a:lnTo>
                <a:lnTo>
                  <a:pt x="1685" y="1947"/>
                </a:lnTo>
                <a:lnTo>
                  <a:pt x="1684" y="1949"/>
                </a:lnTo>
                <a:lnTo>
                  <a:pt x="1684" y="1951"/>
                </a:lnTo>
                <a:lnTo>
                  <a:pt x="1683" y="1953"/>
                </a:lnTo>
                <a:lnTo>
                  <a:pt x="1680" y="1956"/>
                </a:lnTo>
                <a:lnTo>
                  <a:pt x="1678" y="1957"/>
                </a:lnTo>
                <a:lnTo>
                  <a:pt x="1676" y="1957"/>
                </a:lnTo>
                <a:lnTo>
                  <a:pt x="1673" y="1958"/>
                </a:lnTo>
                <a:lnTo>
                  <a:pt x="1669" y="1958"/>
                </a:lnTo>
                <a:lnTo>
                  <a:pt x="1667" y="1957"/>
                </a:lnTo>
                <a:lnTo>
                  <a:pt x="1665" y="1956"/>
                </a:lnTo>
                <a:lnTo>
                  <a:pt x="1664" y="1954"/>
                </a:lnTo>
                <a:lnTo>
                  <a:pt x="1662" y="1952"/>
                </a:lnTo>
                <a:lnTo>
                  <a:pt x="1661" y="1950"/>
                </a:lnTo>
                <a:lnTo>
                  <a:pt x="1661" y="1948"/>
                </a:lnTo>
                <a:lnTo>
                  <a:pt x="1661" y="1945"/>
                </a:lnTo>
                <a:lnTo>
                  <a:pt x="1661" y="1943"/>
                </a:lnTo>
                <a:lnTo>
                  <a:pt x="1662" y="1941"/>
                </a:lnTo>
                <a:lnTo>
                  <a:pt x="1663" y="1939"/>
                </a:lnTo>
                <a:lnTo>
                  <a:pt x="1665" y="1936"/>
                </a:lnTo>
                <a:lnTo>
                  <a:pt x="1667" y="1935"/>
                </a:lnTo>
                <a:lnTo>
                  <a:pt x="1669" y="1935"/>
                </a:lnTo>
                <a:lnTo>
                  <a:pt x="1673" y="1934"/>
                </a:lnTo>
                <a:close/>
                <a:moveTo>
                  <a:pt x="2242" y="1924"/>
                </a:moveTo>
                <a:lnTo>
                  <a:pt x="2245" y="1925"/>
                </a:lnTo>
                <a:lnTo>
                  <a:pt x="2249" y="1926"/>
                </a:lnTo>
                <a:lnTo>
                  <a:pt x="2252" y="1929"/>
                </a:lnTo>
                <a:lnTo>
                  <a:pt x="2253" y="1933"/>
                </a:lnTo>
                <a:lnTo>
                  <a:pt x="2254" y="1935"/>
                </a:lnTo>
                <a:lnTo>
                  <a:pt x="2254" y="1937"/>
                </a:lnTo>
                <a:lnTo>
                  <a:pt x="2252" y="1942"/>
                </a:lnTo>
                <a:lnTo>
                  <a:pt x="2251" y="1944"/>
                </a:lnTo>
                <a:lnTo>
                  <a:pt x="2249" y="1945"/>
                </a:lnTo>
                <a:lnTo>
                  <a:pt x="2247" y="1947"/>
                </a:lnTo>
                <a:lnTo>
                  <a:pt x="2245" y="1947"/>
                </a:lnTo>
                <a:lnTo>
                  <a:pt x="2242" y="1948"/>
                </a:lnTo>
                <a:lnTo>
                  <a:pt x="2238" y="1947"/>
                </a:lnTo>
                <a:lnTo>
                  <a:pt x="2235" y="1946"/>
                </a:lnTo>
                <a:lnTo>
                  <a:pt x="2232" y="1943"/>
                </a:lnTo>
                <a:lnTo>
                  <a:pt x="2230" y="1939"/>
                </a:lnTo>
                <a:lnTo>
                  <a:pt x="2230" y="1937"/>
                </a:lnTo>
                <a:lnTo>
                  <a:pt x="2230" y="1935"/>
                </a:lnTo>
                <a:lnTo>
                  <a:pt x="2231" y="1930"/>
                </a:lnTo>
                <a:lnTo>
                  <a:pt x="2232" y="1928"/>
                </a:lnTo>
                <a:lnTo>
                  <a:pt x="2234" y="1927"/>
                </a:lnTo>
                <a:lnTo>
                  <a:pt x="2236" y="1925"/>
                </a:lnTo>
                <a:lnTo>
                  <a:pt x="2238" y="1924"/>
                </a:lnTo>
                <a:lnTo>
                  <a:pt x="2242" y="1924"/>
                </a:lnTo>
                <a:close/>
                <a:moveTo>
                  <a:pt x="1537" y="1887"/>
                </a:moveTo>
                <a:lnTo>
                  <a:pt x="1539" y="1887"/>
                </a:lnTo>
                <a:lnTo>
                  <a:pt x="1542" y="1888"/>
                </a:lnTo>
                <a:lnTo>
                  <a:pt x="1544" y="1889"/>
                </a:lnTo>
                <a:lnTo>
                  <a:pt x="1545" y="1891"/>
                </a:lnTo>
                <a:lnTo>
                  <a:pt x="1548" y="1894"/>
                </a:lnTo>
                <a:lnTo>
                  <a:pt x="1549" y="1897"/>
                </a:lnTo>
                <a:lnTo>
                  <a:pt x="1549" y="1899"/>
                </a:lnTo>
                <a:lnTo>
                  <a:pt x="1549" y="1901"/>
                </a:lnTo>
                <a:lnTo>
                  <a:pt x="1548" y="1904"/>
                </a:lnTo>
                <a:lnTo>
                  <a:pt x="1547" y="1905"/>
                </a:lnTo>
                <a:lnTo>
                  <a:pt x="1546" y="1907"/>
                </a:lnTo>
                <a:lnTo>
                  <a:pt x="1543" y="1909"/>
                </a:lnTo>
                <a:lnTo>
                  <a:pt x="1540" y="1910"/>
                </a:lnTo>
                <a:lnTo>
                  <a:pt x="1537" y="1911"/>
                </a:lnTo>
                <a:lnTo>
                  <a:pt x="1535" y="1911"/>
                </a:lnTo>
                <a:lnTo>
                  <a:pt x="1532" y="1910"/>
                </a:lnTo>
                <a:lnTo>
                  <a:pt x="1530" y="1909"/>
                </a:lnTo>
                <a:lnTo>
                  <a:pt x="1528" y="1907"/>
                </a:lnTo>
                <a:lnTo>
                  <a:pt x="1526" y="1903"/>
                </a:lnTo>
                <a:lnTo>
                  <a:pt x="1525" y="1901"/>
                </a:lnTo>
                <a:lnTo>
                  <a:pt x="1525" y="1899"/>
                </a:lnTo>
                <a:lnTo>
                  <a:pt x="1525" y="1897"/>
                </a:lnTo>
                <a:lnTo>
                  <a:pt x="1526" y="1894"/>
                </a:lnTo>
                <a:lnTo>
                  <a:pt x="1527" y="1893"/>
                </a:lnTo>
                <a:lnTo>
                  <a:pt x="1528" y="1891"/>
                </a:lnTo>
                <a:lnTo>
                  <a:pt x="1530" y="1889"/>
                </a:lnTo>
                <a:lnTo>
                  <a:pt x="1533" y="1887"/>
                </a:lnTo>
                <a:lnTo>
                  <a:pt x="1537" y="1887"/>
                </a:lnTo>
                <a:close/>
                <a:moveTo>
                  <a:pt x="2377" y="1876"/>
                </a:moveTo>
                <a:lnTo>
                  <a:pt x="2381" y="1877"/>
                </a:lnTo>
                <a:lnTo>
                  <a:pt x="2384" y="1878"/>
                </a:lnTo>
                <a:lnTo>
                  <a:pt x="2387" y="1880"/>
                </a:lnTo>
                <a:lnTo>
                  <a:pt x="2388" y="1883"/>
                </a:lnTo>
                <a:lnTo>
                  <a:pt x="2389" y="1886"/>
                </a:lnTo>
                <a:lnTo>
                  <a:pt x="2389" y="1888"/>
                </a:lnTo>
                <a:lnTo>
                  <a:pt x="2389" y="1890"/>
                </a:lnTo>
                <a:lnTo>
                  <a:pt x="2388" y="1893"/>
                </a:lnTo>
                <a:lnTo>
                  <a:pt x="2387" y="1895"/>
                </a:lnTo>
                <a:lnTo>
                  <a:pt x="2386" y="1896"/>
                </a:lnTo>
                <a:lnTo>
                  <a:pt x="2382" y="1899"/>
                </a:lnTo>
                <a:lnTo>
                  <a:pt x="2380" y="1900"/>
                </a:lnTo>
                <a:lnTo>
                  <a:pt x="2377" y="1900"/>
                </a:lnTo>
                <a:lnTo>
                  <a:pt x="2374" y="1899"/>
                </a:lnTo>
                <a:lnTo>
                  <a:pt x="2371" y="1898"/>
                </a:lnTo>
                <a:lnTo>
                  <a:pt x="2368" y="1896"/>
                </a:lnTo>
                <a:lnTo>
                  <a:pt x="2366" y="1893"/>
                </a:lnTo>
                <a:lnTo>
                  <a:pt x="2366" y="1890"/>
                </a:lnTo>
                <a:lnTo>
                  <a:pt x="2365" y="1888"/>
                </a:lnTo>
                <a:lnTo>
                  <a:pt x="2366" y="1886"/>
                </a:lnTo>
                <a:lnTo>
                  <a:pt x="2366" y="1883"/>
                </a:lnTo>
                <a:lnTo>
                  <a:pt x="2367" y="1881"/>
                </a:lnTo>
                <a:lnTo>
                  <a:pt x="2369" y="1880"/>
                </a:lnTo>
                <a:lnTo>
                  <a:pt x="2373" y="1877"/>
                </a:lnTo>
                <a:lnTo>
                  <a:pt x="2375" y="1876"/>
                </a:lnTo>
                <a:lnTo>
                  <a:pt x="2377" y="1876"/>
                </a:lnTo>
                <a:close/>
                <a:moveTo>
                  <a:pt x="1408" y="1823"/>
                </a:moveTo>
                <a:lnTo>
                  <a:pt x="1411" y="1824"/>
                </a:lnTo>
                <a:lnTo>
                  <a:pt x="1414" y="1825"/>
                </a:lnTo>
                <a:lnTo>
                  <a:pt x="1416" y="1826"/>
                </a:lnTo>
                <a:lnTo>
                  <a:pt x="1417" y="1827"/>
                </a:lnTo>
                <a:lnTo>
                  <a:pt x="1417" y="1828"/>
                </a:lnTo>
                <a:lnTo>
                  <a:pt x="1419" y="1830"/>
                </a:lnTo>
                <a:lnTo>
                  <a:pt x="1419" y="1832"/>
                </a:lnTo>
                <a:lnTo>
                  <a:pt x="1420" y="1834"/>
                </a:lnTo>
                <a:lnTo>
                  <a:pt x="1420" y="1837"/>
                </a:lnTo>
                <a:lnTo>
                  <a:pt x="1418" y="1841"/>
                </a:lnTo>
                <a:lnTo>
                  <a:pt x="1416" y="1844"/>
                </a:lnTo>
                <a:lnTo>
                  <a:pt x="1414" y="1846"/>
                </a:lnTo>
                <a:lnTo>
                  <a:pt x="1411" y="1847"/>
                </a:lnTo>
                <a:lnTo>
                  <a:pt x="1408" y="1847"/>
                </a:lnTo>
                <a:lnTo>
                  <a:pt x="1405" y="1847"/>
                </a:lnTo>
                <a:lnTo>
                  <a:pt x="1402" y="1846"/>
                </a:lnTo>
                <a:lnTo>
                  <a:pt x="1400" y="1844"/>
                </a:lnTo>
                <a:lnTo>
                  <a:pt x="1399" y="1843"/>
                </a:lnTo>
                <a:lnTo>
                  <a:pt x="1398" y="1843"/>
                </a:lnTo>
                <a:lnTo>
                  <a:pt x="1397" y="1841"/>
                </a:lnTo>
                <a:lnTo>
                  <a:pt x="1396" y="1838"/>
                </a:lnTo>
                <a:lnTo>
                  <a:pt x="1396" y="1836"/>
                </a:lnTo>
                <a:lnTo>
                  <a:pt x="1396" y="1834"/>
                </a:lnTo>
                <a:lnTo>
                  <a:pt x="1397" y="1829"/>
                </a:lnTo>
                <a:lnTo>
                  <a:pt x="1399" y="1827"/>
                </a:lnTo>
                <a:lnTo>
                  <a:pt x="1402" y="1825"/>
                </a:lnTo>
                <a:lnTo>
                  <a:pt x="1405" y="1824"/>
                </a:lnTo>
                <a:lnTo>
                  <a:pt x="1408" y="1823"/>
                </a:lnTo>
                <a:close/>
                <a:moveTo>
                  <a:pt x="2508" y="1815"/>
                </a:moveTo>
                <a:lnTo>
                  <a:pt x="2511" y="1815"/>
                </a:lnTo>
                <a:lnTo>
                  <a:pt x="2514" y="1816"/>
                </a:lnTo>
                <a:lnTo>
                  <a:pt x="2516" y="1818"/>
                </a:lnTo>
                <a:lnTo>
                  <a:pt x="2518" y="1821"/>
                </a:lnTo>
                <a:lnTo>
                  <a:pt x="2519" y="1823"/>
                </a:lnTo>
                <a:lnTo>
                  <a:pt x="2520" y="1826"/>
                </a:lnTo>
                <a:lnTo>
                  <a:pt x="2520" y="1828"/>
                </a:lnTo>
                <a:lnTo>
                  <a:pt x="2519" y="1830"/>
                </a:lnTo>
                <a:lnTo>
                  <a:pt x="2518" y="1832"/>
                </a:lnTo>
                <a:lnTo>
                  <a:pt x="2517" y="1834"/>
                </a:lnTo>
                <a:lnTo>
                  <a:pt x="2515" y="1836"/>
                </a:lnTo>
                <a:lnTo>
                  <a:pt x="2513" y="1837"/>
                </a:lnTo>
                <a:lnTo>
                  <a:pt x="2510" y="1838"/>
                </a:lnTo>
                <a:lnTo>
                  <a:pt x="2508" y="1839"/>
                </a:lnTo>
                <a:lnTo>
                  <a:pt x="2504" y="1838"/>
                </a:lnTo>
                <a:lnTo>
                  <a:pt x="2502" y="1837"/>
                </a:lnTo>
                <a:lnTo>
                  <a:pt x="2499" y="1835"/>
                </a:lnTo>
                <a:lnTo>
                  <a:pt x="2497" y="1832"/>
                </a:lnTo>
                <a:lnTo>
                  <a:pt x="2496" y="1830"/>
                </a:lnTo>
                <a:lnTo>
                  <a:pt x="2496" y="1828"/>
                </a:lnTo>
                <a:lnTo>
                  <a:pt x="2496" y="1825"/>
                </a:lnTo>
                <a:lnTo>
                  <a:pt x="2496" y="1823"/>
                </a:lnTo>
                <a:lnTo>
                  <a:pt x="2497" y="1821"/>
                </a:lnTo>
                <a:lnTo>
                  <a:pt x="2498" y="1819"/>
                </a:lnTo>
                <a:lnTo>
                  <a:pt x="2500" y="1817"/>
                </a:lnTo>
                <a:lnTo>
                  <a:pt x="2502" y="1816"/>
                </a:lnTo>
                <a:lnTo>
                  <a:pt x="2505" y="1815"/>
                </a:lnTo>
                <a:lnTo>
                  <a:pt x="2508" y="1815"/>
                </a:lnTo>
                <a:close/>
                <a:moveTo>
                  <a:pt x="1287" y="1746"/>
                </a:moveTo>
                <a:lnTo>
                  <a:pt x="1290" y="1746"/>
                </a:lnTo>
                <a:lnTo>
                  <a:pt x="1292" y="1747"/>
                </a:lnTo>
                <a:lnTo>
                  <a:pt x="1294" y="1748"/>
                </a:lnTo>
                <a:lnTo>
                  <a:pt x="1295" y="1750"/>
                </a:lnTo>
                <a:lnTo>
                  <a:pt x="1297" y="1751"/>
                </a:lnTo>
                <a:lnTo>
                  <a:pt x="1298" y="1754"/>
                </a:lnTo>
                <a:lnTo>
                  <a:pt x="1298" y="1756"/>
                </a:lnTo>
                <a:lnTo>
                  <a:pt x="1298" y="1760"/>
                </a:lnTo>
                <a:lnTo>
                  <a:pt x="1298" y="1763"/>
                </a:lnTo>
                <a:lnTo>
                  <a:pt x="1296" y="1765"/>
                </a:lnTo>
                <a:lnTo>
                  <a:pt x="1294" y="1767"/>
                </a:lnTo>
                <a:lnTo>
                  <a:pt x="1293" y="1768"/>
                </a:lnTo>
                <a:lnTo>
                  <a:pt x="1292" y="1768"/>
                </a:lnTo>
                <a:lnTo>
                  <a:pt x="1289" y="1769"/>
                </a:lnTo>
                <a:lnTo>
                  <a:pt x="1287" y="1770"/>
                </a:lnTo>
                <a:lnTo>
                  <a:pt x="1283" y="1769"/>
                </a:lnTo>
                <a:lnTo>
                  <a:pt x="1281" y="1769"/>
                </a:lnTo>
                <a:lnTo>
                  <a:pt x="1280" y="1768"/>
                </a:lnTo>
                <a:lnTo>
                  <a:pt x="1278" y="1766"/>
                </a:lnTo>
                <a:lnTo>
                  <a:pt x="1276" y="1764"/>
                </a:lnTo>
                <a:lnTo>
                  <a:pt x="1275" y="1762"/>
                </a:lnTo>
                <a:lnTo>
                  <a:pt x="1275" y="1760"/>
                </a:lnTo>
                <a:lnTo>
                  <a:pt x="1275" y="1755"/>
                </a:lnTo>
                <a:lnTo>
                  <a:pt x="1276" y="1753"/>
                </a:lnTo>
                <a:lnTo>
                  <a:pt x="1277" y="1751"/>
                </a:lnTo>
                <a:lnTo>
                  <a:pt x="1279" y="1749"/>
                </a:lnTo>
                <a:lnTo>
                  <a:pt x="1280" y="1748"/>
                </a:lnTo>
                <a:lnTo>
                  <a:pt x="1281" y="1747"/>
                </a:lnTo>
                <a:lnTo>
                  <a:pt x="1284" y="1746"/>
                </a:lnTo>
                <a:lnTo>
                  <a:pt x="1287" y="1746"/>
                </a:lnTo>
                <a:close/>
                <a:moveTo>
                  <a:pt x="2632" y="1743"/>
                </a:moveTo>
                <a:lnTo>
                  <a:pt x="2635" y="1743"/>
                </a:lnTo>
                <a:lnTo>
                  <a:pt x="2638" y="1744"/>
                </a:lnTo>
                <a:lnTo>
                  <a:pt x="2640" y="1746"/>
                </a:lnTo>
                <a:lnTo>
                  <a:pt x="2642" y="1748"/>
                </a:lnTo>
                <a:lnTo>
                  <a:pt x="2644" y="1751"/>
                </a:lnTo>
                <a:lnTo>
                  <a:pt x="2644" y="1753"/>
                </a:lnTo>
                <a:lnTo>
                  <a:pt x="2644" y="1755"/>
                </a:lnTo>
                <a:lnTo>
                  <a:pt x="2644" y="1757"/>
                </a:lnTo>
                <a:lnTo>
                  <a:pt x="2643" y="1760"/>
                </a:lnTo>
                <a:lnTo>
                  <a:pt x="2642" y="1762"/>
                </a:lnTo>
                <a:lnTo>
                  <a:pt x="2641" y="1763"/>
                </a:lnTo>
                <a:lnTo>
                  <a:pt x="2639" y="1765"/>
                </a:lnTo>
                <a:lnTo>
                  <a:pt x="2636" y="1766"/>
                </a:lnTo>
                <a:lnTo>
                  <a:pt x="2632" y="1767"/>
                </a:lnTo>
                <a:lnTo>
                  <a:pt x="2629" y="1766"/>
                </a:lnTo>
                <a:lnTo>
                  <a:pt x="2627" y="1765"/>
                </a:lnTo>
                <a:lnTo>
                  <a:pt x="2624" y="1764"/>
                </a:lnTo>
                <a:lnTo>
                  <a:pt x="2622" y="1761"/>
                </a:lnTo>
                <a:lnTo>
                  <a:pt x="2621" y="1759"/>
                </a:lnTo>
                <a:lnTo>
                  <a:pt x="2620" y="1757"/>
                </a:lnTo>
                <a:lnTo>
                  <a:pt x="2620" y="1754"/>
                </a:lnTo>
                <a:lnTo>
                  <a:pt x="2621" y="1752"/>
                </a:lnTo>
                <a:lnTo>
                  <a:pt x="2621" y="1750"/>
                </a:lnTo>
                <a:lnTo>
                  <a:pt x="2622" y="1748"/>
                </a:lnTo>
                <a:lnTo>
                  <a:pt x="2624" y="1746"/>
                </a:lnTo>
                <a:lnTo>
                  <a:pt x="2626" y="1745"/>
                </a:lnTo>
                <a:lnTo>
                  <a:pt x="2629" y="1743"/>
                </a:lnTo>
                <a:lnTo>
                  <a:pt x="2632" y="1743"/>
                </a:lnTo>
                <a:close/>
                <a:moveTo>
                  <a:pt x="1173" y="1657"/>
                </a:moveTo>
                <a:lnTo>
                  <a:pt x="1177" y="1658"/>
                </a:lnTo>
                <a:lnTo>
                  <a:pt x="1181" y="1660"/>
                </a:lnTo>
                <a:lnTo>
                  <a:pt x="1182" y="1662"/>
                </a:lnTo>
                <a:lnTo>
                  <a:pt x="1184" y="1664"/>
                </a:lnTo>
                <a:lnTo>
                  <a:pt x="1185" y="1666"/>
                </a:lnTo>
                <a:lnTo>
                  <a:pt x="1185" y="1668"/>
                </a:lnTo>
                <a:lnTo>
                  <a:pt x="1185" y="1671"/>
                </a:lnTo>
                <a:lnTo>
                  <a:pt x="1184" y="1673"/>
                </a:lnTo>
                <a:lnTo>
                  <a:pt x="1184" y="1675"/>
                </a:lnTo>
                <a:lnTo>
                  <a:pt x="1182" y="1677"/>
                </a:lnTo>
                <a:lnTo>
                  <a:pt x="1180" y="1679"/>
                </a:lnTo>
                <a:lnTo>
                  <a:pt x="1178" y="1680"/>
                </a:lnTo>
                <a:lnTo>
                  <a:pt x="1176" y="1681"/>
                </a:lnTo>
                <a:lnTo>
                  <a:pt x="1173" y="1681"/>
                </a:lnTo>
                <a:lnTo>
                  <a:pt x="1169" y="1681"/>
                </a:lnTo>
                <a:lnTo>
                  <a:pt x="1165" y="1679"/>
                </a:lnTo>
                <a:lnTo>
                  <a:pt x="1164" y="1677"/>
                </a:lnTo>
                <a:lnTo>
                  <a:pt x="1162" y="1675"/>
                </a:lnTo>
                <a:lnTo>
                  <a:pt x="1161" y="1673"/>
                </a:lnTo>
                <a:lnTo>
                  <a:pt x="1161" y="1670"/>
                </a:lnTo>
                <a:lnTo>
                  <a:pt x="1161" y="1668"/>
                </a:lnTo>
                <a:lnTo>
                  <a:pt x="1162" y="1666"/>
                </a:lnTo>
                <a:lnTo>
                  <a:pt x="1162" y="1664"/>
                </a:lnTo>
                <a:lnTo>
                  <a:pt x="1164" y="1662"/>
                </a:lnTo>
                <a:lnTo>
                  <a:pt x="1166" y="1660"/>
                </a:lnTo>
                <a:lnTo>
                  <a:pt x="1168" y="1659"/>
                </a:lnTo>
                <a:lnTo>
                  <a:pt x="1170" y="1658"/>
                </a:lnTo>
                <a:lnTo>
                  <a:pt x="1173" y="1657"/>
                </a:lnTo>
                <a:close/>
                <a:moveTo>
                  <a:pt x="1066" y="1561"/>
                </a:moveTo>
                <a:lnTo>
                  <a:pt x="1071" y="1562"/>
                </a:lnTo>
                <a:lnTo>
                  <a:pt x="1073" y="1563"/>
                </a:lnTo>
                <a:lnTo>
                  <a:pt x="1075" y="1564"/>
                </a:lnTo>
                <a:lnTo>
                  <a:pt x="1076" y="1566"/>
                </a:lnTo>
                <a:lnTo>
                  <a:pt x="1077" y="1568"/>
                </a:lnTo>
                <a:lnTo>
                  <a:pt x="1078" y="1570"/>
                </a:lnTo>
                <a:lnTo>
                  <a:pt x="1078" y="1572"/>
                </a:lnTo>
                <a:lnTo>
                  <a:pt x="1078" y="1577"/>
                </a:lnTo>
                <a:lnTo>
                  <a:pt x="1077" y="1579"/>
                </a:lnTo>
                <a:lnTo>
                  <a:pt x="1075" y="1581"/>
                </a:lnTo>
                <a:lnTo>
                  <a:pt x="1073" y="1583"/>
                </a:lnTo>
                <a:lnTo>
                  <a:pt x="1071" y="1584"/>
                </a:lnTo>
                <a:lnTo>
                  <a:pt x="1069" y="1584"/>
                </a:lnTo>
                <a:lnTo>
                  <a:pt x="1066" y="1585"/>
                </a:lnTo>
                <a:lnTo>
                  <a:pt x="1062" y="1584"/>
                </a:lnTo>
                <a:lnTo>
                  <a:pt x="1060" y="1583"/>
                </a:lnTo>
                <a:lnTo>
                  <a:pt x="1058" y="1581"/>
                </a:lnTo>
                <a:lnTo>
                  <a:pt x="1056" y="1579"/>
                </a:lnTo>
                <a:lnTo>
                  <a:pt x="1055" y="1577"/>
                </a:lnTo>
                <a:lnTo>
                  <a:pt x="1055" y="1575"/>
                </a:lnTo>
                <a:lnTo>
                  <a:pt x="1054" y="1573"/>
                </a:lnTo>
                <a:lnTo>
                  <a:pt x="1055" y="1568"/>
                </a:lnTo>
                <a:lnTo>
                  <a:pt x="1056" y="1566"/>
                </a:lnTo>
                <a:lnTo>
                  <a:pt x="1058" y="1564"/>
                </a:lnTo>
                <a:lnTo>
                  <a:pt x="1060" y="1563"/>
                </a:lnTo>
                <a:lnTo>
                  <a:pt x="1062" y="1562"/>
                </a:lnTo>
                <a:lnTo>
                  <a:pt x="1064" y="1561"/>
                </a:lnTo>
                <a:lnTo>
                  <a:pt x="1066" y="1561"/>
                </a:lnTo>
                <a:close/>
                <a:moveTo>
                  <a:pt x="966" y="1457"/>
                </a:moveTo>
                <a:lnTo>
                  <a:pt x="969" y="1457"/>
                </a:lnTo>
                <a:lnTo>
                  <a:pt x="971" y="1458"/>
                </a:lnTo>
                <a:lnTo>
                  <a:pt x="973" y="1459"/>
                </a:lnTo>
                <a:lnTo>
                  <a:pt x="975" y="1461"/>
                </a:lnTo>
                <a:lnTo>
                  <a:pt x="977" y="1463"/>
                </a:lnTo>
                <a:lnTo>
                  <a:pt x="978" y="1465"/>
                </a:lnTo>
                <a:lnTo>
                  <a:pt x="978" y="1470"/>
                </a:lnTo>
                <a:lnTo>
                  <a:pt x="978" y="1472"/>
                </a:lnTo>
                <a:lnTo>
                  <a:pt x="977" y="1474"/>
                </a:lnTo>
                <a:lnTo>
                  <a:pt x="976" y="1476"/>
                </a:lnTo>
                <a:lnTo>
                  <a:pt x="974" y="1478"/>
                </a:lnTo>
                <a:lnTo>
                  <a:pt x="970" y="1480"/>
                </a:lnTo>
                <a:lnTo>
                  <a:pt x="966" y="1481"/>
                </a:lnTo>
                <a:lnTo>
                  <a:pt x="964" y="1481"/>
                </a:lnTo>
                <a:lnTo>
                  <a:pt x="961" y="1480"/>
                </a:lnTo>
                <a:lnTo>
                  <a:pt x="959" y="1479"/>
                </a:lnTo>
                <a:lnTo>
                  <a:pt x="957" y="1477"/>
                </a:lnTo>
                <a:lnTo>
                  <a:pt x="956" y="1475"/>
                </a:lnTo>
                <a:lnTo>
                  <a:pt x="955" y="1473"/>
                </a:lnTo>
                <a:lnTo>
                  <a:pt x="954" y="1469"/>
                </a:lnTo>
                <a:lnTo>
                  <a:pt x="955" y="1466"/>
                </a:lnTo>
                <a:lnTo>
                  <a:pt x="955" y="1464"/>
                </a:lnTo>
                <a:lnTo>
                  <a:pt x="956" y="1462"/>
                </a:lnTo>
                <a:lnTo>
                  <a:pt x="958" y="1460"/>
                </a:lnTo>
                <a:lnTo>
                  <a:pt x="962" y="1458"/>
                </a:lnTo>
                <a:lnTo>
                  <a:pt x="966" y="1457"/>
                </a:lnTo>
                <a:close/>
                <a:moveTo>
                  <a:pt x="872" y="1349"/>
                </a:moveTo>
                <a:lnTo>
                  <a:pt x="874" y="1349"/>
                </a:lnTo>
                <a:lnTo>
                  <a:pt x="877" y="1350"/>
                </a:lnTo>
                <a:lnTo>
                  <a:pt x="879" y="1351"/>
                </a:lnTo>
                <a:lnTo>
                  <a:pt x="881" y="1353"/>
                </a:lnTo>
                <a:lnTo>
                  <a:pt x="882" y="1355"/>
                </a:lnTo>
                <a:lnTo>
                  <a:pt x="883" y="1357"/>
                </a:lnTo>
                <a:lnTo>
                  <a:pt x="884" y="1359"/>
                </a:lnTo>
                <a:lnTo>
                  <a:pt x="884" y="1362"/>
                </a:lnTo>
                <a:lnTo>
                  <a:pt x="883" y="1364"/>
                </a:lnTo>
                <a:lnTo>
                  <a:pt x="882" y="1366"/>
                </a:lnTo>
                <a:lnTo>
                  <a:pt x="881" y="1368"/>
                </a:lnTo>
                <a:lnTo>
                  <a:pt x="879" y="1370"/>
                </a:lnTo>
                <a:lnTo>
                  <a:pt x="878" y="1371"/>
                </a:lnTo>
                <a:lnTo>
                  <a:pt x="876" y="1372"/>
                </a:lnTo>
                <a:lnTo>
                  <a:pt x="872" y="1373"/>
                </a:lnTo>
                <a:lnTo>
                  <a:pt x="869" y="1372"/>
                </a:lnTo>
                <a:lnTo>
                  <a:pt x="867" y="1371"/>
                </a:lnTo>
                <a:lnTo>
                  <a:pt x="864" y="1370"/>
                </a:lnTo>
                <a:lnTo>
                  <a:pt x="862" y="1368"/>
                </a:lnTo>
                <a:lnTo>
                  <a:pt x="861" y="1366"/>
                </a:lnTo>
                <a:lnTo>
                  <a:pt x="860" y="1364"/>
                </a:lnTo>
                <a:lnTo>
                  <a:pt x="860" y="1362"/>
                </a:lnTo>
                <a:lnTo>
                  <a:pt x="860" y="1359"/>
                </a:lnTo>
                <a:lnTo>
                  <a:pt x="860" y="1357"/>
                </a:lnTo>
                <a:lnTo>
                  <a:pt x="861" y="1355"/>
                </a:lnTo>
                <a:lnTo>
                  <a:pt x="862" y="1353"/>
                </a:lnTo>
                <a:lnTo>
                  <a:pt x="864" y="1351"/>
                </a:lnTo>
                <a:lnTo>
                  <a:pt x="866" y="1350"/>
                </a:lnTo>
                <a:lnTo>
                  <a:pt x="868" y="1349"/>
                </a:lnTo>
                <a:lnTo>
                  <a:pt x="872" y="1349"/>
                </a:lnTo>
                <a:close/>
                <a:moveTo>
                  <a:pt x="782" y="1236"/>
                </a:moveTo>
                <a:lnTo>
                  <a:pt x="785" y="1236"/>
                </a:lnTo>
                <a:lnTo>
                  <a:pt x="787" y="1237"/>
                </a:lnTo>
                <a:lnTo>
                  <a:pt x="790" y="1238"/>
                </a:lnTo>
                <a:lnTo>
                  <a:pt x="792" y="1241"/>
                </a:lnTo>
                <a:lnTo>
                  <a:pt x="793" y="1243"/>
                </a:lnTo>
                <a:lnTo>
                  <a:pt x="794" y="1245"/>
                </a:lnTo>
                <a:lnTo>
                  <a:pt x="794" y="1247"/>
                </a:lnTo>
                <a:lnTo>
                  <a:pt x="794" y="1249"/>
                </a:lnTo>
                <a:lnTo>
                  <a:pt x="793" y="1252"/>
                </a:lnTo>
                <a:lnTo>
                  <a:pt x="792" y="1254"/>
                </a:lnTo>
                <a:lnTo>
                  <a:pt x="791" y="1256"/>
                </a:lnTo>
                <a:lnTo>
                  <a:pt x="789" y="1257"/>
                </a:lnTo>
                <a:lnTo>
                  <a:pt x="788" y="1258"/>
                </a:lnTo>
                <a:lnTo>
                  <a:pt x="786" y="1259"/>
                </a:lnTo>
                <a:lnTo>
                  <a:pt x="784" y="1260"/>
                </a:lnTo>
                <a:lnTo>
                  <a:pt x="782" y="1260"/>
                </a:lnTo>
                <a:lnTo>
                  <a:pt x="779" y="1259"/>
                </a:lnTo>
                <a:lnTo>
                  <a:pt x="777" y="1259"/>
                </a:lnTo>
                <a:lnTo>
                  <a:pt x="774" y="1257"/>
                </a:lnTo>
                <a:lnTo>
                  <a:pt x="772" y="1255"/>
                </a:lnTo>
                <a:lnTo>
                  <a:pt x="771" y="1253"/>
                </a:lnTo>
                <a:lnTo>
                  <a:pt x="770" y="1251"/>
                </a:lnTo>
                <a:lnTo>
                  <a:pt x="770" y="1249"/>
                </a:lnTo>
                <a:lnTo>
                  <a:pt x="770" y="1246"/>
                </a:lnTo>
                <a:lnTo>
                  <a:pt x="771" y="1244"/>
                </a:lnTo>
                <a:lnTo>
                  <a:pt x="772" y="1242"/>
                </a:lnTo>
                <a:lnTo>
                  <a:pt x="773" y="1240"/>
                </a:lnTo>
                <a:lnTo>
                  <a:pt x="775" y="1238"/>
                </a:lnTo>
                <a:lnTo>
                  <a:pt x="776" y="1237"/>
                </a:lnTo>
                <a:lnTo>
                  <a:pt x="778" y="1236"/>
                </a:lnTo>
                <a:lnTo>
                  <a:pt x="780" y="1236"/>
                </a:lnTo>
                <a:lnTo>
                  <a:pt x="782" y="1236"/>
                </a:lnTo>
                <a:close/>
                <a:moveTo>
                  <a:pt x="697" y="1120"/>
                </a:moveTo>
                <a:lnTo>
                  <a:pt x="699" y="1120"/>
                </a:lnTo>
                <a:lnTo>
                  <a:pt x="702" y="1121"/>
                </a:lnTo>
                <a:lnTo>
                  <a:pt x="704" y="1123"/>
                </a:lnTo>
                <a:lnTo>
                  <a:pt x="705" y="1124"/>
                </a:lnTo>
                <a:lnTo>
                  <a:pt x="706" y="1125"/>
                </a:lnTo>
                <a:lnTo>
                  <a:pt x="708" y="1127"/>
                </a:lnTo>
                <a:lnTo>
                  <a:pt x="708" y="1129"/>
                </a:lnTo>
                <a:lnTo>
                  <a:pt x="708" y="1134"/>
                </a:lnTo>
                <a:lnTo>
                  <a:pt x="708" y="1136"/>
                </a:lnTo>
                <a:lnTo>
                  <a:pt x="707" y="1138"/>
                </a:lnTo>
                <a:lnTo>
                  <a:pt x="705" y="1140"/>
                </a:lnTo>
                <a:lnTo>
                  <a:pt x="704" y="1142"/>
                </a:lnTo>
                <a:lnTo>
                  <a:pt x="700" y="1143"/>
                </a:lnTo>
                <a:lnTo>
                  <a:pt x="697" y="1144"/>
                </a:lnTo>
                <a:lnTo>
                  <a:pt x="694" y="1143"/>
                </a:lnTo>
                <a:lnTo>
                  <a:pt x="691" y="1142"/>
                </a:lnTo>
                <a:lnTo>
                  <a:pt x="689" y="1141"/>
                </a:lnTo>
                <a:lnTo>
                  <a:pt x="688" y="1140"/>
                </a:lnTo>
                <a:lnTo>
                  <a:pt x="687" y="1139"/>
                </a:lnTo>
                <a:lnTo>
                  <a:pt x="686" y="1137"/>
                </a:lnTo>
                <a:lnTo>
                  <a:pt x="685" y="1134"/>
                </a:lnTo>
                <a:lnTo>
                  <a:pt x="685" y="1130"/>
                </a:lnTo>
                <a:lnTo>
                  <a:pt x="685" y="1128"/>
                </a:lnTo>
                <a:lnTo>
                  <a:pt x="686" y="1125"/>
                </a:lnTo>
                <a:lnTo>
                  <a:pt x="688" y="1124"/>
                </a:lnTo>
                <a:lnTo>
                  <a:pt x="690" y="1122"/>
                </a:lnTo>
                <a:lnTo>
                  <a:pt x="693" y="1120"/>
                </a:lnTo>
                <a:lnTo>
                  <a:pt x="697" y="1120"/>
                </a:lnTo>
                <a:close/>
                <a:moveTo>
                  <a:pt x="614" y="1001"/>
                </a:moveTo>
                <a:lnTo>
                  <a:pt x="617" y="1002"/>
                </a:lnTo>
                <a:lnTo>
                  <a:pt x="619" y="1003"/>
                </a:lnTo>
                <a:lnTo>
                  <a:pt x="622" y="1004"/>
                </a:lnTo>
                <a:lnTo>
                  <a:pt x="624" y="1007"/>
                </a:lnTo>
                <a:lnTo>
                  <a:pt x="625" y="1009"/>
                </a:lnTo>
                <a:lnTo>
                  <a:pt x="626" y="1011"/>
                </a:lnTo>
                <a:lnTo>
                  <a:pt x="626" y="1016"/>
                </a:lnTo>
                <a:lnTo>
                  <a:pt x="625" y="1018"/>
                </a:lnTo>
                <a:lnTo>
                  <a:pt x="624" y="1020"/>
                </a:lnTo>
                <a:lnTo>
                  <a:pt x="622" y="1022"/>
                </a:lnTo>
                <a:lnTo>
                  <a:pt x="620" y="1023"/>
                </a:lnTo>
                <a:lnTo>
                  <a:pt x="619" y="1024"/>
                </a:lnTo>
                <a:lnTo>
                  <a:pt x="617" y="1025"/>
                </a:lnTo>
                <a:lnTo>
                  <a:pt x="614" y="1025"/>
                </a:lnTo>
                <a:lnTo>
                  <a:pt x="611" y="1025"/>
                </a:lnTo>
                <a:lnTo>
                  <a:pt x="608" y="1024"/>
                </a:lnTo>
                <a:lnTo>
                  <a:pt x="606" y="1022"/>
                </a:lnTo>
                <a:lnTo>
                  <a:pt x="604" y="1020"/>
                </a:lnTo>
                <a:lnTo>
                  <a:pt x="603" y="1018"/>
                </a:lnTo>
                <a:lnTo>
                  <a:pt x="602" y="1015"/>
                </a:lnTo>
                <a:lnTo>
                  <a:pt x="602" y="1011"/>
                </a:lnTo>
                <a:lnTo>
                  <a:pt x="603" y="1009"/>
                </a:lnTo>
                <a:lnTo>
                  <a:pt x="604" y="1007"/>
                </a:lnTo>
                <a:lnTo>
                  <a:pt x="605" y="1005"/>
                </a:lnTo>
                <a:lnTo>
                  <a:pt x="607" y="1003"/>
                </a:lnTo>
                <a:lnTo>
                  <a:pt x="609" y="1002"/>
                </a:lnTo>
                <a:lnTo>
                  <a:pt x="610" y="1002"/>
                </a:lnTo>
                <a:lnTo>
                  <a:pt x="614" y="1001"/>
                </a:lnTo>
                <a:close/>
                <a:moveTo>
                  <a:pt x="535" y="880"/>
                </a:moveTo>
                <a:lnTo>
                  <a:pt x="538" y="880"/>
                </a:lnTo>
                <a:lnTo>
                  <a:pt x="541" y="881"/>
                </a:lnTo>
                <a:lnTo>
                  <a:pt x="543" y="883"/>
                </a:lnTo>
                <a:lnTo>
                  <a:pt x="545" y="885"/>
                </a:lnTo>
                <a:lnTo>
                  <a:pt x="546" y="887"/>
                </a:lnTo>
                <a:lnTo>
                  <a:pt x="547" y="890"/>
                </a:lnTo>
                <a:lnTo>
                  <a:pt x="547" y="894"/>
                </a:lnTo>
                <a:lnTo>
                  <a:pt x="546" y="896"/>
                </a:lnTo>
                <a:lnTo>
                  <a:pt x="545" y="898"/>
                </a:lnTo>
                <a:lnTo>
                  <a:pt x="543" y="900"/>
                </a:lnTo>
                <a:lnTo>
                  <a:pt x="541" y="902"/>
                </a:lnTo>
                <a:lnTo>
                  <a:pt x="538" y="903"/>
                </a:lnTo>
                <a:lnTo>
                  <a:pt x="535" y="904"/>
                </a:lnTo>
                <a:lnTo>
                  <a:pt x="532" y="903"/>
                </a:lnTo>
                <a:lnTo>
                  <a:pt x="529" y="902"/>
                </a:lnTo>
                <a:lnTo>
                  <a:pt x="527" y="900"/>
                </a:lnTo>
                <a:lnTo>
                  <a:pt x="525" y="898"/>
                </a:lnTo>
                <a:lnTo>
                  <a:pt x="524" y="896"/>
                </a:lnTo>
                <a:lnTo>
                  <a:pt x="523" y="894"/>
                </a:lnTo>
                <a:lnTo>
                  <a:pt x="523" y="889"/>
                </a:lnTo>
                <a:lnTo>
                  <a:pt x="524" y="887"/>
                </a:lnTo>
                <a:lnTo>
                  <a:pt x="525" y="885"/>
                </a:lnTo>
                <a:lnTo>
                  <a:pt x="527" y="883"/>
                </a:lnTo>
                <a:lnTo>
                  <a:pt x="528" y="881"/>
                </a:lnTo>
                <a:lnTo>
                  <a:pt x="532" y="880"/>
                </a:lnTo>
                <a:lnTo>
                  <a:pt x="535" y="880"/>
                </a:lnTo>
                <a:close/>
                <a:moveTo>
                  <a:pt x="459" y="757"/>
                </a:moveTo>
                <a:lnTo>
                  <a:pt x="462" y="758"/>
                </a:lnTo>
                <a:lnTo>
                  <a:pt x="464" y="759"/>
                </a:lnTo>
                <a:lnTo>
                  <a:pt x="467" y="761"/>
                </a:lnTo>
                <a:lnTo>
                  <a:pt x="469" y="763"/>
                </a:lnTo>
                <a:lnTo>
                  <a:pt x="470" y="765"/>
                </a:lnTo>
                <a:lnTo>
                  <a:pt x="470" y="768"/>
                </a:lnTo>
                <a:lnTo>
                  <a:pt x="471" y="770"/>
                </a:lnTo>
                <a:lnTo>
                  <a:pt x="470" y="772"/>
                </a:lnTo>
                <a:lnTo>
                  <a:pt x="470" y="774"/>
                </a:lnTo>
                <a:lnTo>
                  <a:pt x="468" y="776"/>
                </a:lnTo>
                <a:lnTo>
                  <a:pt x="467" y="778"/>
                </a:lnTo>
                <a:lnTo>
                  <a:pt x="465" y="780"/>
                </a:lnTo>
                <a:lnTo>
                  <a:pt x="462" y="781"/>
                </a:lnTo>
                <a:lnTo>
                  <a:pt x="459" y="781"/>
                </a:lnTo>
                <a:lnTo>
                  <a:pt x="456" y="781"/>
                </a:lnTo>
                <a:lnTo>
                  <a:pt x="453" y="780"/>
                </a:lnTo>
                <a:lnTo>
                  <a:pt x="450" y="778"/>
                </a:lnTo>
                <a:lnTo>
                  <a:pt x="448" y="776"/>
                </a:lnTo>
                <a:lnTo>
                  <a:pt x="447" y="774"/>
                </a:lnTo>
                <a:lnTo>
                  <a:pt x="447" y="771"/>
                </a:lnTo>
                <a:lnTo>
                  <a:pt x="447" y="769"/>
                </a:lnTo>
                <a:lnTo>
                  <a:pt x="447" y="767"/>
                </a:lnTo>
                <a:lnTo>
                  <a:pt x="448" y="764"/>
                </a:lnTo>
                <a:lnTo>
                  <a:pt x="449" y="762"/>
                </a:lnTo>
                <a:lnTo>
                  <a:pt x="450" y="761"/>
                </a:lnTo>
                <a:lnTo>
                  <a:pt x="452" y="759"/>
                </a:lnTo>
                <a:lnTo>
                  <a:pt x="455" y="758"/>
                </a:lnTo>
                <a:lnTo>
                  <a:pt x="459" y="757"/>
                </a:lnTo>
                <a:close/>
                <a:moveTo>
                  <a:pt x="384" y="634"/>
                </a:moveTo>
                <a:lnTo>
                  <a:pt x="387" y="634"/>
                </a:lnTo>
                <a:lnTo>
                  <a:pt x="390" y="636"/>
                </a:lnTo>
                <a:lnTo>
                  <a:pt x="393" y="637"/>
                </a:lnTo>
                <a:lnTo>
                  <a:pt x="395" y="640"/>
                </a:lnTo>
                <a:lnTo>
                  <a:pt x="396" y="644"/>
                </a:lnTo>
                <a:lnTo>
                  <a:pt x="396" y="647"/>
                </a:lnTo>
                <a:lnTo>
                  <a:pt x="396" y="649"/>
                </a:lnTo>
                <a:lnTo>
                  <a:pt x="395" y="651"/>
                </a:lnTo>
                <a:lnTo>
                  <a:pt x="394" y="653"/>
                </a:lnTo>
                <a:lnTo>
                  <a:pt x="392" y="655"/>
                </a:lnTo>
                <a:lnTo>
                  <a:pt x="390" y="656"/>
                </a:lnTo>
                <a:lnTo>
                  <a:pt x="387" y="658"/>
                </a:lnTo>
                <a:lnTo>
                  <a:pt x="384" y="658"/>
                </a:lnTo>
                <a:lnTo>
                  <a:pt x="381" y="658"/>
                </a:lnTo>
                <a:lnTo>
                  <a:pt x="378" y="657"/>
                </a:lnTo>
                <a:lnTo>
                  <a:pt x="376" y="655"/>
                </a:lnTo>
                <a:lnTo>
                  <a:pt x="374" y="652"/>
                </a:lnTo>
                <a:lnTo>
                  <a:pt x="372" y="648"/>
                </a:lnTo>
                <a:lnTo>
                  <a:pt x="372" y="645"/>
                </a:lnTo>
                <a:lnTo>
                  <a:pt x="373" y="643"/>
                </a:lnTo>
                <a:lnTo>
                  <a:pt x="373" y="641"/>
                </a:lnTo>
                <a:lnTo>
                  <a:pt x="375" y="639"/>
                </a:lnTo>
                <a:lnTo>
                  <a:pt x="376" y="637"/>
                </a:lnTo>
                <a:lnTo>
                  <a:pt x="378" y="636"/>
                </a:lnTo>
                <a:lnTo>
                  <a:pt x="381" y="634"/>
                </a:lnTo>
                <a:lnTo>
                  <a:pt x="384" y="634"/>
                </a:lnTo>
                <a:close/>
                <a:moveTo>
                  <a:pt x="311" y="510"/>
                </a:moveTo>
                <a:lnTo>
                  <a:pt x="314" y="510"/>
                </a:lnTo>
                <a:lnTo>
                  <a:pt x="317" y="511"/>
                </a:lnTo>
                <a:lnTo>
                  <a:pt x="320" y="513"/>
                </a:lnTo>
                <a:lnTo>
                  <a:pt x="322" y="516"/>
                </a:lnTo>
                <a:lnTo>
                  <a:pt x="323" y="520"/>
                </a:lnTo>
                <a:lnTo>
                  <a:pt x="323" y="523"/>
                </a:lnTo>
                <a:lnTo>
                  <a:pt x="323" y="525"/>
                </a:lnTo>
                <a:lnTo>
                  <a:pt x="322" y="527"/>
                </a:lnTo>
                <a:lnTo>
                  <a:pt x="321" y="529"/>
                </a:lnTo>
                <a:lnTo>
                  <a:pt x="317" y="532"/>
                </a:lnTo>
                <a:lnTo>
                  <a:pt x="314" y="533"/>
                </a:lnTo>
                <a:lnTo>
                  <a:pt x="311" y="534"/>
                </a:lnTo>
                <a:lnTo>
                  <a:pt x="308" y="533"/>
                </a:lnTo>
                <a:lnTo>
                  <a:pt x="305" y="532"/>
                </a:lnTo>
                <a:lnTo>
                  <a:pt x="303" y="530"/>
                </a:lnTo>
                <a:lnTo>
                  <a:pt x="301" y="528"/>
                </a:lnTo>
                <a:lnTo>
                  <a:pt x="299" y="523"/>
                </a:lnTo>
                <a:lnTo>
                  <a:pt x="299" y="521"/>
                </a:lnTo>
                <a:lnTo>
                  <a:pt x="300" y="519"/>
                </a:lnTo>
                <a:lnTo>
                  <a:pt x="300" y="517"/>
                </a:lnTo>
                <a:lnTo>
                  <a:pt x="302" y="515"/>
                </a:lnTo>
                <a:lnTo>
                  <a:pt x="305" y="511"/>
                </a:lnTo>
                <a:lnTo>
                  <a:pt x="308" y="510"/>
                </a:lnTo>
                <a:lnTo>
                  <a:pt x="311" y="510"/>
                </a:lnTo>
                <a:close/>
                <a:moveTo>
                  <a:pt x="238" y="386"/>
                </a:moveTo>
                <a:lnTo>
                  <a:pt x="241" y="386"/>
                </a:lnTo>
                <a:lnTo>
                  <a:pt x="244" y="387"/>
                </a:lnTo>
                <a:lnTo>
                  <a:pt x="247" y="389"/>
                </a:lnTo>
                <a:lnTo>
                  <a:pt x="249" y="392"/>
                </a:lnTo>
                <a:lnTo>
                  <a:pt x="250" y="396"/>
                </a:lnTo>
                <a:lnTo>
                  <a:pt x="250" y="398"/>
                </a:lnTo>
                <a:lnTo>
                  <a:pt x="250" y="401"/>
                </a:lnTo>
                <a:lnTo>
                  <a:pt x="249" y="403"/>
                </a:lnTo>
                <a:lnTo>
                  <a:pt x="248" y="405"/>
                </a:lnTo>
                <a:lnTo>
                  <a:pt x="246" y="407"/>
                </a:lnTo>
                <a:lnTo>
                  <a:pt x="244" y="408"/>
                </a:lnTo>
                <a:lnTo>
                  <a:pt x="241" y="409"/>
                </a:lnTo>
                <a:lnTo>
                  <a:pt x="238" y="410"/>
                </a:lnTo>
                <a:lnTo>
                  <a:pt x="235" y="409"/>
                </a:lnTo>
                <a:lnTo>
                  <a:pt x="232" y="408"/>
                </a:lnTo>
                <a:lnTo>
                  <a:pt x="230" y="406"/>
                </a:lnTo>
                <a:lnTo>
                  <a:pt x="228" y="404"/>
                </a:lnTo>
                <a:lnTo>
                  <a:pt x="226" y="399"/>
                </a:lnTo>
                <a:lnTo>
                  <a:pt x="226" y="397"/>
                </a:lnTo>
                <a:lnTo>
                  <a:pt x="227" y="395"/>
                </a:lnTo>
                <a:lnTo>
                  <a:pt x="227" y="393"/>
                </a:lnTo>
                <a:lnTo>
                  <a:pt x="229" y="391"/>
                </a:lnTo>
                <a:lnTo>
                  <a:pt x="230" y="389"/>
                </a:lnTo>
                <a:lnTo>
                  <a:pt x="232" y="387"/>
                </a:lnTo>
                <a:lnTo>
                  <a:pt x="235" y="386"/>
                </a:lnTo>
                <a:lnTo>
                  <a:pt x="238" y="386"/>
                </a:lnTo>
                <a:close/>
                <a:moveTo>
                  <a:pt x="164" y="262"/>
                </a:moveTo>
                <a:lnTo>
                  <a:pt x="167" y="263"/>
                </a:lnTo>
                <a:lnTo>
                  <a:pt x="170" y="264"/>
                </a:lnTo>
                <a:lnTo>
                  <a:pt x="173" y="265"/>
                </a:lnTo>
                <a:lnTo>
                  <a:pt x="175" y="268"/>
                </a:lnTo>
                <a:lnTo>
                  <a:pt x="176" y="270"/>
                </a:lnTo>
                <a:lnTo>
                  <a:pt x="176" y="272"/>
                </a:lnTo>
                <a:lnTo>
                  <a:pt x="176" y="275"/>
                </a:lnTo>
                <a:lnTo>
                  <a:pt x="176" y="277"/>
                </a:lnTo>
                <a:lnTo>
                  <a:pt x="175" y="279"/>
                </a:lnTo>
                <a:lnTo>
                  <a:pt x="174" y="281"/>
                </a:lnTo>
                <a:lnTo>
                  <a:pt x="172" y="283"/>
                </a:lnTo>
                <a:lnTo>
                  <a:pt x="171" y="284"/>
                </a:lnTo>
                <a:lnTo>
                  <a:pt x="167" y="286"/>
                </a:lnTo>
                <a:lnTo>
                  <a:pt x="164" y="286"/>
                </a:lnTo>
                <a:lnTo>
                  <a:pt x="161" y="286"/>
                </a:lnTo>
                <a:lnTo>
                  <a:pt x="158" y="285"/>
                </a:lnTo>
                <a:lnTo>
                  <a:pt x="156" y="283"/>
                </a:lnTo>
                <a:lnTo>
                  <a:pt x="154" y="280"/>
                </a:lnTo>
                <a:lnTo>
                  <a:pt x="153" y="278"/>
                </a:lnTo>
                <a:lnTo>
                  <a:pt x="152" y="276"/>
                </a:lnTo>
                <a:lnTo>
                  <a:pt x="152" y="274"/>
                </a:lnTo>
                <a:lnTo>
                  <a:pt x="153" y="271"/>
                </a:lnTo>
                <a:lnTo>
                  <a:pt x="153" y="269"/>
                </a:lnTo>
                <a:lnTo>
                  <a:pt x="155" y="267"/>
                </a:lnTo>
                <a:lnTo>
                  <a:pt x="156" y="265"/>
                </a:lnTo>
                <a:lnTo>
                  <a:pt x="158" y="264"/>
                </a:lnTo>
                <a:lnTo>
                  <a:pt x="161" y="263"/>
                </a:lnTo>
                <a:lnTo>
                  <a:pt x="164" y="262"/>
                </a:lnTo>
                <a:close/>
                <a:moveTo>
                  <a:pt x="89" y="139"/>
                </a:moveTo>
                <a:lnTo>
                  <a:pt x="92" y="140"/>
                </a:lnTo>
                <a:lnTo>
                  <a:pt x="95" y="141"/>
                </a:lnTo>
                <a:lnTo>
                  <a:pt x="97" y="143"/>
                </a:lnTo>
                <a:lnTo>
                  <a:pt x="99" y="145"/>
                </a:lnTo>
                <a:lnTo>
                  <a:pt x="100" y="147"/>
                </a:lnTo>
                <a:lnTo>
                  <a:pt x="101" y="149"/>
                </a:lnTo>
                <a:lnTo>
                  <a:pt x="101" y="152"/>
                </a:lnTo>
                <a:lnTo>
                  <a:pt x="101" y="154"/>
                </a:lnTo>
                <a:lnTo>
                  <a:pt x="100" y="156"/>
                </a:lnTo>
                <a:lnTo>
                  <a:pt x="99" y="158"/>
                </a:lnTo>
                <a:lnTo>
                  <a:pt x="97" y="160"/>
                </a:lnTo>
                <a:lnTo>
                  <a:pt x="95" y="162"/>
                </a:lnTo>
                <a:lnTo>
                  <a:pt x="92" y="163"/>
                </a:lnTo>
                <a:lnTo>
                  <a:pt x="89" y="163"/>
                </a:lnTo>
                <a:lnTo>
                  <a:pt x="86" y="163"/>
                </a:lnTo>
                <a:lnTo>
                  <a:pt x="83" y="162"/>
                </a:lnTo>
                <a:lnTo>
                  <a:pt x="81" y="160"/>
                </a:lnTo>
                <a:lnTo>
                  <a:pt x="79" y="158"/>
                </a:lnTo>
                <a:lnTo>
                  <a:pt x="78" y="155"/>
                </a:lnTo>
                <a:lnTo>
                  <a:pt x="77" y="153"/>
                </a:lnTo>
                <a:lnTo>
                  <a:pt x="77" y="151"/>
                </a:lnTo>
                <a:lnTo>
                  <a:pt x="77" y="149"/>
                </a:lnTo>
                <a:lnTo>
                  <a:pt x="78" y="146"/>
                </a:lnTo>
                <a:lnTo>
                  <a:pt x="79" y="144"/>
                </a:lnTo>
                <a:lnTo>
                  <a:pt x="81" y="143"/>
                </a:lnTo>
                <a:lnTo>
                  <a:pt x="83" y="141"/>
                </a:lnTo>
                <a:lnTo>
                  <a:pt x="86" y="140"/>
                </a:lnTo>
                <a:lnTo>
                  <a:pt x="89" y="139"/>
                </a:lnTo>
                <a:close/>
              </a:path>
            </a:pathLst>
          </a:custGeom>
          <a:solidFill>
            <a:srgbClr val="2C495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131F34E1-4A03-4647-AD6A-109BB45589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66887" y="2636391"/>
            <a:ext cx="1224657" cy="1224657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15" name="Text Placeholder 10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439952" y="2637048"/>
            <a:ext cx="1224000" cy="1224000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16" name="Text Placeholder 10"/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040352" y="2637048"/>
            <a:ext cx="1224000" cy="1224000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2135560" y="2636912"/>
            <a:ext cx="2016224" cy="129614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3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3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3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13" name="Text Placeholder 10"/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767544" y="4940758"/>
            <a:ext cx="1224000" cy="1224000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766763" y="4220617"/>
            <a:ext cx="10658475" cy="288503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accent3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766762" y="2204393"/>
            <a:ext cx="3385021" cy="360511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3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8040216" y="2204393"/>
            <a:ext cx="3385022" cy="360511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3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4439815" y="2204393"/>
            <a:ext cx="3312369" cy="360511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3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idx="28" hasCustomPrompt="1"/>
          </p:nvPr>
        </p:nvSpPr>
        <p:spPr>
          <a:xfrm>
            <a:off x="766763" y="4509120"/>
            <a:ext cx="3385021" cy="360040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3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4439816" y="4509119"/>
            <a:ext cx="3312368" cy="360041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3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8027749" y="4509120"/>
            <a:ext cx="3397489" cy="360040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3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31" name="Text Placeholder 10"/>
          <p:cNvSpPr>
            <a:spLocks noGrp="1" noChangeAspect="1"/>
          </p:cNvSpPr>
          <p:nvPr>
            <p:ph type="body" sz="quarter" idx="31" hasCustomPrompt="1"/>
          </p:nvPr>
        </p:nvSpPr>
        <p:spPr>
          <a:xfrm>
            <a:off x="4439952" y="4940758"/>
            <a:ext cx="1224000" cy="1224000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32" name="Text Placeholder 10"/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8040216" y="4940622"/>
            <a:ext cx="1224000" cy="1224000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766763" y="4072330"/>
            <a:ext cx="10658475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Placeholder 17"/>
          <p:cNvSpPr>
            <a:spLocks noGrp="1"/>
          </p:cNvSpPr>
          <p:nvPr>
            <p:ph type="body" sz="quarter" idx="33"/>
          </p:nvPr>
        </p:nvSpPr>
        <p:spPr>
          <a:xfrm>
            <a:off x="5807967" y="2636912"/>
            <a:ext cx="1944217" cy="129614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3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3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3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39" name="Text Placeholder 17"/>
          <p:cNvSpPr>
            <a:spLocks noGrp="1"/>
          </p:cNvSpPr>
          <p:nvPr>
            <p:ph type="body" sz="quarter" idx="34"/>
          </p:nvPr>
        </p:nvSpPr>
        <p:spPr>
          <a:xfrm>
            <a:off x="9408889" y="2637085"/>
            <a:ext cx="2016349" cy="1295971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3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3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3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0" name="Text Placeholder 17"/>
          <p:cNvSpPr>
            <a:spLocks noGrp="1"/>
          </p:cNvSpPr>
          <p:nvPr>
            <p:ph type="body" sz="quarter" idx="35"/>
          </p:nvPr>
        </p:nvSpPr>
        <p:spPr>
          <a:xfrm>
            <a:off x="2135559" y="4940622"/>
            <a:ext cx="2016225" cy="129669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3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3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3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1" name="Text Placeholder 17"/>
          <p:cNvSpPr>
            <a:spLocks noGrp="1"/>
          </p:cNvSpPr>
          <p:nvPr>
            <p:ph type="body" sz="quarter" idx="36"/>
          </p:nvPr>
        </p:nvSpPr>
        <p:spPr>
          <a:xfrm>
            <a:off x="5807969" y="4940299"/>
            <a:ext cx="1944216" cy="1297013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3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3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3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2" name="Text Placeholder 17"/>
          <p:cNvSpPr>
            <a:spLocks noGrp="1"/>
          </p:cNvSpPr>
          <p:nvPr>
            <p:ph type="body" sz="quarter" idx="37"/>
          </p:nvPr>
        </p:nvSpPr>
        <p:spPr>
          <a:xfrm>
            <a:off x="9408369" y="4940299"/>
            <a:ext cx="2016870" cy="1297013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3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3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3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3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33" name="Text Placeholder 2"/>
          <p:cNvSpPr>
            <a:spLocks noGrp="1"/>
          </p:cNvSpPr>
          <p:nvPr>
            <p:ph type="body" idx="38"/>
          </p:nvPr>
        </p:nvSpPr>
        <p:spPr>
          <a:xfrm>
            <a:off x="766763" y="1916113"/>
            <a:ext cx="10658475" cy="288752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3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36" name="Freeform 35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rgbClr val="2C495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27969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ummary 2nd" preserve="1" userDrawn="1">
  <p:cSld name="Summary 2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 6"/>
          <p:cNvSpPr>
            <a:spLocks noChangeAspect="1" noEditPoints="1"/>
          </p:cNvSpPr>
          <p:nvPr userDrawn="1"/>
        </p:nvSpPr>
        <p:spPr bwMode="auto">
          <a:xfrm>
            <a:off x="9624392" y="0"/>
            <a:ext cx="2567608" cy="1918008"/>
          </a:xfrm>
          <a:custGeom>
            <a:avLst/>
            <a:gdLst>
              <a:gd name="T0" fmla="*/ 2083 w 2668"/>
              <a:gd name="T1" fmla="*/ 241 h 1993"/>
              <a:gd name="T2" fmla="*/ 1920 w 2668"/>
              <a:gd name="T3" fmla="*/ 240 h 1993"/>
              <a:gd name="T4" fmla="*/ 1791 w 2668"/>
              <a:gd name="T5" fmla="*/ 201 h 1993"/>
              <a:gd name="T6" fmla="*/ 2357 w 2668"/>
              <a:gd name="T7" fmla="*/ 195 h 1993"/>
              <a:gd name="T8" fmla="*/ 1643 w 2668"/>
              <a:gd name="T9" fmla="*/ 166 h 1993"/>
              <a:gd name="T10" fmla="*/ 1524 w 2668"/>
              <a:gd name="T11" fmla="*/ 133 h 1993"/>
              <a:gd name="T12" fmla="*/ 2615 w 2668"/>
              <a:gd name="T13" fmla="*/ 59 h 1993"/>
              <a:gd name="T14" fmla="*/ 1269 w 2668"/>
              <a:gd name="T15" fmla="*/ 0 h 1993"/>
              <a:gd name="T16" fmla="*/ 2128 w 2668"/>
              <a:gd name="T17" fmla="*/ 670 h 1993"/>
              <a:gd name="T18" fmla="*/ 1819 w 2668"/>
              <a:gd name="T19" fmla="*/ 667 h 1993"/>
              <a:gd name="T20" fmla="*/ 1688 w 2668"/>
              <a:gd name="T21" fmla="*/ 617 h 1993"/>
              <a:gd name="T22" fmla="*/ 2391 w 2668"/>
              <a:gd name="T23" fmla="*/ 609 h 1993"/>
              <a:gd name="T24" fmla="*/ 2538 w 2668"/>
              <a:gd name="T25" fmla="*/ 533 h 1993"/>
              <a:gd name="T26" fmla="*/ 1413 w 2668"/>
              <a:gd name="T27" fmla="*/ 535 h 1993"/>
              <a:gd name="T28" fmla="*/ 1299 w 2668"/>
              <a:gd name="T29" fmla="*/ 442 h 1993"/>
              <a:gd name="T30" fmla="*/ 1176 w 2668"/>
              <a:gd name="T31" fmla="*/ 386 h 1993"/>
              <a:gd name="T32" fmla="*/ 1053 w 2668"/>
              <a:gd name="T33" fmla="*/ 277 h 1993"/>
              <a:gd name="T34" fmla="*/ 865 w 2668"/>
              <a:gd name="T35" fmla="*/ 85 h 1993"/>
              <a:gd name="T36" fmla="*/ 2012 w 2668"/>
              <a:gd name="T37" fmla="*/ 1119 h 1993"/>
              <a:gd name="T38" fmla="*/ 1863 w 2668"/>
              <a:gd name="T39" fmla="*/ 1095 h 1993"/>
              <a:gd name="T40" fmla="*/ 1741 w 2668"/>
              <a:gd name="T41" fmla="*/ 1086 h 1993"/>
              <a:gd name="T42" fmla="*/ 2294 w 2668"/>
              <a:gd name="T43" fmla="*/ 1049 h 1993"/>
              <a:gd name="T44" fmla="*/ 2437 w 2668"/>
              <a:gd name="T45" fmla="*/ 1023 h 1993"/>
              <a:gd name="T46" fmla="*/ 1450 w 2668"/>
              <a:gd name="T47" fmla="*/ 975 h 1993"/>
              <a:gd name="T48" fmla="*/ 1345 w 2668"/>
              <a:gd name="T49" fmla="*/ 919 h 1993"/>
              <a:gd name="T50" fmla="*/ 1201 w 2668"/>
              <a:gd name="T51" fmla="*/ 834 h 1993"/>
              <a:gd name="T52" fmla="*/ 1000 w 2668"/>
              <a:gd name="T53" fmla="*/ 639 h 1993"/>
              <a:gd name="T54" fmla="*/ 891 w 2668"/>
              <a:gd name="T55" fmla="*/ 560 h 1993"/>
              <a:gd name="T56" fmla="*/ 786 w 2668"/>
              <a:gd name="T57" fmla="*/ 431 h 1993"/>
              <a:gd name="T58" fmla="*/ 624 w 2668"/>
              <a:gd name="T59" fmla="*/ 222 h 1993"/>
              <a:gd name="T60" fmla="*/ 517 w 2668"/>
              <a:gd name="T61" fmla="*/ 102 h 1993"/>
              <a:gd name="T62" fmla="*/ 2067 w 2668"/>
              <a:gd name="T63" fmla="*/ 1531 h 1993"/>
              <a:gd name="T64" fmla="*/ 1770 w 2668"/>
              <a:gd name="T65" fmla="*/ 1541 h 1993"/>
              <a:gd name="T66" fmla="*/ 2194 w 2668"/>
              <a:gd name="T67" fmla="*/ 1506 h 1993"/>
              <a:gd name="T68" fmla="*/ 2350 w 2668"/>
              <a:gd name="T69" fmla="*/ 1480 h 1993"/>
              <a:gd name="T70" fmla="*/ 1490 w 2668"/>
              <a:gd name="T71" fmla="*/ 1433 h 1993"/>
              <a:gd name="T72" fmla="*/ 1382 w 2668"/>
              <a:gd name="T73" fmla="*/ 1370 h 1993"/>
              <a:gd name="T74" fmla="*/ 2588 w 2668"/>
              <a:gd name="T75" fmla="*/ 1347 h 1993"/>
              <a:gd name="T76" fmla="*/ 1149 w 2668"/>
              <a:gd name="T77" fmla="*/ 1207 h 1993"/>
              <a:gd name="T78" fmla="*/ 1021 w 2668"/>
              <a:gd name="T79" fmla="*/ 1120 h 1993"/>
              <a:gd name="T80" fmla="*/ 836 w 2668"/>
              <a:gd name="T81" fmla="*/ 888 h 1993"/>
              <a:gd name="T82" fmla="*/ 740 w 2668"/>
              <a:gd name="T83" fmla="*/ 800 h 1993"/>
              <a:gd name="T84" fmla="*/ 653 w 2668"/>
              <a:gd name="T85" fmla="*/ 661 h 1993"/>
              <a:gd name="T86" fmla="*/ 495 w 2668"/>
              <a:gd name="T87" fmla="*/ 448 h 1993"/>
              <a:gd name="T88" fmla="*/ 407 w 2668"/>
              <a:gd name="T89" fmla="*/ 304 h 1993"/>
              <a:gd name="T90" fmla="*/ 272 w 2668"/>
              <a:gd name="T91" fmla="*/ 78 h 1993"/>
              <a:gd name="T92" fmla="*/ 1948 w 2668"/>
              <a:gd name="T93" fmla="*/ 1973 h 1993"/>
              <a:gd name="T94" fmla="*/ 2113 w 2668"/>
              <a:gd name="T95" fmla="*/ 1971 h 1993"/>
              <a:gd name="T96" fmla="*/ 1661 w 2668"/>
              <a:gd name="T97" fmla="*/ 1948 h 1993"/>
              <a:gd name="T98" fmla="*/ 1549 w 2668"/>
              <a:gd name="T99" fmla="*/ 1901 h 1993"/>
              <a:gd name="T100" fmla="*/ 2366 w 2668"/>
              <a:gd name="T101" fmla="*/ 1883 h 1993"/>
              <a:gd name="T102" fmla="*/ 2520 w 2668"/>
              <a:gd name="T103" fmla="*/ 1828 h 1993"/>
              <a:gd name="T104" fmla="*/ 1276 w 2668"/>
              <a:gd name="T105" fmla="*/ 1764 h 1993"/>
              <a:gd name="T106" fmla="*/ 1181 w 2668"/>
              <a:gd name="T107" fmla="*/ 1660 h 1993"/>
              <a:gd name="T108" fmla="*/ 1062 w 2668"/>
              <a:gd name="T109" fmla="*/ 1584 h 1993"/>
              <a:gd name="T110" fmla="*/ 874 w 2668"/>
              <a:gd name="T111" fmla="*/ 1349 h 1993"/>
              <a:gd name="T112" fmla="*/ 789 w 2668"/>
              <a:gd name="T113" fmla="*/ 1257 h 1993"/>
              <a:gd name="T114" fmla="*/ 685 w 2668"/>
              <a:gd name="T115" fmla="*/ 1134 h 1993"/>
              <a:gd name="T116" fmla="*/ 546 w 2668"/>
              <a:gd name="T117" fmla="*/ 887 h 1993"/>
              <a:gd name="T118" fmla="*/ 447 w 2668"/>
              <a:gd name="T119" fmla="*/ 771 h 1993"/>
              <a:gd name="T120" fmla="*/ 323 w 2668"/>
              <a:gd name="T121" fmla="*/ 523 h 1993"/>
              <a:gd name="T122" fmla="*/ 230 w 2668"/>
              <a:gd name="T123" fmla="*/ 389 h 1993"/>
              <a:gd name="T124" fmla="*/ 100 w 2668"/>
              <a:gd name="T125" fmla="*/ 156 h 19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668" h="1993">
                <a:moveTo>
                  <a:pt x="12" y="18"/>
                </a:moveTo>
                <a:lnTo>
                  <a:pt x="15" y="18"/>
                </a:lnTo>
                <a:lnTo>
                  <a:pt x="18" y="19"/>
                </a:lnTo>
                <a:lnTo>
                  <a:pt x="20" y="21"/>
                </a:lnTo>
                <a:lnTo>
                  <a:pt x="22" y="23"/>
                </a:lnTo>
                <a:lnTo>
                  <a:pt x="23" y="25"/>
                </a:lnTo>
                <a:lnTo>
                  <a:pt x="24" y="28"/>
                </a:lnTo>
                <a:lnTo>
                  <a:pt x="24" y="32"/>
                </a:lnTo>
                <a:lnTo>
                  <a:pt x="23" y="34"/>
                </a:lnTo>
                <a:lnTo>
                  <a:pt x="22" y="36"/>
                </a:lnTo>
                <a:lnTo>
                  <a:pt x="21" y="38"/>
                </a:lnTo>
                <a:lnTo>
                  <a:pt x="19" y="40"/>
                </a:lnTo>
                <a:lnTo>
                  <a:pt x="17" y="41"/>
                </a:lnTo>
                <a:lnTo>
                  <a:pt x="15" y="41"/>
                </a:lnTo>
                <a:lnTo>
                  <a:pt x="12" y="42"/>
                </a:lnTo>
                <a:lnTo>
                  <a:pt x="9" y="41"/>
                </a:lnTo>
                <a:lnTo>
                  <a:pt x="6" y="40"/>
                </a:lnTo>
                <a:lnTo>
                  <a:pt x="4" y="39"/>
                </a:lnTo>
                <a:lnTo>
                  <a:pt x="2" y="36"/>
                </a:lnTo>
                <a:lnTo>
                  <a:pt x="1" y="34"/>
                </a:lnTo>
                <a:lnTo>
                  <a:pt x="0" y="32"/>
                </a:lnTo>
                <a:lnTo>
                  <a:pt x="0" y="27"/>
                </a:lnTo>
                <a:lnTo>
                  <a:pt x="1" y="25"/>
                </a:lnTo>
                <a:lnTo>
                  <a:pt x="2" y="23"/>
                </a:lnTo>
                <a:lnTo>
                  <a:pt x="4" y="21"/>
                </a:lnTo>
                <a:lnTo>
                  <a:pt x="6" y="20"/>
                </a:lnTo>
                <a:lnTo>
                  <a:pt x="7" y="19"/>
                </a:lnTo>
                <a:lnTo>
                  <a:pt x="9" y="18"/>
                </a:lnTo>
                <a:lnTo>
                  <a:pt x="12" y="18"/>
                </a:lnTo>
                <a:close/>
                <a:moveTo>
                  <a:pt x="2074" y="220"/>
                </a:moveTo>
                <a:lnTo>
                  <a:pt x="2076" y="220"/>
                </a:lnTo>
                <a:lnTo>
                  <a:pt x="2079" y="221"/>
                </a:lnTo>
                <a:lnTo>
                  <a:pt x="2081" y="222"/>
                </a:lnTo>
                <a:lnTo>
                  <a:pt x="2082" y="224"/>
                </a:lnTo>
                <a:lnTo>
                  <a:pt x="2084" y="225"/>
                </a:lnTo>
                <a:lnTo>
                  <a:pt x="2085" y="227"/>
                </a:lnTo>
                <a:lnTo>
                  <a:pt x="2086" y="230"/>
                </a:lnTo>
                <a:lnTo>
                  <a:pt x="2086" y="232"/>
                </a:lnTo>
                <a:lnTo>
                  <a:pt x="2086" y="235"/>
                </a:lnTo>
                <a:lnTo>
                  <a:pt x="2086" y="237"/>
                </a:lnTo>
                <a:lnTo>
                  <a:pt x="2085" y="239"/>
                </a:lnTo>
                <a:lnTo>
                  <a:pt x="2083" y="241"/>
                </a:lnTo>
                <a:lnTo>
                  <a:pt x="2081" y="243"/>
                </a:lnTo>
                <a:lnTo>
                  <a:pt x="2079" y="244"/>
                </a:lnTo>
                <a:lnTo>
                  <a:pt x="2077" y="245"/>
                </a:lnTo>
                <a:lnTo>
                  <a:pt x="2075" y="245"/>
                </a:lnTo>
                <a:lnTo>
                  <a:pt x="2072" y="245"/>
                </a:lnTo>
                <a:lnTo>
                  <a:pt x="2069" y="245"/>
                </a:lnTo>
                <a:lnTo>
                  <a:pt x="2067" y="243"/>
                </a:lnTo>
                <a:lnTo>
                  <a:pt x="2065" y="242"/>
                </a:lnTo>
                <a:lnTo>
                  <a:pt x="2064" y="240"/>
                </a:lnTo>
                <a:lnTo>
                  <a:pt x="2062" y="238"/>
                </a:lnTo>
                <a:lnTo>
                  <a:pt x="2062" y="236"/>
                </a:lnTo>
                <a:lnTo>
                  <a:pt x="2061" y="234"/>
                </a:lnTo>
                <a:lnTo>
                  <a:pt x="2061" y="231"/>
                </a:lnTo>
                <a:lnTo>
                  <a:pt x="2062" y="229"/>
                </a:lnTo>
                <a:lnTo>
                  <a:pt x="2063" y="226"/>
                </a:lnTo>
                <a:lnTo>
                  <a:pt x="2064" y="224"/>
                </a:lnTo>
                <a:lnTo>
                  <a:pt x="2066" y="223"/>
                </a:lnTo>
                <a:lnTo>
                  <a:pt x="2068" y="222"/>
                </a:lnTo>
                <a:lnTo>
                  <a:pt x="2071" y="221"/>
                </a:lnTo>
                <a:lnTo>
                  <a:pt x="2073" y="220"/>
                </a:lnTo>
                <a:lnTo>
                  <a:pt x="2074" y="220"/>
                </a:lnTo>
                <a:close/>
                <a:moveTo>
                  <a:pt x="1929" y="219"/>
                </a:moveTo>
                <a:lnTo>
                  <a:pt x="1932" y="220"/>
                </a:lnTo>
                <a:lnTo>
                  <a:pt x="1934" y="220"/>
                </a:lnTo>
                <a:lnTo>
                  <a:pt x="1937" y="222"/>
                </a:lnTo>
                <a:lnTo>
                  <a:pt x="1938" y="223"/>
                </a:lnTo>
                <a:lnTo>
                  <a:pt x="1940" y="225"/>
                </a:lnTo>
                <a:lnTo>
                  <a:pt x="1941" y="228"/>
                </a:lnTo>
                <a:lnTo>
                  <a:pt x="1942" y="230"/>
                </a:lnTo>
                <a:lnTo>
                  <a:pt x="1942" y="233"/>
                </a:lnTo>
                <a:lnTo>
                  <a:pt x="1941" y="235"/>
                </a:lnTo>
                <a:lnTo>
                  <a:pt x="1940" y="237"/>
                </a:lnTo>
                <a:lnTo>
                  <a:pt x="1939" y="239"/>
                </a:lnTo>
                <a:lnTo>
                  <a:pt x="1938" y="241"/>
                </a:lnTo>
                <a:lnTo>
                  <a:pt x="1936" y="242"/>
                </a:lnTo>
                <a:lnTo>
                  <a:pt x="1934" y="243"/>
                </a:lnTo>
                <a:lnTo>
                  <a:pt x="1931" y="244"/>
                </a:lnTo>
                <a:lnTo>
                  <a:pt x="1929" y="244"/>
                </a:lnTo>
                <a:lnTo>
                  <a:pt x="1926" y="244"/>
                </a:lnTo>
                <a:lnTo>
                  <a:pt x="1924" y="243"/>
                </a:lnTo>
                <a:lnTo>
                  <a:pt x="1921" y="242"/>
                </a:lnTo>
                <a:lnTo>
                  <a:pt x="1920" y="240"/>
                </a:lnTo>
                <a:lnTo>
                  <a:pt x="1918" y="238"/>
                </a:lnTo>
                <a:lnTo>
                  <a:pt x="1917" y="236"/>
                </a:lnTo>
                <a:lnTo>
                  <a:pt x="1917" y="233"/>
                </a:lnTo>
                <a:lnTo>
                  <a:pt x="1916" y="231"/>
                </a:lnTo>
                <a:lnTo>
                  <a:pt x="1917" y="228"/>
                </a:lnTo>
                <a:lnTo>
                  <a:pt x="1918" y="226"/>
                </a:lnTo>
                <a:lnTo>
                  <a:pt x="1919" y="224"/>
                </a:lnTo>
                <a:lnTo>
                  <a:pt x="1920" y="222"/>
                </a:lnTo>
                <a:lnTo>
                  <a:pt x="1922" y="221"/>
                </a:lnTo>
                <a:lnTo>
                  <a:pt x="1924" y="220"/>
                </a:lnTo>
                <a:lnTo>
                  <a:pt x="1927" y="219"/>
                </a:lnTo>
                <a:lnTo>
                  <a:pt x="1929" y="219"/>
                </a:lnTo>
                <a:close/>
                <a:moveTo>
                  <a:pt x="2217" y="204"/>
                </a:moveTo>
                <a:lnTo>
                  <a:pt x="2221" y="204"/>
                </a:lnTo>
                <a:lnTo>
                  <a:pt x="2225" y="206"/>
                </a:lnTo>
                <a:lnTo>
                  <a:pt x="2228" y="210"/>
                </a:lnTo>
                <a:lnTo>
                  <a:pt x="2229" y="212"/>
                </a:lnTo>
                <a:lnTo>
                  <a:pt x="2229" y="214"/>
                </a:lnTo>
                <a:lnTo>
                  <a:pt x="2229" y="219"/>
                </a:lnTo>
                <a:lnTo>
                  <a:pt x="2228" y="221"/>
                </a:lnTo>
                <a:lnTo>
                  <a:pt x="2227" y="223"/>
                </a:lnTo>
                <a:lnTo>
                  <a:pt x="2226" y="225"/>
                </a:lnTo>
                <a:lnTo>
                  <a:pt x="2224" y="227"/>
                </a:lnTo>
                <a:lnTo>
                  <a:pt x="2221" y="228"/>
                </a:lnTo>
                <a:lnTo>
                  <a:pt x="2219" y="229"/>
                </a:lnTo>
                <a:lnTo>
                  <a:pt x="2217" y="229"/>
                </a:lnTo>
                <a:lnTo>
                  <a:pt x="2212" y="228"/>
                </a:lnTo>
                <a:lnTo>
                  <a:pt x="2209" y="226"/>
                </a:lnTo>
                <a:lnTo>
                  <a:pt x="2206" y="223"/>
                </a:lnTo>
                <a:lnTo>
                  <a:pt x="2205" y="221"/>
                </a:lnTo>
                <a:lnTo>
                  <a:pt x="2204" y="218"/>
                </a:lnTo>
                <a:lnTo>
                  <a:pt x="2204" y="213"/>
                </a:lnTo>
                <a:lnTo>
                  <a:pt x="2205" y="211"/>
                </a:lnTo>
                <a:lnTo>
                  <a:pt x="2206" y="209"/>
                </a:lnTo>
                <a:lnTo>
                  <a:pt x="2208" y="207"/>
                </a:lnTo>
                <a:lnTo>
                  <a:pt x="2210" y="206"/>
                </a:lnTo>
                <a:lnTo>
                  <a:pt x="2212" y="204"/>
                </a:lnTo>
                <a:lnTo>
                  <a:pt x="2215" y="204"/>
                </a:lnTo>
                <a:lnTo>
                  <a:pt x="2217" y="204"/>
                </a:lnTo>
                <a:close/>
                <a:moveTo>
                  <a:pt x="1786" y="200"/>
                </a:moveTo>
                <a:lnTo>
                  <a:pt x="1789" y="201"/>
                </a:lnTo>
                <a:lnTo>
                  <a:pt x="1791" y="201"/>
                </a:lnTo>
                <a:lnTo>
                  <a:pt x="1793" y="203"/>
                </a:lnTo>
                <a:lnTo>
                  <a:pt x="1795" y="204"/>
                </a:lnTo>
                <a:lnTo>
                  <a:pt x="1797" y="206"/>
                </a:lnTo>
                <a:lnTo>
                  <a:pt x="1798" y="208"/>
                </a:lnTo>
                <a:lnTo>
                  <a:pt x="1799" y="210"/>
                </a:lnTo>
                <a:lnTo>
                  <a:pt x="1799" y="213"/>
                </a:lnTo>
                <a:lnTo>
                  <a:pt x="1799" y="215"/>
                </a:lnTo>
                <a:lnTo>
                  <a:pt x="1798" y="218"/>
                </a:lnTo>
                <a:lnTo>
                  <a:pt x="1797" y="220"/>
                </a:lnTo>
                <a:lnTo>
                  <a:pt x="1794" y="223"/>
                </a:lnTo>
                <a:lnTo>
                  <a:pt x="1793" y="224"/>
                </a:lnTo>
                <a:lnTo>
                  <a:pt x="1791" y="225"/>
                </a:lnTo>
                <a:lnTo>
                  <a:pt x="1787" y="226"/>
                </a:lnTo>
                <a:lnTo>
                  <a:pt x="1784" y="225"/>
                </a:lnTo>
                <a:lnTo>
                  <a:pt x="1782" y="225"/>
                </a:lnTo>
                <a:lnTo>
                  <a:pt x="1779" y="224"/>
                </a:lnTo>
                <a:lnTo>
                  <a:pt x="1778" y="222"/>
                </a:lnTo>
                <a:lnTo>
                  <a:pt x="1776" y="220"/>
                </a:lnTo>
                <a:lnTo>
                  <a:pt x="1775" y="218"/>
                </a:lnTo>
                <a:lnTo>
                  <a:pt x="1774" y="216"/>
                </a:lnTo>
                <a:lnTo>
                  <a:pt x="1774" y="213"/>
                </a:lnTo>
                <a:lnTo>
                  <a:pt x="1774" y="211"/>
                </a:lnTo>
                <a:lnTo>
                  <a:pt x="1775" y="209"/>
                </a:lnTo>
                <a:lnTo>
                  <a:pt x="1776" y="207"/>
                </a:lnTo>
                <a:lnTo>
                  <a:pt x="1778" y="203"/>
                </a:lnTo>
                <a:lnTo>
                  <a:pt x="1780" y="202"/>
                </a:lnTo>
                <a:lnTo>
                  <a:pt x="1782" y="201"/>
                </a:lnTo>
                <a:lnTo>
                  <a:pt x="1786" y="200"/>
                </a:lnTo>
                <a:close/>
                <a:moveTo>
                  <a:pt x="2357" y="170"/>
                </a:moveTo>
                <a:lnTo>
                  <a:pt x="2361" y="170"/>
                </a:lnTo>
                <a:lnTo>
                  <a:pt x="2364" y="172"/>
                </a:lnTo>
                <a:lnTo>
                  <a:pt x="2367" y="175"/>
                </a:lnTo>
                <a:lnTo>
                  <a:pt x="2368" y="177"/>
                </a:lnTo>
                <a:lnTo>
                  <a:pt x="2369" y="179"/>
                </a:lnTo>
                <a:lnTo>
                  <a:pt x="2369" y="181"/>
                </a:lnTo>
                <a:lnTo>
                  <a:pt x="2369" y="184"/>
                </a:lnTo>
                <a:lnTo>
                  <a:pt x="2369" y="186"/>
                </a:lnTo>
                <a:lnTo>
                  <a:pt x="2368" y="188"/>
                </a:lnTo>
                <a:lnTo>
                  <a:pt x="2366" y="190"/>
                </a:lnTo>
                <a:lnTo>
                  <a:pt x="2365" y="192"/>
                </a:lnTo>
                <a:lnTo>
                  <a:pt x="2360" y="194"/>
                </a:lnTo>
                <a:lnTo>
                  <a:pt x="2357" y="195"/>
                </a:lnTo>
                <a:lnTo>
                  <a:pt x="2353" y="194"/>
                </a:lnTo>
                <a:lnTo>
                  <a:pt x="2349" y="193"/>
                </a:lnTo>
                <a:lnTo>
                  <a:pt x="2346" y="190"/>
                </a:lnTo>
                <a:lnTo>
                  <a:pt x="2345" y="188"/>
                </a:lnTo>
                <a:lnTo>
                  <a:pt x="2345" y="186"/>
                </a:lnTo>
                <a:lnTo>
                  <a:pt x="2344" y="183"/>
                </a:lnTo>
                <a:lnTo>
                  <a:pt x="2344" y="181"/>
                </a:lnTo>
                <a:lnTo>
                  <a:pt x="2345" y="179"/>
                </a:lnTo>
                <a:lnTo>
                  <a:pt x="2345" y="176"/>
                </a:lnTo>
                <a:lnTo>
                  <a:pt x="2347" y="174"/>
                </a:lnTo>
                <a:lnTo>
                  <a:pt x="2349" y="173"/>
                </a:lnTo>
                <a:lnTo>
                  <a:pt x="2351" y="171"/>
                </a:lnTo>
                <a:lnTo>
                  <a:pt x="2353" y="170"/>
                </a:lnTo>
                <a:lnTo>
                  <a:pt x="2357" y="170"/>
                </a:lnTo>
                <a:close/>
                <a:moveTo>
                  <a:pt x="1647" y="165"/>
                </a:moveTo>
                <a:lnTo>
                  <a:pt x="1651" y="166"/>
                </a:lnTo>
                <a:lnTo>
                  <a:pt x="1653" y="167"/>
                </a:lnTo>
                <a:lnTo>
                  <a:pt x="1655" y="168"/>
                </a:lnTo>
                <a:lnTo>
                  <a:pt x="1657" y="170"/>
                </a:lnTo>
                <a:lnTo>
                  <a:pt x="1658" y="172"/>
                </a:lnTo>
                <a:lnTo>
                  <a:pt x="1659" y="174"/>
                </a:lnTo>
                <a:lnTo>
                  <a:pt x="1660" y="177"/>
                </a:lnTo>
                <a:lnTo>
                  <a:pt x="1660" y="179"/>
                </a:lnTo>
                <a:lnTo>
                  <a:pt x="1659" y="182"/>
                </a:lnTo>
                <a:lnTo>
                  <a:pt x="1657" y="185"/>
                </a:lnTo>
                <a:lnTo>
                  <a:pt x="1654" y="188"/>
                </a:lnTo>
                <a:lnTo>
                  <a:pt x="1653" y="189"/>
                </a:lnTo>
                <a:lnTo>
                  <a:pt x="1651" y="190"/>
                </a:lnTo>
                <a:lnTo>
                  <a:pt x="1647" y="191"/>
                </a:lnTo>
                <a:lnTo>
                  <a:pt x="1643" y="190"/>
                </a:lnTo>
                <a:lnTo>
                  <a:pt x="1641" y="189"/>
                </a:lnTo>
                <a:lnTo>
                  <a:pt x="1639" y="188"/>
                </a:lnTo>
                <a:lnTo>
                  <a:pt x="1637" y="186"/>
                </a:lnTo>
                <a:lnTo>
                  <a:pt x="1636" y="184"/>
                </a:lnTo>
                <a:lnTo>
                  <a:pt x="1635" y="182"/>
                </a:lnTo>
                <a:lnTo>
                  <a:pt x="1634" y="179"/>
                </a:lnTo>
                <a:lnTo>
                  <a:pt x="1634" y="177"/>
                </a:lnTo>
                <a:lnTo>
                  <a:pt x="1635" y="174"/>
                </a:lnTo>
                <a:lnTo>
                  <a:pt x="1637" y="171"/>
                </a:lnTo>
                <a:lnTo>
                  <a:pt x="1640" y="168"/>
                </a:lnTo>
                <a:lnTo>
                  <a:pt x="1641" y="167"/>
                </a:lnTo>
                <a:lnTo>
                  <a:pt x="1643" y="166"/>
                </a:lnTo>
                <a:lnTo>
                  <a:pt x="1647" y="165"/>
                </a:lnTo>
                <a:close/>
                <a:moveTo>
                  <a:pt x="2492" y="120"/>
                </a:moveTo>
                <a:lnTo>
                  <a:pt x="2495" y="121"/>
                </a:lnTo>
                <a:lnTo>
                  <a:pt x="2497" y="122"/>
                </a:lnTo>
                <a:lnTo>
                  <a:pt x="2499" y="122"/>
                </a:lnTo>
                <a:lnTo>
                  <a:pt x="2501" y="125"/>
                </a:lnTo>
                <a:lnTo>
                  <a:pt x="2503" y="128"/>
                </a:lnTo>
                <a:lnTo>
                  <a:pt x="2504" y="130"/>
                </a:lnTo>
                <a:lnTo>
                  <a:pt x="2504" y="133"/>
                </a:lnTo>
                <a:lnTo>
                  <a:pt x="2504" y="135"/>
                </a:lnTo>
                <a:lnTo>
                  <a:pt x="2504" y="138"/>
                </a:lnTo>
                <a:lnTo>
                  <a:pt x="2502" y="140"/>
                </a:lnTo>
                <a:lnTo>
                  <a:pt x="2501" y="142"/>
                </a:lnTo>
                <a:lnTo>
                  <a:pt x="2499" y="143"/>
                </a:lnTo>
                <a:lnTo>
                  <a:pt x="2497" y="145"/>
                </a:lnTo>
                <a:lnTo>
                  <a:pt x="2494" y="145"/>
                </a:lnTo>
                <a:lnTo>
                  <a:pt x="2492" y="146"/>
                </a:lnTo>
                <a:lnTo>
                  <a:pt x="2488" y="145"/>
                </a:lnTo>
                <a:lnTo>
                  <a:pt x="2487" y="144"/>
                </a:lnTo>
                <a:lnTo>
                  <a:pt x="2485" y="144"/>
                </a:lnTo>
                <a:lnTo>
                  <a:pt x="2482" y="141"/>
                </a:lnTo>
                <a:lnTo>
                  <a:pt x="2480" y="138"/>
                </a:lnTo>
                <a:lnTo>
                  <a:pt x="2479" y="135"/>
                </a:lnTo>
                <a:lnTo>
                  <a:pt x="2479" y="133"/>
                </a:lnTo>
                <a:lnTo>
                  <a:pt x="2479" y="131"/>
                </a:lnTo>
                <a:lnTo>
                  <a:pt x="2480" y="128"/>
                </a:lnTo>
                <a:lnTo>
                  <a:pt x="2481" y="126"/>
                </a:lnTo>
                <a:lnTo>
                  <a:pt x="2483" y="124"/>
                </a:lnTo>
                <a:lnTo>
                  <a:pt x="2485" y="123"/>
                </a:lnTo>
                <a:lnTo>
                  <a:pt x="2487" y="121"/>
                </a:lnTo>
                <a:lnTo>
                  <a:pt x="2489" y="121"/>
                </a:lnTo>
                <a:lnTo>
                  <a:pt x="2492" y="120"/>
                </a:lnTo>
                <a:close/>
                <a:moveTo>
                  <a:pt x="1512" y="116"/>
                </a:moveTo>
                <a:lnTo>
                  <a:pt x="1514" y="116"/>
                </a:lnTo>
                <a:lnTo>
                  <a:pt x="1517" y="117"/>
                </a:lnTo>
                <a:lnTo>
                  <a:pt x="1521" y="120"/>
                </a:lnTo>
                <a:lnTo>
                  <a:pt x="1523" y="122"/>
                </a:lnTo>
                <a:lnTo>
                  <a:pt x="1524" y="124"/>
                </a:lnTo>
                <a:lnTo>
                  <a:pt x="1524" y="126"/>
                </a:lnTo>
                <a:lnTo>
                  <a:pt x="1525" y="129"/>
                </a:lnTo>
                <a:lnTo>
                  <a:pt x="1524" y="131"/>
                </a:lnTo>
                <a:lnTo>
                  <a:pt x="1524" y="133"/>
                </a:lnTo>
                <a:lnTo>
                  <a:pt x="1522" y="137"/>
                </a:lnTo>
                <a:lnTo>
                  <a:pt x="1519" y="139"/>
                </a:lnTo>
                <a:lnTo>
                  <a:pt x="1516" y="141"/>
                </a:lnTo>
                <a:lnTo>
                  <a:pt x="1512" y="141"/>
                </a:lnTo>
                <a:lnTo>
                  <a:pt x="1509" y="141"/>
                </a:lnTo>
                <a:lnTo>
                  <a:pt x="1507" y="140"/>
                </a:lnTo>
                <a:lnTo>
                  <a:pt x="1503" y="137"/>
                </a:lnTo>
                <a:lnTo>
                  <a:pt x="1501" y="135"/>
                </a:lnTo>
                <a:lnTo>
                  <a:pt x="1500" y="133"/>
                </a:lnTo>
                <a:lnTo>
                  <a:pt x="1500" y="131"/>
                </a:lnTo>
                <a:lnTo>
                  <a:pt x="1499" y="128"/>
                </a:lnTo>
                <a:lnTo>
                  <a:pt x="1500" y="126"/>
                </a:lnTo>
                <a:lnTo>
                  <a:pt x="1500" y="124"/>
                </a:lnTo>
                <a:lnTo>
                  <a:pt x="1502" y="120"/>
                </a:lnTo>
                <a:lnTo>
                  <a:pt x="1505" y="118"/>
                </a:lnTo>
                <a:lnTo>
                  <a:pt x="1508" y="116"/>
                </a:lnTo>
                <a:lnTo>
                  <a:pt x="1512" y="116"/>
                </a:lnTo>
                <a:close/>
                <a:moveTo>
                  <a:pt x="2621" y="57"/>
                </a:moveTo>
                <a:lnTo>
                  <a:pt x="2625" y="58"/>
                </a:lnTo>
                <a:lnTo>
                  <a:pt x="2628" y="59"/>
                </a:lnTo>
                <a:lnTo>
                  <a:pt x="2630" y="61"/>
                </a:lnTo>
                <a:lnTo>
                  <a:pt x="2632" y="64"/>
                </a:lnTo>
                <a:lnTo>
                  <a:pt x="2634" y="69"/>
                </a:lnTo>
                <a:lnTo>
                  <a:pt x="2634" y="71"/>
                </a:lnTo>
                <a:lnTo>
                  <a:pt x="2633" y="74"/>
                </a:lnTo>
                <a:lnTo>
                  <a:pt x="2632" y="76"/>
                </a:lnTo>
                <a:lnTo>
                  <a:pt x="2631" y="78"/>
                </a:lnTo>
                <a:lnTo>
                  <a:pt x="2629" y="80"/>
                </a:lnTo>
                <a:lnTo>
                  <a:pt x="2627" y="81"/>
                </a:lnTo>
                <a:lnTo>
                  <a:pt x="2624" y="82"/>
                </a:lnTo>
                <a:lnTo>
                  <a:pt x="2621" y="83"/>
                </a:lnTo>
                <a:lnTo>
                  <a:pt x="2618" y="82"/>
                </a:lnTo>
                <a:lnTo>
                  <a:pt x="2615" y="81"/>
                </a:lnTo>
                <a:lnTo>
                  <a:pt x="2612" y="79"/>
                </a:lnTo>
                <a:lnTo>
                  <a:pt x="2610" y="76"/>
                </a:lnTo>
                <a:lnTo>
                  <a:pt x="2609" y="71"/>
                </a:lnTo>
                <a:lnTo>
                  <a:pt x="2609" y="69"/>
                </a:lnTo>
                <a:lnTo>
                  <a:pt x="2609" y="67"/>
                </a:lnTo>
                <a:lnTo>
                  <a:pt x="2610" y="64"/>
                </a:lnTo>
                <a:lnTo>
                  <a:pt x="2611" y="62"/>
                </a:lnTo>
                <a:lnTo>
                  <a:pt x="2613" y="60"/>
                </a:lnTo>
                <a:lnTo>
                  <a:pt x="2615" y="59"/>
                </a:lnTo>
                <a:lnTo>
                  <a:pt x="2618" y="58"/>
                </a:lnTo>
                <a:lnTo>
                  <a:pt x="2621" y="57"/>
                </a:lnTo>
                <a:close/>
                <a:moveTo>
                  <a:pt x="1382" y="54"/>
                </a:moveTo>
                <a:lnTo>
                  <a:pt x="1385" y="54"/>
                </a:lnTo>
                <a:lnTo>
                  <a:pt x="1388" y="55"/>
                </a:lnTo>
                <a:lnTo>
                  <a:pt x="1390" y="57"/>
                </a:lnTo>
                <a:lnTo>
                  <a:pt x="1392" y="58"/>
                </a:lnTo>
                <a:lnTo>
                  <a:pt x="1393" y="60"/>
                </a:lnTo>
                <a:lnTo>
                  <a:pt x="1394" y="63"/>
                </a:lnTo>
                <a:lnTo>
                  <a:pt x="1395" y="65"/>
                </a:lnTo>
                <a:lnTo>
                  <a:pt x="1395" y="68"/>
                </a:lnTo>
                <a:lnTo>
                  <a:pt x="1394" y="70"/>
                </a:lnTo>
                <a:lnTo>
                  <a:pt x="1393" y="72"/>
                </a:lnTo>
                <a:lnTo>
                  <a:pt x="1391" y="75"/>
                </a:lnTo>
                <a:lnTo>
                  <a:pt x="1389" y="77"/>
                </a:lnTo>
                <a:lnTo>
                  <a:pt x="1385" y="79"/>
                </a:lnTo>
                <a:lnTo>
                  <a:pt x="1382" y="79"/>
                </a:lnTo>
                <a:lnTo>
                  <a:pt x="1379" y="79"/>
                </a:lnTo>
                <a:lnTo>
                  <a:pt x="1376" y="78"/>
                </a:lnTo>
                <a:lnTo>
                  <a:pt x="1374" y="76"/>
                </a:lnTo>
                <a:lnTo>
                  <a:pt x="1372" y="74"/>
                </a:lnTo>
                <a:lnTo>
                  <a:pt x="1371" y="72"/>
                </a:lnTo>
                <a:lnTo>
                  <a:pt x="1370" y="70"/>
                </a:lnTo>
                <a:lnTo>
                  <a:pt x="1370" y="68"/>
                </a:lnTo>
                <a:lnTo>
                  <a:pt x="1370" y="65"/>
                </a:lnTo>
                <a:lnTo>
                  <a:pt x="1370" y="63"/>
                </a:lnTo>
                <a:lnTo>
                  <a:pt x="1371" y="60"/>
                </a:lnTo>
                <a:lnTo>
                  <a:pt x="1373" y="58"/>
                </a:lnTo>
                <a:lnTo>
                  <a:pt x="1376" y="56"/>
                </a:lnTo>
                <a:lnTo>
                  <a:pt x="1379" y="54"/>
                </a:lnTo>
                <a:lnTo>
                  <a:pt x="1382" y="54"/>
                </a:lnTo>
                <a:close/>
                <a:moveTo>
                  <a:pt x="1269" y="0"/>
                </a:moveTo>
                <a:lnTo>
                  <a:pt x="1267" y="3"/>
                </a:lnTo>
                <a:lnTo>
                  <a:pt x="1264" y="5"/>
                </a:lnTo>
                <a:lnTo>
                  <a:pt x="1261" y="6"/>
                </a:lnTo>
                <a:lnTo>
                  <a:pt x="1258" y="6"/>
                </a:lnTo>
                <a:lnTo>
                  <a:pt x="1254" y="6"/>
                </a:lnTo>
                <a:lnTo>
                  <a:pt x="1253" y="5"/>
                </a:lnTo>
                <a:lnTo>
                  <a:pt x="1251" y="4"/>
                </a:lnTo>
                <a:lnTo>
                  <a:pt x="1249" y="2"/>
                </a:lnTo>
                <a:lnTo>
                  <a:pt x="1247" y="0"/>
                </a:lnTo>
                <a:lnTo>
                  <a:pt x="1269" y="0"/>
                </a:lnTo>
                <a:close/>
                <a:moveTo>
                  <a:pt x="1972" y="658"/>
                </a:moveTo>
                <a:lnTo>
                  <a:pt x="1975" y="659"/>
                </a:lnTo>
                <a:lnTo>
                  <a:pt x="1977" y="659"/>
                </a:lnTo>
                <a:lnTo>
                  <a:pt x="1979" y="661"/>
                </a:lnTo>
                <a:lnTo>
                  <a:pt x="1981" y="662"/>
                </a:lnTo>
                <a:lnTo>
                  <a:pt x="1983" y="664"/>
                </a:lnTo>
                <a:lnTo>
                  <a:pt x="1984" y="666"/>
                </a:lnTo>
                <a:lnTo>
                  <a:pt x="1984" y="668"/>
                </a:lnTo>
                <a:lnTo>
                  <a:pt x="1985" y="671"/>
                </a:lnTo>
                <a:lnTo>
                  <a:pt x="1984" y="673"/>
                </a:lnTo>
                <a:lnTo>
                  <a:pt x="1984" y="676"/>
                </a:lnTo>
                <a:lnTo>
                  <a:pt x="1982" y="678"/>
                </a:lnTo>
                <a:lnTo>
                  <a:pt x="1981" y="680"/>
                </a:lnTo>
                <a:lnTo>
                  <a:pt x="1979" y="681"/>
                </a:lnTo>
                <a:lnTo>
                  <a:pt x="1977" y="682"/>
                </a:lnTo>
                <a:lnTo>
                  <a:pt x="1975" y="683"/>
                </a:lnTo>
                <a:lnTo>
                  <a:pt x="1972" y="683"/>
                </a:lnTo>
                <a:lnTo>
                  <a:pt x="1970" y="683"/>
                </a:lnTo>
                <a:lnTo>
                  <a:pt x="1967" y="682"/>
                </a:lnTo>
                <a:lnTo>
                  <a:pt x="1965" y="681"/>
                </a:lnTo>
                <a:lnTo>
                  <a:pt x="1963" y="679"/>
                </a:lnTo>
                <a:lnTo>
                  <a:pt x="1961" y="675"/>
                </a:lnTo>
                <a:lnTo>
                  <a:pt x="1960" y="673"/>
                </a:lnTo>
                <a:lnTo>
                  <a:pt x="1960" y="671"/>
                </a:lnTo>
                <a:lnTo>
                  <a:pt x="1960" y="668"/>
                </a:lnTo>
                <a:lnTo>
                  <a:pt x="1961" y="666"/>
                </a:lnTo>
                <a:lnTo>
                  <a:pt x="1962" y="664"/>
                </a:lnTo>
                <a:lnTo>
                  <a:pt x="1964" y="662"/>
                </a:lnTo>
                <a:lnTo>
                  <a:pt x="1965" y="660"/>
                </a:lnTo>
                <a:lnTo>
                  <a:pt x="1967" y="659"/>
                </a:lnTo>
                <a:lnTo>
                  <a:pt x="1970" y="659"/>
                </a:lnTo>
                <a:lnTo>
                  <a:pt x="1972" y="658"/>
                </a:lnTo>
                <a:close/>
                <a:moveTo>
                  <a:pt x="2117" y="651"/>
                </a:moveTo>
                <a:lnTo>
                  <a:pt x="2121" y="652"/>
                </a:lnTo>
                <a:lnTo>
                  <a:pt x="2123" y="653"/>
                </a:lnTo>
                <a:lnTo>
                  <a:pt x="2125" y="655"/>
                </a:lnTo>
                <a:lnTo>
                  <a:pt x="2128" y="658"/>
                </a:lnTo>
                <a:lnTo>
                  <a:pt x="2129" y="660"/>
                </a:lnTo>
                <a:lnTo>
                  <a:pt x="2129" y="663"/>
                </a:lnTo>
                <a:lnTo>
                  <a:pt x="2129" y="665"/>
                </a:lnTo>
                <a:lnTo>
                  <a:pt x="2129" y="667"/>
                </a:lnTo>
                <a:lnTo>
                  <a:pt x="2128" y="670"/>
                </a:lnTo>
                <a:lnTo>
                  <a:pt x="2127" y="672"/>
                </a:lnTo>
                <a:lnTo>
                  <a:pt x="2125" y="673"/>
                </a:lnTo>
                <a:lnTo>
                  <a:pt x="2123" y="675"/>
                </a:lnTo>
                <a:lnTo>
                  <a:pt x="2121" y="676"/>
                </a:lnTo>
                <a:lnTo>
                  <a:pt x="2118" y="676"/>
                </a:lnTo>
                <a:lnTo>
                  <a:pt x="2117" y="676"/>
                </a:lnTo>
                <a:lnTo>
                  <a:pt x="2112" y="676"/>
                </a:lnTo>
                <a:lnTo>
                  <a:pt x="2110" y="675"/>
                </a:lnTo>
                <a:lnTo>
                  <a:pt x="2109" y="673"/>
                </a:lnTo>
                <a:lnTo>
                  <a:pt x="2106" y="670"/>
                </a:lnTo>
                <a:lnTo>
                  <a:pt x="2105" y="668"/>
                </a:lnTo>
                <a:lnTo>
                  <a:pt x="2105" y="665"/>
                </a:lnTo>
                <a:lnTo>
                  <a:pt x="2105" y="663"/>
                </a:lnTo>
                <a:lnTo>
                  <a:pt x="2105" y="660"/>
                </a:lnTo>
                <a:lnTo>
                  <a:pt x="2106" y="658"/>
                </a:lnTo>
                <a:lnTo>
                  <a:pt x="2107" y="656"/>
                </a:lnTo>
                <a:lnTo>
                  <a:pt x="2109" y="654"/>
                </a:lnTo>
                <a:lnTo>
                  <a:pt x="2111" y="653"/>
                </a:lnTo>
                <a:lnTo>
                  <a:pt x="2113" y="652"/>
                </a:lnTo>
                <a:lnTo>
                  <a:pt x="2116" y="652"/>
                </a:lnTo>
                <a:lnTo>
                  <a:pt x="2117" y="651"/>
                </a:lnTo>
                <a:close/>
                <a:moveTo>
                  <a:pt x="1829" y="647"/>
                </a:moveTo>
                <a:lnTo>
                  <a:pt x="1831" y="647"/>
                </a:lnTo>
                <a:lnTo>
                  <a:pt x="1833" y="647"/>
                </a:lnTo>
                <a:lnTo>
                  <a:pt x="1835" y="649"/>
                </a:lnTo>
                <a:lnTo>
                  <a:pt x="1837" y="650"/>
                </a:lnTo>
                <a:lnTo>
                  <a:pt x="1839" y="652"/>
                </a:lnTo>
                <a:lnTo>
                  <a:pt x="1840" y="654"/>
                </a:lnTo>
                <a:lnTo>
                  <a:pt x="1841" y="656"/>
                </a:lnTo>
                <a:lnTo>
                  <a:pt x="1841" y="658"/>
                </a:lnTo>
                <a:lnTo>
                  <a:pt x="1841" y="661"/>
                </a:lnTo>
                <a:lnTo>
                  <a:pt x="1841" y="663"/>
                </a:lnTo>
                <a:lnTo>
                  <a:pt x="1840" y="665"/>
                </a:lnTo>
                <a:lnTo>
                  <a:pt x="1837" y="669"/>
                </a:lnTo>
                <a:lnTo>
                  <a:pt x="1835" y="670"/>
                </a:lnTo>
                <a:lnTo>
                  <a:pt x="1833" y="671"/>
                </a:lnTo>
                <a:lnTo>
                  <a:pt x="1829" y="672"/>
                </a:lnTo>
                <a:lnTo>
                  <a:pt x="1827" y="672"/>
                </a:lnTo>
                <a:lnTo>
                  <a:pt x="1825" y="671"/>
                </a:lnTo>
                <a:lnTo>
                  <a:pt x="1823" y="670"/>
                </a:lnTo>
                <a:lnTo>
                  <a:pt x="1821" y="668"/>
                </a:lnTo>
                <a:lnTo>
                  <a:pt x="1819" y="667"/>
                </a:lnTo>
                <a:lnTo>
                  <a:pt x="1818" y="665"/>
                </a:lnTo>
                <a:lnTo>
                  <a:pt x="1817" y="662"/>
                </a:lnTo>
                <a:lnTo>
                  <a:pt x="1817" y="660"/>
                </a:lnTo>
                <a:lnTo>
                  <a:pt x="1817" y="657"/>
                </a:lnTo>
                <a:lnTo>
                  <a:pt x="1817" y="655"/>
                </a:lnTo>
                <a:lnTo>
                  <a:pt x="1818" y="653"/>
                </a:lnTo>
                <a:lnTo>
                  <a:pt x="1821" y="650"/>
                </a:lnTo>
                <a:lnTo>
                  <a:pt x="1823" y="648"/>
                </a:lnTo>
                <a:lnTo>
                  <a:pt x="1825" y="648"/>
                </a:lnTo>
                <a:lnTo>
                  <a:pt x="1829" y="647"/>
                </a:lnTo>
                <a:close/>
                <a:moveTo>
                  <a:pt x="2259" y="627"/>
                </a:moveTo>
                <a:lnTo>
                  <a:pt x="2263" y="627"/>
                </a:lnTo>
                <a:lnTo>
                  <a:pt x="2265" y="628"/>
                </a:lnTo>
                <a:lnTo>
                  <a:pt x="2266" y="629"/>
                </a:lnTo>
                <a:lnTo>
                  <a:pt x="2268" y="631"/>
                </a:lnTo>
                <a:lnTo>
                  <a:pt x="2269" y="632"/>
                </a:lnTo>
                <a:lnTo>
                  <a:pt x="2271" y="636"/>
                </a:lnTo>
                <a:lnTo>
                  <a:pt x="2271" y="639"/>
                </a:lnTo>
                <a:lnTo>
                  <a:pt x="2271" y="641"/>
                </a:lnTo>
                <a:lnTo>
                  <a:pt x="2270" y="643"/>
                </a:lnTo>
                <a:lnTo>
                  <a:pt x="2269" y="646"/>
                </a:lnTo>
                <a:lnTo>
                  <a:pt x="2268" y="648"/>
                </a:lnTo>
                <a:lnTo>
                  <a:pt x="2266" y="649"/>
                </a:lnTo>
                <a:lnTo>
                  <a:pt x="2264" y="650"/>
                </a:lnTo>
                <a:lnTo>
                  <a:pt x="2262" y="651"/>
                </a:lnTo>
                <a:lnTo>
                  <a:pt x="2259" y="652"/>
                </a:lnTo>
                <a:lnTo>
                  <a:pt x="2255" y="651"/>
                </a:lnTo>
                <a:lnTo>
                  <a:pt x="2253" y="650"/>
                </a:lnTo>
                <a:lnTo>
                  <a:pt x="2251" y="649"/>
                </a:lnTo>
                <a:lnTo>
                  <a:pt x="2250" y="648"/>
                </a:lnTo>
                <a:lnTo>
                  <a:pt x="2248" y="646"/>
                </a:lnTo>
                <a:lnTo>
                  <a:pt x="2247" y="642"/>
                </a:lnTo>
                <a:lnTo>
                  <a:pt x="2246" y="639"/>
                </a:lnTo>
                <a:lnTo>
                  <a:pt x="2246" y="637"/>
                </a:lnTo>
                <a:lnTo>
                  <a:pt x="2247" y="635"/>
                </a:lnTo>
                <a:lnTo>
                  <a:pt x="2248" y="633"/>
                </a:lnTo>
                <a:lnTo>
                  <a:pt x="2250" y="631"/>
                </a:lnTo>
                <a:lnTo>
                  <a:pt x="2251" y="629"/>
                </a:lnTo>
                <a:lnTo>
                  <a:pt x="2253" y="628"/>
                </a:lnTo>
                <a:lnTo>
                  <a:pt x="2256" y="627"/>
                </a:lnTo>
                <a:lnTo>
                  <a:pt x="2259" y="627"/>
                </a:lnTo>
                <a:close/>
                <a:moveTo>
                  <a:pt x="1688" y="617"/>
                </a:moveTo>
                <a:lnTo>
                  <a:pt x="1691" y="618"/>
                </a:lnTo>
                <a:lnTo>
                  <a:pt x="1694" y="619"/>
                </a:lnTo>
                <a:lnTo>
                  <a:pt x="1696" y="620"/>
                </a:lnTo>
                <a:lnTo>
                  <a:pt x="1698" y="622"/>
                </a:lnTo>
                <a:lnTo>
                  <a:pt x="1699" y="624"/>
                </a:lnTo>
                <a:lnTo>
                  <a:pt x="1701" y="628"/>
                </a:lnTo>
                <a:lnTo>
                  <a:pt x="1701" y="631"/>
                </a:lnTo>
                <a:lnTo>
                  <a:pt x="1700" y="633"/>
                </a:lnTo>
                <a:lnTo>
                  <a:pt x="1698" y="637"/>
                </a:lnTo>
                <a:lnTo>
                  <a:pt x="1696" y="640"/>
                </a:lnTo>
                <a:lnTo>
                  <a:pt x="1694" y="641"/>
                </a:lnTo>
                <a:lnTo>
                  <a:pt x="1692" y="642"/>
                </a:lnTo>
                <a:lnTo>
                  <a:pt x="1688" y="642"/>
                </a:lnTo>
                <a:lnTo>
                  <a:pt x="1685" y="642"/>
                </a:lnTo>
                <a:lnTo>
                  <a:pt x="1683" y="641"/>
                </a:lnTo>
                <a:lnTo>
                  <a:pt x="1681" y="640"/>
                </a:lnTo>
                <a:lnTo>
                  <a:pt x="1677" y="636"/>
                </a:lnTo>
                <a:lnTo>
                  <a:pt x="1676" y="632"/>
                </a:lnTo>
                <a:lnTo>
                  <a:pt x="1676" y="629"/>
                </a:lnTo>
                <a:lnTo>
                  <a:pt x="1676" y="627"/>
                </a:lnTo>
                <a:lnTo>
                  <a:pt x="1677" y="625"/>
                </a:lnTo>
                <a:lnTo>
                  <a:pt x="1678" y="623"/>
                </a:lnTo>
                <a:lnTo>
                  <a:pt x="1681" y="620"/>
                </a:lnTo>
                <a:lnTo>
                  <a:pt x="1682" y="619"/>
                </a:lnTo>
                <a:lnTo>
                  <a:pt x="1684" y="618"/>
                </a:lnTo>
                <a:lnTo>
                  <a:pt x="1688" y="617"/>
                </a:lnTo>
                <a:close/>
                <a:moveTo>
                  <a:pt x="2396" y="585"/>
                </a:moveTo>
                <a:lnTo>
                  <a:pt x="2400" y="586"/>
                </a:lnTo>
                <a:lnTo>
                  <a:pt x="2404" y="587"/>
                </a:lnTo>
                <a:lnTo>
                  <a:pt x="2406" y="590"/>
                </a:lnTo>
                <a:lnTo>
                  <a:pt x="2408" y="593"/>
                </a:lnTo>
                <a:lnTo>
                  <a:pt x="2409" y="596"/>
                </a:lnTo>
                <a:lnTo>
                  <a:pt x="2409" y="598"/>
                </a:lnTo>
                <a:lnTo>
                  <a:pt x="2409" y="601"/>
                </a:lnTo>
                <a:lnTo>
                  <a:pt x="2408" y="603"/>
                </a:lnTo>
                <a:lnTo>
                  <a:pt x="2407" y="605"/>
                </a:lnTo>
                <a:lnTo>
                  <a:pt x="2405" y="607"/>
                </a:lnTo>
                <a:lnTo>
                  <a:pt x="2403" y="608"/>
                </a:lnTo>
                <a:lnTo>
                  <a:pt x="2401" y="609"/>
                </a:lnTo>
                <a:lnTo>
                  <a:pt x="2396" y="610"/>
                </a:lnTo>
                <a:lnTo>
                  <a:pt x="2393" y="610"/>
                </a:lnTo>
                <a:lnTo>
                  <a:pt x="2391" y="609"/>
                </a:lnTo>
                <a:lnTo>
                  <a:pt x="2389" y="608"/>
                </a:lnTo>
                <a:lnTo>
                  <a:pt x="2387" y="605"/>
                </a:lnTo>
                <a:lnTo>
                  <a:pt x="2385" y="602"/>
                </a:lnTo>
                <a:lnTo>
                  <a:pt x="2384" y="599"/>
                </a:lnTo>
                <a:lnTo>
                  <a:pt x="2384" y="597"/>
                </a:lnTo>
                <a:lnTo>
                  <a:pt x="2384" y="595"/>
                </a:lnTo>
                <a:lnTo>
                  <a:pt x="2385" y="592"/>
                </a:lnTo>
                <a:lnTo>
                  <a:pt x="2386" y="590"/>
                </a:lnTo>
                <a:lnTo>
                  <a:pt x="2388" y="588"/>
                </a:lnTo>
                <a:lnTo>
                  <a:pt x="2390" y="587"/>
                </a:lnTo>
                <a:lnTo>
                  <a:pt x="2392" y="586"/>
                </a:lnTo>
                <a:lnTo>
                  <a:pt x="2396" y="585"/>
                </a:lnTo>
                <a:close/>
                <a:moveTo>
                  <a:pt x="1552" y="572"/>
                </a:moveTo>
                <a:lnTo>
                  <a:pt x="1556" y="573"/>
                </a:lnTo>
                <a:lnTo>
                  <a:pt x="1559" y="574"/>
                </a:lnTo>
                <a:lnTo>
                  <a:pt x="1560" y="576"/>
                </a:lnTo>
                <a:lnTo>
                  <a:pt x="1562" y="577"/>
                </a:lnTo>
                <a:lnTo>
                  <a:pt x="1563" y="580"/>
                </a:lnTo>
                <a:lnTo>
                  <a:pt x="1564" y="582"/>
                </a:lnTo>
                <a:lnTo>
                  <a:pt x="1564" y="584"/>
                </a:lnTo>
                <a:lnTo>
                  <a:pt x="1563" y="589"/>
                </a:lnTo>
                <a:lnTo>
                  <a:pt x="1561" y="592"/>
                </a:lnTo>
                <a:lnTo>
                  <a:pt x="1559" y="595"/>
                </a:lnTo>
                <a:lnTo>
                  <a:pt x="1555" y="596"/>
                </a:lnTo>
                <a:lnTo>
                  <a:pt x="1552" y="597"/>
                </a:lnTo>
                <a:lnTo>
                  <a:pt x="1547" y="596"/>
                </a:lnTo>
                <a:lnTo>
                  <a:pt x="1545" y="595"/>
                </a:lnTo>
                <a:lnTo>
                  <a:pt x="1543" y="593"/>
                </a:lnTo>
                <a:lnTo>
                  <a:pt x="1541" y="592"/>
                </a:lnTo>
                <a:lnTo>
                  <a:pt x="1540" y="590"/>
                </a:lnTo>
                <a:lnTo>
                  <a:pt x="1540" y="587"/>
                </a:lnTo>
                <a:lnTo>
                  <a:pt x="1539" y="585"/>
                </a:lnTo>
                <a:lnTo>
                  <a:pt x="1540" y="580"/>
                </a:lnTo>
                <a:lnTo>
                  <a:pt x="1542" y="577"/>
                </a:lnTo>
                <a:lnTo>
                  <a:pt x="1545" y="574"/>
                </a:lnTo>
                <a:lnTo>
                  <a:pt x="1548" y="573"/>
                </a:lnTo>
                <a:lnTo>
                  <a:pt x="1552" y="572"/>
                </a:lnTo>
                <a:close/>
                <a:moveTo>
                  <a:pt x="2529" y="529"/>
                </a:moveTo>
                <a:lnTo>
                  <a:pt x="2532" y="530"/>
                </a:lnTo>
                <a:lnTo>
                  <a:pt x="2536" y="531"/>
                </a:lnTo>
                <a:lnTo>
                  <a:pt x="2537" y="532"/>
                </a:lnTo>
                <a:lnTo>
                  <a:pt x="2538" y="533"/>
                </a:lnTo>
                <a:lnTo>
                  <a:pt x="2540" y="536"/>
                </a:lnTo>
                <a:lnTo>
                  <a:pt x="2541" y="539"/>
                </a:lnTo>
                <a:lnTo>
                  <a:pt x="2542" y="541"/>
                </a:lnTo>
                <a:lnTo>
                  <a:pt x="2541" y="546"/>
                </a:lnTo>
                <a:lnTo>
                  <a:pt x="2540" y="548"/>
                </a:lnTo>
                <a:lnTo>
                  <a:pt x="2538" y="550"/>
                </a:lnTo>
                <a:lnTo>
                  <a:pt x="2537" y="552"/>
                </a:lnTo>
                <a:lnTo>
                  <a:pt x="2534" y="553"/>
                </a:lnTo>
                <a:lnTo>
                  <a:pt x="2532" y="554"/>
                </a:lnTo>
                <a:lnTo>
                  <a:pt x="2529" y="554"/>
                </a:lnTo>
                <a:lnTo>
                  <a:pt x="2526" y="554"/>
                </a:lnTo>
                <a:lnTo>
                  <a:pt x="2523" y="552"/>
                </a:lnTo>
                <a:lnTo>
                  <a:pt x="2521" y="551"/>
                </a:lnTo>
                <a:lnTo>
                  <a:pt x="2520" y="550"/>
                </a:lnTo>
                <a:lnTo>
                  <a:pt x="2518" y="547"/>
                </a:lnTo>
                <a:lnTo>
                  <a:pt x="2517" y="545"/>
                </a:lnTo>
                <a:lnTo>
                  <a:pt x="2517" y="542"/>
                </a:lnTo>
                <a:lnTo>
                  <a:pt x="2517" y="538"/>
                </a:lnTo>
                <a:lnTo>
                  <a:pt x="2518" y="535"/>
                </a:lnTo>
                <a:lnTo>
                  <a:pt x="2520" y="533"/>
                </a:lnTo>
                <a:lnTo>
                  <a:pt x="2522" y="532"/>
                </a:lnTo>
                <a:lnTo>
                  <a:pt x="2524" y="530"/>
                </a:lnTo>
                <a:lnTo>
                  <a:pt x="2526" y="529"/>
                </a:lnTo>
                <a:lnTo>
                  <a:pt x="2529" y="529"/>
                </a:lnTo>
                <a:close/>
                <a:moveTo>
                  <a:pt x="1421" y="513"/>
                </a:moveTo>
                <a:lnTo>
                  <a:pt x="1424" y="513"/>
                </a:lnTo>
                <a:lnTo>
                  <a:pt x="1426" y="514"/>
                </a:lnTo>
                <a:lnTo>
                  <a:pt x="1428" y="516"/>
                </a:lnTo>
                <a:lnTo>
                  <a:pt x="1430" y="517"/>
                </a:lnTo>
                <a:lnTo>
                  <a:pt x="1432" y="519"/>
                </a:lnTo>
                <a:lnTo>
                  <a:pt x="1433" y="521"/>
                </a:lnTo>
                <a:lnTo>
                  <a:pt x="1433" y="524"/>
                </a:lnTo>
                <a:lnTo>
                  <a:pt x="1433" y="526"/>
                </a:lnTo>
                <a:lnTo>
                  <a:pt x="1433" y="529"/>
                </a:lnTo>
                <a:lnTo>
                  <a:pt x="1432" y="531"/>
                </a:lnTo>
                <a:lnTo>
                  <a:pt x="1430" y="534"/>
                </a:lnTo>
                <a:lnTo>
                  <a:pt x="1427" y="536"/>
                </a:lnTo>
                <a:lnTo>
                  <a:pt x="1424" y="537"/>
                </a:lnTo>
                <a:lnTo>
                  <a:pt x="1421" y="538"/>
                </a:lnTo>
                <a:lnTo>
                  <a:pt x="1418" y="537"/>
                </a:lnTo>
                <a:lnTo>
                  <a:pt x="1415" y="536"/>
                </a:lnTo>
                <a:lnTo>
                  <a:pt x="1413" y="535"/>
                </a:lnTo>
                <a:lnTo>
                  <a:pt x="1411" y="533"/>
                </a:lnTo>
                <a:lnTo>
                  <a:pt x="1410" y="531"/>
                </a:lnTo>
                <a:lnTo>
                  <a:pt x="1409" y="529"/>
                </a:lnTo>
                <a:lnTo>
                  <a:pt x="1408" y="527"/>
                </a:lnTo>
                <a:lnTo>
                  <a:pt x="1408" y="524"/>
                </a:lnTo>
                <a:lnTo>
                  <a:pt x="1409" y="522"/>
                </a:lnTo>
                <a:lnTo>
                  <a:pt x="1410" y="520"/>
                </a:lnTo>
                <a:lnTo>
                  <a:pt x="1412" y="517"/>
                </a:lnTo>
                <a:lnTo>
                  <a:pt x="1414" y="515"/>
                </a:lnTo>
                <a:lnTo>
                  <a:pt x="1417" y="513"/>
                </a:lnTo>
                <a:lnTo>
                  <a:pt x="1421" y="513"/>
                </a:lnTo>
                <a:close/>
                <a:moveTo>
                  <a:pt x="2656" y="461"/>
                </a:moveTo>
                <a:lnTo>
                  <a:pt x="2659" y="461"/>
                </a:lnTo>
                <a:lnTo>
                  <a:pt x="2662" y="462"/>
                </a:lnTo>
                <a:lnTo>
                  <a:pt x="2664" y="464"/>
                </a:lnTo>
                <a:lnTo>
                  <a:pt x="2666" y="467"/>
                </a:lnTo>
                <a:lnTo>
                  <a:pt x="2668" y="469"/>
                </a:lnTo>
                <a:lnTo>
                  <a:pt x="2668" y="472"/>
                </a:lnTo>
                <a:lnTo>
                  <a:pt x="2668" y="474"/>
                </a:lnTo>
                <a:lnTo>
                  <a:pt x="2668" y="476"/>
                </a:lnTo>
                <a:lnTo>
                  <a:pt x="2667" y="479"/>
                </a:lnTo>
                <a:lnTo>
                  <a:pt x="2666" y="481"/>
                </a:lnTo>
                <a:lnTo>
                  <a:pt x="2664" y="482"/>
                </a:lnTo>
                <a:lnTo>
                  <a:pt x="2662" y="484"/>
                </a:lnTo>
                <a:lnTo>
                  <a:pt x="2659" y="485"/>
                </a:lnTo>
                <a:lnTo>
                  <a:pt x="2656" y="486"/>
                </a:lnTo>
                <a:lnTo>
                  <a:pt x="2653" y="485"/>
                </a:lnTo>
                <a:lnTo>
                  <a:pt x="2650" y="484"/>
                </a:lnTo>
                <a:lnTo>
                  <a:pt x="2647" y="482"/>
                </a:lnTo>
                <a:lnTo>
                  <a:pt x="2645" y="480"/>
                </a:lnTo>
                <a:lnTo>
                  <a:pt x="2644" y="477"/>
                </a:lnTo>
                <a:lnTo>
                  <a:pt x="2643" y="475"/>
                </a:lnTo>
                <a:lnTo>
                  <a:pt x="2643" y="473"/>
                </a:lnTo>
                <a:lnTo>
                  <a:pt x="2644" y="470"/>
                </a:lnTo>
                <a:lnTo>
                  <a:pt x="2644" y="468"/>
                </a:lnTo>
                <a:lnTo>
                  <a:pt x="2646" y="466"/>
                </a:lnTo>
                <a:lnTo>
                  <a:pt x="2647" y="464"/>
                </a:lnTo>
                <a:lnTo>
                  <a:pt x="2649" y="463"/>
                </a:lnTo>
                <a:lnTo>
                  <a:pt x="2652" y="461"/>
                </a:lnTo>
                <a:lnTo>
                  <a:pt x="2656" y="461"/>
                </a:lnTo>
                <a:close/>
                <a:moveTo>
                  <a:pt x="1296" y="442"/>
                </a:moveTo>
                <a:lnTo>
                  <a:pt x="1299" y="442"/>
                </a:lnTo>
                <a:lnTo>
                  <a:pt x="1302" y="444"/>
                </a:lnTo>
                <a:lnTo>
                  <a:pt x="1304" y="445"/>
                </a:lnTo>
                <a:lnTo>
                  <a:pt x="1306" y="447"/>
                </a:lnTo>
                <a:lnTo>
                  <a:pt x="1307" y="449"/>
                </a:lnTo>
                <a:lnTo>
                  <a:pt x="1308" y="451"/>
                </a:lnTo>
                <a:lnTo>
                  <a:pt x="1308" y="454"/>
                </a:lnTo>
                <a:lnTo>
                  <a:pt x="1308" y="456"/>
                </a:lnTo>
                <a:lnTo>
                  <a:pt x="1307" y="458"/>
                </a:lnTo>
                <a:lnTo>
                  <a:pt x="1306" y="461"/>
                </a:lnTo>
                <a:lnTo>
                  <a:pt x="1304" y="463"/>
                </a:lnTo>
                <a:lnTo>
                  <a:pt x="1301" y="465"/>
                </a:lnTo>
                <a:lnTo>
                  <a:pt x="1299" y="466"/>
                </a:lnTo>
                <a:lnTo>
                  <a:pt x="1296" y="467"/>
                </a:lnTo>
                <a:lnTo>
                  <a:pt x="1292" y="466"/>
                </a:lnTo>
                <a:lnTo>
                  <a:pt x="1289" y="465"/>
                </a:lnTo>
                <a:lnTo>
                  <a:pt x="1287" y="463"/>
                </a:lnTo>
                <a:lnTo>
                  <a:pt x="1285" y="461"/>
                </a:lnTo>
                <a:lnTo>
                  <a:pt x="1284" y="459"/>
                </a:lnTo>
                <a:lnTo>
                  <a:pt x="1283" y="457"/>
                </a:lnTo>
                <a:lnTo>
                  <a:pt x="1283" y="455"/>
                </a:lnTo>
                <a:lnTo>
                  <a:pt x="1283" y="452"/>
                </a:lnTo>
                <a:lnTo>
                  <a:pt x="1284" y="450"/>
                </a:lnTo>
                <a:lnTo>
                  <a:pt x="1285" y="447"/>
                </a:lnTo>
                <a:lnTo>
                  <a:pt x="1287" y="445"/>
                </a:lnTo>
                <a:lnTo>
                  <a:pt x="1290" y="443"/>
                </a:lnTo>
                <a:lnTo>
                  <a:pt x="1292" y="442"/>
                </a:lnTo>
                <a:lnTo>
                  <a:pt x="1296" y="442"/>
                </a:lnTo>
                <a:close/>
                <a:moveTo>
                  <a:pt x="1176" y="361"/>
                </a:moveTo>
                <a:lnTo>
                  <a:pt x="1180" y="361"/>
                </a:lnTo>
                <a:lnTo>
                  <a:pt x="1184" y="363"/>
                </a:lnTo>
                <a:lnTo>
                  <a:pt x="1186" y="365"/>
                </a:lnTo>
                <a:lnTo>
                  <a:pt x="1187" y="367"/>
                </a:lnTo>
                <a:lnTo>
                  <a:pt x="1189" y="371"/>
                </a:lnTo>
                <a:lnTo>
                  <a:pt x="1189" y="374"/>
                </a:lnTo>
                <a:lnTo>
                  <a:pt x="1189" y="376"/>
                </a:lnTo>
                <a:lnTo>
                  <a:pt x="1188" y="378"/>
                </a:lnTo>
                <a:lnTo>
                  <a:pt x="1187" y="381"/>
                </a:lnTo>
                <a:lnTo>
                  <a:pt x="1184" y="383"/>
                </a:lnTo>
                <a:lnTo>
                  <a:pt x="1183" y="384"/>
                </a:lnTo>
                <a:lnTo>
                  <a:pt x="1182" y="384"/>
                </a:lnTo>
                <a:lnTo>
                  <a:pt x="1179" y="385"/>
                </a:lnTo>
                <a:lnTo>
                  <a:pt x="1176" y="386"/>
                </a:lnTo>
                <a:lnTo>
                  <a:pt x="1173" y="385"/>
                </a:lnTo>
                <a:lnTo>
                  <a:pt x="1169" y="383"/>
                </a:lnTo>
                <a:lnTo>
                  <a:pt x="1167" y="381"/>
                </a:lnTo>
                <a:lnTo>
                  <a:pt x="1166" y="380"/>
                </a:lnTo>
                <a:lnTo>
                  <a:pt x="1164" y="375"/>
                </a:lnTo>
                <a:lnTo>
                  <a:pt x="1164" y="373"/>
                </a:lnTo>
                <a:lnTo>
                  <a:pt x="1164" y="370"/>
                </a:lnTo>
                <a:lnTo>
                  <a:pt x="1165" y="368"/>
                </a:lnTo>
                <a:lnTo>
                  <a:pt x="1166" y="366"/>
                </a:lnTo>
                <a:lnTo>
                  <a:pt x="1168" y="364"/>
                </a:lnTo>
                <a:lnTo>
                  <a:pt x="1170" y="363"/>
                </a:lnTo>
                <a:lnTo>
                  <a:pt x="1171" y="362"/>
                </a:lnTo>
                <a:lnTo>
                  <a:pt x="1174" y="361"/>
                </a:lnTo>
                <a:lnTo>
                  <a:pt x="1176" y="361"/>
                </a:lnTo>
                <a:close/>
                <a:moveTo>
                  <a:pt x="1063" y="272"/>
                </a:moveTo>
                <a:lnTo>
                  <a:pt x="1067" y="272"/>
                </a:lnTo>
                <a:lnTo>
                  <a:pt x="1069" y="273"/>
                </a:lnTo>
                <a:lnTo>
                  <a:pt x="1071" y="275"/>
                </a:lnTo>
                <a:lnTo>
                  <a:pt x="1073" y="276"/>
                </a:lnTo>
                <a:lnTo>
                  <a:pt x="1074" y="278"/>
                </a:lnTo>
                <a:lnTo>
                  <a:pt x="1075" y="281"/>
                </a:lnTo>
                <a:lnTo>
                  <a:pt x="1076" y="283"/>
                </a:lnTo>
                <a:lnTo>
                  <a:pt x="1076" y="285"/>
                </a:lnTo>
                <a:lnTo>
                  <a:pt x="1075" y="288"/>
                </a:lnTo>
                <a:lnTo>
                  <a:pt x="1074" y="290"/>
                </a:lnTo>
                <a:lnTo>
                  <a:pt x="1074" y="291"/>
                </a:lnTo>
                <a:lnTo>
                  <a:pt x="1073" y="292"/>
                </a:lnTo>
                <a:lnTo>
                  <a:pt x="1071" y="294"/>
                </a:lnTo>
                <a:lnTo>
                  <a:pt x="1068" y="295"/>
                </a:lnTo>
                <a:lnTo>
                  <a:pt x="1066" y="296"/>
                </a:lnTo>
                <a:lnTo>
                  <a:pt x="1063" y="297"/>
                </a:lnTo>
                <a:lnTo>
                  <a:pt x="1059" y="296"/>
                </a:lnTo>
                <a:lnTo>
                  <a:pt x="1057" y="295"/>
                </a:lnTo>
                <a:lnTo>
                  <a:pt x="1055" y="294"/>
                </a:lnTo>
                <a:lnTo>
                  <a:pt x="1054" y="292"/>
                </a:lnTo>
                <a:lnTo>
                  <a:pt x="1052" y="290"/>
                </a:lnTo>
                <a:lnTo>
                  <a:pt x="1051" y="288"/>
                </a:lnTo>
                <a:lnTo>
                  <a:pt x="1051" y="285"/>
                </a:lnTo>
                <a:lnTo>
                  <a:pt x="1051" y="283"/>
                </a:lnTo>
                <a:lnTo>
                  <a:pt x="1051" y="280"/>
                </a:lnTo>
                <a:lnTo>
                  <a:pt x="1052" y="278"/>
                </a:lnTo>
                <a:lnTo>
                  <a:pt x="1053" y="277"/>
                </a:lnTo>
                <a:lnTo>
                  <a:pt x="1054" y="276"/>
                </a:lnTo>
                <a:lnTo>
                  <a:pt x="1056" y="274"/>
                </a:lnTo>
                <a:lnTo>
                  <a:pt x="1058" y="273"/>
                </a:lnTo>
                <a:lnTo>
                  <a:pt x="1061" y="272"/>
                </a:lnTo>
                <a:lnTo>
                  <a:pt x="1063" y="272"/>
                </a:lnTo>
                <a:close/>
                <a:moveTo>
                  <a:pt x="956" y="176"/>
                </a:moveTo>
                <a:lnTo>
                  <a:pt x="960" y="177"/>
                </a:lnTo>
                <a:lnTo>
                  <a:pt x="962" y="178"/>
                </a:lnTo>
                <a:lnTo>
                  <a:pt x="964" y="179"/>
                </a:lnTo>
                <a:lnTo>
                  <a:pt x="966" y="181"/>
                </a:lnTo>
                <a:lnTo>
                  <a:pt x="967" y="183"/>
                </a:lnTo>
                <a:lnTo>
                  <a:pt x="968" y="186"/>
                </a:lnTo>
                <a:lnTo>
                  <a:pt x="968" y="188"/>
                </a:lnTo>
                <a:lnTo>
                  <a:pt x="967" y="193"/>
                </a:lnTo>
                <a:lnTo>
                  <a:pt x="966" y="195"/>
                </a:lnTo>
                <a:lnTo>
                  <a:pt x="965" y="197"/>
                </a:lnTo>
                <a:lnTo>
                  <a:pt x="963" y="199"/>
                </a:lnTo>
                <a:lnTo>
                  <a:pt x="961" y="200"/>
                </a:lnTo>
                <a:lnTo>
                  <a:pt x="958" y="201"/>
                </a:lnTo>
                <a:lnTo>
                  <a:pt x="956" y="201"/>
                </a:lnTo>
                <a:lnTo>
                  <a:pt x="951" y="200"/>
                </a:lnTo>
                <a:lnTo>
                  <a:pt x="949" y="199"/>
                </a:lnTo>
                <a:lnTo>
                  <a:pt x="947" y="198"/>
                </a:lnTo>
                <a:lnTo>
                  <a:pt x="945" y="196"/>
                </a:lnTo>
                <a:lnTo>
                  <a:pt x="944" y="193"/>
                </a:lnTo>
                <a:lnTo>
                  <a:pt x="943" y="191"/>
                </a:lnTo>
                <a:lnTo>
                  <a:pt x="943" y="189"/>
                </a:lnTo>
                <a:lnTo>
                  <a:pt x="944" y="184"/>
                </a:lnTo>
                <a:lnTo>
                  <a:pt x="945" y="182"/>
                </a:lnTo>
                <a:lnTo>
                  <a:pt x="947" y="180"/>
                </a:lnTo>
                <a:lnTo>
                  <a:pt x="949" y="178"/>
                </a:lnTo>
                <a:lnTo>
                  <a:pt x="951" y="177"/>
                </a:lnTo>
                <a:lnTo>
                  <a:pt x="953" y="176"/>
                </a:lnTo>
                <a:lnTo>
                  <a:pt x="956" y="176"/>
                </a:lnTo>
                <a:close/>
                <a:moveTo>
                  <a:pt x="853" y="75"/>
                </a:moveTo>
                <a:lnTo>
                  <a:pt x="856" y="75"/>
                </a:lnTo>
                <a:lnTo>
                  <a:pt x="858" y="76"/>
                </a:lnTo>
                <a:lnTo>
                  <a:pt x="860" y="77"/>
                </a:lnTo>
                <a:lnTo>
                  <a:pt x="862" y="79"/>
                </a:lnTo>
                <a:lnTo>
                  <a:pt x="864" y="81"/>
                </a:lnTo>
                <a:lnTo>
                  <a:pt x="865" y="83"/>
                </a:lnTo>
                <a:lnTo>
                  <a:pt x="865" y="85"/>
                </a:lnTo>
                <a:lnTo>
                  <a:pt x="866" y="87"/>
                </a:lnTo>
                <a:lnTo>
                  <a:pt x="865" y="90"/>
                </a:lnTo>
                <a:lnTo>
                  <a:pt x="865" y="92"/>
                </a:lnTo>
                <a:lnTo>
                  <a:pt x="863" y="94"/>
                </a:lnTo>
                <a:lnTo>
                  <a:pt x="862" y="96"/>
                </a:lnTo>
                <a:lnTo>
                  <a:pt x="860" y="98"/>
                </a:lnTo>
                <a:lnTo>
                  <a:pt x="858" y="99"/>
                </a:lnTo>
                <a:lnTo>
                  <a:pt x="853" y="100"/>
                </a:lnTo>
                <a:lnTo>
                  <a:pt x="851" y="99"/>
                </a:lnTo>
                <a:lnTo>
                  <a:pt x="848" y="99"/>
                </a:lnTo>
                <a:lnTo>
                  <a:pt x="846" y="98"/>
                </a:lnTo>
                <a:lnTo>
                  <a:pt x="844" y="96"/>
                </a:lnTo>
                <a:lnTo>
                  <a:pt x="843" y="94"/>
                </a:lnTo>
                <a:lnTo>
                  <a:pt x="842" y="92"/>
                </a:lnTo>
                <a:lnTo>
                  <a:pt x="841" y="89"/>
                </a:lnTo>
                <a:lnTo>
                  <a:pt x="841" y="87"/>
                </a:lnTo>
                <a:lnTo>
                  <a:pt x="841" y="85"/>
                </a:lnTo>
                <a:lnTo>
                  <a:pt x="842" y="82"/>
                </a:lnTo>
                <a:lnTo>
                  <a:pt x="843" y="80"/>
                </a:lnTo>
                <a:lnTo>
                  <a:pt x="845" y="78"/>
                </a:lnTo>
                <a:lnTo>
                  <a:pt x="846" y="77"/>
                </a:lnTo>
                <a:lnTo>
                  <a:pt x="849" y="76"/>
                </a:lnTo>
                <a:lnTo>
                  <a:pt x="853" y="75"/>
                </a:lnTo>
                <a:close/>
                <a:moveTo>
                  <a:pt x="2016" y="1095"/>
                </a:moveTo>
                <a:lnTo>
                  <a:pt x="2019" y="1095"/>
                </a:lnTo>
                <a:lnTo>
                  <a:pt x="2021" y="1096"/>
                </a:lnTo>
                <a:lnTo>
                  <a:pt x="2023" y="1097"/>
                </a:lnTo>
                <a:lnTo>
                  <a:pt x="2025" y="1099"/>
                </a:lnTo>
                <a:lnTo>
                  <a:pt x="2026" y="1100"/>
                </a:lnTo>
                <a:lnTo>
                  <a:pt x="2028" y="1102"/>
                </a:lnTo>
                <a:lnTo>
                  <a:pt x="2028" y="1105"/>
                </a:lnTo>
                <a:lnTo>
                  <a:pt x="2029" y="1107"/>
                </a:lnTo>
                <a:lnTo>
                  <a:pt x="2029" y="1109"/>
                </a:lnTo>
                <a:lnTo>
                  <a:pt x="2028" y="1112"/>
                </a:lnTo>
                <a:lnTo>
                  <a:pt x="2027" y="1114"/>
                </a:lnTo>
                <a:lnTo>
                  <a:pt x="2025" y="1116"/>
                </a:lnTo>
                <a:lnTo>
                  <a:pt x="2024" y="1117"/>
                </a:lnTo>
                <a:lnTo>
                  <a:pt x="2022" y="1119"/>
                </a:lnTo>
                <a:lnTo>
                  <a:pt x="2019" y="1119"/>
                </a:lnTo>
                <a:lnTo>
                  <a:pt x="2017" y="1120"/>
                </a:lnTo>
                <a:lnTo>
                  <a:pt x="2014" y="1120"/>
                </a:lnTo>
                <a:lnTo>
                  <a:pt x="2012" y="1119"/>
                </a:lnTo>
                <a:lnTo>
                  <a:pt x="2010" y="1118"/>
                </a:lnTo>
                <a:lnTo>
                  <a:pt x="2008" y="1116"/>
                </a:lnTo>
                <a:lnTo>
                  <a:pt x="2006" y="1115"/>
                </a:lnTo>
                <a:lnTo>
                  <a:pt x="2004" y="1113"/>
                </a:lnTo>
                <a:lnTo>
                  <a:pt x="2003" y="1110"/>
                </a:lnTo>
                <a:lnTo>
                  <a:pt x="2003" y="1108"/>
                </a:lnTo>
                <a:lnTo>
                  <a:pt x="2003" y="1105"/>
                </a:lnTo>
                <a:lnTo>
                  <a:pt x="2004" y="1103"/>
                </a:lnTo>
                <a:lnTo>
                  <a:pt x="2006" y="1101"/>
                </a:lnTo>
                <a:lnTo>
                  <a:pt x="2007" y="1099"/>
                </a:lnTo>
                <a:lnTo>
                  <a:pt x="2009" y="1098"/>
                </a:lnTo>
                <a:lnTo>
                  <a:pt x="2011" y="1096"/>
                </a:lnTo>
                <a:lnTo>
                  <a:pt x="2013" y="1096"/>
                </a:lnTo>
                <a:lnTo>
                  <a:pt x="2016" y="1095"/>
                </a:lnTo>
                <a:close/>
                <a:moveTo>
                  <a:pt x="1872" y="1091"/>
                </a:moveTo>
                <a:lnTo>
                  <a:pt x="1874" y="1092"/>
                </a:lnTo>
                <a:lnTo>
                  <a:pt x="1877" y="1093"/>
                </a:lnTo>
                <a:lnTo>
                  <a:pt x="1879" y="1094"/>
                </a:lnTo>
                <a:lnTo>
                  <a:pt x="1881" y="1096"/>
                </a:lnTo>
                <a:lnTo>
                  <a:pt x="1882" y="1098"/>
                </a:lnTo>
                <a:lnTo>
                  <a:pt x="1883" y="1100"/>
                </a:lnTo>
                <a:lnTo>
                  <a:pt x="1884" y="1102"/>
                </a:lnTo>
                <a:lnTo>
                  <a:pt x="1884" y="1105"/>
                </a:lnTo>
                <a:lnTo>
                  <a:pt x="1883" y="1107"/>
                </a:lnTo>
                <a:lnTo>
                  <a:pt x="1883" y="1109"/>
                </a:lnTo>
                <a:lnTo>
                  <a:pt x="1881" y="1111"/>
                </a:lnTo>
                <a:lnTo>
                  <a:pt x="1880" y="1113"/>
                </a:lnTo>
                <a:lnTo>
                  <a:pt x="1878" y="1114"/>
                </a:lnTo>
                <a:lnTo>
                  <a:pt x="1876" y="1115"/>
                </a:lnTo>
                <a:lnTo>
                  <a:pt x="1872" y="1116"/>
                </a:lnTo>
                <a:lnTo>
                  <a:pt x="1869" y="1115"/>
                </a:lnTo>
                <a:lnTo>
                  <a:pt x="1866" y="1115"/>
                </a:lnTo>
                <a:lnTo>
                  <a:pt x="1864" y="1113"/>
                </a:lnTo>
                <a:lnTo>
                  <a:pt x="1862" y="1112"/>
                </a:lnTo>
                <a:lnTo>
                  <a:pt x="1861" y="1110"/>
                </a:lnTo>
                <a:lnTo>
                  <a:pt x="1860" y="1107"/>
                </a:lnTo>
                <a:lnTo>
                  <a:pt x="1859" y="1105"/>
                </a:lnTo>
                <a:lnTo>
                  <a:pt x="1859" y="1103"/>
                </a:lnTo>
                <a:lnTo>
                  <a:pt x="1860" y="1100"/>
                </a:lnTo>
                <a:lnTo>
                  <a:pt x="1861" y="1098"/>
                </a:lnTo>
                <a:lnTo>
                  <a:pt x="1862" y="1096"/>
                </a:lnTo>
                <a:lnTo>
                  <a:pt x="1863" y="1095"/>
                </a:lnTo>
                <a:lnTo>
                  <a:pt x="1865" y="1093"/>
                </a:lnTo>
                <a:lnTo>
                  <a:pt x="1867" y="1092"/>
                </a:lnTo>
                <a:lnTo>
                  <a:pt x="1872" y="1091"/>
                </a:lnTo>
                <a:close/>
                <a:moveTo>
                  <a:pt x="2160" y="1080"/>
                </a:moveTo>
                <a:lnTo>
                  <a:pt x="2164" y="1081"/>
                </a:lnTo>
                <a:lnTo>
                  <a:pt x="2167" y="1083"/>
                </a:lnTo>
                <a:lnTo>
                  <a:pt x="2170" y="1086"/>
                </a:lnTo>
                <a:lnTo>
                  <a:pt x="2171" y="1088"/>
                </a:lnTo>
                <a:lnTo>
                  <a:pt x="2172" y="1090"/>
                </a:lnTo>
                <a:lnTo>
                  <a:pt x="2172" y="1093"/>
                </a:lnTo>
                <a:lnTo>
                  <a:pt x="2171" y="1095"/>
                </a:lnTo>
                <a:lnTo>
                  <a:pt x="2171" y="1097"/>
                </a:lnTo>
                <a:lnTo>
                  <a:pt x="2170" y="1099"/>
                </a:lnTo>
                <a:lnTo>
                  <a:pt x="2168" y="1101"/>
                </a:lnTo>
                <a:lnTo>
                  <a:pt x="2166" y="1103"/>
                </a:lnTo>
                <a:lnTo>
                  <a:pt x="2164" y="1104"/>
                </a:lnTo>
                <a:lnTo>
                  <a:pt x="2162" y="1104"/>
                </a:lnTo>
                <a:lnTo>
                  <a:pt x="2159" y="1105"/>
                </a:lnTo>
                <a:lnTo>
                  <a:pt x="2155" y="1104"/>
                </a:lnTo>
                <a:lnTo>
                  <a:pt x="2152" y="1102"/>
                </a:lnTo>
                <a:lnTo>
                  <a:pt x="2149" y="1099"/>
                </a:lnTo>
                <a:lnTo>
                  <a:pt x="2148" y="1097"/>
                </a:lnTo>
                <a:lnTo>
                  <a:pt x="2147" y="1094"/>
                </a:lnTo>
                <a:lnTo>
                  <a:pt x="2147" y="1092"/>
                </a:lnTo>
                <a:lnTo>
                  <a:pt x="2148" y="1090"/>
                </a:lnTo>
                <a:lnTo>
                  <a:pt x="2148" y="1087"/>
                </a:lnTo>
                <a:lnTo>
                  <a:pt x="2149" y="1085"/>
                </a:lnTo>
                <a:lnTo>
                  <a:pt x="2151" y="1083"/>
                </a:lnTo>
                <a:lnTo>
                  <a:pt x="2153" y="1082"/>
                </a:lnTo>
                <a:lnTo>
                  <a:pt x="2155" y="1081"/>
                </a:lnTo>
                <a:lnTo>
                  <a:pt x="2157" y="1080"/>
                </a:lnTo>
                <a:lnTo>
                  <a:pt x="2160" y="1080"/>
                </a:lnTo>
                <a:close/>
                <a:moveTo>
                  <a:pt x="1730" y="1069"/>
                </a:moveTo>
                <a:lnTo>
                  <a:pt x="1732" y="1069"/>
                </a:lnTo>
                <a:lnTo>
                  <a:pt x="1735" y="1070"/>
                </a:lnTo>
                <a:lnTo>
                  <a:pt x="1737" y="1071"/>
                </a:lnTo>
                <a:lnTo>
                  <a:pt x="1739" y="1073"/>
                </a:lnTo>
                <a:lnTo>
                  <a:pt x="1740" y="1074"/>
                </a:lnTo>
                <a:lnTo>
                  <a:pt x="1741" y="1076"/>
                </a:lnTo>
                <a:lnTo>
                  <a:pt x="1742" y="1079"/>
                </a:lnTo>
                <a:lnTo>
                  <a:pt x="1742" y="1084"/>
                </a:lnTo>
                <a:lnTo>
                  <a:pt x="1741" y="1086"/>
                </a:lnTo>
                <a:lnTo>
                  <a:pt x="1740" y="1088"/>
                </a:lnTo>
                <a:lnTo>
                  <a:pt x="1739" y="1089"/>
                </a:lnTo>
                <a:lnTo>
                  <a:pt x="1737" y="1091"/>
                </a:lnTo>
                <a:lnTo>
                  <a:pt x="1734" y="1093"/>
                </a:lnTo>
                <a:lnTo>
                  <a:pt x="1730" y="1093"/>
                </a:lnTo>
                <a:lnTo>
                  <a:pt x="1727" y="1093"/>
                </a:lnTo>
                <a:lnTo>
                  <a:pt x="1725" y="1092"/>
                </a:lnTo>
                <a:lnTo>
                  <a:pt x="1723" y="1091"/>
                </a:lnTo>
                <a:lnTo>
                  <a:pt x="1721" y="1089"/>
                </a:lnTo>
                <a:lnTo>
                  <a:pt x="1719" y="1087"/>
                </a:lnTo>
                <a:lnTo>
                  <a:pt x="1718" y="1085"/>
                </a:lnTo>
                <a:lnTo>
                  <a:pt x="1718" y="1083"/>
                </a:lnTo>
                <a:lnTo>
                  <a:pt x="1718" y="1078"/>
                </a:lnTo>
                <a:lnTo>
                  <a:pt x="1718" y="1076"/>
                </a:lnTo>
                <a:lnTo>
                  <a:pt x="1719" y="1074"/>
                </a:lnTo>
                <a:lnTo>
                  <a:pt x="1721" y="1073"/>
                </a:lnTo>
                <a:lnTo>
                  <a:pt x="1722" y="1071"/>
                </a:lnTo>
                <a:lnTo>
                  <a:pt x="1726" y="1069"/>
                </a:lnTo>
                <a:lnTo>
                  <a:pt x="1730" y="1069"/>
                </a:lnTo>
                <a:close/>
                <a:moveTo>
                  <a:pt x="2300" y="1047"/>
                </a:moveTo>
                <a:lnTo>
                  <a:pt x="2303" y="1048"/>
                </a:lnTo>
                <a:lnTo>
                  <a:pt x="2307" y="1049"/>
                </a:lnTo>
                <a:lnTo>
                  <a:pt x="2310" y="1052"/>
                </a:lnTo>
                <a:lnTo>
                  <a:pt x="2311" y="1056"/>
                </a:lnTo>
                <a:lnTo>
                  <a:pt x="2312" y="1058"/>
                </a:lnTo>
                <a:lnTo>
                  <a:pt x="2312" y="1061"/>
                </a:lnTo>
                <a:lnTo>
                  <a:pt x="2310" y="1065"/>
                </a:lnTo>
                <a:lnTo>
                  <a:pt x="2309" y="1067"/>
                </a:lnTo>
                <a:lnTo>
                  <a:pt x="2307" y="1069"/>
                </a:lnTo>
                <a:lnTo>
                  <a:pt x="2305" y="1070"/>
                </a:lnTo>
                <a:lnTo>
                  <a:pt x="2303" y="1071"/>
                </a:lnTo>
                <a:lnTo>
                  <a:pt x="2300" y="1072"/>
                </a:lnTo>
                <a:lnTo>
                  <a:pt x="2296" y="1071"/>
                </a:lnTo>
                <a:lnTo>
                  <a:pt x="2292" y="1069"/>
                </a:lnTo>
                <a:lnTo>
                  <a:pt x="2290" y="1067"/>
                </a:lnTo>
                <a:lnTo>
                  <a:pt x="2288" y="1063"/>
                </a:lnTo>
                <a:lnTo>
                  <a:pt x="2287" y="1060"/>
                </a:lnTo>
                <a:lnTo>
                  <a:pt x="2287" y="1058"/>
                </a:lnTo>
                <a:lnTo>
                  <a:pt x="2289" y="1054"/>
                </a:lnTo>
                <a:lnTo>
                  <a:pt x="2290" y="1052"/>
                </a:lnTo>
                <a:lnTo>
                  <a:pt x="2292" y="1050"/>
                </a:lnTo>
                <a:lnTo>
                  <a:pt x="2294" y="1049"/>
                </a:lnTo>
                <a:lnTo>
                  <a:pt x="2296" y="1048"/>
                </a:lnTo>
                <a:lnTo>
                  <a:pt x="2300" y="1047"/>
                </a:lnTo>
                <a:close/>
                <a:moveTo>
                  <a:pt x="1592" y="1028"/>
                </a:moveTo>
                <a:lnTo>
                  <a:pt x="1596" y="1029"/>
                </a:lnTo>
                <a:lnTo>
                  <a:pt x="1598" y="1030"/>
                </a:lnTo>
                <a:lnTo>
                  <a:pt x="1600" y="1031"/>
                </a:lnTo>
                <a:lnTo>
                  <a:pt x="1602" y="1033"/>
                </a:lnTo>
                <a:lnTo>
                  <a:pt x="1603" y="1035"/>
                </a:lnTo>
                <a:lnTo>
                  <a:pt x="1604" y="1038"/>
                </a:lnTo>
                <a:lnTo>
                  <a:pt x="1604" y="1040"/>
                </a:lnTo>
                <a:lnTo>
                  <a:pt x="1603" y="1045"/>
                </a:lnTo>
                <a:lnTo>
                  <a:pt x="1601" y="1048"/>
                </a:lnTo>
                <a:lnTo>
                  <a:pt x="1599" y="1051"/>
                </a:lnTo>
                <a:lnTo>
                  <a:pt x="1595" y="1052"/>
                </a:lnTo>
                <a:lnTo>
                  <a:pt x="1592" y="1053"/>
                </a:lnTo>
                <a:lnTo>
                  <a:pt x="1588" y="1052"/>
                </a:lnTo>
                <a:lnTo>
                  <a:pt x="1585" y="1051"/>
                </a:lnTo>
                <a:lnTo>
                  <a:pt x="1583" y="1050"/>
                </a:lnTo>
                <a:lnTo>
                  <a:pt x="1582" y="1048"/>
                </a:lnTo>
                <a:lnTo>
                  <a:pt x="1581" y="1046"/>
                </a:lnTo>
                <a:lnTo>
                  <a:pt x="1580" y="1044"/>
                </a:lnTo>
                <a:lnTo>
                  <a:pt x="1579" y="1041"/>
                </a:lnTo>
                <a:lnTo>
                  <a:pt x="1580" y="1036"/>
                </a:lnTo>
                <a:lnTo>
                  <a:pt x="1582" y="1033"/>
                </a:lnTo>
                <a:lnTo>
                  <a:pt x="1585" y="1030"/>
                </a:lnTo>
                <a:lnTo>
                  <a:pt x="1588" y="1029"/>
                </a:lnTo>
                <a:lnTo>
                  <a:pt x="1592" y="1028"/>
                </a:lnTo>
                <a:close/>
                <a:moveTo>
                  <a:pt x="2435" y="998"/>
                </a:moveTo>
                <a:lnTo>
                  <a:pt x="2439" y="999"/>
                </a:lnTo>
                <a:lnTo>
                  <a:pt x="2440" y="1000"/>
                </a:lnTo>
                <a:lnTo>
                  <a:pt x="2442" y="1000"/>
                </a:lnTo>
                <a:lnTo>
                  <a:pt x="2444" y="1003"/>
                </a:lnTo>
                <a:lnTo>
                  <a:pt x="2446" y="1006"/>
                </a:lnTo>
                <a:lnTo>
                  <a:pt x="2447" y="1008"/>
                </a:lnTo>
                <a:lnTo>
                  <a:pt x="2447" y="1011"/>
                </a:lnTo>
                <a:lnTo>
                  <a:pt x="2447" y="1013"/>
                </a:lnTo>
                <a:lnTo>
                  <a:pt x="2446" y="1015"/>
                </a:lnTo>
                <a:lnTo>
                  <a:pt x="2445" y="1018"/>
                </a:lnTo>
                <a:lnTo>
                  <a:pt x="2444" y="1019"/>
                </a:lnTo>
                <a:lnTo>
                  <a:pt x="2442" y="1021"/>
                </a:lnTo>
                <a:lnTo>
                  <a:pt x="2440" y="1022"/>
                </a:lnTo>
                <a:lnTo>
                  <a:pt x="2437" y="1023"/>
                </a:lnTo>
                <a:lnTo>
                  <a:pt x="2435" y="1023"/>
                </a:lnTo>
                <a:lnTo>
                  <a:pt x="2431" y="1023"/>
                </a:lnTo>
                <a:lnTo>
                  <a:pt x="2430" y="1022"/>
                </a:lnTo>
                <a:lnTo>
                  <a:pt x="2428" y="1021"/>
                </a:lnTo>
                <a:lnTo>
                  <a:pt x="2426" y="1019"/>
                </a:lnTo>
                <a:lnTo>
                  <a:pt x="2424" y="1016"/>
                </a:lnTo>
                <a:lnTo>
                  <a:pt x="2423" y="1013"/>
                </a:lnTo>
                <a:lnTo>
                  <a:pt x="2423" y="1011"/>
                </a:lnTo>
                <a:lnTo>
                  <a:pt x="2423" y="1008"/>
                </a:lnTo>
                <a:lnTo>
                  <a:pt x="2424" y="1006"/>
                </a:lnTo>
                <a:lnTo>
                  <a:pt x="2425" y="1004"/>
                </a:lnTo>
                <a:lnTo>
                  <a:pt x="2426" y="1002"/>
                </a:lnTo>
                <a:lnTo>
                  <a:pt x="2428" y="1001"/>
                </a:lnTo>
                <a:lnTo>
                  <a:pt x="2430" y="999"/>
                </a:lnTo>
                <a:lnTo>
                  <a:pt x="2433" y="999"/>
                </a:lnTo>
                <a:lnTo>
                  <a:pt x="2435" y="998"/>
                </a:lnTo>
                <a:close/>
                <a:moveTo>
                  <a:pt x="1459" y="971"/>
                </a:moveTo>
                <a:lnTo>
                  <a:pt x="1462" y="972"/>
                </a:lnTo>
                <a:lnTo>
                  <a:pt x="1465" y="972"/>
                </a:lnTo>
                <a:lnTo>
                  <a:pt x="1467" y="974"/>
                </a:lnTo>
                <a:lnTo>
                  <a:pt x="1469" y="975"/>
                </a:lnTo>
                <a:lnTo>
                  <a:pt x="1470" y="977"/>
                </a:lnTo>
                <a:lnTo>
                  <a:pt x="1471" y="980"/>
                </a:lnTo>
                <a:lnTo>
                  <a:pt x="1471" y="982"/>
                </a:lnTo>
                <a:lnTo>
                  <a:pt x="1472" y="984"/>
                </a:lnTo>
                <a:lnTo>
                  <a:pt x="1471" y="987"/>
                </a:lnTo>
                <a:lnTo>
                  <a:pt x="1470" y="989"/>
                </a:lnTo>
                <a:lnTo>
                  <a:pt x="1468" y="992"/>
                </a:lnTo>
                <a:lnTo>
                  <a:pt x="1466" y="994"/>
                </a:lnTo>
                <a:lnTo>
                  <a:pt x="1463" y="995"/>
                </a:lnTo>
                <a:lnTo>
                  <a:pt x="1459" y="997"/>
                </a:lnTo>
                <a:lnTo>
                  <a:pt x="1457" y="997"/>
                </a:lnTo>
                <a:lnTo>
                  <a:pt x="1454" y="995"/>
                </a:lnTo>
                <a:lnTo>
                  <a:pt x="1452" y="993"/>
                </a:lnTo>
                <a:lnTo>
                  <a:pt x="1450" y="992"/>
                </a:lnTo>
                <a:lnTo>
                  <a:pt x="1449" y="990"/>
                </a:lnTo>
                <a:lnTo>
                  <a:pt x="1448" y="988"/>
                </a:lnTo>
                <a:lnTo>
                  <a:pt x="1447" y="985"/>
                </a:lnTo>
                <a:lnTo>
                  <a:pt x="1447" y="983"/>
                </a:lnTo>
                <a:lnTo>
                  <a:pt x="1447" y="981"/>
                </a:lnTo>
                <a:lnTo>
                  <a:pt x="1448" y="978"/>
                </a:lnTo>
                <a:lnTo>
                  <a:pt x="1450" y="975"/>
                </a:lnTo>
                <a:lnTo>
                  <a:pt x="1453" y="973"/>
                </a:lnTo>
                <a:lnTo>
                  <a:pt x="1456" y="972"/>
                </a:lnTo>
                <a:lnTo>
                  <a:pt x="1459" y="971"/>
                </a:lnTo>
                <a:close/>
                <a:moveTo>
                  <a:pt x="2565" y="935"/>
                </a:moveTo>
                <a:lnTo>
                  <a:pt x="2568" y="936"/>
                </a:lnTo>
                <a:lnTo>
                  <a:pt x="2571" y="937"/>
                </a:lnTo>
                <a:lnTo>
                  <a:pt x="2574" y="939"/>
                </a:lnTo>
                <a:lnTo>
                  <a:pt x="2576" y="942"/>
                </a:lnTo>
                <a:lnTo>
                  <a:pt x="2577" y="944"/>
                </a:lnTo>
                <a:lnTo>
                  <a:pt x="2577" y="947"/>
                </a:lnTo>
                <a:lnTo>
                  <a:pt x="2577" y="949"/>
                </a:lnTo>
                <a:lnTo>
                  <a:pt x="2577" y="951"/>
                </a:lnTo>
                <a:lnTo>
                  <a:pt x="2576" y="953"/>
                </a:lnTo>
                <a:lnTo>
                  <a:pt x="2574" y="955"/>
                </a:lnTo>
                <a:lnTo>
                  <a:pt x="2573" y="957"/>
                </a:lnTo>
                <a:lnTo>
                  <a:pt x="2571" y="959"/>
                </a:lnTo>
                <a:lnTo>
                  <a:pt x="2568" y="960"/>
                </a:lnTo>
                <a:lnTo>
                  <a:pt x="2565" y="960"/>
                </a:lnTo>
                <a:lnTo>
                  <a:pt x="2562" y="960"/>
                </a:lnTo>
                <a:lnTo>
                  <a:pt x="2559" y="958"/>
                </a:lnTo>
                <a:lnTo>
                  <a:pt x="2556" y="956"/>
                </a:lnTo>
                <a:lnTo>
                  <a:pt x="2554" y="954"/>
                </a:lnTo>
                <a:lnTo>
                  <a:pt x="2553" y="951"/>
                </a:lnTo>
                <a:lnTo>
                  <a:pt x="2553" y="949"/>
                </a:lnTo>
                <a:lnTo>
                  <a:pt x="2553" y="946"/>
                </a:lnTo>
                <a:lnTo>
                  <a:pt x="2553" y="944"/>
                </a:lnTo>
                <a:lnTo>
                  <a:pt x="2554" y="942"/>
                </a:lnTo>
                <a:lnTo>
                  <a:pt x="2555" y="940"/>
                </a:lnTo>
                <a:lnTo>
                  <a:pt x="2557" y="938"/>
                </a:lnTo>
                <a:lnTo>
                  <a:pt x="2559" y="937"/>
                </a:lnTo>
                <a:lnTo>
                  <a:pt x="2562" y="936"/>
                </a:lnTo>
                <a:lnTo>
                  <a:pt x="2565" y="935"/>
                </a:lnTo>
                <a:close/>
                <a:moveTo>
                  <a:pt x="1333" y="902"/>
                </a:moveTo>
                <a:lnTo>
                  <a:pt x="1336" y="903"/>
                </a:lnTo>
                <a:lnTo>
                  <a:pt x="1339" y="904"/>
                </a:lnTo>
                <a:lnTo>
                  <a:pt x="1341" y="905"/>
                </a:lnTo>
                <a:lnTo>
                  <a:pt x="1343" y="907"/>
                </a:lnTo>
                <a:lnTo>
                  <a:pt x="1344" y="909"/>
                </a:lnTo>
                <a:lnTo>
                  <a:pt x="1345" y="911"/>
                </a:lnTo>
                <a:lnTo>
                  <a:pt x="1345" y="914"/>
                </a:lnTo>
                <a:lnTo>
                  <a:pt x="1345" y="916"/>
                </a:lnTo>
                <a:lnTo>
                  <a:pt x="1345" y="919"/>
                </a:lnTo>
                <a:lnTo>
                  <a:pt x="1344" y="921"/>
                </a:lnTo>
                <a:lnTo>
                  <a:pt x="1342" y="923"/>
                </a:lnTo>
                <a:lnTo>
                  <a:pt x="1339" y="925"/>
                </a:lnTo>
                <a:lnTo>
                  <a:pt x="1336" y="926"/>
                </a:lnTo>
                <a:lnTo>
                  <a:pt x="1333" y="927"/>
                </a:lnTo>
                <a:lnTo>
                  <a:pt x="1330" y="926"/>
                </a:lnTo>
                <a:lnTo>
                  <a:pt x="1327" y="925"/>
                </a:lnTo>
                <a:lnTo>
                  <a:pt x="1325" y="923"/>
                </a:lnTo>
                <a:lnTo>
                  <a:pt x="1323" y="922"/>
                </a:lnTo>
                <a:lnTo>
                  <a:pt x="1322" y="920"/>
                </a:lnTo>
                <a:lnTo>
                  <a:pt x="1321" y="917"/>
                </a:lnTo>
                <a:lnTo>
                  <a:pt x="1321" y="915"/>
                </a:lnTo>
                <a:lnTo>
                  <a:pt x="1321" y="913"/>
                </a:lnTo>
                <a:lnTo>
                  <a:pt x="1321" y="910"/>
                </a:lnTo>
                <a:lnTo>
                  <a:pt x="1323" y="908"/>
                </a:lnTo>
                <a:lnTo>
                  <a:pt x="1325" y="905"/>
                </a:lnTo>
                <a:lnTo>
                  <a:pt x="1327" y="904"/>
                </a:lnTo>
                <a:lnTo>
                  <a:pt x="1330" y="902"/>
                </a:lnTo>
                <a:lnTo>
                  <a:pt x="1333" y="902"/>
                </a:lnTo>
                <a:close/>
                <a:moveTo>
                  <a:pt x="1213" y="822"/>
                </a:moveTo>
                <a:lnTo>
                  <a:pt x="1217" y="823"/>
                </a:lnTo>
                <a:lnTo>
                  <a:pt x="1221" y="824"/>
                </a:lnTo>
                <a:lnTo>
                  <a:pt x="1223" y="826"/>
                </a:lnTo>
                <a:lnTo>
                  <a:pt x="1224" y="828"/>
                </a:lnTo>
                <a:lnTo>
                  <a:pt x="1225" y="830"/>
                </a:lnTo>
                <a:lnTo>
                  <a:pt x="1226" y="832"/>
                </a:lnTo>
                <a:lnTo>
                  <a:pt x="1226" y="835"/>
                </a:lnTo>
                <a:lnTo>
                  <a:pt x="1225" y="837"/>
                </a:lnTo>
                <a:lnTo>
                  <a:pt x="1225" y="839"/>
                </a:lnTo>
                <a:lnTo>
                  <a:pt x="1223" y="842"/>
                </a:lnTo>
                <a:lnTo>
                  <a:pt x="1221" y="844"/>
                </a:lnTo>
                <a:lnTo>
                  <a:pt x="1220" y="845"/>
                </a:lnTo>
                <a:lnTo>
                  <a:pt x="1219" y="845"/>
                </a:lnTo>
                <a:lnTo>
                  <a:pt x="1216" y="846"/>
                </a:lnTo>
                <a:lnTo>
                  <a:pt x="1213" y="847"/>
                </a:lnTo>
                <a:lnTo>
                  <a:pt x="1210" y="846"/>
                </a:lnTo>
                <a:lnTo>
                  <a:pt x="1206" y="844"/>
                </a:lnTo>
                <a:lnTo>
                  <a:pt x="1204" y="843"/>
                </a:lnTo>
                <a:lnTo>
                  <a:pt x="1203" y="841"/>
                </a:lnTo>
                <a:lnTo>
                  <a:pt x="1202" y="839"/>
                </a:lnTo>
                <a:lnTo>
                  <a:pt x="1201" y="836"/>
                </a:lnTo>
                <a:lnTo>
                  <a:pt x="1201" y="834"/>
                </a:lnTo>
                <a:lnTo>
                  <a:pt x="1201" y="832"/>
                </a:lnTo>
                <a:lnTo>
                  <a:pt x="1202" y="829"/>
                </a:lnTo>
                <a:lnTo>
                  <a:pt x="1203" y="827"/>
                </a:lnTo>
                <a:lnTo>
                  <a:pt x="1206" y="825"/>
                </a:lnTo>
                <a:lnTo>
                  <a:pt x="1207" y="824"/>
                </a:lnTo>
                <a:lnTo>
                  <a:pt x="1208" y="823"/>
                </a:lnTo>
                <a:lnTo>
                  <a:pt x="1211" y="822"/>
                </a:lnTo>
                <a:lnTo>
                  <a:pt x="1213" y="822"/>
                </a:lnTo>
                <a:close/>
                <a:moveTo>
                  <a:pt x="1100" y="733"/>
                </a:moveTo>
                <a:lnTo>
                  <a:pt x="1104" y="734"/>
                </a:lnTo>
                <a:lnTo>
                  <a:pt x="1108" y="736"/>
                </a:lnTo>
                <a:lnTo>
                  <a:pt x="1110" y="738"/>
                </a:lnTo>
                <a:lnTo>
                  <a:pt x="1111" y="740"/>
                </a:lnTo>
                <a:lnTo>
                  <a:pt x="1112" y="742"/>
                </a:lnTo>
                <a:lnTo>
                  <a:pt x="1112" y="744"/>
                </a:lnTo>
                <a:lnTo>
                  <a:pt x="1112" y="747"/>
                </a:lnTo>
                <a:lnTo>
                  <a:pt x="1112" y="749"/>
                </a:lnTo>
                <a:lnTo>
                  <a:pt x="1111" y="751"/>
                </a:lnTo>
                <a:lnTo>
                  <a:pt x="1110" y="752"/>
                </a:lnTo>
                <a:lnTo>
                  <a:pt x="1110" y="753"/>
                </a:lnTo>
                <a:lnTo>
                  <a:pt x="1108" y="755"/>
                </a:lnTo>
                <a:lnTo>
                  <a:pt x="1105" y="757"/>
                </a:lnTo>
                <a:lnTo>
                  <a:pt x="1103" y="757"/>
                </a:lnTo>
                <a:lnTo>
                  <a:pt x="1100" y="758"/>
                </a:lnTo>
                <a:lnTo>
                  <a:pt x="1096" y="757"/>
                </a:lnTo>
                <a:lnTo>
                  <a:pt x="1092" y="755"/>
                </a:lnTo>
                <a:lnTo>
                  <a:pt x="1091" y="753"/>
                </a:lnTo>
                <a:lnTo>
                  <a:pt x="1089" y="751"/>
                </a:lnTo>
                <a:lnTo>
                  <a:pt x="1088" y="749"/>
                </a:lnTo>
                <a:lnTo>
                  <a:pt x="1088" y="746"/>
                </a:lnTo>
                <a:lnTo>
                  <a:pt x="1088" y="744"/>
                </a:lnTo>
                <a:lnTo>
                  <a:pt x="1088" y="742"/>
                </a:lnTo>
                <a:lnTo>
                  <a:pt x="1089" y="740"/>
                </a:lnTo>
                <a:lnTo>
                  <a:pt x="1090" y="738"/>
                </a:lnTo>
                <a:lnTo>
                  <a:pt x="1091" y="737"/>
                </a:lnTo>
                <a:lnTo>
                  <a:pt x="1093" y="736"/>
                </a:lnTo>
                <a:lnTo>
                  <a:pt x="1095" y="734"/>
                </a:lnTo>
                <a:lnTo>
                  <a:pt x="1098" y="733"/>
                </a:lnTo>
                <a:lnTo>
                  <a:pt x="1100" y="733"/>
                </a:lnTo>
                <a:close/>
                <a:moveTo>
                  <a:pt x="993" y="637"/>
                </a:moveTo>
                <a:lnTo>
                  <a:pt x="997" y="638"/>
                </a:lnTo>
                <a:lnTo>
                  <a:pt x="1000" y="639"/>
                </a:lnTo>
                <a:lnTo>
                  <a:pt x="1001" y="640"/>
                </a:lnTo>
                <a:lnTo>
                  <a:pt x="1003" y="642"/>
                </a:lnTo>
                <a:lnTo>
                  <a:pt x="1004" y="644"/>
                </a:lnTo>
                <a:lnTo>
                  <a:pt x="1005" y="647"/>
                </a:lnTo>
                <a:lnTo>
                  <a:pt x="1005" y="649"/>
                </a:lnTo>
                <a:lnTo>
                  <a:pt x="1004" y="654"/>
                </a:lnTo>
                <a:lnTo>
                  <a:pt x="1003" y="656"/>
                </a:lnTo>
                <a:lnTo>
                  <a:pt x="1002" y="658"/>
                </a:lnTo>
                <a:lnTo>
                  <a:pt x="1000" y="659"/>
                </a:lnTo>
                <a:lnTo>
                  <a:pt x="998" y="661"/>
                </a:lnTo>
                <a:lnTo>
                  <a:pt x="995" y="661"/>
                </a:lnTo>
                <a:lnTo>
                  <a:pt x="993" y="662"/>
                </a:lnTo>
                <a:lnTo>
                  <a:pt x="988" y="661"/>
                </a:lnTo>
                <a:lnTo>
                  <a:pt x="986" y="660"/>
                </a:lnTo>
                <a:lnTo>
                  <a:pt x="984" y="658"/>
                </a:lnTo>
                <a:lnTo>
                  <a:pt x="983" y="656"/>
                </a:lnTo>
                <a:lnTo>
                  <a:pt x="982" y="654"/>
                </a:lnTo>
                <a:lnTo>
                  <a:pt x="981" y="652"/>
                </a:lnTo>
                <a:lnTo>
                  <a:pt x="981" y="650"/>
                </a:lnTo>
                <a:lnTo>
                  <a:pt x="981" y="645"/>
                </a:lnTo>
                <a:lnTo>
                  <a:pt x="982" y="643"/>
                </a:lnTo>
                <a:lnTo>
                  <a:pt x="984" y="641"/>
                </a:lnTo>
                <a:lnTo>
                  <a:pt x="986" y="639"/>
                </a:lnTo>
                <a:lnTo>
                  <a:pt x="988" y="638"/>
                </a:lnTo>
                <a:lnTo>
                  <a:pt x="991" y="637"/>
                </a:lnTo>
                <a:lnTo>
                  <a:pt x="993" y="637"/>
                </a:lnTo>
                <a:close/>
                <a:moveTo>
                  <a:pt x="891" y="535"/>
                </a:moveTo>
                <a:lnTo>
                  <a:pt x="894" y="535"/>
                </a:lnTo>
                <a:lnTo>
                  <a:pt x="896" y="536"/>
                </a:lnTo>
                <a:lnTo>
                  <a:pt x="898" y="537"/>
                </a:lnTo>
                <a:lnTo>
                  <a:pt x="900" y="539"/>
                </a:lnTo>
                <a:lnTo>
                  <a:pt x="902" y="541"/>
                </a:lnTo>
                <a:lnTo>
                  <a:pt x="903" y="543"/>
                </a:lnTo>
                <a:lnTo>
                  <a:pt x="903" y="545"/>
                </a:lnTo>
                <a:lnTo>
                  <a:pt x="903" y="548"/>
                </a:lnTo>
                <a:lnTo>
                  <a:pt x="903" y="550"/>
                </a:lnTo>
                <a:lnTo>
                  <a:pt x="902" y="552"/>
                </a:lnTo>
                <a:lnTo>
                  <a:pt x="901" y="554"/>
                </a:lnTo>
                <a:lnTo>
                  <a:pt x="900" y="556"/>
                </a:lnTo>
                <a:lnTo>
                  <a:pt x="898" y="558"/>
                </a:lnTo>
                <a:lnTo>
                  <a:pt x="896" y="559"/>
                </a:lnTo>
                <a:lnTo>
                  <a:pt x="891" y="560"/>
                </a:lnTo>
                <a:lnTo>
                  <a:pt x="889" y="559"/>
                </a:lnTo>
                <a:lnTo>
                  <a:pt x="886" y="559"/>
                </a:lnTo>
                <a:lnTo>
                  <a:pt x="884" y="558"/>
                </a:lnTo>
                <a:lnTo>
                  <a:pt x="882" y="556"/>
                </a:lnTo>
                <a:lnTo>
                  <a:pt x="881" y="554"/>
                </a:lnTo>
                <a:lnTo>
                  <a:pt x="880" y="552"/>
                </a:lnTo>
                <a:lnTo>
                  <a:pt x="879" y="549"/>
                </a:lnTo>
                <a:lnTo>
                  <a:pt x="879" y="547"/>
                </a:lnTo>
                <a:lnTo>
                  <a:pt x="879" y="545"/>
                </a:lnTo>
                <a:lnTo>
                  <a:pt x="880" y="542"/>
                </a:lnTo>
                <a:lnTo>
                  <a:pt x="881" y="540"/>
                </a:lnTo>
                <a:lnTo>
                  <a:pt x="883" y="538"/>
                </a:lnTo>
                <a:lnTo>
                  <a:pt x="885" y="537"/>
                </a:lnTo>
                <a:lnTo>
                  <a:pt x="887" y="536"/>
                </a:lnTo>
                <a:lnTo>
                  <a:pt x="891" y="535"/>
                </a:lnTo>
                <a:close/>
                <a:moveTo>
                  <a:pt x="794" y="428"/>
                </a:moveTo>
                <a:lnTo>
                  <a:pt x="797" y="429"/>
                </a:lnTo>
                <a:lnTo>
                  <a:pt x="799" y="429"/>
                </a:lnTo>
                <a:lnTo>
                  <a:pt x="802" y="431"/>
                </a:lnTo>
                <a:lnTo>
                  <a:pt x="804" y="433"/>
                </a:lnTo>
                <a:lnTo>
                  <a:pt x="805" y="435"/>
                </a:lnTo>
                <a:lnTo>
                  <a:pt x="806" y="437"/>
                </a:lnTo>
                <a:lnTo>
                  <a:pt x="807" y="439"/>
                </a:lnTo>
                <a:lnTo>
                  <a:pt x="807" y="442"/>
                </a:lnTo>
                <a:lnTo>
                  <a:pt x="806" y="444"/>
                </a:lnTo>
                <a:lnTo>
                  <a:pt x="805" y="446"/>
                </a:lnTo>
                <a:lnTo>
                  <a:pt x="804" y="448"/>
                </a:lnTo>
                <a:lnTo>
                  <a:pt x="803" y="450"/>
                </a:lnTo>
                <a:lnTo>
                  <a:pt x="799" y="452"/>
                </a:lnTo>
                <a:lnTo>
                  <a:pt x="794" y="453"/>
                </a:lnTo>
                <a:lnTo>
                  <a:pt x="792" y="453"/>
                </a:lnTo>
                <a:lnTo>
                  <a:pt x="789" y="452"/>
                </a:lnTo>
                <a:lnTo>
                  <a:pt x="787" y="451"/>
                </a:lnTo>
                <a:lnTo>
                  <a:pt x="785" y="449"/>
                </a:lnTo>
                <a:lnTo>
                  <a:pt x="784" y="447"/>
                </a:lnTo>
                <a:lnTo>
                  <a:pt x="783" y="444"/>
                </a:lnTo>
                <a:lnTo>
                  <a:pt x="782" y="442"/>
                </a:lnTo>
                <a:lnTo>
                  <a:pt x="782" y="440"/>
                </a:lnTo>
                <a:lnTo>
                  <a:pt x="783" y="437"/>
                </a:lnTo>
                <a:lnTo>
                  <a:pt x="783" y="435"/>
                </a:lnTo>
                <a:lnTo>
                  <a:pt x="785" y="433"/>
                </a:lnTo>
                <a:lnTo>
                  <a:pt x="786" y="431"/>
                </a:lnTo>
                <a:lnTo>
                  <a:pt x="790" y="429"/>
                </a:lnTo>
                <a:lnTo>
                  <a:pt x="794" y="428"/>
                </a:lnTo>
                <a:close/>
                <a:moveTo>
                  <a:pt x="702" y="318"/>
                </a:moveTo>
                <a:lnTo>
                  <a:pt x="705" y="318"/>
                </a:lnTo>
                <a:lnTo>
                  <a:pt x="707" y="319"/>
                </a:lnTo>
                <a:lnTo>
                  <a:pt x="710" y="320"/>
                </a:lnTo>
                <a:lnTo>
                  <a:pt x="712" y="322"/>
                </a:lnTo>
                <a:lnTo>
                  <a:pt x="713" y="324"/>
                </a:lnTo>
                <a:lnTo>
                  <a:pt x="714" y="327"/>
                </a:lnTo>
                <a:lnTo>
                  <a:pt x="714" y="329"/>
                </a:lnTo>
                <a:lnTo>
                  <a:pt x="714" y="331"/>
                </a:lnTo>
                <a:lnTo>
                  <a:pt x="713" y="336"/>
                </a:lnTo>
                <a:lnTo>
                  <a:pt x="712" y="338"/>
                </a:lnTo>
                <a:lnTo>
                  <a:pt x="710" y="340"/>
                </a:lnTo>
                <a:lnTo>
                  <a:pt x="708" y="341"/>
                </a:lnTo>
                <a:lnTo>
                  <a:pt x="706" y="342"/>
                </a:lnTo>
                <a:lnTo>
                  <a:pt x="702" y="342"/>
                </a:lnTo>
                <a:lnTo>
                  <a:pt x="700" y="342"/>
                </a:lnTo>
                <a:lnTo>
                  <a:pt x="697" y="341"/>
                </a:lnTo>
                <a:lnTo>
                  <a:pt x="695" y="340"/>
                </a:lnTo>
                <a:lnTo>
                  <a:pt x="693" y="338"/>
                </a:lnTo>
                <a:lnTo>
                  <a:pt x="691" y="336"/>
                </a:lnTo>
                <a:lnTo>
                  <a:pt x="690" y="333"/>
                </a:lnTo>
                <a:lnTo>
                  <a:pt x="690" y="331"/>
                </a:lnTo>
                <a:lnTo>
                  <a:pt x="690" y="329"/>
                </a:lnTo>
                <a:lnTo>
                  <a:pt x="691" y="324"/>
                </a:lnTo>
                <a:lnTo>
                  <a:pt x="693" y="322"/>
                </a:lnTo>
                <a:lnTo>
                  <a:pt x="695" y="320"/>
                </a:lnTo>
                <a:lnTo>
                  <a:pt x="696" y="319"/>
                </a:lnTo>
                <a:lnTo>
                  <a:pt x="698" y="318"/>
                </a:lnTo>
                <a:lnTo>
                  <a:pt x="702" y="318"/>
                </a:lnTo>
                <a:close/>
                <a:moveTo>
                  <a:pt x="613" y="204"/>
                </a:moveTo>
                <a:lnTo>
                  <a:pt x="616" y="204"/>
                </a:lnTo>
                <a:lnTo>
                  <a:pt x="619" y="205"/>
                </a:lnTo>
                <a:lnTo>
                  <a:pt x="621" y="206"/>
                </a:lnTo>
                <a:lnTo>
                  <a:pt x="622" y="207"/>
                </a:lnTo>
                <a:lnTo>
                  <a:pt x="623" y="209"/>
                </a:lnTo>
                <a:lnTo>
                  <a:pt x="624" y="211"/>
                </a:lnTo>
                <a:lnTo>
                  <a:pt x="625" y="213"/>
                </a:lnTo>
                <a:lnTo>
                  <a:pt x="625" y="215"/>
                </a:lnTo>
                <a:lnTo>
                  <a:pt x="625" y="218"/>
                </a:lnTo>
                <a:lnTo>
                  <a:pt x="624" y="222"/>
                </a:lnTo>
                <a:lnTo>
                  <a:pt x="622" y="224"/>
                </a:lnTo>
                <a:lnTo>
                  <a:pt x="620" y="226"/>
                </a:lnTo>
                <a:lnTo>
                  <a:pt x="619" y="227"/>
                </a:lnTo>
                <a:lnTo>
                  <a:pt x="617" y="228"/>
                </a:lnTo>
                <a:lnTo>
                  <a:pt x="615" y="228"/>
                </a:lnTo>
                <a:lnTo>
                  <a:pt x="613" y="228"/>
                </a:lnTo>
                <a:lnTo>
                  <a:pt x="610" y="228"/>
                </a:lnTo>
                <a:lnTo>
                  <a:pt x="608" y="227"/>
                </a:lnTo>
                <a:lnTo>
                  <a:pt x="605" y="225"/>
                </a:lnTo>
                <a:lnTo>
                  <a:pt x="604" y="224"/>
                </a:lnTo>
                <a:lnTo>
                  <a:pt x="603" y="223"/>
                </a:lnTo>
                <a:lnTo>
                  <a:pt x="602" y="221"/>
                </a:lnTo>
                <a:lnTo>
                  <a:pt x="601" y="219"/>
                </a:lnTo>
                <a:lnTo>
                  <a:pt x="601" y="217"/>
                </a:lnTo>
                <a:lnTo>
                  <a:pt x="601" y="214"/>
                </a:lnTo>
                <a:lnTo>
                  <a:pt x="602" y="210"/>
                </a:lnTo>
                <a:lnTo>
                  <a:pt x="604" y="208"/>
                </a:lnTo>
                <a:lnTo>
                  <a:pt x="606" y="206"/>
                </a:lnTo>
                <a:lnTo>
                  <a:pt x="607" y="205"/>
                </a:lnTo>
                <a:lnTo>
                  <a:pt x="609" y="204"/>
                </a:lnTo>
                <a:lnTo>
                  <a:pt x="611" y="204"/>
                </a:lnTo>
                <a:lnTo>
                  <a:pt x="613" y="204"/>
                </a:lnTo>
                <a:close/>
                <a:moveTo>
                  <a:pt x="529" y="87"/>
                </a:moveTo>
                <a:lnTo>
                  <a:pt x="531" y="87"/>
                </a:lnTo>
                <a:lnTo>
                  <a:pt x="534" y="88"/>
                </a:lnTo>
                <a:lnTo>
                  <a:pt x="537" y="90"/>
                </a:lnTo>
                <a:lnTo>
                  <a:pt x="539" y="92"/>
                </a:lnTo>
                <a:lnTo>
                  <a:pt x="540" y="94"/>
                </a:lnTo>
                <a:lnTo>
                  <a:pt x="541" y="97"/>
                </a:lnTo>
                <a:lnTo>
                  <a:pt x="541" y="101"/>
                </a:lnTo>
                <a:lnTo>
                  <a:pt x="540" y="104"/>
                </a:lnTo>
                <a:lnTo>
                  <a:pt x="539" y="106"/>
                </a:lnTo>
                <a:lnTo>
                  <a:pt x="538" y="108"/>
                </a:lnTo>
                <a:lnTo>
                  <a:pt x="536" y="109"/>
                </a:lnTo>
                <a:lnTo>
                  <a:pt x="532" y="111"/>
                </a:lnTo>
                <a:lnTo>
                  <a:pt x="529" y="112"/>
                </a:lnTo>
                <a:lnTo>
                  <a:pt x="526" y="111"/>
                </a:lnTo>
                <a:lnTo>
                  <a:pt x="523" y="110"/>
                </a:lnTo>
                <a:lnTo>
                  <a:pt x="521" y="109"/>
                </a:lnTo>
                <a:lnTo>
                  <a:pt x="519" y="106"/>
                </a:lnTo>
                <a:lnTo>
                  <a:pt x="517" y="104"/>
                </a:lnTo>
                <a:lnTo>
                  <a:pt x="517" y="102"/>
                </a:lnTo>
                <a:lnTo>
                  <a:pt x="516" y="97"/>
                </a:lnTo>
                <a:lnTo>
                  <a:pt x="517" y="95"/>
                </a:lnTo>
                <a:lnTo>
                  <a:pt x="518" y="93"/>
                </a:lnTo>
                <a:lnTo>
                  <a:pt x="520" y="91"/>
                </a:lnTo>
                <a:lnTo>
                  <a:pt x="522" y="89"/>
                </a:lnTo>
                <a:lnTo>
                  <a:pt x="525" y="88"/>
                </a:lnTo>
                <a:lnTo>
                  <a:pt x="529" y="87"/>
                </a:lnTo>
                <a:close/>
                <a:moveTo>
                  <a:pt x="1915" y="1532"/>
                </a:moveTo>
                <a:lnTo>
                  <a:pt x="1917" y="1532"/>
                </a:lnTo>
                <a:lnTo>
                  <a:pt x="1919" y="1533"/>
                </a:lnTo>
                <a:lnTo>
                  <a:pt x="1922" y="1534"/>
                </a:lnTo>
                <a:lnTo>
                  <a:pt x="1923" y="1536"/>
                </a:lnTo>
                <a:lnTo>
                  <a:pt x="1925" y="1538"/>
                </a:lnTo>
                <a:lnTo>
                  <a:pt x="1926" y="1540"/>
                </a:lnTo>
                <a:lnTo>
                  <a:pt x="1927" y="1542"/>
                </a:lnTo>
                <a:lnTo>
                  <a:pt x="1927" y="1545"/>
                </a:lnTo>
                <a:lnTo>
                  <a:pt x="1926" y="1547"/>
                </a:lnTo>
                <a:lnTo>
                  <a:pt x="1926" y="1549"/>
                </a:lnTo>
                <a:lnTo>
                  <a:pt x="1924" y="1551"/>
                </a:lnTo>
                <a:lnTo>
                  <a:pt x="1923" y="1553"/>
                </a:lnTo>
                <a:lnTo>
                  <a:pt x="1919" y="1555"/>
                </a:lnTo>
                <a:lnTo>
                  <a:pt x="1917" y="1556"/>
                </a:lnTo>
                <a:lnTo>
                  <a:pt x="1915" y="1556"/>
                </a:lnTo>
                <a:lnTo>
                  <a:pt x="1912" y="1556"/>
                </a:lnTo>
                <a:lnTo>
                  <a:pt x="1910" y="1555"/>
                </a:lnTo>
                <a:lnTo>
                  <a:pt x="1907" y="1554"/>
                </a:lnTo>
                <a:lnTo>
                  <a:pt x="1906" y="1552"/>
                </a:lnTo>
                <a:lnTo>
                  <a:pt x="1904" y="1551"/>
                </a:lnTo>
                <a:lnTo>
                  <a:pt x="1903" y="1548"/>
                </a:lnTo>
                <a:lnTo>
                  <a:pt x="1903" y="1546"/>
                </a:lnTo>
                <a:lnTo>
                  <a:pt x="1902" y="1544"/>
                </a:lnTo>
                <a:lnTo>
                  <a:pt x="1903" y="1541"/>
                </a:lnTo>
                <a:lnTo>
                  <a:pt x="1903" y="1539"/>
                </a:lnTo>
                <a:lnTo>
                  <a:pt x="1905" y="1537"/>
                </a:lnTo>
                <a:lnTo>
                  <a:pt x="1906" y="1535"/>
                </a:lnTo>
                <a:lnTo>
                  <a:pt x="1910" y="1533"/>
                </a:lnTo>
                <a:lnTo>
                  <a:pt x="1912" y="1532"/>
                </a:lnTo>
                <a:lnTo>
                  <a:pt x="1915" y="1532"/>
                </a:lnTo>
                <a:close/>
                <a:moveTo>
                  <a:pt x="2059" y="1527"/>
                </a:moveTo>
                <a:lnTo>
                  <a:pt x="2064" y="1528"/>
                </a:lnTo>
                <a:lnTo>
                  <a:pt x="2066" y="1529"/>
                </a:lnTo>
                <a:lnTo>
                  <a:pt x="2067" y="1531"/>
                </a:lnTo>
                <a:lnTo>
                  <a:pt x="2070" y="1534"/>
                </a:lnTo>
                <a:lnTo>
                  <a:pt x="2071" y="1536"/>
                </a:lnTo>
                <a:lnTo>
                  <a:pt x="2071" y="1538"/>
                </a:lnTo>
                <a:lnTo>
                  <a:pt x="2071" y="1541"/>
                </a:lnTo>
                <a:lnTo>
                  <a:pt x="2071" y="1543"/>
                </a:lnTo>
                <a:lnTo>
                  <a:pt x="2070" y="1545"/>
                </a:lnTo>
                <a:lnTo>
                  <a:pt x="2069" y="1547"/>
                </a:lnTo>
                <a:lnTo>
                  <a:pt x="2067" y="1549"/>
                </a:lnTo>
                <a:lnTo>
                  <a:pt x="2065" y="1550"/>
                </a:lnTo>
                <a:lnTo>
                  <a:pt x="2061" y="1552"/>
                </a:lnTo>
                <a:lnTo>
                  <a:pt x="2055" y="1551"/>
                </a:lnTo>
                <a:lnTo>
                  <a:pt x="2053" y="1550"/>
                </a:lnTo>
                <a:lnTo>
                  <a:pt x="2051" y="1549"/>
                </a:lnTo>
                <a:lnTo>
                  <a:pt x="2050" y="1547"/>
                </a:lnTo>
                <a:lnTo>
                  <a:pt x="2049" y="1545"/>
                </a:lnTo>
                <a:lnTo>
                  <a:pt x="2048" y="1543"/>
                </a:lnTo>
                <a:lnTo>
                  <a:pt x="2047" y="1541"/>
                </a:lnTo>
                <a:lnTo>
                  <a:pt x="2047" y="1538"/>
                </a:lnTo>
                <a:lnTo>
                  <a:pt x="2048" y="1536"/>
                </a:lnTo>
                <a:lnTo>
                  <a:pt x="2049" y="1534"/>
                </a:lnTo>
                <a:lnTo>
                  <a:pt x="2050" y="1532"/>
                </a:lnTo>
                <a:lnTo>
                  <a:pt x="2052" y="1530"/>
                </a:lnTo>
                <a:lnTo>
                  <a:pt x="2054" y="1529"/>
                </a:lnTo>
                <a:lnTo>
                  <a:pt x="2058" y="1527"/>
                </a:lnTo>
                <a:lnTo>
                  <a:pt x="2059" y="1527"/>
                </a:lnTo>
                <a:close/>
                <a:moveTo>
                  <a:pt x="1772" y="1517"/>
                </a:moveTo>
                <a:lnTo>
                  <a:pt x="1774" y="1517"/>
                </a:lnTo>
                <a:lnTo>
                  <a:pt x="1776" y="1517"/>
                </a:lnTo>
                <a:lnTo>
                  <a:pt x="1778" y="1519"/>
                </a:lnTo>
                <a:lnTo>
                  <a:pt x="1780" y="1520"/>
                </a:lnTo>
                <a:lnTo>
                  <a:pt x="1782" y="1522"/>
                </a:lnTo>
                <a:lnTo>
                  <a:pt x="1783" y="1524"/>
                </a:lnTo>
                <a:lnTo>
                  <a:pt x="1784" y="1526"/>
                </a:lnTo>
                <a:lnTo>
                  <a:pt x="1784" y="1528"/>
                </a:lnTo>
                <a:lnTo>
                  <a:pt x="1784" y="1531"/>
                </a:lnTo>
                <a:lnTo>
                  <a:pt x="1783" y="1533"/>
                </a:lnTo>
                <a:lnTo>
                  <a:pt x="1782" y="1535"/>
                </a:lnTo>
                <a:lnTo>
                  <a:pt x="1779" y="1538"/>
                </a:lnTo>
                <a:lnTo>
                  <a:pt x="1778" y="1539"/>
                </a:lnTo>
                <a:lnTo>
                  <a:pt x="1776" y="1540"/>
                </a:lnTo>
                <a:lnTo>
                  <a:pt x="1772" y="1541"/>
                </a:lnTo>
                <a:lnTo>
                  <a:pt x="1770" y="1541"/>
                </a:lnTo>
                <a:lnTo>
                  <a:pt x="1767" y="1540"/>
                </a:lnTo>
                <a:lnTo>
                  <a:pt x="1765" y="1539"/>
                </a:lnTo>
                <a:lnTo>
                  <a:pt x="1763" y="1537"/>
                </a:lnTo>
                <a:lnTo>
                  <a:pt x="1762" y="1536"/>
                </a:lnTo>
                <a:lnTo>
                  <a:pt x="1761" y="1534"/>
                </a:lnTo>
                <a:lnTo>
                  <a:pt x="1760" y="1531"/>
                </a:lnTo>
                <a:lnTo>
                  <a:pt x="1759" y="1529"/>
                </a:lnTo>
                <a:lnTo>
                  <a:pt x="1760" y="1527"/>
                </a:lnTo>
                <a:lnTo>
                  <a:pt x="1760" y="1525"/>
                </a:lnTo>
                <a:lnTo>
                  <a:pt x="1761" y="1523"/>
                </a:lnTo>
                <a:lnTo>
                  <a:pt x="1764" y="1519"/>
                </a:lnTo>
                <a:lnTo>
                  <a:pt x="1766" y="1518"/>
                </a:lnTo>
                <a:lnTo>
                  <a:pt x="1767" y="1517"/>
                </a:lnTo>
                <a:lnTo>
                  <a:pt x="1772" y="1517"/>
                </a:lnTo>
                <a:close/>
                <a:moveTo>
                  <a:pt x="2201" y="1504"/>
                </a:moveTo>
                <a:lnTo>
                  <a:pt x="2205" y="1504"/>
                </a:lnTo>
                <a:lnTo>
                  <a:pt x="2207" y="1505"/>
                </a:lnTo>
                <a:lnTo>
                  <a:pt x="2209" y="1506"/>
                </a:lnTo>
                <a:lnTo>
                  <a:pt x="2210" y="1508"/>
                </a:lnTo>
                <a:lnTo>
                  <a:pt x="2211" y="1509"/>
                </a:lnTo>
                <a:lnTo>
                  <a:pt x="2213" y="1513"/>
                </a:lnTo>
                <a:lnTo>
                  <a:pt x="2213" y="1516"/>
                </a:lnTo>
                <a:lnTo>
                  <a:pt x="2213" y="1518"/>
                </a:lnTo>
                <a:lnTo>
                  <a:pt x="2213" y="1520"/>
                </a:lnTo>
                <a:lnTo>
                  <a:pt x="2212" y="1522"/>
                </a:lnTo>
                <a:lnTo>
                  <a:pt x="2210" y="1524"/>
                </a:lnTo>
                <a:lnTo>
                  <a:pt x="2208" y="1526"/>
                </a:lnTo>
                <a:lnTo>
                  <a:pt x="2206" y="1527"/>
                </a:lnTo>
                <a:lnTo>
                  <a:pt x="2204" y="1528"/>
                </a:lnTo>
                <a:lnTo>
                  <a:pt x="2201" y="1528"/>
                </a:lnTo>
                <a:lnTo>
                  <a:pt x="2197" y="1527"/>
                </a:lnTo>
                <a:lnTo>
                  <a:pt x="2195" y="1527"/>
                </a:lnTo>
                <a:lnTo>
                  <a:pt x="2194" y="1526"/>
                </a:lnTo>
                <a:lnTo>
                  <a:pt x="2192" y="1524"/>
                </a:lnTo>
                <a:lnTo>
                  <a:pt x="2191" y="1523"/>
                </a:lnTo>
                <a:lnTo>
                  <a:pt x="2189" y="1519"/>
                </a:lnTo>
                <a:lnTo>
                  <a:pt x="2189" y="1516"/>
                </a:lnTo>
                <a:lnTo>
                  <a:pt x="2189" y="1514"/>
                </a:lnTo>
                <a:lnTo>
                  <a:pt x="2190" y="1512"/>
                </a:lnTo>
                <a:lnTo>
                  <a:pt x="2191" y="1510"/>
                </a:lnTo>
                <a:lnTo>
                  <a:pt x="2192" y="1508"/>
                </a:lnTo>
                <a:lnTo>
                  <a:pt x="2194" y="1506"/>
                </a:lnTo>
                <a:lnTo>
                  <a:pt x="2196" y="1505"/>
                </a:lnTo>
                <a:lnTo>
                  <a:pt x="2199" y="1504"/>
                </a:lnTo>
                <a:lnTo>
                  <a:pt x="2201" y="1504"/>
                </a:lnTo>
                <a:close/>
                <a:moveTo>
                  <a:pt x="1632" y="1482"/>
                </a:moveTo>
                <a:lnTo>
                  <a:pt x="1636" y="1483"/>
                </a:lnTo>
                <a:lnTo>
                  <a:pt x="1638" y="1484"/>
                </a:lnTo>
                <a:lnTo>
                  <a:pt x="1640" y="1485"/>
                </a:lnTo>
                <a:lnTo>
                  <a:pt x="1642" y="1487"/>
                </a:lnTo>
                <a:lnTo>
                  <a:pt x="1643" y="1489"/>
                </a:lnTo>
                <a:lnTo>
                  <a:pt x="1644" y="1491"/>
                </a:lnTo>
                <a:lnTo>
                  <a:pt x="1644" y="1493"/>
                </a:lnTo>
                <a:lnTo>
                  <a:pt x="1644" y="1495"/>
                </a:lnTo>
                <a:lnTo>
                  <a:pt x="1644" y="1498"/>
                </a:lnTo>
                <a:lnTo>
                  <a:pt x="1642" y="1501"/>
                </a:lnTo>
                <a:lnTo>
                  <a:pt x="1639" y="1504"/>
                </a:lnTo>
                <a:lnTo>
                  <a:pt x="1636" y="1506"/>
                </a:lnTo>
                <a:lnTo>
                  <a:pt x="1634" y="1506"/>
                </a:lnTo>
                <a:lnTo>
                  <a:pt x="1632" y="1506"/>
                </a:lnTo>
                <a:lnTo>
                  <a:pt x="1628" y="1506"/>
                </a:lnTo>
                <a:lnTo>
                  <a:pt x="1626" y="1505"/>
                </a:lnTo>
                <a:lnTo>
                  <a:pt x="1624" y="1503"/>
                </a:lnTo>
                <a:lnTo>
                  <a:pt x="1623" y="1502"/>
                </a:lnTo>
                <a:lnTo>
                  <a:pt x="1621" y="1500"/>
                </a:lnTo>
                <a:lnTo>
                  <a:pt x="1620" y="1498"/>
                </a:lnTo>
                <a:lnTo>
                  <a:pt x="1620" y="1495"/>
                </a:lnTo>
                <a:lnTo>
                  <a:pt x="1620" y="1493"/>
                </a:lnTo>
                <a:lnTo>
                  <a:pt x="1621" y="1491"/>
                </a:lnTo>
                <a:lnTo>
                  <a:pt x="1622" y="1487"/>
                </a:lnTo>
                <a:lnTo>
                  <a:pt x="1625" y="1484"/>
                </a:lnTo>
                <a:lnTo>
                  <a:pt x="1628" y="1483"/>
                </a:lnTo>
                <a:lnTo>
                  <a:pt x="1630" y="1482"/>
                </a:lnTo>
                <a:lnTo>
                  <a:pt x="1632" y="1482"/>
                </a:lnTo>
                <a:close/>
                <a:moveTo>
                  <a:pt x="2339" y="1463"/>
                </a:moveTo>
                <a:lnTo>
                  <a:pt x="2343" y="1464"/>
                </a:lnTo>
                <a:lnTo>
                  <a:pt x="2345" y="1464"/>
                </a:lnTo>
                <a:lnTo>
                  <a:pt x="2346" y="1465"/>
                </a:lnTo>
                <a:lnTo>
                  <a:pt x="2349" y="1468"/>
                </a:lnTo>
                <a:lnTo>
                  <a:pt x="2350" y="1469"/>
                </a:lnTo>
                <a:lnTo>
                  <a:pt x="2351" y="1471"/>
                </a:lnTo>
                <a:lnTo>
                  <a:pt x="2351" y="1476"/>
                </a:lnTo>
                <a:lnTo>
                  <a:pt x="2351" y="1478"/>
                </a:lnTo>
                <a:lnTo>
                  <a:pt x="2350" y="1480"/>
                </a:lnTo>
                <a:lnTo>
                  <a:pt x="2349" y="1482"/>
                </a:lnTo>
                <a:lnTo>
                  <a:pt x="2348" y="1484"/>
                </a:lnTo>
                <a:lnTo>
                  <a:pt x="2346" y="1486"/>
                </a:lnTo>
                <a:lnTo>
                  <a:pt x="2343" y="1487"/>
                </a:lnTo>
                <a:lnTo>
                  <a:pt x="2339" y="1487"/>
                </a:lnTo>
                <a:lnTo>
                  <a:pt x="2336" y="1487"/>
                </a:lnTo>
                <a:lnTo>
                  <a:pt x="2334" y="1486"/>
                </a:lnTo>
                <a:lnTo>
                  <a:pt x="2332" y="1485"/>
                </a:lnTo>
                <a:lnTo>
                  <a:pt x="2330" y="1483"/>
                </a:lnTo>
                <a:lnTo>
                  <a:pt x="2329" y="1481"/>
                </a:lnTo>
                <a:lnTo>
                  <a:pt x="2328" y="1479"/>
                </a:lnTo>
                <a:lnTo>
                  <a:pt x="2327" y="1475"/>
                </a:lnTo>
                <a:lnTo>
                  <a:pt x="2328" y="1472"/>
                </a:lnTo>
                <a:lnTo>
                  <a:pt x="2328" y="1470"/>
                </a:lnTo>
                <a:lnTo>
                  <a:pt x="2329" y="1468"/>
                </a:lnTo>
                <a:lnTo>
                  <a:pt x="2331" y="1466"/>
                </a:lnTo>
                <a:lnTo>
                  <a:pt x="2333" y="1465"/>
                </a:lnTo>
                <a:lnTo>
                  <a:pt x="2335" y="1464"/>
                </a:lnTo>
                <a:lnTo>
                  <a:pt x="2339" y="1463"/>
                </a:lnTo>
                <a:close/>
                <a:moveTo>
                  <a:pt x="1498" y="1430"/>
                </a:moveTo>
                <a:lnTo>
                  <a:pt x="1501" y="1430"/>
                </a:lnTo>
                <a:lnTo>
                  <a:pt x="1503" y="1431"/>
                </a:lnTo>
                <a:lnTo>
                  <a:pt x="1507" y="1434"/>
                </a:lnTo>
                <a:lnTo>
                  <a:pt x="1508" y="1436"/>
                </a:lnTo>
                <a:lnTo>
                  <a:pt x="1509" y="1438"/>
                </a:lnTo>
                <a:lnTo>
                  <a:pt x="1510" y="1443"/>
                </a:lnTo>
                <a:lnTo>
                  <a:pt x="1510" y="1445"/>
                </a:lnTo>
                <a:lnTo>
                  <a:pt x="1509" y="1447"/>
                </a:lnTo>
                <a:lnTo>
                  <a:pt x="1507" y="1450"/>
                </a:lnTo>
                <a:lnTo>
                  <a:pt x="1505" y="1453"/>
                </a:lnTo>
                <a:lnTo>
                  <a:pt x="1501" y="1454"/>
                </a:lnTo>
                <a:lnTo>
                  <a:pt x="1498" y="1454"/>
                </a:lnTo>
                <a:lnTo>
                  <a:pt x="1495" y="1454"/>
                </a:lnTo>
                <a:lnTo>
                  <a:pt x="1493" y="1453"/>
                </a:lnTo>
                <a:lnTo>
                  <a:pt x="1489" y="1450"/>
                </a:lnTo>
                <a:lnTo>
                  <a:pt x="1488" y="1449"/>
                </a:lnTo>
                <a:lnTo>
                  <a:pt x="1487" y="1446"/>
                </a:lnTo>
                <a:lnTo>
                  <a:pt x="1486" y="1442"/>
                </a:lnTo>
                <a:lnTo>
                  <a:pt x="1486" y="1440"/>
                </a:lnTo>
                <a:lnTo>
                  <a:pt x="1487" y="1437"/>
                </a:lnTo>
                <a:lnTo>
                  <a:pt x="1489" y="1434"/>
                </a:lnTo>
                <a:lnTo>
                  <a:pt x="1490" y="1433"/>
                </a:lnTo>
                <a:lnTo>
                  <a:pt x="1492" y="1432"/>
                </a:lnTo>
                <a:lnTo>
                  <a:pt x="1495" y="1431"/>
                </a:lnTo>
                <a:lnTo>
                  <a:pt x="1498" y="1430"/>
                </a:lnTo>
                <a:close/>
                <a:moveTo>
                  <a:pt x="2472" y="1408"/>
                </a:moveTo>
                <a:lnTo>
                  <a:pt x="2475" y="1408"/>
                </a:lnTo>
                <a:lnTo>
                  <a:pt x="2479" y="1410"/>
                </a:lnTo>
                <a:lnTo>
                  <a:pt x="2480" y="1411"/>
                </a:lnTo>
                <a:lnTo>
                  <a:pt x="2481" y="1412"/>
                </a:lnTo>
                <a:lnTo>
                  <a:pt x="2483" y="1415"/>
                </a:lnTo>
                <a:lnTo>
                  <a:pt x="2484" y="1417"/>
                </a:lnTo>
                <a:lnTo>
                  <a:pt x="2484" y="1419"/>
                </a:lnTo>
                <a:lnTo>
                  <a:pt x="2484" y="1422"/>
                </a:lnTo>
                <a:lnTo>
                  <a:pt x="2484" y="1424"/>
                </a:lnTo>
                <a:lnTo>
                  <a:pt x="2483" y="1426"/>
                </a:lnTo>
                <a:lnTo>
                  <a:pt x="2481" y="1428"/>
                </a:lnTo>
                <a:lnTo>
                  <a:pt x="2480" y="1429"/>
                </a:lnTo>
                <a:lnTo>
                  <a:pt x="2479" y="1430"/>
                </a:lnTo>
                <a:lnTo>
                  <a:pt x="2477" y="1431"/>
                </a:lnTo>
                <a:lnTo>
                  <a:pt x="2475" y="1432"/>
                </a:lnTo>
                <a:lnTo>
                  <a:pt x="2472" y="1432"/>
                </a:lnTo>
                <a:lnTo>
                  <a:pt x="2469" y="1432"/>
                </a:lnTo>
                <a:lnTo>
                  <a:pt x="2466" y="1430"/>
                </a:lnTo>
                <a:lnTo>
                  <a:pt x="2464" y="1429"/>
                </a:lnTo>
                <a:lnTo>
                  <a:pt x="2463" y="1428"/>
                </a:lnTo>
                <a:lnTo>
                  <a:pt x="2461" y="1425"/>
                </a:lnTo>
                <a:lnTo>
                  <a:pt x="2460" y="1423"/>
                </a:lnTo>
                <a:lnTo>
                  <a:pt x="2460" y="1420"/>
                </a:lnTo>
                <a:lnTo>
                  <a:pt x="2460" y="1418"/>
                </a:lnTo>
                <a:lnTo>
                  <a:pt x="2461" y="1416"/>
                </a:lnTo>
                <a:lnTo>
                  <a:pt x="2462" y="1414"/>
                </a:lnTo>
                <a:lnTo>
                  <a:pt x="2463" y="1412"/>
                </a:lnTo>
                <a:lnTo>
                  <a:pt x="2464" y="1411"/>
                </a:lnTo>
                <a:lnTo>
                  <a:pt x="2465" y="1410"/>
                </a:lnTo>
                <a:lnTo>
                  <a:pt x="2467" y="1409"/>
                </a:lnTo>
                <a:lnTo>
                  <a:pt x="2470" y="1408"/>
                </a:lnTo>
                <a:lnTo>
                  <a:pt x="2472" y="1408"/>
                </a:lnTo>
                <a:close/>
                <a:moveTo>
                  <a:pt x="1371" y="1363"/>
                </a:moveTo>
                <a:lnTo>
                  <a:pt x="1374" y="1364"/>
                </a:lnTo>
                <a:lnTo>
                  <a:pt x="1377" y="1365"/>
                </a:lnTo>
                <a:lnTo>
                  <a:pt x="1379" y="1366"/>
                </a:lnTo>
                <a:lnTo>
                  <a:pt x="1380" y="1368"/>
                </a:lnTo>
                <a:lnTo>
                  <a:pt x="1382" y="1370"/>
                </a:lnTo>
                <a:lnTo>
                  <a:pt x="1382" y="1372"/>
                </a:lnTo>
                <a:lnTo>
                  <a:pt x="1383" y="1375"/>
                </a:lnTo>
                <a:lnTo>
                  <a:pt x="1383" y="1377"/>
                </a:lnTo>
                <a:lnTo>
                  <a:pt x="1381" y="1382"/>
                </a:lnTo>
                <a:lnTo>
                  <a:pt x="1379" y="1384"/>
                </a:lnTo>
                <a:lnTo>
                  <a:pt x="1376" y="1386"/>
                </a:lnTo>
                <a:lnTo>
                  <a:pt x="1374" y="1387"/>
                </a:lnTo>
                <a:lnTo>
                  <a:pt x="1371" y="1388"/>
                </a:lnTo>
                <a:lnTo>
                  <a:pt x="1367" y="1387"/>
                </a:lnTo>
                <a:lnTo>
                  <a:pt x="1364" y="1386"/>
                </a:lnTo>
                <a:lnTo>
                  <a:pt x="1362" y="1384"/>
                </a:lnTo>
                <a:lnTo>
                  <a:pt x="1361" y="1383"/>
                </a:lnTo>
                <a:lnTo>
                  <a:pt x="1360" y="1381"/>
                </a:lnTo>
                <a:lnTo>
                  <a:pt x="1359" y="1379"/>
                </a:lnTo>
                <a:lnTo>
                  <a:pt x="1358" y="1376"/>
                </a:lnTo>
                <a:lnTo>
                  <a:pt x="1359" y="1374"/>
                </a:lnTo>
                <a:lnTo>
                  <a:pt x="1360" y="1369"/>
                </a:lnTo>
                <a:lnTo>
                  <a:pt x="1362" y="1367"/>
                </a:lnTo>
                <a:lnTo>
                  <a:pt x="1365" y="1365"/>
                </a:lnTo>
                <a:lnTo>
                  <a:pt x="1368" y="1364"/>
                </a:lnTo>
                <a:lnTo>
                  <a:pt x="1371" y="1363"/>
                </a:lnTo>
                <a:close/>
                <a:moveTo>
                  <a:pt x="2599" y="1340"/>
                </a:moveTo>
                <a:lnTo>
                  <a:pt x="2602" y="1341"/>
                </a:lnTo>
                <a:lnTo>
                  <a:pt x="2605" y="1342"/>
                </a:lnTo>
                <a:lnTo>
                  <a:pt x="2608" y="1344"/>
                </a:lnTo>
                <a:lnTo>
                  <a:pt x="2610" y="1346"/>
                </a:lnTo>
                <a:lnTo>
                  <a:pt x="2611" y="1351"/>
                </a:lnTo>
                <a:lnTo>
                  <a:pt x="2611" y="1353"/>
                </a:lnTo>
                <a:lnTo>
                  <a:pt x="2611" y="1356"/>
                </a:lnTo>
                <a:lnTo>
                  <a:pt x="2610" y="1358"/>
                </a:lnTo>
                <a:lnTo>
                  <a:pt x="2609" y="1360"/>
                </a:lnTo>
                <a:lnTo>
                  <a:pt x="2605" y="1363"/>
                </a:lnTo>
                <a:lnTo>
                  <a:pt x="2602" y="1364"/>
                </a:lnTo>
                <a:lnTo>
                  <a:pt x="2599" y="1365"/>
                </a:lnTo>
                <a:lnTo>
                  <a:pt x="2596" y="1364"/>
                </a:lnTo>
                <a:lnTo>
                  <a:pt x="2593" y="1363"/>
                </a:lnTo>
                <a:lnTo>
                  <a:pt x="2591" y="1361"/>
                </a:lnTo>
                <a:lnTo>
                  <a:pt x="2589" y="1359"/>
                </a:lnTo>
                <a:lnTo>
                  <a:pt x="2587" y="1354"/>
                </a:lnTo>
                <a:lnTo>
                  <a:pt x="2587" y="1352"/>
                </a:lnTo>
                <a:lnTo>
                  <a:pt x="2588" y="1350"/>
                </a:lnTo>
                <a:lnTo>
                  <a:pt x="2588" y="1347"/>
                </a:lnTo>
                <a:lnTo>
                  <a:pt x="2590" y="1345"/>
                </a:lnTo>
                <a:lnTo>
                  <a:pt x="2593" y="1342"/>
                </a:lnTo>
                <a:lnTo>
                  <a:pt x="2596" y="1341"/>
                </a:lnTo>
                <a:lnTo>
                  <a:pt x="2599" y="1340"/>
                </a:lnTo>
                <a:close/>
                <a:moveTo>
                  <a:pt x="1250" y="1284"/>
                </a:moveTo>
                <a:lnTo>
                  <a:pt x="1254" y="1285"/>
                </a:lnTo>
                <a:lnTo>
                  <a:pt x="1257" y="1287"/>
                </a:lnTo>
                <a:lnTo>
                  <a:pt x="1259" y="1288"/>
                </a:lnTo>
                <a:lnTo>
                  <a:pt x="1261" y="1290"/>
                </a:lnTo>
                <a:lnTo>
                  <a:pt x="1262" y="1292"/>
                </a:lnTo>
                <a:lnTo>
                  <a:pt x="1262" y="1295"/>
                </a:lnTo>
                <a:lnTo>
                  <a:pt x="1262" y="1297"/>
                </a:lnTo>
                <a:lnTo>
                  <a:pt x="1262" y="1299"/>
                </a:lnTo>
                <a:lnTo>
                  <a:pt x="1261" y="1302"/>
                </a:lnTo>
                <a:lnTo>
                  <a:pt x="1260" y="1304"/>
                </a:lnTo>
                <a:lnTo>
                  <a:pt x="1258" y="1306"/>
                </a:lnTo>
                <a:lnTo>
                  <a:pt x="1257" y="1307"/>
                </a:lnTo>
                <a:lnTo>
                  <a:pt x="1256" y="1307"/>
                </a:lnTo>
                <a:lnTo>
                  <a:pt x="1253" y="1308"/>
                </a:lnTo>
                <a:lnTo>
                  <a:pt x="1250" y="1309"/>
                </a:lnTo>
                <a:lnTo>
                  <a:pt x="1247" y="1308"/>
                </a:lnTo>
                <a:lnTo>
                  <a:pt x="1243" y="1306"/>
                </a:lnTo>
                <a:lnTo>
                  <a:pt x="1241" y="1305"/>
                </a:lnTo>
                <a:lnTo>
                  <a:pt x="1240" y="1303"/>
                </a:lnTo>
                <a:lnTo>
                  <a:pt x="1239" y="1301"/>
                </a:lnTo>
                <a:lnTo>
                  <a:pt x="1238" y="1299"/>
                </a:lnTo>
                <a:lnTo>
                  <a:pt x="1238" y="1296"/>
                </a:lnTo>
                <a:lnTo>
                  <a:pt x="1238" y="1294"/>
                </a:lnTo>
                <a:lnTo>
                  <a:pt x="1239" y="1292"/>
                </a:lnTo>
                <a:lnTo>
                  <a:pt x="1240" y="1289"/>
                </a:lnTo>
                <a:lnTo>
                  <a:pt x="1242" y="1287"/>
                </a:lnTo>
                <a:lnTo>
                  <a:pt x="1244" y="1286"/>
                </a:lnTo>
                <a:lnTo>
                  <a:pt x="1245" y="1286"/>
                </a:lnTo>
                <a:lnTo>
                  <a:pt x="1247" y="1285"/>
                </a:lnTo>
                <a:lnTo>
                  <a:pt x="1250" y="1284"/>
                </a:lnTo>
                <a:close/>
                <a:moveTo>
                  <a:pt x="1137" y="1196"/>
                </a:moveTo>
                <a:lnTo>
                  <a:pt x="1141" y="1196"/>
                </a:lnTo>
                <a:lnTo>
                  <a:pt x="1145" y="1199"/>
                </a:lnTo>
                <a:lnTo>
                  <a:pt x="1146" y="1200"/>
                </a:lnTo>
                <a:lnTo>
                  <a:pt x="1148" y="1202"/>
                </a:lnTo>
                <a:lnTo>
                  <a:pt x="1148" y="1205"/>
                </a:lnTo>
                <a:lnTo>
                  <a:pt x="1149" y="1207"/>
                </a:lnTo>
                <a:lnTo>
                  <a:pt x="1149" y="1209"/>
                </a:lnTo>
                <a:lnTo>
                  <a:pt x="1148" y="1212"/>
                </a:lnTo>
                <a:lnTo>
                  <a:pt x="1147" y="1214"/>
                </a:lnTo>
                <a:lnTo>
                  <a:pt x="1147" y="1215"/>
                </a:lnTo>
                <a:lnTo>
                  <a:pt x="1146" y="1216"/>
                </a:lnTo>
                <a:lnTo>
                  <a:pt x="1144" y="1218"/>
                </a:lnTo>
                <a:lnTo>
                  <a:pt x="1142" y="1219"/>
                </a:lnTo>
                <a:lnTo>
                  <a:pt x="1139" y="1220"/>
                </a:lnTo>
                <a:lnTo>
                  <a:pt x="1137" y="1220"/>
                </a:lnTo>
                <a:lnTo>
                  <a:pt x="1133" y="1219"/>
                </a:lnTo>
                <a:lnTo>
                  <a:pt x="1129" y="1217"/>
                </a:lnTo>
                <a:lnTo>
                  <a:pt x="1127" y="1215"/>
                </a:lnTo>
                <a:lnTo>
                  <a:pt x="1126" y="1213"/>
                </a:lnTo>
                <a:lnTo>
                  <a:pt x="1125" y="1211"/>
                </a:lnTo>
                <a:lnTo>
                  <a:pt x="1125" y="1209"/>
                </a:lnTo>
                <a:lnTo>
                  <a:pt x="1125" y="1207"/>
                </a:lnTo>
                <a:lnTo>
                  <a:pt x="1125" y="1204"/>
                </a:lnTo>
                <a:lnTo>
                  <a:pt x="1126" y="1202"/>
                </a:lnTo>
                <a:lnTo>
                  <a:pt x="1127" y="1201"/>
                </a:lnTo>
                <a:lnTo>
                  <a:pt x="1128" y="1200"/>
                </a:lnTo>
                <a:lnTo>
                  <a:pt x="1129" y="1198"/>
                </a:lnTo>
                <a:lnTo>
                  <a:pt x="1132" y="1197"/>
                </a:lnTo>
                <a:lnTo>
                  <a:pt x="1134" y="1196"/>
                </a:lnTo>
                <a:lnTo>
                  <a:pt x="1137" y="1196"/>
                </a:lnTo>
                <a:close/>
                <a:moveTo>
                  <a:pt x="1030" y="1099"/>
                </a:moveTo>
                <a:lnTo>
                  <a:pt x="1034" y="1100"/>
                </a:lnTo>
                <a:lnTo>
                  <a:pt x="1036" y="1101"/>
                </a:lnTo>
                <a:lnTo>
                  <a:pt x="1038" y="1103"/>
                </a:lnTo>
                <a:lnTo>
                  <a:pt x="1040" y="1105"/>
                </a:lnTo>
                <a:lnTo>
                  <a:pt x="1041" y="1107"/>
                </a:lnTo>
                <a:lnTo>
                  <a:pt x="1042" y="1109"/>
                </a:lnTo>
                <a:lnTo>
                  <a:pt x="1042" y="1111"/>
                </a:lnTo>
                <a:lnTo>
                  <a:pt x="1041" y="1116"/>
                </a:lnTo>
                <a:lnTo>
                  <a:pt x="1040" y="1118"/>
                </a:lnTo>
                <a:lnTo>
                  <a:pt x="1039" y="1120"/>
                </a:lnTo>
                <a:lnTo>
                  <a:pt x="1037" y="1121"/>
                </a:lnTo>
                <a:lnTo>
                  <a:pt x="1035" y="1123"/>
                </a:lnTo>
                <a:lnTo>
                  <a:pt x="1032" y="1123"/>
                </a:lnTo>
                <a:lnTo>
                  <a:pt x="1030" y="1124"/>
                </a:lnTo>
                <a:lnTo>
                  <a:pt x="1025" y="1123"/>
                </a:lnTo>
                <a:lnTo>
                  <a:pt x="1023" y="1122"/>
                </a:lnTo>
                <a:lnTo>
                  <a:pt x="1021" y="1120"/>
                </a:lnTo>
                <a:lnTo>
                  <a:pt x="1020" y="1118"/>
                </a:lnTo>
                <a:lnTo>
                  <a:pt x="1019" y="1116"/>
                </a:lnTo>
                <a:lnTo>
                  <a:pt x="1018" y="1114"/>
                </a:lnTo>
                <a:lnTo>
                  <a:pt x="1018" y="1112"/>
                </a:lnTo>
                <a:lnTo>
                  <a:pt x="1019" y="1107"/>
                </a:lnTo>
                <a:lnTo>
                  <a:pt x="1020" y="1105"/>
                </a:lnTo>
                <a:lnTo>
                  <a:pt x="1021" y="1103"/>
                </a:lnTo>
                <a:lnTo>
                  <a:pt x="1023" y="1101"/>
                </a:lnTo>
                <a:lnTo>
                  <a:pt x="1025" y="1100"/>
                </a:lnTo>
                <a:lnTo>
                  <a:pt x="1028" y="1100"/>
                </a:lnTo>
                <a:lnTo>
                  <a:pt x="1030" y="1099"/>
                </a:lnTo>
                <a:close/>
                <a:moveTo>
                  <a:pt x="929" y="997"/>
                </a:moveTo>
                <a:lnTo>
                  <a:pt x="931" y="997"/>
                </a:lnTo>
                <a:lnTo>
                  <a:pt x="934" y="998"/>
                </a:lnTo>
                <a:lnTo>
                  <a:pt x="936" y="999"/>
                </a:lnTo>
                <a:lnTo>
                  <a:pt x="938" y="1000"/>
                </a:lnTo>
                <a:lnTo>
                  <a:pt x="939" y="1002"/>
                </a:lnTo>
                <a:lnTo>
                  <a:pt x="940" y="1005"/>
                </a:lnTo>
                <a:lnTo>
                  <a:pt x="941" y="1009"/>
                </a:lnTo>
                <a:lnTo>
                  <a:pt x="941" y="1011"/>
                </a:lnTo>
                <a:lnTo>
                  <a:pt x="940" y="1014"/>
                </a:lnTo>
                <a:lnTo>
                  <a:pt x="939" y="1016"/>
                </a:lnTo>
                <a:lnTo>
                  <a:pt x="937" y="1018"/>
                </a:lnTo>
                <a:lnTo>
                  <a:pt x="935" y="1019"/>
                </a:lnTo>
                <a:lnTo>
                  <a:pt x="933" y="1020"/>
                </a:lnTo>
                <a:lnTo>
                  <a:pt x="929" y="1021"/>
                </a:lnTo>
                <a:lnTo>
                  <a:pt x="926" y="1021"/>
                </a:lnTo>
                <a:lnTo>
                  <a:pt x="924" y="1020"/>
                </a:lnTo>
                <a:lnTo>
                  <a:pt x="922" y="1019"/>
                </a:lnTo>
                <a:lnTo>
                  <a:pt x="920" y="1017"/>
                </a:lnTo>
                <a:lnTo>
                  <a:pt x="919" y="1015"/>
                </a:lnTo>
                <a:lnTo>
                  <a:pt x="917" y="1013"/>
                </a:lnTo>
                <a:lnTo>
                  <a:pt x="917" y="1008"/>
                </a:lnTo>
                <a:lnTo>
                  <a:pt x="917" y="1006"/>
                </a:lnTo>
                <a:lnTo>
                  <a:pt x="918" y="1004"/>
                </a:lnTo>
                <a:lnTo>
                  <a:pt x="919" y="1002"/>
                </a:lnTo>
                <a:lnTo>
                  <a:pt x="921" y="1000"/>
                </a:lnTo>
                <a:lnTo>
                  <a:pt x="923" y="998"/>
                </a:lnTo>
                <a:lnTo>
                  <a:pt x="925" y="997"/>
                </a:lnTo>
                <a:lnTo>
                  <a:pt x="929" y="997"/>
                </a:lnTo>
                <a:close/>
                <a:moveTo>
                  <a:pt x="833" y="888"/>
                </a:moveTo>
                <a:lnTo>
                  <a:pt x="836" y="888"/>
                </a:lnTo>
                <a:lnTo>
                  <a:pt x="838" y="889"/>
                </a:lnTo>
                <a:lnTo>
                  <a:pt x="841" y="890"/>
                </a:lnTo>
                <a:lnTo>
                  <a:pt x="843" y="892"/>
                </a:lnTo>
                <a:lnTo>
                  <a:pt x="844" y="894"/>
                </a:lnTo>
                <a:lnTo>
                  <a:pt x="845" y="896"/>
                </a:lnTo>
                <a:lnTo>
                  <a:pt x="845" y="899"/>
                </a:lnTo>
                <a:lnTo>
                  <a:pt x="845" y="901"/>
                </a:lnTo>
                <a:lnTo>
                  <a:pt x="845" y="903"/>
                </a:lnTo>
                <a:lnTo>
                  <a:pt x="844" y="906"/>
                </a:lnTo>
                <a:lnTo>
                  <a:pt x="843" y="908"/>
                </a:lnTo>
                <a:lnTo>
                  <a:pt x="841" y="909"/>
                </a:lnTo>
                <a:lnTo>
                  <a:pt x="837" y="912"/>
                </a:lnTo>
                <a:lnTo>
                  <a:pt x="833" y="912"/>
                </a:lnTo>
                <a:lnTo>
                  <a:pt x="831" y="912"/>
                </a:lnTo>
                <a:lnTo>
                  <a:pt x="828" y="911"/>
                </a:lnTo>
                <a:lnTo>
                  <a:pt x="826" y="910"/>
                </a:lnTo>
                <a:lnTo>
                  <a:pt x="824" y="908"/>
                </a:lnTo>
                <a:lnTo>
                  <a:pt x="823" y="906"/>
                </a:lnTo>
                <a:lnTo>
                  <a:pt x="822" y="904"/>
                </a:lnTo>
                <a:lnTo>
                  <a:pt x="821" y="901"/>
                </a:lnTo>
                <a:lnTo>
                  <a:pt x="821" y="899"/>
                </a:lnTo>
                <a:lnTo>
                  <a:pt x="822" y="897"/>
                </a:lnTo>
                <a:lnTo>
                  <a:pt x="822" y="895"/>
                </a:lnTo>
                <a:lnTo>
                  <a:pt x="824" y="893"/>
                </a:lnTo>
                <a:lnTo>
                  <a:pt x="825" y="891"/>
                </a:lnTo>
                <a:lnTo>
                  <a:pt x="829" y="889"/>
                </a:lnTo>
                <a:lnTo>
                  <a:pt x="833" y="888"/>
                </a:lnTo>
                <a:close/>
                <a:moveTo>
                  <a:pt x="742" y="776"/>
                </a:moveTo>
                <a:lnTo>
                  <a:pt x="745" y="776"/>
                </a:lnTo>
                <a:lnTo>
                  <a:pt x="747" y="777"/>
                </a:lnTo>
                <a:lnTo>
                  <a:pt x="750" y="779"/>
                </a:lnTo>
                <a:lnTo>
                  <a:pt x="752" y="781"/>
                </a:lnTo>
                <a:lnTo>
                  <a:pt x="753" y="783"/>
                </a:lnTo>
                <a:lnTo>
                  <a:pt x="754" y="785"/>
                </a:lnTo>
                <a:lnTo>
                  <a:pt x="754" y="787"/>
                </a:lnTo>
                <a:lnTo>
                  <a:pt x="754" y="790"/>
                </a:lnTo>
                <a:lnTo>
                  <a:pt x="753" y="794"/>
                </a:lnTo>
                <a:lnTo>
                  <a:pt x="752" y="796"/>
                </a:lnTo>
                <a:lnTo>
                  <a:pt x="750" y="798"/>
                </a:lnTo>
                <a:lnTo>
                  <a:pt x="746" y="800"/>
                </a:lnTo>
                <a:lnTo>
                  <a:pt x="742" y="800"/>
                </a:lnTo>
                <a:lnTo>
                  <a:pt x="740" y="800"/>
                </a:lnTo>
                <a:lnTo>
                  <a:pt x="737" y="799"/>
                </a:lnTo>
                <a:lnTo>
                  <a:pt x="735" y="798"/>
                </a:lnTo>
                <a:lnTo>
                  <a:pt x="733" y="796"/>
                </a:lnTo>
                <a:lnTo>
                  <a:pt x="731" y="794"/>
                </a:lnTo>
                <a:lnTo>
                  <a:pt x="731" y="792"/>
                </a:lnTo>
                <a:lnTo>
                  <a:pt x="730" y="789"/>
                </a:lnTo>
                <a:lnTo>
                  <a:pt x="730" y="787"/>
                </a:lnTo>
                <a:lnTo>
                  <a:pt x="732" y="782"/>
                </a:lnTo>
                <a:lnTo>
                  <a:pt x="733" y="780"/>
                </a:lnTo>
                <a:lnTo>
                  <a:pt x="735" y="779"/>
                </a:lnTo>
                <a:lnTo>
                  <a:pt x="738" y="777"/>
                </a:lnTo>
                <a:lnTo>
                  <a:pt x="742" y="776"/>
                </a:lnTo>
                <a:close/>
                <a:moveTo>
                  <a:pt x="654" y="661"/>
                </a:moveTo>
                <a:lnTo>
                  <a:pt x="657" y="662"/>
                </a:lnTo>
                <a:lnTo>
                  <a:pt x="660" y="662"/>
                </a:lnTo>
                <a:lnTo>
                  <a:pt x="662" y="664"/>
                </a:lnTo>
                <a:lnTo>
                  <a:pt x="663" y="665"/>
                </a:lnTo>
                <a:lnTo>
                  <a:pt x="664" y="666"/>
                </a:lnTo>
                <a:lnTo>
                  <a:pt x="665" y="668"/>
                </a:lnTo>
                <a:lnTo>
                  <a:pt x="666" y="671"/>
                </a:lnTo>
                <a:lnTo>
                  <a:pt x="667" y="673"/>
                </a:lnTo>
                <a:lnTo>
                  <a:pt x="666" y="675"/>
                </a:lnTo>
                <a:lnTo>
                  <a:pt x="665" y="680"/>
                </a:lnTo>
                <a:lnTo>
                  <a:pt x="663" y="682"/>
                </a:lnTo>
                <a:lnTo>
                  <a:pt x="662" y="683"/>
                </a:lnTo>
                <a:lnTo>
                  <a:pt x="658" y="685"/>
                </a:lnTo>
                <a:lnTo>
                  <a:pt x="656" y="685"/>
                </a:lnTo>
                <a:lnTo>
                  <a:pt x="654" y="686"/>
                </a:lnTo>
                <a:lnTo>
                  <a:pt x="652" y="685"/>
                </a:lnTo>
                <a:lnTo>
                  <a:pt x="649" y="684"/>
                </a:lnTo>
                <a:lnTo>
                  <a:pt x="647" y="683"/>
                </a:lnTo>
                <a:lnTo>
                  <a:pt x="646" y="682"/>
                </a:lnTo>
                <a:lnTo>
                  <a:pt x="645" y="681"/>
                </a:lnTo>
                <a:lnTo>
                  <a:pt x="643" y="678"/>
                </a:lnTo>
                <a:lnTo>
                  <a:pt x="643" y="676"/>
                </a:lnTo>
                <a:lnTo>
                  <a:pt x="642" y="674"/>
                </a:lnTo>
                <a:lnTo>
                  <a:pt x="642" y="671"/>
                </a:lnTo>
                <a:lnTo>
                  <a:pt x="644" y="667"/>
                </a:lnTo>
                <a:lnTo>
                  <a:pt x="645" y="665"/>
                </a:lnTo>
                <a:lnTo>
                  <a:pt x="647" y="664"/>
                </a:lnTo>
                <a:lnTo>
                  <a:pt x="651" y="662"/>
                </a:lnTo>
                <a:lnTo>
                  <a:pt x="653" y="661"/>
                </a:lnTo>
                <a:lnTo>
                  <a:pt x="654" y="661"/>
                </a:lnTo>
                <a:close/>
                <a:moveTo>
                  <a:pt x="571" y="544"/>
                </a:moveTo>
                <a:lnTo>
                  <a:pt x="574" y="544"/>
                </a:lnTo>
                <a:lnTo>
                  <a:pt x="577" y="545"/>
                </a:lnTo>
                <a:lnTo>
                  <a:pt x="579" y="547"/>
                </a:lnTo>
                <a:lnTo>
                  <a:pt x="581" y="549"/>
                </a:lnTo>
                <a:lnTo>
                  <a:pt x="582" y="551"/>
                </a:lnTo>
                <a:lnTo>
                  <a:pt x="583" y="553"/>
                </a:lnTo>
                <a:lnTo>
                  <a:pt x="583" y="558"/>
                </a:lnTo>
                <a:lnTo>
                  <a:pt x="583" y="560"/>
                </a:lnTo>
                <a:lnTo>
                  <a:pt x="581" y="562"/>
                </a:lnTo>
                <a:lnTo>
                  <a:pt x="580" y="564"/>
                </a:lnTo>
                <a:lnTo>
                  <a:pt x="578" y="566"/>
                </a:lnTo>
                <a:lnTo>
                  <a:pt x="575" y="567"/>
                </a:lnTo>
                <a:lnTo>
                  <a:pt x="571" y="568"/>
                </a:lnTo>
                <a:lnTo>
                  <a:pt x="568" y="568"/>
                </a:lnTo>
                <a:lnTo>
                  <a:pt x="566" y="567"/>
                </a:lnTo>
                <a:lnTo>
                  <a:pt x="563" y="565"/>
                </a:lnTo>
                <a:lnTo>
                  <a:pt x="561" y="563"/>
                </a:lnTo>
                <a:lnTo>
                  <a:pt x="560" y="560"/>
                </a:lnTo>
                <a:lnTo>
                  <a:pt x="559" y="558"/>
                </a:lnTo>
                <a:lnTo>
                  <a:pt x="559" y="554"/>
                </a:lnTo>
                <a:lnTo>
                  <a:pt x="560" y="551"/>
                </a:lnTo>
                <a:lnTo>
                  <a:pt x="561" y="549"/>
                </a:lnTo>
                <a:lnTo>
                  <a:pt x="562" y="547"/>
                </a:lnTo>
                <a:lnTo>
                  <a:pt x="564" y="546"/>
                </a:lnTo>
                <a:lnTo>
                  <a:pt x="568" y="544"/>
                </a:lnTo>
                <a:lnTo>
                  <a:pt x="571" y="544"/>
                </a:lnTo>
                <a:close/>
                <a:moveTo>
                  <a:pt x="491" y="424"/>
                </a:moveTo>
                <a:lnTo>
                  <a:pt x="494" y="424"/>
                </a:lnTo>
                <a:lnTo>
                  <a:pt x="497" y="425"/>
                </a:lnTo>
                <a:lnTo>
                  <a:pt x="499" y="427"/>
                </a:lnTo>
                <a:lnTo>
                  <a:pt x="501" y="429"/>
                </a:lnTo>
                <a:lnTo>
                  <a:pt x="503" y="432"/>
                </a:lnTo>
                <a:lnTo>
                  <a:pt x="503" y="434"/>
                </a:lnTo>
                <a:lnTo>
                  <a:pt x="503" y="438"/>
                </a:lnTo>
                <a:lnTo>
                  <a:pt x="502" y="441"/>
                </a:lnTo>
                <a:lnTo>
                  <a:pt x="501" y="443"/>
                </a:lnTo>
                <a:lnTo>
                  <a:pt x="500" y="445"/>
                </a:lnTo>
                <a:lnTo>
                  <a:pt x="498" y="446"/>
                </a:lnTo>
                <a:lnTo>
                  <a:pt x="496" y="447"/>
                </a:lnTo>
                <a:lnTo>
                  <a:pt x="495" y="448"/>
                </a:lnTo>
                <a:lnTo>
                  <a:pt x="491" y="448"/>
                </a:lnTo>
                <a:lnTo>
                  <a:pt x="488" y="448"/>
                </a:lnTo>
                <a:lnTo>
                  <a:pt x="486" y="447"/>
                </a:lnTo>
                <a:lnTo>
                  <a:pt x="483" y="445"/>
                </a:lnTo>
                <a:lnTo>
                  <a:pt x="481" y="443"/>
                </a:lnTo>
                <a:lnTo>
                  <a:pt x="480" y="440"/>
                </a:lnTo>
                <a:lnTo>
                  <a:pt x="479" y="438"/>
                </a:lnTo>
                <a:lnTo>
                  <a:pt x="479" y="433"/>
                </a:lnTo>
                <a:lnTo>
                  <a:pt x="480" y="431"/>
                </a:lnTo>
                <a:lnTo>
                  <a:pt x="481" y="429"/>
                </a:lnTo>
                <a:lnTo>
                  <a:pt x="483" y="427"/>
                </a:lnTo>
                <a:lnTo>
                  <a:pt x="485" y="426"/>
                </a:lnTo>
                <a:lnTo>
                  <a:pt x="486" y="425"/>
                </a:lnTo>
                <a:lnTo>
                  <a:pt x="488" y="424"/>
                </a:lnTo>
                <a:lnTo>
                  <a:pt x="491" y="424"/>
                </a:lnTo>
                <a:close/>
                <a:moveTo>
                  <a:pt x="414" y="302"/>
                </a:moveTo>
                <a:lnTo>
                  <a:pt x="417" y="303"/>
                </a:lnTo>
                <a:lnTo>
                  <a:pt x="420" y="304"/>
                </a:lnTo>
                <a:lnTo>
                  <a:pt x="422" y="305"/>
                </a:lnTo>
                <a:lnTo>
                  <a:pt x="424" y="308"/>
                </a:lnTo>
                <a:lnTo>
                  <a:pt x="425" y="310"/>
                </a:lnTo>
                <a:lnTo>
                  <a:pt x="426" y="312"/>
                </a:lnTo>
                <a:lnTo>
                  <a:pt x="426" y="315"/>
                </a:lnTo>
                <a:lnTo>
                  <a:pt x="426" y="317"/>
                </a:lnTo>
                <a:lnTo>
                  <a:pt x="425" y="319"/>
                </a:lnTo>
                <a:lnTo>
                  <a:pt x="424" y="321"/>
                </a:lnTo>
                <a:lnTo>
                  <a:pt x="422" y="323"/>
                </a:lnTo>
                <a:lnTo>
                  <a:pt x="420" y="325"/>
                </a:lnTo>
                <a:lnTo>
                  <a:pt x="417" y="326"/>
                </a:lnTo>
                <a:lnTo>
                  <a:pt x="414" y="327"/>
                </a:lnTo>
                <a:lnTo>
                  <a:pt x="411" y="326"/>
                </a:lnTo>
                <a:lnTo>
                  <a:pt x="408" y="325"/>
                </a:lnTo>
                <a:lnTo>
                  <a:pt x="406" y="323"/>
                </a:lnTo>
                <a:lnTo>
                  <a:pt x="404" y="321"/>
                </a:lnTo>
                <a:lnTo>
                  <a:pt x="403" y="319"/>
                </a:lnTo>
                <a:lnTo>
                  <a:pt x="402" y="316"/>
                </a:lnTo>
                <a:lnTo>
                  <a:pt x="402" y="314"/>
                </a:lnTo>
                <a:lnTo>
                  <a:pt x="402" y="312"/>
                </a:lnTo>
                <a:lnTo>
                  <a:pt x="403" y="309"/>
                </a:lnTo>
                <a:lnTo>
                  <a:pt x="404" y="307"/>
                </a:lnTo>
                <a:lnTo>
                  <a:pt x="406" y="306"/>
                </a:lnTo>
                <a:lnTo>
                  <a:pt x="407" y="304"/>
                </a:lnTo>
                <a:lnTo>
                  <a:pt x="411" y="303"/>
                </a:lnTo>
                <a:lnTo>
                  <a:pt x="414" y="302"/>
                </a:lnTo>
                <a:close/>
                <a:moveTo>
                  <a:pt x="339" y="179"/>
                </a:moveTo>
                <a:lnTo>
                  <a:pt x="342" y="180"/>
                </a:lnTo>
                <a:lnTo>
                  <a:pt x="345" y="181"/>
                </a:lnTo>
                <a:lnTo>
                  <a:pt x="347" y="183"/>
                </a:lnTo>
                <a:lnTo>
                  <a:pt x="349" y="185"/>
                </a:lnTo>
                <a:lnTo>
                  <a:pt x="350" y="187"/>
                </a:lnTo>
                <a:lnTo>
                  <a:pt x="351" y="190"/>
                </a:lnTo>
                <a:lnTo>
                  <a:pt x="351" y="192"/>
                </a:lnTo>
                <a:lnTo>
                  <a:pt x="351" y="194"/>
                </a:lnTo>
                <a:lnTo>
                  <a:pt x="350" y="197"/>
                </a:lnTo>
                <a:lnTo>
                  <a:pt x="349" y="199"/>
                </a:lnTo>
                <a:lnTo>
                  <a:pt x="347" y="200"/>
                </a:lnTo>
                <a:lnTo>
                  <a:pt x="345" y="202"/>
                </a:lnTo>
                <a:lnTo>
                  <a:pt x="342" y="203"/>
                </a:lnTo>
                <a:lnTo>
                  <a:pt x="339" y="204"/>
                </a:lnTo>
                <a:lnTo>
                  <a:pt x="336" y="203"/>
                </a:lnTo>
                <a:lnTo>
                  <a:pt x="333" y="202"/>
                </a:lnTo>
                <a:lnTo>
                  <a:pt x="330" y="200"/>
                </a:lnTo>
                <a:lnTo>
                  <a:pt x="328" y="198"/>
                </a:lnTo>
                <a:lnTo>
                  <a:pt x="327" y="195"/>
                </a:lnTo>
                <a:lnTo>
                  <a:pt x="327" y="193"/>
                </a:lnTo>
                <a:lnTo>
                  <a:pt x="327" y="191"/>
                </a:lnTo>
                <a:lnTo>
                  <a:pt x="327" y="188"/>
                </a:lnTo>
                <a:lnTo>
                  <a:pt x="328" y="186"/>
                </a:lnTo>
                <a:lnTo>
                  <a:pt x="329" y="184"/>
                </a:lnTo>
                <a:lnTo>
                  <a:pt x="331" y="182"/>
                </a:lnTo>
                <a:lnTo>
                  <a:pt x="333" y="181"/>
                </a:lnTo>
                <a:lnTo>
                  <a:pt x="336" y="180"/>
                </a:lnTo>
                <a:lnTo>
                  <a:pt x="339" y="179"/>
                </a:lnTo>
                <a:close/>
                <a:moveTo>
                  <a:pt x="266" y="55"/>
                </a:moveTo>
                <a:lnTo>
                  <a:pt x="269" y="56"/>
                </a:lnTo>
                <a:lnTo>
                  <a:pt x="272" y="57"/>
                </a:lnTo>
                <a:lnTo>
                  <a:pt x="274" y="59"/>
                </a:lnTo>
                <a:lnTo>
                  <a:pt x="276" y="61"/>
                </a:lnTo>
                <a:lnTo>
                  <a:pt x="278" y="66"/>
                </a:lnTo>
                <a:lnTo>
                  <a:pt x="278" y="68"/>
                </a:lnTo>
                <a:lnTo>
                  <a:pt x="277" y="70"/>
                </a:lnTo>
                <a:lnTo>
                  <a:pt x="277" y="73"/>
                </a:lnTo>
                <a:lnTo>
                  <a:pt x="275" y="75"/>
                </a:lnTo>
                <a:lnTo>
                  <a:pt x="272" y="78"/>
                </a:lnTo>
                <a:lnTo>
                  <a:pt x="269" y="79"/>
                </a:lnTo>
                <a:lnTo>
                  <a:pt x="266" y="79"/>
                </a:lnTo>
                <a:lnTo>
                  <a:pt x="263" y="79"/>
                </a:lnTo>
                <a:lnTo>
                  <a:pt x="260" y="78"/>
                </a:lnTo>
                <a:lnTo>
                  <a:pt x="257" y="76"/>
                </a:lnTo>
                <a:lnTo>
                  <a:pt x="255" y="73"/>
                </a:lnTo>
                <a:lnTo>
                  <a:pt x="254" y="69"/>
                </a:lnTo>
                <a:lnTo>
                  <a:pt x="254" y="66"/>
                </a:lnTo>
                <a:lnTo>
                  <a:pt x="254" y="64"/>
                </a:lnTo>
                <a:lnTo>
                  <a:pt x="255" y="62"/>
                </a:lnTo>
                <a:lnTo>
                  <a:pt x="256" y="60"/>
                </a:lnTo>
                <a:lnTo>
                  <a:pt x="260" y="57"/>
                </a:lnTo>
                <a:lnTo>
                  <a:pt x="263" y="56"/>
                </a:lnTo>
                <a:lnTo>
                  <a:pt x="266" y="55"/>
                </a:lnTo>
                <a:close/>
                <a:moveTo>
                  <a:pt x="1957" y="1969"/>
                </a:moveTo>
                <a:lnTo>
                  <a:pt x="1959" y="1969"/>
                </a:lnTo>
                <a:lnTo>
                  <a:pt x="1962" y="1970"/>
                </a:lnTo>
                <a:lnTo>
                  <a:pt x="1964" y="1971"/>
                </a:lnTo>
                <a:lnTo>
                  <a:pt x="1965" y="1973"/>
                </a:lnTo>
                <a:lnTo>
                  <a:pt x="1967" y="1974"/>
                </a:lnTo>
                <a:lnTo>
                  <a:pt x="1968" y="1976"/>
                </a:lnTo>
                <a:lnTo>
                  <a:pt x="1969" y="1978"/>
                </a:lnTo>
                <a:lnTo>
                  <a:pt x="1969" y="1981"/>
                </a:lnTo>
                <a:lnTo>
                  <a:pt x="1969" y="1983"/>
                </a:lnTo>
                <a:lnTo>
                  <a:pt x="1968" y="1986"/>
                </a:lnTo>
                <a:lnTo>
                  <a:pt x="1967" y="1988"/>
                </a:lnTo>
                <a:lnTo>
                  <a:pt x="1966" y="1989"/>
                </a:lnTo>
                <a:lnTo>
                  <a:pt x="1962" y="1992"/>
                </a:lnTo>
                <a:lnTo>
                  <a:pt x="1960" y="1993"/>
                </a:lnTo>
                <a:lnTo>
                  <a:pt x="1957" y="1993"/>
                </a:lnTo>
                <a:lnTo>
                  <a:pt x="1955" y="1993"/>
                </a:lnTo>
                <a:lnTo>
                  <a:pt x="1953" y="1992"/>
                </a:lnTo>
                <a:lnTo>
                  <a:pt x="1951" y="1991"/>
                </a:lnTo>
                <a:lnTo>
                  <a:pt x="1949" y="1990"/>
                </a:lnTo>
                <a:lnTo>
                  <a:pt x="1947" y="1988"/>
                </a:lnTo>
                <a:lnTo>
                  <a:pt x="1946" y="1986"/>
                </a:lnTo>
                <a:lnTo>
                  <a:pt x="1945" y="1984"/>
                </a:lnTo>
                <a:lnTo>
                  <a:pt x="1945" y="1981"/>
                </a:lnTo>
                <a:lnTo>
                  <a:pt x="1945" y="1979"/>
                </a:lnTo>
                <a:lnTo>
                  <a:pt x="1946" y="1977"/>
                </a:lnTo>
                <a:lnTo>
                  <a:pt x="1947" y="1975"/>
                </a:lnTo>
                <a:lnTo>
                  <a:pt x="1948" y="1973"/>
                </a:lnTo>
                <a:lnTo>
                  <a:pt x="1952" y="1970"/>
                </a:lnTo>
                <a:lnTo>
                  <a:pt x="1954" y="1969"/>
                </a:lnTo>
                <a:lnTo>
                  <a:pt x="1957" y="1969"/>
                </a:lnTo>
                <a:close/>
                <a:moveTo>
                  <a:pt x="1814" y="1962"/>
                </a:moveTo>
                <a:lnTo>
                  <a:pt x="1815" y="1962"/>
                </a:lnTo>
                <a:lnTo>
                  <a:pt x="1817" y="1963"/>
                </a:lnTo>
                <a:lnTo>
                  <a:pt x="1820" y="1964"/>
                </a:lnTo>
                <a:lnTo>
                  <a:pt x="1821" y="1965"/>
                </a:lnTo>
                <a:lnTo>
                  <a:pt x="1823" y="1967"/>
                </a:lnTo>
                <a:lnTo>
                  <a:pt x="1824" y="1968"/>
                </a:lnTo>
                <a:lnTo>
                  <a:pt x="1825" y="1971"/>
                </a:lnTo>
                <a:lnTo>
                  <a:pt x="1826" y="1973"/>
                </a:lnTo>
                <a:lnTo>
                  <a:pt x="1826" y="1975"/>
                </a:lnTo>
                <a:lnTo>
                  <a:pt x="1824" y="1980"/>
                </a:lnTo>
                <a:lnTo>
                  <a:pt x="1823" y="1981"/>
                </a:lnTo>
                <a:lnTo>
                  <a:pt x="1822" y="1983"/>
                </a:lnTo>
                <a:lnTo>
                  <a:pt x="1820" y="1984"/>
                </a:lnTo>
                <a:lnTo>
                  <a:pt x="1818" y="1985"/>
                </a:lnTo>
                <a:lnTo>
                  <a:pt x="1814" y="1986"/>
                </a:lnTo>
                <a:lnTo>
                  <a:pt x="1812" y="1986"/>
                </a:lnTo>
                <a:lnTo>
                  <a:pt x="1810" y="1985"/>
                </a:lnTo>
                <a:lnTo>
                  <a:pt x="1808" y="1984"/>
                </a:lnTo>
                <a:lnTo>
                  <a:pt x="1806" y="1983"/>
                </a:lnTo>
                <a:lnTo>
                  <a:pt x="1804" y="1981"/>
                </a:lnTo>
                <a:lnTo>
                  <a:pt x="1803" y="1979"/>
                </a:lnTo>
                <a:lnTo>
                  <a:pt x="1802" y="1977"/>
                </a:lnTo>
                <a:lnTo>
                  <a:pt x="1802" y="1975"/>
                </a:lnTo>
                <a:lnTo>
                  <a:pt x="1802" y="1972"/>
                </a:lnTo>
                <a:lnTo>
                  <a:pt x="1803" y="1968"/>
                </a:lnTo>
                <a:lnTo>
                  <a:pt x="1804" y="1966"/>
                </a:lnTo>
                <a:lnTo>
                  <a:pt x="1806" y="1965"/>
                </a:lnTo>
                <a:lnTo>
                  <a:pt x="1807" y="1964"/>
                </a:lnTo>
                <a:lnTo>
                  <a:pt x="1809" y="1963"/>
                </a:lnTo>
                <a:lnTo>
                  <a:pt x="1814" y="1962"/>
                </a:lnTo>
                <a:close/>
                <a:moveTo>
                  <a:pt x="2101" y="1956"/>
                </a:moveTo>
                <a:lnTo>
                  <a:pt x="2106" y="1957"/>
                </a:lnTo>
                <a:lnTo>
                  <a:pt x="2109" y="1959"/>
                </a:lnTo>
                <a:lnTo>
                  <a:pt x="2112" y="1962"/>
                </a:lnTo>
                <a:lnTo>
                  <a:pt x="2113" y="1964"/>
                </a:lnTo>
                <a:lnTo>
                  <a:pt x="2113" y="1966"/>
                </a:lnTo>
                <a:lnTo>
                  <a:pt x="2113" y="1968"/>
                </a:lnTo>
                <a:lnTo>
                  <a:pt x="2113" y="1971"/>
                </a:lnTo>
                <a:lnTo>
                  <a:pt x="2112" y="1973"/>
                </a:lnTo>
                <a:lnTo>
                  <a:pt x="2111" y="1975"/>
                </a:lnTo>
                <a:lnTo>
                  <a:pt x="2108" y="1978"/>
                </a:lnTo>
                <a:lnTo>
                  <a:pt x="2106" y="1979"/>
                </a:lnTo>
                <a:lnTo>
                  <a:pt x="2103" y="1980"/>
                </a:lnTo>
                <a:lnTo>
                  <a:pt x="2101" y="1980"/>
                </a:lnTo>
                <a:lnTo>
                  <a:pt x="2097" y="1979"/>
                </a:lnTo>
                <a:lnTo>
                  <a:pt x="2094" y="1977"/>
                </a:lnTo>
                <a:lnTo>
                  <a:pt x="2091" y="1974"/>
                </a:lnTo>
                <a:lnTo>
                  <a:pt x="2090" y="1972"/>
                </a:lnTo>
                <a:lnTo>
                  <a:pt x="2090" y="1970"/>
                </a:lnTo>
                <a:lnTo>
                  <a:pt x="2089" y="1967"/>
                </a:lnTo>
                <a:lnTo>
                  <a:pt x="2090" y="1965"/>
                </a:lnTo>
                <a:lnTo>
                  <a:pt x="2091" y="1963"/>
                </a:lnTo>
                <a:lnTo>
                  <a:pt x="2092" y="1961"/>
                </a:lnTo>
                <a:lnTo>
                  <a:pt x="2095" y="1958"/>
                </a:lnTo>
                <a:lnTo>
                  <a:pt x="2097" y="1957"/>
                </a:lnTo>
                <a:lnTo>
                  <a:pt x="2099" y="1956"/>
                </a:lnTo>
                <a:lnTo>
                  <a:pt x="2101" y="1956"/>
                </a:lnTo>
                <a:close/>
                <a:moveTo>
                  <a:pt x="1673" y="1934"/>
                </a:moveTo>
                <a:lnTo>
                  <a:pt x="1676" y="1934"/>
                </a:lnTo>
                <a:lnTo>
                  <a:pt x="1678" y="1935"/>
                </a:lnTo>
                <a:lnTo>
                  <a:pt x="1680" y="1937"/>
                </a:lnTo>
                <a:lnTo>
                  <a:pt x="1682" y="1938"/>
                </a:lnTo>
                <a:lnTo>
                  <a:pt x="1683" y="1940"/>
                </a:lnTo>
                <a:lnTo>
                  <a:pt x="1684" y="1942"/>
                </a:lnTo>
                <a:lnTo>
                  <a:pt x="1685" y="1944"/>
                </a:lnTo>
                <a:lnTo>
                  <a:pt x="1685" y="1947"/>
                </a:lnTo>
                <a:lnTo>
                  <a:pt x="1684" y="1949"/>
                </a:lnTo>
                <a:lnTo>
                  <a:pt x="1684" y="1951"/>
                </a:lnTo>
                <a:lnTo>
                  <a:pt x="1683" y="1953"/>
                </a:lnTo>
                <a:lnTo>
                  <a:pt x="1680" y="1956"/>
                </a:lnTo>
                <a:lnTo>
                  <a:pt x="1678" y="1957"/>
                </a:lnTo>
                <a:lnTo>
                  <a:pt x="1676" y="1957"/>
                </a:lnTo>
                <a:lnTo>
                  <a:pt x="1673" y="1958"/>
                </a:lnTo>
                <a:lnTo>
                  <a:pt x="1669" y="1958"/>
                </a:lnTo>
                <a:lnTo>
                  <a:pt x="1667" y="1957"/>
                </a:lnTo>
                <a:lnTo>
                  <a:pt x="1665" y="1956"/>
                </a:lnTo>
                <a:lnTo>
                  <a:pt x="1664" y="1954"/>
                </a:lnTo>
                <a:lnTo>
                  <a:pt x="1662" y="1952"/>
                </a:lnTo>
                <a:lnTo>
                  <a:pt x="1661" y="1950"/>
                </a:lnTo>
                <a:lnTo>
                  <a:pt x="1661" y="1948"/>
                </a:lnTo>
                <a:lnTo>
                  <a:pt x="1661" y="1945"/>
                </a:lnTo>
                <a:lnTo>
                  <a:pt x="1661" y="1943"/>
                </a:lnTo>
                <a:lnTo>
                  <a:pt x="1662" y="1941"/>
                </a:lnTo>
                <a:lnTo>
                  <a:pt x="1663" y="1939"/>
                </a:lnTo>
                <a:lnTo>
                  <a:pt x="1665" y="1936"/>
                </a:lnTo>
                <a:lnTo>
                  <a:pt x="1667" y="1935"/>
                </a:lnTo>
                <a:lnTo>
                  <a:pt x="1669" y="1935"/>
                </a:lnTo>
                <a:lnTo>
                  <a:pt x="1673" y="1934"/>
                </a:lnTo>
                <a:close/>
                <a:moveTo>
                  <a:pt x="2242" y="1924"/>
                </a:moveTo>
                <a:lnTo>
                  <a:pt x="2245" y="1925"/>
                </a:lnTo>
                <a:lnTo>
                  <a:pt x="2249" y="1926"/>
                </a:lnTo>
                <a:lnTo>
                  <a:pt x="2252" y="1929"/>
                </a:lnTo>
                <a:lnTo>
                  <a:pt x="2253" y="1933"/>
                </a:lnTo>
                <a:lnTo>
                  <a:pt x="2254" y="1935"/>
                </a:lnTo>
                <a:lnTo>
                  <a:pt x="2254" y="1937"/>
                </a:lnTo>
                <a:lnTo>
                  <a:pt x="2252" y="1942"/>
                </a:lnTo>
                <a:lnTo>
                  <a:pt x="2251" y="1944"/>
                </a:lnTo>
                <a:lnTo>
                  <a:pt x="2249" y="1945"/>
                </a:lnTo>
                <a:lnTo>
                  <a:pt x="2247" y="1947"/>
                </a:lnTo>
                <a:lnTo>
                  <a:pt x="2245" y="1947"/>
                </a:lnTo>
                <a:lnTo>
                  <a:pt x="2242" y="1948"/>
                </a:lnTo>
                <a:lnTo>
                  <a:pt x="2238" y="1947"/>
                </a:lnTo>
                <a:lnTo>
                  <a:pt x="2235" y="1946"/>
                </a:lnTo>
                <a:lnTo>
                  <a:pt x="2232" y="1943"/>
                </a:lnTo>
                <a:lnTo>
                  <a:pt x="2230" y="1939"/>
                </a:lnTo>
                <a:lnTo>
                  <a:pt x="2230" y="1937"/>
                </a:lnTo>
                <a:lnTo>
                  <a:pt x="2230" y="1935"/>
                </a:lnTo>
                <a:lnTo>
                  <a:pt x="2231" y="1930"/>
                </a:lnTo>
                <a:lnTo>
                  <a:pt x="2232" y="1928"/>
                </a:lnTo>
                <a:lnTo>
                  <a:pt x="2234" y="1927"/>
                </a:lnTo>
                <a:lnTo>
                  <a:pt x="2236" y="1925"/>
                </a:lnTo>
                <a:lnTo>
                  <a:pt x="2238" y="1924"/>
                </a:lnTo>
                <a:lnTo>
                  <a:pt x="2242" y="1924"/>
                </a:lnTo>
                <a:close/>
                <a:moveTo>
                  <a:pt x="1537" y="1887"/>
                </a:moveTo>
                <a:lnTo>
                  <a:pt x="1539" y="1887"/>
                </a:lnTo>
                <a:lnTo>
                  <a:pt x="1542" y="1888"/>
                </a:lnTo>
                <a:lnTo>
                  <a:pt x="1544" y="1889"/>
                </a:lnTo>
                <a:lnTo>
                  <a:pt x="1545" y="1891"/>
                </a:lnTo>
                <a:lnTo>
                  <a:pt x="1548" y="1894"/>
                </a:lnTo>
                <a:lnTo>
                  <a:pt x="1549" y="1897"/>
                </a:lnTo>
                <a:lnTo>
                  <a:pt x="1549" y="1899"/>
                </a:lnTo>
                <a:lnTo>
                  <a:pt x="1549" y="1901"/>
                </a:lnTo>
                <a:lnTo>
                  <a:pt x="1548" y="1904"/>
                </a:lnTo>
                <a:lnTo>
                  <a:pt x="1547" y="1905"/>
                </a:lnTo>
                <a:lnTo>
                  <a:pt x="1546" y="1907"/>
                </a:lnTo>
                <a:lnTo>
                  <a:pt x="1543" y="1909"/>
                </a:lnTo>
                <a:lnTo>
                  <a:pt x="1540" y="1910"/>
                </a:lnTo>
                <a:lnTo>
                  <a:pt x="1537" y="1911"/>
                </a:lnTo>
                <a:lnTo>
                  <a:pt x="1535" y="1911"/>
                </a:lnTo>
                <a:lnTo>
                  <a:pt x="1532" y="1910"/>
                </a:lnTo>
                <a:lnTo>
                  <a:pt x="1530" y="1909"/>
                </a:lnTo>
                <a:lnTo>
                  <a:pt x="1528" y="1907"/>
                </a:lnTo>
                <a:lnTo>
                  <a:pt x="1526" y="1903"/>
                </a:lnTo>
                <a:lnTo>
                  <a:pt x="1525" y="1901"/>
                </a:lnTo>
                <a:lnTo>
                  <a:pt x="1525" y="1899"/>
                </a:lnTo>
                <a:lnTo>
                  <a:pt x="1525" y="1897"/>
                </a:lnTo>
                <a:lnTo>
                  <a:pt x="1526" y="1894"/>
                </a:lnTo>
                <a:lnTo>
                  <a:pt x="1527" y="1893"/>
                </a:lnTo>
                <a:lnTo>
                  <a:pt x="1528" y="1891"/>
                </a:lnTo>
                <a:lnTo>
                  <a:pt x="1530" y="1889"/>
                </a:lnTo>
                <a:lnTo>
                  <a:pt x="1533" y="1887"/>
                </a:lnTo>
                <a:lnTo>
                  <a:pt x="1537" y="1887"/>
                </a:lnTo>
                <a:close/>
                <a:moveTo>
                  <a:pt x="2377" y="1876"/>
                </a:moveTo>
                <a:lnTo>
                  <a:pt x="2381" y="1877"/>
                </a:lnTo>
                <a:lnTo>
                  <a:pt x="2384" y="1878"/>
                </a:lnTo>
                <a:lnTo>
                  <a:pt x="2387" y="1880"/>
                </a:lnTo>
                <a:lnTo>
                  <a:pt x="2388" y="1883"/>
                </a:lnTo>
                <a:lnTo>
                  <a:pt x="2389" y="1886"/>
                </a:lnTo>
                <a:lnTo>
                  <a:pt x="2389" y="1888"/>
                </a:lnTo>
                <a:lnTo>
                  <a:pt x="2389" y="1890"/>
                </a:lnTo>
                <a:lnTo>
                  <a:pt x="2388" y="1893"/>
                </a:lnTo>
                <a:lnTo>
                  <a:pt x="2387" y="1895"/>
                </a:lnTo>
                <a:lnTo>
                  <a:pt x="2386" y="1896"/>
                </a:lnTo>
                <a:lnTo>
                  <a:pt x="2382" y="1899"/>
                </a:lnTo>
                <a:lnTo>
                  <a:pt x="2380" y="1900"/>
                </a:lnTo>
                <a:lnTo>
                  <a:pt x="2377" y="1900"/>
                </a:lnTo>
                <a:lnTo>
                  <a:pt x="2374" y="1899"/>
                </a:lnTo>
                <a:lnTo>
                  <a:pt x="2371" y="1898"/>
                </a:lnTo>
                <a:lnTo>
                  <a:pt x="2368" y="1896"/>
                </a:lnTo>
                <a:lnTo>
                  <a:pt x="2366" y="1893"/>
                </a:lnTo>
                <a:lnTo>
                  <a:pt x="2366" y="1890"/>
                </a:lnTo>
                <a:lnTo>
                  <a:pt x="2365" y="1888"/>
                </a:lnTo>
                <a:lnTo>
                  <a:pt x="2366" y="1886"/>
                </a:lnTo>
                <a:lnTo>
                  <a:pt x="2366" y="1883"/>
                </a:lnTo>
                <a:lnTo>
                  <a:pt x="2367" y="1881"/>
                </a:lnTo>
                <a:lnTo>
                  <a:pt x="2369" y="1880"/>
                </a:lnTo>
                <a:lnTo>
                  <a:pt x="2373" y="1877"/>
                </a:lnTo>
                <a:lnTo>
                  <a:pt x="2375" y="1876"/>
                </a:lnTo>
                <a:lnTo>
                  <a:pt x="2377" y="1876"/>
                </a:lnTo>
                <a:close/>
                <a:moveTo>
                  <a:pt x="1408" y="1823"/>
                </a:moveTo>
                <a:lnTo>
                  <a:pt x="1411" y="1824"/>
                </a:lnTo>
                <a:lnTo>
                  <a:pt x="1414" y="1825"/>
                </a:lnTo>
                <a:lnTo>
                  <a:pt x="1416" y="1826"/>
                </a:lnTo>
                <a:lnTo>
                  <a:pt x="1417" y="1827"/>
                </a:lnTo>
                <a:lnTo>
                  <a:pt x="1417" y="1828"/>
                </a:lnTo>
                <a:lnTo>
                  <a:pt x="1419" y="1830"/>
                </a:lnTo>
                <a:lnTo>
                  <a:pt x="1419" y="1832"/>
                </a:lnTo>
                <a:lnTo>
                  <a:pt x="1420" y="1834"/>
                </a:lnTo>
                <a:lnTo>
                  <a:pt x="1420" y="1837"/>
                </a:lnTo>
                <a:lnTo>
                  <a:pt x="1418" y="1841"/>
                </a:lnTo>
                <a:lnTo>
                  <a:pt x="1416" y="1844"/>
                </a:lnTo>
                <a:lnTo>
                  <a:pt x="1414" y="1846"/>
                </a:lnTo>
                <a:lnTo>
                  <a:pt x="1411" y="1847"/>
                </a:lnTo>
                <a:lnTo>
                  <a:pt x="1408" y="1847"/>
                </a:lnTo>
                <a:lnTo>
                  <a:pt x="1405" y="1847"/>
                </a:lnTo>
                <a:lnTo>
                  <a:pt x="1402" y="1846"/>
                </a:lnTo>
                <a:lnTo>
                  <a:pt x="1400" y="1844"/>
                </a:lnTo>
                <a:lnTo>
                  <a:pt x="1399" y="1843"/>
                </a:lnTo>
                <a:lnTo>
                  <a:pt x="1398" y="1843"/>
                </a:lnTo>
                <a:lnTo>
                  <a:pt x="1397" y="1841"/>
                </a:lnTo>
                <a:lnTo>
                  <a:pt x="1396" y="1838"/>
                </a:lnTo>
                <a:lnTo>
                  <a:pt x="1396" y="1836"/>
                </a:lnTo>
                <a:lnTo>
                  <a:pt x="1396" y="1834"/>
                </a:lnTo>
                <a:lnTo>
                  <a:pt x="1397" y="1829"/>
                </a:lnTo>
                <a:lnTo>
                  <a:pt x="1399" y="1827"/>
                </a:lnTo>
                <a:lnTo>
                  <a:pt x="1402" y="1825"/>
                </a:lnTo>
                <a:lnTo>
                  <a:pt x="1405" y="1824"/>
                </a:lnTo>
                <a:lnTo>
                  <a:pt x="1408" y="1823"/>
                </a:lnTo>
                <a:close/>
                <a:moveTo>
                  <a:pt x="2508" y="1815"/>
                </a:moveTo>
                <a:lnTo>
                  <a:pt x="2511" y="1815"/>
                </a:lnTo>
                <a:lnTo>
                  <a:pt x="2514" y="1816"/>
                </a:lnTo>
                <a:lnTo>
                  <a:pt x="2516" y="1818"/>
                </a:lnTo>
                <a:lnTo>
                  <a:pt x="2518" y="1821"/>
                </a:lnTo>
                <a:lnTo>
                  <a:pt x="2519" y="1823"/>
                </a:lnTo>
                <a:lnTo>
                  <a:pt x="2520" y="1826"/>
                </a:lnTo>
                <a:lnTo>
                  <a:pt x="2520" y="1828"/>
                </a:lnTo>
                <a:lnTo>
                  <a:pt x="2519" y="1830"/>
                </a:lnTo>
                <a:lnTo>
                  <a:pt x="2518" y="1832"/>
                </a:lnTo>
                <a:lnTo>
                  <a:pt x="2517" y="1834"/>
                </a:lnTo>
                <a:lnTo>
                  <a:pt x="2515" y="1836"/>
                </a:lnTo>
                <a:lnTo>
                  <a:pt x="2513" y="1837"/>
                </a:lnTo>
                <a:lnTo>
                  <a:pt x="2510" y="1838"/>
                </a:lnTo>
                <a:lnTo>
                  <a:pt x="2508" y="1839"/>
                </a:lnTo>
                <a:lnTo>
                  <a:pt x="2504" y="1838"/>
                </a:lnTo>
                <a:lnTo>
                  <a:pt x="2502" y="1837"/>
                </a:lnTo>
                <a:lnTo>
                  <a:pt x="2499" y="1835"/>
                </a:lnTo>
                <a:lnTo>
                  <a:pt x="2497" y="1832"/>
                </a:lnTo>
                <a:lnTo>
                  <a:pt x="2496" y="1830"/>
                </a:lnTo>
                <a:lnTo>
                  <a:pt x="2496" y="1828"/>
                </a:lnTo>
                <a:lnTo>
                  <a:pt x="2496" y="1825"/>
                </a:lnTo>
                <a:lnTo>
                  <a:pt x="2496" y="1823"/>
                </a:lnTo>
                <a:lnTo>
                  <a:pt x="2497" y="1821"/>
                </a:lnTo>
                <a:lnTo>
                  <a:pt x="2498" y="1819"/>
                </a:lnTo>
                <a:lnTo>
                  <a:pt x="2500" y="1817"/>
                </a:lnTo>
                <a:lnTo>
                  <a:pt x="2502" y="1816"/>
                </a:lnTo>
                <a:lnTo>
                  <a:pt x="2505" y="1815"/>
                </a:lnTo>
                <a:lnTo>
                  <a:pt x="2508" y="1815"/>
                </a:lnTo>
                <a:close/>
                <a:moveTo>
                  <a:pt x="1287" y="1746"/>
                </a:moveTo>
                <a:lnTo>
                  <a:pt x="1290" y="1746"/>
                </a:lnTo>
                <a:lnTo>
                  <a:pt x="1292" y="1747"/>
                </a:lnTo>
                <a:lnTo>
                  <a:pt x="1294" y="1748"/>
                </a:lnTo>
                <a:lnTo>
                  <a:pt x="1295" y="1750"/>
                </a:lnTo>
                <a:lnTo>
                  <a:pt x="1297" y="1751"/>
                </a:lnTo>
                <a:lnTo>
                  <a:pt x="1298" y="1754"/>
                </a:lnTo>
                <a:lnTo>
                  <a:pt x="1298" y="1756"/>
                </a:lnTo>
                <a:lnTo>
                  <a:pt x="1298" y="1760"/>
                </a:lnTo>
                <a:lnTo>
                  <a:pt x="1298" y="1763"/>
                </a:lnTo>
                <a:lnTo>
                  <a:pt x="1296" y="1765"/>
                </a:lnTo>
                <a:lnTo>
                  <a:pt x="1294" y="1767"/>
                </a:lnTo>
                <a:lnTo>
                  <a:pt x="1293" y="1768"/>
                </a:lnTo>
                <a:lnTo>
                  <a:pt x="1292" y="1768"/>
                </a:lnTo>
                <a:lnTo>
                  <a:pt x="1289" y="1769"/>
                </a:lnTo>
                <a:lnTo>
                  <a:pt x="1287" y="1770"/>
                </a:lnTo>
                <a:lnTo>
                  <a:pt x="1283" y="1769"/>
                </a:lnTo>
                <a:lnTo>
                  <a:pt x="1281" y="1769"/>
                </a:lnTo>
                <a:lnTo>
                  <a:pt x="1280" y="1768"/>
                </a:lnTo>
                <a:lnTo>
                  <a:pt x="1278" y="1766"/>
                </a:lnTo>
                <a:lnTo>
                  <a:pt x="1276" y="1764"/>
                </a:lnTo>
                <a:lnTo>
                  <a:pt x="1275" y="1762"/>
                </a:lnTo>
                <a:lnTo>
                  <a:pt x="1275" y="1760"/>
                </a:lnTo>
                <a:lnTo>
                  <a:pt x="1275" y="1755"/>
                </a:lnTo>
                <a:lnTo>
                  <a:pt x="1276" y="1753"/>
                </a:lnTo>
                <a:lnTo>
                  <a:pt x="1277" y="1751"/>
                </a:lnTo>
                <a:lnTo>
                  <a:pt x="1279" y="1749"/>
                </a:lnTo>
                <a:lnTo>
                  <a:pt x="1280" y="1748"/>
                </a:lnTo>
                <a:lnTo>
                  <a:pt x="1281" y="1747"/>
                </a:lnTo>
                <a:lnTo>
                  <a:pt x="1284" y="1746"/>
                </a:lnTo>
                <a:lnTo>
                  <a:pt x="1287" y="1746"/>
                </a:lnTo>
                <a:close/>
                <a:moveTo>
                  <a:pt x="2632" y="1743"/>
                </a:moveTo>
                <a:lnTo>
                  <a:pt x="2635" y="1743"/>
                </a:lnTo>
                <a:lnTo>
                  <a:pt x="2638" y="1744"/>
                </a:lnTo>
                <a:lnTo>
                  <a:pt x="2640" y="1746"/>
                </a:lnTo>
                <a:lnTo>
                  <a:pt x="2642" y="1748"/>
                </a:lnTo>
                <a:lnTo>
                  <a:pt x="2644" y="1751"/>
                </a:lnTo>
                <a:lnTo>
                  <a:pt x="2644" y="1753"/>
                </a:lnTo>
                <a:lnTo>
                  <a:pt x="2644" y="1755"/>
                </a:lnTo>
                <a:lnTo>
                  <a:pt x="2644" y="1757"/>
                </a:lnTo>
                <a:lnTo>
                  <a:pt x="2643" y="1760"/>
                </a:lnTo>
                <a:lnTo>
                  <a:pt x="2642" y="1762"/>
                </a:lnTo>
                <a:lnTo>
                  <a:pt x="2641" y="1763"/>
                </a:lnTo>
                <a:lnTo>
                  <a:pt x="2639" y="1765"/>
                </a:lnTo>
                <a:lnTo>
                  <a:pt x="2636" y="1766"/>
                </a:lnTo>
                <a:lnTo>
                  <a:pt x="2632" y="1767"/>
                </a:lnTo>
                <a:lnTo>
                  <a:pt x="2629" y="1766"/>
                </a:lnTo>
                <a:lnTo>
                  <a:pt x="2627" y="1765"/>
                </a:lnTo>
                <a:lnTo>
                  <a:pt x="2624" y="1764"/>
                </a:lnTo>
                <a:lnTo>
                  <a:pt x="2622" y="1761"/>
                </a:lnTo>
                <a:lnTo>
                  <a:pt x="2621" y="1759"/>
                </a:lnTo>
                <a:lnTo>
                  <a:pt x="2620" y="1757"/>
                </a:lnTo>
                <a:lnTo>
                  <a:pt x="2620" y="1754"/>
                </a:lnTo>
                <a:lnTo>
                  <a:pt x="2621" y="1752"/>
                </a:lnTo>
                <a:lnTo>
                  <a:pt x="2621" y="1750"/>
                </a:lnTo>
                <a:lnTo>
                  <a:pt x="2622" y="1748"/>
                </a:lnTo>
                <a:lnTo>
                  <a:pt x="2624" y="1746"/>
                </a:lnTo>
                <a:lnTo>
                  <a:pt x="2626" y="1745"/>
                </a:lnTo>
                <a:lnTo>
                  <a:pt x="2629" y="1743"/>
                </a:lnTo>
                <a:lnTo>
                  <a:pt x="2632" y="1743"/>
                </a:lnTo>
                <a:close/>
                <a:moveTo>
                  <a:pt x="1173" y="1657"/>
                </a:moveTo>
                <a:lnTo>
                  <a:pt x="1177" y="1658"/>
                </a:lnTo>
                <a:lnTo>
                  <a:pt x="1181" y="1660"/>
                </a:lnTo>
                <a:lnTo>
                  <a:pt x="1182" y="1662"/>
                </a:lnTo>
                <a:lnTo>
                  <a:pt x="1184" y="1664"/>
                </a:lnTo>
                <a:lnTo>
                  <a:pt x="1185" y="1666"/>
                </a:lnTo>
                <a:lnTo>
                  <a:pt x="1185" y="1668"/>
                </a:lnTo>
                <a:lnTo>
                  <a:pt x="1185" y="1671"/>
                </a:lnTo>
                <a:lnTo>
                  <a:pt x="1184" y="1673"/>
                </a:lnTo>
                <a:lnTo>
                  <a:pt x="1184" y="1675"/>
                </a:lnTo>
                <a:lnTo>
                  <a:pt x="1182" y="1677"/>
                </a:lnTo>
                <a:lnTo>
                  <a:pt x="1180" y="1679"/>
                </a:lnTo>
                <a:lnTo>
                  <a:pt x="1178" y="1680"/>
                </a:lnTo>
                <a:lnTo>
                  <a:pt x="1176" y="1681"/>
                </a:lnTo>
                <a:lnTo>
                  <a:pt x="1173" y="1681"/>
                </a:lnTo>
                <a:lnTo>
                  <a:pt x="1169" y="1681"/>
                </a:lnTo>
                <a:lnTo>
                  <a:pt x="1165" y="1679"/>
                </a:lnTo>
                <a:lnTo>
                  <a:pt x="1164" y="1677"/>
                </a:lnTo>
                <a:lnTo>
                  <a:pt x="1162" y="1675"/>
                </a:lnTo>
                <a:lnTo>
                  <a:pt x="1161" y="1673"/>
                </a:lnTo>
                <a:lnTo>
                  <a:pt x="1161" y="1670"/>
                </a:lnTo>
                <a:lnTo>
                  <a:pt x="1161" y="1668"/>
                </a:lnTo>
                <a:lnTo>
                  <a:pt x="1162" y="1666"/>
                </a:lnTo>
                <a:lnTo>
                  <a:pt x="1162" y="1664"/>
                </a:lnTo>
                <a:lnTo>
                  <a:pt x="1164" y="1662"/>
                </a:lnTo>
                <a:lnTo>
                  <a:pt x="1166" y="1660"/>
                </a:lnTo>
                <a:lnTo>
                  <a:pt x="1168" y="1659"/>
                </a:lnTo>
                <a:lnTo>
                  <a:pt x="1170" y="1658"/>
                </a:lnTo>
                <a:lnTo>
                  <a:pt x="1173" y="1657"/>
                </a:lnTo>
                <a:close/>
                <a:moveTo>
                  <a:pt x="1066" y="1561"/>
                </a:moveTo>
                <a:lnTo>
                  <a:pt x="1071" y="1562"/>
                </a:lnTo>
                <a:lnTo>
                  <a:pt x="1073" y="1563"/>
                </a:lnTo>
                <a:lnTo>
                  <a:pt x="1075" y="1564"/>
                </a:lnTo>
                <a:lnTo>
                  <a:pt x="1076" y="1566"/>
                </a:lnTo>
                <a:lnTo>
                  <a:pt x="1077" y="1568"/>
                </a:lnTo>
                <a:lnTo>
                  <a:pt x="1078" y="1570"/>
                </a:lnTo>
                <a:lnTo>
                  <a:pt x="1078" y="1572"/>
                </a:lnTo>
                <a:lnTo>
                  <a:pt x="1078" y="1577"/>
                </a:lnTo>
                <a:lnTo>
                  <a:pt x="1077" y="1579"/>
                </a:lnTo>
                <a:lnTo>
                  <a:pt x="1075" y="1581"/>
                </a:lnTo>
                <a:lnTo>
                  <a:pt x="1073" y="1583"/>
                </a:lnTo>
                <a:lnTo>
                  <a:pt x="1071" y="1584"/>
                </a:lnTo>
                <a:lnTo>
                  <a:pt x="1069" y="1584"/>
                </a:lnTo>
                <a:lnTo>
                  <a:pt x="1066" y="1585"/>
                </a:lnTo>
                <a:lnTo>
                  <a:pt x="1062" y="1584"/>
                </a:lnTo>
                <a:lnTo>
                  <a:pt x="1060" y="1583"/>
                </a:lnTo>
                <a:lnTo>
                  <a:pt x="1058" y="1581"/>
                </a:lnTo>
                <a:lnTo>
                  <a:pt x="1056" y="1579"/>
                </a:lnTo>
                <a:lnTo>
                  <a:pt x="1055" y="1577"/>
                </a:lnTo>
                <a:lnTo>
                  <a:pt x="1055" y="1575"/>
                </a:lnTo>
                <a:lnTo>
                  <a:pt x="1054" y="1573"/>
                </a:lnTo>
                <a:lnTo>
                  <a:pt x="1055" y="1568"/>
                </a:lnTo>
                <a:lnTo>
                  <a:pt x="1056" y="1566"/>
                </a:lnTo>
                <a:lnTo>
                  <a:pt x="1058" y="1564"/>
                </a:lnTo>
                <a:lnTo>
                  <a:pt x="1060" y="1563"/>
                </a:lnTo>
                <a:lnTo>
                  <a:pt x="1062" y="1562"/>
                </a:lnTo>
                <a:lnTo>
                  <a:pt x="1064" y="1561"/>
                </a:lnTo>
                <a:lnTo>
                  <a:pt x="1066" y="1561"/>
                </a:lnTo>
                <a:close/>
                <a:moveTo>
                  <a:pt x="966" y="1457"/>
                </a:moveTo>
                <a:lnTo>
                  <a:pt x="969" y="1457"/>
                </a:lnTo>
                <a:lnTo>
                  <a:pt x="971" y="1458"/>
                </a:lnTo>
                <a:lnTo>
                  <a:pt x="973" y="1459"/>
                </a:lnTo>
                <a:lnTo>
                  <a:pt x="975" y="1461"/>
                </a:lnTo>
                <a:lnTo>
                  <a:pt x="977" y="1463"/>
                </a:lnTo>
                <a:lnTo>
                  <a:pt x="978" y="1465"/>
                </a:lnTo>
                <a:lnTo>
                  <a:pt x="978" y="1470"/>
                </a:lnTo>
                <a:lnTo>
                  <a:pt x="978" y="1472"/>
                </a:lnTo>
                <a:lnTo>
                  <a:pt x="977" y="1474"/>
                </a:lnTo>
                <a:lnTo>
                  <a:pt x="976" y="1476"/>
                </a:lnTo>
                <a:lnTo>
                  <a:pt x="974" y="1478"/>
                </a:lnTo>
                <a:lnTo>
                  <a:pt x="970" y="1480"/>
                </a:lnTo>
                <a:lnTo>
                  <a:pt x="966" y="1481"/>
                </a:lnTo>
                <a:lnTo>
                  <a:pt x="964" y="1481"/>
                </a:lnTo>
                <a:lnTo>
                  <a:pt x="961" y="1480"/>
                </a:lnTo>
                <a:lnTo>
                  <a:pt x="959" y="1479"/>
                </a:lnTo>
                <a:lnTo>
                  <a:pt x="957" y="1477"/>
                </a:lnTo>
                <a:lnTo>
                  <a:pt x="956" y="1475"/>
                </a:lnTo>
                <a:lnTo>
                  <a:pt x="955" y="1473"/>
                </a:lnTo>
                <a:lnTo>
                  <a:pt x="954" y="1469"/>
                </a:lnTo>
                <a:lnTo>
                  <a:pt x="955" y="1466"/>
                </a:lnTo>
                <a:lnTo>
                  <a:pt x="955" y="1464"/>
                </a:lnTo>
                <a:lnTo>
                  <a:pt x="956" y="1462"/>
                </a:lnTo>
                <a:lnTo>
                  <a:pt x="958" y="1460"/>
                </a:lnTo>
                <a:lnTo>
                  <a:pt x="962" y="1458"/>
                </a:lnTo>
                <a:lnTo>
                  <a:pt x="966" y="1457"/>
                </a:lnTo>
                <a:close/>
                <a:moveTo>
                  <a:pt x="872" y="1349"/>
                </a:moveTo>
                <a:lnTo>
                  <a:pt x="874" y="1349"/>
                </a:lnTo>
                <a:lnTo>
                  <a:pt x="877" y="1350"/>
                </a:lnTo>
                <a:lnTo>
                  <a:pt x="879" y="1351"/>
                </a:lnTo>
                <a:lnTo>
                  <a:pt x="881" y="1353"/>
                </a:lnTo>
                <a:lnTo>
                  <a:pt x="882" y="1355"/>
                </a:lnTo>
                <a:lnTo>
                  <a:pt x="883" y="1357"/>
                </a:lnTo>
                <a:lnTo>
                  <a:pt x="884" y="1359"/>
                </a:lnTo>
                <a:lnTo>
                  <a:pt x="884" y="1362"/>
                </a:lnTo>
                <a:lnTo>
                  <a:pt x="883" y="1364"/>
                </a:lnTo>
                <a:lnTo>
                  <a:pt x="882" y="1366"/>
                </a:lnTo>
                <a:lnTo>
                  <a:pt x="881" y="1368"/>
                </a:lnTo>
                <a:lnTo>
                  <a:pt x="879" y="1370"/>
                </a:lnTo>
                <a:lnTo>
                  <a:pt x="878" y="1371"/>
                </a:lnTo>
                <a:lnTo>
                  <a:pt x="876" y="1372"/>
                </a:lnTo>
                <a:lnTo>
                  <a:pt x="872" y="1373"/>
                </a:lnTo>
                <a:lnTo>
                  <a:pt x="869" y="1372"/>
                </a:lnTo>
                <a:lnTo>
                  <a:pt x="867" y="1371"/>
                </a:lnTo>
                <a:lnTo>
                  <a:pt x="864" y="1370"/>
                </a:lnTo>
                <a:lnTo>
                  <a:pt x="862" y="1368"/>
                </a:lnTo>
                <a:lnTo>
                  <a:pt x="861" y="1366"/>
                </a:lnTo>
                <a:lnTo>
                  <a:pt x="860" y="1364"/>
                </a:lnTo>
                <a:lnTo>
                  <a:pt x="860" y="1362"/>
                </a:lnTo>
                <a:lnTo>
                  <a:pt x="860" y="1359"/>
                </a:lnTo>
                <a:lnTo>
                  <a:pt x="860" y="1357"/>
                </a:lnTo>
                <a:lnTo>
                  <a:pt x="861" y="1355"/>
                </a:lnTo>
                <a:lnTo>
                  <a:pt x="862" y="1353"/>
                </a:lnTo>
                <a:lnTo>
                  <a:pt x="864" y="1351"/>
                </a:lnTo>
                <a:lnTo>
                  <a:pt x="866" y="1350"/>
                </a:lnTo>
                <a:lnTo>
                  <a:pt x="868" y="1349"/>
                </a:lnTo>
                <a:lnTo>
                  <a:pt x="872" y="1349"/>
                </a:lnTo>
                <a:close/>
                <a:moveTo>
                  <a:pt x="782" y="1236"/>
                </a:moveTo>
                <a:lnTo>
                  <a:pt x="785" y="1236"/>
                </a:lnTo>
                <a:lnTo>
                  <a:pt x="787" y="1237"/>
                </a:lnTo>
                <a:lnTo>
                  <a:pt x="790" y="1238"/>
                </a:lnTo>
                <a:lnTo>
                  <a:pt x="792" y="1241"/>
                </a:lnTo>
                <a:lnTo>
                  <a:pt x="793" y="1243"/>
                </a:lnTo>
                <a:lnTo>
                  <a:pt x="794" y="1245"/>
                </a:lnTo>
                <a:lnTo>
                  <a:pt x="794" y="1247"/>
                </a:lnTo>
                <a:lnTo>
                  <a:pt x="794" y="1249"/>
                </a:lnTo>
                <a:lnTo>
                  <a:pt x="793" y="1252"/>
                </a:lnTo>
                <a:lnTo>
                  <a:pt x="792" y="1254"/>
                </a:lnTo>
                <a:lnTo>
                  <a:pt x="791" y="1256"/>
                </a:lnTo>
                <a:lnTo>
                  <a:pt x="789" y="1257"/>
                </a:lnTo>
                <a:lnTo>
                  <a:pt x="788" y="1258"/>
                </a:lnTo>
                <a:lnTo>
                  <a:pt x="786" y="1259"/>
                </a:lnTo>
                <a:lnTo>
                  <a:pt x="784" y="1260"/>
                </a:lnTo>
                <a:lnTo>
                  <a:pt x="782" y="1260"/>
                </a:lnTo>
                <a:lnTo>
                  <a:pt x="779" y="1259"/>
                </a:lnTo>
                <a:lnTo>
                  <a:pt x="777" y="1259"/>
                </a:lnTo>
                <a:lnTo>
                  <a:pt x="774" y="1257"/>
                </a:lnTo>
                <a:lnTo>
                  <a:pt x="772" y="1255"/>
                </a:lnTo>
                <a:lnTo>
                  <a:pt x="771" y="1253"/>
                </a:lnTo>
                <a:lnTo>
                  <a:pt x="770" y="1251"/>
                </a:lnTo>
                <a:lnTo>
                  <a:pt x="770" y="1249"/>
                </a:lnTo>
                <a:lnTo>
                  <a:pt x="770" y="1246"/>
                </a:lnTo>
                <a:lnTo>
                  <a:pt x="771" y="1244"/>
                </a:lnTo>
                <a:lnTo>
                  <a:pt x="772" y="1242"/>
                </a:lnTo>
                <a:lnTo>
                  <a:pt x="773" y="1240"/>
                </a:lnTo>
                <a:lnTo>
                  <a:pt x="775" y="1238"/>
                </a:lnTo>
                <a:lnTo>
                  <a:pt x="776" y="1237"/>
                </a:lnTo>
                <a:lnTo>
                  <a:pt x="778" y="1236"/>
                </a:lnTo>
                <a:lnTo>
                  <a:pt x="780" y="1236"/>
                </a:lnTo>
                <a:lnTo>
                  <a:pt x="782" y="1236"/>
                </a:lnTo>
                <a:close/>
                <a:moveTo>
                  <a:pt x="697" y="1120"/>
                </a:moveTo>
                <a:lnTo>
                  <a:pt x="699" y="1120"/>
                </a:lnTo>
                <a:lnTo>
                  <a:pt x="702" y="1121"/>
                </a:lnTo>
                <a:lnTo>
                  <a:pt x="704" y="1123"/>
                </a:lnTo>
                <a:lnTo>
                  <a:pt x="705" y="1124"/>
                </a:lnTo>
                <a:lnTo>
                  <a:pt x="706" y="1125"/>
                </a:lnTo>
                <a:lnTo>
                  <a:pt x="708" y="1127"/>
                </a:lnTo>
                <a:lnTo>
                  <a:pt x="708" y="1129"/>
                </a:lnTo>
                <a:lnTo>
                  <a:pt x="708" y="1134"/>
                </a:lnTo>
                <a:lnTo>
                  <a:pt x="708" y="1136"/>
                </a:lnTo>
                <a:lnTo>
                  <a:pt x="707" y="1138"/>
                </a:lnTo>
                <a:lnTo>
                  <a:pt x="705" y="1140"/>
                </a:lnTo>
                <a:lnTo>
                  <a:pt x="704" y="1142"/>
                </a:lnTo>
                <a:lnTo>
                  <a:pt x="700" y="1143"/>
                </a:lnTo>
                <a:lnTo>
                  <a:pt x="697" y="1144"/>
                </a:lnTo>
                <a:lnTo>
                  <a:pt x="694" y="1143"/>
                </a:lnTo>
                <a:lnTo>
                  <a:pt x="691" y="1142"/>
                </a:lnTo>
                <a:lnTo>
                  <a:pt x="689" y="1141"/>
                </a:lnTo>
                <a:lnTo>
                  <a:pt x="688" y="1140"/>
                </a:lnTo>
                <a:lnTo>
                  <a:pt x="687" y="1139"/>
                </a:lnTo>
                <a:lnTo>
                  <a:pt x="686" y="1137"/>
                </a:lnTo>
                <a:lnTo>
                  <a:pt x="685" y="1134"/>
                </a:lnTo>
                <a:lnTo>
                  <a:pt x="685" y="1130"/>
                </a:lnTo>
                <a:lnTo>
                  <a:pt x="685" y="1128"/>
                </a:lnTo>
                <a:lnTo>
                  <a:pt x="686" y="1125"/>
                </a:lnTo>
                <a:lnTo>
                  <a:pt x="688" y="1124"/>
                </a:lnTo>
                <a:lnTo>
                  <a:pt x="690" y="1122"/>
                </a:lnTo>
                <a:lnTo>
                  <a:pt x="693" y="1120"/>
                </a:lnTo>
                <a:lnTo>
                  <a:pt x="697" y="1120"/>
                </a:lnTo>
                <a:close/>
                <a:moveTo>
                  <a:pt x="614" y="1001"/>
                </a:moveTo>
                <a:lnTo>
                  <a:pt x="617" y="1002"/>
                </a:lnTo>
                <a:lnTo>
                  <a:pt x="619" y="1003"/>
                </a:lnTo>
                <a:lnTo>
                  <a:pt x="622" y="1004"/>
                </a:lnTo>
                <a:lnTo>
                  <a:pt x="624" y="1007"/>
                </a:lnTo>
                <a:lnTo>
                  <a:pt x="625" y="1009"/>
                </a:lnTo>
                <a:lnTo>
                  <a:pt x="626" y="1011"/>
                </a:lnTo>
                <a:lnTo>
                  <a:pt x="626" y="1016"/>
                </a:lnTo>
                <a:lnTo>
                  <a:pt x="625" y="1018"/>
                </a:lnTo>
                <a:lnTo>
                  <a:pt x="624" y="1020"/>
                </a:lnTo>
                <a:lnTo>
                  <a:pt x="622" y="1022"/>
                </a:lnTo>
                <a:lnTo>
                  <a:pt x="620" y="1023"/>
                </a:lnTo>
                <a:lnTo>
                  <a:pt x="619" y="1024"/>
                </a:lnTo>
                <a:lnTo>
                  <a:pt x="617" y="1025"/>
                </a:lnTo>
                <a:lnTo>
                  <a:pt x="614" y="1025"/>
                </a:lnTo>
                <a:lnTo>
                  <a:pt x="611" y="1025"/>
                </a:lnTo>
                <a:lnTo>
                  <a:pt x="608" y="1024"/>
                </a:lnTo>
                <a:lnTo>
                  <a:pt x="606" y="1022"/>
                </a:lnTo>
                <a:lnTo>
                  <a:pt x="604" y="1020"/>
                </a:lnTo>
                <a:lnTo>
                  <a:pt x="603" y="1018"/>
                </a:lnTo>
                <a:lnTo>
                  <a:pt x="602" y="1015"/>
                </a:lnTo>
                <a:lnTo>
                  <a:pt x="602" y="1011"/>
                </a:lnTo>
                <a:lnTo>
                  <a:pt x="603" y="1009"/>
                </a:lnTo>
                <a:lnTo>
                  <a:pt x="604" y="1007"/>
                </a:lnTo>
                <a:lnTo>
                  <a:pt x="605" y="1005"/>
                </a:lnTo>
                <a:lnTo>
                  <a:pt x="607" y="1003"/>
                </a:lnTo>
                <a:lnTo>
                  <a:pt x="609" y="1002"/>
                </a:lnTo>
                <a:lnTo>
                  <a:pt x="610" y="1002"/>
                </a:lnTo>
                <a:lnTo>
                  <a:pt x="614" y="1001"/>
                </a:lnTo>
                <a:close/>
                <a:moveTo>
                  <a:pt x="535" y="880"/>
                </a:moveTo>
                <a:lnTo>
                  <a:pt x="538" y="880"/>
                </a:lnTo>
                <a:lnTo>
                  <a:pt x="541" y="881"/>
                </a:lnTo>
                <a:lnTo>
                  <a:pt x="543" y="883"/>
                </a:lnTo>
                <a:lnTo>
                  <a:pt x="545" y="885"/>
                </a:lnTo>
                <a:lnTo>
                  <a:pt x="546" y="887"/>
                </a:lnTo>
                <a:lnTo>
                  <a:pt x="547" y="890"/>
                </a:lnTo>
                <a:lnTo>
                  <a:pt x="547" y="894"/>
                </a:lnTo>
                <a:lnTo>
                  <a:pt x="546" y="896"/>
                </a:lnTo>
                <a:lnTo>
                  <a:pt x="545" y="898"/>
                </a:lnTo>
                <a:lnTo>
                  <a:pt x="543" y="900"/>
                </a:lnTo>
                <a:lnTo>
                  <a:pt x="541" y="902"/>
                </a:lnTo>
                <a:lnTo>
                  <a:pt x="538" y="903"/>
                </a:lnTo>
                <a:lnTo>
                  <a:pt x="535" y="904"/>
                </a:lnTo>
                <a:lnTo>
                  <a:pt x="532" y="903"/>
                </a:lnTo>
                <a:lnTo>
                  <a:pt x="529" y="902"/>
                </a:lnTo>
                <a:lnTo>
                  <a:pt x="527" y="900"/>
                </a:lnTo>
                <a:lnTo>
                  <a:pt x="525" y="898"/>
                </a:lnTo>
                <a:lnTo>
                  <a:pt x="524" y="896"/>
                </a:lnTo>
                <a:lnTo>
                  <a:pt x="523" y="894"/>
                </a:lnTo>
                <a:lnTo>
                  <a:pt x="523" y="889"/>
                </a:lnTo>
                <a:lnTo>
                  <a:pt x="524" y="887"/>
                </a:lnTo>
                <a:lnTo>
                  <a:pt x="525" y="885"/>
                </a:lnTo>
                <a:lnTo>
                  <a:pt x="527" y="883"/>
                </a:lnTo>
                <a:lnTo>
                  <a:pt x="528" y="881"/>
                </a:lnTo>
                <a:lnTo>
                  <a:pt x="532" y="880"/>
                </a:lnTo>
                <a:lnTo>
                  <a:pt x="535" y="880"/>
                </a:lnTo>
                <a:close/>
                <a:moveTo>
                  <a:pt x="459" y="757"/>
                </a:moveTo>
                <a:lnTo>
                  <a:pt x="462" y="758"/>
                </a:lnTo>
                <a:lnTo>
                  <a:pt x="464" y="759"/>
                </a:lnTo>
                <a:lnTo>
                  <a:pt x="467" y="761"/>
                </a:lnTo>
                <a:lnTo>
                  <a:pt x="469" y="763"/>
                </a:lnTo>
                <a:lnTo>
                  <a:pt x="470" y="765"/>
                </a:lnTo>
                <a:lnTo>
                  <a:pt x="470" y="768"/>
                </a:lnTo>
                <a:lnTo>
                  <a:pt x="471" y="770"/>
                </a:lnTo>
                <a:lnTo>
                  <a:pt x="470" y="772"/>
                </a:lnTo>
                <a:lnTo>
                  <a:pt x="470" y="774"/>
                </a:lnTo>
                <a:lnTo>
                  <a:pt x="468" y="776"/>
                </a:lnTo>
                <a:lnTo>
                  <a:pt x="467" y="778"/>
                </a:lnTo>
                <a:lnTo>
                  <a:pt x="465" y="780"/>
                </a:lnTo>
                <a:lnTo>
                  <a:pt x="462" y="781"/>
                </a:lnTo>
                <a:lnTo>
                  <a:pt x="459" y="781"/>
                </a:lnTo>
                <a:lnTo>
                  <a:pt x="456" y="781"/>
                </a:lnTo>
                <a:lnTo>
                  <a:pt x="453" y="780"/>
                </a:lnTo>
                <a:lnTo>
                  <a:pt x="450" y="778"/>
                </a:lnTo>
                <a:lnTo>
                  <a:pt x="448" y="776"/>
                </a:lnTo>
                <a:lnTo>
                  <a:pt x="447" y="774"/>
                </a:lnTo>
                <a:lnTo>
                  <a:pt x="447" y="771"/>
                </a:lnTo>
                <a:lnTo>
                  <a:pt x="447" y="769"/>
                </a:lnTo>
                <a:lnTo>
                  <a:pt x="447" y="767"/>
                </a:lnTo>
                <a:lnTo>
                  <a:pt x="448" y="764"/>
                </a:lnTo>
                <a:lnTo>
                  <a:pt x="449" y="762"/>
                </a:lnTo>
                <a:lnTo>
                  <a:pt x="450" y="761"/>
                </a:lnTo>
                <a:lnTo>
                  <a:pt x="452" y="759"/>
                </a:lnTo>
                <a:lnTo>
                  <a:pt x="455" y="758"/>
                </a:lnTo>
                <a:lnTo>
                  <a:pt x="459" y="757"/>
                </a:lnTo>
                <a:close/>
                <a:moveTo>
                  <a:pt x="384" y="634"/>
                </a:moveTo>
                <a:lnTo>
                  <a:pt x="387" y="634"/>
                </a:lnTo>
                <a:lnTo>
                  <a:pt x="390" y="636"/>
                </a:lnTo>
                <a:lnTo>
                  <a:pt x="393" y="637"/>
                </a:lnTo>
                <a:lnTo>
                  <a:pt x="395" y="640"/>
                </a:lnTo>
                <a:lnTo>
                  <a:pt x="396" y="644"/>
                </a:lnTo>
                <a:lnTo>
                  <a:pt x="396" y="647"/>
                </a:lnTo>
                <a:lnTo>
                  <a:pt x="396" y="649"/>
                </a:lnTo>
                <a:lnTo>
                  <a:pt x="395" y="651"/>
                </a:lnTo>
                <a:lnTo>
                  <a:pt x="394" y="653"/>
                </a:lnTo>
                <a:lnTo>
                  <a:pt x="392" y="655"/>
                </a:lnTo>
                <a:lnTo>
                  <a:pt x="390" y="656"/>
                </a:lnTo>
                <a:lnTo>
                  <a:pt x="387" y="658"/>
                </a:lnTo>
                <a:lnTo>
                  <a:pt x="384" y="658"/>
                </a:lnTo>
                <a:lnTo>
                  <a:pt x="381" y="658"/>
                </a:lnTo>
                <a:lnTo>
                  <a:pt x="378" y="657"/>
                </a:lnTo>
                <a:lnTo>
                  <a:pt x="376" y="655"/>
                </a:lnTo>
                <a:lnTo>
                  <a:pt x="374" y="652"/>
                </a:lnTo>
                <a:lnTo>
                  <a:pt x="372" y="648"/>
                </a:lnTo>
                <a:lnTo>
                  <a:pt x="372" y="645"/>
                </a:lnTo>
                <a:lnTo>
                  <a:pt x="373" y="643"/>
                </a:lnTo>
                <a:lnTo>
                  <a:pt x="373" y="641"/>
                </a:lnTo>
                <a:lnTo>
                  <a:pt x="375" y="639"/>
                </a:lnTo>
                <a:lnTo>
                  <a:pt x="376" y="637"/>
                </a:lnTo>
                <a:lnTo>
                  <a:pt x="378" y="636"/>
                </a:lnTo>
                <a:lnTo>
                  <a:pt x="381" y="634"/>
                </a:lnTo>
                <a:lnTo>
                  <a:pt x="384" y="634"/>
                </a:lnTo>
                <a:close/>
                <a:moveTo>
                  <a:pt x="311" y="510"/>
                </a:moveTo>
                <a:lnTo>
                  <a:pt x="314" y="510"/>
                </a:lnTo>
                <a:lnTo>
                  <a:pt x="317" y="511"/>
                </a:lnTo>
                <a:lnTo>
                  <a:pt x="320" y="513"/>
                </a:lnTo>
                <a:lnTo>
                  <a:pt x="322" y="516"/>
                </a:lnTo>
                <a:lnTo>
                  <a:pt x="323" y="520"/>
                </a:lnTo>
                <a:lnTo>
                  <a:pt x="323" y="523"/>
                </a:lnTo>
                <a:lnTo>
                  <a:pt x="323" y="525"/>
                </a:lnTo>
                <a:lnTo>
                  <a:pt x="322" y="527"/>
                </a:lnTo>
                <a:lnTo>
                  <a:pt x="321" y="529"/>
                </a:lnTo>
                <a:lnTo>
                  <a:pt x="317" y="532"/>
                </a:lnTo>
                <a:lnTo>
                  <a:pt x="314" y="533"/>
                </a:lnTo>
                <a:lnTo>
                  <a:pt x="311" y="534"/>
                </a:lnTo>
                <a:lnTo>
                  <a:pt x="308" y="533"/>
                </a:lnTo>
                <a:lnTo>
                  <a:pt x="305" y="532"/>
                </a:lnTo>
                <a:lnTo>
                  <a:pt x="303" y="530"/>
                </a:lnTo>
                <a:lnTo>
                  <a:pt x="301" y="528"/>
                </a:lnTo>
                <a:lnTo>
                  <a:pt x="299" y="523"/>
                </a:lnTo>
                <a:lnTo>
                  <a:pt x="299" y="521"/>
                </a:lnTo>
                <a:lnTo>
                  <a:pt x="300" y="519"/>
                </a:lnTo>
                <a:lnTo>
                  <a:pt x="300" y="517"/>
                </a:lnTo>
                <a:lnTo>
                  <a:pt x="302" y="515"/>
                </a:lnTo>
                <a:lnTo>
                  <a:pt x="305" y="511"/>
                </a:lnTo>
                <a:lnTo>
                  <a:pt x="308" y="510"/>
                </a:lnTo>
                <a:lnTo>
                  <a:pt x="311" y="510"/>
                </a:lnTo>
                <a:close/>
                <a:moveTo>
                  <a:pt x="238" y="386"/>
                </a:moveTo>
                <a:lnTo>
                  <a:pt x="241" y="386"/>
                </a:lnTo>
                <a:lnTo>
                  <a:pt x="244" y="387"/>
                </a:lnTo>
                <a:lnTo>
                  <a:pt x="247" y="389"/>
                </a:lnTo>
                <a:lnTo>
                  <a:pt x="249" y="392"/>
                </a:lnTo>
                <a:lnTo>
                  <a:pt x="250" y="396"/>
                </a:lnTo>
                <a:lnTo>
                  <a:pt x="250" y="398"/>
                </a:lnTo>
                <a:lnTo>
                  <a:pt x="250" y="401"/>
                </a:lnTo>
                <a:lnTo>
                  <a:pt x="249" y="403"/>
                </a:lnTo>
                <a:lnTo>
                  <a:pt x="248" y="405"/>
                </a:lnTo>
                <a:lnTo>
                  <a:pt x="246" y="407"/>
                </a:lnTo>
                <a:lnTo>
                  <a:pt x="244" y="408"/>
                </a:lnTo>
                <a:lnTo>
                  <a:pt x="241" y="409"/>
                </a:lnTo>
                <a:lnTo>
                  <a:pt x="238" y="410"/>
                </a:lnTo>
                <a:lnTo>
                  <a:pt x="235" y="409"/>
                </a:lnTo>
                <a:lnTo>
                  <a:pt x="232" y="408"/>
                </a:lnTo>
                <a:lnTo>
                  <a:pt x="230" y="406"/>
                </a:lnTo>
                <a:lnTo>
                  <a:pt x="228" y="404"/>
                </a:lnTo>
                <a:lnTo>
                  <a:pt x="226" y="399"/>
                </a:lnTo>
                <a:lnTo>
                  <a:pt x="226" y="397"/>
                </a:lnTo>
                <a:lnTo>
                  <a:pt x="227" y="395"/>
                </a:lnTo>
                <a:lnTo>
                  <a:pt x="227" y="393"/>
                </a:lnTo>
                <a:lnTo>
                  <a:pt x="229" y="391"/>
                </a:lnTo>
                <a:lnTo>
                  <a:pt x="230" y="389"/>
                </a:lnTo>
                <a:lnTo>
                  <a:pt x="232" y="387"/>
                </a:lnTo>
                <a:lnTo>
                  <a:pt x="235" y="386"/>
                </a:lnTo>
                <a:lnTo>
                  <a:pt x="238" y="386"/>
                </a:lnTo>
                <a:close/>
                <a:moveTo>
                  <a:pt x="164" y="262"/>
                </a:moveTo>
                <a:lnTo>
                  <a:pt x="167" y="263"/>
                </a:lnTo>
                <a:lnTo>
                  <a:pt x="170" y="264"/>
                </a:lnTo>
                <a:lnTo>
                  <a:pt x="173" y="265"/>
                </a:lnTo>
                <a:lnTo>
                  <a:pt x="175" y="268"/>
                </a:lnTo>
                <a:lnTo>
                  <a:pt x="176" y="270"/>
                </a:lnTo>
                <a:lnTo>
                  <a:pt x="176" y="272"/>
                </a:lnTo>
                <a:lnTo>
                  <a:pt x="176" y="275"/>
                </a:lnTo>
                <a:lnTo>
                  <a:pt x="176" y="277"/>
                </a:lnTo>
                <a:lnTo>
                  <a:pt x="175" y="279"/>
                </a:lnTo>
                <a:lnTo>
                  <a:pt x="174" y="281"/>
                </a:lnTo>
                <a:lnTo>
                  <a:pt x="172" y="283"/>
                </a:lnTo>
                <a:lnTo>
                  <a:pt x="171" y="284"/>
                </a:lnTo>
                <a:lnTo>
                  <a:pt x="167" y="286"/>
                </a:lnTo>
                <a:lnTo>
                  <a:pt x="164" y="286"/>
                </a:lnTo>
                <a:lnTo>
                  <a:pt x="161" y="286"/>
                </a:lnTo>
                <a:lnTo>
                  <a:pt x="158" y="285"/>
                </a:lnTo>
                <a:lnTo>
                  <a:pt x="156" y="283"/>
                </a:lnTo>
                <a:lnTo>
                  <a:pt x="154" y="280"/>
                </a:lnTo>
                <a:lnTo>
                  <a:pt x="153" y="278"/>
                </a:lnTo>
                <a:lnTo>
                  <a:pt x="152" y="276"/>
                </a:lnTo>
                <a:lnTo>
                  <a:pt x="152" y="274"/>
                </a:lnTo>
                <a:lnTo>
                  <a:pt x="153" y="271"/>
                </a:lnTo>
                <a:lnTo>
                  <a:pt x="153" y="269"/>
                </a:lnTo>
                <a:lnTo>
                  <a:pt x="155" y="267"/>
                </a:lnTo>
                <a:lnTo>
                  <a:pt x="156" y="265"/>
                </a:lnTo>
                <a:lnTo>
                  <a:pt x="158" y="264"/>
                </a:lnTo>
                <a:lnTo>
                  <a:pt x="161" y="263"/>
                </a:lnTo>
                <a:lnTo>
                  <a:pt x="164" y="262"/>
                </a:lnTo>
                <a:close/>
                <a:moveTo>
                  <a:pt x="89" y="139"/>
                </a:moveTo>
                <a:lnTo>
                  <a:pt x="92" y="140"/>
                </a:lnTo>
                <a:lnTo>
                  <a:pt x="95" y="141"/>
                </a:lnTo>
                <a:lnTo>
                  <a:pt x="97" y="143"/>
                </a:lnTo>
                <a:lnTo>
                  <a:pt x="99" y="145"/>
                </a:lnTo>
                <a:lnTo>
                  <a:pt x="100" y="147"/>
                </a:lnTo>
                <a:lnTo>
                  <a:pt x="101" y="149"/>
                </a:lnTo>
                <a:lnTo>
                  <a:pt x="101" y="152"/>
                </a:lnTo>
                <a:lnTo>
                  <a:pt x="101" y="154"/>
                </a:lnTo>
                <a:lnTo>
                  <a:pt x="100" y="156"/>
                </a:lnTo>
                <a:lnTo>
                  <a:pt x="99" y="158"/>
                </a:lnTo>
                <a:lnTo>
                  <a:pt x="97" y="160"/>
                </a:lnTo>
                <a:lnTo>
                  <a:pt x="95" y="162"/>
                </a:lnTo>
                <a:lnTo>
                  <a:pt x="92" y="163"/>
                </a:lnTo>
                <a:lnTo>
                  <a:pt x="89" y="163"/>
                </a:lnTo>
                <a:lnTo>
                  <a:pt x="86" y="163"/>
                </a:lnTo>
                <a:lnTo>
                  <a:pt x="83" y="162"/>
                </a:lnTo>
                <a:lnTo>
                  <a:pt x="81" y="160"/>
                </a:lnTo>
                <a:lnTo>
                  <a:pt x="79" y="158"/>
                </a:lnTo>
                <a:lnTo>
                  <a:pt x="78" y="155"/>
                </a:lnTo>
                <a:lnTo>
                  <a:pt x="77" y="153"/>
                </a:lnTo>
                <a:lnTo>
                  <a:pt x="77" y="151"/>
                </a:lnTo>
                <a:lnTo>
                  <a:pt x="77" y="149"/>
                </a:lnTo>
                <a:lnTo>
                  <a:pt x="78" y="146"/>
                </a:lnTo>
                <a:lnTo>
                  <a:pt x="79" y="144"/>
                </a:lnTo>
                <a:lnTo>
                  <a:pt x="81" y="143"/>
                </a:lnTo>
                <a:lnTo>
                  <a:pt x="83" y="141"/>
                </a:lnTo>
                <a:lnTo>
                  <a:pt x="86" y="140"/>
                </a:lnTo>
                <a:lnTo>
                  <a:pt x="89" y="139"/>
                </a:lnTo>
                <a:close/>
              </a:path>
            </a:pathLst>
          </a:custGeom>
          <a:solidFill>
            <a:srgbClr val="FF9D6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131F34E1-4A03-4647-AD6A-109BB45589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66763" y="1916113"/>
            <a:ext cx="10658475" cy="28875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 cap="none" baseline="0">
                <a:solidFill>
                  <a:schemeClr val="accent4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766887" y="2636391"/>
            <a:ext cx="1224657" cy="1224657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40" name="Text Placeholder 10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4439952" y="2637048"/>
            <a:ext cx="1224000" cy="1224000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41" name="Text Placeholder 10"/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8040352" y="2637048"/>
            <a:ext cx="1224000" cy="1224000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4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2135560" y="2636912"/>
            <a:ext cx="2016224" cy="129614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4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4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47" name="Text Placeholder 10"/>
          <p:cNvSpPr>
            <a:spLocks noGrp="1" noChangeAspect="1"/>
          </p:cNvSpPr>
          <p:nvPr>
            <p:ph type="body" sz="quarter" idx="22" hasCustomPrompt="1"/>
          </p:nvPr>
        </p:nvSpPr>
        <p:spPr>
          <a:xfrm>
            <a:off x="767544" y="4940758"/>
            <a:ext cx="1224000" cy="1224000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49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766762" y="2204393"/>
            <a:ext cx="3385021" cy="360511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4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50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8040216" y="2204393"/>
            <a:ext cx="3385022" cy="360511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4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51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4439815" y="2204393"/>
            <a:ext cx="3312369" cy="360511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4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52" name="Text Placeholder 2"/>
          <p:cNvSpPr>
            <a:spLocks noGrp="1"/>
          </p:cNvSpPr>
          <p:nvPr>
            <p:ph type="body" idx="28" hasCustomPrompt="1"/>
          </p:nvPr>
        </p:nvSpPr>
        <p:spPr>
          <a:xfrm>
            <a:off x="766763" y="4509120"/>
            <a:ext cx="3385021" cy="360040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4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53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4439816" y="4509119"/>
            <a:ext cx="3312368" cy="360041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4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8027749" y="4509120"/>
            <a:ext cx="3397489" cy="360040"/>
          </a:xfrm>
          <a:noFill/>
        </p:spPr>
        <p:txBody>
          <a:bodyPr lIns="0" tIns="0" rIns="0" bIns="0"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cap="none" spc="0" baseline="0">
                <a:solidFill>
                  <a:schemeClr val="accent4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55" name="Text Placeholder 10"/>
          <p:cNvSpPr>
            <a:spLocks noGrp="1" noChangeAspect="1"/>
          </p:cNvSpPr>
          <p:nvPr>
            <p:ph type="body" sz="quarter" idx="31" hasCustomPrompt="1"/>
          </p:nvPr>
        </p:nvSpPr>
        <p:spPr>
          <a:xfrm>
            <a:off x="4439952" y="4940758"/>
            <a:ext cx="1224000" cy="1224000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sp>
        <p:nvSpPr>
          <p:cNvPr id="56" name="Text Placeholder 10"/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8040216" y="4940622"/>
            <a:ext cx="1224000" cy="1224000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txBody>
          <a:bodyPr wrap="none" anchor="ctr" anchorCtr="0"/>
          <a:lstStyle>
            <a:lvl1pPr marL="0" indent="0" algn="ctr">
              <a:buFontTx/>
              <a:buNone/>
              <a:defRPr sz="4000" b="1" spc="-200" baseline="0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%</a:t>
            </a:r>
          </a:p>
        </p:txBody>
      </p:sp>
      <p:cxnSp>
        <p:nvCxnSpPr>
          <p:cNvPr id="57" name="Straight Connector 56"/>
          <p:cNvCxnSpPr/>
          <p:nvPr userDrawn="1"/>
        </p:nvCxnSpPr>
        <p:spPr>
          <a:xfrm>
            <a:off x="766763" y="4072330"/>
            <a:ext cx="10658475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 Placeholder 17"/>
          <p:cNvSpPr>
            <a:spLocks noGrp="1"/>
          </p:cNvSpPr>
          <p:nvPr>
            <p:ph type="body" sz="quarter" idx="33"/>
          </p:nvPr>
        </p:nvSpPr>
        <p:spPr>
          <a:xfrm>
            <a:off x="5807967" y="2636912"/>
            <a:ext cx="1944217" cy="129614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4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4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59" name="Text Placeholder 17"/>
          <p:cNvSpPr>
            <a:spLocks noGrp="1"/>
          </p:cNvSpPr>
          <p:nvPr>
            <p:ph type="body" sz="quarter" idx="34"/>
          </p:nvPr>
        </p:nvSpPr>
        <p:spPr>
          <a:xfrm>
            <a:off x="9408889" y="2637085"/>
            <a:ext cx="2016349" cy="1295971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4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4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60" name="Text Placeholder 17"/>
          <p:cNvSpPr>
            <a:spLocks noGrp="1"/>
          </p:cNvSpPr>
          <p:nvPr>
            <p:ph type="body" sz="quarter" idx="35"/>
          </p:nvPr>
        </p:nvSpPr>
        <p:spPr>
          <a:xfrm>
            <a:off x="2135559" y="4940622"/>
            <a:ext cx="2016225" cy="129669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4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4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61" name="Text Placeholder 17"/>
          <p:cNvSpPr>
            <a:spLocks noGrp="1"/>
          </p:cNvSpPr>
          <p:nvPr>
            <p:ph type="body" sz="quarter" idx="36"/>
          </p:nvPr>
        </p:nvSpPr>
        <p:spPr>
          <a:xfrm>
            <a:off x="5807969" y="4940299"/>
            <a:ext cx="1944216" cy="1297013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4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4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62" name="Text Placeholder 17"/>
          <p:cNvSpPr>
            <a:spLocks noGrp="1"/>
          </p:cNvSpPr>
          <p:nvPr>
            <p:ph type="body" sz="quarter" idx="37"/>
          </p:nvPr>
        </p:nvSpPr>
        <p:spPr>
          <a:xfrm>
            <a:off x="9408369" y="4940299"/>
            <a:ext cx="2016870" cy="1297013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200"/>
              </a:spcBef>
              <a:buClrTx/>
              <a:buFontTx/>
              <a:buNone/>
              <a:defRPr sz="1400">
                <a:solidFill>
                  <a:schemeClr val="accent4"/>
                </a:solidFill>
              </a:defRPr>
            </a:lvl1pPr>
            <a:lvl2pPr marL="177800" indent="-177800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accent4"/>
                </a:solidFill>
              </a:defRPr>
            </a:lvl2pPr>
            <a:lvl3pPr marL="355600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3pPr>
            <a:lvl4pPr marL="541338" indent="-185738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accent4"/>
                </a:solidFill>
              </a:defRPr>
            </a:lvl4pPr>
            <a:lvl5pPr marL="719138" indent="-177800">
              <a:lnSpc>
                <a:spcPct val="90000"/>
              </a:lnSpc>
              <a:spcBef>
                <a:spcPts val="200"/>
              </a:spcBef>
              <a:buClrTx/>
              <a:defRPr sz="1200">
                <a:solidFill>
                  <a:schemeClr val="accent4"/>
                </a:solidFill>
              </a:defRPr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US"/>
          </a:p>
        </p:txBody>
      </p:sp>
      <p:sp>
        <p:nvSpPr>
          <p:cNvPr id="64" name="Text Placeholder 2"/>
          <p:cNvSpPr>
            <a:spLocks noGrp="1"/>
          </p:cNvSpPr>
          <p:nvPr>
            <p:ph type="body" idx="38"/>
          </p:nvPr>
        </p:nvSpPr>
        <p:spPr>
          <a:xfrm>
            <a:off x="766764" y="4221088"/>
            <a:ext cx="10658474" cy="288032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4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8" name="Freeform 27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27705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Arrows" preserve="1" userDrawn="1">
  <p:cSld name="3 Ar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F34E1-4A03-4647-AD6A-109BB455893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631504" y="1917093"/>
            <a:ext cx="4320479" cy="1296614"/>
          </a:xfrm>
          <a:noFill/>
        </p:spPr>
        <p:txBody>
          <a:bodyPr lIns="0" tIns="72000" rIns="0" bIns="0"/>
          <a:lstStyle>
            <a:lvl1pPr marL="0" indent="0">
              <a:spcBef>
                <a:spcPts val="200"/>
              </a:spcBef>
              <a:buClrTx/>
              <a:buFontTx/>
              <a:buNone/>
              <a:defRPr sz="1600"/>
            </a:lvl1pPr>
            <a:lvl2pPr marL="182563" indent="-182563"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/>
            </a:lvl2pPr>
            <a:lvl3pPr marL="357188" indent="-174625">
              <a:spcBef>
                <a:spcPts val="200"/>
              </a:spcBef>
              <a:buClrTx/>
              <a:defRPr sz="1200"/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3" name="Text Placeholder 17"/>
          <p:cNvSpPr>
            <a:spLocks noGrp="1"/>
          </p:cNvSpPr>
          <p:nvPr>
            <p:ph type="body" sz="quarter" idx="27"/>
          </p:nvPr>
        </p:nvSpPr>
        <p:spPr>
          <a:xfrm>
            <a:off x="1631503" y="3429000"/>
            <a:ext cx="4320481" cy="1296614"/>
          </a:xfrm>
          <a:noFill/>
        </p:spPr>
        <p:txBody>
          <a:bodyPr lIns="0" tIns="72000" rIns="0" bIns="0"/>
          <a:lstStyle>
            <a:lvl1pPr marL="0" indent="0">
              <a:spcBef>
                <a:spcPts val="200"/>
              </a:spcBef>
              <a:buClrTx/>
              <a:buFontTx/>
              <a:buNone/>
              <a:defRPr sz="1600"/>
            </a:lvl1pPr>
            <a:lvl2pPr marL="182563" indent="-182563"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/>
            </a:lvl2pPr>
            <a:lvl3pPr marL="357188" indent="-174625">
              <a:spcBef>
                <a:spcPts val="200"/>
              </a:spcBef>
              <a:buClrTx/>
              <a:defRPr sz="1200"/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4" name="Text Placeholder 17"/>
          <p:cNvSpPr>
            <a:spLocks noGrp="1"/>
          </p:cNvSpPr>
          <p:nvPr>
            <p:ph type="body" sz="quarter" idx="28"/>
          </p:nvPr>
        </p:nvSpPr>
        <p:spPr>
          <a:xfrm>
            <a:off x="1631504" y="4941281"/>
            <a:ext cx="4320479" cy="1296614"/>
          </a:xfrm>
          <a:noFill/>
        </p:spPr>
        <p:txBody>
          <a:bodyPr lIns="0" tIns="72000" rIns="0" bIns="0"/>
          <a:lstStyle>
            <a:lvl1pPr marL="0" indent="0">
              <a:spcBef>
                <a:spcPts val="200"/>
              </a:spcBef>
              <a:buClrTx/>
              <a:buFontTx/>
              <a:buNone/>
              <a:defRPr sz="1600"/>
            </a:lvl1pPr>
            <a:lvl2pPr marL="182563" indent="-182563"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/>
            </a:lvl2pPr>
            <a:lvl3pPr marL="357188" indent="-174625">
              <a:spcBef>
                <a:spcPts val="200"/>
              </a:spcBef>
              <a:buClrTx/>
              <a:defRPr sz="1200"/>
            </a:lvl3pPr>
            <a:lvl4pPr marL="539750" indent="-182563">
              <a:spcBef>
                <a:spcPts val="200"/>
              </a:spcBef>
              <a:buFont typeface="Arial" panose="020B0604020202020204" pitchFamily="34" charset="0"/>
              <a:buChar char="•"/>
              <a:defRPr sz="1200"/>
            </a:lvl4pPr>
            <a:lvl5pPr marL="714375" indent="-174625">
              <a:spcBef>
                <a:spcPts val="200"/>
              </a:spcBef>
              <a:defRPr sz="1200"/>
            </a:lvl5pPr>
            <a:lvl6pPr marL="1346200" indent="-274638">
              <a:spcBef>
                <a:spcPts val="200"/>
              </a:spcBef>
              <a:defRPr sz="1200"/>
            </a:lvl6pPr>
            <a:lvl7pPr marL="1612900" indent="-266700">
              <a:spcBef>
                <a:spcPts val="200"/>
              </a:spcBef>
              <a:defRPr sz="1200"/>
            </a:lvl7pPr>
            <a:lvl8pPr marL="1878013" indent="-265113">
              <a:spcBef>
                <a:spcPts val="200"/>
              </a:spcBef>
              <a:defRPr sz="1200"/>
            </a:lvl8pPr>
            <a:lvl9pPr marL="2152650" indent="-274638">
              <a:spcBef>
                <a:spcPts val="200"/>
              </a:spcBef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6886" y="1916113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3429000"/>
            <a:ext cx="720601" cy="576064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9186" y="4941168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39"/>
          </p:nvPr>
        </p:nvSpPr>
        <p:spPr>
          <a:xfrm>
            <a:off x="6816080" y="1916113"/>
            <a:ext cx="4609158" cy="1296863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182563" indent="-182563">
              <a:spcBef>
                <a:spcPts val="200"/>
              </a:spcBef>
              <a:defRPr sz="1400">
                <a:solidFill>
                  <a:schemeClr val="accent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accent1"/>
                </a:solidFill>
              </a:defRPr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40"/>
          </p:nvPr>
        </p:nvSpPr>
        <p:spPr>
          <a:xfrm>
            <a:off x="6816080" y="3429000"/>
            <a:ext cx="4609158" cy="1296144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182563" indent="-182563">
              <a:spcBef>
                <a:spcPts val="200"/>
              </a:spcBef>
              <a:defRPr sz="1400">
                <a:solidFill>
                  <a:schemeClr val="accent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accent1"/>
                </a:solidFill>
              </a:defRPr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41"/>
          </p:nvPr>
        </p:nvSpPr>
        <p:spPr>
          <a:xfrm>
            <a:off x="6816080" y="4941168"/>
            <a:ext cx="4609158" cy="1296120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182563" indent="-182563">
              <a:spcBef>
                <a:spcPts val="200"/>
              </a:spcBef>
              <a:defRPr sz="1400">
                <a:solidFill>
                  <a:schemeClr val="accent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accent1"/>
                </a:solidFill>
              </a:defRPr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1" name="Freeform 12"/>
          <p:cNvSpPr>
            <a:spLocks noChangeAspect="1"/>
          </p:cNvSpPr>
          <p:nvPr userDrawn="1"/>
        </p:nvSpPr>
        <p:spPr bwMode="auto">
          <a:xfrm>
            <a:off x="6168008" y="1988840"/>
            <a:ext cx="467999" cy="432000"/>
          </a:xfrm>
          <a:custGeom>
            <a:avLst/>
            <a:gdLst>
              <a:gd name="T0" fmla="*/ 1308 w 2002"/>
              <a:gd name="T1" fmla="*/ 748 h 1845"/>
              <a:gd name="T2" fmla="*/ 841 w 2002"/>
              <a:gd name="T3" fmla="*/ 301 h 1845"/>
              <a:gd name="T4" fmla="*/ 826 w 2002"/>
              <a:gd name="T5" fmla="*/ 280 h 1845"/>
              <a:gd name="T6" fmla="*/ 815 w 2002"/>
              <a:gd name="T7" fmla="*/ 256 h 1845"/>
              <a:gd name="T8" fmla="*/ 807 w 2002"/>
              <a:gd name="T9" fmla="*/ 230 h 1845"/>
              <a:gd name="T10" fmla="*/ 804 w 2002"/>
              <a:gd name="T11" fmla="*/ 204 h 1845"/>
              <a:gd name="T12" fmla="*/ 804 w 2002"/>
              <a:gd name="T13" fmla="*/ 178 h 1845"/>
              <a:gd name="T14" fmla="*/ 807 w 2002"/>
              <a:gd name="T15" fmla="*/ 152 h 1845"/>
              <a:gd name="T16" fmla="*/ 815 w 2002"/>
              <a:gd name="T17" fmla="*/ 126 h 1845"/>
              <a:gd name="T18" fmla="*/ 835 w 2002"/>
              <a:gd name="T19" fmla="*/ 85 h 1845"/>
              <a:gd name="T20" fmla="*/ 853 w 2002"/>
              <a:gd name="T21" fmla="*/ 63 h 1845"/>
              <a:gd name="T22" fmla="*/ 874 w 2002"/>
              <a:gd name="T23" fmla="*/ 44 h 1845"/>
              <a:gd name="T24" fmla="*/ 897 w 2002"/>
              <a:gd name="T25" fmla="*/ 28 h 1845"/>
              <a:gd name="T26" fmla="*/ 921 w 2002"/>
              <a:gd name="T27" fmla="*/ 15 h 1845"/>
              <a:gd name="T28" fmla="*/ 947 w 2002"/>
              <a:gd name="T29" fmla="*/ 6 h 1845"/>
              <a:gd name="T30" fmla="*/ 973 w 2002"/>
              <a:gd name="T31" fmla="*/ 1 h 1845"/>
              <a:gd name="T32" fmla="*/ 999 w 2002"/>
              <a:gd name="T33" fmla="*/ 0 h 1845"/>
              <a:gd name="T34" fmla="*/ 1025 w 2002"/>
              <a:gd name="T35" fmla="*/ 2 h 1845"/>
              <a:gd name="T36" fmla="*/ 1051 w 2002"/>
              <a:gd name="T37" fmla="*/ 8 h 1845"/>
              <a:gd name="T38" fmla="*/ 1075 w 2002"/>
              <a:gd name="T39" fmla="*/ 18 h 1845"/>
              <a:gd name="T40" fmla="*/ 1112 w 2002"/>
              <a:gd name="T41" fmla="*/ 44 h 1845"/>
              <a:gd name="T42" fmla="*/ 2002 w 2002"/>
              <a:gd name="T43" fmla="*/ 922 h 1845"/>
              <a:gd name="T44" fmla="*/ 1127 w 2002"/>
              <a:gd name="T45" fmla="*/ 1803 h 1845"/>
              <a:gd name="T46" fmla="*/ 1106 w 2002"/>
              <a:gd name="T47" fmla="*/ 1819 h 1845"/>
              <a:gd name="T48" fmla="*/ 1083 w 2002"/>
              <a:gd name="T49" fmla="*/ 1831 h 1845"/>
              <a:gd name="T50" fmla="*/ 1058 w 2002"/>
              <a:gd name="T51" fmla="*/ 1840 h 1845"/>
              <a:gd name="T52" fmla="*/ 1032 w 2002"/>
              <a:gd name="T53" fmla="*/ 1844 h 1845"/>
              <a:gd name="T54" fmla="*/ 1006 w 2002"/>
              <a:gd name="T55" fmla="*/ 1845 h 1845"/>
              <a:gd name="T56" fmla="*/ 972 w 2002"/>
              <a:gd name="T57" fmla="*/ 1841 h 1845"/>
              <a:gd name="T58" fmla="*/ 922 w 2002"/>
              <a:gd name="T59" fmla="*/ 1821 h 1845"/>
              <a:gd name="T60" fmla="*/ 891 w 2002"/>
              <a:gd name="T61" fmla="*/ 1801 h 1845"/>
              <a:gd name="T62" fmla="*/ 863 w 2002"/>
              <a:gd name="T63" fmla="*/ 1774 h 1845"/>
              <a:gd name="T64" fmla="*/ 847 w 2002"/>
              <a:gd name="T65" fmla="*/ 1751 h 1845"/>
              <a:gd name="T66" fmla="*/ 832 w 2002"/>
              <a:gd name="T67" fmla="*/ 1719 h 1845"/>
              <a:gd name="T68" fmla="*/ 824 w 2002"/>
              <a:gd name="T69" fmla="*/ 1693 h 1845"/>
              <a:gd name="T70" fmla="*/ 820 w 2002"/>
              <a:gd name="T71" fmla="*/ 1667 h 1845"/>
              <a:gd name="T72" fmla="*/ 820 w 2002"/>
              <a:gd name="T73" fmla="*/ 1641 h 1845"/>
              <a:gd name="T74" fmla="*/ 823 w 2002"/>
              <a:gd name="T75" fmla="*/ 1615 h 1845"/>
              <a:gd name="T76" fmla="*/ 831 w 2002"/>
              <a:gd name="T77" fmla="*/ 1590 h 1845"/>
              <a:gd name="T78" fmla="*/ 842 w 2002"/>
              <a:gd name="T79" fmla="*/ 1567 h 1845"/>
              <a:gd name="T80" fmla="*/ 856 w 2002"/>
              <a:gd name="T81" fmla="*/ 1546 h 1845"/>
              <a:gd name="T82" fmla="*/ 1304 w 2002"/>
              <a:gd name="T83" fmla="*/ 1097 h 1845"/>
              <a:gd name="T84" fmla="*/ 124 w 2002"/>
              <a:gd name="T85" fmla="*/ 1096 h 1845"/>
              <a:gd name="T86" fmla="*/ 101 w 2002"/>
              <a:gd name="T87" fmla="*/ 1093 h 1845"/>
              <a:gd name="T88" fmla="*/ 75 w 2002"/>
              <a:gd name="T89" fmla="*/ 1082 h 1845"/>
              <a:gd name="T90" fmla="*/ 52 w 2002"/>
              <a:gd name="T91" fmla="*/ 1065 h 1845"/>
              <a:gd name="T92" fmla="*/ 38 w 2002"/>
              <a:gd name="T93" fmla="*/ 1049 h 1845"/>
              <a:gd name="T94" fmla="*/ 20 w 2002"/>
              <a:gd name="T95" fmla="*/ 1016 h 1845"/>
              <a:gd name="T96" fmla="*/ 9 w 2002"/>
              <a:gd name="T97" fmla="*/ 986 h 1845"/>
              <a:gd name="T98" fmla="*/ 1 w 2002"/>
              <a:gd name="T99" fmla="*/ 939 h 1845"/>
              <a:gd name="T100" fmla="*/ 1 w 2002"/>
              <a:gd name="T101" fmla="*/ 899 h 1845"/>
              <a:gd name="T102" fmla="*/ 9 w 2002"/>
              <a:gd name="T103" fmla="*/ 860 h 1845"/>
              <a:gd name="T104" fmla="*/ 20 w 2002"/>
              <a:gd name="T105" fmla="*/ 831 h 1845"/>
              <a:gd name="T106" fmla="*/ 35 w 2002"/>
              <a:gd name="T107" fmla="*/ 805 h 1845"/>
              <a:gd name="T108" fmla="*/ 65 w 2002"/>
              <a:gd name="T109" fmla="*/ 772 h 1845"/>
              <a:gd name="T110" fmla="*/ 83 w 2002"/>
              <a:gd name="T111" fmla="*/ 760 h 1845"/>
              <a:gd name="T112" fmla="*/ 104 w 2002"/>
              <a:gd name="T113" fmla="*/ 753 h 1845"/>
              <a:gd name="T114" fmla="*/ 126 w 2002"/>
              <a:gd name="T115" fmla="*/ 749 h 1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2" h="1845">
                <a:moveTo>
                  <a:pt x="133" y="748"/>
                </a:moveTo>
                <a:lnTo>
                  <a:pt x="720" y="748"/>
                </a:lnTo>
                <a:lnTo>
                  <a:pt x="1308" y="748"/>
                </a:lnTo>
                <a:lnTo>
                  <a:pt x="853" y="314"/>
                </a:lnTo>
                <a:lnTo>
                  <a:pt x="847" y="308"/>
                </a:lnTo>
                <a:lnTo>
                  <a:pt x="841" y="301"/>
                </a:lnTo>
                <a:lnTo>
                  <a:pt x="835" y="294"/>
                </a:lnTo>
                <a:lnTo>
                  <a:pt x="831" y="287"/>
                </a:lnTo>
                <a:lnTo>
                  <a:pt x="826" y="280"/>
                </a:lnTo>
                <a:lnTo>
                  <a:pt x="821" y="271"/>
                </a:lnTo>
                <a:lnTo>
                  <a:pt x="818" y="263"/>
                </a:lnTo>
                <a:lnTo>
                  <a:pt x="815" y="256"/>
                </a:lnTo>
                <a:lnTo>
                  <a:pt x="811" y="247"/>
                </a:lnTo>
                <a:lnTo>
                  <a:pt x="809" y="238"/>
                </a:lnTo>
                <a:lnTo>
                  <a:pt x="807" y="230"/>
                </a:lnTo>
                <a:lnTo>
                  <a:pt x="805" y="221"/>
                </a:lnTo>
                <a:lnTo>
                  <a:pt x="804" y="213"/>
                </a:lnTo>
                <a:lnTo>
                  <a:pt x="804" y="204"/>
                </a:lnTo>
                <a:lnTo>
                  <a:pt x="803" y="195"/>
                </a:lnTo>
                <a:lnTo>
                  <a:pt x="803" y="187"/>
                </a:lnTo>
                <a:lnTo>
                  <a:pt x="804" y="178"/>
                </a:lnTo>
                <a:lnTo>
                  <a:pt x="804" y="169"/>
                </a:lnTo>
                <a:lnTo>
                  <a:pt x="806" y="161"/>
                </a:lnTo>
                <a:lnTo>
                  <a:pt x="807" y="152"/>
                </a:lnTo>
                <a:lnTo>
                  <a:pt x="809" y="143"/>
                </a:lnTo>
                <a:lnTo>
                  <a:pt x="811" y="135"/>
                </a:lnTo>
                <a:lnTo>
                  <a:pt x="815" y="126"/>
                </a:lnTo>
                <a:lnTo>
                  <a:pt x="818" y="117"/>
                </a:lnTo>
                <a:lnTo>
                  <a:pt x="826" y="101"/>
                </a:lnTo>
                <a:lnTo>
                  <a:pt x="835" y="85"/>
                </a:lnTo>
                <a:lnTo>
                  <a:pt x="841" y="77"/>
                </a:lnTo>
                <a:lnTo>
                  <a:pt x="847" y="71"/>
                </a:lnTo>
                <a:lnTo>
                  <a:pt x="853" y="63"/>
                </a:lnTo>
                <a:lnTo>
                  <a:pt x="860" y="56"/>
                </a:lnTo>
                <a:lnTo>
                  <a:pt x="867" y="49"/>
                </a:lnTo>
                <a:lnTo>
                  <a:pt x="874" y="44"/>
                </a:lnTo>
                <a:lnTo>
                  <a:pt x="882" y="37"/>
                </a:lnTo>
                <a:lnTo>
                  <a:pt x="889" y="32"/>
                </a:lnTo>
                <a:lnTo>
                  <a:pt x="897" y="28"/>
                </a:lnTo>
                <a:lnTo>
                  <a:pt x="905" y="22"/>
                </a:lnTo>
                <a:lnTo>
                  <a:pt x="913" y="19"/>
                </a:lnTo>
                <a:lnTo>
                  <a:pt x="921" y="15"/>
                </a:lnTo>
                <a:lnTo>
                  <a:pt x="930" y="12"/>
                </a:lnTo>
                <a:lnTo>
                  <a:pt x="938" y="8"/>
                </a:lnTo>
                <a:lnTo>
                  <a:pt x="947" y="6"/>
                </a:lnTo>
                <a:lnTo>
                  <a:pt x="956" y="4"/>
                </a:lnTo>
                <a:lnTo>
                  <a:pt x="964" y="3"/>
                </a:lnTo>
                <a:lnTo>
                  <a:pt x="973" y="1"/>
                </a:lnTo>
                <a:lnTo>
                  <a:pt x="982" y="1"/>
                </a:lnTo>
                <a:lnTo>
                  <a:pt x="990" y="0"/>
                </a:lnTo>
                <a:lnTo>
                  <a:pt x="999" y="0"/>
                </a:lnTo>
                <a:lnTo>
                  <a:pt x="1008" y="1"/>
                </a:lnTo>
                <a:lnTo>
                  <a:pt x="1016" y="1"/>
                </a:lnTo>
                <a:lnTo>
                  <a:pt x="1025" y="2"/>
                </a:lnTo>
                <a:lnTo>
                  <a:pt x="1034" y="4"/>
                </a:lnTo>
                <a:lnTo>
                  <a:pt x="1042" y="6"/>
                </a:lnTo>
                <a:lnTo>
                  <a:pt x="1051" y="8"/>
                </a:lnTo>
                <a:lnTo>
                  <a:pt x="1058" y="12"/>
                </a:lnTo>
                <a:lnTo>
                  <a:pt x="1067" y="15"/>
                </a:lnTo>
                <a:lnTo>
                  <a:pt x="1075" y="18"/>
                </a:lnTo>
                <a:lnTo>
                  <a:pt x="1090" y="28"/>
                </a:lnTo>
                <a:lnTo>
                  <a:pt x="1105" y="37"/>
                </a:lnTo>
                <a:lnTo>
                  <a:pt x="1112" y="44"/>
                </a:lnTo>
                <a:lnTo>
                  <a:pt x="1118" y="49"/>
                </a:lnTo>
                <a:lnTo>
                  <a:pt x="1560" y="486"/>
                </a:lnTo>
                <a:lnTo>
                  <a:pt x="2002" y="922"/>
                </a:lnTo>
                <a:lnTo>
                  <a:pt x="1568" y="1359"/>
                </a:lnTo>
                <a:lnTo>
                  <a:pt x="1133" y="1796"/>
                </a:lnTo>
                <a:lnTo>
                  <a:pt x="1127" y="1803"/>
                </a:lnTo>
                <a:lnTo>
                  <a:pt x="1120" y="1808"/>
                </a:lnTo>
                <a:lnTo>
                  <a:pt x="1113" y="1814"/>
                </a:lnTo>
                <a:lnTo>
                  <a:pt x="1106" y="1819"/>
                </a:lnTo>
                <a:lnTo>
                  <a:pt x="1099" y="1823"/>
                </a:lnTo>
                <a:lnTo>
                  <a:pt x="1091" y="1828"/>
                </a:lnTo>
                <a:lnTo>
                  <a:pt x="1083" y="1831"/>
                </a:lnTo>
                <a:lnTo>
                  <a:pt x="1075" y="1834"/>
                </a:lnTo>
                <a:lnTo>
                  <a:pt x="1067" y="1837"/>
                </a:lnTo>
                <a:lnTo>
                  <a:pt x="1058" y="1840"/>
                </a:lnTo>
                <a:lnTo>
                  <a:pt x="1050" y="1842"/>
                </a:lnTo>
                <a:lnTo>
                  <a:pt x="1041" y="1843"/>
                </a:lnTo>
                <a:lnTo>
                  <a:pt x="1032" y="1844"/>
                </a:lnTo>
                <a:lnTo>
                  <a:pt x="1024" y="1845"/>
                </a:lnTo>
                <a:lnTo>
                  <a:pt x="1015" y="1845"/>
                </a:lnTo>
                <a:lnTo>
                  <a:pt x="1006" y="1845"/>
                </a:lnTo>
                <a:lnTo>
                  <a:pt x="998" y="1845"/>
                </a:lnTo>
                <a:lnTo>
                  <a:pt x="989" y="1844"/>
                </a:lnTo>
                <a:lnTo>
                  <a:pt x="972" y="1841"/>
                </a:lnTo>
                <a:lnTo>
                  <a:pt x="954" y="1836"/>
                </a:lnTo>
                <a:lnTo>
                  <a:pt x="938" y="1830"/>
                </a:lnTo>
                <a:lnTo>
                  <a:pt x="922" y="1821"/>
                </a:lnTo>
                <a:lnTo>
                  <a:pt x="906" y="1812"/>
                </a:lnTo>
                <a:lnTo>
                  <a:pt x="898" y="1806"/>
                </a:lnTo>
                <a:lnTo>
                  <a:pt x="891" y="1801"/>
                </a:lnTo>
                <a:lnTo>
                  <a:pt x="876" y="1788"/>
                </a:lnTo>
                <a:lnTo>
                  <a:pt x="870" y="1781"/>
                </a:lnTo>
                <a:lnTo>
                  <a:pt x="863" y="1774"/>
                </a:lnTo>
                <a:lnTo>
                  <a:pt x="858" y="1766"/>
                </a:lnTo>
                <a:lnTo>
                  <a:pt x="853" y="1759"/>
                </a:lnTo>
                <a:lnTo>
                  <a:pt x="847" y="1751"/>
                </a:lnTo>
                <a:lnTo>
                  <a:pt x="843" y="1743"/>
                </a:lnTo>
                <a:lnTo>
                  <a:pt x="835" y="1727"/>
                </a:lnTo>
                <a:lnTo>
                  <a:pt x="832" y="1719"/>
                </a:lnTo>
                <a:lnTo>
                  <a:pt x="829" y="1710"/>
                </a:lnTo>
                <a:lnTo>
                  <a:pt x="827" y="1701"/>
                </a:lnTo>
                <a:lnTo>
                  <a:pt x="824" y="1693"/>
                </a:lnTo>
                <a:lnTo>
                  <a:pt x="822" y="1684"/>
                </a:lnTo>
                <a:lnTo>
                  <a:pt x="821" y="1675"/>
                </a:lnTo>
                <a:lnTo>
                  <a:pt x="820" y="1667"/>
                </a:lnTo>
                <a:lnTo>
                  <a:pt x="819" y="1658"/>
                </a:lnTo>
                <a:lnTo>
                  <a:pt x="819" y="1649"/>
                </a:lnTo>
                <a:lnTo>
                  <a:pt x="820" y="1641"/>
                </a:lnTo>
                <a:lnTo>
                  <a:pt x="820" y="1632"/>
                </a:lnTo>
                <a:lnTo>
                  <a:pt x="821" y="1624"/>
                </a:lnTo>
                <a:lnTo>
                  <a:pt x="823" y="1615"/>
                </a:lnTo>
                <a:lnTo>
                  <a:pt x="826" y="1607"/>
                </a:lnTo>
                <a:lnTo>
                  <a:pt x="828" y="1599"/>
                </a:lnTo>
                <a:lnTo>
                  <a:pt x="831" y="1590"/>
                </a:lnTo>
                <a:lnTo>
                  <a:pt x="834" y="1582"/>
                </a:lnTo>
                <a:lnTo>
                  <a:pt x="837" y="1575"/>
                </a:lnTo>
                <a:lnTo>
                  <a:pt x="842" y="1567"/>
                </a:lnTo>
                <a:lnTo>
                  <a:pt x="846" y="1560"/>
                </a:lnTo>
                <a:lnTo>
                  <a:pt x="850" y="1552"/>
                </a:lnTo>
                <a:lnTo>
                  <a:pt x="856" y="1546"/>
                </a:lnTo>
                <a:lnTo>
                  <a:pt x="862" y="1538"/>
                </a:lnTo>
                <a:lnTo>
                  <a:pt x="868" y="1532"/>
                </a:lnTo>
                <a:lnTo>
                  <a:pt x="1304" y="1097"/>
                </a:lnTo>
                <a:lnTo>
                  <a:pt x="717" y="1097"/>
                </a:lnTo>
                <a:lnTo>
                  <a:pt x="131" y="1097"/>
                </a:lnTo>
                <a:lnTo>
                  <a:pt x="124" y="1096"/>
                </a:lnTo>
                <a:lnTo>
                  <a:pt x="116" y="1096"/>
                </a:lnTo>
                <a:lnTo>
                  <a:pt x="108" y="1094"/>
                </a:lnTo>
                <a:lnTo>
                  <a:pt x="101" y="1093"/>
                </a:lnTo>
                <a:lnTo>
                  <a:pt x="88" y="1089"/>
                </a:lnTo>
                <a:lnTo>
                  <a:pt x="81" y="1085"/>
                </a:lnTo>
                <a:lnTo>
                  <a:pt x="75" y="1082"/>
                </a:lnTo>
                <a:lnTo>
                  <a:pt x="63" y="1074"/>
                </a:lnTo>
                <a:lnTo>
                  <a:pt x="57" y="1069"/>
                </a:lnTo>
                <a:lnTo>
                  <a:pt x="52" y="1065"/>
                </a:lnTo>
                <a:lnTo>
                  <a:pt x="48" y="1060"/>
                </a:lnTo>
                <a:lnTo>
                  <a:pt x="42" y="1054"/>
                </a:lnTo>
                <a:lnTo>
                  <a:pt x="38" y="1049"/>
                </a:lnTo>
                <a:lnTo>
                  <a:pt x="34" y="1042"/>
                </a:lnTo>
                <a:lnTo>
                  <a:pt x="26" y="1029"/>
                </a:lnTo>
                <a:lnTo>
                  <a:pt x="20" y="1016"/>
                </a:lnTo>
                <a:lnTo>
                  <a:pt x="16" y="1009"/>
                </a:lnTo>
                <a:lnTo>
                  <a:pt x="13" y="1001"/>
                </a:lnTo>
                <a:lnTo>
                  <a:pt x="9" y="986"/>
                </a:lnTo>
                <a:lnTo>
                  <a:pt x="5" y="971"/>
                </a:lnTo>
                <a:lnTo>
                  <a:pt x="2" y="955"/>
                </a:lnTo>
                <a:lnTo>
                  <a:pt x="1" y="939"/>
                </a:lnTo>
                <a:lnTo>
                  <a:pt x="0" y="922"/>
                </a:lnTo>
                <a:lnTo>
                  <a:pt x="1" y="906"/>
                </a:lnTo>
                <a:lnTo>
                  <a:pt x="1" y="899"/>
                </a:lnTo>
                <a:lnTo>
                  <a:pt x="2" y="891"/>
                </a:lnTo>
                <a:lnTo>
                  <a:pt x="5" y="875"/>
                </a:lnTo>
                <a:lnTo>
                  <a:pt x="9" y="860"/>
                </a:lnTo>
                <a:lnTo>
                  <a:pt x="12" y="852"/>
                </a:lnTo>
                <a:lnTo>
                  <a:pt x="14" y="845"/>
                </a:lnTo>
                <a:lnTo>
                  <a:pt x="20" y="831"/>
                </a:lnTo>
                <a:lnTo>
                  <a:pt x="27" y="816"/>
                </a:lnTo>
                <a:lnTo>
                  <a:pt x="31" y="810"/>
                </a:lnTo>
                <a:lnTo>
                  <a:pt x="35" y="805"/>
                </a:lnTo>
                <a:lnTo>
                  <a:pt x="44" y="793"/>
                </a:lnTo>
                <a:lnTo>
                  <a:pt x="54" y="782"/>
                </a:lnTo>
                <a:lnTo>
                  <a:pt x="65" y="772"/>
                </a:lnTo>
                <a:lnTo>
                  <a:pt x="70" y="768"/>
                </a:lnTo>
                <a:lnTo>
                  <a:pt x="77" y="765"/>
                </a:lnTo>
                <a:lnTo>
                  <a:pt x="83" y="760"/>
                </a:lnTo>
                <a:lnTo>
                  <a:pt x="90" y="758"/>
                </a:lnTo>
                <a:lnTo>
                  <a:pt x="96" y="755"/>
                </a:lnTo>
                <a:lnTo>
                  <a:pt x="104" y="753"/>
                </a:lnTo>
                <a:lnTo>
                  <a:pt x="111" y="752"/>
                </a:lnTo>
                <a:lnTo>
                  <a:pt x="118" y="749"/>
                </a:lnTo>
                <a:lnTo>
                  <a:pt x="126" y="749"/>
                </a:lnTo>
                <a:lnTo>
                  <a:pt x="133" y="748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32" name="Freeform 12"/>
          <p:cNvSpPr>
            <a:spLocks noChangeAspect="1"/>
          </p:cNvSpPr>
          <p:nvPr userDrawn="1"/>
        </p:nvSpPr>
        <p:spPr bwMode="auto">
          <a:xfrm>
            <a:off x="6168008" y="3501056"/>
            <a:ext cx="467999" cy="432000"/>
          </a:xfrm>
          <a:custGeom>
            <a:avLst/>
            <a:gdLst>
              <a:gd name="T0" fmla="*/ 1308 w 2002"/>
              <a:gd name="T1" fmla="*/ 748 h 1845"/>
              <a:gd name="T2" fmla="*/ 841 w 2002"/>
              <a:gd name="T3" fmla="*/ 301 h 1845"/>
              <a:gd name="T4" fmla="*/ 826 w 2002"/>
              <a:gd name="T5" fmla="*/ 280 h 1845"/>
              <a:gd name="T6" fmla="*/ 815 w 2002"/>
              <a:gd name="T7" fmla="*/ 256 h 1845"/>
              <a:gd name="T8" fmla="*/ 807 w 2002"/>
              <a:gd name="T9" fmla="*/ 230 h 1845"/>
              <a:gd name="T10" fmla="*/ 804 w 2002"/>
              <a:gd name="T11" fmla="*/ 204 h 1845"/>
              <a:gd name="T12" fmla="*/ 804 w 2002"/>
              <a:gd name="T13" fmla="*/ 178 h 1845"/>
              <a:gd name="T14" fmla="*/ 807 w 2002"/>
              <a:gd name="T15" fmla="*/ 152 h 1845"/>
              <a:gd name="T16" fmla="*/ 815 w 2002"/>
              <a:gd name="T17" fmla="*/ 126 h 1845"/>
              <a:gd name="T18" fmla="*/ 835 w 2002"/>
              <a:gd name="T19" fmla="*/ 85 h 1845"/>
              <a:gd name="T20" fmla="*/ 853 w 2002"/>
              <a:gd name="T21" fmla="*/ 63 h 1845"/>
              <a:gd name="T22" fmla="*/ 874 w 2002"/>
              <a:gd name="T23" fmla="*/ 44 h 1845"/>
              <a:gd name="T24" fmla="*/ 897 w 2002"/>
              <a:gd name="T25" fmla="*/ 28 h 1845"/>
              <a:gd name="T26" fmla="*/ 921 w 2002"/>
              <a:gd name="T27" fmla="*/ 15 h 1845"/>
              <a:gd name="T28" fmla="*/ 947 w 2002"/>
              <a:gd name="T29" fmla="*/ 6 h 1845"/>
              <a:gd name="T30" fmla="*/ 973 w 2002"/>
              <a:gd name="T31" fmla="*/ 1 h 1845"/>
              <a:gd name="T32" fmla="*/ 999 w 2002"/>
              <a:gd name="T33" fmla="*/ 0 h 1845"/>
              <a:gd name="T34" fmla="*/ 1025 w 2002"/>
              <a:gd name="T35" fmla="*/ 2 h 1845"/>
              <a:gd name="T36" fmla="*/ 1051 w 2002"/>
              <a:gd name="T37" fmla="*/ 8 h 1845"/>
              <a:gd name="T38" fmla="*/ 1075 w 2002"/>
              <a:gd name="T39" fmla="*/ 18 h 1845"/>
              <a:gd name="T40" fmla="*/ 1112 w 2002"/>
              <a:gd name="T41" fmla="*/ 44 h 1845"/>
              <a:gd name="T42" fmla="*/ 2002 w 2002"/>
              <a:gd name="T43" fmla="*/ 922 h 1845"/>
              <a:gd name="T44" fmla="*/ 1127 w 2002"/>
              <a:gd name="T45" fmla="*/ 1803 h 1845"/>
              <a:gd name="T46" fmla="*/ 1106 w 2002"/>
              <a:gd name="T47" fmla="*/ 1819 h 1845"/>
              <a:gd name="T48" fmla="*/ 1083 w 2002"/>
              <a:gd name="T49" fmla="*/ 1831 h 1845"/>
              <a:gd name="T50" fmla="*/ 1058 w 2002"/>
              <a:gd name="T51" fmla="*/ 1840 h 1845"/>
              <a:gd name="T52" fmla="*/ 1032 w 2002"/>
              <a:gd name="T53" fmla="*/ 1844 h 1845"/>
              <a:gd name="T54" fmla="*/ 1006 w 2002"/>
              <a:gd name="T55" fmla="*/ 1845 h 1845"/>
              <a:gd name="T56" fmla="*/ 972 w 2002"/>
              <a:gd name="T57" fmla="*/ 1841 h 1845"/>
              <a:gd name="T58" fmla="*/ 922 w 2002"/>
              <a:gd name="T59" fmla="*/ 1821 h 1845"/>
              <a:gd name="T60" fmla="*/ 891 w 2002"/>
              <a:gd name="T61" fmla="*/ 1801 h 1845"/>
              <a:gd name="T62" fmla="*/ 863 w 2002"/>
              <a:gd name="T63" fmla="*/ 1774 h 1845"/>
              <a:gd name="T64" fmla="*/ 847 w 2002"/>
              <a:gd name="T65" fmla="*/ 1751 h 1845"/>
              <a:gd name="T66" fmla="*/ 832 w 2002"/>
              <a:gd name="T67" fmla="*/ 1719 h 1845"/>
              <a:gd name="T68" fmla="*/ 824 w 2002"/>
              <a:gd name="T69" fmla="*/ 1693 h 1845"/>
              <a:gd name="T70" fmla="*/ 820 w 2002"/>
              <a:gd name="T71" fmla="*/ 1667 h 1845"/>
              <a:gd name="T72" fmla="*/ 820 w 2002"/>
              <a:gd name="T73" fmla="*/ 1641 h 1845"/>
              <a:gd name="T74" fmla="*/ 823 w 2002"/>
              <a:gd name="T75" fmla="*/ 1615 h 1845"/>
              <a:gd name="T76" fmla="*/ 831 w 2002"/>
              <a:gd name="T77" fmla="*/ 1590 h 1845"/>
              <a:gd name="T78" fmla="*/ 842 w 2002"/>
              <a:gd name="T79" fmla="*/ 1567 h 1845"/>
              <a:gd name="T80" fmla="*/ 856 w 2002"/>
              <a:gd name="T81" fmla="*/ 1546 h 1845"/>
              <a:gd name="T82" fmla="*/ 1304 w 2002"/>
              <a:gd name="T83" fmla="*/ 1097 h 1845"/>
              <a:gd name="T84" fmla="*/ 124 w 2002"/>
              <a:gd name="T85" fmla="*/ 1096 h 1845"/>
              <a:gd name="T86" fmla="*/ 101 w 2002"/>
              <a:gd name="T87" fmla="*/ 1093 h 1845"/>
              <a:gd name="T88" fmla="*/ 75 w 2002"/>
              <a:gd name="T89" fmla="*/ 1082 h 1845"/>
              <a:gd name="T90" fmla="*/ 52 w 2002"/>
              <a:gd name="T91" fmla="*/ 1065 h 1845"/>
              <a:gd name="T92" fmla="*/ 38 w 2002"/>
              <a:gd name="T93" fmla="*/ 1049 h 1845"/>
              <a:gd name="T94" fmla="*/ 20 w 2002"/>
              <a:gd name="T95" fmla="*/ 1016 h 1845"/>
              <a:gd name="T96" fmla="*/ 9 w 2002"/>
              <a:gd name="T97" fmla="*/ 986 h 1845"/>
              <a:gd name="T98" fmla="*/ 1 w 2002"/>
              <a:gd name="T99" fmla="*/ 939 h 1845"/>
              <a:gd name="T100" fmla="*/ 1 w 2002"/>
              <a:gd name="T101" fmla="*/ 899 h 1845"/>
              <a:gd name="T102" fmla="*/ 9 w 2002"/>
              <a:gd name="T103" fmla="*/ 860 h 1845"/>
              <a:gd name="T104" fmla="*/ 20 w 2002"/>
              <a:gd name="T105" fmla="*/ 831 h 1845"/>
              <a:gd name="T106" fmla="*/ 35 w 2002"/>
              <a:gd name="T107" fmla="*/ 805 h 1845"/>
              <a:gd name="T108" fmla="*/ 65 w 2002"/>
              <a:gd name="T109" fmla="*/ 772 h 1845"/>
              <a:gd name="T110" fmla="*/ 83 w 2002"/>
              <a:gd name="T111" fmla="*/ 760 h 1845"/>
              <a:gd name="T112" fmla="*/ 104 w 2002"/>
              <a:gd name="T113" fmla="*/ 753 h 1845"/>
              <a:gd name="T114" fmla="*/ 126 w 2002"/>
              <a:gd name="T115" fmla="*/ 749 h 1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2" h="1845">
                <a:moveTo>
                  <a:pt x="133" y="748"/>
                </a:moveTo>
                <a:lnTo>
                  <a:pt x="720" y="748"/>
                </a:lnTo>
                <a:lnTo>
                  <a:pt x="1308" y="748"/>
                </a:lnTo>
                <a:lnTo>
                  <a:pt x="853" y="314"/>
                </a:lnTo>
                <a:lnTo>
                  <a:pt x="847" y="308"/>
                </a:lnTo>
                <a:lnTo>
                  <a:pt x="841" y="301"/>
                </a:lnTo>
                <a:lnTo>
                  <a:pt x="835" y="294"/>
                </a:lnTo>
                <a:lnTo>
                  <a:pt x="831" y="287"/>
                </a:lnTo>
                <a:lnTo>
                  <a:pt x="826" y="280"/>
                </a:lnTo>
                <a:lnTo>
                  <a:pt x="821" y="271"/>
                </a:lnTo>
                <a:lnTo>
                  <a:pt x="818" y="263"/>
                </a:lnTo>
                <a:lnTo>
                  <a:pt x="815" y="256"/>
                </a:lnTo>
                <a:lnTo>
                  <a:pt x="811" y="247"/>
                </a:lnTo>
                <a:lnTo>
                  <a:pt x="809" y="238"/>
                </a:lnTo>
                <a:lnTo>
                  <a:pt x="807" y="230"/>
                </a:lnTo>
                <a:lnTo>
                  <a:pt x="805" y="221"/>
                </a:lnTo>
                <a:lnTo>
                  <a:pt x="804" y="213"/>
                </a:lnTo>
                <a:lnTo>
                  <a:pt x="804" y="204"/>
                </a:lnTo>
                <a:lnTo>
                  <a:pt x="803" y="195"/>
                </a:lnTo>
                <a:lnTo>
                  <a:pt x="803" y="187"/>
                </a:lnTo>
                <a:lnTo>
                  <a:pt x="804" y="178"/>
                </a:lnTo>
                <a:lnTo>
                  <a:pt x="804" y="169"/>
                </a:lnTo>
                <a:lnTo>
                  <a:pt x="806" y="161"/>
                </a:lnTo>
                <a:lnTo>
                  <a:pt x="807" y="152"/>
                </a:lnTo>
                <a:lnTo>
                  <a:pt x="809" y="143"/>
                </a:lnTo>
                <a:lnTo>
                  <a:pt x="811" y="135"/>
                </a:lnTo>
                <a:lnTo>
                  <a:pt x="815" y="126"/>
                </a:lnTo>
                <a:lnTo>
                  <a:pt x="818" y="117"/>
                </a:lnTo>
                <a:lnTo>
                  <a:pt x="826" y="101"/>
                </a:lnTo>
                <a:lnTo>
                  <a:pt x="835" y="85"/>
                </a:lnTo>
                <a:lnTo>
                  <a:pt x="841" y="77"/>
                </a:lnTo>
                <a:lnTo>
                  <a:pt x="847" y="71"/>
                </a:lnTo>
                <a:lnTo>
                  <a:pt x="853" y="63"/>
                </a:lnTo>
                <a:lnTo>
                  <a:pt x="860" y="56"/>
                </a:lnTo>
                <a:lnTo>
                  <a:pt x="867" y="49"/>
                </a:lnTo>
                <a:lnTo>
                  <a:pt x="874" y="44"/>
                </a:lnTo>
                <a:lnTo>
                  <a:pt x="882" y="37"/>
                </a:lnTo>
                <a:lnTo>
                  <a:pt x="889" y="32"/>
                </a:lnTo>
                <a:lnTo>
                  <a:pt x="897" y="28"/>
                </a:lnTo>
                <a:lnTo>
                  <a:pt x="905" y="22"/>
                </a:lnTo>
                <a:lnTo>
                  <a:pt x="913" y="19"/>
                </a:lnTo>
                <a:lnTo>
                  <a:pt x="921" y="15"/>
                </a:lnTo>
                <a:lnTo>
                  <a:pt x="930" y="12"/>
                </a:lnTo>
                <a:lnTo>
                  <a:pt x="938" y="8"/>
                </a:lnTo>
                <a:lnTo>
                  <a:pt x="947" y="6"/>
                </a:lnTo>
                <a:lnTo>
                  <a:pt x="956" y="4"/>
                </a:lnTo>
                <a:lnTo>
                  <a:pt x="964" y="3"/>
                </a:lnTo>
                <a:lnTo>
                  <a:pt x="973" y="1"/>
                </a:lnTo>
                <a:lnTo>
                  <a:pt x="982" y="1"/>
                </a:lnTo>
                <a:lnTo>
                  <a:pt x="990" y="0"/>
                </a:lnTo>
                <a:lnTo>
                  <a:pt x="999" y="0"/>
                </a:lnTo>
                <a:lnTo>
                  <a:pt x="1008" y="1"/>
                </a:lnTo>
                <a:lnTo>
                  <a:pt x="1016" y="1"/>
                </a:lnTo>
                <a:lnTo>
                  <a:pt x="1025" y="2"/>
                </a:lnTo>
                <a:lnTo>
                  <a:pt x="1034" y="4"/>
                </a:lnTo>
                <a:lnTo>
                  <a:pt x="1042" y="6"/>
                </a:lnTo>
                <a:lnTo>
                  <a:pt x="1051" y="8"/>
                </a:lnTo>
                <a:lnTo>
                  <a:pt x="1058" y="12"/>
                </a:lnTo>
                <a:lnTo>
                  <a:pt x="1067" y="15"/>
                </a:lnTo>
                <a:lnTo>
                  <a:pt x="1075" y="18"/>
                </a:lnTo>
                <a:lnTo>
                  <a:pt x="1090" y="28"/>
                </a:lnTo>
                <a:lnTo>
                  <a:pt x="1105" y="37"/>
                </a:lnTo>
                <a:lnTo>
                  <a:pt x="1112" y="44"/>
                </a:lnTo>
                <a:lnTo>
                  <a:pt x="1118" y="49"/>
                </a:lnTo>
                <a:lnTo>
                  <a:pt x="1560" y="486"/>
                </a:lnTo>
                <a:lnTo>
                  <a:pt x="2002" y="922"/>
                </a:lnTo>
                <a:lnTo>
                  <a:pt x="1568" y="1359"/>
                </a:lnTo>
                <a:lnTo>
                  <a:pt x="1133" y="1796"/>
                </a:lnTo>
                <a:lnTo>
                  <a:pt x="1127" y="1803"/>
                </a:lnTo>
                <a:lnTo>
                  <a:pt x="1120" y="1808"/>
                </a:lnTo>
                <a:lnTo>
                  <a:pt x="1113" y="1814"/>
                </a:lnTo>
                <a:lnTo>
                  <a:pt x="1106" y="1819"/>
                </a:lnTo>
                <a:lnTo>
                  <a:pt x="1099" y="1823"/>
                </a:lnTo>
                <a:lnTo>
                  <a:pt x="1091" y="1828"/>
                </a:lnTo>
                <a:lnTo>
                  <a:pt x="1083" y="1831"/>
                </a:lnTo>
                <a:lnTo>
                  <a:pt x="1075" y="1834"/>
                </a:lnTo>
                <a:lnTo>
                  <a:pt x="1067" y="1837"/>
                </a:lnTo>
                <a:lnTo>
                  <a:pt x="1058" y="1840"/>
                </a:lnTo>
                <a:lnTo>
                  <a:pt x="1050" y="1842"/>
                </a:lnTo>
                <a:lnTo>
                  <a:pt x="1041" y="1843"/>
                </a:lnTo>
                <a:lnTo>
                  <a:pt x="1032" y="1844"/>
                </a:lnTo>
                <a:lnTo>
                  <a:pt x="1024" y="1845"/>
                </a:lnTo>
                <a:lnTo>
                  <a:pt x="1015" y="1845"/>
                </a:lnTo>
                <a:lnTo>
                  <a:pt x="1006" y="1845"/>
                </a:lnTo>
                <a:lnTo>
                  <a:pt x="998" y="1845"/>
                </a:lnTo>
                <a:lnTo>
                  <a:pt x="989" y="1844"/>
                </a:lnTo>
                <a:lnTo>
                  <a:pt x="972" y="1841"/>
                </a:lnTo>
                <a:lnTo>
                  <a:pt x="954" y="1836"/>
                </a:lnTo>
                <a:lnTo>
                  <a:pt x="938" y="1830"/>
                </a:lnTo>
                <a:lnTo>
                  <a:pt x="922" y="1821"/>
                </a:lnTo>
                <a:lnTo>
                  <a:pt x="906" y="1812"/>
                </a:lnTo>
                <a:lnTo>
                  <a:pt x="898" y="1806"/>
                </a:lnTo>
                <a:lnTo>
                  <a:pt x="891" y="1801"/>
                </a:lnTo>
                <a:lnTo>
                  <a:pt x="876" y="1788"/>
                </a:lnTo>
                <a:lnTo>
                  <a:pt x="870" y="1781"/>
                </a:lnTo>
                <a:lnTo>
                  <a:pt x="863" y="1774"/>
                </a:lnTo>
                <a:lnTo>
                  <a:pt x="858" y="1766"/>
                </a:lnTo>
                <a:lnTo>
                  <a:pt x="853" y="1759"/>
                </a:lnTo>
                <a:lnTo>
                  <a:pt x="847" y="1751"/>
                </a:lnTo>
                <a:lnTo>
                  <a:pt x="843" y="1743"/>
                </a:lnTo>
                <a:lnTo>
                  <a:pt x="835" y="1727"/>
                </a:lnTo>
                <a:lnTo>
                  <a:pt x="832" y="1719"/>
                </a:lnTo>
                <a:lnTo>
                  <a:pt x="829" y="1710"/>
                </a:lnTo>
                <a:lnTo>
                  <a:pt x="827" y="1701"/>
                </a:lnTo>
                <a:lnTo>
                  <a:pt x="824" y="1693"/>
                </a:lnTo>
                <a:lnTo>
                  <a:pt x="822" y="1684"/>
                </a:lnTo>
                <a:lnTo>
                  <a:pt x="821" y="1675"/>
                </a:lnTo>
                <a:lnTo>
                  <a:pt x="820" y="1667"/>
                </a:lnTo>
                <a:lnTo>
                  <a:pt x="819" y="1658"/>
                </a:lnTo>
                <a:lnTo>
                  <a:pt x="819" y="1649"/>
                </a:lnTo>
                <a:lnTo>
                  <a:pt x="820" y="1641"/>
                </a:lnTo>
                <a:lnTo>
                  <a:pt x="820" y="1632"/>
                </a:lnTo>
                <a:lnTo>
                  <a:pt x="821" y="1624"/>
                </a:lnTo>
                <a:lnTo>
                  <a:pt x="823" y="1615"/>
                </a:lnTo>
                <a:lnTo>
                  <a:pt x="826" y="1607"/>
                </a:lnTo>
                <a:lnTo>
                  <a:pt x="828" y="1599"/>
                </a:lnTo>
                <a:lnTo>
                  <a:pt x="831" y="1590"/>
                </a:lnTo>
                <a:lnTo>
                  <a:pt x="834" y="1582"/>
                </a:lnTo>
                <a:lnTo>
                  <a:pt x="837" y="1575"/>
                </a:lnTo>
                <a:lnTo>
                  <a:pt x="842" y="1567"/>
                </a:lnTo>
                <a:lnTo>
                  <a:pt x="846" y="1560"/>
                </a:lnTo>
                <a:lnTo>
                  <a:pt x="850" y="1552"/>
                </a:lnTo>
                <a:lnTo>
                  <a:pt x="856" y="1546"/>
                </a:lnTo>
                <a:lnTo>
                  <a:pt x="862" y="1538"/>
                </a:lnTo>
                <a:lnTo>
                  <a:pt x="868" y="1532"/>
                </a:lnTo>
                <a:lnTo>
                  <a:pt x="1304" y="1097"/>
                </a:lnTo>
                <a:lnTo>
                  <a:pt x="717" y="1097"/>
                </a:lnTo>
                <a:lnTo>
                  <a:pt x="131" y="1097"/>
                </a:lnTo>
                <a:lnTo>
                  <a:pt x="124" y="1096"/>
                </a:lnTo>
                <a:lnTo>
                  <a:pt x="116" y="1096"/>
                </a:lnTo>
                <a:lnTo>
                  <a:pt x="108" y="1094"/>
                </a:lnTo>
                <a:lnTo>
                  <a:pt x="101" y="1093"/>
                </a:lnTo>
                <a:lnTo>
                  <a:pt x="88" y="1089"/>
                </a:lnTo>
                <a:lnTo>
                  <a:pt x="81" y="1085"/>
                </a:lnTo>
                <a:lnTo>
                  <a:pt x="75" y="1082"/>
                </a:lnTo>
                <a:lnTo>
                  <a:pt x="63" y="1074"/>
                </a:lnTo>
                <a:lnTo>
                  <a:pt x="57" y="1069"/>
                </a:lnTo>
                <a:lnTo>
                  <a:pt x="52" y="1065"/>
                </a:lnTo>
                <a:lnTo>
                  <a:pt x="48" y="1060"/>
                </a:lnTo>
                <a:lnTo>
                  <a:pt x="42" y="1054"/>
                </a:lnTo>
                <a:lnTo>
                  <a:pt x="38" y="1049"/>
                </a:lnTo>
                <a:lnTo>
                  <a:pt x="34" y="1042"/>
                </a:lnTo>
                <a:lnTo>
                  <a:pt x="26" y="1029"/>
                </a:lnTo>
                <a:lnTo>
                  <a:pt x="20" y="1016"/>
                </a:lnTo>
                <a:lnTo>
                  <a:pt x="16" y="1009"/>
                </a:lnTo>
                <a:lnTo>
                  <a:pt x="13" y="1001"/>
                </a:lnTo>
                <a:lnTo>
                  <a:pt x="9" y="986"/>
                </a:lnTo>
                <a:lnTo>
                  <a:pt x="5" y="971"/>
                </a:lnTo>
                <a:lnTo>
                  <a:pt x="2" y="955"/>
                </a:lnTo>
                <a:lnTo>
                  <a:pt x="1" y="939"/>
                </a:lnTo>
                <a:lnTo>
                  <a:pt x="0" y="922"/>
                </a:lnTo>
                <a:lnTo>
                  <a:pt x="1" y="906"/>
                </a:lnTo>
                <a:lnTo>
                  <a:pt x="1" y="899"/>
                </a:lnTo>
                <a:lnTo>
                  <a:pt x="2" y="891"/>
                </a:lnTo>
                <a:lnTo>
                  <a:pt x="5" y="875"/>
                </a:lnTo>
                <a:lnTo>
                  <a:pt x="9" y="860"/>
                </a:lnTo>
                <a:lnTo>
                  <a:pt x="12" y="852"/>
                </a:lnTo>
                <a:lnTo>
                  <a:pt x="14" y="845"/>
                </a:lnTo>
                <a:lnTo>
                  <a:pt x="20" y="831"/>
                </a:lnTo>
                <a:lnTo>
                  <a:pt x="27" y="816"/>
                </a:lnTo>
                <a:lnTo>
                  <a:pt x="31" y="810"/>
                </a:lnTo>
                <a:lnTo>
                  <a:pt x="35" y="805"/>
                </a:lnTo>
                <a:lnTo>
                  <a:pt x="44" y="793"/>
                </a:lnTo>
                <a:lnTo>
                  <a:pt x="54" y="782"/>
                </a:lnTo>
                <a:lnTo>
                  <a:pt x="65" y="772"/>
                </a:lnTo>
                <a:lnTo>
                  <a:pt x="70" y="768"/>
                </a:lnTo>
                <a:lnTo>
                  <a:pt x="77" y="765"/>
                </a:lnTo>
                <a:lnTo>
                  <a:pt x="83" y="760"/>
                </a:lnTo>
                <a:lnTo>
                  <a:pt x="90" y="758"/>
                </a:lnTo>
                <a:lnTo>
                  <a:pt x="96" y="755"/>
                </a:lnTo>
                <a:lnTo>
                  <a:pt x="104" y="753"/>
                </a:lnTo>
                <a:lnTo>
                  <a:pt x="111" y="752"/>
                </a:lnTo>
                <a:lnTo>
                  <a:pt x="118" y="749"/>
                </a:lnTo>
                <a:lnTo>
                  <a:pt x="126" y="749"/>
                </a:lnTo>
                <a:lnTo>
                  <a:pt x="133" y="748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35" name="Freeform 12"/>
          <p:cNvSpPr>
            <a:spLocks noChangeAspect="1"/>
          </p:cNvSpPr>
          <p:nvPr userDrawn="1"/>
        </p:nvSpPr>
        <p:spPr bwMode="auto">
          <a:xfrm>
            <a:off x="6168008" y="5013224"/>
            <a:ext cx="467999" cy="432000"/>
          </a:xfrm>
          <a:custGeom>
            <a:avLst/>
            <a:gdLst>
              <a:gd name="T0" fmla="*/ 1308 w 2002"/>
              <a:gd name="T1" fmla="*/ 748 h 1845"/>
              <a:gd name="T2" fmla="*/ 841 w 2002"/>
              <a:gd name="T3" fmla="*/ 301 h 1845"/>
              <a:gd name="T4" fmla="*/ 826 w 2002"/>
              <a:gd name="T5" fmla="*/ 280 h 1845"/>
              <a:gd name="T6" fmla="*/ 815 w 2002"/>
              <a:gd name="T7" fmla="*/ 256 h 1845"/>
              <a:gd name="T8" fmla="*/ 807 w 2002"/>
              <a:gd name="T9" fmla="*/ 230 h 1845"/>
              <a:gd name="T10" fmla="*/ 804 w 2002"/>
              <a:gd name="T11" fmla="*/ 204 h 1845"/>
              <a:gd name="T12" fmla="*/ 804 w 2002"/>
              <a:gd name="T13" fmla="*/ 178 h 1845"/>
              <a:gd name="T14" fmla="*/ 807 w 2002"/>
              <a:gd name="T15" fmla="*/ 152 h 1845"/>
              <a:gd name="T16" fmla="*/ 815 w 2002"/>
              <a:gd name="T17" fmla="*/ 126 h 1845"/>
              <a:gd name="T18" fmla="*/ 835 w 2002"/>
              <a:gd name="T19" fmla="*/ 85 h 1845"/>
              <a:gd name="T20" fmla="*/ 853 w 2002"/>
              <a:gd name="T21" fmla="*/ 63 h 1845"/>
              <a:gd name="T22" fmla="*/ 874 w 2002"/>
              <a:gd name="T23" fmla="*/ 44 h 1845"/>
              <a:gd name="T24" fmla="*/ 897 w 2002"/>
              <a:gd name="T25" fmla="*/ 28 h 1845"/>
              <a:gd name="T26" fmla="*/ 921 w 2002"/>
              <a:gd name="T27" fmla="*/ 15 h 1845"/>
              <a:gd name="T28" fmla="*/ 947 w 2002"/>
              <a:gd name="T29" fmla="*/ 6 h 1845"/>
              <a:gd name="T30" fmla="*/ 973 w 2002"/>
              <a:gd name="T31" fmla="*/ 1 h 1845"/>
              <a:gd name="T32" fmla="*/ 999 w 2002"/>
              <a:gd name="T33" fmla="*/ 0 h 1845"/>
              <a:gd name="T34" fmla="*/ 1025 w 2002"/>
              <a:gd name="T35" fmla="*/ 2 h 1845"/>
              <a:gd name="T36" fmla="*/ 1051 w 2002"/>
              <a:gd name="T37" fmla="*/ 8 h 1845"/>
              <a:gd name="T38" fmla="*/ 1075 w 2002"/>
              <a:gd name="T39" fmla="*/ 18 h 1845"/>
              <a:gd name="T40" fmla="*/ 1112 w 2002"/>
              <a:gd name="T41" fmla="*/ 44 h 1845"/>
              <a:gd name="T42" fmla="*/ 2002 w 2002"/>
              <a:gd name="T43" fmla="*/ 922 h 1845"/>
              <a:gd name="T44" fmla="*/ 1127 w 2002"/>
              <a:gd name="T45" fmla="*/ 1803 h 1845"/>
              <a:gd name="T46" fmla="*/ 1106 w 2002"/>
              <a:gd name="T47" fmla="*/ 1819 h 1845"/>
              <a:gd name="T48" fmla="*/ 1083 w 2002"/>
              <a:gd name="T49" fmla="*/ 1831 h 1845"/>
              <a:gd name="T50" fmla="*/ 1058 w 2002"/>
              <a:gd name="T51" fmla="*/ 1840 h 1845"/>
              <a:gd name="T52" fmla="*/ 1032 w 2002"/>
              <a:gd name="T53" fmla="*/ 1844 h 1845"/>
              <a:gd name="T54" fmla="*/ 1006 w 2002"/>
              <a:gd name="T55" fmla="*/ 1845 h 1845"/>
              <a:gd name="T56" fmla="*/ 972 w 2002"/>
              <a:gd name="T57" fmla="*/ 1841 h 1845"/>
              <a:gd name="T58" fmla="*/ 922 w 2002"/>
              <a:gd name="T59" fmla="*/ 1821 h 1845"/>
              <a:gd name="T60" fmla="*/ 891 w 2002"/>
              <a:gd name="T61" fmla="*/ 1801 h 1845"/>
              <a:gd name="T62" fmla="*/ 863 w 2002"/>
              <a:gd name="T63" fmla="*/ 1774 h 1845"/>
              <a:gd name="T64" fmla="*/ 847 w 2002"/>
              <a:gd name="T65" fmla="*/ 1751 h 1845"/>
              <a:gd name="T66" fmla="*/ 832 w 2002"/>
              <a:gd name="T67" fmla="*/ 1719 h 1845"/>
              <a:gd name="T68" fmla="*/ 824 w 2002"/>
              <a:gd name="T69" fmla="*/ 1693 h 1845"/>
              <a:gd name="T70" fmla="*/ 820 w 2002"/>
              <a:gd name="T71" fmla="*/ 1667 h 1845"/>
              <a:gd name="T72" fmla="*/ 820 w 2002"/>
              <a:gd name="T73" fmla="*/ 1641 h 1845"/>
              <a:gd name="T74" fmla="*/ 823 w 2002"/>
              <a:gd name="T75" fmla="*/ 1615 h 1845"/>
              <a:gd name="T76" fmla="*/ 831 w 2002"/>
              <a:gd name="T77" fmla="*/ 1590 h 1845"/>
              <a:gd name="T78" fmla="*/ 842 w 2002"/>
              <a:gd name="T79" fmla="*/ 1567 h 1845"/>
              <a:gd name="T80" fmla="*/ 856 w 2002"/>
              <a:gd name="T81" fmla="*/ 1546 h 1845"/>
              <a:gd name="T82" fmla="*/ 1304 w 2002"/>
              <a:gd name="T83" fmla="*/ 1097 h 1845"/>
              <a:gd name="T84" fmla="*/ 124 w 2002"/>
              <a:gd name="T85" fmla="*/ 1096 h 1845"/>
              <a:gd name="T86" fmla="*/ 101 w 2002"/>
              <a:gd name="T87" fmla="*/ 1093 h 1845"/>
              <a:gd name="T88" fmla="*/ 75 w 2002"/>
              <a:gd name="T89" fmla="*/ 1082 h 1845"/>
              <a:gd name="T90" fmla="*/ 52 w 2002"/>
              <a:gd name="T91" fmla="*/ 1065 h 1845"/>
              <a:gd name="T92" fmla="*/ 38 w 2002"/>
              <a:gd name="T93" fmla="*/ 1049 h 1845"/>
              <a:gd name="T94" fmla="*/ 20 w 2002"/>
              <a:gd name="T95" fmla="*/ 1016 h 1845"/>
              <a:gd name="T96" fmla="*/ 9 w 2002"/>
              <a:gd name="T97" fmla="*/ 986 h 1845"/>
              <a:gd name="T98" fmla="*/ 1 w 2002"/>
              <a:gd name="T99" fmla="*/ 939 h 1845"/>
              <a:gd name="T100" fmla="*/ 1 w 2002"/>
              <a:gd name="T101" fmla="*/ 899 h 1845"/>
              <a:gd name="T102" fmla="*/ 9 w 2002"/>
              <a:gd name="T103" fmla="*/ 860 h 1845"/>
              <a:gd name="T104" fmla="*/ 20 w 2002"/>
              <a:gd name="T105" fmla="*/ 831 h 1845"/>
              <a:gd name="T106" fmla="*/ 35 w 2002"/>
              <a:gd name="T107" fmla="*/ 805 h 1845"/>
              <a:gd name="T108" fmla="*/ 65 w 2002"/>
              <a:gd name="T109" fmla="*/ 772 h 1845"/>
              <a:gd name="T110" fmla="*/ 83 w 2002"/>
              <a:gd name="T111" fmla="*/ 760 h 1845"/>
              <a:gd name="T112" fmla="*/ 104 w 2002"/>
              <a:gd name="T113" fmla="*/ 753 h 1845"/>
              <a:gd name="T114" fmla="*/ 126 w 2002"/>
              <a:gd name="T115" fmla="*/ 749 h 1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2" h="1845">
                <a:moveTo>
                  <a:pt x="133" y="748"/>
                </a:moveTo>
                <a:lnTo>
                  <a:pt x="720" y="748"/>
                </a:lnTo>
                <a:lnTo>
                  <a:pt x="1308" y="748"/>
                </a:lnTo>
                <a:lnTo>
                  <a:pt x="853" y="314"/>
                </a:lnTo>
                <a:lnTo>
                  <a:pt x="847" y="308"/>
                </a:lnTo>
                <a:lnTo>
                  <a:pt x="841" y="301"/>
                </a:lnTo>
                <a:lnTo>
                  <a:pt x="835" y="294"/>
                </a:lnTo>
                <a:lnTo>
                  <a:pt x="831" y="287"/>
                </a:lnTo>
                <a:lnTo>
                  <a:pt x="826" y="280"/>
                </a:lnTo>
                <a:lnTo>
                  <a:pt x="821" y="271"/>
                </a:lnTo>
                <a:lnTo>
                  <a:pt x="818" y="263"/>
                </a:lnTo>
                <a:lnTo>
                  <a:pt x="815" y="256"/>
                </a:lnTo>
                <a:lnTo>
                  <a:pt x="811" y="247"/>
                </a:lnTo>
                <a:lnTo>
                  <a:pt x="809" y="238"/>
                </a:lnTo>
                <a:lnTo>
                  <a:pt x="807" y="230"/>
                </a:lnTo>
                <a:lnTo>
                  <a:pt x="805" y="221"/>
                </a:lnTo>
                <a:lnTo>
                  <a:pt x="804" y="213"/>
                </a:lnTo>
                <a:lnTo>
                  <a:pt x="804" y="204"/>
                </a:lnTo>
                <a:lnTo>
                  <a:pt x="803" y="195"/>
                </a:lnTo>
                <a:lnTo>
                  <a:pt x="803" y="187"/>
                </a:lnTo>
                <a:lnTo>
                  <a:pt x="804" y="178"/>
                </a:lnTo>
                <a:lnTo>
                  <a:pt x="804" y="169"/>
                </a:lnTo>
                <a:lnTo>
                  <a:pt x="806" y="161"/>
                </a:lnTo>
                <a:lnTo>
                  <a:pt x="807" y="152"/>
                </a:lnTo>
                <a:lnTo>
                  <a:pt x="809" y="143"/>
                </a:lnTo>
                <a:lnTo>
                  <a:pt x="811" y="135"/>
                </a:lnTo>
                <a:lnTo>
                  <a:pt x="815" y="126"/>
                </a:lnTo>
                <a:lnTo>
                  <a:pt x="818" y="117"/>
                </a:lnTo>
                <a:lnTo>
                  <a:pt x="826" y="101"/>
                </a:lnTo>
                <a:lnTo>
                  <a:pt x="835" y="85"/>
                </a:lnTo>
                <a:lnTo>
                  <a:pt x="841" y="77"/>
                </a:lnTo>
                <a:lnTo>
                  <a:pt x="847" y="71"/>
                </a:lnTo>
                <a:lnTo>
                  <a:pt x="853" y="63"/>
                </a:lnTo>
                <a:lnTo>
                  <a:pt x="860" y="56"/>
                </a:lnTo>
                <a:lnTo>
                  <a:pt x="867" y="49"/>
                </a:lnTo>
                <a:lnTo>
                  <a:pt x="874" y="44"/>
                </a:lnTo>
                <a:lnTo>
                  <a:pt x="882" y="37"/>
                </a:lnTo>
                <a:lnTo>
                  <a:pt x="889" y="32"/>
                </a:lnTo>
                <a:lnTo>
                  <a:pt x="897" y="28"/>
                </a:lnTo>
                <a:lnTo>
                  <a:pt x="905" y="22"/>
                </a:lnTo>
                <a:lnTo>
                  <a:pt x="913" y="19"/>
                </a:lnTo>
                <a:lnTo>
                  <a:pt x="921" y="15"/>
                </a:lnTo>
                <a:lnTo>
                  <a:pt x="930" y="12"/>
                </a:lnTo>
                <a:lnTo>
                  <a:pt x="938" y="8"/>
                </a:lnTo>
                <a:lnTo>
                  <a:pt x="947" y="6"/>
                </a:lnTo>
                <a:lnTo>
                  <a:pt x="956" y="4"/>
                </a:lnTo>
                <a:lnTo>
                  <a:pt x="964" y="3"/>
                </a:lnTo>
                <a:lnTo>
                  <a:pt x="973" y="1"/>
                </a:lnTo>
                <a:lnTo>
                  <a:pt x="982" y="1"/>
                </a:lnTo>
                <a:lnTo>
                  <a:pt x="990" y="0"/>
                </a:lnTo>
                <a:lnTo>
                  <a:pt x="999" y="0"/>
                </a:lnTo>
                <a:lnTo>
                  <a:pt x="1008" y="1"/>
                </a:lnTo>
                <a:lnTo>
                  <a:pt x="1016" y="1"/>
                </a:lnTo>
                <a:lnTo>
                  <a:pt x="1025" y="2"/>
                </a:lnTo>
                <a:lnTo>
                  <a:pt x="1034" y="4"/>
                </a:lnTo>
                <a:lnTo>
                  <a:pt x="1042" y="6"/>
                </a:lnTo>
                <a:lnTo>
                  <a:pt x="1051" y="8"/>
                </a:lnTo>
                <a:lnTo>
                  <a:pt x="1058" y="12"/>
                </a:lnTo>
                <a:lnTo>
                  <a:pt x="1067" y="15"/>
                </a:lnTo>
                <a:lnTo>
                  <a:pt x="1075" y="18"/>
                </a:lnTo>
                <a:lnTo>
                  <a:pt x="1090" y="28"/>
                </a:lnTo>
                <a:lnTo>
                  <a:pt x="1105" y="37"/>
                </a:lnTo>
                <a:lnTo>
                  <a:pt x="1112" y="44"/>
                </a:lnTo>
                <a:lnTo>
                  <a:pt x="1118" y="49"/>
                </a:lnTo>
                <a:lnTo>
                  <a:pt x="1560" y="486"/>
                </a:lnTo>
                <a:lnTo>
                  <a:pt x="2002" y="922"/>
                </a:lnTo>
                <a:lnTo>
                  <a:pt x="1568" y="1359"/>
                </a:lnTo>
                <a:lnTo>
                  <a:pt x="1133" y="1796"/>
                </a:lnTo>
                <a:lnTo>
                  <a:pt x="1127" y="1803"/>
                </a:lnTo>
                <a:lnTo>
                  <a:pt x="1120" y="1808"/>
                </a:lnTo>
                <a:lnTo>
                  <a:pt x="1113" y="1814"/>
                </a:lnTo>
                <a:lnTo>
                  <a:pt x="1106" y="1819"/>
                </a:lnTo>
                <a:lnTo>
                  <a:pt x="1099" y="1823"/>
                </a:lnTo>
                <a:lnTo>
                  <a:pt x="1091" y="1828"/>
                </a:lnTo>
                <a:lnTo>
                  <a:pt x="1083" y="1831"/>
                </a:lnTo>
                <a:lnTo>
                  <a:pt x="1075" y="1834"/>
                </a:lnTo>
                <a:lnTo>
                  <a:pt x="1067" y="1837"/>
                </a:lnTo>
                <a:lnTo>
                  <a:pt x="1058" y="1840"/>
                </a:lnTo>
                <a:lnTo>
                  <a:pt x="1050" y="1842"/>
                </a:lnTo>
                <a:lnTo>
                  <a:pt x="1041" y="1843"/>
                </a:lnTo>
                <a:lnTo>
                  <a:pt x="1032" y="1844"/>
                </a:lnTo>
                <a:lnTo>
                  <a:pt x="1024" y="1845"/>
                </a:lnTo>
                <a:lnTo>
                  <a:pt x="1015" y="1845"/>
                </a:lnTo>
                <a:lnTo>
                  <a:pt x="1006" y="1845"/>
                </a:lnTo>
                <a:lnTo>
                  <a:pt x="998" y="1845"/>
                </a:lnTo>
                <a:lnTo>
                  <a:pt x="989" y="1844"/>
                </a:lnTo>
                <a:lnTo>
                  <a:pt x="972" y="1841"/>
                </a:lnTo>
                <a:lnTo>
                  <a:pt x="954" y="1836"/>
                </a:lnTo>
                <a:lnTo>
                  <a:pt x="938" y="1830"/>
                </a:lnTo>
                <a:lnTo>
                  <a:pt x="922" y="1821"/>
                </a:lnTo>
                <a:lnTo>
                  <a:pt x="906" y="1812"/>
                </a:lnTo>
                <a:lnTo>
                  <a:pt x="898" y="1806"/>
                </a:lnTo>
                <a:lnTo>
                  <a:pt x="891" y="1801"/>
                </a:lnTo>
                <a:lnTo>
                  <a:pt x="876" y="1788"/>
                </a:lnTo>
                <a:lnTo>
                  <a:pt x="870" y="1781"/>
                </a:lnTo>
                <a:lnTo>
                  <a:pt x="863" y="1774"/>
                </a:lnTo>
                <a:lnTo>
                  <a:pt x="858" y="1766"/>
                </a:lnTo>
                <a:lnTo>
                  <a:pt x="853" y="1759"/>
                </a:lnTo>
                <a:lnTo>
                  <a:pt x="847" y="1751"/>
                </a:lnTo>
                <a:lnTo>
                  <a:pt x="843" y="1743"/>
                </a:lnTo>
                <a:lnTo>
                  <a:pt x="835" y="1727"/>
                </a:lnTo>
                <a:lnTo>
                  <a:pt x="832" y="1719"/>
                </a:lnTo>
                <a:lnTo>
                  <a:pt x="829" y="1710"/>
                </a:lnTo>
                <a:lnTo>
                  <a:pt x="827" y="1701"/>
                </a:lnTo>
                <a:lnTo>
                  <a:pt x="824" y="1693"/>
                </a:lnTo>
                <a:lnTo>
                  <a:pt x="822" y="1684"/>
                </a:lnTo>
                <a:lnTo>
                  <a:pt x="821" y="1675"/>
                </a:lnTo>
                <a:lnTo>
                  <a:pt x="820" y="1667"/>
                </a:lnTo>
                <a:lnTo>
                  <a:pt x="819" y="1658"/>
                </a:lnTo>
                <a:lnTo>
                  <a:pt x="819" y="1649"/>
                </a:lnTo>
                <a:lnTo>
                  <a:pt x="820" y="1641"/>
                </a:lnTo>
                <a:lnTo>
                  <a:pt x="820" y="1632"/>
                </a:lnTo>
                <a:lnTo>
                  <a:pt x="821" y="1624"/>
                </a:lnTo>
                <a:lnTo>
                  <a:pt x="823" y="1615"/>
                </a:lnTo>
                <a:lnTo>
                  <a:pt x="826" y="1607"/>
                </a:lnTo>
                <a:lnTo>
                  <a:pt x="828" y="1599"/>
                </a:lnTo>
                <a:lnTo>
                  <a:pt x="831" y="1590"/>
                </a:lnTo>
                <a:lnTo>
                  <a:pt x="834" y="1582"/>
                </a:lnTo>
                <a:lnTo>
                  <a:pt x="837" y="1575"/>
                </a:lnTo>
                <a:lnTo>
                  <a:pt x="842" y="1567"/>
                </a:lnTo>
                <a:lnTo>
                  <a:pt x="846" y="1560"/>
                </a:lnTo>
                <a:lnTo>
                  <a:pt x="850" y="1552"/>
                </a:lnTo>
                <a:lnTo>
                  <a:pt x="856" y="1546"/>
                </a:lnTo>
                <a:lnTo>
                  <a:pt x="862" y="1538"/>
                </a:lnTo>
                <a:lnTo>
                  <a:pt x="868" y="1532"/>
                </a:lnTo>
                <a:lnTo>
                  <a:pt x="1304" y="1097"/>
                </a:lnTo>
                <a:lnTo>
                  <a:pt x="717" y="1097"/>
                </a:lnTo>
                <a:lnTo>
                  <a:pt x="131" y="1097"/>
                </a:lnTo>
                <a:lnTo>
                  <a:pt x="124" y="1096"/>
                </a:lnTo>
                <a:lnTo>
                  <a:pt x="116" y="1096"/>
                </a:lnTo>
                <a:lnTo>
                  <a:pt x="108" y="1094"/>
                </a:lnTo>
                <a:lnTo>
                  <a:pt x="101" y="1093"/>
                </a:lnTo>
                <a:lnTo>
                  <a:pt x="88" y="1089"/>
                </a:lnTo>
                <a:lnTo>
                  <a:pt x="81" y="1085"/>
                </a:lnTo>
                <a:lnTo>
                  <a:pt x="75" y="1082"/>
                </a:lnTo>
                <a:lnTo>
                  <a:pt x="63" y="1074"/>
                </a:lnTo>
                <a:lnTo>
                  <a:pt x="57" y="1069"/>
                </a:lnTo>
                <a:lnTo>
                  <a:pt x="52" y="1065"/>
                </a:lnTo>
                <a:lnTo>
                  <a:pt x="48" y="1060"/>
                </a:lnTo>
                <a:lnTo>
                  <a:pt x="42" y="1054"/>
                </a:lnTo>
                <a:lnTo>
                  <a:pt x="38" y="1049"/>
                </a:lnTo>
                <a:lnTo>
                  <a:pt x="34" y="1042"/>
                </a:lnTo>
                <a:lnTo>
                  <a:pt x="26" y="1029"/>
                </a:lnTo>
                <a:lnTo>
                  <a:pt x="20" y="1016"/>
                </a:lnTo>
                <a:lnTo>
                  <a:pt x="16" y="1009"/>
                </a:lnTo>
                <a:lnTo>
                  <a:pt x="13" y="1001"/>
                </a:lnTo>
                <a:lnTo>
                  <a:pt x="9" y="986"/>
                </a:lnTo>
                <a:lnTo>
                  <a:pt x="5" y="971"/>
                </a:lnTo>
                <a:lnTo>
                  <a:pt x="2" y="955"/>
                </a:lnTo>
                <a:lnTo>
                  <a:pt x="1" y="939"/>
                </a:lnTo>
                <a:lnTo>
                  <a:pt x="0" y="922"/>
                </a:lnTo>
                <a:lnTo>
                  <a:pt x="1" y="906"/>
                </a:lnTo>
                <a:lnTo>
                  <a:pt x="1" y="899"/>
                </a:lnTo>
                <a:lnTo>
                  <a:pt x="2" y="891"/>
                </a:lnTo>
                <a:lnTo>
                  <a:pt x="5" y="875"/>
                </a:lnTo>
                <a:lnTo>
                  <a:pt x="9" y="860"/>
                </a:lnTo>
                <a:lnTo>
                  <a:pt x="12" y="852"/>
                </a:lnTo>
                <a:lnTo>
                  <a:pt x="14" y="845"/>
                </a:lnTo>
                <a:lnTo>
                  <a:pt x="20" y="831"/>
                </a:lnTo>
                <a:lnTo>
                  <a:pt x="27" y="816"/>
                </a:lnTo>
                <a:lnTo>
                  <a:pt x="31" y="810"/>
                </a:lnTo>
                <a:lnTo>
                  <a:pt x="35" y="805"/>
                </a:lnTo>
                <a:lnTo>
                  <a:pt x="44" y="793"/>
                </a:lnTo>
                <a:lnTo>
                  <a:pt x="54" y="782"/>
                </a:lnTo>
                <a:lnTo>
                  <a:pt x="65" y="772"/>
                </a:lnTo>
                <a:lnTo>
                  <a:pt x="70" y="768"/>
                </a:lnTo>
                <a:lnTo>
                  <a:pt x="77" y="765"/>
                </a:lnTo>
                <a:lnTo>
                  <a:pt x="83" y="760"/>
                </a:lnTo>
                <a:lnTo>
                  <a:pt x="90" y="758"/>
                </a:lnTo>
                <a:lnTo>
                  <a:pt x="96" y="755"/>
                </a:lnTo>
                <a:lnTo>
                  <a:pt x="104" y="753"/>
                </a:lnTo>
                <a:lnTo>
                  <a:pt x="111" y="752"/>
                </a:lnTo>
                <a:lnTo>
                  <a:pt x="118" y="749"/>
                </a:lnTo>
                <a:lnTo>
                  <a:pt x="126" y="749"/>
                </a:lnTo>
                <a:lnTo>
                  <a:pt x="133" y="748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28508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Arrows" preserve="1" userDrawn="1">
  <p:cSld name="4 Ar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F34E1-4A03-4647-AD6A-109BB455893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6886" y="1916113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6886" y="3068960"/>
            <a:ext cx="720601" cy="576064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6886" y="4220890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766886" y="5373018"/>
            <a:ext cx="720601" cy="576262"/>
          </a:xfrm>
          <a:prstGeom prst="rect">
            <a:avLst/>
          </a:prstGeom>
          <a:noFill/>
          <a:ln>
            <a:noFill/>
          </a:ln>
        </p:spPr>
        <p:txBody>
          <a:bodyPr wrap="none" anchor="t" anchorCtr="0"/>
          <a:lstStyle>
            <a:lvl1pPr marL="0" indent="0" algn="l">
              <a:buNone/>
              <a:defRPr sz="40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5"/>
          </p:nvPr>
        </p:nvSpPr>
        <p:spPr>
          <a:xfrm>
            <a:off x="1631950" y="1916113"/>
            <a:ext cx="4319588" cy="936625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/>
            </a:lvl1pPr>
            <a:lvl2pPr marL="182563" indent="-182563">
              <a:spcBef>
                <a:spcPts val="200"/>
              </a:spcBef>
              <a:defRPr sz="1400"/>
            </a:lvl2pPr>
            <a:lvl3pPr marL="357188" indent="-174625">
              <a:spcBef>
                <a:spcPts val="200"/>
              </a:spcBef>
              <a:defRPr sz="1200"/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36"/>
          </p:nvPr>
        </p:nvSpPr>
        <p:spPr>
          <a:xfrm>
            <a:off x="1631950" y="3068960"/>
            <a:ext cx="4319588" cy="936625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/>
            </a:lvl1pPr>
            <a:lvl2pPr marL="182563" indent="-182563">
              <a:spcBef>
                <a:spcPts val="200"/>
              </a:spcBef>
              <a:defRPr sz="1400"/>
            </a:lvl2pPr>
            <a:lvl3pPr marL="357188" indent="-174625">
              <a:spcBef>
                <a:spcPts val="200"/>
              </a:spcBef>
              <a:defRPr sz="1200"/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1631950" y="4221088"/>
            <a:ext cx="4319588" cy="936625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/>
            </a:lvl1pPr>
            <a:lvl2pPr marL="182563" indent="-182563">
              <a:spcBef>
                <a:spcPts val="200"/>
              </a:spcBef>
              <a:defRPr sz="1400"/>
            </a:lvl2pPr>
            <a:lvl3pPr marL="357188" indent="-174625">
              <a:spcBef>
                <a:spcPts val="200"/>
              </a:spcBef>
              <a:defRPr sz="1200"/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sz="quarter" idx="38"/>
          </p:nvPr>
        </p:nvSpPr>
        <p:spPr>
          <a:xfrm>
            <a:off x="1631950" y="5373217"/>
            <a:ext cx="4319588" cy="864072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/>
            </a:lvl1pPr>
            <a:lvl2pPr marL="182563" indent="-182563">
              <a:spcBef>
                <a:spcPts val="200"/>
              </a:spcBef>
              <a:defRPr sz="1400"/>
            </a:lvl2pPr>
            <a:lvl3pPr marL="357188" indent="-174625">
              <a:spcBef>
                <a:spcPts val="200"/>
              </a:spcBef>
              <a:defRPr sz="1200"/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39"/>
          </p:nvPr>
        </p:nvSpPr>
        <p:spPr>
          <a:xfrm>
            <a:off x="6816080" y="1916113"/>
            <a:ext cx="4609158" cy="936625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182563" indent="-182563">
              <a:spcBef>
                <a:spcPts val="200"/>
              </a:spcBef>
              <a:defRPr sz="1400">
                <a:solidFill>
                  <a:schemeClr val="accent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accent1"/>
                </a:solidFill>
              </a:defRPr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40"/>
          </p:nvPr>
        </p:nvSpPr>
        <p:spPr>
          <a:xfrm>
            <a:off x="6816080" y="3068960"/>
            <a:ext cx="4609158" cy="936625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182563" indent="-182563">
              <a:spcBef>
                <a:spcPts val="200"/>
              </a:spcBef>
              <a:defRPr sz="1400">
                <a:solidFill>
                  <a:schemeClr val="accent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accent1"/>
                </a:solidFill>
              </a:defRPr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42" name="Text Placeholder 2"/>
          <p:cNvSpPr>
            <a:spLocks noGrp="1"/>
          </p:cNvSpPr>
          <p:nvPr>
            <p:ph type="body" sz="quarter" idx="41"/>
          </p:nvPr>
        </p:nvSpPr>
        <p:spPr>
          <a:xfrm>
            <a:off x="6816080" y="4221088"/>
            <a:ext cx="4609158" cy="936625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182563" indent="-182563">
              <a:spcBef>
                <a:spcPts val="200"/>
              </a:spcBef>
              <a:defRPr sz="1400">
                <a:solidFill>
                  <a:schemeClr val="accent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accent1"/>
                </a:solidFill>
              </a:defRPr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6816080" y="5373217"/>
            <a:ext cx="4609158" cy="864072"/>
          </a:xfrm>
        </p:spPr>
        <p:txBody>
          <a:bodyPr tIns="72000"/>
          <a:lstStyle>
            <a:lvl1pPr marL="0" indent="0">
              <a:spcBef>
                <a:spcPts val="20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182563" indent="-182563">
              <a:spcBef>
                <a:spcPts val="200"/>
              </a:spcBef>
              <a:defRPr sz="1400">
                <a:solidFill>
                  <a:schemeClr val="accent1"/>
                </a:solidFill>
              </a:defRPr>
            </a:lvl2pPr>
            <a:lvl3pPr marL="357188" indent="-174625">
              <a:spcBef>
                <a:spcPts val="200"/>
              </a:spcBef>
              <a:defRPr sz="1200">
                <a:solidFill>
                  <a:schemeClr val="accent1"/>
                </a:solidFill>
              </a:defRPr>
            </a:lvl3pPr>
            <a:lvl4pPr marL="539750" indent="-182563">
              <a:spcBef>
                <a:spcPts val="200"/>
              </a:spcBef>
              <a:defRPr sz="1100"/>
            </a:lvl4pPr>
            <a:lvl5pPr marL="714375" indent="-174625">
              <a:spcBef>
                <a:spcPts val="200"/>
              </a:spcBef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4" name="Freeform 12"/>
          <p:cNvSpPr>
            <a:spLocks noChangeAspect="1"/>
          </p:cNvSpPr>
          <p:nvPr userDrawn="1"/>
        </p:nvSpPr>
        <p:spPr bwMode="auto">
          <a:xfrm>
            <a:off x="6168008" y="1988840"/>
            <a:ext cx="467999" cy="432000"/>
          </a:xfrm>
          <a:custGeom>
            <a:avLst/>
            <a:gdLst>
              <a:gd name="T0" fmla="*/ 1308 w 2002"/>
              <a:gd name="T1" fmla="*/ 748 h 1845"/>
              <a:gd name="T2" fmla="*/ 841 w 2002"/>
              <a:gd name="T3" fmla="*/ 301 h 1845"/>
              <a:gd name="T4" fmla="*/ 826 w 2002"/>
              <a:gd name="T5" fmla="*/ 280 h 1845"/>
              <a:gd name="T6" fmla="*/ 815 w 2002"/>
              <a:gd name="T7" fmla="*/ 256 h 1845"/>
              <a:gd name="T8" fmla="*/ 807 w 2002"/>
              <a:gd name="T9" fmla="*/ 230 h 1845"/>
              <a:gd name="T10" fmla="*/ 804 w 2002"/>
              <a:gd name="T11" fmla="*/ 204 h 1845"/>
              <a:gd name="T12" fmla="*/ 804 w 2002"/>
              <a:gd name="T13" fmla="*/ 178 h 1845"/>
              <a:gd name="T14" fmla="*/ 807 w 2002"/>
              <a:gd name="T15" fmla="*/ 152 h 1845"/>
              <a:gd name="T16" fmla="*/ 815 w 2002"/>
              <a:gd name="T17" fmla="*/ 126 h 1845"/>
              <a:gd name="T18" fmla="*/ 835 w 2002"/>
              <a:gd name="T19" fmla="*/ 85 h 1845"/>
              <a:gd name="T20" fmla="*/ 853 w 2002"/>
              <a:gd name="T21" fmla="*/ 63 h 1845"/>
              <a:gd name="T22" fmla="*/ 874 w 2002"/>
              <a:gd name="T23" fmla="*/ 44 h 1845"/>
              <a:gd name="T24" fmla="*/ 897 w 2002"/>
              <a:gd name="T25" fmla="*/ 28 h 1845"/>
              <a:gd name="T26" fmla="*/ 921 w 2002"/>
              <a:gd name="T27" fmla="*/ 15 h 1845"/>
              <a:gd name="T28" fmla="*/ 947 w 2002"/>
              <a:gd name="T29" fmla="*/ 6 h 1845"/>
              <a:gd name="T30" fmla="*/ 973 w 2002"/>
              <a:gd name="T31" fmla="*/ 1 h 1845"/>
              <a:gd name="T32" fmla="*/ 999 w 2002"/>
              <a:gd name="T33" fmla="*/ 0 h 1845"/>
              <a:gd name="T34" fmla="*/ 1025 w 2002"/>
              <a:gd name="T35" fmla="*/ 2 h 1845"/>
              <a:gd name="T36" fmla="*/ 1051 w 2002"/>
              <a:gd name="T37" fmla="*/ 8 h 1845"/>
              <a:gd name="T38" fmla="*/ 1075 w 2002"/>
              <a:gd name="T39" fmla="*/ 18 h 1845"/>
              <a:gd name="T40" fmla="*/ 1112 w 2002"/>
              <a:gd name="T41" fmla="*/ 44 h 1845"/>
              <a:gd name="T42" fmla="*/ 2002 w 2002"/>
              <a:gd name="T43" fmla="*/ 922 h 1845"/>
              <a:gd name="T44" fmla="*/ 1127 w 2002"/>
              <a:gd name="T45" fmla="*/ 1803 h 1845"/>
              <a:gd name="T46" fmla="*/ 1106 w 2002"/>
              <a:gd name="T47" fmla="*/ 1819 h 1845"/>
              <a:gd name="T48" fmla="*/ 1083 w 2002"/>
              <a:gd name="T49" fmla="*/ 1831 h 1845"/>
              <a:gd name="T50" fmla="*/ 1058 w 2002"/>
              <a:gd name="T51" fmla="*/ 1840 h 1845"/>
              <a:gd name="T52" fmla="*/ 1032 w 2002"/>
              <a:gd name="T53" fmla="*/ 1844 h 1845"/>
              <a:gd name="T54" fmla="*/ 1006 w 2002"/>
              <a:gd name="T55" fmla="*/ 1845 h 1845"/>
              <a:gd name="T56" fmla="*/ 972 w 2002"/>
              <a:gd name="T57" fmla="*/ 1841 h 1845"/>
              <a:gd name="T58" fmla="*/ 922 w 2002"/>
              <a:gd name="T59" fmla="*/ 1821 h 1845"/>
              <a:gd name="T60" fmla="*/ 891 w 2002"/>
              <a:gd name="T61" fmla="*/ 1801 h 1845"/>
              <a:gd name="T62" fmla="*/ 863 w 2002"/>
              <a:gd name="T63" fmla="*/ 1774 h 1845"/>
              <a:gd name="T64" fmla="*/ 847 w 2002"/>
              <a:gd name="T65" fmla="*/ 1751 h 1845"/>
              <a:gd name="T66" fmla="*/ 832 w 2002"/>
              <a:gd name="T67" fmla="*/ 1719 h 1845"/>
              <a:gd name="T68" fmla="*/ 824 w 2002"/>
              <a:gd name="T69" fmla="*/ 1693 h 1845"/>
              <a:gd name="T70" fmla="*/ 820 w 2002"/>
              <a:gd name="T71" fmla="*/ 1667 h 1845"/>
              <a:gd name="T72" fmla="*/ 820 w 2002"/>
              <a:gd name="T73" fmla="*/ 1641 h 1845"/>
              <a:gd name="T74" fmla="*/ 823 w 2002"/>
              <a:gd name="T75" fmla="*/ 1615 h 1845"/>
              <a:gd name="T76" fmla="*/ 831 w 2002"/>
              <a:gd name="T77" fmla="*/ 1590 h 1845"/>
              <a:gd name="T78" fmla="*/ 842 w 2002"/>
              <a:gd name="T79" fmla="*/ 1567 h 1845"/>
              <a:gd name="T80" fmla="*/ 856 w 2002"/>
              <a:gd name="T81" fmla="*/ 1546 h 1845"/>
              <a:gd name="T82" fmla="*/ 1304 w 2002"/>
              <a:gd name="T83" fmla="*/ 1097 h 1845"/>
              <a:gd name="T84" fmla="*/ 124 w 2002"/>
              <a:gd name="T85" fmla="*/ 1096 h 1845"/>
              <a:gd name="T86" fmla="*/ 101 w 2002"/>
              <a:gd name="T87" fmla="*/ 1093 h 1845"/>
              <a:gd name="T88" fmla="*/ 75 w 2002"/>
              <a:gd name="T89" fmla="*/ 1082 h 1845"/>
              <a:gd name="T90" fmla="*/ 52 w 2002"/>
              <a:gd name="T91" fmla="*/ 1065 h 1845"/>
              <a:gd name="T92" fmla="*/ 38 w 2002"/>
              <a:gd name="T93" fmla="*/ 1049 h 1845"/>
              <a:gd name="T94" fmla="*/ 20 w 2002"/>
              <a:gd name="T95" fmla="*/ 1016 h 1845"/>
              <a:gd name="T96" fmla="*/ 9 w 2002"/>
              <a:gd name="T97" fmla="*/ 986 h 1845"/>
              <a:gd name="T98" fmla="*/ 1 w 2002"/>
              <a:gd name="T99" fmla="*/ 939 h 1845"/>
              <a:gd name="T100" fmla="*/ 1 w 2002"/>
              <a:gd name="T101" fmla="*/ 899 h 1845"/>
              <a:gd name="T102" fmla="*/ 9 w 2002"/>
              <a:gd name="T103" fmla="*/ 860 h 1845"/>
              <a:gd name="T104" fmla="*/ 20 w 2002"/>
              <a:gd name="T105" fmla="*/ 831 h 1845"/>
              <a:gd name="T106" fmla="*/ 35 w 2002"/>
              <a:gd name="T107" fmla="*/ 805 h 1845"/>
              <a:gd name="T108" fmla="*/ 65 w 2002"/>
              <a:gd name="T109" fmla="*/ 772 h 1845"/>
              <a:gd name="T110" fmla="*/ 83 w 2002"/>
              <a:gd name="T111" fmla="*/ 760 h 1845"/>
              <a:gd name="T112" fmla="*/ 104 w 2002"/>
              <a:gd name="T113" fmla="*/ 753 h 1845"/>
              <a:gd name="T114" fmla="*/ 126 w 2002"/>
              <a:gd name="T115" fmla="*/ 749 h 1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2" h="1845">
                <a:moveTo>
                  <a:pt x="133" y="748"/>
                </a:moveTo>
                <a:lnTo>
                  <a:pt x="720" y="748"/>
                </a:lnTo>
                <a:lnTo>
                  <a:pt x="1308" y="748"/>
                </a:lnTo>
                <a:lnTo>
                  <a:pt x="853" y="314"/>
                </a:lnTo>
                <a:lnTo>
                  <a:pt x="847" y="308"/>
                </a:lnTo>
                <a:lnTo>
                  <a:pt x="841" y="301"/>
                </a:lnTo>
                <a:lnTo>
                  <a:pt x="835" y="294"/>
                </a:lnTo>
                <a:lnTo>
                  <a:pt x="831" y="287"/>
                </a:lnTo>
                <a:lnTo>
                  <a:pt x="826" y="280"/>
                </a:lnTo>
                <a:lnTo>
                  <a:pt x="821" y="271"/>
                </a:lnTo>
                <a:lnTo>
                  <a:pt x="818" y="263"/>
                </a:lnTo>
                <a:lnTo>
                  <a:pt x="815" y="256"/>
                </a:lnTo>
                <a:lnTo>
                  <a:pt x="811" y="247"/>
                </a:lnTo>
                <a:lnTo>
                  <a:pt x="809" y="238"/>
                </a:lnTo>
                <a:lnTo>
                  <a:pt x="807" y="230"/>
                </a:lnTo>
                <a:lnTo>
                  <a:pt x="805" y="221"/>
                </a:lnTo>
                <a:lnTo>
                  <a:pt x="804" y="213"/>
                </a:lnTo>
                <a:lnTo>
                  <a:pt x="804" y="204"/>
                </a:lnTo>
                <a:lnTo>
                  <a:pt x="803" y="195"/>
                </a:lnTo>
                <a:lnTo>
                  <a:pt x="803" y="187"/>
                </a:lnTo>
                <a:lnTo>
                  <a:pt x="804" y="178"/>
                </a:lnTo>
                <a:lnTo>
                  <a:pt x="804" y="169"/>
                </a:lnTo>
                <a:lnTo>
                  <a:pt x="806" y="161"/>
                </a:lnTo>
                <a:lnTo>
                  <a:pt x="807" y="152"/>
                </a:lnTo>
                <a:lnTo>
                  <a:pt x="809" y="143"/>
                </a:lnTo>
                <a:lnTo>
                  <a:pt x="811" y="135"/>
                </a:lnTo>
                <a:lnTo>
                  <a:pt x="815" y="126"/>
                </a:lnTo>
                <a:lnTo>
                  <a:pt x="818" y="117"/>
                </a:lnTo>
                <a:lnTo>
                  <a:pt x="826" y="101"/>
                </a:lnTo>
                <a:lnTo>
                  <a:pt x="835" y="85"/>
                </a:lnTo>
                <a:lnTo>
                  <a:pt x="841" y="77"/>
                </a:lnTo>
                <a:lnTo>
                  <a:pt x="847" y="71"/>
                </a:lnTo>
                <a:lnTo>
                  <a:pt x="853" y="63"/>
                </a:lnTo>
                <a:lnTo>
                  <a:pt x="860" y="56"/>
                </a:lnTo>
                <a:lnTo>
                  <a:pt x="867" y="49"/>
                </a:lnTo>
                <a:lnTo>
                  <a:pt x="874" y="44"/>
                </a:lnTo>
                <a:lnTo>
                  <a:pt x="882" y="37"/>
                </a:lnTo>
                <a:lnTo>
                  <a:pt x="889" y="32"/>
                </a:lnTo>
                <a:lnTo>
                  <a:pt x="897" y="28"/>
                </a:lnTo>
                <a:lnTo>
                  <a:pt x="905" y="22"/>
                </a:lnTo>
                <a:lnTo>
                  <a:pt x="913" y="19"/>
                </a:lnTo>
                <a:lnTo>
                  <a:pt x="921" y="15"/>
                </a:lnTo>
                <a:lnTo>
                  <a:pt x="930" y="12"/>
                </a:lnTo>
                <a:lnTo>
                  <a:pt x="938" y="8"/>
                </a:lnTo>
                <a:lnTo>
                  <a:pt x="947" y="6"/>
                </a:lnTo>
                <a:lnTo>
                  <a:pt x="956" y="4"/>
                </a:lnTo>
                <a:lnTo>
                  <a:pt x="964" y="3"/>
                </a:lnTo>
                <a:lnTo>
                  <a:pt x="973" y="1"/>
                </a:lnTo>
                <a:lnTo>
                  <a:pt x="982" y="1"/>
                </a:lnTo>
                <a:lnTo>
                  <a:pt x="990" y="0"/>
                </a:lnTo>
                <a:lnTo>
                  <a:pt x="999" y="0"/>
                </a:lnTo>
                <a:lnTo>
                  <a:pt x="1008" y="1"/>
                </a:lnTo>
                <a:lnTo>
                  <a:pt x="1016" y="1"/>
                </a:lnTo>
                <a:lnTo>
                  <a:pt x="1025" y="2"/>
                </a:lnTo>
                <a:lnTo>
                  <a:pt x="1034" y="4"/>
                </a:lnTo>
                <a:lnTo>
                  <a:pt x="1042" y="6"/>
                </a:lnTo>
                <a:lnTo>
                  <a:pt x="1051" y="8"/>
                </a:lnTo>
                <a:lnTo>
                  <a:pt x="1058" y="12"/>
                </a:lnTo>
                <a:lnTo>
                  <a:pt x="1067" y="15"/>
                </a:lnTo>
                <a:lnTo>
                  <a:pt x="1075" y="18"/>
                </a:lnTo>
                <a:lnTo>
                  <a:pt x="1090" y="28"/>
                </a:lnTo>
                <a:lnTo>
                  <a:pt x="1105" y="37"/>
                </a:lnTo>
                <a:lnTo>
                  <a:pt x="1112" y="44"/>
                </a:lnTo>
                <a:lnTo>
                  <a:pt x="1118" y="49"/>
                </a:lnTo>
                <a:lnTo>
                  <a:pt x="1560" y="486"/>
                </a:lnTo>
                <a:lnTo>
                  <a:pt x="2002" y="922"/>
                </a:lnTo>
                <a:lnTo>
                  <a:pt x="1568" y="1359"/>
                </a:lnTo>
                <a:lnTo>
                  <a:pt x="1133" y="1796"/>
                </a:lnTo>
                <a:lnTo>
                  <a:pt x="1127" y="1803"/>
                </a:lnTo>
                <a:lnTo>
                  <a:pt x="1120" y="1808"/>
                </a:lnTo>
                <a:lnTo>
                  <a:pt x="1113" y="1814"/>
                </a:lnTo>
                <a:lnTo>
                  <a:pt x="1106" y="1819"/>
                </a:lnTo>
                <a:lnTo>
                  <a:pt x="1099" y="1823"/>
                </a:lnTo>
                <a:lnTo>
                  <a:pt x="1091" y="1828"/>
                </a:lnTo>
                <a:lnTo>
                  <a:pt x="1083" y="1831"/>
                </a:lnTo>
                <a:lnTo>
                  <a:pt x="1075" y="1834"/>
                </a:lnTo>
                <a:lnTo>
                  <a:pt x="1067" y="1837"/>
                </a:lnTo>
                <a:lnTo>
                  <a:pt x="1058" y="1840"/>
                </a:lnTo>
                <a:lnTo>
                  <a:pt x="1050" y="1842"/>
                </a:lnTo>
                <a:lnTo>
                  <a:pt x="1041" y="1843"/>
                </a:lnTo>
                <a:lnTo>
                  <a:pt x="1032" y="1844"/>
                </a:lnTo>
                <a:lnTo>
                  <a:pt x="1024" y="1845"/>
                </a:lnTo>
                <a:lnTo>
                  <a:pt x="1015" y="1845"/>
                </a:lnTo>
                <a:lnTo>
                  <a:pt x="1006" y="1845"/>
                </a:lnTo>
                <a:lnTo>
                  <a:pt x="998" y="1845"/>
                </a:lnTo>
                <a:lnTo>
                  <a:pt x="989" y="1844"/>
                </a:lnTo>
                <a:lnTo>
                  <a:pt x="972" y="1841"/>
                </a:lnTo>
                <a:lnTo>
                  <a:pt x="954" y="1836"/>
                </a:lnTo>
                <a:lnTo>
                  <a:pt x="938" y="1830"/>
                </a:lnTo>
                <a:lnTo>
                  <a:pt x="922" y="1821"/>
                </a:lnTo>
                <a:lnTo>
                  <a:pt x="906" y="1812"/>
                </a:lnTo>
                <a:lnTo>
                  <a:pt x="898" y="1806"/>
                </a:lnTo>
                <a:lnTo>
                  <a:pt x="891" y="1801"/>
                </a:lnTo>
                <a:lnTo>
                  <a:pt x="876" y="1788"/>
                </a:lnTo>
                <a:lnTo>
                  <a:pt x="870" y="1781"/>
                </a:lnTo>
                <a:lnTo>
                  <a:pt x="863" y="1774"/>
                </a:lnTo>
                <a:lnTo>
                  <a:pt x="858" y="1766"/>
                </a:lnTo>
                <a:lnTo>
                  <a:pt x="853" y="1759"/>
                </a:lnTo>
                <a:lnTo>
                  <a:pt x="847" y="1751"/>
                </a:lnTo>
                <a:lnTo>
                  <a:pt x="843" y="1743"/>
                </a:lnTo>
                <a:lnTo>
                  <a:pt x="835" y="1727"/>
                </a:lnTo>
                <a:lnTo>
                  <a:pt x="832" y="1719"/>
                </a:lnTo>
                <a:lnTo>
                  <a:pt x="829" y="1710"/>
                </a:lnTo>
                <a:lnTo>
                  <a:pt x="827" y="1701"/>
                </a:lnTo>
                <a:lnTo>
                  <a:pt x="824" y="1693"/>
                </a:lnTo>
                <a:lnTo>
                  <a:pt x="822" y="1684"/>
                </a:lnTo>
                <a:lnTo>
                  <a:pt x="821" y="1675"/>
                </a:lnTo>
                <a:lnTo>
                  <a:pt x="820" y="1667"/>
                </a:lnTo>
                <a:lnTo>
                  <a:pt x="819" y="1658"/>
                </a:lnTo>
                <a:lnTo>
                  <a:pt x="819" y="1649"/>
                </a:lnTo>
                <a:lnTo>
                  <a:pt x="820" y="1641"/>
                </a:lnTo>
                <a:lnTo>
                  <a:pt x="820" y="1632"/>
                </a:lnTo>
                <a:lnTo>
                  <a:pt x="821" y="1624"/>
                </a:lnTo>
                <a:lnTo>
                  <a:pt x="823" y="1615"/>
                </a:lnTo>
                <a:lnTo>
                  <a:pt x="826" y="1607"/>
                </a:lnTo>
                <a:lnTo>
                  <a:pt x="828" y="1599"/>
                </a:lnTo>
                <a:lnTo>
                  <a:pt x="831" y="1590"/>
                </a:lnTo>
                <a:lnTo>
                  <a:pt x="834" y="1582"/>
                </a:lnTo>
                <a:lnTo>
                  <a:pt x="837" y="1575"/>
                </a:lnTo>
                <a:lnTo>
                  <a:pt x="842" y="1567"/>
                </a:lnTo>
                <a:lnTo>
                  <a:pt x="846" y="1560"/>
                </a:lnTo>
                <a:lnTo>
                  <a:pt x="850" y="1552"/>
                </a:lnTo>
                <a:lnTo>
                  <a:pt x="856" y="1546"/>
                </a:lnTo>
                <a:lnTo>
                  <a:pt x="862" y="1538"/>
                </a:lnTo>
                <a:lnTo>
                  <a:pt x="868" y="1532"/>
                </a:lnTo>
                <a:lnTo>
                  <a:pt x="1304" y="1097"/>
                </a:lnTo>
                <a:lnTo>
                  <a:pt x="717" y="1097"/>
                </a:lnTo>
                <a:lnTo>
                  <a:pt x="131" y="1097"/>
                </a:lnTo>
                <a:lnTo>
                  <a:pt x="124" y="1096"/>
                </a:lnTo>
                <a:lnTo>
                  <a:pt x="116" y="1096"/>
                </a:lnTo>
                <a:lnTo>
                  <a:pt x="108" y="1094"/>
                </a:lnTo>
                <a:lnTo>
                  <a:pt x="101" y="1093"/>
                </a:lnTo>
                <a:lnTo>
                  <a:pt x="88" y="1089"/>
                </a:lnTo>
                <a:lnTo>
                  <a:pt x="81" y="1085"/>
                </a:lnTo>
                <a:lnTo>
                  <a:pt x="75" y="1082"/>
                </a:lnTo>
                <a:lnTo>
                  <a:pt x="63" y="1074"/>
                </a:lnTo>
                <a:lnTo>
                  <a:pt x="57" y="1069"/>
                </a:lnTo>
                <a:lnTo>
                  <a:pt x="52" y="1065"/>
                </a:lnTo>
                <a:lnTo>
                  <a:pt x="48" y="1060"/>
                </a:lnTo>
                <a:lnTo>
                  <a:pt x="42" y="1054"/>
                </a:lnTo>
                <a:lnTo>
                  <a:pt x="38" y="1049"/>
                </a:lnTo>
                <a:lnTo>
                  <a:pt x="34" y="1042"/>
                </a:lnTo>
                <a:lnTo>
                  <a:pt x="26" y="1029"/>
                </a:lnTo>
                <a:lnTo>
                  <a:pt x="20" y="1016"/>
                </a:lnTo>
                <a:lnTo>
                  <a:pt x="16" y="1009"/>
                </a:lnTo>
                <a:lnTo>
                  <a:pt x="13" y="1001"/>
                </a:lnTo>
                <a:lnTo>
                  <a:pt x="9" y="986"/>
                </a:lnTo>
                <a:lnTo>
                  <a:pt x="5" y="971"/>
                </a:lnTo>
                <a:lnTo>
                  <a:pt x="2" y="955"/>
                </a:lnTo>
                <a:lnTo>
                  <a:pt x="1" y="939"/>
                </a:lnTo>
                <a:lnTo>
                  <a:pt x="0" y="922"/>
                </a:lnTo>
                <a:lnTo>
                  <a:pt x="1" y="906"/>
                </a:lnTo>
                <a:lnTo>
                  <a:pt x="1" y="899"/>
                </a:lnTo>
                <a:lnTo>
                  <a:pt x="2" y="891"/>
                </a:lnTo>
                <a:lnTo>
                  <a:pt x="5" y="875"/>
                </a:lnTo>
                <a:lnTo>
                  <a:pt x="9" y="860"/>
                </a:lnTo>
                <a:lnTo>
                  <a:pt x="12" y="852"/>
                </a:lnTo>
                <a:lnTo>
                  <a:pt x="14" y="845"/>
                </a:lnTo>
                <a:lnTo>
                  <a:pt x="20" y="831"/>
                </a:lnTo>
                <a:lnTo>
                  <a:pt x="27" y="816"/>
                </a:lnTo>
                <a:lnTo>
                  <a:pt x="31" y="810"/>
                </a:lnTo>
                <a:lnTo>
                  <a:pt x="35" y="805"/>
                </a:lnTo>
                <a:lnTo>
                  <a:pt x="44" y="793"/>
                </a:lnTo>
                <a:lnTo>
                  <a:pt x="54" y="782"/>
                </a:lnTo>
                <a:lnTo>
                  <a:pt x="65" y="772"/>
                </a:lnTo>
                <a:lnTo>
                  <a:pt x="70" y="768"/>
                </a:lnTo>
                <a:lnTo>
                  <a:pt x="77" y="765"/>
                </a:lnTo>
                <a:lnTo>
                  <a:pt x="83" y="760"/>
                </a:lnTo>
                <a:lnTo>
                  <a:pt x="90" y="758"/>
                </a:lnTo>
                <a:lnTo>
                  <a:pt x="96" y="755"/>
                </a:lnTo>
                <a:lnTo>
                  <a:pt x="104" y="753"/>
                </a:lnTo>
                <a:lnTo>
                  <a:pt x="111" y="752"/>
                </a:lnTo>
                <a:lnTo>
                  <a:pt x="118" y="749"/>
                </a:lnTo>
                <a:lnTo>
                  <a:pt x="126" y="749"/>
                </a:lnTo>
                <a:lnTo>
                  <a:pt x="133" y="748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36" name="Freeform 12"/>
          <p:cNvSpPr>
            <a:spLocks noChangeAspect="1"/>
          </p:cNvSpPr>
          <p:nvPr userDrawn="1"/>
        </p:nvSpPr>
        <p:spPr bwMode="auto">
          <a:xfrm>
            <a:off x="6168008" y="3141016"/>
            <a:ext cx="467999" cy="432000"/>
          </a:xfrm>
          <a:custGeom>
            <a:avLst/>
            <a:gdLst>
              <a:gd name="T0" fmla="*/ 1308 w 2002"/>
              <a:gd name="T1" fmla="*/ 748 h 1845"/>
              <a:gd name="T2" fmla="*/ 841 w 2002"/>
              <a:gd name="T3" fmla="*/ 301 h 1845"/>
              <a:gd name="T4" fmla="*/ 826 w 2002"/>
              <a:gd name="T5" fmla="*/ 280 h 1845"/>
              <a:gd name="T6" fmla="*/ 815 w 2002"/>
              <a:gd name="T7" fmla="*/ 256 h 1845"/>
              <a:gd name="T8" fmla="*/ 807 w 2002"/>
              <a:gd name="T9" fmla="*/ 230 h 1845"/>
              <a:gd name="T10" fmla="*/ 804 w 2002"/>
              <a:gd name="T11" fmla="*/ 204 h 1845"/>
              <a:gd name="T12" fmla="*/ 804 w 2002"/>
              <a:gd name="T13" fmla="*/ 178 h 1845"/>
              <a:gd name="T14" fmla="*/ 807 w 2002"/>
              <a:gd name="T15" fmla="*/ 152 h 1845"/>
              <a:gd name="T16" fmla="*/ 815 w 2002"/>
              <a:gd name="T17" fmla="*/ 126 h 1845"/>
              <a:gd name="T18" fmla="*/ 835 w 2002"/>
              <a:gd name="T19" fmla="*/ 85 h 1845"/>
              <a:gd name="T20" fmla="*/ 853 w 2002"/>
              <a:gd name="T21" fmla="*/ 63 h 1845"/>
              <a:gd name="T22" fmla="*/ 874 w 2002"/>
              <a:gd name="T23" fmla="*/ 44 h 1845"/>
              <a:gd name="T24" fmla="*/ 897 w 2002"/>
              <a:gd name="T25" fmla="*/ 28 h 1845"/>
              <a:gd name="T26" fmla="*/ 921 w 2002"/>
              <a:gd name="T27" fmla="*/ 15 h 1845"/>
              <a:gd name="T28" fmla="*/ 947 w 2002"/>
              <a:gd name="T29" fmla="*/ 6 h 1845"/>
              <a:gd name="T30" fmla="*/ 973 w 2002"/>
              <a:gd name="T31" fmla="*/ 1 h 1845"/>
              <a:gd name="T32" fmla="*/ 999 w 2002"/>
              <a:gd name="T33" fmla="*/ 0 h 1845"/>
              <a:gd name="T34" fmla="*/ 1025 w 2002"/>
              <a:gd name="T35" fmla="*/ 2 h 1845"/>
              <a:gd name="T36" fmla="*/ 1051 w 2002"/>
              <a:gd name="T37" fmla="*/ 8 h 1845"/>
              <a:gd name="T38" fmla="*/ 1075 w 2002"/>
              <a:gd name="T39" fmla="*/ 18 h 1845"/>
              <a:gd name="T40" fmla="*/ 1112 w 2002"/>
              <a:gd name="T41" fmla="*/ 44 h 1845"/>
              <a:gd name="T42" fmla="*/ 2002 w 2002"/>
              <a:gd name="T43" fmla="*/ 922 h 1845"/>
              <a:gd name="T44" fmla="*/ 1127 w 2002"/>
              <a:gd name="T45" fmla="*/ 1803 h 1845"/>
              <a:gd name="T46" fmla="*/ 1106 w 2002"/>
              <a:gd name="T47" fmla="*/ 1819 h 1845"/>
              <a:gd name="T48" fmla="*/ 1083 w 2002"/>
              <a:gd name="T49" fmla="*/ 1831 h 1845"/>
              <a:gd name="T50" fmla="*/ 1058 w 2002"/>
              <a:gd name="T51" fmla="*/ 1840 h 1845"/>
              <a:gd name="T52" fmla="*/ 1032 w 2002"/>
              <a:gd name="T53" fmla="*/ 1844 h 1845"/>
              <a:gd name="T54" fmla="*/ 1006 w 2002"/>
              <a:gd name="T55" fmla="*/ 1845 h 1845"/>
              <a:gd name="T56" fmla="*/ 972 w 2002"/>
              <a:gd name="T57" fmla="*/ 1841 h 1845"/>
              <a:gd name="T58" fmla="*/ 922 w 2002"/>
              <a:gd name="T59" fmla="*/ 1821 h 1845"/>
              <a:gd name="T60" fmla="*/ 891 w 2002"/>
              <a:gd name="T61" fmla="*/ 1801 h 1845"/>
              <a:gd name="T62" fmla="*/ 863 w 2002"/>
              <a:gd name="T63" fmla="*/ 1774 h 1845"/>
              <a:gd name="T64" fmla="*/ 847 w 2002"/>
              <a:gd name="T65" fmla="*/ 1751 h 1845"/>
              <a:gd name="T66" fmla="*/ 832 w 2002"/>
              <a:gd name="T67" fmla="*/ 1719 h 1845"/>
              <a:gd name="T68" fmla="*/ 824 w 2002"/>
              <a:gd name="T69" fmla="*/ 1693 h 1845"/>
              <a:gd name="T70" fmla="*/ 820 w 2002"/>
              <a:gd name="T71" fmla="*/ 1667 h 1845"/>
              <a:gd name="T72" fmla="*/ 820 w 2002"/>
              <a:gd name="T73" fmla="*/ 1641 h 1845"/>
              <a:gd name="T74" fmla="*/ 823 w 2002"/>
              <a:gd name="T75" fmla="*/ 1615 h 1845"/>
              <a:gd name="T76" fmla="*/ 831 w 2002"/>
              <a:gd name="T77" fmla="*/ 1590 h 1845"/>
              <a:gd name="T78" fmla="*/ 842 w 2002"/>
              <a:gd name="T79" fmla="*/ 1567 h 1845"/>
              <a:gd name="T80" fmla="*/ 856 w 2002"/>
              <a:gd name="T81" fmla="*/ 1546 h 1845"/>
              <a:gd name="T82" fmla="*/ 1304 w 2002"/>
              <a:gd name="T83" fmla="*/ 1097 h 1845"/>
              <a:gd name="T84" fmla="*/ 124 w 2002"/>
              <a:gd name="T85" fmla="*/ 1096 h 1845"/>
              <a:gd name="T86" fmla="*/ 101 w 2002"/>
              <a:gd name="T87" fmla="*/ 1093 h 1845"/>
              <a:gd name="T88" fmla="*/ 75 w 2002"/>
              <a:gd name="T89" fmla="*/ 1082 h 1845"/>
              <a:gd name="T90" fmla="*/ 52 w 2002"/>
              <a:gd name="T91" fmla="*/ 1065 h 1845"/>
              <a:gd name="T92" fmla="*/ 38 w 2002"/>
              <a:gd name="T93" fmla="*/ 1049 h 1845"/>
              <a:gd name="T94" fmla="*/ 20 w 2002"/>
              <a:gd name="T95" fmla="*/ 1016 h 1845"/>
              <a:gd name="T96" fmla="*/ 9 w 2002"/>
              <a:gd name="T97" fmla="*/ 986 h 1845"/>
              <a:gd name="T98" fmla="*/ 1 w 2002"/>
              <a:gd name="T99" fmla="*/ 939 h 1845"/>
              <a:gd name="T100" fmla="*/ 1 w 2002"/>
              <a:gd name="T101" fmla="*/ 899 h 1845"/>
              <a:gd name="T102" fmla="*/ 9 w 2002"/>
              <a:gd name="T103" fmla="*/ 860 h 1845"/>
              <a:gd name="T104" fmla="*/ 20 w 2002"/>
              <a:gd name="T105" fmla="*/ 831 h 1845"/>
              <a:gd name="T106" fmla="*/ 35 w 2002"/>
              <a:gd name="T107" fmla="*/ 805 h 1845"/>
              <a:gd name="T108" fmla="*/ 65 w 2002"/>
              <a:gd name="T109" fmla="*/ 772 h 1845"/>
              <a:gd name="T110" fmla="*/ 83 w 2002"/>
              <a:gd name="T111" fmla="*/ 760 h 1845"/>
              <a:gd name="T112" fmla="*/ 104 w 2002"/>
              <a:gd name="T113" fmla="*/ 753 h 1845"/>
              <a:gd name="T114" fmla="*/ 126 w 2002"/>
              <a:gd name="T115" fmla="*/ 749 h 1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2" h="1845">
                <a:moveTo>
                  <a:pt x="133" y="748"/>
                </a:moveTo>
                <a:lnTo>
                  <a:pt x="720" y="748"/>
                </a:lnTo>
                <a:lnTo>
                  <a:pt x="1308" y="748"/>
                </a:lnTo>
                <a:lnTo>
                  <a:pt x="853" y="314"/>
                </a:lnTo>
                <a:lnTo>
                  <a:pt x="847" y="308"/>
                </a:lnTo>
                <a:lnTo>
                  <a:pt x="841" y="301"/>
                </a:lnTo>
                <a:lnTo>
                  <a:pt x="835" y="294"/>
                </a:lnTo>
                <a:lnTo>
                  <a:pt x="831" y="287"/>
                </a:lnTo>
                <a:lnTo>
                  <a:pt x="826" y="280"/>
                </a:lnTo>
                <a:lnTo>
                  <a:pt x="821" y="271"/>
                </a:lnTo>
                <a:lnTo>
                  <a:pt x="818" y="263"/>
                </a:lnTo>
                <a:lnTo>
                  <a:pt x="815" y="256"/>
                </a:lnTo>
                <a:lnTo>
                  <a:pt x="811" y="247"/>
                </a:lnTo>
                <a:lnTo>
                  <a:pt x="809" y="238"/>
                </a:lnTo>
                <a:lnTo>
                  <a:pt x="807" y="230"/>
                </a:lnTo>
                <a:lnTo>
                  <a:pt x="805" y="221"/>
                </a:lnTo>
                <a:lnTo>
                  <a:pt x="804" y="213"/>
                </a:lnTo>
                <a:lnTo>
                  <a:pt x="804" y="204"/>
                </a:lnTo>
                <a:lnTo>
                  <a:pt x="803" y="195"/>
                </a:lnTo>
                <a:lnTo>
                  <a:pt x="803" y="187"/>
                </a:lnTo>
                <a:lnTo>
                  <a:pt x="804" y="178"/>
                </a:lnTo>
                <a:lnTo>
                  <a:pt x="804" y="169"/>
                </a:lnTo>
                <a:lnTo>
                  <a:pt x="806" y="161"/>
                </a:lnTo>
                <a:lnTo>
                  <a:pt x="807" y="152"/>
                </a:lnTo>
                <a:lnTo>
                  <a:pt x="809" y="143"/>
                </a:lnTo>
                <a:lnTo>
                  <a:pt x="811" y="135"/>
                </a:lnTo>
                <a:lnTo>
                  <a:pt x="815" y="126"/>
                </a:lnTo>
                <a:lnTo>
                  <a:pt x="818" y="117"/>
                </a:lnTo>
                <a:lnTo>
                  <a:pt x="826" y="101"/>
                </a:lnTo>
                <a:lnTo>
                  <a:pt x="835" y="85"/>
                </a:lnTo>
                <a:lnTo>
                  <a:pt x="841" y="77"/>
                </a:lnTo>
                <a:lnTo>
                  <a:pt x="847" y="71"/>
                </a:lnTo>
                <a:lnTo>
                  <a:pt x="853" y="63"/>
                </a:lnTo>
                <a:lnTo>
                  <a:pt x="860" y="56"/>
                </a:lnTo>
                <a:lnTo>
                  <a:pt x="867" y="49"/>
                </a:lnTo>
                <a:lnTo>
                  <a:pt x="874" y="44"/>
                </a:lnTo>
                <a:lnTo>
                  <a:pt x="882" y="37"/>
                </a:lnTo>
                <a:lnTo>
                  <a:pt x="889" y="32"/>
                </a:lnTo>
                <a:lnTo>
                  <a:pt x="897" y="28"/>
                </a:lnTo>
                <a:lnTo>
                  <a:pt x="905" y="22"/>
                </a:lnTo>
                <a:lnTo>
                  <a:pt x="913" y="19"/>
                </a:lnTo>
                <a:lnTo>
                  <a:pt x="921" y="15"/>
                </a:lnTo>
                <a:lnTo>
                  <a:pt x="930" y="12"/>
                </a:lnTo>
                <a:lnTo>
                  <a:pt x="938" y="8"/>
                </a:lnTo>
                <a:lnTo>
                  <a:pt x="947" y="6"/>
                </a:lnTo>
                <a:lnTo>
                  <a:pt x="956" y="4"/>
                </a:lnTo>
                <a:lnTo>
                  <a:pt x="964" y="3"/>
                </a:lnTo>
                <a:lnTo>
                  <a:pt x="973" y="1"/>
                </a:lnTo>
                <a:lnTo>
                  <a:pt x="982" y="1"/>
                </a:lnTo>
                <a:lnTo>
                  <a:pt x="990" y="0"/>
                </a:lnTo>
                <a:lnTo>
                  <a:pt x="999" y="0"/>
                </a:lnTo>
                <a:lnTo>
                  <a:pt x="1008" y="1"/>
                </a:lnTo>
                <a:lnTo>
                  <a:pt x="1016" y="1"/>
                </a:lnTo>
                <a:lnTo>
                  <a:pt x="1025" y="2"/>
                </a:lnTo>
                <a:lnTo>
                  <a:pt x="1034" y="4"/>
                </a:lnTo>
                <a:lnTo>
                  <a:pt x="1042" y="6"/>
                </a:lnTo>
                <a:lnTo>
                  <a:pt x="1051" y="8"/>
                </a:lnTo>
                <a:lnTo>
                  <a:pt x="1058" y="12"/>
                </a:lnTo>
                <a:lnTo>
                  <a:pt x="1067" y="15"/>
                </a:lnTo>
                <a:lnTo>
                  <a:pt x="1075" y="18"/>
                </a:lnTo>
                <a:lnTo>
                  <a:pt x="1090" y="28"/>
                </a:lnTo>
                <a:lnTo>
                  <a:pt x="1105" y="37"/>
                </a:lnTo>
                <a:lnTo>
                  <a:pt x="1112" y="44"/>
                </a:lnTo>
                <a:lnTo>
                  <a:pt x="1118" y="49"/>
                </a:lnTo>
                <a:lnTo>
                  <a:pt x="1560" y="486"/>
                </a:lnTo>
                <a:lnTo>
                  <a:pt x="2002" y="922"/>
                </a:lnTo>
                <a:lnTo>
                  <a:pt x="1568" y="1359"/>
                </a:lnTo>
                <a:lnTo>
                  <a:pt x="1133" y="1796"/>
                </a:lnTo>
                <a:lnTo>
                  <a:pt x="1127" y="1803"/>
                </a:lnTo>
                <a:lnTo>
                  <a:pt x="1120" y="1808"/>
                </a:lnTo>
                <a:lnTo>
                  <a:pt x="1113" y="1814"/>
                </a:lnTo>
                <a:lnTo>
                  <a:pt x="1106" y="1819"/>
                </a:lnTo>
                <a:lnTo>
                  <a:pt x="1099" y="1823"/>
                </a:lnTo>
                <a:lnTo>
                  <a:pt x="1091" y="1828"/>
                </a:lnTo>
                <a:lnTo>
                  <a:pt x="1083" y="1831"/>
                </a:lnTo>
                <a:lnTo>
                  <a:pt x="1075" y="1834"/>
                </a:lnTo>
                <a:lnTo>
                  <a:pt x="1067" y="1837"/>
                </a:lnTo>
                <a:lnTo>
                  <a:pt x="1058" y="1840"/>
                </a:lnTo>
                <a:lnTo>
                  <a:pt x="1050" y="1842"/>
                </a:lnTo>
                <a:lnTo>
                  <a:pt x="1041" y="1843"/>
                </a:lnTo>
                <a:lnTo>
                  <a:pt x="1032" y="1844"/>
                </a:lnTo>
                <a:lnTo>
                  <a:pt x="1024" y="1845"/>
                </a:lnTo>
                <a:lnTo>
                  <a:pt x="1015" y="1845"/>
                </a:lnTo>
                <a:lnTo>
                  <a:pt x="1006" y="1845"/>
                </a:lnTo>
                <a:lnTo>
                  <a:pt x="998" y="1845"/>
                </a:lnTo>
                <a:lnTo>
                  <a:pt x="989" y="1844"/>
                </a:lnTo>
                <a:lnTo>
                  <a:pt x="972" y="1841"/>
                </a:lnTo>
                <a:lnTo>
                  <a:pt x="954" y="1836"/>
                </a:lnTo>
                <a:lnTo>
                  <a:pt x="938" y="1830"/>
                </a:lnTo>
                <a:lnTo>
                  <a:pt x="922" y="1821"/>
                </a:lnTo>
                <a:lnTo>
                  <a:pt x="906" y="1812"/>
                </a:lnTo>
                <a:lnTo>
                  <a:pt x="898" y="1806"/>
                </a:lnTo>
                <a:lnTo>
                  <a:pt x="891" y="1801"/>
                </a:lnTo>
                <a:lnTo>
                  <a:pt x="876" y="1788"/>
                </a:lnTo>
                <a:lnTo>
                  <a:pt x="870" y="1781"/>
                </a:lnTo>
                <a:lnTo>
                  <a:pt x="863" y="1774"/>
                </a:lnTo>
                <a:lnTo>
                  <a:pt x="858" y="1766"/>
                </a:lnTo>
                <a:lnTo>
                  <a:pt x="853" y="1759"/>
                </a:lnTo>
                <a:lnTo>
                  <a:pt x="847" y="1751"/>
                </a:lnTo>
                <a:lnTo>
                  <a:pt x="843" y="1743"/>
                </a:lnTo>
                <a:lnTo>
                  <a:pt x="835" y="1727"/>
                </a:lnTo>
                <a:lnTo>
                  <a:pt x="832" y="1719"/>
                </a:lnTo>
                <a:lnTo>
                  <a:pt x="829" y="1710"/>
                </a:lnTo>
                <a:lnTo>
                  <a:pt x="827" y="1701"/>
                </a:lnTo>
                <a:lnTo>
                  <a:pt x="824" y="1693"/>
                </a:lnTo>
                <a:lnTo>
                  <a:pt x="822" y="1684"/>
                </a:lnTo>
                <a:lnTo>
                  <a:pt x="821" y="1675"/>
                </a:lnTo>
                <a:lnTo>
                  <a:pt x="820" y="1667"/>
                </a:lnTo>
                <a:lnTo>
                  <a:pt x="819" y="1658"/>
                </a:lnTo>
                <a:lnTo>
                  <a:pt x="819" y="1649"/>
                </a:lnTo>
                <a:lnTo>
                  <a:pt x="820" y="1641"/>
                </a:lnTo>
                <a:lnTo>
                  <a:pt x="820" y="1632"/>
                </a:lnTo>
                <a:lnTo>
                  <a:pt x="821" y="1624"/>
                </a:lnTo>
                <a:lnTo>
                  <a:pt x="823" y="1615"/>
                </a:lnTo>
                <a:lnTo>
                  <a:pt x="826" y="1607"/>
                </a:lnTo>
                <a:lnTo>
                  <a:pt x="828" y="1599"/>
                </a:lnTo>
                <a:lnTo>
                  <a:pt x="831" y="1590"/>
                </a:lnTo>
                <a:lnTo>
                  <a:pt x="834" y="1582"/>
                </a:lnTo>
                <a:lnTo>
                  <a:pt x="837" y="1575"/>
                </a:lnTo>
                <a:lnTo>
                  <a:pt x="842" y="1567"/>
                </a:lnTo>
                <a:lnTo>
                  <a:pt x="846" y="1560"/>
                </a:lnTo>
                <a:lnTo>
                  <a:pt x="850" y="1552"/>
                </a:lnTo>
                <a:lnTo>
                  <a:pt x="856" y="1546"/>
                </a:lnTo>
                <a:lnTo>
                  <a:pt x="862" y="1538"/>
                </a:lnTo>
                <a:lnTo>
                  <a:pt x="868" y="1532"/>
                </a:lnTo>
                <a:lnTo>
                  <a:pt x="1304" y="1097"/>
                </a:lnTo>
                <a:lnTo>
                  <a:pt x="717" y="1097"/>
                </a:lnTo>
                <a:lnTo>
                  <a:pt x="131" y="1097"/>
                </a:lnTo>
                <a:lnTo>
                  <a:pt x="124" y="1096"/>
                </a:lnTo>
                <a:lnTo>
                  <a:pt x="116" y="1096"/>
                </a:lnTo>
                <a:lnTo>
                  <a:pt x="108" y="1094"/>
                </a:lnTo>
                <a:lnTo>
                  <a:pt x="101" y="1093"/>
                </a:lnTo>
                <a:lnTo>
                  <a:pt x="88" y="1089"/>
                </a:lnTo>
                <a:lnTo>
                  <a:pt x="81" y="1085"/>
                </a:lnTo>
                <a:lnTo>
                  <a:pt x="75" y="1082"/>
                </a:lnTo>
                <a:lnTo>
                  <a:pt x="63" y="1074"/>
                </a:lnTo>
                <a:lnTo>
                  <a:pt x="57" y="1069"/>
                </a:lnTo>
                <a:lnTo>
                  <a:pt x="52" y="1065"/>
                </a:lnTo>
                <a:lnTo>
                  <a:pt x="48" y="1060"/>
                </a:lnTo>
                <a:lnTo>
                  <a:pt x="42" y="1054"/>
                </a:lnTo>
                <a:lnTo>
                  <a:pt x="38" y="1049"/>
                </a:lnTo>
                <a:lnTo>
                  <a:pt x="34" y="1042"/>
                </a:lnTo>
                <a:lnTo>
                  <a:pt x="26" y="1029"/>
                </a:lnTo>
                <a:lnTo>
                  <a:pt x="20" y="1016"/>
                </a:lnTo>
                <a:lnTo>
                  <a:pt x="16" y="1009"/>
                </a:lnTo>
                <a:lnTo>
                  <a:pt x="13" y="1001"/>
                </a:lnTo>
                <a:lnTo>
                  <a:pt x="9" y="986"/>
                </a:lnTo>
                <a:lnTo>
                  <a:pt x="5" y="971"/>
                </a:lnTo>
                <a:lnTo>
                  <a:pt x="2" y="955"/>
                </a:lnTo>
                <a:lnTo>
                  <a:pt x="1" y="939"/>
                </a:lnTo>
                <a:lnTo>
                  <a:pt x="0" y="922"/>
                </a:lnTo>
                <a:lnTo>
                  <a:pt x="1" y="906"/>
                </a:lnTo>
                <a:lnTo>
                  <a:pt x="1" y="899"/>
                </a:lnTo>
                <a:lnTo>
                  <a:pt x="2" y="891"/>
                </a:lnTo>
                <a:lnTo>
                  <a:pt x="5" y="875"/>
                </a:lnTo>
                <a:lnTo>
                  <a:pt x="9" y="860"/>
                </a:lnTo>
                <a:lnTo>
                  <a:pt x="12" y="852"/>
                </a:lnTo>
                <a:lnTo>
                  <a:pt x="14" y="845"/>
                </a:lnTo>
                <a:lnTo>
                  <a:pt x="20" y="831"/>
                </a:lnTo>
                <a:lnTo>
                  <a:pt x="27" y="816"/>
                </a:lnTo>
                <a:lnTo>
                  <a:pt x="31" y="810"/>
                </a:lnTo>
                <a:lnTo>
                  <a:pt x="35" y="805"/>
                </a:lnTo>
                <a:lnTo>
                  <a:pt x="44" y="793"/>
                </a:lnTo>
                <a:lnTo>
                  <a:pt x="54" y="782"/>
                </a:lnTo>
                <a:lnTo>
                  <a:pt x="65" y="772"/>
                </a:lnTo>
                <a:lnTo>
                  <a:pt x="70" y="768"/>
                </a:lnTo>
                <a:lnTo>
                  <a:pt x="77" y="765"/>
                </a:lnTo>
                <a:lnTo>
                  <a:pt x="83" y="760"/>
                </a:lnTo>
                <a:lnTo>
                  <a:pt x="90" y="758"/>
                </a:lnTo>
                <a:lnTo>
                  <a:pt x="96" y="755"/>
                </a:lnTo>
                <a:lnTo>
                  <a:pt x="104" y="753"/>
                </a:lnTo>
                <a:lnTo>
                  <a:pt x="111" y="752"/>
                </a:lnTo>
                <a:lnTo>
                  <a:pt x="118" y="749"/>
                </a:lnTo>
                <a:lnTo>
                  <a:pt x="126" y="749"/>
                </a:lnTo>
                <a:lnTo>
                  <a:pt x="133" y="748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37" name="Freeform 12"/>
          <p:cNvSpPr>
            <a:spLocks noChangeAspect="1"/>
          </p:cNvSpPr>
          <p:nvPr userDrawn="1"/>
        </p:nvSpPr>
        <p:spPr bwMode="auto">
          <a:xfrm>
            <a:off x="6168008" y="4293144"/>
            <a:ext cx="467999" cy="432000"/>
          </a:xfrm>
          <a:custGeom>
            <a:avLst/>
            <a:gdLst>
              <a:gd name="T0" fmla="*/ 1308 w 2002"/>
              <a:gd name="T1" fmla="*/ 748 h 1845"/>
              <a:gd name="T2" fmla="*/ 841 w 2002"/>
              <a:gd name="T3" fmla="*/ 301 h 1845"/>
              <a:gd name="T4" fmla="*/ 826 w 2002"/>
              <a:gd name="T5" fmla="*/ 280 h 1845"/>
              <a:gd name="T6" fmla="*/ 815 w 2002"/>
              <a:gd name="T7" fmla="*/ 256 h 1845"/>
              <a:gd name="T8" fmla="*/ 807 w 2002"/>
              <a:gd name="T9" fmla="*/ 230 h 1845"/>
              <a:gd name="T10" fmla="*/ 804 w 2002"/>
              <a:gd name="T11" fmla="*/ 204 h 1845"/>
              <a:gd name="T12" fmla="*/ 804 w 2002"/>
              <a:gd name="T13" fmla="*/ 178 h 1845"/>
              <a:gd name="T14" fmla="*/ 807 w 2002"/>
              <a:gd name="T15" fmla="*/ 152 h 1845"/>
              <a:gd name="T16" fmla="*/ 815 w 2002"/>
              <a:gd name="T17" fmla="*/ 126 h 1845"/>
              <a:gd name="T18" fmla="*/ 835 w 2002"/>
              <a:gd name="T19" fmla="*/ 85 h 1845"/>
              <a:gd name="T20" fmla="*/ 853 w 2002"/>
              <a:gd name="T21" fmla="*/ 63 h 1845"/>
              <a:gd name="T22" fmla="*/ 874 w 2002"/>
              <a:gd name="T23" fmla="*/ 44 h 1845"/>
              <a:gd name="T24" fmla="*/ 897 w 2002"/>
              <a:gd name="T25" fmla="*/ 28 h 1845"/>
              <a:gd name="T26" fmla="*/ 921 w 2002"/>
              <a:gd name="T27" fmla="*/ 15 h 1845"/>
              <a:gd name="T28" fmla="*/ 947 w 2002"/>
              <a:gd name="T29" fmla="*/ 6 h 1845"/>
              <a:gd name="T30" fmla="*/ 973 w 2002"/>
              <a:gd name="T31" fmla="*/ 1 h 1845"/>
              <a:gd name="T32" fmla="*/ 999 w 2002"/>
              <a:gd name="T33" fmla="*/ 0 h 1845"/>
              <a:gd name="T34" fmla="*/ 1025 w 2002"/>
              <a:gd name="T35" fmla="*/ 2 h 1845"/>
              <a:gd name="T36" fmla="*/ 1051 w 2002"/>
              <a:gd name="T37" fmla="*/ 8 h 1845"/>
              <a:gd name="T38" fmla="*/ 1075 w 2002"/>
              <a:gd name="T39" fmla="*/ 18 h 1845"/>
              <a:gd name="T40" fmla="*/ 1112 w 2002"/>
              <a:gd name="T41" fmla="*/ 44 h 1845"/>
              <a:gd name="T42" fmla="*/ 2002 w 2002"/>
              <a:gd name="T43" fmla="*/ 922 h 1845"/>
              <a:gd name="T44" fmla="*/ 1127 w 2002"/>
              <a:gd name="T45" fmla="*/ 1803 h 1845"/>
              <a:gd name="T46" fmla="*/ 1106 w 2002"/>
              <a:gd name="T47" fmla="*/ 1819 h 1845"/>
              <a:gd name="T48" fmla="*/ 1083 w 2002"/>
              <a:gd name="T49" fmla="*/ 1831 h 1845"/>
              <a:gd name="T50" fmla="*/ 1058 w 2002"/>
              <a:gd name="T51" fmla="*/ 1840 h 1845"/>
              <a:gd name="T52" fmla="*/ 1032 w 2002"/>
              <a:gd name="T53" fmla="*/ 1844 h 1845"/>
              <a:gd name="T54" fmla="*/ 1006 w 2002"/>
              <a:gd name="T55" fmla="*/ 1845 h 1845"/>
              <a:gd name="T56" fmla="*/ 972 w 2002"/>
              <a:gd name="T57" fmla="*/ 1841 h 1845"/>
              <a:gd name="T58" fmla="*/ 922 w 2002"/>
              <a:gd name="T59" fmla="*/ 1821 h 1845"/>
              <a:gd name="T60" fmla="*/ 891 w 2002"/>
              <a:gd name="T61" fmla="*/ 1801 h 1845"/>
              <a:gd name="T62" fmla="*/ 863 w 2002"/>
              <a:gd name="T63" fmla="*/ 1774 h 1845"/>
              <a:gd name="T64" fmla="*/ 847 w 2002"/>
              <a:gd name="T65" fmla="*/ 1751 h 1845"/>
              <a:gd name="T66" fmla="*/ 832 w 2002"/>
              <a:gd name="T67" fmla="*/ 1719 h 1845"/>
              <a:gd name="T68" fmla="*/ 824 w 2002"/>
              <a:gd name="T69" fmla="*/ 1693 h 1845"/>
              <a:gd name="T70" fmla="*/ 820 w 2002"/>
              <a:gd name="T71" fmla="*/ 1667 h 1845"/>
              <a:gd name="T72" fmla="*/ 820 w 2002"/>
              <a:gd name="T73" fmla="*/ 1641 h 1845"/>
              <a:gd name="T74" fmla="*/ 823 w 2002"/>
              <a:gd name="T75" fmla="*/ 1615 h 1845"/>
              <a:gd name="T76" fmla="*/ 831 w 2002"/>
              <a:gd name="T77" fmla="*/ 1590 h 1845"/>
              <a:gd name="T78" fmla="*/ 842 w 2002"/>
              <a:gd name="T79" fmla="*/ 1567 h 1845"/>
              <a:gd name="T80" fmla="*/ 856 w 2002"/>
              <a:gd name="T81" fmla="*/ 1546 h 1845"/>
              <a:gd name="T82" fmla="*/ 1304 w 2002"/>
              <a:gd name="T83" fmla="*/ 1097 h 1845"/>
              <a:gd name="T84" fmla="*/ 124 w 2002"/>
              <a:gd name="T85" fmla="*/ 1096 h 1845"/>
              <a:gd name="T86" fmla="*/ 101 w 2002"/>
              <a:gd name="T87" fmla="*/ 1093 h 1845"/>
              <a:gd name="T88" fmla="*/ 75 w 2002"/>
              <a:gd name="T89" fmla="*/ 1082 h 1845"/>
              <a:gd name="T90" fmla="*/ 52 w 2002"/>
              <a:gd name="T91" fmla="*/ 1065 h 1845"/>
              <a:gd name="T92" fmla="*/ 38 w 2002"/>
              <a:gd name="T93" fmla="*/ 1049 h 1845"/>
              <a:gd name="T94" fmla="*/ 20 w 2002"/>
              <a:gd name="T95" fmla="*/ 1016 h 1845"/>
              <a:gd name="T96" fmla="*/ 9 w 2002"/>
              <a:gd name="T97" fmla="*/ 986 h 1845"/>
              <a:gd name="T98" fmla="*/ 1 w 2002"/>
              <a:gd name="T99" fmla="*/ 939 h 1845"/>
              <a:gd name="T100" fmla="*/ 1 w 2002"/>
              <a:gd name="T101" fmla="*/ 899 h 1845"/>
              <a:gd name="T102" fmla="*/ 9 w 2002"/>
              <a:gd name="T103" fmla="*/ 860 h 1845"/>
              <a:gd name="T104" fmla="*/ 20 w 2002"/>
              <a:gd name="T105" fmla="*/ 831 h 1845"/>
              <a:gd name="T106" fmla="*/ 35 w 2002"/>
              <a:gd name="T107" fmla="*/ 805 h 1845"/>
              <a:gd name="T108" fmla="*/ 65 w 2002"/>
              <a:gd name="T109" fmla="*/ 772 h 1845"/>
              <a:gd name="T110" fmla="*/ 83 w 2002"/>
              <a:gd name="T111" fmla="*/ 760 h 1845"/>
              <a:gd name="T112" fmla="*/ 104 w 2002"/>
              <a:gd name="T113" fmla="*/ 753 h 1845"/>
              <a:gd name="T114" fmla="*/ 126 w 2002"/>
              <a:gd name="T115" fmla="*/ 749 h 1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2" h="1845">
                <a:moveTo>
                  <a:pt x="133" y="748"/>
                </a:moveTo>
                <a:lnTo>
                  <a:pt x="720" y="748"/>
                </a:lnTo>
                <a:lnTo>
                  <a:pt x="1308" y="748"/>
                </a:lnTo>
                <a:lnTo>
                  <a:pt x="853" y="314"/>
                </a:lnTo>
                <a:lnTo>
                  <a:pt x="847" y="308"/>
                </a:lnTo>
                <a:lnTo>
                  <a:pt x="841" y="301"/>
                </a:lnTo>
                <a:lnTo>
                  <a:pt x="835" y="294"/>
                </a:lnTo>
                <a:lnTo>
                  <a:pt x="831" y="287"/>
                </a:lnTo>
                <a:lnTo>
                  <a:pt x="826" y="280"/>
                </a:lnTo>
                <a:lnTo>
                  <a:pt x="821" y="271"/>
                </a:lnTo>
                <a:lnTo>
                  <a:pt x="818" y="263"/>
                </a:lnTo>
                <a:lnTo>
                  <a:pt x="815" y="256"/>
                </a:lnTo>
                <a:lnTo>
                  <a:pt x="811" y="247"/>
                </a:lnTo>
                <a:lnTo>
                  <a:pt x="809" y="238"/>
                </a:lnTo>
                <a:lnTo>
                  <a:pt x="807" y="230"/>
                </a:lnTo>
                <a:lnTo>
                  <a:pt x="805" y="221"/>
                </a:lnTo>
                <a:lnTo>
                  <a:pt x="804" y="213"/>
                </a:lnTo>
                <a:lnTo>
                  <a:pt x="804" y="204"/>
                </a:lnTo>
                <a:lnTo>
                  <a:pt x="803" y="195"/>
                </a:lnTo>
                <a:lnTo>
                  <a:pt x="803" y="187"/>
                </a:lnTo>
                <a:lnTo>
                  <a:pt x="804" y="178"/>
                </a:lnTo>
                <a:lnTo>
                  <a:pt x="804" y="169"/>
                </a:lnTo>
                <a:lnTo>
                  <a:pt x="806" y="161"/>
                </a:lnTo>
                <a:lnTo>
                  <a:pt x="807" y="152"/>
                </a:lnTo>
                <a:lnTo>
                  <a:pt x="809" y="143"/>
                </a:lnTo>
                <a:lnTo>
                  <a:pt x="811" y="135"/>
                </a:lnTo>
                <a:lnTo>
                  <a:pt x="815" y="126"/>
                </a:lnTo>
                <a:lnTo>
                  <a:pt x="818" y="117"/>
                </a:lnTo>
                <a:lnTo>
                  <a:pt x="826" y="101"/>
                </a:lnTo>
                <a:lnTo>
                  <a:pt x="835" y="85"/>
                </a:lnTo>
                <a:lnTo>
                  <a:pt x="841" y="77"/>
                </a:lnTo>
                <a:lnTo>
                  <a:pt x="847" y="71"/>
                </a:lnTo>
                <a:lnTo>
                  <a:pt x="853" y="63"/>
                </a:lnTo>
                <a:lnTo>
                  <a:pt x="860" y="56"/>
                </a:lnTo>
                <a:lnTo>
                  <a:pt x="867" y="49"/>
                </a:lnTo>
                <a:lnTo>
                  <a:pt x="874" y="44"/>
                </a:lnTo>
                <a:lnTo>
                  <a:pt x="882" y="37"/>
                </a:lnTo>
                <a:lnTo>
                  <a:pt x="889" y="32"/>
                </a:lnTo>
                <a:lnTo>
                  <a:pt x="897" y="28"/>
                </a:lnTo>
                <a:lnTo>
                  <a:pt x="905" y="22"/>
                </a:lnTo>
                <a:lnTo>
                  <a:pt x="913" y="19"/>
                </a:lnTo>
                <a:lnTo>
                  <a:pt x="921" y="15"/>
                </a:lnTo>
                <a:lnTo>
                  <a:pt x="930" y="12"/>
                </a:lnTo>
                <a:lnTo>
                  <a:pt x="938" y="8"/>
                </a:lnTo>
                <a:lnTo>
                  <a:pt x="947" y="6"/>
                </a:lnTo>
                <a:lnTo>
                  <a:pt x="956" y="4"/>
                </a:lnTo>
                <a:lnTo>
                  <a:pt x="964" y="3"/>
                </a:lnTo>
                <a:lnTo>
                  <a:pt x="973" y="1"/>
                </a:lnTo>
                <a:lnTo>
                  <a:pt x="982" y="1"/>
                </a:lnTo>
                <a:lnTo>
                  <a:pt x="990" y="0"/>
                </a:lnTo>
                <a:lnTo>
                  <a:pt x="999" y="0"/>
                </a:lnTo>
                <a:lnTo>
                  <a:pt x="1008" y="1"/>
                </a:lnTo>
                <a:lnTo>
                  <a:pt x="1016" y="1"/>
                </a:lnTo>
                <a:lnTo>
                  <a:pt x="1025" y="2"/>
                </a:lnTo>
                <a:lnTo>
                  <a:pt x="1034" y="4"/>
                </a:lnTo>
                <a:lnTo>
                  <a:pt x="1042" y="6"/>
                </a:lnTo>
                <a:lnTo>
                  <a:pt x="1051" y="8"/>
                </a:lnTo>
                <a:lnTo>
                  <a:pt x="1058" y="12"/>
                </a:lnTo>
                <a:lnTo>
                  <a:pt x="1067" y="15"/>
                </a:lnTo>
                <a:lnTo>
                  <a:pt x="1075" y="18"/>
                </a:lnTo>
                <a:lnTo>
                  <a:pt x="1090" y="28"/>
                </a:lnTo>
                <a:lnTo>
                  <a:pt x="1105" y="37"/>
                </a:lnTo>
                <a:lnTo>
                  <a:pt x="1112" y="44"/>
                </a:lnTo>
                <a:lnTo>
                  <a:pt x="1118" y="49"/>
                </a:lnTo>
                <a:lnTo>
                  <a:pt x="1560" y="486"/>
                </a:lnTo>
                <a:lnTo>
                  <a:pt x="2002" y="922"/>
                </a:lnTo>
                <a:lnTo>
                  <a:pt x="1568" y="1359"/>
                </a:lnTo>
                <a:lnTo>
                  <a:pt x="1133" y="1796"/>
                </a:lnTo>
                <a:lnTo>
                  <a:pt x="1127" y="1803"/>
                </a:lnTo>
                <a:lnTo>
                  <a:pt x="1120" y="1808"/>
                </a:lnTo>
                <a:lnTo>
                  <a:pt x="1113" y="1814"/>
                </a:lnTo>
                <a:lnTo>
                  <a:pt x="1106" y="1819"/>
                </a:lnTo>
                <a:lnTo>
                  <a:pt x="1099" y="1823"/>
                </a:lnTo>
                <a:lnTo>
                  <a:pt x="1091" y="1828"/>
                </a:lnTo>
                <a:lnTo>
                  <a:pt x="1083" y="1831"/>
                </a:lnTo>
                <a:lnTo>
                  <a:pt x="1075" y="1834"/>
                </a:lnTo>
                <a:lnTo>
                  <a:pt x="1067" y="1837"/>
                </a:lnTo>
                <a:lnTo>
                  <a:pt x="1058" y="1840"/>
                </a:lnTo>
                <a:lnTo>
                  <a:pt x="1050" y="1842"/>
                </a:lnTo>
                <a:lnTo>
                  <a:pt x="1041" y="1843"/>
                </a:lnTo>
                <a:lnTo>
                  <a:pt x="1032" y="1844"/>
                </a:lnTo>
                <a:lnTo>
                  <a:pt x="1024" y="1845"/>
                </a:lnTo>
                <a:lnTo>
                  <a:pt x="1015" y="1845"/>
                </a:lnTo>
                <a:lnTo>
                  <a:pt x="1006" y="1845"/>
                </a:lnTo>
                <a:lnTo>
                  <a:pt x="998" y="1845"/>
                </a:lnTo>
                <a:lnTo>
                  <a:pt x="989" y="1844"/>
                </a:lnTo>
                <a:lnTo>
                  <a:pt x="972" y="1841"/>
                </a:lnTo>
                <a:lnTo>
                  <a:pt x="954" y="1836"/>
                </a:lnTo>
                <a:lnTo>
                  <a:pt x="938" y="1830"/>
                </a:lnTo>
                <a:lnTo>
                  <a:pt x="922" y="1821"/>
                </a:lnTo>
                <a:lnTo>
                  <a:pt x="906" y="1812"/>
                </a:lnTo>
                <a:lnTo>
                  <a:pt x="898" y="1806"/>
                </a:lnTo>
                <a:lnTo>
                  <a:pt x="891" y="1801"/>
                </a:lnTo>
                <a:lnTo>
                  <a:pt x="876" y="1788"/>
                </a:lnTo>
                <a:lnTo>
                  <a:pt x="870" y="1781"/>
                </a:lnTo>
                <a:lnTo>
                  <a:pt x="863" y="1774"/>
                </a:lnTo>
                <a:lnTo>
                  <a:pt x="858" y="1766"/>
                </a:lnTo>
                <a:lnTo>
                  <a:pt x="853" y="1759"/>
                </a:lnTo>
                <a:lnTo>
                  <a:pt x="847" y="1751"/>
                </a:lnTo>
                <a:lnTo>
                  <a:pt x="843" y="1743"/>
                </a:lnTo>
                <a:lnTo>
                  <a:pt x="835" y="1727"/>
                </a:lnTo>
                <a:lnTo>
                  <a:pt x="832" y="1719"/>
                </a:lnTo>
                <a:lnTo>
                  <a:pt x="829" y="1710"/>
                </a:lnTo>
                <a:lnTo>
                  <a:pt x="827" y="1701"/>
                </a:lnTo>
                <a:lnTo>
                  <a:pt x="824" y="1693"/>
                </a:lnTo>
                <a:lnTo>
                  <a:pt x="822" y="1684"/>
                </a:lnTo>
                <a:lnTo>
                  <a:pt x="821" y="1675"/>
                </a:lnTo>
                <a:lnTo>
                  <a:pt x="820" y="1667"/>
                </a:lnTo>
                <a:lnTo>
                  <a:pt x="819" y="1658"/>
                </a:lnTo>
                <a:lnTo>
                  <a:pt x="819" y="1649"/>
                </a:lnTo>
                <a:lnTo>
                  <a:pt x="820" y="1641"/>
                </a:lnTo>
                <a:lnTo>
                  <a:pt x="820" y="1632"/>
                </a:lnTo>
                <a:lnTo>
                  <a:pt x="821" y="1624"/>
                </a:lnTo>
                <a:lnTo>
                  <a:pt x="823" y="1615"/>
                </a:lnTo>
                <a:lnTo>
                  <a:pt x="826" y="1607"/>
                </a:lnTo>
                <a:lnTo>
                  <a:pt x="828" y="1599"/>
                </a:lnTo>
                <a:lnTo>
                  <a:pt x="831" y="1590"/>
                </a:lnTo>
                <a:lnTo>
                  <a:pt x="834" y="1582"/>
                </a:lnTo>
                <a:lnTo>
                  <a:pt x="837" y="1575"/>
                </a:lnTo>
                <a:lnTo>
                  <a:pt x="842" y="1567"/>
                </a:lnTo>
                <a:lnTo>
                  <a:pt x="846" y="1560"/>
                </a:lnTo>
                <a:lnTo>
                  <a:pt x="850" y="1552"/>
                </a:lnTo>
                <a:lnTo>
                  <a:pt x="856" y="1546"/>
                </a:lnTo>
                <a:lnTo>
                  <a:pt x="862" y="1538"/>
                </a:lnTo>
                <a:lnTo>
                  <a:pt x="868" y="1532"/>
                </a:lnTo>
                <a:lnTo>
                  <a:pt x="1304" y="1097"/>
                </a:lnTo>
                <a:lnTo>
                  <a:pt x="717" y="1097"/>
                </a:lnTo>
                <a:lnTo>
                  <a:pt x="131" y="1097"/>
                </a:lnTo>
                <a:lnTo>
                  <a:pt x="124" y="1096"/>
                </a:lnTo>
                <a:lnTo>
                  <a:pt x="116" y="1096"/>
                </a:lnTo>
                <a:lnTo>
                  <a:pt x="108" y="1094"/>
                </a:lnTo>
                <a:lnTo>
                  <a:pt x="101" y="1093"/>
                </a:lnTo>
                <a:lnTo>
                  <a:pt x="88" y="1089"/>
                </a:lnTo>
                <a:lnTo>
                  <a:pt x="81" y="1085"/>
                </a:lnTo>
                <a:lnTo>
                  <a:pt x="75" y="1082"/>
                </a:lnTo>
                <a:lnTo>
                  <a:pt x="63" y="1074"/>
                </a:lnTo>
                <a:lnTo>
                  <a:pt x="57" y="1069"/>
                </a:lnTo>
                <a:lnTo>
                  <a:pt x="52" y="1065"/>
                </a:lnTo>
                <a:lnTo>
                  <a:pt x="48" y="1060"/>
                </a:lnTo>
                <a:lnTo>
                  <a:pt x="42" y="1054"/>
                </a:lnTo>
                <a:lnTo>
                  <a:pt x="38" y="1049"/>
                </a:lnTo>
                <a:lnTo>
                  <a:pt x="34" y="1042"/>
                </a:lnTo>
                <a:lnTo>
                  <a:pt x="26" y="1029"/>
                </a:lnTo>
                <a:lnTo>
                  <a:pt x="20" y="1016"/>
                </a:lnTo>
                <a:lnTo>
                  <a:pt x="16" y="1009"/>
                </a:lnTo>
                <a:lnTo>
                  <a:pt x="13" y="1001"/>
                </a:lnTo>
                <a:lnTo>
                  <a:pt x="9" y="986"/>
                </a:lnTo>
                <a:lnTo>
                  <a:pt x="5" y="971"/>
                </a:lnTo>
                <a:lnTo>
                  <a:pt x="2" y="955"/>
                </a:lnTo>
                <a:lnTo>
                  <a:pt x="1" y="939"/>
                </a:lnTo>
                <a:lnTo>
                  <a:pt x="0" y="922"/>
                </a:lnTo>
                <a:lnTo>
                  <a:pt x="1" y="906"/>
                </a:lnTo>
                <a:lnTo>
                  <a:pt x="1" y="899"/>
                </a:lnTo>
                <a:lnTo>
                  <a:pt x="2" y="891"/>
                </a:lnTo>
                <a:lnTo>
                  <a:pt x="5" y="875"/>
                </a:lnTo>
                <a:lnTo>
                  <a:pt x="9" y="860"/>
                </a:lnTo>
                <a:lnTo>
                  <a:pt x="12" y="852"/>
                </a:lnTo>
                <a:lnTo>
                  <a:pt x="14" y="845"/>
                </a:lnTo>
                <a:lnTo>
                  <a:pt x="20" y="831"/>
                </a:lnTo>
                <a:lnTo>
                  <a:pt x="27" y="816"/>
                </a:lnTo>
                <a:lnTo>
                  <a:pt x="31" y="810"/>
                </a:lnTo>
                <a:lnTo>
                  <a:pt x="35" y="805"/>
                </a:lnTo>
                <a:lnTo>
                  <a:pt x="44" y="793"/>
                </a:lnTo>
                <a:lnTo>
                  <a:pt x="54" y="782"/>
                </a:lnTo>
                <a:lnTo>
                  <a:pt x="65" y="772"/>
                </a:lnTo>
                <a:lnTo>
                  <a:pt x="70" y="768"/>
                </a:lnTo>
                <a:lnTo>
                  <a:pt x="77" y="765"/>
                </a:lnTo>
                <a:lnTo>
                  <a:pt x="83" y="760"/>
                </a:lnTo>
                <a:lnTo>
                  <a:pt x="90" y="758"/>
                </a:lnTo>
                <a:lnTo>
                  <a:pt x="96" y="755"/>
                </a:lnTo>
                <a:lnTo>
                  <a:pt x="104" y="753"/>
                </a:lnTo>
                <a:lnTo>
                  <a:pt x="111" y="752"/>
                </a:lnTo>
                <a:lnTo>
                  <a:pt x="118" y="749"/>
                </a:lnTo>
                <a:lnTo>
                  <a:pt x="126" y="749"/>
                </a:lnTo>
                <a:lnTo>
                  <a:pt x="133" y="748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38" name="Freeform 12"/>
          <p:cNvSpPr>
            <a:spLocks noChangeAspect="1"/>
          </p:cNvSpPr>
          <p:nvPr userDrawn="1"/>
        </p:nvSpPr>
        <p:spPr bwMode="auto">
          <a:xfrm>
            <a:off x="6168008" y="5445272"/>
            <a:ext cx="467999" cy="432000"/>
          </a:xfrm>
          <a:custGeom>
            <a:avLst/>
            <a:gdLst>
              <a:gd name="T0" fmla="*/ 1308 w 2002"/>
              <a:gd name="T1" fmla="*/ 748 h 1845"/>
              <a:gd name="T2" fmla="*/ 841 w 2002"/>
              <a:gd name="T3" fmla="*/ 301 h 1845"/>
              <a:gd name="T4" fmla="*/ 826 w 2002"/>
              <a:gd name="T5" fmla="*/ 280 h 1845"/>
              <a:gd name="T6" fmla="*/ 815 w 2002"/>
              <a:gd name="T7" fmla="*/ 256 h 1845"/>
              <a:gd name="T8" fmla="*/ 807 w 2002"/>
              <a:gd name="T9" fmla="*/ 230 h 1845"/>
              <a:gd name="T10" fmla="*/ 804 w 2002"/>
              <a:gd name="T11" fmla="*/ 204 h 1845"/>
              <a:gd name="T12" fmla="*/ 804 w 2002"/>
              <a:gd name="T13" fmla="*/ 178 h 1845"/>
              <a:gd name="T14" fmla="*/ 807 w 2002"/>
              <a:gd name="T15" fmla="*/ 152 h 1845"/>
              <a:gd name="T16" fmla="*/ 815 w 2002"/>
              <a:gd name="T17" fmla="*/ 126 h 1845"/>
              <a:gd name="T18" fmla="*/ 835 w 2002"/>
              <a:gd name="T19" fmla="*/ 85 h 1845"/>
              <a:gd name="T20" fmla="*/ 853 w 2002"/>
              <a:gd name="T21" fmla="*/ 63 h 1845"/>
              <a:gd name="T22" fmla="*/ 874 w 2002"/>
              <a:gd name="T23" fmla="*/ 44 h 1845"/>
              <a:gd name="T24" fmla="*/ 897 w 2002"/>
              <a:gd name="T25" fmla="*/ 28 h 1845"/>
              <a:gd name="T26" fmla="*/ 921 w 2002"/>
              <a:gd name="T27" fmla="*/ 15 h 1845"/>
              <a:gd name="T28" fmla="*/ 947 w 2002"/>
              <a:gd name="T29" fmla="*/ 6 h 1845"/>
              <a:gd name="T30" fmla="*/ 973 w 2002"/>
              <a:gd name="T31" fmla="*/ 1 h 1845"/>
              <a:gd name="T32" fmla="*/ 999 w 2002"/>
              <a:gd name="T33" fmla="*/ 0 h 1845"/>
              <a:gd name="T34" fmla="*/ 1025 w 2002"/>
              <a:gd name="T35" fmla="*/ 2 h 1845"/>
              <a:gd name="T36" fmla="*/ 1051 w 2002"/>
              <a:gd name="T37" fmla="*/ 8 h 1845"/>
              <a:gd name="T38" fmla="*/ 1075 w 2002"/>
              <a:gd name="T39" fmla="*/ 18 h 1845"/>
              <a:gd name="T40" fmla="*/ 1112 w 2002"/>
              <a:gd name="T41" fmla="*/ 44 h 1845"/>
              <a:gd name="T42" fmla="*/ 2002 w 2002"/>
              <a:gd name="T43" fmla="*/ 922 h 1845"/>
              <a:gd name="T44" fmla="*/ 1127 w 2002"/>
              <a:gd name="T45" fmla="*/ 1803 h 1845"/>
              <a:gd name="T46" fmla="*/ 1106 w 2002"/>
              <a:gd name="T47" fmla="*/ 1819 h 1845"/>
              <a:gd name="T48" fmla="*/ 1083 w 2002"/>
              <a:gd name="T49" fmla="*/ 1831 h 1845"/>
              <a:gd name="T50" fmla="*/ 1058 w 2002"/>
              <a:gd name="T51" fmla="*/ 1840 h 1845"/>
              <a:gd name="T52" fmla="*/ 1032 w 2002"/>
              <a:gd name="T53" fmla="*/ 1844 h 1845"/>
              <a:gd name="T54" fmla="*/ 1006 w 2002"/>
              <a:gd name="T55" fmla="*/ 1845 h 1845"/>
              <a:gd name="T56" fmla="*/ 972 w 2002"/>
              <a:gd name="T57" fmla="*/ 1841 h 1845"/>
              <a:gd name="T58" fmla="*/ 922 w 2002"/>
              <a:gd name="T59" fmla="*/ 1821 h 1845"/>
              <a:gd name="T60" fmla="*/ 891 w 2002"/>
              <a:gd name="T61" fmla="*/ 1801 h 1845"/>
              <a:gd name="T62" fmla="*/ 863 w 2002"/>
              <a:gd name="T63" fmla="*/ 1774 h 1845"/>
              <a:gd name="T64" fmla="*/ 847 w 2002"/>
              <a:gd name="T65" fmla="*/ 1751 h 1845"/>
              <a:gd name="T66" fmla="*/ 832 w 2002"/>
              <a:gd name="T67" fmla="*/ 1719 h 1845"/>
              <a:gd name="T68" fmla="*/ 824 w 2002"/>
              <a:gd name="T69" fmla="*/ 1693 h 1845"/>
              <a:gd name="T70" fmla="*/ 820 w 2002"/>
              <a:gd name="T71" fmla="*/ 1667 h 1845"/>
              <a:gd name="T72" fmla="*/ 820 w 2002"/>
              <a:gd name="T73" fmla="*/ 1641 h 1845"/>
              <a:gd name="T74" fmla="*/ 823 w 2002"/>
              <a:gd name="T75" fmla="*/ 1615 h 1845"/>
              <a:gd name="T76" fmla="*/ 831 w 2002"/>
              <a:gd name="T77" fmla="*/ 1590 h 1845"/>
              <a:gd name="T78" fmla="*/ 842 w 2002"/>
              <a:gd name="T79" fmla="*/ 1567 h 1845"/>
              <a:gd name="T80" fmla="*/ 856 w 2002"/>
              <a:gd name="T81" fmla="*/ 1546 h 1845"/>
              <a:gd name="T82" fmla="*/ 1304 w 2002"/>
              <a:gd name="T83" fmla="*/ 1097 h 1845"/>
              <a:gd name="T84" fmla="*/ 124 w 2002"/>
              <a:gd name="T85" fmla="*/ 1096 h 1845"/>
              <a:gd name="T86" fmla="*/ 101 w 2002"/>
              <a:gd name="T87" fmla="*/ 1093 h 1845"/>
              <a:gd name="T88" fmla="*/ 75 w 2002"/>
              <a:gd name="T89" fmla="*/ 1082 h 1845"/>
              <a:gd name="T90" fmla="*/ 52 w 2002"/>
              <a:gd name="T91" fmla="*/ 1065 h 1845"/>
              <a:gd name="T92" fmla="*/ 38 w 2002"/>
              <a:gd name="T93" fmla="*/ 1049 h 1845"/>
              <a:gd name="T94" fmla="*/ 20 w 2002"/>
              <a:gd name="T95" fmla="*/ 1016 h 1845"/>
              <a:gd name="T96" fmla="*/ 9 w 2002"/>
              <a:gd name="T97" fmla="*/ 986 h 1845"/>
              <a:gd name="T98" fmla="*/ 1 w 2002"/>
              <a:gd name="T99" fmla="*/ 939 h 1845"/>
              <a:gd name="T100" fmla="*/ 1 w 2002"/>
              <a:gd name="T101" fmla="*/ 899 h 1845"/>
              <a:gd name="T102" fmla="*/ 9 w 2002"/>
              <a:gd name="T103" fmla="*/ 860 h 1845"/>
              <a:gd name="T104" fmla="*/ 20 w 2002"/>
              <a:gd name="T105" fmla="*/ 831 h 1845"/>
              <a:gd name="T106" fmla="*/ 35 w 2002"/>
              <a:gd name="T107" fmla="*/ 805 h 1845"/>
              <a:gd name="T108" fmla="*/ 65 w 2002"/>
              <a:gd name="T109" fmla="*/ 772 h 1845"/>
              <a:gd name="T110" fmla="*/ 83 w 2002"/>
              <a:gd name="T111" fmla="*/ 760 h 1845"/>
              <a:gd name="T112" fmla="*/ 104 w 2002"/>
              <a:gd name="T113" fmla="*/ 753 h 1845"/>
              <a:gd name="T114" fmla="*/ 126 w 2002"/>
              <a:gd name="T115" fmla="*/ 749 h 18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2" h="1845">
                <a:moveTo>
                  <a:pt x="133" y="748"/>
                </a:moveTo>
                <a:lnTo>
                  <a:pt x="720" y="748"/>
                </a:lnTo>
                <a:lnTo>
                  <a:pt x="1308" y="748"/>
                </a:lnTo>
                <a:lnTo>
                  <a:pt x="853" y="314"/>
                </a:lnTo>
                <a:lnTo>
                  <a:pt x="847" y="308"/>
                </a:lnTo>
                <a:lnTo>
                  <a:pt x="841" y="301"/>
                </a:lnTo>
                <a:lnTo>
                  <a:pt x="835" y="294"/>
                </a:lnTo>
                <a:lnTo>
                  <a:pt x="831" y="287"/>
                </a:lnTo>
                <a:lnTo>
                  <a:pt x="826" y="280"/>
                </a:lnTo>
                <a:lnTo>
                  <a:pt x="821" y="271"/>
                </a:lnTo>
                <a:lnTo>
                  <a:pt x="818" y="263"/>
                </a:lnTo>
                <a:lnTo>
                  <a:pt x="815" y="256"/>
                </a:lnTo>
                <a:lnTo>
                  <a:pt x="811" y="247"/>
                </a:lnTo>
                <a:lnTo>
                  <a:pt x="809" y="238"/>
                </a:lnTo>
                <a:lnTo>
                  <a:pt x="807" y="230"/>
                </a:lnTo>
                <a:lnTo>
                  <a:pt x="805" y="221"/>
                </a:lnTo>
                <a:lnTo>
                  <a:pt x="804" y="213"/>
                </a:lnTo>
                <a:lnTo>
                  <a:pt x="804" y="204"/>
                </a:lnTo>
                <a:lnTo>
                  <a:pt x="803" y="195"/>
                </a:lnTo>
                <a:lnTo>
                  <a:pt x="803" y="187"/>
                </a:lnTo>
                <a:lnTo>
                  <a:pt x="804" y="178"/>
                </a:lnTo>
                <a:lnTo>
                  <a:pt x="804" y="169"/>
                </a:lnTo>
                <a:lnTo>
                  <a:pt x="806" y="161"/>
                </a:lnTo>
                <a:lnTo>
                  <a:pt x="807" y="152"/>
                </a:lnTo>
                <a:lnTo>
                  <a:pt x="809" y="143"/>
                </a:lnTo>
                <a:lnTo>
                  <a:pt x="811" y="135"/>
                </a:lnTo>
                <a:lnTo>
                  <a:pt x="815" y="126"/>
                </a:lnTo>
                <a:lnTo>
                  <a:pt x="818" y="117"/>
                </a:lnTo>
                <a:lnTo>
                  <a:pt x="826" y="101"/>
                </a:lnTo>
                <a:lnTo>
                  <a:pt x="835" y="85"/>
                </a:lnTo>
                <a:lnTo>
                  <a:pt x="841" y="77"/>
                </a:lnTo>
                <a:lnTo>
                  <a:pt x="847" y="71"/>
                </a:lnTo>
                <a:lnTo>
                  <a:pt x="853" y="63"/>
                </a:lnTo>
                <a:lnTo>
                  <a:pt x="860" y="56"/>
                </a:lnTo>
                <a:lnTo>
                  <a:pt x="867" y="49"/>
                </a:lnTo>
                <a:lnTo>
                  <a:pt x="874" y="44"/>
                </a:lnTo>
                <a:lnTo>
                  <a:pt x="882" y="37"/>
                </a:lnTo>
                <a:lnTo>
                  <a:pt x="889" y="32"/>
                </a:lnTo>
                <a:lnTo>
                  <a:pt x="897" y="28"/>
                </a:lnTo>
                <a:lnTo>
                  <a:pt x="905" y="22"/>
                </a:lnTo>
                <a:lnTo>
                  <a:pt x="913" y="19"/>
                </a:lnTo>
                <a:lnTo>
                  <a:pt x="921" y="15"/>
                </a:lnTo>
                <a:lnTo>
                  <a:pt x="930" y="12"/>
                </a:lnTo>
                <a:lnTo>
                  <a:pt x="938" y="8"/>
                </a:lnTo>
                <a:lnTo>
                  <a:pt x="947" y="6"/>
                </a:lnTo>
                <a:lnTo>
                  <a:pt x="956" y="4"/>
                </a:lnTo>
                <a:lnTo>
                  <a:pt x="964" y="3"/>
                </a:lnTo>
                <a:lnTo>
                  <a:pt x="973" y="1"/>
                </a:lnTo>
                <a:lnTo>
                  <a:pt x="982" y="1"/>
                </a:lnTo>
                <a:lnTo>
                  <a:pt x="990" y="0"/>
                </a:lnTo>
                <a:lnTo>
                  <a:pt x="999" y="0"/>
                </a:lnTo>
                <a:lnTo>
                  <a:pt x="1008" y="1"/>
                </a:lnTo>
                <a:lnTo>
                  <a:pt x="1016" y="1"/>
                </a:lnTo>
                <a:lnTo>
                  <a:pt x="1025" y="2"/>
                </a:lnTo>
                <a:lnTo>
                  <a:pt x="1034" y="4"/>
                </a:lnTo>
                <a:lnTo>
                  <a:pt x="1042" y="6"/>
                </a:lnTo>
                <a:lnTo>
                  <a:pt x="1051" y="8"/>
                </a:lnTo>
                <a:lnTo>
                  <a:pt x="1058" y="12"/>
                </a:lnTo>
                <a:lnTo>
                  <a:pt x="1067" y="15"/>
                </a:lnTo>
                <a:lnTo>
                  <a:pt x="1075" y="18"/>
                </a:lnTo>
                <a:lnTo>
                  <a:pt x="1090" y="28"/>
                </a:lnTo>
                <a:lnTo>
                  <a:pt x="1105" y="37"/>
                </a:lnTo>
                <a:lnTo>
                  <a:pt x="1112" y="44"/>
                </a:lnTo>
                <a:lnTo>
                  <a:pt x="1118" y="49"/>
                </a:lnTo>
                <a:lnTo>
                  <a:pt x="1560" y="486"/>
                </a:lnTo>
                <a:lnTo>
                  <a:pt x="2002" y="922"/>
                </a:lnTo>
                <a:lnTo>
                  <a:pt x="1568" y="1359"/>
                </a:lnTo>
                <a:lnTo>
                  <a:pt x="1133" y="1796"/>
                </a:lnTo>
                <a:lnTo>
                  <a:pt x="1127" y="1803"/>
                </a:lnTo>
                <a:lnTo>
                  <a:pt x="1120" y="1808"/>
                </a:lnTo>
                <a:lnTo>
                  <a:pt x="1113" y="1814"/>
                </a:lnTo>
                <a:lnTo>
                  <a:pt x="1106" y="1819"/>
                </a:lnTo>
                <a:lnTo>
                  <a:pt x="1099" y="1823"/>
                </a:lnTo>
                <a:lnTo>
                  <a:pt x="1091" y="1828"/>
                </a:lnTo>
                <a:lnTo>
                  <a:pt x="1083" y="1831"/>
                </a:lnTo>
                <a:lnTo>
                  <a:pt x="1075" y="1834"/>
                </a:lnTo>
                <a:lnTo>
                  <a:pt x="1067" y="1837"/>
                </a:lnTo>
                <a:lnTo>
                  <a:pt x="1058" y="1840"/>
                </a:lnTo>
                <a:lnTo>
                  <a:pt x="1050" y="1842"/>
                </a:lnTo>
                <a:lnTo>
                  <a:pt x="1041" y="1843"/>
                </a:lnTo>
                <a:lnTo>
                  <a:pt x="1032" y="1844"/>
                </a:lnTo>
                <a:lnTo>
                  <a:pt x="1024" y="1845"/>
                </a:lnTo>
                <a:lnTo>
                  <a:pt x="1015" y="1845"/>
                </a:lnTo>
                <a:lnTo>
                  <a:pt x="1006" y="1845"/>
                </a:lnTo>
                <a:lnTo>
                  <a:pt x="998" y="1845"/>
                </a:lnTo>
                <a:lnTo>
                  <a:pt x="989" y="1844"/>
                </a:lnTo>
                <a:lnTo>
                  <a:pt x="972" y="1841"/>
                </a:lnTo>
                <a:lnTo>
                  <a:pt x="954" y="1836"/>
                </a:lnTo>
                <a:lnTo>
                  <a:pt x="938" y="1830"/>
                </a:lnTo>
                <a:lnTo>
                  <a:pt x="922" y="1821"/>
                </a:lnTo>
                <a:lnTo>
                  <a:pt x="906" y="1812"/>
                </a:lnTo>
                <a:lnTo>
                  <a:pt x="898" y="1806"/>
                </a:lnTo>
                <a:lnTo>
                  <a:pt x="891" y="1801"/>
                </a:lnTo>
                <a:lnTo>
                  <a:pt x="876" y="1788"/>
                </a:lnTo>
                <a:lnTo>
                  <a:pt x="870" y="1781"/>
                </a:lnTo>
                <a:lnTo>
                  <a:pt x="863" y="1774"/>
                </a:lnTo>
                <a:lnTo>
                  <a:pt x="858" y="1766"/>
                </a:lnTo>
                <a:lnTo>
                  <a:pt x="853" y="1759"/>
                </a:lnTo>
                <a:lnTo>
                  <a:pt x="847" y="1751"/>
                </a:lnTo>
                <a:lnTo>
                  <a:pt x="843" y="1743"/>
                </a:lnTo>
                <a:lnTo>
                  <a:pt x="835" y="1727"/>
                </a:lnTo>
                <a:lnTo>
                  <a:pt x="832" y="1719"/>
                </a:lnTo>
                <a:lnTo>
                  <a:pt x="829" y="1710"/>
                </a:lnTo>
                <a:lnTo>
                  <a:pt x="827" y="1701"/>
                </a:lnTo>
                <a:lnTo>
                  <a:pt x="824" y="1693"/>
                </a:lnTo>
                <a:lnTo>
                  <a:pt x="822" y="1684"/>
                </a:lnTo>
                <a:lnTo>
                  <a:pt x="821" y="1675"/>
                </a:lnTo>
                <a:lnTo>
                  <a:pt x="820" y="1667"/>
                </a:lnTo>
                <a:lnTo>
                  <a:pt x="819" y="1658"/>
                </a:lnTo>
                <a:lnTo>
                  <a:pt x="819" y="1649"/>
                </a:lnTo>
                <a:lnTo>
                  <a:pt x="820" y="1641"/>
                </a:lnTo>
                <a:lnTo>
                  <a:pt x="820" y="1632"/>
                </a:lnTo>
                <a:lnTo>
                  <a:pt x="821" y="1624"/>
                </a:lnTo>
                <a:lnTo>
                  <a:pt x="823" y="1615"/>
                </a:lnTo>
                <a:lnTo>
                  <a:pt x="826" y="1607"/>
                </a:lnTo>
                <a:lnTo>
                  <a:pt x="828" y="1599"/>
                </a:lnTo>
                <a:lnTo>
                  <a:pt x="831" y="1590"/>
                </a:lnTo>
                <a:lnTo>
                  <a:pt x="834" y="1582"/>
                </a:lnTo>
                <a:lnTo>
                  <a:pt x="837" y="1575"/>
                </a:lnTo>
                <a:lnTo>
                  <a:pt x="842" y="1567"/>
                </a:lnTo>
                <a:lnTo>
                  <a:pt x="846" y="1560"/>
                </a:lnTo>
                <a:lnTo>
                  <a:pt x="850" y="1552"/>
                </a:lnTo>
                <a:lnTo>
                  <a:pt x="856" y="1546"/>
                </a:lnTo>
                <a:lnTo>
                  <a:pt x="862" y="1538"/>
                </a:lnTo>
                <a:lnTo>
                  <a:pt x="868" y="1532"/>
                </a:lnTo>
                <a:lnTo>
                  <a:pt x="1304" y="1097"/>
                </a:lnTo>
                <a:lnTo>
                  <a:pt x="717" y="1097"/>
                </a:lnTo>
                <a:lnTo>
                  <a:pt x="131" y="1097"/>
                </a:lnTo>
                <a:lnTo>
                  <a:pt x="124" y="1096"/>
                </a:lnTo>
                <a:lnTo>
                  <a:pt x="116" y="1096"/>
                </a:lnTo>
                <a:lnTo>
                  <a:pt x="108" y="1094"/>
                </a:lnTo>
                <a:lnTo>
                  <a:pt x="101" y="1093"/>
                </a:lnTo>
                <a:lnTo>
                  <a:pt x="88" y="1089"/>
                </a:lnTo>
                <a:lnTo>
                  <a:pt x="81" y="1085"/>
                </a:lnTo>
                <a:lnTo>
                  <a:pt x="75" y="1082"/>
                </a:lnTo>
                <a:lnTo>
                  <a:pt x="63" y="1074"/>
                </a:lnTo>
                <a:lnTo>
                  <a:pt x="57" y="1069"/>
                </a:lnTo>
                <a:lnTo>
                  <a:pt x="52" y="1065"/>
                </a:lnTo>
                <a:lnTo>
                  <a:pt x="48" y="1060"/>
                </a:lnTo>
                <a:lnTo>
                  <a:pt x="42" y="1054"/>
                </a:lnTo>
                <a:lnTo>
                  <a:pt x="38" y="1049"/>
                </a:lnTo>
                <a:lnTo>
                  <a:pt x="34" y="1042"/>
                </a:lnTo>
                <a:lnTo>
                  <a:pt x="26" y="1029"/>
                </a:lnTo>
                <a:lnTo>
                  <a:pt x="20" y="1016"/>
                </a:lnTo>
                <a:lnTo>
                  <a:pt x="16" y="1009"/>
                </a:lnTo>
                <a:lnTo>
                  <a:pt x="13" y="1001"/>
                </a:lnTo>
                <a:lnTo>
                  <a:pt x="9" y="986"/>
                </a:lnTo>
                <a:lnTo>
                  <a:pt x="5" y="971"/>
                </a:lnTo>
                <a:lnTo>
                  <a:pt x="2" y="955"/>
                </a:lnTo>
                <a:lnTo>
                  <a:pt x="1" y="939"/>
                </a:lnTo>
                <a:lnTo>
                  <a:pt x="0" y="922"/>
                </a:lnTo>
                <a:lnTo>
                  <a:pt x="1" y="906"/>
                </a:lnTo>
                <a:lnTo>
                  <a:pt x="1" y="899"/>
                </a:lnTo>
                <a:lnTo>
                  <a:pt x="2" y="891"/>
                </a:lnTo>
                <a:lnTo>
                  <a:pt x="5" y="875"/>
                </a:lnTo>
                <a:lnTo>
                  <a:pt x="9" y="860"/>
                </a:lnTo>
                <a:lnTo>
                  <a:pt x="12" y="852"/>
                </a:lnTo>
                <a:lnTo>
                  <a:pt x="14" y="845"/>
                </a:lnTo>
                <a:lnTo>
                  <a:pt x="20" y="831"/>
                </a:lnTo>
                <a:lnTo>
                  <a:pt x="27" y="816"/>
                </a:lnTo>
                <a:lnTo>
                  <a:pt x="31" y="810"/>
                </a:lnTo>
                <a:lnTo>
                  <a:pt x="35" y="805"/>
                </a:lnTo>
                <a:lnTo>
                  <a:pt x="44" y="793"/>
                </a:lnTo>
                <a:lnTo>
                  <a:pt x="54" y="782"/>
                </a:lnTo>
                <a:lnTo>
                  <a:pt x="65" y="772"/>
                </a:lnTo>
                <a:lnTo>
                  <a:pt x="70" y="768"/>
                </a:lnTo>
                <a:lnTo>
                  <a:pt x="77" y="765"/>
                </a:lnTo>
                <a:lnTo>
                  <a:pt x="83" y="760"/>
                </a:lnTo>
                <a:lnTo>
                  <a:pt x="90" y="758"/>
                </a:lnTo>
                <a:lnTo>
                  <a:pt x="96" y="755"/>
                </a:lnTo>
                <a:lnTo>
                  <a:pt x="104" y="753"/>
                </a:lnTo>
                <a:lnTo>
                  <a:pt x="111" y="752"/>
                </a:lnTo>
                <a:lnTo>
                  <a:pt x="118" y="749"/>
                </a:lnTo>
                <a:lnTo>
                  <a:pt x="126" y="749"/>
                </a:lnTo>
                <a:lnTo>
                  <a:pt x="133" y="748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64423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Quote 4" preserve="1" userDrawn="1">
  <p:cSld name="Quote 4">
    <p:bg>
      <p:bgPr>
        <a:gradFill>
          <a:gsLst>
            <a:gs pos="0">
              <a:schemeClr val="accent2"/>
            </a:gs>
            <a:gs pos="100000">
              <a:schemeClr val="accent2">
                <a:alpha val="9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B46E24-653A-4FF9-9521-1C6FB86597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0D632E-720A-4E57-8F18-FB9A91500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479C78-A5F2-40DD-9834-030D8B177D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FFF79C0-764E-481A-9AE2-9405855923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87489" y="1268414"/>
            <a:ext cx="9217024" cy="4321174"/>
          </a:xfrm>
        </p:spPr>
        <p:txBody>
          <a:bodyPr anchor="ctr" anchorCtr="0"/>
          <a:lstStyle>
            <a:lvl1pPr marL="0" indent="0">
              <a:buFontTx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 marL="0" indent="0" algn="r">
              <a:buFontTx/>
              <a:buNone/>
              <a:defRPr>
                <a:solidFill>
                  <a:schemeClr val="bg1"/>
                </a:solidFill>
              </a:defRPr>
            </a:lvl2pPr>
            <a:lvl3pPr marL="0" indent="0" algn="r">
              <a:buFontTx/>
              <a:buNone/>
              <a:defRPr>
                <a:solidFill>
                  <a:schemeClr val="bg1"/>
                </a:solidFill>
              </a:defRPr>
            </a:lvl3pPr>
            <a:lvl4pPr marL="0" indent="0" algn="r">
              <a:buFontTx/>
              <a:buNone/>
              <a:defRPr>
                <a:solidFill>
                  <a:schemeClr val="bg1"/>
                </a:solidFill>
              </a:defRPr>
            </a:lvl4pPr>
            <a:lvl5pPr marL="0" indent="0" algn="r">
              <a:buFontTx/>
              <a:buNone/>
              <a:defRPr>
                <a:solidFill>
                  <a:schemeClr val="bg1"/>
                </a:solidFill>
              </a:defRPr>
            </a:lvl5pPr>
            <a:lvl6pPr marL="0" indent="0" algn="r">
              <a:buFontTx/>
              <a:buNone/>
              <a:defRPr>
                <a:solidFill>
                  <a:schemeClr val="bg1"/>
                </a:solidFill>
              </a:defRPr>
            </a:lvl6pPr>
            <a:lvl7pPr marL="0" indent="0" algn="r">
              <a:buFontTx/>
              <a:buNone/>
              <a:defRPr>
                <a:solidFill>
                  <a:schemeClr val="bg1"/>
                </a:solidFill>
              </a:defRPr>
            </a:lvl7pPr>
            <a:lvl8pPr marL="0" indent="0" algn="r">
              <a:buFontTx/>
              <a:buNone/>
              <a:defRPr>
                <a:solidFill>
                  <a:schemeClr val="bg1"/>
                </a:solidFill>
              </a:defRPr>
            </a:lvl8pPr>
            <a:lvl9pPr marL="0" indent="0" algn="r">
              <a:buFontTx/>
              <a:buNone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“Add Quote”</a:t>
            </a:r>
          </a:p>
          <a:p>
            <a:pPr lvl="1"/>
            <a:r>
              <a:rPr lang="en-US"/>
              <a:t>Who Said</a:t>
            </a:r>
          </a:p>
        </p:txBody>
      </p:sp>
    </p:spTree>
    <p:extLst>
      <p:ext uri="{BB962C8B-B14F-4D97-AF65-F5344CB8AC3E}">
        <p14:creationId xmlns:p14="http://schemas.microsoft.com/office/powerpoint/2010/main" val="2595898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rt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F34E1-4A03-4647-AD6A-109BB455893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66763" y="5301208"/>
            <a:ext cx="5185221" cy="936080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240016" y="5301208"/>
            <a:ext cx="5185222" cy="936080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C20DEED-EAB8-426F-889C-7C6756447A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4" y="1916112"/>
            <a:ext cx="10658474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5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766763" y="2565400"/>
            <a:ext cx="10658475" cy="2591792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2478631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and Picture 2" preserve="1" userDrawn="1">
  <p:cSld name="slide_3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620713"/>
            <a:ext cx="5329237" cy="1080095"/>
          </a:xfrm>
        </p:spPr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916113"/>
            <a:ext cx="5329237" cy="4321174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735960" cy="6021388"/>
          </a:xfrm>
          <a:custGeom>
            <a:avLst/>
            <a:gdLst/>
            <a:ahLst/>
            <a:cxnLst/>
            <a:rect l="l" t="t" r="r" b="b"/>
            <a:pathLst>
              <a:path w="5735960" h="6021388">
                <a:moveTo>
                  <a:pt x="0" y="0"/>
                </a:moveTo>
                <a:lnTo>
                  <a:pt x="5735960" y="0"/>
                </a:lnTo>
                <a:lnTo>
                  <a:pt x="5666348" y="475076"/>
                </a:lnTo>
                <a:lnTo>
                  <a:pt x="5596737" y="951177"/>
                </a:lnTo>
                <a:lnTo>
                  <a:pt x="5526102" y="1426253"/>
                </a:lnTo>
                <a:lnTo>
                  <a:pt x="5455467" y="1902353"/>
                </a:lnTo>
                <a:lnTo>
                  <a:pt x="5385855" y="2377430"/>
                </a:lnTo>
                <a:lnTo>
                  <a:pt x="5316244" y="2853530"/>
                </a:lnTo>
                <a:lnTo>
                  <a:pt x="5245609" y="3328606"/>
                </a:lnTo>
                <a:lnTo>
                  <a:pt x="5174974" y="3803683"/>
                </a:lnTo>
                <a:lnTo>
                  <a:pt x="5135049" y="4003338"/>
                </a:lnTo>
                <a:lnTo>
                  <a:pt x="5095125" y="4175348"/>
                </a:lnTo>
                <a:lnTo>
                  <a:pt x="5056225" y="4323809"/>
                </a:lnTo>
                <a:lnTo>
                  <a:pt x="5018348" y="4451793"/>
                </a:lnTo>
                <a:lnTo>
                  <a:pt x="4998898" y="4509130"/>
                </a:lnTo>
                <a:lnTo>
                  <a:pt x="4978424" y="4564419"/>
                </a:lnTo>
                <a:lnTo>
                  <a:pt x="4957950" y="4615613"/>
                </a:lnTo>
                <a:lnTo>
                  <a:pt x="4936452" y="4664759"/>
                </a:lnTo>
                <a:lnTo>
                  <a:pt x="4890386" y="4759979"/>
                </a:lnTo>
                <a:lnTo>
                  <a:pt x="4865817" y="4805029"/>
                </a:lnTo>
                <a:lnTo>
                  <a:pt x="4840225" y="4851103"/>
                </a:lnTo>
                <a:lnTo>
                  <a:pt x="4759352" y="4980111"/>
                </a:lnTo>
                <a:lnTo>
                  <a:pt x="4712262" y="5050758"/>
                </a:lnTo>
                <a:lnTo>
                  <a:pt x="4660054" y="5123453"/>
                </a:lnTo>
                <a:lnTo>
                  <a:pt x="4600679" y="5199220"/>
                </a:lnTo>
                <a:lnTo>
                  <a:pt x="4534139" y="5279081"/>
                </a:lnTo>
                <a:lnTo>
                  <a:pt x="4460433" y="5363039"/>
                </a:lnTo>
                <a:lnTo>
                  <a:pt x="4377513" y="5450068"/>
                </a:lnTo>
                <a:lnTo>
                  <a:pt x="4348850" y="5479760"/>
                </a:lnTo>
                <a:lnTo>
                  <a:pt x="4317115" y="5508429"/>
                </a:lnTo>
                <a:lnTo>
                  <a:pt x="4256717" y="5564742"/>
                </a:lnTo>
                <a:lnTo>
                  <a:pt x="4193248" y="5614911"/>
                </a:lnTo>
                <a:lnTo>
                  <a:pt x="4127731" y="5662009"/>
                </a:lnTo>
                <a:lnTo>
                  <a:pt x="4062215" y="5706036"/>
                </a:lnTo>
                <a:lnTo>
                  <a:pt x="3995674" y="5746991"/>
                </a:lnTo>
                <a:lnTo>
                  <a:pt x="3926063" y="5783850"/>
                </a:lnTo>
                <a:lnTo>
                  <a:pt x="3856451" y="5818662"/>
                </a:lnTo>
                <a:lnTo>
                  <a:pt x="3786840" y="5848354"/>
                </a:lnTo>
                <a:lnTo>
                  <a:pt x="3715181" y="5875999"/>
                </a:lnTo>
                <a:lnTo>
                  <a:pt x="3642499" y="5901595"/>
                </a:lnTo>
                <a:lnTo>
                  <a:pt x="3569816" y="5923097"/>
                </a:lnTo>
                <a:lnTo>
                  <a:pt x="3495086" y="5942550"/>
                </a:lnTo>
                <a:lnTo>
                  <a:pt x="3420356" y="5958932"/>
                </a:lnTo>
                <a:lnTo>
                  <a:pt x="3345626" y="5974290"/>
                </a:lnTo>
                <a:lnTo>
                  <a:pt x="3270897" y="5986577"/>
                </a:lnTo>
                <a:lnTo>
                  <a:pt x="3167503" y="5999887"/>
                </a:lnTo>
                <a:lnTo>
                  <a:pt x="3065133" y="6010126"/>
                </a:lnTo>
                <a:lnTo>
                  <a:pt x="2960716" y="6015245"/>
                </a:lnTo>
                <a:lnTo>
                  <a:pt x="2858347" y="6019341"/>
                </a:lnTo>
                <a:lnTo>
                  <a:pt x="2755977" y="6021388"/>
                </a:lnTo>
                <a:lnTo>
                  <a:pt x="2655654" y="6021388"/>
                </a:lnTo>
                <a:lnTo>
                  <a:pt x="2459105" y="6019341"/>
                </a:lnTo>
                <a:lnTo>
                  <a:pt x="1606365" y="6019341"/>
                </a:lnTo>
                <a:lnTo>
                  <a:pt x="753625" y="6019341"/>
                </a:lnTo>
                <a:lnTo>
                  <a:pt x="0" y="601934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uva napsauttamalla kuvaketta tai </a:t>
            </a:r>
            <a:r>
              <a:rPr lang="fi-FI" err="1"/>
              <a:t>Kameleonin</a:t>
            </a:r>
            <a:r>
              <a:rPr lang="fi-FI"/>
              <a:t> Kuvagalleria-painiketta</a:t>
            </a:r>
          </a:p>
        </p:txBody>
      </p:sp>
      <p:sp>
        <p:nvSpPr>
          <p:cNvPr id="9" name="Freeform 8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4059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harts" preserve="1" userDrawn="1">
  <p:cSld name="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F34E1-4A03-4647-AD6A-109BB455893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66763" y="5301208"/>
            <a:ext cx="5185221" cy="936080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240016" y="5301208"/>
            <a:ext cx="5185222" cy="936080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C20DEED-EAB8-426F-889C-7C6756447A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4" y="1916112"/>
            <a:ext cx="5185220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3ADB2B8F-08C6-4B45-8AFD-B0B3D921FA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0016" y="1916112"/>
            <a:ext cx="5185222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0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766763" y="2565400"/>
            <a:ext cx="5185221" cy="2591792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21" name="Chart Placeholder 7"/>
          <p:cNvSpPr>
            <a:spLocks noGrp="1"/>
          </p:cNvSpPr>
          <p:nvPr>
            <p:ph type="chart" sz="quarter" idx="16"/>
          </p:nvPr>
        </p:nvSpPr>
        <p:spPr>
          <a:xfrm>
            <a:off x="6240016" y="2565400"/>
            <a:ext cx="5185223" cy="2591792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421989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harts" preserve="1" userDrawn="1">
  <p:cSld name="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66763" y="5301208"/>
            <a:ext cx="3385021" cy="936080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439816" y="5301208"/>
            <a:ext cx="3312368" cy="936080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8040217" y="5301208"/>
            <a:ext cx="3385021" cy="936080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F34E1-4A03-4647-AD6A-109BB455893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C20DEED-EAB8-426F-889C-7C6756447A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4" y="1916112"/>
            <a:ext cx="3385020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3ADB2B8F-08C6-4B45-8AFD-B0B3D921FA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39816" y="1916112"/>
            <a:ext cx="3312368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3ADB2B8F-08C6-4B45-8AFD-B0B3D921FA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40216" y="1916112"/>
            <a:ext cx="3385022" cy="648791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600" b="0">
                <a:solidFill>
                  <a:schemeClr val="accent2"/>
                </a:solidFill>
                <a:latin typeface="IBM Plex Mono Medium" panose="020B0609050203000203" pitchFamily="49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6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766763" y="2565400"/>
            <a:ext cx="3385021" cy="2591792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27" name="Chart Placeholder 7"/>
          <p:cNvSpPr>
            <a:spLocks noGrp="1"/>
          </p:cNvSpPr>
          <p:nvPr>
            <p:ph type="chart" sz="quarter" idx="18"/>
          </p:nvPr>
        </p:nvSpPr>
        <p:spPr>
          <a:xfrm>
            <a:off x="4439815" y="2565400"/>
            <a:ext cx="3312370" cy="2591792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28" name="Chart Placeholder 7"/>
          <p:cNvSpPr>
            <a:spLocks noGrp="1"/>
          </p:cNvSpPr>
          <p:nvPr>
            <p:ph type="chart" sz="quarter" idx="19"/>
          </p:nvPr>
        </p:nvSpPr>
        <p:spPr>
          <a:xfrm>
            <a:off x="8040217" y="2565400"/>
            <a:ext cx="3385021" cy="2591792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3274455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[DATA] chart" preserve="1" userDrawn="1">
  <p:cSld name="[DATA]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0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766763" y="1916113"/>
            <a:ext cx="10658475" cy="4321175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0971589" y="6398726"/>
            <a:ext cx="453649" cy="125898"/>
          </a:xfrm>
        </p:spPr>
        <p:txBody>
          <a:bodyPr wrap="none" bIns="18000" anchor="b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2pPr>
            <a:lvl3pPr marL="53975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3pPr>
            <a:lvl4pPr marL="80645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4pPr>
            <a:lvl5pPr marL="1071562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5pPr>
          </a:lstStyle>
          <a:p>
            <a:pPr lvl="0"/>
            <a:r>
              <a:rPr lang="en-US"/>
              <a:t>Add source</a:t>
            </a:r>
          </a:p>
        </p:txBody>
      </p:sp>
    </p:spTree>
    <p:extLst>
      <p:ext uri="{BB962C8B-B14F-4D97-AF65-F5344CB8AC3E}">
        <p14:creationId xmlns:p14="http://schemas.microsoft.com/office/powerpoint/2010/main" val="2343607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[DATA] Two Charts" preserve="1" userDrawn="1">
  <p:cSld name="[DATA]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2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766763" y="1916113"/>
            <a:ext cx="5185221" cy="4321175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13" name="Chart Placeholder 7"/>
          <p:cNvSpPr>
            <a:spLocks noGrp="1"/>
          </p:cNvSpPr>
          <p:nvPr>
            <p:ph type="chart" sz="quarter" idx="19"/>
          </p:nvPr>
        </p:nvSpPr>
        <p:spPr>
          <a:xfrm>
            <a:off x="6240017" y="1916113"/>
            <a:ext cx="5185222" cy="4321175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971589" y="6398726"/>
            <a:ext cx="453649" cy="125898"/>
          </a:xfrm>
        </p:spPr>
        <p:txBody>
          <a:bodyPr wrap="none" bIns="18000" anchor="b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2pPr>
            <a:lvl3pPr marL="53975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3pPr>
            <a:lvl4pPr marL="80645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4pPr>
            <a:lvl5pPr marL="1071562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5pPr>
          </a:lstStyle>
          <a:p>
            <a:pPr lvl="0"/>
            <a:r>
              <a:rPr lang="en-US"/>
              <a:t>Add source</a:t>
            </a:r>
          </a:p>
        </p:txBody>
      </p:sp>
    </p:spTree>
    <p:extLst>
      <p:ext uri="{BB962C8B-B14F-4D97-AF65-F5344CB8AC3E}">
        <p14:creationId xmlns:p14="http://schemas.microsoft.com/office/powerpoint/2010/main" val="1084711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[DATA] Three Charts" preserve="1" userDrawn="1">
  <p:cSld name="[DATA] 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0971589" y="6398726"/>
            <a:ext cx="453649" cy="125898"/>
          </a:xfrm>
        </p:spPr>
        <p:txBody>
          <a:bodyPr wrap="none" bIns="18000" anchor="b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2pPr>
            <a:lvl3pPr marL="53975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3pPr>
            <a:lvl4pPr marL="80645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4pPr>
            <a:lvl5pPr marL="1071562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5pPr>
          </a:lstStyle>
          <a:p>
            <a:pPr lvl="0"/>
            <a:r>
              <a:rPr lang="en-US"/>
              <a:t>Add source</a:t>
            </a:r>
          </a:p>
        </p:txBody>
      </p:sp>
      <p:sp>
        <p:nvSpPr>
          <p:cNvPr id="12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766763" y="1916113"/>
            <a:ext cx="3385021" cy="4321175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13" name="Chart Placeholder 7"/>
          <p:cNvSpPr>
            <a:spLocks noGrp="1"/>
          </p:cNvSpPr>
          <p:nvPr>
            <p:ph type="chart" sz="quarter" idx="21"/>
          </p:nvPr>
        </p:nvSpPr>
        <p:spPr>
          <a:xfrm>
            <a:off x="4439815" y="1916113"/>
            <a:ext cx="3312370" cy="4321175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14" name="Chart Placeholder 7"/>
          <p:cNvSpPr>
            <a:spLocks noGrp="1"/>
          </p:cNvSpPr>
          <p:nvPr>
            <p:ph type="chart" sz="quarter" idx="22"/>
          </p:nvPr>
        </p:nvSpPr>
        <p:spPr>
          <a:xfrm>
            <a:off x="8040217" y="1916113"/>
            <a:ext cx="3385022" cy="4321175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5484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[DATA] just chart" preserve="1" userDrawn="1">
  <p:cSld name="[DATA] jus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33375"/>
            <a:ext cx="10658475" cy="287338"/>
          </a:xfrm>
        </p:spPr>
        <p:txBody>
          <a:bodyPr/>
          <a:lstStyle>
            <a:lvl1pPr>
              <a:lnSpc>
                <a:spcPct val="100000"/>
              </a:lnSpc>
              <a:defRPr sz="1600">
                <a:latin typeface="+mn-lt"/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766763" y="620713"/>
            <a:ext cx="10658475" cy="5616575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0971589" y="6398726"/>
            <a:ext cx="453649" cy="125898"/>
          </a:xfrm>
        </p:spPr>
        <p:txBody>
          <a:bodyPr wrap="none" bIns="18000" anchor="b" anchorCtr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bg2"/>
                </a:solidFill>
              </a:defRPr>
            </a:lvl1pPr>
            <a:lvl2pPr marL="26670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2pPr>
            <a:lvl3pPr marL="53975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3pPr>
            <a:lvl4pPr marL="806450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4pPr>
            <a:lvl5pPr marL="1071562" indent="0">
              <a:lnSpc>
                <a:spcPct val="100000"/>
              </a:lnSpc>
              <a:spcBef>
                <a:spcPts val="0"/>
              </a:spcBef>
              <a:buFontTx/>
              <a:buNone/>
              <a:defRPr sz="800"/>
            </a:lvl5pPr>
          </a:lstStyle>
          <a:p>
            <a:pPr lvl="0"/>
            <a:r>
              <a:rPr lang="en-US"/>
              <a:t>Add source</a:t>
            </a:r>
          </a:p>
        </p:txBody>
      </p:sp>
    </p:spTree>
    <p:extLst>
      <p:ext uri="{BB962C8B-B14F-4D97-AF65-F5344CB8AC3E}">
        <p14:creationId xmlns:p14="http://schemas.microsoft.com/office/powerpoint/2010/main" val="3937714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ive Charts" preserve="1" userDrawn="1">
  <p:cSld name="Fiv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766763" y="4077072"/>
            <a:ext cx="2016869" cy="2160216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2927648" y="4077072"/>
            <a:ext cx="2016224" cy="2160216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087889" y="4077072"/>
            <a:ext cx="2016223" cy="2160216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anne Peljo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1F34E1-4A03-4647-AD6A-109BB455893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26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766763" y="1916832"/>
            <a:ext cx="2016869" cy="2016224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27" name="Chart Placeholder 7"/>
          <p:cNvSpPr>
            <a:spLocks noGrp="1"/>
          </p:cNvSpPr>
          <p:nvPr>
            <p:ph type="chart" sz="quarter" idx="18"/>
          </p:nvPr>
        </p:nvSpPr>
        <p:spPr>
          <a:xfrm>
            <a:off x="2927648" y="1916832"/>
            <a:ext cx="2016224" cy="2016224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32" name="Chart Placeholder 7">
            <a:extLst>
              <a:ext uri="{FF2B5EF4-FFF2-40B4-BE49-F238E27FC236}">
                <a16:creationId xmlns:a16="http://schemas.microsoft.com/office/drawing/2014/main" id="{964777E0-583C-4520-8A0B-CD271BF5DDD8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5087888" y="1916832"/>
            <a:ext cx="2016224" cy="2016224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3567A947-C791-4E4C-AA4C-73CA400C3B7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248128" y="4077072"/>
            <a:ext cx="2016224" cy="2160216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4" name="Chart Placeholder 7">
            <a:extLst>
              <a:ext uri="{FF2B5EF4-FFF2-40B4-BE49-F238E27FC236}">
                <a16:creationId xmlns:a16="http://schemas.microsoft.com/office/drawing/2014/main" id="{26F0EB33-72A9-4842-827E-CEACD01C28E0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7248126" y="1916832"/>
            <a:ext cx="2016225" cy="2016224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162836B4-87F2-4A05-890B-FF98A7D2796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408368" y="4077072"/>
            <a:ext cx="2016223" cy="2160216"/>
          </a:xfrm>
        </p:spPr>
        <p:txBody>
          <a:bodyPr/>
          <a:lstStyle>
            <a:lvl1pPr>
              <a:lnSpc>
                <a:spcPct val="100000"/>
              </a:lnSpc>
              <a:spcBef>
                <a:spcPts val="200"/>
              </a:spcBef>
              <a:defRPr sz="1400"/>
            </a:lvl1pPr>
            <a:lvl2pPr>
              <a:lnSpc>
                <a:spcPct val="100000"/>
              </a:lnSpc>
              <a:spcBef>
                <a:spcPts val="200"/>
              </a:spcBef>
              <a:defRPr sz="1200"/>
            </a:lvl2pPr>
            <a:lvl3pPr>
              <a:lnSpc>
                <a:spcPct val="100000"/>
              </a:lnSpc>
              <a:spcBef>
                <a:spcPts val="200"/>
              </a:spcBef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</p:txBody>
      </p:sp>
      <p:sp>
        <p:nvSpPr>
          <p:cNvPr id="36" name="Chart Placeholder 7">
            <a:extLst>
              <a:ext uri="{FF2B5EF4-FFF2-40B4-BE49-F238E27FC236}">
                <a16:creationId xmlns:a16="http://schemas.microsoft.com/office/drawing/2014/main" id="{8D7A5398-785E-445A-B6AF-E5122BC685E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408367" y="1916832"/>
            <a:ext cx="2016224" cy="2016224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/>
              <a:t>Lisää kaavio napsauttamalla kuvaketta</a:t>
            </a:r>
          </a:p>
        </p:txBody>
      </p:sp>
      <p:pic>
        <p:nvPicPr>
          <p:cNvPr id="37" name="Picture 36" descr="A close up of a logo&#10;&#10;Description automatically generated">
            <a:extLst>
              <a:ext uri="{FF2B5EF4-FFF2-40B4-BE49-F238E27FC236}">
                <a16:creationId xmlns:a16="http://schemas.microsoft.com/office/drawing/2014/main" id="{D2A53461-FD13-46D7-9B65-06DFDF2B3E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09" b="13404"/>
          <a:stretch/>
        </p:blipFill>
        <p:spPr>
          <a:xfrm>
            <a:off x="0" y="620688"/>
            <a:ext cx="12192000" cy="5218043"/>
          </a:xfrm>
          <a:prstGeom prst="rect">
            <a:avLst/>
          </a:prstGeom>
        </p:spPr>
      </p:pic>
      <p:sp>
        <p:nvSpPr>
          <p:cNvPr id="38" name="Freeform 6">
            <a:extLst>
              <a:ext uri="{FF2B5EF4-FFF2-40B4-BE49-F238E27FC236}">
                <a16:creationId xmlns:a16="http://schemas.microsoft.com/office/drawing/2014/main" id="{98E75F86-89EF-41AD-A9F1-F217AE88FCF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90035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Content Blue" type="obj" preserve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>
            <a:spLocks noEditPoints="1"/>
          </p:cNvSpPr>
          <p:nvPr userDrawn="1"/>
        </p:nvSpPr>
        <p:spPr bwMode="auto">
          <a:xfrm>
            <a:off x="9227862" y="4572704"/>
            <a:ext cx="2964138" cy="2285296"/>
          </a:xfrm>
          <a:custGeom>
            <a:avLst/>
            <a:gdLst>
              <a:gd name="T0" fmla="*/ 1306 w 2943"/>
              <a:gd name="T1" fmla="*/ 86 h 2269"/>
              <a:gd name="T2" fmla="*/ 1146 w 2943"/>
              <a:gd name="T3" fmla="*/ 156 h 2269"/>
              <a:gd name="T4" fmla="*/ 981 w 2943"/>
              <a:gd name="T5" fmla="*/ 272 h 2269"/>
              <a:gd name="T6" fmla="*/ 830 w 2943"/>
              <a:gd name="T7" fmla="*/ 409 h 2269"/>
              <a:gd name="T8" fmla="*/ 2484 w 2943"/>
              <a:gd name="T9" fmla="*/ 196 h 2269"/>
              <a:gd name="T10" fmla="*/ 2662 w 2943"/>
              <a:gd name="T11" fmla="*/ 241 h 2269"/>
              <a:gd name="T12" fmla="*/ 530 w 2943"/>
              <a:gd name="T13" fmla="*/ 749 h 2269"/>
              <a:gd name="T14" fmla="*/ 369 w 2943"/>
              <a:gd name="T15" fmla="*/ 1038 h 2269"/>
              <a:gd name="T16" fmla="*/ 210 w 2943"/>
              <a:gd name="T17" fmla="*/ 1476 h 2269"/>
              <a:gd name="T18" fmla="*/ 103 w 2943"/>
              <a:gd name="T19" fmla="*/ 1864 h 2269"/>
              <a:gd name="T20" fmla="*/ 23 w 2943"/>
              <a:gd name="T21" fmla="*/ 2262 h 2269"/>
              <a:gd name="T22" fmla="*/ 2051 w 2943"/>
              <a:gd name="T23" fmla="*/ 2226 h 2269"/>
              <a:gd name="T24" fmla="*/ 2345 w 2943"/>
              <a:gd name="T25" fmla="*/ 2074 h 2269"/>
              <a:gd name="T26" fmla="*/ 2533 w 2943"/>
              <a:gd name="T27" fmla="*/ 2011 h 2269"/>
              <a:gd name="T28" fmla="*/ 1696 w 2943"/>
              <a:gd name="T29" fmla="*/ 2140 h 2269"/>
              <a:gd name="T30" fmla="*/ 2029 w 2943"/>
              <a:gd name="T31" fmla="*/ 1898 h 2269"/>
              <a:gd name="T32" fmla="*/ 2719 w 2943"/>
              <a:gd name="T33" fmla="*/ 1738 h 2269"/>
              <a:gd name="T34" fmla="*/ 2406 w 2943"/>
              <a:gd name="T35" fmla="*/ 1779 h 2269"/>
              <a:gd name="T36" fmla="*/ 1389 w 2943"/>
              <a:gd name="T37" fmla="*/ 2095 h 2269"/>
              <a:gd name="T38" fmla="*/ 1668 w 2943"/>
              <a:gd name="T39" fmla="*/ 1825 h 2269"/>
              <a:gd name="T40" fmla="*/ 2797 w 2943"/>
              <a:gd name="T41" fmla="*/ 1521 h 2269"/>
              <a:gd name="T42" fmla="*/ 2603 w 2943"/>
              <a:gd name="T43" fmla="*/ 1489 h 2269"/>
              <a:gd name="T44" fmla="*/ 2189 w 2943"/>
              <a:gd name="T45" fmla="*/ 1529 h 2269"/>
              <a:gd name="T46" fmla="*/ 1051 w 2943"/>
              <a:gd name="T47" fmla="*/ 2125 h 2269"/>
              <a:gd name="T48" fmla="*/ 1304 w 2943"/>
              <a:gd name="T49" fmla="*/ 1800 h 2269"/>
              <a:gd name="T50" fmla="*/ 2918 w 2943"/>
              <a:gd name="T51" fmla="*/ 1313 h 2269"/>
              <a:gd name="T52" fmla="*/ 1698 w 2943"/>
              <a:gd name="T53" fmla="*/ 1471 h 2269"/>
              <a:gd name="T54" fmla="*/ 1879 w 2943"/>
              <a:gd name="T55" fmla="*/ 1359 h 2269"/>
              <a:gd name="T56" fmla="*/ 2303 w 2943"/>
              <a:gd name="T57" fmla="*/ 1243 h 2269"/>
              <a:gd name="T58" fmla="*/ 737 w 2943"/>
              <a:gd name="T59" fmla="*/ 2186 h 2269"/>
              <a:gd name="T60" fmla="*/ 936 w 2943"/>
              <a:gd name="T61" fmla="*/ 1843 h 2269"/>
              <a:gd name="T62" fmla="*/ 1196 w 2943"/>
              <a:gd name="T63" fmla="*/ 1538 h 2269"/>
              <a:gd name="T64" fmla="*/ 2823 w 2943"/>
              <a:gd name="T65" fmla="*/ 1075 h 2269"/>
              <a:gd name="T66" fmla="*/ 1551 w 2943"/>
              <a:gd name="T67" fmla="*/ 1234 h 2269"/>
              <a:gd name="T68" fmla="*/ 1724 w 2943"/>
              <a:gd name="T69" fmla="*/ 1134 h 2269"/>
              <a:gd name="T70" fmla="*/ 1908 w 2943"/>
              <a:gd name="T71" fmla="*/ 1044 h 2269"/>
              <a:gd name="T72" fmla="*/ 537 w 2943"/>
              <a:gd name="T73" fmla="*/ 2146 h 2269"/>
              <a:gd name="T74" fmla="*/ 708 w 2943"/>
              <a:gd name="T75" fmla="*/ 1786 h 2269"/>
              <a:gd name="T76" fmla="*/ 929 w 2943"/>
              <a:gd name="T77" fmla="*/ 1457 h 2269"/>
              <a:gd name="T78" fmla="*/ 1144 w 2943"/>
              <a:gd name="T79" fmla="*/ 1206 h 2269"/>
              <a:gd name="T80" fmla="*/ 2641 w 2943"/>
              <a:gd name="T81" fmla="*/ 833 h 2269"/>
              <a:gd name="T82" fmla="*/ 2382 w 2943"/>
              <a:gd name="T83" fmla="*/ 806 h 2269"/>
              <a:gd name="T84" fmla="*/ 2182 w 2943"/>
              <a:gd name="T85" fmla="*/ 771 h 2269"/>
              <a:gd name="T86" fmla="*/ 1803 w 2943"/>
              <a:gd name="T87" fmla="*/ 806 h 2269"/>
              <a:gd name="T88" fmla="*/ 375 w 2943"/>
              <a:gd name="T89" fmla="*/ 2079 h 2269"/>
              <a:gd name="T90" fmla="*/ 524 w 2943"/>
              <a:gd name="T91" fmla="*/ 1716 h 2269"/>
              <a:gd name="T92" fmla="*/ 707 w 2943"/>
              <a:gd name="T93" fmla="*/ 1362 h 2269"/>
              <a:gd name="T94" fmla="*/ 883 w 2943"/>
              <a:gd name="T95" fmla="*/ 1085 h 2269"/>
              <a:gd name="T96" fmla="*/ 2716 w 2943"/>
              <a:gd name="T97" fmla="*/ 657 h 2269"/>
              <a:gd name="T98" fmla="*/ 1110 w 2943"/>
              <a:gd name="T99" fmla="*/ 845 h 2269"/>
              <a:gd name="T100" fmla="*/ 1258 w 2943"/>
              <a:gd name="T101" fmla="*/ 730 h 2269"/>
              <a:gd name="T102" fmla="*/ 1502 w 2943"/>
              <a:gd name="T103" fmla="*/ 591 h 2269"/>
              <a:gd name="T104" fmla="*/ 1876 w 2943"/>
              <a:gd name="T105" fmla="*/ 499 h 2269"/>
              <a:gd name="T106" fmla="*/ 213 w 2943"/>
              <a:gd name="T107" fmla="*/ 2022 h 2269"/>
              <a:gd name="T108" fmla="*/ 336 w 2943"/>
              <a:gd name="T109" fmla="*/ 1645 h 2269"/>
              <a:gd name="T110" fmla="*/ 500 w 2943"/>
              <a:gd name="T111" fmla="*/ 1291 h 2269"/>
              <a:gd name="T112" fmla="*/ 701 w 2943"/>
              <a:gd name="T113" fmla="*/ 944 h 2269"/>
              <a:gd name="T114" fmla="*/ 2732 w 2943"/>
              <a:gd name="T115" fmla="*/ 452 h 2269"/>
              <a:gd name="T116" fmla="*/ 2530 w 2943"/>
              <a:gd name="T117" fmla="*/ 412 h 2269"/>
              <a:gd name="T118" fmla="*/ 982 w 2943"/>
              <a:gd name="T119" fmla="*/ 607 h 2269"/>
              <a:gd name="T120" fmla="*/ 1138 w 2943"/>
              <a:gd name="T121" fmla="*/ 484 h 2269"/>
              <a:gd name="T122" fmla="*/ 1312 w 2943"/>
              <a:gd name="T123" fmla="*/ 388 h 2269"/>
              <a:gd name="T124" fmla="*/ 1517 w 2943"/>
              <a:gd name="T125" fmla="*/ 301 h 2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943" h="2269">
                <a:moveTo>
                  <a:pt x="1502" y="12"/>
                </a:moveTo>
                <a:lnTo>
                  <a:pt x="1505" y="12"/>
                </a:lnTo>
                <a:lnTo>
                  <a:pt x="1507" y="12"/>
                </a:lnTo>
                <a:lnTo>
                  <a:pt x="1510" y="13"/>
                </a:lnTo>
                <a:lnTo>
                  <a:pt x="1512" y="14"/>
                </a:lnTo>
                <a:lnTo>
                  <a:pt x="1514" y="16"/>
                </a:lnTo>
                <a:lnTo>
                  <a:pt x="1515" y="18"/>
                </a:lnTo>
                <a:lnTo>
                  <a:pt x="1517" y="20"/>
                </a:lnTo>
                <a:lnTo>
                  <a:pt x="1517" y="23"/>
                </a:lnTo>
                <a:lnTo>
                  <a:pt x="1517" y="25"/>
                </a:lnTo>
                <a:lnTo>
                  <a:pt x="1517" y="28"/>
                </a:lnTo>
                <a:lnTo>
                  <a:pt x="1515" y="33"/>
                </a:lnTo>
                <a:lnTo>
                  <a:pt x="1513" y="34"/>
                </a:lnTo>
                <a:lnTo>
                  <a:pt x="1511" y="36"/>
                </a:lnTo>
                <a:lnTo>
                  <a:pt x="1509" y="37"/>
                </a:lnTo>
                <a:lnTo>
                  <a:pt x="1507" y="38"/>
                </a:lnTo>
                <a:lnTo>
                  <a:pt x="1504" y="38"/>
                </a:lnTo>
                <a:lnTo>
                  <a:pt x="1501" y="38"/>
                </a:lnTo>
                <a:lnTo>
                  <a:pt x="1499" y="37"/>
                </a:lnTo>
                <a:lnTo>
                  <a:pt x="1496" y="35"/>
                </a:lnTo>
                <a:lnTo>
                  <a:pt x="1495" y="34"/>
                </a:lnTo>
                <a:lnTo>
                  <a:pt x="1493" y="32"/>
                </a:lnTo>
                <a:lnTo>
                  <a:pt x="1492" y="29"/>
                </a:lnTo>
                <a:lnTo>
                  <a:pt x="1491" y="27"/>
                </a:lnTo>
                <a:lnTo>
                  <a:pt x="1491" y="24"/>
                </a:lnTo>
                <a:lnTo>
                  <a:pt x="1491" y="22"/>
                </a:lnTo>
                <a:lnTo>
                  <a:pt x="1493" y="17"/>
                </a:lnTo>
                <a:lnTo>
                  <a:pt x="1495" y="15"/>
                </a:lnTo>
                <a:lnTo>
                  <a:pt x="1497" y="14"/>
                </a:lnTo>
                <a:lnTo>
                  <a:pt x="1499" y="13"/>
                </a:lnTo>
                <a:lnTo>
                  <a:pt x="1502" y="12"/>
                </a:lnTo>
                <a:close/>
                <a:moveTo>
                  <a:pt x="1437" y="24"/>
                </a:moveTo>
                <a:lnTo>
                  <a:pt x="1442" y="24"/>
                </a:lnTo>
                <a:lnTo>
                  <a:pt x="1444" y="25"/>
                </a:lnTo>
                <a:lnTo>
                  <a:pt x="1447" y="26"/>
                </a:lnTo>
                <a:lnTo>
                  <a:pt x="1448" y="28"/>
                </a:lnTo>
                <a:lnTo>
                  <a:pt x="1450" y="30"/>
                </a:lnTo>
                <a:lnTo>
                  <a:pt x="1451" y="32"/>
                </a:lnTo>
                <a:lnTo>
                  <a:pt x="1452" y="34"/>
                </a:lnTo>
                <a:lnTo>
                  <a:pt x="1452" y="37"/>
                </a:lnTo>
                <a:lnTo>
                  <a:pt x="1452" y="39"/>
                </a:lnTo>
                <a:lnTo>
                  <a:pt x="1452" y="42"/>
                </a:lnTo>
                <a:lnTo>
                  <a:pt x="1450" y="44"/>
                </a:lnTo>
                <a:lnTo>
                  <a:pt x="1449" y="46"/>
                </a:lnTo>
                <a:lnTo>
                  <a:pt x="1447" y="48"/>
                </a:lnTo>
                <a:lnTo>
                  <a:pt x="1445" y="49"/>
                </a:lnTo>
                <a:lnTo>
                  <a:pt x="1442" y="50"/>
                </a:lnTo>
                <a:lnTo>
                  <a:pt x="1437" y="50"/>
                </a:lnTo>
                <a:lnTo>
                  <a:pt x="1434" y="49"/>
                </a:lnTo>
                <a:lnTo>
                  <a:pt x="1432" y="48"/>
                </a:lnTo>
                <a:lnTo>
                  <a:pt x="1430" y="47"/>
                </a:lnTo>
                <a:lnTo>
                  <a:pt x="1428" y="45"/>
                </a:lnTo>
                <a:lnTo>
                  <a:pt x="1427" y="42"/>
                </a:lnTo>
                <a:lnTo>
                  <a:pt x="1426" y="40"/>
                </a:lnTo>
                <a:lnTo>
                  <a:pt x="1426" y="37"/>
                </a:lnTo>
                <a:lnTo>
                  <a:pt x="1426" y="35"/>
                </a:lnTo>
                <a:lnTo>
                  <a:pt x="1427" y="32"/>
                </a:lnTo>
                <a:lnTo>
                  <a:pt x="1428" y="30"/>
                </a:lnTo>
                <a:lnTo>
                  <a:pt x="1430" y="28"/>
                </a:lnTo>
                <a:lnTo>
                  <a:pt x="1432" y="26"/>
                </a:lnTo>
                <a:lnTo>
                  <a:pt x="1434" y="25"/>
                </a:lnTo>
                <a:lnTo>
                  <a:pt x="1436" y="24"/>
                </a:lnTo>
                <a:lnTo>
                  <a:pt x="1437" y="24"/>
                </a:lnTo>
                <a:close/>
                <a:moveTo>
                  <a:pt x="1568" y="4"/>
                </a:moveTo>
                <a:lnTo>
                  <a:pt x="1571" y="4"/>
                </a:lnTo>
                <a:lnTo>
                  <a:pt x="1573" y="4"/>
                </a:lnTo>
                <a:lnTo>
                  <a:pt x="1576" y="5"/>
                </a:lnTo>
                <a:lnTo>
                  <a:pt x="1578" y="7"/>
                </a:lnTo>
                <a:lnTo>
                  <a:pt x="1580" y="9"/>
                </a:lnTo>
                <a:lnTo>
                  <a:pt x="1582" y="11"/>
                </a:lnTo>
                <a:lnTo>
                  <a:pt x="1583" y="13"/>
                </a:lnTo>
                <a:lnTo>
                  <a:pt x="1583" y="16"/>
                </a:lnTo>
                <a:lnTo>
                  <a:pt x="1583" y="18"/>
                </a:lnTo>
                <a:lnTo>
                  <a:pt x="1583" y="21"/>
                </a:lnTo>
                <a:lnTo>
                  <a:pt x="1582" y="23"/>
                </a:lnTo>
                <a:lnTo>
                  <a:pt x="1580" y="25"/>
                </a:lnTo>
                <a:lnTo>
                  <a:pt x="1577" y="28"/>
                </a:lnTo>
                <a:lnTo>
                  <a:pt x="1575" y="29"/>
                </a:lnTo>
                <a:lnTo>
                  <a:pt x="1572" y="30"/>
                </a:lnTo>
                <a:lnTo>
                  <a:pt x="1569" y="30"/>
                </a:lnTo>
                <a:lnTo>
                  <a:pt x="1566" y="29"/>
                </a:lnTo>
                <a:lnTo>
                  <a:pt x="1564" y="28"/>
                </a:lnTo>
                <a:lnTo>
                  <a:pt x="1562" y="27"/>
                </a:lnTo>
                <a:lnTo>
                  <a:pt x="1560" y="25"/>
                </a:lnTo>
                <a:lnTo>
                  <a:pt x="1558" y="23"/>
                </a:lnTo>
                <a:lnTo>
                  <a:pt x="1557" y="21"/>
                </a:lnTo>
                <a:lnTo>
                  <a:pt x="1557" y="18"/>
                </a:lnTo>
                <a:lnTo>
                  <a:pt x="1557" y="16"/>
                </a:lnTo>
                <a:lnTo>
                  <a:pt x="1557" y="13"/>
                </a:lnTo>
                <a:lnTo>
                  <a:pt x="1558" y="11"/>
                </a:lnTo>
                <a:lnTo>
                  <a:pt x="1559" y="9"/>
                </a:lnTo>
                <a:lnTo>
                  <a:pt x="1563" y="6"/>
                </a:lnTo>
                <a:lnTo>
                  <a:pt x="1565" y="5"/>
                </a:lnTo>
                <a:lnTo>
                  <a:pt x="1568" y="4"/>
                </a:lnTo>
                <a:close/>
                <a:moveTo>
                  <a:pt x="1373" y="41"/>
                </a:moveTo>
                <a:lnTo>
                  <a:pt x="1378" y="41"/>
                </a:lnTo>
                <a:lnTo>
                  <a:pt x="1380" y="41"/>
                </a:lnTo>
                <a:lnTo>
                  <a:pt x="1382" y="42"/>
                </a:lnTo>
                <a:lnTo>
                  <a:pt x="1384" y="44"/>
                </a:lnTo>
                <a:lnTo>
                  <a:pt x="1386" y="46"/>
                </a:lnTo>
                <a:lnTo>
                  <a:pt x="1387" y="48"/>
                </a:lnTo>
                <a:lnTo>
                  <a:pt x="1388" y="50"/>
                </a:lnTo>
                <a:lnTo>
                  <a:pt x="1388" y="53"/>
                </a:lnTo>
                <a:lnTo>
                  <a:pt x="1388" y="55"/>
                </a:lnTo>
                <a:lnTo>
                  <a:pt x="1388" y="58"/>
                </a:lnTo>
                <a:lnTo>
                  <a:pt x="1387" y="60"/>
                </a:lnTo>
                <a:lnTo>
                  <a:pt x="1385" y="62"/>
                </a:lnTo>
                <a:lnTo>
                  <a:pt x="1384" y="64"/>
                </a:lnTo>
                <a:lnTo>
                  <a:pt x="1381" y="65"/>
                </a:lnTo>
                <a:lnTo>
                  <a:pt x="1379" y="66"/>
                </a:lnTo>
                <a:lnTo>
                  <a:pt x="1377" y="67"/>
                </a:lnTo>
                <a:lnTo>
                  <a:pt x="1373" y="67"/>
                </a:lnTo>
                <a:lnTo>
                  <a:pt x="1370" y="66"/>
                </a:lnTo>
                <a:lnTo>
                  <a:pt x="1368" y="65"/>
                </a:lnTo>
                <a:lnTo>
                  <a:pt x="1366" y="63"/>
                </a:lnTo>
                <a:lnTo>
                  <a:pt x="1365" y="62"/>
                </a:lnTo>
                <a:lnTo>
                  <a:pt x="1363" y="60"/>
                </a:lnTo>
                <a:lnTo>
                  <a:pt x="1362" y="57"/>
                </a:lnTo>
                <a:lnTo>
                  <a:pt x="1362" y="55"/>
                </a:lnTo>
                <a:lnTo>
                  <a:pt x="1362" y="52"/>
                </a:lnTo>
                <a:lnTo>
                  <a:pt x="1363" y="50"/>
                </a:lnTo>
                <a:lnTo>
                  <a:pt x="1364" y="47"/>
                </a:lnTo>
                <a:lnTo>
                  <a:pt x="1365" y="45"/>
                </a:lnTo>
                <a:lnTo>
                  <a:pt x="1367" y="43"/>
                </a:lnTo>
                <a:lnTo>
                  <a:pt x="1369" y="42"/>
                </a:lnTo>
                <a:lnTo>
                  <a:pt x="1371" y="41"/>
                </a:lnTo>
                <a:lnTo>
                  <a:pt x="1373" y="41"/>
                </a:lnTo>
                <a:close/>
                <a:moveTo>
                  <a:pt x="1634" y="1"/>
                </a:moveTo>
                <a:lnTo>
                  <a:pt x="1636" y="0"/>
                </a:lnTo>
                <a:lnTo>
                  <a:pt x="1638" y="1"/>
                </a:lnTo>
                <a:lnTo>
                  <a:pt x="1641" y="1"/>
                </a:lnTo>
                <a:lnTo>
                  <a:pt x="1643" y="3"/>
                </a:lnTo>
                <a:lnTo>
                  <a:pt x="1645" y="4"/>
                </a:lnTo>
                <a:lnTo>
                  <a:pt x="1647" y="6"/>
                </a:lnTo>
                <a:lnTo>
                  <a:pt x="1648" y="8"/>
                </a:lnTo>
                <a:lnTo>
                  <a:pt x="1649" y="11"/>
                </a:lnTo>
                <a:lnTo>
                  <a:pt x="1649" y="13"/>
                </a:lnTo>
                <a:lnTo>
                  <a:pt x="1649" y="16"/>
                </a:lnTo>
                <a:lnTo>
                  <a:pt x="1648" y="18"/>
                </a:lnTo>
                <a:lnTo>
                  <a:pt x="1647" y="20"/>
                </a:lnTo>
                <a:lnTo>
                  <a:pt x="1646" y="22"/>
                </a:lnTo>
                <a:lnTo>
                  <a:pt x="1645" y="24"/>
                </a:lnTo>
                <a:lnTo>
                  <a:pt x="1643" y="25"/>
                </a:lnTo>
                <a:lnTo>
                  <a:pt x="1641" y="26"/>
                </a:lnTo>
                <a:lnTo>
                  <a:pt x="1638" y="27"/>
                </a:lnTo>
                <a:lnTo>
                  <a:pt x="1636" y="27"/>
                </a:lnTo>
                <a:lnTo>
                  <a:pt x="1633" y="27"/>
                </a:lnTo>
                <a:lnTo>
                  <a:pt x="1631" y="26"/>
                </a:lnTo>
                <a:lnTo>
                  <a:pt x="1629" y="25"/>
                </a:lnTo>
                <a:lnTo>
                  <a:pt x="1627" y="23"/>
                </a:lnTo>
                <a:lnTo>
                  <a:pt x="1625" y="21"/>
                </a:lnTo>
                <a:lnTo>
                  <a:pt x="1624" y="19"/>
                </a:lnTo>
                <a:lnTo>
                  <a:pt x="1623" y="17"/>
                </a:lnTo>
                <a:lnTo>
                  <a:pt x="1623" y="14"/>
                </a:lnTo>
                <a:lnTo>
                  <a:pt x="1623" y="11"/>
                </a:lnTo>
                <a:lnTo>
                  <a:pt x="1623" y="9"/>
                </a:lnTo>
                <a:lnTo>
                  <a:pt x="1624" y="7"/>
                </a:lnTo>
                <a:lnTo>
                  <a:pt x="1626" y="5"/>
                </a:lnTo>
                <a:lnTo>
                  <a:pt x="1627" y="4"/>
                </a:lnTo>
                <a:lnTo>
                  <a:pt x="1629" y="2"/>
                </a:lnTo>
                <a:lnTo>
                  <a:pt x="1631" y="1"/>
                </a:lnTo>
                <a:lnTo>
                  <a:pt x="1634" y="1"/>
                </a:lnTo>
                <a:close/>
                <a:moveTo>
                  <a:pt x="1310" y="61"/>
                </a:moveTo>
                <a:lnTo>
                  <a:pt x="1315" y="61"/>
                </a:lnTo>
                <a:lnTo>
                  <a:pt x="1317" y="62"/>
                </a:lnTo>
                <a:lnTo>
                  <a:pt x="1319" y="63"/>
                </a:lnTo>
                <a:lnTo>
                  <a:pt x="1321" y="64"/>
                </a:lnTo>
                <a:lnTo>
                  <a:pt x="1322" y="66"/>
                </a:lnTo>
                <a:lnTo>
                  <a:pt x="1324" y="67"/>
                </a:lnTo>
                <a:lnTo>
                  <a:pt x="1325" y="70"/>
                </a:lnTo>
                <a:lnTo>
                  <a:pt x="1326" y="75"/>
                </a:lnTo>
                <a:lnTo>
                  <a:pt x="1325" y="77"/>
                </a:lnTo>
                <a:lnTo>
                  <a:pt x="1324" y="80"/>
                </a:lnTo>
                <a:lnTo>
                  <a:pt x="1323" y="82"/>
                </a:lnTo>
                <a:lnTo>
                  <a:pt x="1321" y="84"/>
                </a:lnTo>
                <a:lnTo>
                  <a:pt x="1319" y="85"/>
                </a:lnTo>
                <a:lnTo>
                  <a:pt x="1317" y="87"/>
                </a:lnTo>
                <a:lnTo>
                  <a:pt x="1315" y="87"/>
                </a:lnTo>
                <a:lnTo>
                  <a:pt x="1310" y="87"/>
                </a:lnTo>
                <a:lnTo>
                  <a:pt x="1308" y="87"/>
                </a:lnTo>
                <a:lnTo>
                  <a:pt x="1306" y="86"/>
                </a:lnTo>
                <a:lnTo>
                  <a:pt x="1304" y="84"/>
                </a:lnTo>
                <a:lnTo>
                  <a:pt x="1302" y="83"/>
                </a:lnTo>
                <a:lnTo>
                  <a:pt x="1301" y="81"/>
                </a:lnTo>
                <a:lnTo>
                  <a:pt x="1300" y="79"/>
                </a:lnTo>
                <a:lnTo>
                  <a:pt x="1299" y="73"/>
                </a:lnTo>
                <a:lnTo>
                  <a:pt x="1300" y="71"/>
                </a:lnTo>
                <a:lnTo>
                  <a:pt x="1300" y="69"/>
                </a:lnTo>
                <a:lnTo>
                  <a:pt x="1302" y="66"/>
                </a:lnTo>
                <a:lnTo>
                  <a:pt x="1303" y="64"/>
                </a:lnTo>
                <a:lnTo>
                  <a:pt x="1305" y="63"/>
                </a:lnTo>
                <a:lnTo>
                  <a:pt x="1308" y="62"/>
                </a:lnTo>
                <a:lnTo>
                  <a:pt x="1310" y="61"/>
                </a:lnTo>
                <a:close/>
                <a:moveTo>
                  <a:pt x="1700" y="2"/>
                </a:moveTo>
                <a:lnTo>
                  <a:pt x="1703" y="2"/>
                </a:lnTo>
                <a:lnTo>
                  <a:pt x="1705" y="2"/>
                </a:lnTo>
                <a:lnTo>
                  <a:pt x="1708" y="3"/>
                </a:lnTo>
                <a:lnTo>
                  <a:pt x="1710" y="4"/>
                </a:lnTo>
                <a:lnTo>
                  <a:pt x="1712" y="6"/>
                </a:lnTo>
                <a:lnTo>
                  <a:pt x="1713" y="8"/>
                </a:lnTo>
                <a:lnTo>
                  <a:pt x="1715" y="10"/>
                </a:lnTo>
                <a:lnTo>
                  <a:pt x="1715" y="13"/>
                </a:lnTo>
                <a:lnTo>
                  <a:pt x="1715" y="16"/>
                </a:lnTo>
                <a:lnTo>
                  <a:pt x="1715" y="18"/>
                </a:lnTo>
                <a:lnTo>
                  <a:pt x="1714" y="20"/>
                </a:lnTo>
                <a:lnTo>
                  <a:pt x="1712" y="24"/>
                </a:lnTo>
                <a:lnTo>
                  <a:pt x="1710" y="25"/>
                </a:lnTo>
                <a:lnTo>
                  <a:pt x="1709" y="26"/>
                </a:lnTo>
                <a:lnTo>
                  <a:pt x="1707" y="27"/>
                </a:lnTo>
                <a:lnTo>
                  <a:pt x="1704" y="28"/>
                </a:lnTo>
                <a:lnTo>
                  <a:pt x="1701" y="28"/>
                </a:lnTo>
                <a:lnTo>
                  <a:pt x="1699" y="28"/>
                </a:lnTo>
                <a:lnTo>
                  <a:pt x="1696" y="27"/>
                </a:lnTo>
                <a:lnTo>
                  <a:pt x="1694" y="25"/>
                </a:lnTo>
                <a:lnTo>
                  <a:pt x="1692" y="24"/>
                </a:lnTo>
                <a:lnTo>
                  <a:pt x="1691" y="22"/>
                </a:lnTo>
                <a:lnTo>
                  <a:pt x="1690" y="19"/>
                </a:lnTo>
                <a:lnTo>
                  <a:pt x="1689" y="17"/>
                </a:lnTo>
                <a:lnTo>
                  <a:pt x="1689" y="14"/>
                </a:lnTo>
                <a:lnTo>
                  <a:pt x="1689" y="12"/>
                </a:lnTo>
                <a:lnTo>
                  <a:pt x="1690" y="10"/>
                </a:lnTo>
                <a:lnTo>
                  <a:pt x="1692" y="6"/>
                </a:lnTo>
                <a:lnTo>
                  <a:pt x="1694" y="5"/>
                </a:lnTo>
                <a:lnTo>
                  <a:pt x="1696" y="3"/>
                </a:lnTo>
                <a:lnTo>
                  <a:pt x="1698" y="2"/>
                </a:lnTo>
                <a:lnTo>
                  <a:pt x="1700" y="2"/>
                </a:lnTo>
                <a:close/>
                <a:moveTo>
                  <a:pt x="1249" y="85"/>
                </a:moveTo>
                <a:lnTo>
                  <a:pt x="1253" y="85"/>
                </a:lnTo>
                <a:lnTo>
                  <a:pt x="1255" y="86"/>
                </a:lnTo>
                <a:lnTo>
                  <a:pt x="1257" y="87"/>
                </a:lnTo>
                <a:lnTo>
                  <a:pt x="1259" y="88"/>
                </a:lnTo>
                <a:lnTo>
                  <a:pt x="1261" y="89"/>
                </a:lnTo>
                <a:lnTo>
                  <a:pt x="1263" y="93"/>
                </a:lnTo>
                <a:lnTo>
                  <a:pt x="1264" y="96"/>
                </a:lnTo>
                <a:lnTo>
                  <a:pt x="1264" y="98"/>
                </a:lnTo>
                <a:lnTo>
                  <a:pt x="1264" y="101"/>
                </a:lnTo>
                <a:lnTo>
                  <a:pt x="1263" y="103"/>
                </a:lnTo>
                <a:lnTo>
                  <a:pt x="1262" y="106"/>
                </a:lnTo>
                <a:lnTo>
                  <a:pt x="1260" y="108"/>
                </a:lnTo>
                <a:lnTo>
                  <a:pt x="1259" y="109"/>
                </a:lnTo>
                <a:lnTo>
                  <a:pt x="1256" y="111"/>
                </a:lnTo>
                <a:lnTo>
                  <a:pt x="1253" y="112"/>
                </a:lnTo>
                <a:lnTo>
                  <a:pt x="1249" y="112"/>
                </a:lnTo>
                <a:lnTo>
                  <a:pt x="1247" y="111"/>
                </a:lnTo>
                <a:lnTo>
                  <a:pt x="1245" y="110"/>
                </a:lnTo>
                <a:lnTo>
                  <a:pt x="1243" y="109"/>
                </a:lnTo>
                <a:lnTo>
                  <a:pt x="1241" y="108"/>
                </a:lnTo>
                <a:lnTo>
                  <a:pt x="1239" y="104"/>
                </a:lnTo>
                <a:lnTo>
                  <a:pt x="1238" y="101"/>
                </a:lnTo>
                <a:lnTo>
                  <a:pt x="1238" y="99"/>
                </a:lnTo>
                <a:lnTo>
                  <a:pt x="1238" y="96"/>
                </a:lnTo>
                <a:lnTo>
                  <a:pt x="1239" y="94"/>
                </a:lnTo>
                <a:lnTo>
                  <a:pt x="1240" y="91"/>
                </a:lnTo>
                <a:lnTo>
                  <a:pt x="1241" y="89"/>
                </a:lnTo>
                <a:lnTo>
                  <a:pt x="1243" y="88"/>
                </a:lnTo>
                <a:lnTo>
                  <a:pt x="1246" y="86"/>
                </a:lnTo>
                <a:lnTo>
                  <a:pt x="1249" y="85"/>
                </a:lnTo>
                <a:close/>
                <a:moveTo>
                  <a:pt x="1766" y="8"/>
                </a:moveTo>
                <a:lnTo>
                  <a:pt x="1770" y="8"/>
                </a:lnTo>
                <a:lnTo>
                  <a:pt x="1772" y="8"/>
                </a:lnTo>
                <a:lnTo>
                  <a:pt x="1775" y="9"/>
                </a:lnTo>
                <a:lnTo>
                  <a:pt x="1777" y="11"/>
                </a:lnTo>
                <a:lnTo>
                  <a:pt x="1778" y="13"/>
                </a:lnTo>
                <a:lnTo>
                  <a:pt x="1780" y="15"/>
                </a:lnTo>
                <a:lnTo>
                  <a:pt x="1781" y="17"/>
                </a:lnTo>
                <a:lnTo>
                  <a:pt x="1781" y="20"/>
                </a:lnTo>
                <a:lnTo>
                  <a:pt x="1781" y="22"/>
                </a:lnTo>
                <a:lnTo>
                  <a:pt x="1781" y="24"/>
                </a:lnTo>
                <a:lnTo>
                  <a:pt x="1780" y="26"/>
                </a:lnTo>
                <a:lnTo>
                  <a:pt x="1779" y="28"/>
                </a:lnTo>
                <a:lnTo>
                  <a:pt x="1778" y="30"/>
                </a:lnTo>
                <a:lnTo>
                  <a:pt x="1774" y="32"/>
                </a:lnTo>
                <a:lnTo>
                  <a:pt x="1772" y="33"/>
                </a:lnTo>
                <a:lnTo>
                  <a:pt x="1770" y="34"/>
                </a:lnTo>
                <a:lnTo>
                  <a:pt x="1766" y="34"/>
                </a:lnTo>
                <a:lnTo>
                  <a:pt x="1764" y="33"/>
                </a:lnTo>
                <a:lnTo>
                  <a:pt x="1761" y="32"/>
                </a:lnTo>
                <a:lnTo>
                  <a:pt x="1759" y="31"/>
                </a:lnTo>
                <a:lnTo>
                  <a:pt x="1758" y="29"/>
                </a:lnTo>
                <a:lnTo>
                  <a:pt x="1756" y="27"/>
                </a:lnTo>
                <a:lnTo>
                  <a:pt x="1755" y="24"/>
                </a:lnTo>
                <a:lnTo>
                  <a:pt x="1755" y="22"/>
                </a:lnTo>
                <a:lnTo>
                  <a:pt x="1755" y="19"/>
                </a:lnTo>
                <a:lnTo>
                  <a:pt x="1755" y="17"/>
                </a:lnTo>
                <a:lnTo>
                  <a:pt x="1756" y="15"/>
                </a:lnTo>
                <a:lnTo>
                  <a:pt x="1757" y="13"/>
                </a:lnTo>
                <a:lnTo>
                  <a:pt x="1758" y="11"/>
                </a:lnTo>
                <a:lnTo>
                  <a:pt x="1762" y="9"/>
                </a:lnTo>
                <a:lnTo>
                  <a:pt x="1764" y="8"/>
                </a:lnTo>
                <a:lnTo>
                  <a:pt x="1766" y="8"/>
                </a:lnTo>
                <a:close/>
                <a:moveTo>
                  <a:pt x="1189" y="113"/>
                </a:moveTo>
                <a:lnTo>
                  <a:pt x="1193" y="113"/>
                </a:lnTo>
                <a:lnTo>
                  <a:pt x="1195" y="114"/>
                </a:lnTo>
                <a:lnTo>
                  <a:pt x="1197" y="115"/>
                </a:lnTo>
                <a:lnTo>
                  <a:pt x="1199" y="116"/>
                </a:lnTo>
                <a:lnTo>
                  <a:pt x="1200" y="117"/>
                </a:lnTo>
                <a:lnTo>
                  <a:pt x="1202" y="119"/>
                </a:lnTo>
                <a:lnTo>
                  <a:pt x="1203" y="120"/>
                </a:lnTo>
                <a:lnTo>
                  <a:pt x="1204" y="126"/>
                </a:lnTo>
                <a:lnTo>
                  <a:pt x="1204" y="128"/>
                </a:lnTo>
                <a:lnTo>
                  <a:pt x="1204" y="131"/>
                </a:lnTo>
                <a:lnTo>
                  <a:pt x="1203" y="133"/>
                </a:lnTo>
                <a:lnTo>
                  <a:pt x="1201" y="135"/>
                </a:lnTo>
                <a:lnTo>
                  <a:pt x="1199" y="137"/>
                </a:lnTo>
                <a:lnTo>
                  <a:pt x="1197" y="138"/>
                </a:lnTo>
                <a:lnTo>
                  <a:pt x="1193" y="139"/>
                </a:lnTo>
                <a:lnTo>
                  <a:pt x="1189" y="139"/>
                </a:lnTo>
                <a:lnTo>
                  <a:pt x="1187" y="139"/>
                </a:lnTo>
                <a:lnTo>
                  <a:pt x="1185" y="138"/>
                </a:lnTo>
                <a:lnTo>
                  <a:pt x="1183" y="137"/>
                </a:lnTo>
                <a:lnTo>
                  <a:pt x="1182" y="136"/>
                </a:lnTo>
                <a:lnTo>
                  <a:pt x="1180" y="134"/>
                </a:lnTo>
                <a:lnTo>
                  <a:pt x="1179" y="132"/>
                </a:lnTo>
                <a:lnTo>
                  <a:pt x="1178" y="130"/>
                </a:lnTo>
                <a:lnTo>
                  <a:pt x="1178" y="127"/>
                </a:lnTo>
                <a:lnTo>
                  <a:pt x="1178" y="125"/>
                </a:lnTo>
                <a:lnTo>
                  <a:pt x="1178" y="122"/>
                </a:lnTo>
                <a:lnTo>
                  <a:pt x="1179" y="120"/>
                </a:lnTo>
                <a:lnTo>
                  <a:pt x="1181" y="118"/>
                </a:lnTo>
                <a:lnTo>
                  <a:pt x="1183" y="116"/>
                </a:lnTo>
                <a:lnTo>
                  <a:pt x="1185" y="115"/>
                </a:lnTo>
                <a:lnTo>
                  <a:pt x="1189" y="113"/>
                </a:lnTo>
                <a:close/>
                <a:moveTo>
                  <a:pt x="1831" y="18"/>
                </a:moveTo>
                <a:lnTo>
                  <a:pt x="1836" y="18"/>
                </a:lnTo>
                <a:lnTo>
                  <a:pt x="1838" y="19"/>
                </a:lnTo>
                <a:lnTo>
                  <a:pt x="1841" y="20"/>
                </a:lnTo>
                <a:lnTo>
                  <a:pt x="1843" y="22"/>
                </a:lnTo>
                <a:lnTo>
                  <a:pt x="1844" y="23"/>
                </a:lnTo>
                <a:lnTo>
                  <a:pt x="1845" y="26"/>
                </a:lnTo>
                <a:lnTo>
                  <a:pt x="1846" y="28"/>
                </a:lnTo>
                <a:lnTo>
                  <a:pt x="1847" y="31"/>
                </a:lnTo>
                <a:lnTo>
                  <a:pt x="1846" y="33"/>
                </a:lnTo>
                <a:lnTo>
                  <a:pt x="1846" y="35"/>
                </a:lnTo>
                <a:lnTo>
                  <a:pt x="1845" y="37"/>
                </a:lnTo>
                <a:lnTo>
                  <a:pt x="1843" y="40"/>
                </a:lnTo>
                <a:lnTo>
                  <a:pt x="1841" y="42"/>
                </a:lnTo>
                <a:lnTo>
                  <a:pt x="1839" y="43"/>
                </a:lnTo>
                <a:lnTo>
                  <a:pt x="1836" y="44"/>
                </a:lnTo>
                <a:lnTo>
                  <a:pt x="1831" y="44"/>
                </a:lnTo>
                <a:lnTo>
                  <a:pt x="1828" y="43"/>
                </a:lnTo>
                <a:lnTo>
                  <a:pt x="1826" y="42"/>
                </a:lnTo>
                <a:lnTo>
                  <a:pt x="1824" y="40"/>
                </a:lnTo>
                <a:lnTo>
                  <a:pt x="1822" y="38"/>
                </a:lnTo>
                <a:lnTo>
                  <a:pt x="1821" y="36"/>
                </a:lnTo>
                <a:lnTo>
                  <a:pt x="1820" y="34"/>
                </a:lnTo>
                <a:lnTo>
                  <a:pt x="1820" y="31"/>
                </a:lnTo>
                <a:lnTo>
                  <a:pt x="1820" y="28"/>
                </a:lnTo>
                <a:lnTo>
                  <a:pt x="1821" y="26"/>
                </a:lnTo>
                <a:lnTo>
                  <a:pt x="1822" y="25"/>
                </a:lnTo>
                <a:lnTo>
                  <a:pt x="1824" y="21"/>
                </a:lnTo>
                <a:lnTo>
                  <a:pt x="1826" y="20"/>
                </a:lnTo>
                <a:lnTo>
                  <a:pt x="1827" y="19"/>
                </a:lnTo>
                <a:lnTo>
                  <a:pt x="1831" y="18"/>
                </a:lnTo>
                <a:close/>
                <a:moveTo>
                  <a:pt x="1130" y="145"/>
                </a:moveTo>
                <a:lnTo>
                  <a:pt x="1134" y="144"/>
                </a:lnTo>
                <a:lnTo>
                  <a:pt x="1138" y="146"/>
                </a:lnTo>
                <a:lnTo>
                  <a:pt x="1140" y="147"/>
                </a:lnTo>
                <a:lnTo>
                  <a:pt x="1142" y="148"/>
                </a:lnTo>
                <a:lnTo>
                  <a:pt x="1143" y="149"/>
                </a:lnTo>
                <a:lnTo>
                  <a:pt x="1144" y="151"/>
                </a:lnTo>
                <a:lnTo>
                  <a:pt x="1145" y="153"/>
                </a:lnTo>
                <a:lnTo>
                  <a:pt x="1146" y="156"/>
                </a:lnTo>
                <a:lnTo>
                  <a:pt x="1146" y="159"/>
                </a:lnTo>
                <a:lnTo>
                  <a:pt x="1145" y="161"/>
                </a:lnTo>
                <a:lnTo>
                  <a:pt x="1145" y="163"/>
                </a:lnTo>
                <a:lnTo>
                  <a:pt x="1143" y="166"/>
                </a:lnTo>
                <a:lnTo>
                  <a:pt x="1141" y="168"/>
                </a:lnTo>
                <a:lnTo>
                  <a:pt x="1139" y="169"/>
                </a:lnTo>
                <a:lnTo>
                  <a:pt x="1137" y="170"/>
                </a:lnTo>
                <a:lnTo>
                  <a:pt x="1135" y="171"/>
                </a:lnTo>
                <a:lnTo>
                  <a:pt x="1131" y="171"/>
                </a:lnTo>
                <a:lnTo>
                  <a:pt x="1127" y="170"/>
                </a:lnTo>
                <a:lnTo>
                  <a:pt x="1125" y="169"/>
                </a:lnTo>
                <a:lnTo>
                  <a:pt x="1124" y="167"/>
                </a:lnTo>
                <a:lnTo>
                  <a:pt x="1122" y="166"/>
                </a:lnTo>
                <a:lnTo>
                  <a:pt x="1121" y="164"/>
                </a:lnTo>
                <a:lnTo>
                  <a:pt x="1120" y="162"/>
                </a:lnTo>
                <a:lnTo>
                  <a:pt x="1120" y="159"/>
                </a:lnTo>
                <a:lnTo>
                  <a:pt x="1120" y="157"/>
                </a:lnTo>
                <a:lnTo>
                  <a:pt x="1120" y="154"/>
                </a:lnTo>
                <a:lnTo>
                  <a:pt x="1121" y="152"/>
                </a:lnTo>
                <a:lnTo>
                  <a:pt x="1122" y="150"/>
                </a:lnTo>
                <a:lnTo>
                  <a:pt x="1124" y="148"/>
                </a:lnTo>
                <a:lnTo>
                  <a:pt x="1126" y="146"/>
                </a:lnTo>
                <a:lnTo>
                  <a:pt x="1128" y="145"/>
                </a:lnTo>
                <a:lnTo>
                  <a:pt x="1130" y="145"/>
                </a:lnTo>
                <a:close/>
                <a:moveTo>
                  <a:pt x="1896" y="32"/>
                </a:moveTo>
                <a:lnTo>
                  <a:pt x="1898" y="32"/>
                </a:lnTo>
                <a:lnTo>
                  <a:pt x="1901" y="33"/>
                </a:lnTo>
                <a:lnTo>
                  <a:pt x="1904" y="34"/>
                </a:lnTo>
                <a:lnTo>
                  <a:pt x="1906" y="35"/>
                </a:lnTo>
                <a:lnTo>
                  <a:pt x="1908" y="37"/>
                </a:lnTo>
                <a:lnTo>
                  <a:pt x="1909" y="39"/>
                </a:lnTo>
                <a:lnTo>
                  <a:pt x="1910" y="41"/>
                </a:lnTo>
                <a:lnTo>
                  <a:pt x="1911" y="44"/>
                </a:lnTo>
                <a:lnTo>
                  <a:pt x="1911" y="46"/>
                </a:lnTo>
                <a:lnTo>
                  <a:pt x="1911" y="49"/>
                </a:lnTo>
                <a:lnTo>
                  <a:pt x="1910" y="51"/>
                </a:lnTo>
                <a:lnTo>
                  <a:pt x="1909" y="52"/>
                </a:lnTo>
                <a:lnTo>
                  <a:pt x="1907" y="55"/>
                </a:lnTo>
                <a:lnTo>
                  <a:pt x="1904" y="57"/>
                </a:lnTo>
                <a:lnTo>
                  <a:pt x="1900" y="58"/>
                </a:lnTo>
                <a:lnTo>
                  <a:pt x="1897" y="59"/>
                </a:lnTo>
                <a:lnTo>
                  <a:pt x="1894" y="58"/>
                </a:lnTo>
                <a:lnTo>
                  <a:pt x="1892" y="57"/>
                </a:lnTo>
                <a:lnTo>
                  <a:pt x="1890" y="56"/>
                </a:lnTo>
                <a:lnTo>
                  <a:pt x="1888" y="54"/>
                </a:lnTo>
                <a:lnTo>
                  <a:pt x="1886" y="52"/>
                </a:lnTo>
                <a:lnTo>
                  <a:pt x="1885" y="50"/>
                </a:lnTo>
                <a:lnTo>
                  <a:pt x="1885" y="47"/>
                </a:lnTo>
                <a:lnTo>
                  <a:pt x="1885" y="45"/>
                </a:lnTo>
                <a:lnTo>
                  <a:pt x="1885" y="42"/>
                </a:lnTo>
                <a:lnTo>
                  <a:pt x="1886" y="40"/>
                </a:lnTo>
                <a:lnTo>
                  <a:pt x="1887" y="39"/>
                </a:lnTo>
                <a:lnTo>
                  <a:pt x="1889" y="36"/>
                </a:lnTo>
                <a:lnTo>
                  <a:pt x="1892" y="34"/>
                </a:lnTo>
                <a:lnTo>
                  <a:pt x="1896" y="32"/>
                </a:lnTo>
                <a:close/>
                <a:moveTo>
                  <a:pt x="1074" y="179"/>
                </a:moveTo>
                <a:lnTo>
                  <a:pt x="1078" y="179"/>
                </a:lnTo>
                <a:lnTo>
                  <a:pt x="1081" y="180"/>
                </a:lnTo>
                <a:lnTo>
                  <a:pt x="1085" y="182"/>
                </a:lnTo>
                <a:lnTo>
                  <a:pt x="1086" y="183"/>
                </a:lnTo>
                <a:lnTo>
                  <a:pt x="1087" y="185"/>
                </a:lnTo>
                <a:lnTo>
                  <a:pt x="1089" y="187"/>
                </a:lnTo>
                <a:lnTo>
                  <a:pt x="1089" y="190"/>
                </a:lnTo>
                <a:lnTo>
                  <a:pt x="1089" y="195"/>
                </a:lnTo>
                <a:lnTo>
                  <a:pt x="1088" y="197"/>
                </a:lnTo>
                <a:lnTo>
                  <a:pt x="1087" y="199"/>
                </a:lnTo>
                <a:lnTo>
                  <a:pt x="1085" y="201"/>
                </a:lnTo>
                <a:lnTo>
                  <a:pt x="1083" y="203"/>
                </a:lnTo>
                <a:lnTo>
                  <a:pt x="1081" y="204"/>
                </a:lnTo>
                <a:lnTo>
                  <a:pt x="1078" y="205"/>
                </a:lnTo>
                <a:lnTo>
                  <a:pt x="1075" y="205"/>
                </a:lnTo>
                <a:lnTo>
                  <a:pt x="1071" y="204"/>
                </a:lnTo>
                <a:lnTo>
                  <a:pt x="1068" y="202"/>
                </a:lnTo>
                <a:lnTo>
                  <a:pt x="1066" y="201"/>
                </a:lnTo>
                <a:lnTo>
                  <a:pt x="1065" y="199"/>
                </a:lnTo>
                <a:lnTo>
                  <a:pt x="1064" y="197"/>
                </a:lnTo>
                <a:lnTo>
                  <a:pt x="1063" y="194"/>
                </a:lnTo>
                <a:lnTo>
                  <a:pt x="1063" y="189"/>
                </a:lnTo>
                <a:lnTo>
                  <a:pt x="1064" y="187"/>
                </a:lnTo>
                <a:lnTo>
                  <a:pt x="1065" y="184"/>
                </a:lnTo>
                <a:lnTo>
                  <a:pt x="1067" y="182"/>
                </a:lnTo>
                <a:lnTo>
                  <a:pt x="1069" y="181"/>
                </a:lnTo>
                <a:lnTo>
                  <a:pt x="1071" y="179"/>
                </a:lnTo>
                <a:lnTo>
                  <a:pt x="1074" y="179"/>
                </a:lnTo>
                <a:close/>
                <a:moveTo>
                  <a:pt x="1959" y="50"/>
                </a:moveTo>
                <a:lnTo>
                  <a:pt x="1962" y="50"/>
                </a:lnTo>
                <a:lnTo>
                  <a:pt x="1965" y="50"/>
                </a:lnTo>
                <a:lnTo>
                  <a:pt x="1968" y="51"/>
                </a:lnTo>
                <a:lnTo>
                  <a:pt x="1970" y="53"/>
                </a:lnTo>
                <a:lnTo>
                  <a:pt x="1972" y="54"/>
                </a:lnTo>
                <a:lnTo>
                  <a:pt x="1973" y="56"/>
                </a:lnTo>
                <a:lnTo>
                  <a:pt x="1974" y="59"/>
                </a:lnTo>
                <a:lnTo>
                  <a:pt x="1975" y="61"/>
                </a:lnTo>
                <a:lnTo>
                  <a:pt x="1975" y="64"/>
                </a:lnTo>
                <a:lnTo>
                  <a:pt x="1974" y="66"/>
                </a:lnTo>
                <a:lnTo>
                  <a:pt x="1973" y="70"/>
                </a:lnTo>
                <a:lnTo>
                  <a:pt x="1970" y="73"/>
                </a:lnTo>
                <a:lnTo>
                  <a:pt x="1967" y="75"/>
                </a:lnTo>
                <a:lnTo>
                  <a:pt x="1964" y="76"/>
                </a:lnTo>
                <a:lnTo>
                  <a:pt x="1961" y="76"/>
                </a:lnTo>
                <a:lnTo>
                  <a:pt x="1958" y="76"/>
                </a:lnTo>
                <a:lnTo>
                  <a:pt x="1956" y="75"/>
                </a:lnTo>
                <a:lnTo>
                  <a:pt x="1953" y="73"/>
                </a:lnTo>
                <a:lnTo>
                  <a:pt x="1952" y="72"/>
                </a:lnTo>
                <a:lnTo>
                  <a:pt x="1950" y="69"/>
                </a:lnTo>
                <a:lnTo>
                  <a:pt x="1949" y="67"/>
                </a:lnTo>
                <a:lnTo>
                  <a:pt x="1948" y="65"/>
                </a:lnTo>
                <a:lnTo>
                  <a:pt x="1948" y="62"/>
                </a:lnTo>
                <a:lnTo>
                  <a:pt x="1949" y="59"/>
                </a:lnTo>
                <a:lnTo>
                  <a:pt x="1950" y="56"/>
                </a:lnTo>
                <a:lnTo>
                  <a:pt x="1953" y="53"/>
                </a:lnTo>
                <a:lnTo>
                  <a:pt x="1956" y="51"/>
                </a:lnTo>
                <a:lnTo>
                  <a:pt x="1959" y="50"/>
                </a:lnTo>
                <a:close/>
                <a:moveTo>
                  <a:pt x="1019" y="216"/>
                </a:moveTo>
                <a:lnTo>
                  <a:pt x="1023" y="216"/>
                </a:lnTo>
                <a:lnTo>
                  <a:pt x="1026" y="217"/>
                </a:lnTo>
                <a:lnTo>
                  <a:pt x="1029" y="218"/>
                </a:lnTo>
                <a:lnTo>
                  <a:pt x="1032" y="221"/>
                </a:lnTo>
                <a:lnTo>
                  <a:pt x="1033" y="223"/>
                </a:lnTo>
                <a:lnTo>
                  <a:pt x="1034" y="226"/>
                </a:lnTo>
                <a:lnTo>
                  <a:pt x="1035" y="228"/>
                </a:lnTo>
                <a:lnTo>
                  <a:pt x="1034" y="231"/>
                </a:lnTo>
                <a:lnTo>
                  <a:pt x="1034" y="233"/>
                </a:lnTo>
                <a:lnTo>
                  <a:pt x="1033" y="236"/>
                </a:lnTo>
                <a:lnTo>
                  <a:pt x="1031" y="238"/>
                </a:lnTo>
                <a:lnTo>
                  <a:pt x="1029" y="240"/>
                </a:lnTo>
                <a:lnTo>
                  <a:pt x="1026" y="241"/>
                </a:lnTo>
                <a:lnTo>
                  <a:pt x="1024" y="242"/>
                </a:lnTo>
                <a:lnTo>
                  <a:pt x="1020" y="242"/>
                </a:lnTo>
                <a:lnTo>
                  <a:pt x="1016" y="241"/>
                </a:lnTo>
                <a:lnTo>
                  <a:pt x="1013" y="239"/>
                </a:lnTo>
                <a:lnTo>
                  <a:pt x="1011" y="236"/>
                </a:lnTo>
                <a:lnTo>
                  <a:pt x="1009" y="234"/>
                </a:lnTo>
                <a:lnTo>
                  <a:pt x="1008" y="232"/>
                </a:lnTo>
                <a:lnTo>
                  <a:pt x="1008" y="229"/>
                </a:lnTo>
                <a:lnTo>
                  <a:pt x="1008" y="227"/>
                </a:lnTo>
                <a:lnTo>
                  <a:pt x="1009" y="224"/>
                </a:lnTo>
                <a:lnTo>
                  <a:pt x="1010" y="222"/>
                </a:lnTo>
                <a:lnTo>
                  <a:pt x="1012" y="220"/>
                </a:lnTo>
                <a:lnTo>
                  <a:pt x="1014" y="218"/>
                </a:lnTo>
                <a:lnTo>
                  <a:pt x="1016" y="217"/>
                </a:lnTo>
                <a:lnTo>
                  <a:pt x="1019" y="216"/>
                </a:lnTo>
                <a:close/>
                <a:moveTo>
                  <a:pt x="2023" y="67"/>
                </a:moveTo>
                <a:lnTo>
                  <a:pt x="2026" y="67"/>
                </a:lnTo>
                <a:lnTo>
                  <a:pt x="2029" y="68"/>
                </a:lnTo>
                <a:lnTo>
                  <a:pt x="2031" y="69"/>
                </a:lnTo>
                <a:lnTo>
                  <a:pt x="2034" y="70"/>
                </a:lnTo>
                <a:lnTo>
                  <a:pt x="2035" y="72"/>
                </a:lnTo>
                <a:lnTo>
                  <a:pt x="2037" y="74"/>
                </a:lnTo>
                <a:lnTo>
                  <a:pt x="2038" y="76"/>
                </a:lnTo>
                <a:lnTo>
                  <a:pt x="2039" y="79"/>
                </a:lnTo>
                <a:lnTo>
                  <a:pt x="2039" y="81"/>
                </a:lnTo>
                <a:lnTo>
                  <a:pt x="2038" y="84"/>
                </a:lnTo>
                <a:lnTo>
                  <a:pt x="2037" y="88"/>
                </a:lnTo>
                <a:lnTo>
                  <a:pt x="2034" y="90"/>
                </a:lnTo>
                <a:lnTo>
                  <a:pt x="2031" y="92"/>
                </a:lnTo>
                <a:lnTo>
                  <a:pt x="2028" y="94"/>
                </a:lnTo>
                <a:lnTo>
                  <a:pt x="2025" y="94"/>
                </a:lnTo>
                <a:lnTo>
                  <a:pt x="2022" y="93"/>
                </a:lnTo>
                <a:lnTo>
                  <a:pt x="2019" y="92"/>
                </a:lnTo>
                <a:lnTo>
                  <a:pt x="2017" y="91"/>
                </a:lnTo>
                <a:lnTo>
                  <a:pt x="2015" y="89"/>
                </a:lnTo>
                <a:lnTo>
                  <a:pt x="2014" y="87"/>
                </a:lnTo>
                <a:lnTo>
                  <a:pt x="2013" y="85"/>
                </a:lnTo>
                <a:lnTo>
                  <a:pt x="2012" y="82"/>
                </a:lnTo>
                <a:lnTo>
                  <a:pt x="2012" y="80"/>
                </a:lnTo>
                <a:lnTo>
                  <a:pt x="2013" y="77"/>
                </a:lnTo>
                <a:lnTo>
                  <a:pt x="2014" y="73"/>
                </a:lnTo>
                <a:lnTo>
                  <a:pt x="2017" y="71"/>
                </a:lnTo>
                <a:lnTo>
                  <a:pt x="2020" y="69"/>
                </a:lnTo>
                <a:lnTo>
                  <a:pt x="2023" y="67"/>
                </a:lnTo>
                <a:close/>
                <a:moveTo>
                  <a:pt x="966" y="255"/>
                </a:moveTo>
                <a:lnTo>
                  <a:pt x="970" y="255"/>
                </a:lnTo>
                <a:lnTo>
                  <a:pt x="973" y="256"/>
                </a:lnTo>
                <a:lnTo>
                  <a:pt x="976" y="258"/>
                </a:lnTo>
                <a:lnTo>
                  <a:pt x="979" y="260"/>
                </a:lnTo>
                <a:lnTo>
                  <a:pt x="980" y="262"/>
                </a:lnTo>
                <a:lnTo>
                  <a:pt x="981" y="265"/>
                </a:lnTo>
                <a:lnTo>
                  <a:pt x="982" y="267"/>
                </a:lnTo>
                <a:lnTo>
                  <a:pt x="981" y="270"/>
                </a:lnTo>
                <a:lnTo>
                  <a:pt x="981" y="272"/>
                </a:lnTo>
                <a:lnTo>
                  <a:pt x="980" y="275"/>
                </a:lnTo>
                <a:lnTo>
                  <a:pt x="978" y="277"/>
                </a:lnTo>
                <a:lnTo>
                  <a:pt x="977" y="279"/>
                </a:lnTo>
                <a:lnTo>
                  <a:pt x="974" y="280"/>
                </a:lnTo>
                <a:lnTo>
                  <a:pt x="971" y="281"/>
                </a:lnTo>
                <a:lnTo>
                  <a:pt x="967" y="282"/>
                </a:lnTo>
                <a:lnTo>
                  <a:pt x="964" y="281"/>
                </a:lnTo>
                <a:lnTo>
                  <a:pt x="961" y="279"/>
                </a:lnTo>
                <a:lnTo>
                  <a:pt x="958" y="277"/>
                </a:lnTo>
                <a:lnTo>
                  <a:pt x="957" y="274"/>
                </a:lnTo>
                <a:lnTo>
                  <a:pt x="956" y="272"/>
                </a:lnTo>
                <a:lnTo>
                  <a:pt x="955" y="269"/>
                </a:lnTo>
                <a:lnTo>
                  <a:pt x="955" y="267"/>
                </a:lnTo>
                <a:lnTo>
                  <a:pt x="956" y="264"/>
                </a:lnTo>
                <a:lnTo>
                  <a:pt x="957" y="262"/>
                </a:lnTo>
                <a:lnTo>
                  <a:pt x="958" y="260"/>
                </a:lnTo>
                <a:lnTo>
                  <a:pt x="960" y="258"/>
                </a:lnTo>
                <a:lnTo>
                  <a:pt x="963" y="256"/>
                </a:lnTo>
                <a:lnTo>
                  <a:pt x="966" y="255"/>
                </a:lnTo>
                <a:close/>
                <a:moveTo>
                  <a:pt x="2087" y="85"/>
                </a:moveTo>
                <a:lnTo>
                  <a:pt x="2090" y="85"/>
                </a:lnTo>
                <a:lnTo>
                  <a:pt x="2093" y="85"/>
                </a:lnTo>
                <a:lnTo>
                  <a:pt x="2095" y="86"/>
                </a:lnTo>
                <a:lnTo>
                  <a:pt x="2097" y="88"/>
                </a:lnTo>
                <a:lnTo>
                  <a:pt x="2099" y="89"/>
                </a:lnTo>
                <a:lnTo>
                  <a:pt x="2101" y="92"/>
                </a:lnTo>
                <a:lnTo>
                  <a:pt x="2102" y="94"/>
                </a:lnTo>
                <a:lnTo>
                  <a:pt x="2102" y="96"/>
                </a:lnTo>
                <a:lnTo>
                  <a:pt x="2102" y="99"/>
                </a:lnTo>
                <a:lnTo>
                  <a:pt x="2102" y="102"/>
                </a:lnTo>
                <a:lnTo>
                  <a:pt x="2100" y="105"/>
                </a:lnTo>
                <a:lnTo>
                  <a:pt x="2098" y="108"/>
                </a:lnTo>
                <a:lnTo>
                  <a:pt x="2095" y="110"/>
                </a:lnTo>
                <a:lnTo>
                  <a:pt x="2091" y="111"/>
                </a:lnTo>
                <a:lnTo>
                  <a:pt x="2089" y="111"/>
                </a:lnTo>
                <a:lnTo>
                  <a:pt x="2086" y="111"/>
                </a:lnTo>
                <a:lnTo>
                  <a:pt x="2083" y="110"/>
                </a:lnTo>
                <a:lnTo>
                  <a:pt x="2081" y="108"/>
                </a:lnTo>
                <a:lnTo>
                  <a:pt x="2079" y="107"/>
                </a:lnTo>
                <a:lnTo>
                  <a:pt x="2078" y="105"/>
                </a:lnTo>
                <a:lnTo>
                  <a:pt x="2077" y="102"/>
                </a:lnTo>
                <a:lnTo>
                  <a:pt x="2076" y="100"/>
                </a:lnTo>
                <a:lnTo>
                  <a:pt x="2076" y="97"/>
                </a:lnTo>
                <a:lnTo>
                  <a:pt x="2076" y="95"/>
                </a:lnTo>
                <a:lnTo>
                  <a:pt x="2078" y="91"/>
                </a:lnTo>
                <a:lnTo>
                  <a:pt x="2080" y="88"/>
                </a:lnTo>
                <a:lnTo>
                  <a:pt x="2083" y="86"/>
                </a:lnTo>
                <a:lnTo>
                  <a:pt x="2087" y="85"/>
                </a:lnTo>
                <a:close/>
                <a:moveTo>
                  <a:pt x="915" y="297"/>
                </a:moveTo>
                <a:lnTo>
                  <a:pt x="918" y="297"/>
                </a:lnTo>
                <a:lnTo>
                  <a:pt x="922" y="298"/>
                </a:lnTo>
                <a:lnTo>
                  <a:pt x="925" y="299"/>
                </a:lnTo>
                <a:lnTo>
                  <a:pt x="927" y="302"/>
                </a:lnTo>
                <a:lnTo>
                  <a:pt x="929" y="304"/>
                </a:lnTo>
                <a:lnTo>
                  <a:pt x="930" y="306"/>
                </a:lnTo>
                <a:lnTo>
                  <a:pt x="930" y="309"/>
                </a:lnTo>
                <a:lnTo>
                  <a:pt x="930" y="311"/>
                </a:lnTo>
                <a:lnTo>
                  <a:pt x="930" y="314"/>
                </a:lnTo>
                <a:lnTo>
                  <a:pt x="929" y="316"/>
                </a:lnTo>
                <a:lnTo>
                  <a:pt x="928" y="318"/>
                </a:lnTo>
                <a:lnTo>
                  <a:pt x="926" y="320"/>
                </a:lnTo>
                <a:lnTo>
                  <a:pt x="923" y="322"/>
                </a:lnTo>
                <a:lnTo>
                  <a:pt x="919" y="323"/>
                </a:lnTo>
                <a:lnTo>
                  <a:pt x="916" y="323"/>
                </a:lnTo>
                <a:lnTo>
                  <a:pt x="913" y="323"/>
                </a:lnTo>
                <a:lnTo>
                  <a:pt x="910" y="321"/>
                </a:lnTo>
                <a:lnTo>
                  <a:pt x="907" y="319"/>
                </a:lnTo>
                <a:lnTo>
                  <a:pt x="906" y="317"/>
                </a:lnTo>
                <a:lnTo>
                  <a:pt x="905" y="314"/>
                </a:lnTo>
                <a:lnTo>
                  <a:pt x="904" y="312"/>
                </a:lnTo>
                <a:lnTo>
                  <a:pt x="904" y="309"/>
                </a:lnTo>
                <a:lnTo>
                  <a:pt x="904" y="307"/>
                </a:lnTo>
                <a:lnTo>
                  <a:pt x="905" y="304"/>
                </a:lnTo>
                <a:lnTo>
                  <a:pt x="907" y="302"/>
                </a:lnTo>
                <a:lnTo>
                  <a:pt x="909" y="300"/>
                </a:lnTo>
                <a:lnTo>
                  <a:pt x="912" y="298"/>
                </a:lnTo>
                <a:lnTo>
                  <a:pt x="915" y="297"/>
                </a:lnTo>
                <a:close/>
                <a:moveTo>
                  <a:pt x="2151" y="103"/>
                </a:moveTo>
                <a:lnTo>
                  <a:pt x="2154" y="102"/>
                </a:lnTo>
                <a:lnTo>
                  <a:pt x="2156" y="103"/>
                </a:lnTo>
                <a:lnTo>
                  <a:pt x="2159" y="104"/>
                </a:lnTo>
                <a:lnTo>
                  <a:pt x="2161" y="105"/>
                </a:lnTo>
                <a:lnTo>
                  <a:pt x="2163" y="107"/>
                </a:lnTo>
                <a:lnTo>
                  <a:pt x="2164" y="109"/>
                </a:lnTo>
                <a:lnTo>
                  <a:pt x="2165" y="111"/>
                </a:lnTo>
                <a:lnTo>
                  <a:pt x="2166" y="114"/>
                </a:lnTo>
                <a:lnTo>
                  <a:pt x="2166" y="117"/>
                </a:lnTo>
                <a:lnTo>
                  <a:pt x="2166" y="119"/>
                </a:lnTo>
                <a:lnTo>
                  <a:pt x="2164" y="123"/>
                </a:lnTo>
                <a:lnTo>
                  <a:pt x="2162" y="125"/>
                </a:lnTo>
                <a:lnTo>
                  <a:pt x="2159" y="128"/>
                </a:lnTo>
                <a:lnTo>
                  <a:pt x="2155" y="129"/>
                </a:lnTo>
                <a:lnTo>
                  <a:pt x="2152" y="129"/>
                </a:lnTo>
                <a:lnTo>
                  <a:pt x="2149" y="128"/>
                </a:lnTo>
                <a:lnTo>
                  <a:pt x="2147" y="127"/>
                </a:lnTo>
                <a:lnTo>
                  <a:pt x="2145" y="126"/>
                </a:lnTo>
                <a:lnTo>
                  <a:pt x="2143" y="124"/>
                </a:lnTo>
                <a:lnTo>
                  <a:pt x="2141" y="122"/>
                </a:lnTo>
                <a:lnTo>
                  <a:pt x="2140" y="120"/>
                </a:lnTo>
                <a:lnTo>
                  <a:pt x="2140" y="117"/>
                </a:lnTo>
                <a:lnTo>
                  <a:pt x="2140" y="115"/>
                </a:lnTo>
                <a:lnTo>
                  <a:pt x="2140" y="112"/>
                </a:lnTo>
                <a:lnTo>
                  <a:pt x="2142" y="109"/>
                </a:lnTo>
                <a:lnTo>
                  <a:pt x="2144" y="106"/>
                </a:lnTo>
                <a:lnTo>
                  <a:pt x="2147" y="104"/>
                </a:lnTo>
                <a:lnTo>
                  <a:pt x="2151" y="103"/>
                </a:lnTo>
                <a:close/>
                <a:moveTo>
                  <a:pt x="865" y="341"/>
                </a:moveTo>
                <a:lnTo>
                  <a:pt x="869" y="341"/>
                </a:lnTo>
                <a:lnTo>
                  <a:pt x="872" y="342"/>
                </a:lnTo>
                <a:lnTo>
                  <a:pt x="875" y="343"/>
                </a:lnTo>
                <a:lnTo>
                  <a:pt x="876" y="344"/>
                </a:lnTo>
                <a:lnTo>
                  <a:pt x="877" y="345"/>
                </a:lnTo>
                <a:lnTo>
                  <a:pt x="879" y="347"/>
                </a:lnTo>
                <a:lnTo>
                  <a:pt x="880" y="350"/>
                </a:lnTo>
                <a:lnTo>
                  <a:pt x="881" y="352"/>
                </a:lnTo>
                <a:lnTo>
                  <a:pt x="881" y="355"/>
                </a:lnTo>
                <a:lnTo>
                  <a:pt x="881" y="357"/>
                </a:lnTo>
                <a:lnTo>
                  <a:pt x="880" y="360"/>
                </a:lnTo>
                <a:lnTo>
                  <a:pt x="879" y="362"/>
                </a:lnTo>
                <a:lnTo>
                  <a:pt x="877" y="364"/>
                </a:lnTo>
                <a:lnTo>
                  <a:pt x="874" y="366"/>
                </a:lnTo>
                <a:lnTo>
                  <a:pt x="870" y="367"/>
                </a:lnTo>
                <a:lnTo>
                  <a:pt x="867" y="367"/>
                </a:lnTo>
                <a:lnTo>
                  <a:pt x="864" y="367"/>
                </a:lnTo>
                <a:lnTo>
                  <a:pt x="861" y="365"/>
                </a:lnTo>
                <a:lnTo>
                  <a:pt x="859" y="364"/>
                </a:lnTo>
                <a:lnTo>
                  <a:pt x="858" y="363"/>
                </a:lnTo>
                <a:lnTo>
                  <a:pt x="856" y="361"/>
                </a:lnTo>
                <a:lnTo>
                  <a:pt x="855" y="359"/>
                </a:lnTo>
                <a:lnTo>
                  <a:pt x="855" y="356"/>
                </a:lnTo>
                <a:lnTo>
                  <a:pt x="855" y="354"/>
                </a:lnTo>
                <a:lnTo>
                  <a:pt x="855" y="351"/>
                </a:lnTo>
                <a:lnTo>
                  <a:pt x="856" y="349"/>
                </a:lnTo>
                <a:lnTo>
                  <a:pt x="857" y="346"/>
                </a:lnTo>
                <a:lnTo>
                  <a:pt x="859" y="344"/>
                </a:lnTo>
                <a:lnTo>
                  <a:pt x="862" y="342"/>
                </a:lnTo>
                <a:lnTo>
                  <a:pt x="865" y="341"/>
                </a:lnTo>
                <a:close/>
                <a:moveTo>
                  <a:pt x="2215" y="120"/>
                </a:moveTo>
                <a:lnTo>
                  <a:pt x="2218" y="120"/>
                </a:lnTo>
                <a:lnTo>
                  <a:pt x="2221" y="120"/>
                </a:lnTo>
                <a:lnTo>
                  <a:pt x="2224" y="121"/>
                </a:lnTo>
                <a:lnTo>
                  <a:pt x="2226" y="123"/>
                </a:lnTo>
                <a:lnTo>
                  <a:pt x="2228" y="125"/>
                </a:lnTo>
                <a:lnTo>
                  <a:pt x="2229" y="127"/>
                </a:lnTo>
                <a:lnTo>
                  <a:pt x="2230" y="129"/>
                </a:lnTo>
                <a:lnTo>
                  <a:pt x="2231" y="131"/>
                </a:lnTo>
                <a:lnTo>
                  <a:pt x="2231" y="134"/>
                </a:lnTo>
                <a:lnTo>
                  <a:pt x="2230" y="137"/>
                </a:lnTo>
                <a:lnTo>
                  <a:pt x="2230" y="139"/>
                </a:lnTo>
                <a:lnTo>
                  <a:pt x="2229" y="140"/>
                </a:lnTo>
                <a:lnTo>
                  <a:pt x="2227" y="143"/>
                </a:lnTo>
                <a:lnTo>
                  <a:pt x="2223" y="145"/>
                </a:lnTo>
                <a:lnTo>
                  <a:pt x="2220" y="146"/>
                </a:lnTo>
                <a:lnTo>
                  <a:pt x="2217" y="146"/>
                </a:lnTo>
                <a:lnTo>
                  <a:pt x="2214" y="146"/>
                </a:lnTo>
                <a:lnTo>
                  <a:pt x="2212" y="145"/>
                </a:lnTo>
                <a:lnTo>
                  <a:pt x="2208" y="144"/>
                </a:lnTo>
                <a:lnTo>
                  <a:pt x="2207" y="142"/>
                </a:lnTo>
                <a:lnTo>
                  <a:pt x="2205" y="140"/>
                </a:lnTo>
                <a:lnTo>
                  <a:pt x="2204" y="137"/>
                </a:lnTo>
                <a:lnTo>
                  <a:pt x="2204" y="135"/>
                </a:lnTo>
                <a:lnTo>
                  <a:pt x="2203" y="132"/>
                </a:lnTo>
                <a:lnTo>
                  <a:pt x="2204" y="130"/>
                </a:lnTo>
                <a:lnTo>
                  <a:pt x="2205" y="128"/>
                </a:lnTo>
                <a:lnTo>
                  <a:pt x="2205" y="126"/>
                </a:lnTo>
                <a:lnTo>
                  <a:pt x="2208" y="123"/>
                </a:lnTo>
                <a:lnTo>
                  <a:pt x="2212" y="121"/>
                </a:lnTo>
                <a:lnTo>
                  <a:pt x="2215" y="120"/>
                </a:lnTo>
                <a:close/>
                <a:moveTo>
                  <a:pt x="818" y="387"/>
                </a:moveTo>
                <a:lnTo>
                  <a:pt x="821" y="387"/>
                </a:lnTo>
                <a:lnTo>
                  <a:pt x="824" y="387"/>
                </a:lnTo>
                <a:lnTo>
                  <a:pt x="827" y="389"/>
                </a:lnTo>
                <a:lnTo>
                  <a:pt x="830" y="391"/>
                </a:lnTo>
                <a:lnTo>
                  <a:pt x="831" y="393"/>
                </a:lnTo>
                <a:lnTo>
                  <a:pt x="832" y="395"/>
                </a:lnTo>
                <a:lnTo>
                  <a:pt x="833" y="398"/>
                </a:lnTo>
                <a:lnTo>
                  <a:pt x="833" y="400"/>
                </a:lnTo>
                <a:lnTo>
                  <a:pt x="833" y="403"/>
                </a:lnTo>
                <a:lnTo>
                  <a:pt x="832" y="405"/>
                </a:lnTo>
                <a:lnTo>
                  <a:pt x="831" y="407"/>
                </a:lnTo>
                <a:lnTo>
                  <a:pt x="830" y="409"/>
                </a:lnTo>
                <a:lnTo>
                  <a:pt x="826" y="412"/>
                </a:lnTo>
                <a:lnTo>
                  <a:pt x="822" y="413"/>
                </a:lnTo>
                <a:lnTo>
                  <a:pt x="819" y="413"/>
                </a:lnTo>
                <a:lnTo>
                  <a:pt x="816" y="413"/>
                </a:lnTo>
                <a:lnTo>
                  <a:pt x="813" y="411"/>
                </a:lnTo>
                <a:lnTo>
                  <a:pt x="811" y="409"/>
                </a:lnTo>
                <a:lnTo>
                  <a:pt x="809" y="407"/>
                </a:lnTo>
                <a:lnTo>
                  <a:pt x="808" y="405"/>
                </a:lnTo>
                <a:lnTo>
                  <a:pt x="807" y="403"/>
                </a:lnTo>
                <a:lnTo>
                  <a:pt x="807" y="400"/>
                </a:lnTo>
                <a:lnTo>
                  <a:pt x="807" y="398"/>
                </a:lnTo>
                <a:lnTo>
                  <a:pt x="808" y="395"/>
                </a:lnTo>
                <a:lnTo>
                  <a:pt x="809" y="393"/>
                </a:lnTo>
                <a:lnTo>
                  <a:pt x="811" y="391"/>
                </a:lnTo>
                <a:lnTo>
                  <a:pt x="814" y="388"/>
                </a:lnTo>
                <a:lnTo>
                  <a:pt x="818" y="387"/>
                </a:lnTo>
                <a:close/>
                <a:moveTo>
                  <a:pt x="2279" y="138"/>
                </a:moveTo>
                <a:lnTo>
                  <a:pt x="2282" y="137"/>
                </a:lnTo>
                <a:lnTo>
                  <a:pt x="2285" y="138"/>
                </a:lnTo>
                <a:lnTo>
                  <a:pt x="2287" y="139"/>
                </a:lnTo>
                <a:lnTo>
                  <a:pt x="2290" y="140"/>
                </a:lnTo>
                <a:lnTo>
                  <a:pt x="2292" y="142"/>
                </a:lnTo>
                <a:lnTo>
                  <a:pt x="2293" y="144"/>
                </a:lnTo>
                <a:lnTo>
                  <a:pt x="2294" y="146"/>
                </a:lnTo>
                <a:lnTo>
                  <a:pt x="2295" y="149"/>
                </a:lnTo>
                <a:lnTo>
                  <a:pt x="2295" y="152"/>
                </a:lnTo>
                <a:lnTo>
                  <a:pt x="2294" y="154"/>
                </a:lnTo>
                <a:lnTo>
                  <a:pt x="2293" y="158"/>
                </a:lnTo>
                <a:lnTo>
                  <a:pt x="2290" y="161"/>
                </a:lnTo>
                <a:lnTo>
                  <a:pt x="2287" y="163"/>
                </a:lnTo>
                <a:lnTo>
                  <a:pt x="2284" y="164"/>
                </a:lnTo>
                <a:lnTo>
                  <a:pt x="2281" y="164"/>
                </a:lnTo>
                <a:lnTo>
                  <a:pt x="2278" y="163"/>
                </a:lnTo>
                <a:lnTo>
                  <a:pt x="2275" y="163"/>
                </a:lnTo>
                <a:lnTo>
                  <a:pt x="2273" y="161"/>
                </a:lnTo>
                <a:lnTo>
                  <a:pt x="2271" y="159"/>
                </a:lnTo>
                <a:lnTo>
                  <a:pt x="2270" y="157"/>
                </a:lnTo>
                <a:lnTo>
                  <a:pt x="2269" y="155"/>
                </a:lnTo>
                <a:lnTo>
                  <a:pt x="2268" y="152"/>
                </a:lnTo>
                <a:lnTo>
                  <a:pt x="2268" y="150"/>
                </a:lnTo>
                <a:lnTo>
                  <a:pt x="2269" y="147"/>
                </a:lnTo>
                <a:lnTo>
                  <a:pt x="2269" y="145"/>
                </a:lnTo>
                <a:lnTo>
                  <a:pt x="2270" y="144"/>
                </a:lnTo>
                <a:lnTo>
                  <a:pt x="2273" y="141"/>
                </a:lnTo>
                <a:lnTo>
                  <a:pt x="2276" y="139"/>
                </a:lnTo>
                <a:lnTo>
                  <a:pt x="2279" y="138"/>
                </a:lnTo>
                <a:close/>
                <a:moveTo>
                  <a:pt x="2343" y="155"/>
                </a:moveTo>
                <a:lnTo>
                  <a:pt x="2346" y="155"/>
                </a:lnTo>
                <a:lnTo>
                  <a:pt x="2349" y="155"/>
                </a:lnTo>
                <a:lnTo>
                  <a:pt x="2351" y="156"/>
                </a:lnTo>
                <a:lnTo>
                  <a:pt x="2353" y="158"/>
                </a:lnTo>
                <a:lnTo>
                  <a:pt x="2355" y="160"/>
                </a:lnTo>
                <a:lnTo>
                  <a:pt x="2357" y="162"/>
                </a:lnTo>
                <a:lnTo>
                  <a:pt x="2358" y="164"/>
                </a:lnTo>
                <a:lnTo>
                  <a:pt x="2358" y="166"/>
                </a:lnTo>
                <a:lnTo>
                  <a:pt x="2358" y="169"/>
                </a:lnTo>
                <a:lnTo>
                  <a:pt x="2358" y="172"/>
                </a:lnTo>
                <a:lnTo>
                  <a:pt x="2357" y="174"/>
                </a:lnTo>
                <a:lnTo>
                  <a:pt x="2357" y="175"/>
                </a:lnTo>
                <a:lnTo>
                  <a:pt x="2354" y="178"/>
                </a:lnTo>
                <a:lnTo>
                  <a:pt x="2351" y="180"/>
                </a:lnTo>
                <a:lnTo>
                  <a:pt x="2348" y="181"/>
                </a:lnTo>
                <a:lnTo>
                  <a:pt x="2345" y="181"/>
                </a:lnTo>
                <a:lnTo>
                  <a:pt x="2342" y="181"/>
                </a:lnTo>
                <a:lnTo>
                  <a:pt x="2339" y="180"/>
                </a:lnTo>
                <a:lnTo>
                  <a:pt x="2337" y="179"/>
                </a:lnTo>
                <a:lnTo>
                  <a:pt x="2335" y="177"/>
                </a:lnTo>
                <a:lnTo>
                  <a:pt x="2334" y="175"/>
                </a:lnTo>
                <a:lnTo>
                  <a:pt x="2333" y="172"/>
                </a:lnTo>
                <a:lnTo>
                  <a:pt x="2332" y="170"/>
                </a:lnTo>
                <a:lnTo>
                  <a:pt x="2332" y="167"/>
                </a:lnTo>
                <a:lnTo>
                  <a:pt x="2333" y="165"/>
                </a:lnTo>
                <a:lnTo>
                  <a:pt x="2333" y="163"/>
                </a:lnTo>
                <a:lnTo>
                  <a:pt x="2334" y="161"/>
                </a:lnTo>
                <a:lnTo>
                  <a:pt x="2336" y="158"/>
                </a:lnTo>
                <a:lnTo>
                  <a:pt x="2339" y="156"/>
                </a:lnTo>
                <a:lnTo>
                  <a:pt x="2343" y="155"/>
                </a:lnTo>
                <a:close/>
                <a:moveTo>
                  <a:pt x="772" y="435"/>
                </a:moveTo>
                <a:lnTo>
                  <a:pt x="775" y="435"/>
                </a:lnTo>
                <a:lnTo>
                  <a:pt x="778" y="435"/>
                </a:lnTo>
                <a:lnTo>
                  <a:pt x="781" y="436"/>
                </a:lnTo>
                <a:lnTo>
                  <a:pt x="783" y="438"/>
                </a:lnTo>
                <a:lnTo>
                  <a:pt x="785" y="440"/>
                </a:lnTo>
                <a:lnTo>
                  <a:pt x="786" y="442"/>
                </a:lnTo>
                <a:lnTo>
                  <a:pt x="787" y="445"/>
                </a:lnTo>
                <a:lnTo>
                  <a:pt x="787" y="447"/>
                </a:lnTo>
                <a:lnTo>
                  <a:pt x="787" y="450"/>
                </a:lnTo>
                <a:lnTo>
                  <a:pt x="787" y="452"/>
                </a:lnTo>
                <a:lnTo>
                  <a:pt x="786" y="455"/>
                </a:lnTo>
                <a:lnTo>
                  <a:pt x="784" y="457"/>
                </a:lnTo>
                <a:lnTo>
                  <a:pt x="781" y="459"/>
                </a:lnTo>
                <a:lnTo>
                  <a:pt x="779" y="460"/>
                </a:lnTo>
                <a:lnTo>
                  <a:pt x="777" y="461"/>
                </a:lnTo>
                <a:lnTo>
                  <a:pt x="774" y="461"/>
                </a:lnTo>
                <a:lnTo>
                  <a:pt x="771" y="460"/>
                </a:lnTo>
                <a:lnTo>
                  <a:pt x="768" y="459"/>
                </a:lnTo>
                <a:lnTo>
                  <a:pt x="765" y="457"/>
                </a:lnTo>
                <a:lnTo>
                  <a:pt x="763" y="455"/>
                </a:lnTo>
                <a:lnTo>
                  <a:pt x="762" y="453"/>
                </a:lnTo>
                <a:lnTo>
                  <a:pt x="761" y="451"/>
                </a:lnTo>
                <a:lnTo>
                  <a:pt x="761" y="448"/>
                </a:lnTo>
                <a:lnTo>
                  <a:pt x="761" y="446"/>
                </a:lnTo>
                <a:lnTo>
                  <a:pt x="762" y="443"/>
                </a:lnTo>
                <a:lnTo>
                  <a:pt x="763" y="441"/>
                </a:lnTo>
                <a:lnTo>
                  <a:pt x="765" y="439"/>
                </a:lnTo>
                <a:lnTo>
                  <a:pt x="768" y="436"/>
                </a:lnTo>
                <a:lnTo>
                  <a:pt x="770" y="435"/>
                </a:lnTo>
                <a:lnTo>
                  <a:pt x="772" y="435"/>
                </a:lnTo>
                <a:close/>
                <a:moveTo>
                  <a:pt x="2407" y="173"/>
                </a:moveTo>
                <a:lnTo>
                  <a:pt x="2410" y="172"/>
                </a:lnTo>
                <a:lnTo>
                  <a:pt x="2413" y="173"/>
                </a:lnTo>
                <a:lnTo>
                  <a:pt x="2415" y="174"/>
                </a:lnTo>
                <a:lnTo>
                  <a:pt x="2417" y="175"/>
                </a:lnTo>
                <a:lnTo>
                  <a:pt x="2419" y="177"/>
                </a:lnTo>
                <a:lnTo>
                  <a:pt x="2421" y="179"/>
                </a:lnTo>
                <a:lnTo>
                  <a:pt x="2422" y="181"/>
                </a:lnTo>
                <a:lnTo>
                  <a:pt x="2422" y="184"/>
                </a:lnTo>
                <a:lnTo>
                  <a:pt x="2422" y="186"/>
                </a:lnTo>
                <a:lnTo>
                  <a:pt x="2422" y="189"/>
                </a:lnTo>
                <a:lnTo>
                  <a:pt x="2421" y="191"/>
                </a:lnTo>
                <a:lnTo>
                  <a:pt x="2420" y="193"/>
                </a:lnTo>
                <a:lnTo>
                  <a:pt x="2418" y="195"/>
                </a:lnTo>
                <a:lnTo>
                  <a:pt x="2415" y="198"/>
                </a:lnTo>
                <a:lnTo>
                  <a:pt x="2411" y="199"/>
                </a:lnTo>
                <a:lnTo>
                  <a:pt x="2409" y="199"/>
                </a:lnTo>
                <a:lnTo>
                  <a:pt x="2406" y="198"/>
                </a:lnTo>
                <a:lnTo>
                  <a:pt x="2403" y="197"/>
                </a:lnTo>
                <a:lnTo>
                  <a:pt x="2401" y="196"/>
                </a:lnTo>
                <a:lnTo>
                  <a:pt x="2399" y="194"/>
                </a:lnTo>
                <a:lnTo>
                  <a:pt x="2398" y="192"/>
                </a:lnTo>
                <a:lnTo>
                  <a:pt x="2397" y="190"/>
                </a:lnTo>
                <a:lnTo>
                  <a:pt x="2396" y="187"/>
                </a:lnTo>
                <a:lnTo>
                  <a:pt x="2396" y="185"/>
                </a:lnTo>
                <a:lnTo>
                  <a:pt x="2396" y="182"/>
                </a:lnTo>
                <a:lnTo>
                  <a:pt x="2397" y="180"/>
                </a:lnTo>
                <a:lnTo>
                  <a:pt x="2398" y="179"/>
                </a:lnTo>
                <a:lnTo>
                  <a:pt x="2400" y="176"/>
                </a:lnTo>
                <a:lnTo>
                  <a:pt x="2403" y="174"/>
                </a:lnTo>
                <a:lnTo>
                  <a:pt x="2407" y="173"/>
                </a:lnTo>
                <a:close/>
                <a:moveTo>
                  <a:pt x="727" y="484"/>
                </a:moveTo>
                <a:lnTo>
                  <a:pt x="730" y="484"/>
                </a:lnTo>
                <a:lnTo>
                  <a:pt x="733" y="484"/>
                </a:lnTo>
                <a:lnTo>
                  <a:pt x="735" y="485"/>
                </a:lnTo>
                <a:lnTo>
                  <a:pt x="739" y="487"/>
                </a:lnTo>
                <a:lnTo>
                  <a:pt x="741" y="489"/>
                </a:lnTo>
                <a:lnTo>
                  <a:pt x="742" y="491"/>
                </a:lnTo>
                <a:lnTo>
                  <a:pt x="743" y="494"/>
                </a:lnTo>
                <a:lnTo>
                  <a:pt x="743" y="496"/>
                </a:lnTo>
                <a:lnTo>
                  <a:pt x="743" y="499"/>
                </a:lnTo>
                <a:lnTo>
                  <a:pt x="743" y="501"/>
                </a:lnTo>
                <a:lnTo>
                  <a:pt x="742" y="503"/>
                </a:lnTo>
                <a:lnTo>
                  <a:pt x="740" y="506"/>
                </a:lnTo>
                <a:lnTo>
                  <a:pt x="739" y="506"/>
                </a:lnTo>
                <a:lnTo>
                  <a:pt x="738" y="507"/>
                </a:lnTo>
                <a:lnTo>
                  <a:pt x="737" y="509"/>
                </a:lnTo>
                <a:lnTo>
                  <a:pt x="734" y="509"/>
                </a:lnTo>
                <a:lnTo>
                  <a:pt x="731" y="510"/>
                </a:lnTo>
                <a:lnTo>
                  <a:pt x="729" y="510"/>
                </a:lnTo>
                <a:lnTo>
                  <a:pt x="726" y="510"/>
                </a:lnTo>
                <a:lnTo>
                  <a:pt x="723" y="509"/>
                </a:lnTo>
                <a:lnTo>
                  <a:pt x="720" y="507"/>
                </a:lnTo>
                <a:lnTo>
                  <a:pt x="719" y="505"/>
                </a:lnTo>
                <a:lnTo>
                  <a:pt x="717" y="503"/>
                </a:lnTo>
                <a:lnTo>
                  <a:pt x="716" y="500"/>
                </a:lnTo>
                <a:lnTo>
                  <a:pt x="716" y="498"/>
                </a:lnTo>
                <a:lnTo>
                  <a:pt x="716" y="495"/>
                </a:lnTo>
                <a:lnTo>
                  <a:pt x="717" y="493"/>
                </a:lnTo>
                <a:lnTo>
                  <a:pt x="718" y="490"/>
                </a:lnTo>
                <a:lnTo>
                  <a:pt x="719" y="488"/>
                </a:lnTo>
                <a:lnTo>
                  <a:pt x="720" y="487"/>
                </a:lnTo>
                <a:lnTo>
                  <a:pt x="721" y="487"/>
                </a:lnTo>
                <a:lnTo>
                  <a:pt x="723" y="485"/>
                </a:lnTo>
                <a:lnTo>
                  <a:pt x="725" y="484"/>
                </a:lnTo>
                <a:lnTo>
                  <a:pt x="727" y="484"/>
                </a:lnTo>
                <a:close/>
                <a:moveTo>
                  <a:pt x="2471" y="190"/>
                </a:moveTo>
                <a:lnTo>
                  <a:pt x="2473" y="190"/>
                </a:lnTo>
                <a:lnTo>
                  <a:pt x="2476" y="190"/>
                </a:lnTo>
                <a:lnTo>
                  <a:pt x="2479" y="191"/>
                </a:lnTo>
                <a:lnTo>
                  <a:pt x="2481" y="193"/>
                </a:lnTo>
                <a:lnTo>
                  <a:pt x="2483" y="194"/>
                </a:lnTo>
                <a:lnTo>
                  <a:pt x="2484" y="196"/>
                </a:lnTo>
                <a:lnTo>
                  <a:pt x="2485" y="199"/>
                </a:lnTo>
                <a:lnTo>
                  <a:pt x="2486" y="201"/>
                </a:lnTo>
                <a:lnTo>
                  <a:pt x="2486" y="204"/>
                </a:lnTo>
                <a:lnTo>
                  <a:pt x="2486" y="206"/>
                </a:lnTo>
                <a:lnTo>
                  <a:pt x="2485" y="208"/>
                </a:lnTo>
                <a:lnTo>
                  <a:pt x="2484" y="210"/>
                </a:lnTo>
                <a:lnTo>
                  <a:pt x="2482" y="213"/>
                </a:lnTo>
                <a:lnTo>
                  <a:pt x="2479" y="215"/>
                </a:lnTo>
                <a:lnTo>
                  <a:pt x="2475" y="216"/>
                </a:lnTo>
                <a:lnTo>
                  <a:pt x="2472" y="216"/>
                </a:lnTo>
                <a:lnTo>
                  <a:pt x="2469" y="216"/>
                </a:lnTo>
                <a:lnTo>
                  <a:pt x="2467" y="215"/>
                </a:lnTo>
                <a:lnTo>
                  <a:pt x="2465" y="213"/>
                </a:lnTo>
                <a:lnTo>
                  <a:pt x="2463" y="212"/>
                </a:lnTo>
                <a:lnTo>
                  <a:pt x="2461" y="210"/>
                </a:lnTo>
                <a:lnTo>
                  <a:pt x="2460" y="207"/>
                </a:lnTo>
                <a:lnTo>
                  <a:pt x="2460" y="205"/>
                </a:lnTo>
                <a:lnTo>
                  <a:pt x="2460" y="202"/>
                </a:lnTo>
                <a:lnTo>
                  <a:pt x="2460" y="199"/>
                </a:lnTo>
                <a:lnTo>
                  <a:pt x="2461" y="198"/>
                </a:lnTo>
                <a:lnTo>
                  <a:pt x="2462" y="196"/>
                </a:lnTo>
                <a:lnTo>
                  <a:pt x="2464" y="193"/>
                </a:lnTo>
                <a:lnTo>
                  <a:pt x="2467" y="191"/>
                </a:lnTo>
                <a:lnTo>
                  <a:pt x="2471" y="190"/>
                </a:lnTo>
                <a:close/>
                <a:moveTo>
                  <a:pt x="2534" y="207"/>
                </a:moveTo>
                <a:lnTo>
                  <a:pt x="2537" y="207"/>
                </a:lnTo>
                <a:lnTo>
                  <a:pt x="2540" y="207"/>
                </a:lnTo>
                <a:lnTo>
                  <a:pt x="2543" y="208"/>
                </a:lnTo>
                <a:lnTo>
                  <a:pt x="2545" y="210"/>
                </a:lnTo>
                <a:lnTo>
                  <a:pt x="2547" y="211"/>
                </a:lnTo>
                <a:lnTo>
                  <a:pt x="2548" y="214"/>
                </a:lnTo>
                <a:lnTo>
                  <a:pt x="2549" y="216"/>
                </a:lnTo>
                <a:lnTo>
                  <a:pt x="2550" y="218"/>
                </a:lnTo>
                <a:lnTo>
                  <a:pt x="2550" y="221"/>
                </a:lnTo>
                <a:lnTo>
                  <a:pt x="2550" y="224"/>
                </a:lnTo>
                <a:lnTo>
                  <a:pt x="2549" y="225"/>
                </a:lnTo>
                <a:lnTo>
                  <a:pt x="2548" y="227"/>
                </a:lnTo>
                <a:lnTo>
                  <a:pt x="2546" y="230"/>
                </a:lnTo>
                <a:lnTo>
                  <a:pt x="2543" y="232"/>
                </a:lnTo>
                <a:lnTo>
                  <a:pt x="2539" y="233"/>
                </a:lnTo>
                <a:lnTo>
                  <a:pt x="2536" y="233"/>
                </a:lnTo>
                <a:lnTo>
                  <a:pt x="2533" y="233"/>
                </a:lnTo>
                <a:lnTo>
                  <a:pt x="2531" y="232"/>
                </a:lnTo>
                <a:lnTo>
                  <a:pt x="2529" y="231"/>
                </a:lnTo>
                <a:lnTo>
                  <a:pt x="2527" y="229"/>
                </a:lnTo>
                <a:lnTo>
                  <a:pt x="2525" y="227"/>
                </a:lnTo>
                <a:lnTo>
                  <a:pt x="2524" y="224"/>
                </a:lnTo>
                <a:lnTo>
                  <a:pt x="2524" y="222"/>
                </a:lnTo>
                <a:lnTo>
                  <a:pt x="2524" y="219"/>
                </a:lnTo>
                <a:lnTo>
                  <a:pt x="2524" y="217"/>
                </a:lnTo>
                <a:lnTo>
                  <a:pt x="2525" y="215"/>
                </a:lnTo>
                <a:lnTo>
                  <a:pt x="2526" y="213"/>
                </a:lnTo>
                <a:lnTo>
                  <a:pt x="2528" y="210"/>
                </a:lnTo>
                <a:lnTo>
                  <a:pt x="2531" y="208"/>
                </a:lnTo>
                <a:lnTo>
                  <a:pt x="2534" y="207"/>
                </a:lnTo>
                <a:close/>
                <a:moveTo>
                  <a:pt x="684" y="535"/>
                </a:moveTo>
                <a:lnTo>
                  <a:pt x="687" y="534"/>
                </a:lnTo>
                <a:lnTo>
                  <a:pt x="690" y="535"/>
                </a:lnTo>
                <a:lnTo>
                  <a:pt x="692" y="536"/>
                </a:lnTo>
                <a:lnTo>
                  <a:pt x="695" y="537"/>
                </a:lnTo>
                <a:lnTo>
                  <a:pt x="697" y="539"/>
                </a:lnTo>
                <a:lnTo>
                  <a:pt x="698" y="541"/>
                </a:lnTo>
                <a:lnTo>
                  <a:pt x="700" y="546"/>
                </a:lnTo>
                <a:lnTo>
                  <a:pt x="700" y="549"/>
                </a:lnTo>
                <a:lnTo>
                  <a:pt x="699" y="551"/>
                </a:lnTo>
                <a:lnTo>
                  <a:pt x="698" y="554"/>
                </a:lnTo>
                <a:lnTo>
                  <a:pt x="697" y="556"/>
                </a:lnTo>
                <a:lnTo>
                  <a:pt x="695" y="558"/>
                </a:lnTo>
                <a:lnTo>
                  <a:pt x="693" y="559"/>
                </a:lnTo>
                <a:lnTo>
                  <a:pt x="691" y="560"/>
                </a:lnTo>
                <a:lnTo>
                  <a:pt x="689" y="561"/>
                </a:lnTo>
                <a:lnTo>
                  <a:pt x="686" y="561"/>
                </a:lnTo>
                <a:lnTo>
                  <a:pt x="683" y="560"/>
                </a:lnTo>
                <a:lnTo>
                  <a:pt x="681" y="559"/>
                </a:lnTo>
                <a:lnTo>
                  <a:pt x="678" y="558"/>
                </a:lnTo>
                <a:lnTo>
                  <a:pt x="676" y="556"/>
                </a:lnTo>
                <a:lnTo>
                  <a:pt x="675" y="554"/>
                </a:lnTo>
                <a:lnTo>
                  <a:pt x="673" y="549"/>
                </a:lnTo>
                <a:lnTo>
                  <a:pt x="673" y="546"/>
                </a:lnTo>
                <a:lnTo>
                  <a:pt x="674" y="544"/>
                </a:lnTo>
                <a:lnTo>
                  <a:pt x="675" y="542"/>
                </a:lnTo>
                <a:lnTo>
                  <a:pt x="676" y="539"/>
                </a:lnTo>
                <a:lnTo>
                  <a:pt x="678" y="538"/>
                </a:lnTo>
                <a:lnTo>
                  <a:pt x="680" y="536"/>
                </a:lnTo>
                <a:lnTo>
                  <a:pt x="682" y="535"/>
                </a:lnTo>
                <a:lnTo>
                  <a:pt x="684" y="535"/>
                </a:lnTo>
                <a:close/>
                <a:moveTo>
                  <a:pt x="2598" y="224"/>
                </a:moveTo>
                <a:lnTo>
                  <a:pt x="2601" y="224"/>
                </a:lnTo>
                <a:lnTo>
                  <a:pt x="2604" y="224"/>
                </a:lnTo>
                <a:lnTo>
                  <a:pt x="2607" y="225"/>
                </a:lnTo>
                <a:lnTo>
                  <a:pt x="2609" y="227"/>
                </a:lnTo>
                <a:lnTo>
                  <a:pt x="2611" y="228"/>
                </a:lnTo>
                <a:lnTo>
                  <a:pt x="2612" y="231"/>
                </a:lnTo>
                <a:lnTo>
                  <a:pt x="2613" y="233"/>
                </a:lnTo>
                <a:lnTo>
                  <a:pt x="2614" y="235"/>
                </a:lnTo>
                <a:lnTo>
                  <a:pt x="2614" y="238"/>
                </a:lnTo>
                <a:lnTo>
                  <a:pt x="2613" y="241"/>
                </a:lnTo>
                <a:lnTo>
                  <a:pt x="2613" y="242"/>
                </a:lnTo>
                <a:lnTo>
                  <a:pt x="2612" y="244"/>
                </a:lnTo>
                <a:lnTo>
                  <a:pt x="2610" y="247"/>
                </a:lnTo>
                <a:lnTo>
                  <a:pt x="2606" y="249"/>
                </a:lnTo>
                <a:lnTo>
                  <a:pt x="2603" y="250"/>
                </a:lnTo>
                <a:lnTo>
                  <a:pt x="2600" y="250"/>
                </a:lnTo>
                <a:lnTo>
                  <a:pt x="2597" y="250"/>
                </a:lnTo>
                <a:lnTo>
                  <a:pt x="2595" y="249"/>
                </a:lnTo>
                <a:lnTo>
                  <a:pt x="2593" y="248"/>
                </a:lnTo>
                <a:lnTo>
                  <a:pt x="2591" y="246"/>
                </a:lnTo>
                <a:lnTo>
                  <a:pt x="2589" y="244"/>
                </a:lnTo>
                <a:lnTo>
                  <a:pt x="2588" y="242"/>
                </a:lnTo>
                <a:lnTo>
                  <a:pt x="2588" y="239"/>
                </a:lnTo>
                <a:lnTo>
                  <a:pt x="2587" y="236"/>
                </a:lnTo>
                <a:lnTo>
                  <a:pt x="2588" y="234"/>
                </a:lnTo>
                <a:lnTo>
                  <a:pt x="2589" y="232"/>
                </a:lnTo>
                <a:lnTo>
                  <a:pt x="2589" y="230"/>
                </a:lnTo>
                <a:lnTo>
                  <a:pt x="2592" y="227"/>
                </a:lnTo>
                <a:lnTo>
                  <a:pt x="2595" y="225"/>
                </a:lnTo>
                <a:lnTo>
                  <a:pt x="2598" y="224"/>
                </a:lnTo>
                <a:close/>
                <a:moveTo>
                  <a:pt x="643" y="587"/>
                </a:moveTo>
                <a:lnTo>
                  <a:pt x="646" y="586"/>
                </a:lnTo>
                <a:lnTo>
                  <a:pt x="649" y="587"/>
                </a:lnTo>
                <a:lnTo>
                  <a:pt x="651" y="588"/>
                </a:lnTo>
                <a:lnTo>
                  <a:pt x="654" y="589"/>
                </a:lnTo>
                <a:lnTo>
                  <a:pt x="656" y="591"/>
                </a:lnTo>
                <a:lnTo>
                  <a:pt x="657" y="593"/>
                </a:lnTo>
                <a:lnTo>
                  <a:pt x="658" y="595"/>
                </a:lnTo>
                <a:lnTo>
                  <a:pt x="659" y="598"/>
                </a:lnTo>
                <a:lnTo>
                  <a:pt x="659" y="600"/>
                </a:lnTo>
                <a:lnTo>
                  <a:pt x="659" y="603"/>
                </a:lnTo>
                <a:lnTo>
                  <a:pt x="658" y="605"/>
                </a:lnTo>
                <a:lnTo>
                  <a:pt x="656" y="608"/>
                </a:lnTo>
                <a:lnTo>
                  <a:pt x="655" y="610"/>
                </a:lnTo>
                <a:lnTo>
                  <a:pt x="653" y="611"/>
                </a:lnTo>
                <a:lnTo>
                  <a:pt x="650" y="612"/>
                </a:lnTo>
                <a:lnTo>
                  <a:pt x="648" y="613"/>
                </a:lnTo>
                <a:lnTo>
                  <a:pt x="645" y="613"/>
                </a:lnTo>
                <a:lnTo>
                  <a:pt x="643" y="613"/>
                </a:lnTo>
                <a:lnTo>
                  <a:pt x="640" y="612"/>
                </a:lnTo>
                <a:lnTo>
                  <a:pt x="638" y="610"/>
                </a:lnTo>
                <a:lnTo>
                  <a:pt x="636" y="608"/>
                </a:lnTo>
                <a:lnTo>
                  <a:pt x="634" y="606"/>
                </a:lnTo>
                <a:lnTo>
                  <a:pt x="633" y="604"/>
                </a:lnTo>
                <a:lnTo>
                  <a:pt x="633" y="601"/>
                </a:lnTo>
                <a:lnTo>
                  <a:pt x="633" y="599"/>
                </a:lnTo>
                <a:lnTo>
                  <a:pt x="633" y="596"/>
                </a:lnTo>
                <a:lnTo>
                  <a:pt x="634" y="594"/>
                </a:lnTo>
                <a:lnTo>
                  <a:pt x="635" y="592"/>
                </a:lnTo>
                <a:lnTo>
                  <a:pt x="637" y="590"/>
                </a:lnTo>
                <a:lnTo>
                  <a:pt x="639" y="588"/>
                </a:lnTo>
                <a:lnTo>
                  <a:pt x="641" y="587"/>
                </a:lnTo>
                <a:lnTo>
                  <a:pt x="643" y="587"/>
                </a:lnTo>
                <a:close/>
                <a:moveTo>
                  <a:pt x="2662" y="241"/>
                </a:moveTo>
                <a:lnTo>
                  <a:pt x="2665" y="241"/>
                </a:lnTo>
                <a:lnTo>
                  <a:pt x="2668" y="241"/>
                </a:lnTo>
                <a:lnTo>
                  <a:pt x="2670" y="242"/>
                </a:lnTo>
                <a:lnTo>
                  <a:pt x="2673" y="244"/>
                </a:lnTo>
                <a:lnTo>
                  <a:pt x="2675" y="245"/>
                </a:lnTo>
                <a:lnTo>
                  <a:pt x="2676" y="247"/>
                </a:lnTo>
                <a:lnTo>
                  <a:pt x="2677" y="250"/>
                </a:lnTo>
                <a:lnTo>
                  <a:pt x="2678" y="252"/>
                </a:lnTo>
                <a:lnTo>
                  <a:pt x="2678" y="255"/>
                </a:lnTo>
                <a:lnTo>
                  <a:pt x="2677" y="257"/>
                </a:lnTo>
                <a:lnTo>
                  <a:pt x="2677" y="259"/>
                </a:lnTo>
                <a:lnTo>
                  <a:pt x="2676" y="261"/>
                </a:lnTo>
                <a:lnTo>
                  <a:pt x="2674" y="264"/>
                </a:lnTo>
                <a:lnTo>
                  <a:pt x="2670" y="266"/>
                </a:lnTo>
                <a:lnTo>
                  <a:pt x="2667" y="267"/>
                </a:lnTo>
                <a:lnTo>
                  <a:pt x="2664" y="267"/>
                </a:lnTo>
                <a:lnTo>
                  <a:pt x="2661" y="267"/>
                </a:lnTo>
                <a:lnTo>
                  <a:pt x="2659" y="266"/>
                </a:lnTo>
                <a:lnTo>
                  <a:pt x="2657" y="265"/>
                </a:lnTo>
                <a:lnTo>
                  <a:pt x="2655" y="263"/>
                </a:lnTo>
                <a:lnTo>
                  <a:pt x="2653" y="261"/>
                </a:lnTo>
                <a:lnTo>
                  <a:pt x="2652" y="258"/>
                </a:lnTo>
                <a:lnTo>
                  <a:pt x="2652" y="256"/>
                </a:lnTo>
                <a:lnTo>
                  <a:pt x="2651" y="253"/>
                </a:lnTo>
                <a:lnTo>
                  <a:pt x="2652" y="251"/>
                </a:lnTo>
                <a:lnTo>
                  <a:pt x="2652" y="249"/>
                </a:lnTo>
                <a:lnTo>
                  <a:pt x="2653" y="247"/>
                </a:lnTo>
                <a:lnTo>
                  <a:pt x="2656" y="244"/>
                </a:lnTo>
                <a:lnTo>
                  <a:pt x="2659" y="242"/>
                </a:lnTo>
                <a:lnTo>
                  <a:pt x="2662" y="241"/>
                </a:lnTo>
                <a:close/>
                <a:moveTo>
                  <a:pt x="2726" y="258"/>
                </a:moveTo>
                <a:lnTo>
                  <a:pt x="2729" y="257"/>
                </a:lnTo>
                <a:lnTo>
                  <a:pt x="2732" y="258"/>
                </a:lnTo>
                <a:lnTo>
                  <a:pt x="2734" y="259"/>
                </a:lnTo>
                <a:lnTo>
                  <a:pt x="2737" y="260"/>
                </a:lnTo>
                <a:lnTo>
                  <a:pt x="2739" y="262"/>
                </a:lnTo>
                <a:lnTo>
                  <a:pt x="2740" y="264"/>
                </a:lnTo>
                <a:lnTo>
                  <a:pt x="2741" y="266"/>
                </a:lnTo>
                <a:lnTo>
                  <a:pt x="2742" y="269"/>
                </a:lnTo>
                <a:lnTo>
                  <a:pt x="2742" y="271"/>
                </a:lnTo>
                <a:lnTo>
                  <a:pt x="2741" y="274"/>
                </a:lnTo>
                <a:lnTo>
                  <a:pt x="2741" y="276"/>
                </a:lnTo>
                <a:lnTo>
                  <a:pt x="2740" y="278"/>
                </a:lnTo>
                <a:lnTo>
                  <a:pt x="2738" y="280"/>
                </a:lnTo>
                <a:lnTo>
                  <a:pt x="2734" y="283"/>
                </a:lnTo>
                <a:lnTo>
                  <a:pt x="2731" y="284"/>
                </a:lnTo>
                <a:lnTo>
                  <a:pt x="2728" y="284"/>
                </a:lnTo>
                <a:lnTo>
                  <a:pt x="2725" y="284"/>
                </a:lnTo>
                <a:lnTo>
                  <a:pt x="2723" y="283"/>
                </a:lnTo>
                <a:lnTo>
                  <a:pt x="2721" y="281"/>
                </a:lnTo>
                <a:lnTo>
                  <a:pt x="2719" y="279"/>
                </a:lnTo>
                <a:lnTo>
                  <a:pt x="2717" y="277"/>
                </a:lnTo>
                <a:lnTo>
                  <a:pt x="2716" y="275"/>
                </a:lnTo>
                <a:lnTo>
                  <a:pt x="2716" y="273"/>
                </a:lnTo>
                <a:lnTo>
                  <a:pt x="2715" y="270"/>
                </a:lnTo>
                <a:lnTo>
                  <a:pt x="2716" y="267"/>
                </a:lnTo>
                <a:lnTo>
                  <a:pt x="2716" y="266"/>
                </a:lnTo>
                <a:lnTo>
                  <a:pt x="2717" y="264"/>
                </a:lnTo>
                <a:lnTo>
                  <a:pt x="2720" y="261"/>
                </a:lnTo>
                <a:lnTo>
                  <a:pt x="2723" y="259"/>
                </a:lnTo>
                <a:lnTo>
                  <a:pt x="2726" y="258"/>
                </a:lnTo>
                <a:close/>
                <a:moveTo>
                  <a:pt x="604" y="640"/>
                </a:moveTo>
                <a:lnTo>
                  <a:pt x="609" y="640"/>
                </a:lnTo>
                <a:lnTo>
                  <a:pt x="612" y="641"/>
                </a:lnTo>
                <a:lnTo>
                  <a:pt x="614" y="642"/>
                </a:lnTo>
                <a:lnTo>
                  <a:pt x="616" y="644"/>
                </a:lnTo>
                <a:lnTo>
                  <a:pt x="618" y="646"/>
                </a:lnTo>
                <a:lnTo>
                  <a:pt x="619" y="648"/>
                </a:lnTo>
                <a:lnTo>
                  <a:pt x="619" y="651"/>
                </a:lnTo>
                <a:lnTo>
                  <a:pt x="620" y="653"/>
                </a:lnTo>
                <a:lnTo>
                  <a:pt x="619" y="656"/>
                </a:lnTo>
                <a:lnTo>
                  <a:pt x="619" y="658"/>
                </a:lnTo>
                <a:lnTo>
                  <a:pt x="617" y="661"/>
                </a:lnTo>
                <a:lnTo>
                  <a:pt x="615" y="663"/>
                </a:lnTo>
                <a:lnTo>
                  <a:pt x="613" y="664"/>
                </a:lnTo>
                <a:lnTo>
                  <a:pt x="611" y="665"/>
                </a:lnTo>
                <a:lnTo>
                  <a:pt x="609" y="666"/>
                </a:lnTo>
                <a:lnTo>
                  <a:pt x="604" y="666"/>
                </a:lnTo>
                <a:lnTo>
                  <a:pt x="601" y="665"/>
                </a:lnTo>
                <a:lnTo>
                  <a:pt x="599" y="664"/>
                </a:lnTo>
                <a:lnTo>
                  <a:pt x="597" y="662"/>
                </a:lnTo>
                <a:lnTo>
                  <a:pt x="595" y="660"/>
                </a:lnTo>
                <a:lnTo>
                  <a:pt x="594" y="657"/>
                </a:lnTo>
                <a:lnTo>
                  <a:pt x="593" y="655"/>
                </a:lnTo>
                <a:lnTo>
                  <a:pt x="593" y="652"/>
                </a:lnTo>
                <a:lnTo>
                  <a:pt x="593" y="650"/>
                </a:lnTo>
                <a:lnTo>
                  <a:pt x="594" y="647"/>
                </a:lnTo>
                <a:lnTo>
                  <a:pt x="596" y="645"/>
                </a:lnTo>
                <a:lnTo>
                  <a:pt x="597" y="643"/>
                </a:lnTo>
                <a:lnTo>
                  <a:pt x="599" y="642"/>
                </a:lnTo>
                <a:lnTo>
                  <a:pt x="602" y="640"/>
                </a:lnTo>
                <a:lnTo>
                  <a:pt x="604" y="640"/>
                </a:lnTo>
                <a:close/>
                <a:moveTo>
                  <a:pt x="2790" y="274"/>
                </a:moveTo>
                <a:lnTo>
                  <a:pt x="2793" y="274"/>
                </a:lnTo>
                <a:lnTo>
                  <a:pt x="2796" y="274"/>
                </a:lnTo>
                <a:lnTo>
                  <a:pt x="2798" y="275"/>
                </a:lnTo>
                <a:lnTo>
                  <a:pt x="2801" y="276"/>
                </a:lnTo>
                <a:lnTo>
                  <a:pt x="2803" y="278"/>
                </a:lnTo>
                <a:lnTo>
                  <a:pt x="2804" y="280"/>
                </a:lnTo>
                <a:lnTo>
                  <a:pt x="2805" y="283"/>
                </a:lnTo>
                <a:lnTo>
                  <a:pt x="2806" y="285"/>
                </a:lnTo>
                <a:lnTo>
                  <a:pt x="2806" y="288"/>
                </a:lnTo>
                <a:lnTo>
                  <a:pt x="2806" y="290"/>
                </a:lnTo>
                <a:lnTo>
                  <a:pt x="2805" y="292"/>
                </a:lnTo>
                <a:lnTo>
                  <a:pt x="2804" y="294"/>
                </a:lnTo>
                <a:lnTo>
                  <a:pt x="2802" y="297"/>
                </a:lnTo>
                <a:lnTo>
                  <a:pt x="2799" y="299"/>
                </a:lnTo>
                <a:lnTo>
                  <a:pt x="2795" y="300"/>
                </a:lnTo>
                <a:lnTo>
                  <a:pt x="2792" y="300"/>
                </a:lnTo>
                <a:lnTo>
                  <a:pt x="2789" y="300"/>
                </a:lnTo>
                <a:lnTo>
                  <a:pt x="2787" y="299"/>
                </a:lnTo>
                <a:lnTo>
                  <a:pt x="2785" y="298"/>
                </a:lnTo>
                <a:lnTo>
                  <a:pt x="2783" y="296"/>
                </a:lnTo>
                <a:lnTo>
                  <a:pt x="2781" y="294"/>
                </a:lnTo>
                <a:lnTo>
                  <a:pt x="2780" y="292"/>
                </a:lnTo>
                <a:lnTo>
                  <a:pt x="2780" y="289"/>
                </a:lnTo>
                <a:lnTo>
                  <a:pt x="2780" y="286"/>
                </a:lnTo>
                <a:lnTo>
                  <a:pt x="2780" y="284"/>
                </a:lnTo>
                <a:lnTo>
                  <a:pt x="2781" y="282"/>
                </a:lnTo>
                <a:lnTo>
                  <a:pt x="2781" y="280"/>
                </a:lnTo>
                <a:lnTo>
                  <a:pt x="2784" y="277"/>
                </a:lnTo>
                <a:lnTo>
                  <a:pt x="2787" y="275"/>
                </a:lnTo>
                <a:lnTo>
                  <a:pt x="2790" y="274"/>
                </a:lnTo>
                <a:close/>
                <a:moveTo>
                  <a:pt x="2855" y="290"/>
                </a:moveTo>
                <a:lnTo>
                  <a:pt x="2857" y="290"/>
                </a:lnTo>
                <a:lnTo>
                  <a:pt x="2860" y="290"/>
                </a:lnTo>
                <a:lnTo>
                  <a:pt x="2863" y="291"/>
                </a:lnTo>
                <a:lnTo>
                  <a:pt x="2865" y="292"/>
                </a:lnTo>
                <a:lnTo>
                  <a:pt x="2867" y="294"/>
                </a:lnTo>
                <a:lnTo>
                  <a:pt x="2868" y="296"/>
                </a:lnTo>
                <a:lnTo>
                  <a:pt x="2869" y="298"/>
                </a:lnTo>
                <a:lnTo>
                  <a:pt x="2870" y="301"/>
                </a:lnTo>
                <a:lnTo>
                  <a:pt x="2870" y="303"/>
                </a:lnTo>
                <a:lnTo>
                  <a:pt x="2870" y="306"/>
                </a:lnTo>
                <a:lnTo>
                  <a:pt x="2868" y="310"/>
                </a:lnTo>
                <a:lnTo>
                  <a:pt x="2866" y="313"/>
                </a:lnTo>
                <a:lnTo>
                  <a:pt x="2863" y="315"/>
                </a:lnTo>
                <a:lnTo>
                  <a:pt x="2859" y="316"/>
                </a:lnTo>
                <a:lnTo>
                  <a:pt x="2857" y="316"/>
                </a:lnTo>
                <a:lnTo>
                  <a:pt x="2854" y="316"/>
                </a:lnTo>
                <a:lnTo>
                  <a:pt x="2851" y="315"/>
                </a:lnTo>
                <a:lnTo>
                  <a:pt x="2849" y="314"/>
                </a:lnTo>
                <a:lnTo>
                  <a:pt x="2847" y="312"/>
                </a:lnTo>
                <a:lnTo>
                  <a:pt x="2846" y="310"/>
                </a:lnTo>
                <a:lnTo>
                  <a:pt x="2845" y="308"/>
                </a:lnTo>
                <a:lnTo>
                  <a:pt x="2844" y="305"/>
                </a:lnTo>
                <a:lnTo>
                  <a:pt x="2844" y="302"/>
                </a:lnTo>
                <a:lnTo>
                  <a:pt x="2844" y="300"/>
                </a:lnTo>
                <a:lnTo>
                  <a:pt x="2846" y="296"/>
                </a:lnTo>
                <a:lnTo>
                  <a:pt x="2848" y="293"/>
                </a:lnTo>
                <a:lnTo>
                  <a:pt x="2851" y="291"/>
                </a:lnTo>
                <a:lnTo>
                  <a:pt x="2855" y="290"/>
                </a:lnTo>
                <a:close/>
                <a:moveTo>
                  <a:pt x="566" y="694"/>
                </a:moveTo>
                <a:lnTo>
                  <a:pt x="571" y="694"/>
                </a:lnTo>
                <a:lnTo>
                  <a:pt x="574" y="695"/>
                </a:lnTo>
                <a:lnTo>
                  <a:pt x="576" y="696"/>
                </a:lnTo>
                <a:lnTo>
                  <a:pt x="578" y="698"/>
                </a:lnTo>
                <a:lnTo>
                  <a:pt x="580" y="700"/>
                </a:lnTo>
                <a:lnTo>
                  <a:pt x="581" y="702"/>
                </a:lnTo>
                <a:lnTo>
                  <a:pt x="582" y="705"/>
                </a:lnTo>
                <a:lnTo>
                  <a:pt x="582" y="710"/>
                </a:lnTo>
                <a:lnTo>
                  <a:pt x="581" y="712"/>
                </a:lnTo>
                <a:lnTo>
                  <a:pt x="580" y="715"/>
                </a:lnTo>
                <a:lnTo>
                  <a:pt x="578" y="717"/>
                </a:lnTo>
                <a:lnTo>
                  <a:pt x="576" y="718"/>
                </a:lnTo>
                <a:lnTo>
                  <a:pt x="573" y="719"/>
                </a:lnTo>
                <a:lnTo>
                  <a:pt x="571" y="720"/>
                </a:lnTo>
                <a:lnTo>
                  <a:pt x="566" y="720"/>
                </a:lnTo>
                <a:lnTo>
                  <a:pt x="564" y="719"/>
                </a:lnTo>
                <a:lnTo>
                  <a:pt x="561" y="718"/>
                </a:lnTo>
                <a:lnTo>
                  <a:pt x="559" y="716"/>
                </a:lnTo>
                <a:lnTo>
                  <a:pt x="558" y="714"/>
                </a:lnTo>
                <a:lnTo>
                  <a:pt x="556" y="712"/>
                </a:lnTo>
                <a:lnTo>
                  <a:pt x="556" y="710"/>
                </a:lnTo>
                <a:lnTo>
                  <a:pt x="556" y="705"/>
                </a:lnTo>
                <a:lnTo>
                  <a:pt x="556" y="702"/>
                </a:lnTo>
                <a:lnTo>
                  <a:pt x="558" y="700"/>
                </a:lnTo>
                <a:lnTo>
                  <a:pt x="559" y="698"/>
                </a:lnTo>
                <a:lnTo>
                  <a:pt x="562" y="696"/>
                </a:lnTo>
                <a:lnTo>
                  <a:pt x="564" y="695"/>
                </a:lnTo>
                <a:lnTo>
                  <a:pt x="566" y="694"/>
                </a:lnTo>
                <a:close/>
                <a:moveTo>
                  <a:pt x="2919" y="305"/>
                </a:moveTo>
                <a:lnTo>
                  <a:pt x="2922" y="305"/>
                </a:lnTo>
                <a:lnTo>
                  <a:pt x="2924" y="305"/>
                </a:lnTo>
                <a:lnTo>
                  <a:pt x="2927" y="306"/>
                </a:lnTo>
                <a:lnTo>
                  <a:pt x="2929" y="308"/>
                </a:lnTo>
                <a:lnTo>
                  <a:pt x="2931" y="309"/>
                </a:lnTo>
                <a:lnTo>
                  <a:pt x="2932" y="311"/>
                </a:lnTo>
                <a:lnTo>
                  <a:pt x="2934" y="314"/>
                </a:lnTo>
                <a:lnTo>
                  <a:pt x="2934" y="316"/>
                </a:lnTo>
                <a:lnTo>
                  <a:pt x="2934" y="319"/>
                </a:lnTo>
                <a:lnTo>
                  <a:pt x="2934" y="321"/>
                </a:lnTo>
                <a:lnTo>
                  <a:pt x="2933" y="325"/>
                </a:lnTo>
                <a:lnTo>
                  <a:pt x="2930" y="328"/>
                </a:lnTo>
                <a:lnTo>
                  <a:pt x="2927" y="330"/>
                </a:lnTo>
                <a:lnTo>
                  <a:pt x="2924" y="331"/>
                </a:lnTo>
                <a:lnTo>
                  <a:pt x="2921" y="332"/>
                </a:lnTo>
                <a:lnTo>
                  <a:pt x="2918" y="331"/>
                </a:lnTo>
                <a:lnTo>
                  <a:pt x="2916" y="330"/>
                </a:lnTo>
                <a:lnTo>
                  <a:pt x="2913" y="329"/>
                </a:lnTo>
                <a:lnTo>
                  <a:pt x="2912" y="327"/>
                </a:lnTo>
                <a:lnTo>
                  <a:pt x="2910" y="325"/>
                </a:lnTo>
                <a:lnTo>
                  <a:pt x="2909" y="323"/>
                </a:lnTo>
                <a:lnTo>
                  <a:pt x="2908" y="321"/>
                </a:lnTo>
                <a:lnTo>
                  <a:pt x="2908" y="318"/>
                </a:lnTo>
                <a:lnTo>
                  <a:pt x="2908" y="315"/>
                </a:lnTo>
                <a:lnTo>
                  <a:pt x="2910" y="312"/>
                </a:lnTo>
                <a:lnTo>
                  <a:pt x="2912" y="309"/>
                </a:lnTo>
                <a:lnTo>
                  <a:pt x="2915" y="306"/>
                </a:lnTo>
                <a:lnTo>
                  <a:pt x="2919" y="305"/>
                </a:lnTo>
                <a:close/>
                <a:moveTo>
                  <a:pt x="530" y="749"/>
                </a:moveTo>
                <a:lnTo>
                  <a:pt x="535" y="749"/>
                </a:lnTo>
                <a:lnTo>
                  <a:pt x="537" y="750"/>
                </a:lnTo>
                <a:lnTo>
                  <a:pt x="539" y="751"/>
                </a:lnTo>
                <a:lnTo>
                  <a:pt x="542" y="753"/>
                </a:lnTo>
                <a:lnTo>
                  <a:pt x="543" y="755"/>
                </a:lnTo>
                <a:lnTo>
                  <a:pt x="544" y="757"/>
                </a:lnTo>
                <a:lnTo>
                  <a:pt x="545" y="760"/>
                </a:lnTo>
                <a:lnTo>
                  <a:pt x="546" y="762"/>
                </a:lnTo>
                <a:lnTo>
                  <a:pt x="545" y="765"/>
                </a:lnTo>
                <a:lnTo>
                  <a:pt x="545" y="767"/>
                </a:lnTo>
                <a:lnTo>
                  <a:pt x="544" y="770"/>
                </a:lnTo>
                <a:lnTo>
                  <a:pt x="542" y="772"/>
                </a:lnTo>
                <a:lnTo>
                  <a:pt x="540" y="774"/>
                </a:lnTo>
                <a:lnTo>
                  <a:pt x="537" y="775"/>
                </a:lnTo>
                <a:lnTo>
                  <a:pt x="535" y="775"/>
                </a:lnTo>
                <a:lnTo>
                  <a:pt x="530" y="775"/>
                </a:lnTo>
                <a:lnTo>
                  <a:pt x="527" y="775"/>
                </a:lnTo>
                <a:lnTo>
                  <a:pt x="525" y="774"/>
                </a:lnTo>
                <a:lnTo>
                  <a:pt x="523" y="772"/>
                </a:lnTo>
                <a:lnTo>
                  <a:pt x="521" y="770"/>
                </a:lnTo>
                <a:lnTo>
                  <a:pt x="520" y="768"/>
                </a:lnTo>
                <a:lnTo>
                  <a:pt x="519" y="765"/>
                </a:lnTo>
                <a:lnTo>
                  <a:pt x="519" y="763"/>
                </a:lnTo>
                <a:lnTo>
                  <a:pt x="519" y="760"/>
                </a:lnTo>
                <a:lnTo>
                  <a:pt x="520" y="758"/>
                </a:lnTo>
                <a:lnTo>
                  <a:pt x="521" y="755"/>
                </a:lnTo>
                <a:lnTo>
                  <a:pt x="523" y="753"/>
                </a:lnTo>
                <a:lnTo>
                  <a:pt x="525" y="751"/>
                </a:lnTo>
                <a:lnTo>
                  <a:pt x="527" y="750"/>
                </a:lnTo>
                <a:lnTo>
                  <a:pt x="530" y="749"/>
                </a:lnTo>
                <a:close/>
                <a:moveTo>
                  <a:pt x="495" y="806"/>
                </a:moveTo>
                <a:lnTo>
                  <a:pt x="500" y="806"/>
                </a:lnTo>
                <a:lnTo>
                  <a:pt x="502" y="806"/>
                </a:lnTo>
                <a:lnTo>
                  <a:pt x="504" y="807"/>
                </a:lnTo>
                <a:lnTo>
                  <a:pt x="508" y="811"/>
                </a:lnTo>
                <a:lnTo>
                  <a:pt x="510" y="816"/>
                </a:lnTo>
                <a:lnTo>
                  <a:pt x="511" y="818"/>
                </a:lnTo>
                <a:lnTo>
                  <a:pt x="511" y="821"/>
                </a:lnTo>
                <a:lnTo>
                  <a:pt x="510" y="823"/>
                </a:lnTo>
                <a:lnTo>
                  <a:pt x="509" y="826"/>
                </a:lnTo>
                <a:lnTo>
                  <a:pt x="508" y="827"/>
                </a:lnTo>
                <a:lnTo>
                  <a:pt x="507" y="828"/>
                </a:lnTo>
                <a:lnTo>
                  <a:pt x="505" y="830"/>
                </a:lnTo>
                <a:lnTo>
                  <a:pt x="502" y="831"/>
                </a:lnTo>
                <a:lnTo>
                  <a:pt x="500" y="832"/>
                </a:lnTo>
                <a:lnTo>
                  <a:pt x="495" y="832"/>
                </a:lnTo>
                <a:lnTo>
                  <a:pt x="493" y="831"/>
                </a:lnTo>
                <a:lnTo>
                  <a:pt x="491" y="830"/>
                </a:lnTo>
                <a:lnTo>
                  <a:pt x="487" y="826"/>
                </a:lnTo>
                <a:lnTo>
                  <a:pt x="485" y="822"/>
                </a:lnTo>
                <a:lnTo>
                  <a:pt x="484" y="819"/>
                </a:lnTo>
                <a:lnTo>
                  <a:pt x="484" y="817"/>
                </a:lnTo>
                <a:lnTo>
                  <a:pt x="485" y="814"/>
                </a:lnTo>
                <a:lnTo>
                  <a:pt x="486" y="812"/>
                </a:lnTo>
                <a:lnTo>
                  <a:pt x="487" y="811"/>
                </a:lnTo>
                <a:lnTo>
                  <a:pt x="488" y="810"/>
                </a:lnTo>
                <a:lnTo>
                  <a:pt x="490" y="808"/>
                </a:lnTo>
                <a:lnTo>
                  <a:pt x="493" y="806"/>
                </a:lnTo>
                <a:lnTo>
                  <a:pt x="495" y="806"/>
                </a:lnTo>
                <a:close/>
                <a:moveTo>
                  <a:pt x="462" y="863"/>
                </a:moveTo>
                <a:lnTo>
                  <a:pt x="466" y="863"/>
                </a:lnTo>
                <a:lnTo>
                  <a:pt x="468" y="863"/>
                </a:lnTo>
                <a:lnTo>
                  <a:pt x="471" y="864"/>
                </a:lnTo>
                <a:lnTo>
                  <a:pt x="473" y="866"/>
                </a:lnTo>
                <a:lnTo>
                  <a:pt x="475" y="868"/>
                </a:lnTo>
                <a:lnTo>
                  <a:pt x="476" y="870"/>
                </a:lnTo>
                <a:lnTo>
                  <a:pt x="477" y="872"/>
                </a:lnTo>
                <a:lnTo>
                  <a:pt x="477" y="875"/>
                </a:lnTo>
                <a:lnTo>
                  <a:pt x="477" y="877"/>
                </a:lnTo>
                <a:lnTo>
                  <a:pt x="477" y="880"/>
                </a:lnTo>
                <a:lnTo>
                  <a:pt x="476" y="882"/>
                </a:lnTo>
                <a:lnTo>
                  <a:pt x="474" y="885"/>
                </a:lnTo>
                <a:lnTo>
                  <a:pt x="472" y="887"/>
                </a:lnTo>
                <a:lnTo>
                  <a:pt x="469" y="888"/>
                </a:lnTo>
                <a:lnTo>
                  <a:pt x="466" y="889"/>
                </a:lnTo>
                <a:lnTo>
                  <a:pt x="462" y="889"/>
                </a:lnTo>
                <a:lnTo>
                  <a:pt x="460" y="888"/>
                </a:lnTo>
                <a:lnTo>
                  <a:pt x="458" y="887"/>
                </a:lnTo>
                <a:lnTo>
                  <a:pt x="455" y="886"/>
                </a:lnTo>
                <a:lnTo>
                  <a:pt x="454" y="884"/>
                </a:lnTo>
                <a:lnTo>
                  <a:pt x="452" y="882"/>
                </a:lnTo>
                <a:lnTo>
                  <a:pt x="451" y="879"/>
                </a:lnTo>
                <a:lnTo>
                  <a:pt x="451" y="877"/>
                </a:lnTo>
                <a:lnTo>
                  <a:pt x="451" y="874"/>
                </a:lnTo>
                <a:lnTo>
                  <a:pt x="451" y="872"/>
                </a:lnTo>
                <a:lnTo>
                  <a:pt x="453" y="869"/>
                </a:lnTo>
                <a:lnTo>
                  <a:pt x="454" y="867"/>
                </a:lnTo>
                <a:lnTo>
                  <a:pt x="457" y="865"/>
                </a:lnTo>
                <a:lnTo>
                  <a:pt x="459" y="864"/>
                </a:lnTo>
                <a:lnTo>
                  <a:pt x="462" y="863"/>
                </a:lnTo>
                <a:close/>
                <a:moveTo>
                  <a:pt x="430" y="921"/>
                </a:moveTo>
                <a:lnTo>
                  <a:pt x="434" y="921"/>
                </a:lnTo>
                <a:lnTo>
                  <a:pt x="436" y="921"/>
                </a:lnTo>
                <a:lnTo>
                  <a:pt x="438" y="922"/>
                </a:lnTo>
                <a:lnTo>
                  <a:pt x="440" y="923"/>
                </a:lnTo>
                <a:lnTo>
                  <a:pt x="442" y="925"/>
                </a:lnTo>
                <a:lnTo>
                  <a:pt x="444" y="927"/>
                </a:lnTo>
                <a:lnTo>
                  <a:pt x="445" y="930"/>
                </a:lnTo>
                <a:lnTo>
                  <a:pt x="445" y="932"/>
                </a:lnTo>
                <a:lnTo>
                  <a:pt x="445" y="935"/>
                </a:lnTo>
                <a:lnTo>
                  <a:pt x="445" y="937"/>
                </a:lnTo>
                <a:lnTo>
                  <a:pt x="444" y="940"/>
                </a:lnTo>
                <a:lnTo>
                  <a:pt x="442" y="942"/>
                </a:lnTo>
                <a:lnTo>
                  <a:pt x="440" y="944"/>
                </a:lnTo>
                <a:lnTo>
                  <a:pt x="437" y="946"/>
                </a:lnTo>
                <a:lnTo>
                  <a:pt x="434" y="947"/>
                </a:lnTo>
                <a:lnTo>
                  <a:pt x="430" y="947"/>
                </a:lnTo>
                <a:lnTo>
                  <a:pt x="428" y="946"/>
                </a:lnTo>
                <a:lnTo>
                  <a:pt x="426" y="945"/>
                </a:lnTo>
                <a:lnTo>
                  <a:pt x="423" y="944"/>
                </a:lnTo>
                <a:lnTo>
                  <a:pt x="422" y="942"/>
                </a:lnTo>
                <a:lnTo>
                  <a:pt x="420" y="940"/>
                </a:lnTo>
                <a:lnTo>
                  <a:pt x="419" y="937"/>
                </a:lnTo>
                <a:lnTo>
                  <a:pt x="419" y="935"/>
                </a:lnTo>
                <a:lnTo>
                  <a:pt x="419" y="932"/>
                </a:lnTo>
                <a:lnTo>
                  <a:pt x="419" y="930"/>
                </a:lnTo>
                <a:lnTo>
                  <a:pt x="420" y="927"/>
                </a:lnTo>
                <a:lnTo>
                  <a:pt x="422" y="925"/>
                </a:lnTo>
                <a:lnTo>
                  <a:pt x="424" y="923"/>
                </a:lnTo>
                <a:lnTo>
                  <a:pt x="427" y="921"/>
                </a:lnTo>
                <a:lnTo>
                  <a:pt x="430" y="921"/>
                </a:lnTo>
                <a:close/>
                <a:moveTo>
                  <a:pt x="399" y="979"/>
                </a:moveTo>
                <a:lnTo>
                  <a:pt x="403" y="979"/>
                </a:lnTo>
                <a:lnTo>
                  <a:pt x="407" y="980"/>
                </a:lnTo>
                <a:lnTo>
                  <a:pt x="409" y="982"/>
                </a:lnTo>
                <a:lnTo>
                  <a:pt x="411" y="984"/>
                </a:lnTo>
                <a:lnTo>
                  <a:pt x="413" y="986"/>
                </a:lnTo>
                <a:lnTo>
                  <a:pt x="414" y="988"/>
                </a:lnTo>
                <a:lnTo>
                  <a:pt x="414" y="991"/>
                </a:lnTo>
                <a:lnTo>
                  <a:pt x="414" y="993"/>
                </a:lnTo>
                <a:lnTo>
                  <a:pt x="414" y="996"/>
                </a:lnTo>
                <a:lnTo>
                  <a:pt x="413" y="998"/>
                </a:lnTo>
                <a:lnTo>
                  <a:pt x="411" y="1001"/>
                </a:lnTo>
                <a:lnTo>
                  <a:pt x="409" y="1003"/>
                </a:lnTo>
                <a:lnTo>
                  <a:pt x="406" y="1004"/>
                </a:lnTo>
                <a:lnTo>
                  <a:pt x="404" y="1005"/>
                </a:lnTo>
                <a:lnTo>
                  <a:pt x="399" y="1005"/>
                </a:lnTo>
                <a:lnTo>
                  <a:pt x="395" y="1004"/>
                </a:lnTo>
                <a:lnTo>
                  <a:pt x="393" y="1003"/>
                </a:lnTo>
                <a:lnTo>
                  <a:pt x="391" y="1001"/>
                </a:lnTo>
                <a:lnTo>
                  <a:pt x="390" y="999"/>
                </a:lnTo>
                <a:lnTo>
                  <a:pt x="389" y="996"/>
                </a:lnTo>
                <a:lnTo>
                  <a:pt x="388" y="994"/>
                </a:lnTo>
                <a:lnTo>
                  <a:pt x="388" y="991"/>
                </a:lnTo>
                <a:lnTo>
                  <a:pt x="388" y="989"/>
                </a:lnTo>
                <a:lnTo>
                  <a:pt x="389" y="986"/>
                </a:lnTo>
                <a:lnTo>
                  <a:pt x="391" y="984"/>
                </a:lnTo>
                <a:lnTo>
                  <a:pt x="393" y="981"/>
                </a:lnTo>
                <a:lnTo>
                  <a:pt x="396" y="980"/>
                </a:lnTo>
                <a:lnTo>
                  <a:pt x="399" y="979"/>
                </a:lnTo>
                <a:close/>
                <a:moveTo>
                  <a:pt x="369" y="1038"/>
                </a:moveTo>
                <a:lnTo>
                  <a:pt x="373" y="1038"/>
                </a:lnTo>
                <a:lnTo>
                  <a:pt x="376" y="1039"/>
                </a:lnTo>
                <a:lnTo>
                  <a:pt x="378" y="1040"/>
                </a:lnTo>
                <a:lnTo>
                  <a:pt x="380" y="1041"/>
                </a:lnTo>
                <a:lnTo>
                  <a:pt x="382" y="1043"/>
                </a:lnTo>
                <a:lnTo>
                  <a:pt x="383" y="1045"/>
                </a:lnTo>
                <a:lnTo>
                  <a:pt x="384" y="1047"/>
                </a:lnTo>
                <a:lnTo>
                  <a:pt x="385" y="1050"/>
                </a:lnTo>
                <a:lnTo>
                  <a:pt x="385" y="1052"/>
                </a:lnTo>
                <a:lnTo>
                  <a:pt x="385" y="1055"/>
                </a:lnTo>
                <a:lnTo>
                  <a:pt x="384" y="1057"/>
                </a:lnTo>
                <a:lnTo>
                  <a:pt x="382" y="1060"/>
                </a:lnTo>
                <a:lnTo>
                  <a:pt x="380" y="1062"/>
                </a:lnTo>
                <a:lnTo>
                  <a:pt x="377" y="1064"/>
                </a:lnTo>
                <a:lnTo>
                  <a:pt x="374" y="1064"/>
                </a:lnTo>
                <a:lnTo>
                  <a:pt x="370" y="1065"/>
                </a:lnTo>
                <a:lnTo>
                  <a:pt x="368" y="1064"/>
                </a:lnTo>
                <a:lnTo>
                  <a:pt x="366" y="1063"/>
                </a:lnTo>
                <a:lnTo>
                  <a:pt x="364" y="1062"/>
                </a:lnTo>
                <a:lnTo>
                  <a:pt x="362" y="1060"/>
                </a:lnTo>
                <a:lnTo>
                  <a:pt x="360" y="1058"/>
                </a:lnTo>
                <a:lnTo>
                  <a:pt x="359" y="1056"/>
                </a:lnTo>
                <a:lnTo>
                  <a:pt x="359" y="1053"/>
                </a:lnTo>
                <a:lnTo>
                  <a:pt x="359" y="1051"/>
                </a:lnTo>
                <a:lnTo>
                  <a:pt x="359" y="1048"/>
                </a:lnTo>
                <a:lnTo>
                  <a:pt x="360" y="1046"/>
                </a:lnTo>
                <a:lnTo>
                  <a:pt x="362" y="1043"/>
                </a:lnTo>
                <a:lnTo>
                  <a:pt x="364" y="1041"/>
                </a:lnTo>
                <a:lnTo>
                  <a:pt x="367" y="1039"/>
                </a:lnTo>
                <a:lnTo>
                  <a:pt x="369" y="1038"/>
                </a:lnTo>
                <a:close/>
                <a:moveTo>
                  <a:pt x="341" y="1098"/>
                </a:moveTo>
                <a:lnTo>
                  <a:pt x="345" y="1098"/>
                </a:lnTo>
                <a:lnTo>
                  <a:pt x="349" y="1099"/>
                </a:lnTo>
                <a:lnTo>
                  <a:pt x="351" y="1101"/>
                </a:lnTo>
                <a:lnTo>
                  <a:pt x="353" y="1102"/>
                </a:lnTo>
                <a:lnTo>
                  <a:pt x="355" y="1104"/>
                </a:lnTo>
                <a:lnTo>
                  <a:pt x="356" y="1107"/>
                </a:lnTo>
                <a:lnTo>
                  <a:pt x="357" y="1109"/>
                </a:lnTo>
                <a:lnTo>
                  <a:pt x="357" y="1112"/>
                </a:lnTo>
                <a:lnTo>
                  <a:pt x="356" y="1114"/>
                </a:lnTo>
                <a:lnTo>
                  <a:pt x="356" y="1117"/>
                </a:lnTo>
                <a:lnTo>
                  <a:pt x="354" y="1120"/>
                </a:lnTo>
                <a:lnTo>
                  <a:pt x="351" y="1122"/>
                </a:lnTo>
                <a:lnTo>
                  <a:pt x="350" y="1123"/>
                </a:lnTo>
                <a:lnTo>
                  <a:pt x="349" y="1123"/>
                </a:lnTo>
                <a:lnTo>
                  <a:pt x="346" y="1124"/>
                </a:lnTo>
                <a:lnTo>
                  <a:pt x="342" y="1124"/>
                </a:lnTo>
                <a:lnTo>
                  <a:pt x="338" y="1123"/>
                </a:lnTo>
                <a:lnTo>
                  <a:pt x="336" y="1122"/>
                </a:lnTo>
                <a:lnTo>
                  <a:pt x="334" y="1120"/>
                </a:lnTo>
                <a:lnTo>
                  <a:pt x="332" y="1118"/>
                </a:lnTo>
                <a:lnTo>
                  <a:pt x="331" y="1116"/>
                </a:lnTo>
                <a:lnTo>
                  <a:pt x="330" y="1113"/>
                </a:lnTo>
                <a:lnTo>
                  <a:pt x="330" y="1111"/>
                </a:lnTo>
                <a:lnTo>
                  <a:pt x="331" y="1108"/>
                </a:lnTo>
                <a:lnTo>
                  <a:pt x="331" y="1106"/>
                </a:lnTo>
                <a:lnTo>
                  <a:pt x="333" y="1103"/>
                </a:lnTo>
                <a:lnTo>
                  <a:pt x="335" y="1101"/>
                </a:lnTo>
                <a:lnTo>
                  <a:pt x="337" y="1100"/>
                </a:lnTo>
                <a:lnTo>
                  <a:pt x="338" y="1099"/>
                </a:lnTo>
                <a:lnTo>
                  <a:pt x="341" y="1098"/>
                </a:lnTo>
                <a:close/>
                <a:moveTo>
                  <a:pt x="314" y="1160"/>
                </a:moveTo>
                <a:lnTo>
                  <a:pt x="318" y="1159"/>
                </a:lnTo>
                <a:lnTo>
                  <a:pt x="322" y="1160"/>
                </a:lnTo>
                <a:lnTo>
                  <a:pt x="324" y="1162"/>
                </a:lnTo>
                <a:lnTo>
                  <a:pt x="326" y="1164"/>
                </a:lnTo>
                <a:lnTo>
                  <a:pt x="328" y="1166"/>
                </a:lnTo>
                <a:lnTo>
                  <a:pt x="329" y="1168"/>
                </a:lnTo>
                <a:lnTo>
                  <a:pt x="329" y="1170"/>
                </a:lnTo>
                <a:lnTo>
                  <a:pt x="330" y="1173"/>
                </a:lnTo>
                <a:lnTo>
                  <a:pt x="329" y="1175"/>
                </a:lnTo>
                <a:lnTo>
                  <a:pt x="329" y="1178"/>
                </a:lnTo>
                <a:lnTo>
                  <a:pt x="327" y="1181"/>
                </a:lnTo>
                <a:lnTo>
                  <a:pt x="325" y="1183"/>
                </a:lnTo>
                <a:lnTo>
                  <a:pt x="322" y="1185"/>
                </a:lnTo>
                <a:lnTo>
                  <a:pt x="319" y="1186"/>
                </a:lnTo>
                <a:lnTo>
                  <a:pt x="315" y="1186"/>
                </a:lnTo>
                <a:lnTo>
                  <a:pt x="311" y="1185"/>
                </a:lnTo>
                <a:lnTo>
                  <a:pt x="309" y="1183"/>
                </a:lnTo>
                <a:lnTo>
                  <a:pt x="307" y="1182"/>
                </a:lnTo>
                <a:lnTo>
                  <a:pt x="305" y="1180"/>
                </a:lnTo>
                <a:lnTo>
                  <a:pt x="304" y="1177"/>
                </a:lnTo>
                <a:lnTo>
                  <a:pt x="303" y="1175"/>
                </a:lnTo>
                <a:lnTo>
                  <a:pt x="303" y="1172"/>
                </a:lnTo>
                <a:lnTo>
                  <a:pt x="303" y="1170"/>
                </a:lnTo>
                <a:lnTo>
                  <a:pt x="304" y="1167"/>
                </a:lnTo>
                <a:lnTo>
                  <a:pt x="306" y="1164"/>
                </a:lnTo>
                <a:lnTo>
                  <a:pt x="308" y="1162"/>
                </a:lnTo>
                <a:lnTo>
                  <a:pt x="311" y="1161"/>
                </a:lnTo>
                <a:lnTo>
                  <a:pt x="314" y="1160"/>
                </a:lnTo>
                <a:close/>
                <a:moveTo>
                  <a:pt x="288" y="1220"/>
                </a:moveTo>
                <a:lnTo>
                  <a:pt x="292" y="1220"/>
                </a:lnTo>
                <a:lnTo>
                  <a:pt x="296" y="1221"/>
                </a:lnTo>
                <a:lnTo>
                  <a:pt x="298" y="1223"/>
                </a:lnTo>
                <a:lnTo>
                  <a:pt x="300" y="1224"/>
                </a:lnTo>
                <a:lnTo>
                  <a:pt x="302" y="1226"/>
                </a:lnTo>
                <a:lnTo>
                  <a:pt x="303" y="1228"/>
                </a:lnTo>
                <a:lnTo>
                  <a:pt x="304" y="1231"/>
                </a:lnTo>
                <a:lnTo>
                  <a:pt x="304" y="1233"/>
                </a:lnTo>
                <a:lnTo>
                  <a:pt x="304" y="1236"/>
                </a:lnTo>
                <a:lnTo>
                  <a:pt x="303" y="1239"/>
                </a:lnTo>
                <a:lnTo>
                  <a:pt x="301" y="1242"/>
                </a:lnTo>
                <a:lnTo>
                  <a:pt x="299" y="1244"/>
                </a:lnTo>
                <a:lnTo>
                  <a:pt x="296" y="1246"/>
                </a:lnTo>
                <a:lnTo>
                  <a:pt x="293" y="1247"/>
                </a:lnTo>
                <a:lnTo>
                  <a:pt x="289" y="1247"/>
                </a:lnTo>
                <a:lnTo>
                  <a:pt x="286" y="1246"/>
                </a:lnTo>
                <a:lnTo>
                  <a:pt x="283" y="1244"/>
                </a:lnTo>
                <a:lnTo>
                  <a:pt x="281" y="1243"/>
                </a:lnTo>
                <a:lnTo>
                  <a:pt x="280" y="1241"/>
                </a:lnTo>
                <a:lnTo>
                  <a:pt x="278" y="1239"/>
                </a:lnTo>
                <a:lnTo>
                  <a:pt x="278" y="1236"/>
                </a:lnTo>
                <a:lnTo>
                  <a:pt x="277" y="1234"/>
                </a:lnTo>
                <a:lnTo>
                  <a:pt x="278" y="1231"/>
                </a:lnTo>
                <a:lnTo>
                  <a:pt x="278" y="1228"/>
                </a:lnTo>
                <a:lnTo>
                  <a:pt x="280" y="1225"/>
                </a:lnTo>
                <a:lnTo>
                  <a:pt x="282" y="1223"/>
                </a:lnTo>
                <a:lnTo>
                  <a:pt x="285" y="1221"/>
                </a:lnTo>
                <a:lnTo>
                  <a:pt x="288" y="1220"/>
                </a:lnTo>
                <a:close/>
                <a:moveTo>
                  <a:pt x="264" y="1282"/>
                </a:moveTo>
                <a:lnTo>
                  <a:pt x="267" y="1282"/>
                </a:lnTo>
                <a:lnTo>
                  <a:pt x="271" y="1283"/>
                </a:lnTo>
                <a:lnTo>
                  <a:pt x="275" y="1285"/>
                </a:lnTo>
                <a:lnTo>
                  <a:pt x="277" y="1287"/>
                </a:lnTo>
                <a:lnTo>
                  <a:pt x="278" y="1290"/>
                </a:lnTo>
                <a:lnTo>
                  <a:pt x="279" y="1292"/>
                </a:lnTo>
                <a:lnTo>
                  <a:pt x="279" y="1295"/>
                </a:lnTo>
                <a:lnTo>
                  <a:pt x="279" y="1297"/>
                </a:lnTo>
                <a:lnTo>
                  <a:pt x="278" y="1300"/>
                </a:lnTo>
                <a:lnTo>
                  <a:pt x="276" y="1303"/>
                </a:lnTo>
                <a:lnTo>
                  <a:pt x="274" y="1305"/>
                </a:lnTo>
                <a:lnTo>
                  <a:pt x="271" y="1307"/>
                </a:lnTo>
                <a:lnTo>
                  <a:pt x="268" y="1308"/>
                </a:lnTo>
                <a:lnTo>
                  <a:pt x="265" y="1308"/>
                </a:lnTo>
                <a:lnTo>
                  <a:pt x="261" y="1307"/>
                </a:lnTo>
                <a:lnTo>
                  <a:pt x="257" y="1304"/>
                </a:lnTo>
                <a:lnTo>
                  <a:pt x="255" y="1302"/>
                </a:lnTo>
                <a:lnTo>
                  <a:pt x="254" y="1300"/>
                </a:lnTo>
                <a:lnTo>
                  <a:pt x="253" y="1298"/>
                </a:lnTo>
                <a:lnTo>
                  <a:pt x="253" y="1295"/>
                </a:lnTo>
                <a:lnTo>
                  <a:pt x="253" y="1293"/>
                </a:lnTo>
                <a:lnTo>
                  <a:pt x="254" y="1290"/>
                </a:lnTo>
                <a:lnTo>
                  <a:pt x="255" y="1287"/>
                </a:lnTo>
                <a:lnTo>
                  <a:pt x="258" y="1285"/>
                </a:lnTo>
                <a:lnTo>
                  <a:pt x="260" y="1283"/>
                </a:lnTo>
                <a:lnTo>
                  <a:pt x="264" y="1282"/>
                </a:lnTo>
                <a:close/>
                <a:moveTo>
                  <a:pt x="240" y="1344"/>
                </a:moveTo>
                <a:lnTo>
                  <a:pt x="243" y="1343"/>
                </a:lnTo>
                <a:lnTo>
                  <a:pt x="247" y="1344"/>
                </a:lnTo>
                <a:lnTo>
                  <a:pt x="249" y="1345"/>
                </a:lnTo>
                <a:lnTo>
                  <a:pt x="251" y="1347"/>
                </a:lnTo>
                <a:lnTo>
                  <a:pt x="253" y="1349"/>
                </a:lnTo>
                <a:lnTo>
                  <a:pt x="254" y="1351"/>
                </a:lnTo>
                <a:lnTo>
                  <a:pt x="255" y="1352"/>
                </a:lnTo>
                <a:lnTo>
                  <a:pt x="255" y="1354"/>
                </a:lnTo>
                <a:lnTo>
                  <a:pt x="255" y="1356"/>
                </a:lnTo>
                <a:lnTo>
                  <a:pt x="255" y="1361"/>
                </a:lnTo>
                <a:lnTo>
                  <a:pt x="253" y="1364"/>
                </a:lnTo>
                <a:lnTo>
                  <a:pt x="251" y="1367"/>
                </a:lnTo>
                <a:lnTo>
                  <a:pt x="248" y="1369"/>
                </a:lnTo>
                <a:lnTo>
                  <a:pt x="245" y="1370"/>
                </a:lnTo>
                <a:lnTo>
                  <a:pt x="241" y="1370"/>
                </a:lnTo>
                <a:lnTo>
                  <a:pt x="238" y="1369"/>
                </a:lnTo>
                <a:lnTo>
                  <a:pt x="235" y="1368"/>
                </a:lnTo>
                <a:lnTo>
                  <a:pt x="233" y="1366"/>
                </a:lnTo>
                <a:lnTo>
                  <a:pt x="231" y="1364"/>
                </a:lnTo>
                <a:lnTo>
                  <a:pt x="230" y="1362"/>
                </a:lnTo>
                <a:lnTo>
                  <a:pt x="230" y="1361"/>
                </a:lnTo>
                <a:lnTo>
                  <a:pt x="229" y="1360"/>
                </a:lnTo>
                <a:lnTo>
                  <a:pt x="229" y="1357"/>
                </a:lnTo>
                <a:lnTo>
                  <a:pt x="230" y="1352"/>
                </a:lnTo>
                <a:lnTo>
                  <a:pt x="231" y="1349"/>
                </a:lnTo>
                <a:lnTo>
                  <a:pt x="234" y="1346"/>
                </a:lnTo>
                <a:lnTo>
                  <a:pt x="237" y="1345"/>
                </a:lnTo>
                <a:lnTo>
                  <a:pt x="240" y="1344"/>
                </a:lnTo>
                <a:close/>
                <a:moveTo>
                  <a:pt x="217" y="1406"/>
                </a:moveTo>
                <a:lnTo>
                  <a:pt x="221" y="1406"/>
                </a:lnTo>
                <a:lnTo>
                  <a:pt x="224" y="1406"/>
                </a:lnTo>
                <a:lnTo>
                  <a:pt x="226" y="1408"/>
                </a:lnTo>
                <a:lnTo>
                  <a:pt x="229" y="1409"/>
                </a:lnTo>
                <a:lnTo>
                  <a:pt x="230" y="1411"/>
                </a:lnTo>
                <a:lnTo>
                  <a:pt x="232" y="1413"/>
                </a:lnTo>
                <a:lnTo>
                  <a:pt x="232" y="1414"/>
                </a:lnTo>
                <a:lnTo>
                  <a:pt x="232" y="1416"/>
                </a:lnTo>
                <a:lnTo>
                  <a:pt x="233" y="1418"/>
                </a:lnTo>
                <a:lnTo>
                  <a:pt x="232" y="1423"/>
                </a:lnTo>
                <a:lnTo>
                  <a:pt x="230" y="1426"/>
                </a:lnTo>
                <a:lnTo>
                  <a:pt x="228" y="1429"/>
                </a:lnTo>
                <a:lnTo>
                  <a:pt x="225" y="1431"/>
                </a:lnTo>
                <a:lnTo>
                  <a:pt x="222" y="1432"/>
                </a:lnTo>
                <a:lnTo>
                  <a:pt x="219" y="1432"/>
                </a:lnTo>
                <a:lnTo>
                  <a:pt x="215" y="1431"/>
                </a:lnTo>
                <a:lnTo>
                  <a:pt x="213" y="1430"/>
                </a:lnTo>
                <a:lnTo>
                  <a:pt x="211" y="1429"/>
                </a:lnTo>
                <a:lnTo>
                  <a:pt x="209" y="1427"/>
                </a:lnTo>
                <a:lnTo>
                  <a:pt x="208" y="1425"/>
                </a:lnTo>
                <a:lnTo>
                  <a:pt x="207" y="1423"/>
                </a:lnTo>
                <a:lnTo>
                  <a:pt x="207" y="1422"/>
                </a:lnTo>
                <a:lnTo>
                  <a:pt x="206" y="1420"/>
                </a:lnTo>
                <a:lnTo>
                  <a:pt x="207" y="1414"/>
                </a:lnTo>
                <a:lnTo>
                  <a:pt x="209" y="1411"/>
                </a:lnTo>
                <a:lnTo>
                  <a:pt x="211" y="1409"/>
                </a:lnTo>
                <a:lnTo>
                  <a:pt x="214" y="1407"/>
                </a:lnTo>
                <a:lnTo>
                  <a:pt x="217" y="1406"/>
                </a:lnTo>
                <a:close/>
                <a:moveTo>
                  <a:pt x="196" y="1468"/>
                </a:moveTo>
                <a:lnTo>
                  <a:pt x="199" y="1468"/>
                </a:lnTo>
                <a:lnTo>
                  <a:pt x="202" y="1469"/>
                </a:lnTo>
                <a:lnTo>
                  <a:pt x="205" y="1470"/>
                </a:lnTo>
                <a:lnTo>
                  <a:pt x="207" y="1472"/>
                </a:lnTo>
                <a:lnTo>
                  <a:pt x="209" y="1473"/>
                </a:lnTo>
                <a:lnTo>
                  <a:pt x="210" y="1476"/>
                </a:lnTo>
                <a:lnTo>
                  <a:pt x="211" y="1478"/>
                </a:lnTo>
                <a:lnTo>
                  <a:pt x="211" y="1480"/>
                </a:lnTo>
                <a:lnTo>
                  <a:pt x="211" y="1483"/>
                </a:lnTo>
                <a:lnTo>
                  <a:pt x="211" y="1486"/>
                </a:lnTo>
                <a:lnTo>
                  <a:pt x="209" y="1489"/>
                </a:lnTo>
                <a:lnTo>
                  <a:pt x="207" y="1492"/>
                </a:lnTo>
                <a:lnTo>
                  <a:pt x="204" y="1493"/>
                </a:lnTo>
                <a:lnTo>
                  <a:pt x="200" y="1494"/>
                </a:lnTo>
                <a:lnTo>
                  <a:pt x="197" y="1495"/>
                </a:lnTo>
                <a:lnTo>
                  <a:pt x="194" y="1494"/>
                </a:lnTo>
                <a:lnTo>
                  <a:pt x="192" y="1493"/>
                </a:lnTo>
                <a:lnTo>
                  <a:pt x="189" y="1491"/>
                </a:lnTo>
                <a:lnTo>
                  <a:pt x="188" y="1490"/>
                </a:lnTo>
                <a:lnTo>
                  <a:pt x="186" y="1487"/>
                </a:lnTo>
                <a:lnTo>
                  <a:pt x="185" y="1485"/>
                </a:lnTo>
                <a:lnTo>
                  <a:pt x="185" y="1482"/>
                </a:lnTo>
                <a:lnTo>
                  <a:pt x="185" y="1480"/>
                </a:lnTo>
                <a:lnTo>
                  <a:pt x="186" y="1477"/>
                </a:lnTo>
                <a:lnTo>
                  <a:pt x="187" y="1474"/>
                </a:lnTo>
                <a:lnTo>
                  <a:pt x="190" y="1471"/>
                </a:lnTo>
                <a:lnTo>
                  <a:pt x="193" y="1469"/>
                </a:lnTo>
                <a:lnTo>
                  <a:pt x="196" y="1468"/>
                </a:lnTo>
                <a:close/>
                <a:moveTo>
                  <a:pt x="175" y="1531"/>
                </a:moveTo>
                <a:lnTo>
                  <a:pt x="179" y="1531"/>
                </a:lnTo>
                <a:lnTo>
                  <a:pt x="182" y="1532"/>
                </a:lnTo>
                <a:lnTo>
                  <a:pt x="184" y="1533"/>
                </a:lnTo>
                <a:lnTo>
                  <a:pt x="186" y="1534"/>
                </a:lnTo>
                <a:lnTo>
                  <a:pt x="188" y="1536"/>
                </a:lnTo>
                <a:lnTo>
                  <a:pt x="189" y="1538"/>
                </a:lnTo>
                <a:lnTo>
                  <a:pt x="191" y="1543"/>
                </a:lnTo>
                <a:lnTo>
                  <a:pt x="191" y="1546"/>
                </a:lnTo>
                <a:lnTo>
                  <a:pt x="190" y="1548"/>
                </a:lnTo>
                <a:lnTo>
                  <a:pt x="189" y="1552"/>
                </a:lnTo>
                <a:lnTo>
                  <a:pt x="186" y="1554"/>
                </a:lnTo>
                <a:lnTo>
                  <a:pt x="183" y="1556"/>
                </a:lnTo>
                <a:lnTo>
                  <a:pt x="180" y="1557"/>
                </a:lnTo>
                <a:lnTo>
                  <a:pt x="177" y="1558"/>
                </a:lnTo>
                <a:lnTo>
                  <a:pt x="174" y="1557"/>
                </a:lnTo>
                <a:lnTo>
                  <a:pt x="171" y="1556"/>
                </a:lnTo>
                <a:lnTo>
                  <a:pt x="169" y="1554"/>
                </a:lnTo>
                <a:lnTo>
                  <a:pt x="167" y="1553"/>
                </a:lnTo>
                <a:lnTo>
                  <a:pt x="166" y="1550"/>
                </a:lnTo>
                <a:lnTo>
                  <a:pt x="165" y="1546"/>
                </a:lnTo>
                <a:lnTo>
                  <a:pt x="165" y="1543"/>
                </a:lnTo>
                <a:lnTo>
                  <a:pt x="165" y="1540"/>
                </a:lnTo>
                <a:lnTo>
                  <a:pt x="167" y="1537"/>
                </a:lnTo>
                <a:lnTo>
                  <a:pt x="169" y="1534"/>
                </a:lnTo>
                <a:lnTo>
                  <a:pt x="172" y="1532"/>
                </a:lnTo>
                <a:lnTo>
                  <a:pt x="175" y="1531"/>
                </a:lnTo>
                <a:close/>
                <a:moveTo>
                  <a:pt x="156" y="1595"/>
                </a:moveTo>
                <a:lnTo>
                  <a:pt x="159" y="1594"/>
                </a:lnTo>
                <a:lnTo>
                  <a:pt x="162" y="1595"/>
                </a:lnTo>
                <a:lnTo>
                  <a:pt x="164" y="1596"/>
                </a:lnTo>
                <a:lnTo>
                  <a:pt x="167" y="1597"/>
                </a:lnTo>
                <a:lnTo>
                  <a:pt x="168" y="1599"/>
                </a:lnTo>
                <a:lnTo>
                  <a:pt x="170" y="1601"/>
                </a:lnTo>
                <a:lnTo>
                  <a:pt x="171" y="1606"/>
                </a:lnTo>
                <a:lnTo>
                  <a:pt x="171" y="1609"/>
                </a:lnTo>
                <a:lnTo>
                  <a:pt x="171" y="1611"/>
                </a:lnTo>
                <a:lnTo>
                  <a:pt x="169" y="1615"/>
                </a:lnTo>
                <a:lnTo>
                  <a:pt x="167" y="1618"/>
                </a:lnTo>
                <a:lnTo>
                  <a:pt x="164" y="1620"/>
                </a:lnTo>
                <a:lnTo>
                  <a:pt x="162" y="1620"/>
                </a:lnTo>
                <a:lnTo>
                  <a:pt x="161" y="1621"/>
                </a:lnTo>
                <a:lnTo>
                  <a:pt x="157" y="1621"/>
                </a:lnTo>
                <a:lnTo>
                  <a:pt x="154" y="1620"/>
                </a:lnTo>
                <a:lnTo>
                  <a:pt x="152" y="1619"/>
                </a:lnTo>
                <a:lnTo>
                  <a:pt x="150" y="1618"/>
                </a:lnTo>
                <a:lnTo>
                  <a:pt x="148" y="1616"/>
                </a:lnTo>
                <a:lnTo>
                  <a:pt x="147" y="1614"/>
                </a:lnTo>
                <a:lnTo>
                  <a:pt x="145" y="1609"/>
                </a:lnTo>
                <a:lnTo>
                  <a:pt x="145" y="1606"/>
                </a:lnTo>
                <a:lnTo>
                  <a:pt x="146" y="1604"/>
                </a:lnTo>
                <a:lnTo>
                  <a:pt x="147" y="1600"/>
                </a:lnTo>
                <a:lnTo>
                  <a:pt x="150" y="1598"/>
                </a:lnTo>
                <a:lnTo>
                  <a:pt x="153" y="1596"/>
                </a:lnTo>
                <a:lnTo>
                  <a:pt x="154" y="1595"/>
                </a:lnTo>
                <a:lnTo>
                  <a:pt x="156" y="1595"/>
                </a:lnTo>
                <a:close/>
                <a:moveTo>
                  <a:pt x="137" y="1658"/>
                </a:moveTo>
                <a:lnTo>
                  <a:pt x="140" y="1658"/>
                </a:lnTo>
                <a:lnTo>
                  <a:pt x="143" y="1658"/>
                </a:lnTo>
                <a:lnTo>
                  <a:pt x="146" y="1659"/>
                </a:lnTo>
                <a:lnTo>
                  <a:pt x="148" y="1661"/>
                </a:lnTo>
                <a:lnTo>
                  <a:pt x="150" y="1663"/>
                </a:lnTo>
                <a:lnTo>
                  <a:pt x="151" y="1665"/>
                </a:lnTo>
                <a:lnTo>
                  <a:pt x="152" y="1667"/>
                </a:lnTo>
                <a:lnTo>
                  <a:pt x="153" y="1669"/>
                </a:lnTo>
                <a:lnTo>
                  <a:pt x="153" y="1672"/>
                </a:lnTo>
                <a:lnTo>
                  <a:pt x="152" y="1675"/>
                </a:lnTo>
                <a:lnTo>
                  <a:pt x="151" y="1678"/>
                </a:lnTo>
                <a:lnTo>
                  <a:pt x="149" y="1681"/>
                </a:lnTo>
                <a:lnTo>
                  <a:pt x="145" y="1683"/>
                </a:lnTo>
                <a:lnTo>
                  <a:pt x="144" y="1684"/>
                </a:lnTo>
                <a:lnTo>
                  <a:pt x="142" y="1684"/>
                </a:lnTo>
                <a:lnTo>
                  <a:pt x="139" y="1684"/>
                </a:lnTo>
                <a:lnTo>
                  <a:pt x="136" y="1684"/>
                </a:lnTo>
                <a:lnTo>
                  <a:pt x="134" y="1683"/>
                </a:lnTo>
                <a:lnTo>
                  <a:pt x="131" y="1681"/>
                </a:lnTo>
                <a:lnTo>
                  <a:pt x="130" y="1680"/>
                </a:lnTo>
                <a:lnTo>
                  <a:pt x="128" y="1678"/>
                </a:lnTo>
                <a:lnTo>
                  <a:pt x="127" y="1675"/>
                </a:lnTo>
                <a:lnTo>
                  <a:pt x="127" y="1673"/>
                </a:lnTo>
                <a:lnTo>
                  <a:pt x="127" y="1670"/>
                </a:lnTo>
                <a:lnTo>
                  <a:pt x="127" y="1667"/>
                </a:lnTo>
                <a:lnTo>
                  <a:pt x="129" y="1664"/>
                </a:lnTo>
                <a:lnTo>
                  <a:pt x="131" y="1661"/>
                </a:lnTo>
                <a:lnTo>
                  <a:pt x="134" y="1659"/>
                </a:lnTo>
                <a:lnTo>
                  <a:pt x="136" y="1659"/>
                </a:lnTo>
                <a:lnTo>
                  <a:pt x="137" y="1658"/>
                </a:lnTo>
                <a:close/>
                <a:moveTo>
                  <a:pt x="120" y="1722"/>
                </a:moveTo>
                <a:lnTo>
                  <a:pt x="123" y="1722"/>
                </a:lnTo>
                <a:lnTo>
                  <a:pt x="126" y="1722"/>
                </a:lnTo>
                <a:lnTo>
                  <a:pt x="128" y="1723"/>
                </a:lnTo>
                <a:lnTo>
                  <a:pt x="130" y="1724"/>
                </a:lnTo>
                <a:lnTo>
                  <a:pt x="132" y="1726"/>
                </a:lnTo>
                <a:lnTo>
                  <a:pt x="134" y="1728"/>
                </a:lnTo>
                <a:lnTo>
                  <a:pt x="135" y="1731"/>
                </a:lnTo>
                <a:lnTo>
                  <a:pt x="135" y="1733"/>
                </a:lnTo>
                <a:lnTo>
                  <a:pt x="135" y="1736"/>
                </a:lnTo>
                <a:lnTo>
                  <a:pt x="135" y="1738"/>
                </a:lnTo>
                <a:lnTo>
                  <a:pt x="134" y="1740"/>
                </a:lnTo>
                <a:lnTo>
                  <a:pt x="133" y="1742"/>
                </a:lnTo>
                <a:lnTo>
                  <a:pt x="131" y="1745"/>
                </a:lnTo>
                <a:lnTo>
                  <a:pt x="128" y="1747"/>
                </a:lnTo>
                <a:lnTo>
                  <a:pt x="124" y="1748"/>
                </a:lnTo>
                <a:lnTo>
                  <a:pt x="122" y="1748"/>
                </a:lnTo>
                <a:lnTo>
                  <a:pt x="119" y="1748"/>
                </a:lnTo>
                <a:lnTo>
                  <a:pt x="116" y="1747"/>
                </a:lnTo>
                <a:lnTo>
                  <a:pt x="114" y="1745"/>
                </a:lnTo>
                <a:lnTo>
                  <a:pt x="112" y="1744"/>
                </a:lnTo>
                <a:lnTo>
                  <a:pt x="111" y="1742"/>
                </a:lnTo>
                <a:lnTo>
                  <a:pt x="110" y="1739"/>
                </a:lnTo>
                <a:lnTo>
                  <a:pt x="109" y="1737"/>
                </a:lnTo>
                <a:lnTo>
                  <a:pt x="109" y="1734"/>
                </a:lnTo>
                <a:lnTo>
                  <a:pt x="109" y="1731"/>
                </a:lnTo>
                <a:lnTo>
                  <a:pt x="110" y="1730"/>
                </a:lnTo>
                <a:lnTo>
                  <a:pt x="111" y="1728"/>
                </a:lnTo>
                <a:lnTo>
                  <a:pt x="113" y="1725"/>
                </a:lnTo>
                <a:lnTo>
                  <a:pt x="116" y="1723"/>
                </a:lnTo>
                <a:lnTo>
                  <a:pt x="120" y="1722"/>
                </a:lnTo>
                <a:close/>
                <a:moveTo>
                  <a:pt x="103" y="1786"/>
                </a:moveTo>
                <a:lnTo>
                  <a:pt x="106" y="1786"/>
                </a:lnTo>
                <a:lnTo>
                  <a:pt x="109" y="1786"/>
                </a:lnTo>
                <a:lnTo>
                  <a:pt x="111" y="1787"/>
                </a:lnTo>
                <a:lnTo>
                  <a:pt x="114" y="1788"/>
                </a:lnTo>
                <a:lnTo>
                  <a:pt x="115" y="1790"/>
                </a:lnTo>
                <a:lnTo>
                  <a:pt x="117" y="1792"/>
                </a:lnTo>
                <a:lnTo>
                  <a:pt x="118" y="1794"/>
                </a:lnTo>
                <a:lnTo>
                  <a:pt x="119" y="1797"/>
                </a:lnTo>
                <a:lnTo>
                  <a:pt x="119" y="1800"/>
                </a:lnTo>
                <a:lnTo>
                  <a:pt x="118" y="1802"/>
                </a:lnTo>
                <a:lnTo>
                  <a:pt x="118" y="1804"/>
                </a:lnTo>
                <a:lnTo>
                  <a:pt x="117" y="1806"/>
                </a:lnTo>
                <a:lnTo>
                  <a:pt x="114" y="1809"/>
                </a:lnTo>
                <a:lnTo>
                  <a:pt x="111" y="1811"/>
                </a:lnTo>
                <a:lnTo>
                  <a:pt x="108" y="1812"/>
                </a:lnTo>
                <a:lnTo>
                  <a:pt x="105" y="1812"/>
                </a:lnTo>
                <a:lnTo>
                  <a:pt x="102" y="1812"/>
                </a:lnTo>
                <a:lnTo>
                  <a:pt x="100" y="1811"/>
                </a:lnTo>
                <a:lnTo>
                  <a:pt x="98" y="1809"/>
                </a:lnTo>
                <a:lnTo>
                  <a:pt x="96" y="1808"/>
                </a:lnTo>
                <a:lnTo>
                  <a:pt x="94" y="1806"/>
                </a:lnTo>
                <a:lnTo>
                  <a:pt x="93" y="1803"/>
                </a:lnTo>
                <a:lnTo>
                  <a:pt x="92" y="1801"/>
                </a:lnTo>
                <a:lnTo>
                  <a:pt x="92" y="1798"/>
                </a:lnTo>
                <a:lnTo>
                  <a:pt x="93" y="1796"/>
                </a:lnTo>
                <a:lnTo>
                  <a:pt x="93" y="1794"/>
                </a:lnTo>
                <a:lnTo>
                  <a:pt x="94" y="1792"/>
                </a:lnTo>
                <a:lnTo>
                  <a:pt x="97" y="1789"/>
                </a:lnTo>
                <a:lnTo>
                  <a:pt x="100" y="1787"/>
                </a:lnTo>
                <a:lnTo>
                  <a:pt x="103" y="1786"/>
                </a:lnTo>
                <a:close/>
                <a:moveTo>
                  <a:pt x="88" y="1850"/>
                </a:moveTo>
                <a:lnTo>
                  <a:pt x="90" y="1850"/>
                </a:lnTo>
                <a:lnTo>
                  <a:pt x="93" y="1850"/>
                </a:lnTo>
                <a:lnTo>
                  <a:pt x="95" y="1851"/>
                </a:lnTo>
                <a:lnTo>
                  <a:pt x="98" y="1853"/>
                </a:lnTo>
                <a:lnTo>
                  <a:pt x="100" y="1854"/>
                </a:lnTo>
                <a:lnTo>
                  <a:pt x="101" y="1856"/>
                </a:lnTo>
                <a:lnTo>
                  <a:pt x="102" y="1859"/>
                </a:lnTo>
                <a:lnTo>
                  <a:pt x="103" y="1861"/>
                </a:lnTo>
                <a:lnTo>
                  <a:pt x="103" y="1864"/>
                </a:lnTo>
                <a:lnTo>
                  <a:pt x="103" y="1866"/>
                </a:lnTo>
                <a:lnTo>
                  <a:pt x="101" y="1870"/>
                </a:lnTo>
                <a:lnTo>
                  <a:pt x="99" y="1873"/>
                </a:lnTo>
                <a:lnTo>
                  <a:pt x="96" y="1875"/>
                </a:lnTo>
                <a:lnTo>
                  <a:pt x="92" y="1876"/>
                </a:lnTo>
                <a:lnTo>
                  <a:pt x="89" y="1876"/>
                </a:lnTo>
                <a:lnTo>
                  <a:pt x="87" y="1876"/>
                </a:lnTo>
                <a:lnTo>
                  <a:pt x="84" y="1875"/>
                </a:lnTo>
                <a:lnTo>
                  <a:pt x="82" y="1874"/>
                </a:lnTo>
                <a:lnTo>
                  <a:pt x="80" y="1872"/>
                </a:lnTo>
                <a:lnTo>
                  <a:pt x="79" y="1870"/>
                </a:lnTo>
                <a:lnTo>
                  <a:pt x="77" y="1868"/>
                </a:lnTo>
                <a:lnTo>
                  <a:pt x="77" y="1865"/>
                </a:lnTo>
                <a:lnTo>
                  <a:pt x="77" y="1863"/>
                </a:lnTo>
                <a:lnTo>
                  <a:pt x="77" y="1860"/>
                </a:lnTo>
                <a:lnTo>
                  <a:pt x="78" y="1856"/>
                </a:lnTo>
                <a:lnTo>
                  <a:pt x="81" y="1853"/>
                </a:lnTo>
                <a:lnTo>
                  <a:pt x="84" y="1851"/>
                </a:lnTo>
                <a:lnTo>
                  <a:pt x="88" y="1850"/>
                </a:lnTo>
                <a:close/>
                <a:moveTo>
                  <a:pt x="73" y="1915"/>
                </a:moveTo>
                <a:lnTo>
                  <a:pt x="78" y="1915"/>
                </a:lnTo>
                <a:lnTo>
                  <a:pt x="80" y="1916"/>
                </a:lnTo>
                <a:lnTo>
                  <a:pt x="83" y="1917"/>
                </a:lnTo>
                <a:lnTo>
                  <a:pt x="85" y="1919"/>
                </a:lnTo>
                <a:lnTo>
                  <a:pt x="86" y="1921"/>
                </a:lnTo>
                <a:lnTo>
                  <a:pt x="87" y="1923"/>
                </a:lnTo>
                <a:lnTo>
                  <a:pt x="88" y="1925"/>
                </a:lnTo>
                <a:lnTo>
                  <a:pt x="88" y="1931"/>
                </a:lnTo>
                <a:lnTo>
                  <a:pt x="86" y="1934"/>
                </a:lnTo>
                <a:lnTo>
                  <a:pt x="85" y="1936"/>
                </a:lnTo>
                <a:lnTo>
                  <a:pt x="84" y="1937"/>
                </a:lnTo>
                <a:lnTo>
                  <a:pt x="81" y="1939"/>
                </a:lnTo>
                <a:lnTo>
                  <a:pt x="77" y="1941"/>
                </a:lnTo>
                <a:lnTo>
                  <a:pt x="72" y="1941"/>
                </a:lnTo>
                <a:lnTo>
                  <a:pt x="70" y="1940"/>
                </a:lnTo>
                <a:lnTo>
                  <a:pt x="67" y="1938"/>
                </a:lnTo>
                <a:lnTo>
                  <a:pt x="65" y="1937"/>
                </a:lnTo>
                <a:lnTo>
                  <a:pt x="64" y="1935"/>
                </a:lnTo>
                <a:lnTo>
                  <a:pt x="63" y="1933"/>
                </a:lnTo>
                <a:lnTo>
                  <a:pt x="62" y="1930"/>
                </a:lnTo>
                <a:lnTo>
                  <a:pt x="62" y="1925"/>
                </a:lnTo>
                <a:lnTo>
                  <a:pt x="63" y="1921"/>
                </a:lnTo>
                <a:lnTo>
                  <a:pt x="65" y="1919"/>
                </a:lnTo>
                <a:lnTo>
                  <a:pt x="66" y="1918"/>
                </a:lnTo>
                <a:lnTo>
                  <a:pt x="69" y="1916"/>
                </a:lnTo>
                <a:lnTo>
                  <a:pt x="73" y="1915"/>
                </a:lnTo>
                <a:close/>
                <a:moveTo>
                  <a:pt x="59" y="1979"/>
                </a:moveTo>
                <a:lnTo>
                  <a:pt x="64" y="1979"/>
                </a:lnTo>
                <a:lnTo>
                  <a:pt x="66" y="1980"/>
                </a:lnTo>
                <a:lnTo>
                  <a:pt x="69" y="1981"/>
                </a:lnTo>
                <a:lnTo>
                  <a:pt x="70" y="1983"/>
                </a:lnTo>
                <a:lnTo>
                  <a:pt x="72" y="1985"/>
                </a:lnTo>
                <a:lnTo>
                  <a:pt x="73" y="1987"/>
                </a:lnTo>
                <a:lnTo>
                  <a:pt x="74" y="1990"/>
                </a:lnTo>
                <a:lnTo>
                  <a:pt x="74" y="1995"/>
                </a:lnTo>
                <a:lnTo>
                  <a:pt x="73" y="1997"/>
                </a:lnTo>
                <a:lnTo>
                  <a:pt x="73" y="1999"/>
                </a:lnTo>
                <a:lnTo>
                  <a:pt x="71" y="2000"/>
                </a:lnTo>
                <a:lnTo>
                  <a:pt x="70" y="2002"/>
                </a:lnTo>
                <a:lnTo>
                  <a:pt x="69" y="2003"/>
                </a:lnTo>
                <a:lnTo>
                  <a:pt x="67" y="2004"/>
                </a:lnTo>
                <a:lnTo>
                  <a:pt x="63" y="2005"/>
                </a:lnTo>
                <a:lnTo>
                  <a:pt x="58" y="2005"/>
                </a:lnTo>
                <a:lnTo>
                  <a:pt x="56" y="2004"/>
                </a:lnTo>
                <a:lnTo>
                  <a:pt x="53" y="2003"/>
                </a:lnTo>
                <a:lnTo>
                  <a:pt x="51" y="2002"/>
                </a:lnTo>
                <a:lnTo>
                  <a:pt x="50" y="2000"/>
                </a:lnTo>
                <a:lnTo>
                  <a:pt x="49" y="1997"/>
                </a:lnTo>
                <a:lnTo>
                  <a:pt x="48" y="1995"/>
                </a:lnTo>
                <a:lnTo>
                  <a:pt x="48" y="1990"/>
                </a:lnTo>
                <a:lnTo>
                  <a:pt x="49" y="1988"/>
                </a:lnTo>
                <a:lnTo>
                  <a:pt x="49" y="1986"/>
                </a:lnTo>
                <a:lnTo>
                  <a:pt x="51" y="1984"/>
                </a:lnTo>
                <a:lnTo>
                  <a:pt x="52" y="1983"/>
                </a:lnTo>
                <a:lnTo>
                  <a:pt x="53" y="1982"/>
                </a:lnTo>
                <a:lnTo>
                  <a:pt x="55" y="1981"/>
                </a:lnTo>
                <a:lnTo>
                  <a:pt x="59" y="1979"/>
                </a:lnTo>
                <a:close/>
                <a:moveTo>
                  <a:pt x="46" y="2044"/>
                </a:moveTo>
                <a:lnTo>
                  <a:pt x="50" y="2044"/>
                </a:lnTo>
                <a:lnTo>
                  <a:pt x="53" y="2045"/>
                </a:lnTo>
                <a:lnTo>
                  <a:pt x="55" y="2046"/>
                </a:lnTo>
                <a:lnTo>
                  <a:pt x="57" y="2048"/>
                </a:lnTo>
                <a:lnTo>
                  <a:pt x="59" y="2050"/>
                </a:lnTo>
                <a:lnTo>
                  <a:pt x="60" y="2052"/>
                </a:lnTo>
                <a:lnTo>
                  <a:pt x="61" y="2054"/>
                </a:lnTo>
                <a:lnTo>
                  <a:pt x="61" y="2057"/>
                </a:lnTo>
                <a:lnTo>
                  <a:pt x="61" y="2060"/>
                </a:lnTo>
                <a:lnTo>
                  <a:pt x="60" y="2062"/>
                </a:lnTo>
                <a:lnTo>
                  <a:pt x="59" y="2064"/>
                </a:lnTo>
                <a:lnTo>
                  <a:pt x="57" y="2067"/>
                </a:lnTo>
                <a:lnTo>
                  <a:pt x="56" y="2068"/>
                </a:lnTo>
                <a:lnTo>
                  <a:pt x="54" y="2069"/>
                </a:lnTo>
                <a:lnTo>
                  <a:pt x="50" y="2070"/>
                </a:lnTo>
                <a:lnTo>
                  <a:pt x="45" y="2070"/>
                </a:lnTo>
                <a:lnTo>
                  <a:pt x="43" y="2069"/>
                </a:lnTo>
                <a:lnTo>
                  <a:pt x="40" y="2068"/>
                </a:lnTo>
                <a:lnTo>
                  <a:pt x="38" y="2067"/>
                </a:lnTo>
                <a:lnTo>
                  <a:pt x="37" y="2065"/>
                </a:lnTo>
                <a:lnTo>
                  <a:pt x="36" y="2062"/>
                </a:lnTo>
                <a:lnTo>
                  <a:pt x="35" y="2060"/>
                </a:lnTo>
                <a:lnTo>
                  <a:pt x="35" y="2057"/>
                </a:lnTo>
                <a:lnTo>
                  <a:pt x="35" y="2055"/>
                </a:lnTo>
                <a:lnTo>
                  <a:pt x="35" y="2053"/>
                </a:lnTo>
                <a:lnTo>
                  <a:pt x="36" y="2051"/>
                </a:lnTo>
                <a:lnTo>
                  <a:pt x="39" y="2048"/>
                </a:lnTo>
                <a:lnTo>
                  <a:pt x="40" y="2046"/>
                </a:lnTo>
                <a:lnTo>
                  <a:pt x="42" y="2045"/>
                </a:lnTo>
                <a:lnTo>
                  <a:pt x="46" y="2044"/>
                </a:lnTo>
                <a:close/>
                <a:moveTo>
                  <a:pt x="33" y="2109"/>
                </a:moveTo>
                <a:lnTo>
                  <a:pt x="38" y="2109"/>
                </a:lnTo>
                <a:lnTo>
                  <a:pt x="41" y="2110"/>
                </a:lnTo>
                <a:lnTo>
                  <a:pt x="43" y="2111"/>
                </a:lnTo>
                <a:lnTo>
                  <a:pt x="45" y="2113"/>
                </a:lnTo>
                <a:lnTo>
                  <a:pt x="46" y="2115"/>
                </a:lnTo>
                <a:lnTo>
                  <a:pt x="48" y="2117"/>
                </a:lnTo>
                <a:lnTo>
                  <a:pt x="48" y="2119"/>
                </a:lnTo>
                <a:lnTo>
                  <a:pt x="49" y="2122"/>
                </a:lnTo>
                <a:lnTo>
                  <a:pt x="49" y="2125"/>
                </a:lnTo>
                <a:lnTo>
                  <a:pt x="47" y="2128"/>
                </a:lnTo>
                <a:lnTo>
                  <a:pt x="45" y="2132"/>
                </a:lnTo>
                <a:lnTo>
                  <a:pt x="43" y="2133"/>
                </a:lnTo>
                <a:lnTo>
                  <a:pt x="42" y="2134"/>
                </a:lnTo>
                <a:lnTo>
                  <a:pt x="38" y="2135"/>
                </a:lnTo>
                <a:lnTo>
                  <a:pt x="33" y="2135"/>
                </a:lnTo>
                <a:lnTo>
                  <a:pt x="31" y="2134"/>
                </a:lnTo>
                <a:lnTo>
                  <a:pt x="28" y="2133"/>
                </a:lnTo>
                <a:lnTo>
                  <a:pt x="26" y="2132"/>
                </a:lnTo>
                <a:lnTo>
                  <a:pt x="25" y="2130"/>
                </a:lnTo>
                <a:lnTo>
                  <a:pt x="23" y="2127"/>
                </a:lnTo>
                <a:lnTo>
                  <a:pt x="23" y="2125"/>
                </a:lnTo>
                <a:lnTo>
                  <a:pt x="22" y="2122"/>
                </a:lnTo>
                <a:lnTo>
                  <a:pt x="23" y="2120"/>
                </a:lnTo>
                <a:lnTo>
                  <a:pt x="24" y="2116"/>
                </a:lnTo>
                <a:lnTo>
                  <a:pt x="26" y="2113"/>
                </a:lnTo>
                <a:lnTo>
                  <a:pt x="28" y="2111"/>
                </a:lnTo>
                <a:lnTo>
                  <a:pt x="29" y="2110"/>
                </a:lnTo>
                <a:lnTo>
                  <a:pt x="33" y="2109"/>
                </a:lnTo>
                <a:close/>
                <a:moveTo>
                  <a:pt x="22" y="2174"/>
                </a:moveTo>
                <a:lnTo>
                  <a:pt x="26" y="2174"/>
                </a:lnTo>
                <a:lnTo>
                  <a:pt x="29" y="2175"/>
                </a:lnTo>
                <a:lnTo>
                  <a:pt x="31" y="2176"/>
                </a:lnTo>
                <a:lnTo>
                  <a:pt x="33" y="2178"/>
                </a:lnTo>
                <a:lnTo>
                  <a:pt x="35" y="2180"/>
                </a:lnTo>
                <a:lnTo>
                  <a:pt x="36" y="2182"/>
                </a:lnTo>
                <a:lnTo>
                  <a:pt x="37" y="2183"/>
                </a:lnTo>
                <a:lnTo>
                  <a:pt x="37" y="2184"/>
                </a:lnTo>
                <a:lnTo>
                  <a:pt x="37" y="2187"/>
                </a:lnTo>
                <a:lnTo>
                  <a:pt x="37" y="2190"/>
                </a:lnTo>
                <a:lnTo>
                  <a:pt x="36" y="2194"/>
                </a:lnTo>
                <a:lnTo>
                  <a:pt x="33" y="2197"/>
                </a:lnTo>
                <a:lnTo>
                  <a:pt x="32" y="2198"/>
                </a:lnTo>
                <a:lnTo>
                  <a:pt x="30" y="2199"/>
                </a:lnTo>
                <a:lnTo>
                  <a:pt x="26" y="2200"/>
                </a:lnTo>
                <a:lnTo>
                  <a:pt x="22" y="2200"/>
                </a:lnTo>
                <a:lnTo>
                  <a:pt x="19" y="2200"/>
                </a:lnTo>
                <a:lnTo>
                  <a:pt x="17" y="2199"/>
                </a:lnTo>
                <a:lnTo>
                  <a:pt x="15" y="2197"/>
                </a:lnTo>
                <a:lnTo>
                  <a:pt x="13" y="2195"/>
                </a:lnTo>
                <a:lnTo>
                  <a:pt x="12" y="2193"/>
                </a:lnTo>
                <a:lnTo>
                  <a:pt x="12" y="2192"/>
                </a:lnTo>
                <a:lnTo>
                  <a:pt x="11" y="2190"/>
                </a:lnTo>
                <a:lnTo>
                  <a:pt x="11" y="2188"/>
                </a:lnTo>
                <a:lnTo>
                  <a:pt x="11" y="2185"/>
                </a:lnTo>
                <a:lnTo>
                  <a:pt x="12" y="2181"/>
                </a:lnTo>
                <a:lnTo>
                  <a:pt x="15" y="2178"/>
                </a:lnTo>
                <a:lnTo>
                  <a:pt x="16" y="2177"/>
                </a:lnTo>
                <a:lnTo>
                  <a:pt x="18" y="2176"/>
                </a:lnTo>
                <a:lnTo>
                  <a:pt x="22" y="2174"/>
                </a:lnTo>
                <a:close/>
                <a:moveTo>
                  <a:pt x="11" y="2240"/>
                </a:moveTo>
                <a:lnTo>
                  <a:pt x="15" y="2240"/>
                </a:lnTo>
                <a:lnTo>
                  <a:pt x="18" y="2240"/>
                </a:lnTo>
                <a:lnTo>
                  <a:pt x="20" y="2241"/>
                </a:lnTo>
                <a:lnTo>
                  <a:pt x="22" y="2243"/>
                </a:lnTo>
                <a:lnTo>
                  <a:pt x="24" y="2245"/>
                </a:lnTo>
                <a:lnTo>
                  <a:pt x="25" y="2247"/>
                </a:lnTo>
                <a:lnTo>
                  <a:pt x="26" y="2248"/>
                </a:lnTo>
                <a:lnTo>
                  <a:pt x="26" y="2249"/>
                </a:lnTo>
                <a:lnTo>
                  <a:pt x="27" y="2252"/>
                </a:lnTo>
                <a:lnTo>
                  <a:pt x="26" y="2255"/>
                </a:lnTo>
                <a:lnTo>
                  <a:pt x="25" y="2259"/>
                </a:lnTo>
                <a:lnTo>
                  <a:pt x="23" y="2262"/>
                </a:lnTo>
                <a:lnTo>
                  <a:pt x="19" y="2264"/>
                </a:lnTo>
                <a:lnTo>
                  <a:pt x="18" y="2265"/>
                </a:lnTo>
                <a:lnTo>
                  <a:pt x="16" y="2266"/>
                </a:lnTo>
                <a:lnTo>
                  <a:pt x="11" y="2266"/>
                </a:lnTo>
                <a:lnTo>
                  <a:pt x="9" y="2265"/>
                </a:lnTo>
                <a:lnTo>
                  <a:pt x="6" y="2264"/>
                </a:lnTo>
                <a:lnTo>
                  <a:pt x="4" y="2262"/>
                </a:lnTo>
                <a:lnTo>
                  <a:pt x="3" y="2260"/>
                </a:lnTo>
                <a:lnTo>
                  <a:pt x="1" y="2258"/>
                </a:lnTo>
                <a:lnTo>
                  <a:pt x="1" y="2257"/>
                </a:lnTo>
                <a:lnTo>
                  <a:pt x="1" y="2256"/>
                </a:lnTo>
                <a:lnTo>
                  <a:pt x="0" y="2253"/>
                </a:lnTo>
                <a:lnTo>
                  <a:pt x="0" y="2251"/>
                </a:lnTo>
                <a:lnTo>
                  <a:pt x="2" y="2247"/>
                </a:lnTo>
                <a:lnTo>
                  <a:pt x="4" y="2243"/>
                </a:lnTo>
                <a:lnTo>
                  <a:pt x="7" y="2241"/>
                </a:lnTo>
                <a:lnTo>
                  <a:pt x="9" y="2240"/>
                </a:lnTo>
                <a:lnTo>
                  <a:pt x="11" y="2240"/>
                </a:lnTo>
                <a:close/>
                <a:moveTo>
                  <a:pt x="2940" y="2220"/>
                </a:moveTo>
                <a:lnTo>
                  <a:pt x="2941" y="2215"/>
                </a:lnTo>
                <a:lnTo>
                  <a:pt x="2942" y="2213"/>
                </a:lnTo>
                <a:lnTo>
                  <a:pt x="2943" y="2212"/>
                </a:lnTo>
                <a:lnTo>
                  <a:pt x="2943" y="2227"/>
                </a:lnTo>
                <a:lnTo>
                  <a:pt x="2941" y="2224"/>
                </a:lnTo>
                <a:lnTo>
                  <a:pt x="2940" y="2222"/>
                </a:lnTo>
                <a:lnTo>
                  <a:pt x="2940" y="2220"/>
                </a:lnTo>
                <a:close/>
                <a:moveTo>
                  <a:pt x="2624" y="2258"/>
                </a:moveTo>
                <a:lnTo>
                  <a:pt x="2629" y="2258"/>
                </a:lnTo>
                <a:lnTo>
                  <a:pt x="2631" y="2258"/>
                </a:lnTo>
                <a:lnTo>
                  <a:pt x="2633" y="2259"/>
                </a:lnTo>
                <a:lnTo>
                  <a:pt x="2635" y="2261"/>
                </a:lnTo>
                <a:lnTo>
                  <a:pt x="2636" y="2262"/>
                </a:lnTo>
                <a:lnTo>
                  <a:pt x="2637" y="2264"/>
                </a:lnTo>
                <a:lnTo>
                  <a:pt x="2638" y="2266"/>
                </a:lnTo>
                <a:lnTo>
                  <a:pt x="2639" y="2269"/>
                </a:lnTo>
                <a:lnTo>
                  <a:pt x="2614" y="2269"/>
                </a:lnTo>
                <a:lnTo>
                  <a:pt x="2615" y="2265"/>
                </a:lnTo>
                <a:lnTo>
                  <a:pt x="2617" y="2262"/>
                </a:lnTo>
                <a:lnTo>
                  <a:pt x="2618" y="2261"/>
                </a:lnTo>
                <a:lnTo>
                  <a:pt x="2620" y="2260"/>
                </a:lnTo>
                <a:lnTo>
                  <a:pt x="2623" y="2258"/>
                </a:lnTo>
                <a:lnTo>
                  <a:pt x="2624" y="2258"/>
                </a:lnTo>
                <a:close/>
                <a:moveTo>
                  <a:pt x="2884" y="2211"/>
                </a:moveTo>
                <a:lnTo>
                  <a:pt x="2887" y="2211"/>
                </a:lnTo>
                <a:lnTo>
                  <a:pt x="2890" y="2211"/>
                </a:lnTo>
                <a:lnTo>
                  <a:pt x="2892" y="2212"/>
                </a:lnTo>
                <a:lnTo>
                  <a:pt x="2894" y="2213"/>
                </a:lnTo>
                <a:lnTo>
                  <a:pt x="2896" y="2215"/>
                </a:lnTo>
                <a:lnTo>
                  <a:pt x="2897" y="2217"/>
                </a:lnTo>
                <a:lnTo>
                  <a:pt x="2898" y="2219"/>
                </a:lnTo>
                <a:lnTo>
                  <a:pt x="2899" y="2222"/>
                </a:lnTo>
                <a:lnTo>
                  <a:pt x="2899" y="2224"/>
                </a:lnTo>
                <a:lnTo>
                  <a:pt x="2898" y="2226"/>
                </a:lnTo>
                <a:lnTo>
                  <a:pt x="2896" y="2230"/>
                </a:lnTo>
                <a:lnTo>
                  <a:pt x="2895" y="2232"/>
                </a:lnTo>
                <a:lnTo>
                  <a:pt x="2893" y="2233"/>
                </a:lnTo>
                <a:lnTo>
                  <a:pt x="2891" y="2234"/>
                </a:lnTo>
                <a:lnTo>
                  <a:pt x="2889" y="2235"/>
                </a:lnTo>
                <a:lnTo>
                  <a:pt x="2886" y="2235"/>
                </a:lnTo>
                <a:lnTo>
                  <a:pt x="2883" y="2234"/>
                </a:lnTo>
                <a:lnTo>
                  <a:pt x="2881" y="2233"/>
                </a:lnTo>
                <a:lnTo>
                  <a:pt x="2879" y="2232"/>
                </a:lnTo>
                <a:lnTo>
                  <a:pt x="2877" y="2230"/>
                </a:lnTo>
                <a:lnTo>
                  <a:pt x="2876" y="2228"/>
                </a:lnTo>
                <a:lnTo>
                  <a:pt x="2875" y="2226"/>
                </a:lnTo>
                <a:lnTo>
                  <a:pt x="2874" y="2224"/>
                </a:lnTo>
                <a:lnTo>
                  <a:pt x="2874" y="2221"/>
                </a:lnTo>
                <a:lnTo>
                  <a:pt x="2875" y="2219"/>
                </a:lnTo>
                <a:lnTo>
                  <a:pt x="2877" y="2215"/>
                </a:lnTo>
                <a:lnTo>
                  <a:pt x="2878" y="2214"/>
                </a:lnTo>
                <a:lnTo>
                  <a:pt x="2880" y="2212"/>
                </a:lnTo>
                <a:lnTo>
                  <a:pt x="2882" y="2211"/>
                </a:lnTo>
                <a:lnTo>
                  <a:pt x="2884" y="2211"/>
                </a:lnTo>
                <a:close/>
                <a:moveTo>
                  <a:pt x="2688" y="2241"/>
                </a:moveTo>
                <a:lnTo>
                  <a:pt x="2693" y="2241"/>
                </a:lnTo>
                <a:lnTo>
                  <a:pt x="2695" y="2242"/>
                </a:lnTo>
                <a:lnTo>
                  <a:pt x="2697" y="2243"/>
                </a:lnTo>
                <a:lnTo>
                  <a:pt x="2699" y="2244"/>
                </a:lnTo>
                <a:lnTo>
                  <a:pt x="2700" y="2246"/>
                </a:lnTo>
                <a:lnTo>
                  <a:pt x="2702" y="2248"/>
                </a:lnTo>
                <a:lnTo>
                  <a:pt x="2702" y="2250"/>
                </a:lnTo>
                <a:lnTo>
                  <a:pt x="2703" y="2253"/>
                </a:lnTo>
                <a:lnTo>
                  <a:pt x="2703" y="2255"/>
                </a:lnTo>
                <a:lnTo>
                  <a:pt x="2702" y="2257"/>
                </a:lnTo>
                <a:lnTo>
                  <a:pt x="2701" y="2260"/>
                </a:lnTo>
                <a:lnTo>
                  <a:pt x="2699" y="2261"/>
                </a:lnTo>
                <a:lnTo>
                  <a:pt x="2698" y="2263"/>
                </a:lnTo>
                <a:lnTo>
                  <a:pt x="2696" y="2264"/>
                </a:lnTo>
                <a:lnTo>
                  <a:pt x="2693" y="2265"/>
                </a:lnTo>
                <a:lnTo>
                  <a:pt x="2688" y="2265"/>
                </a:lnTo>
                <a:lnTo>
                  <a:pt x="2686" y="2264"/>
                </a:lnTo>
                <a:lnTo>
                  <a:pt x="2684" y="2263"/>
                </a:lnTo>
                <a:lnTo>
                  <a:pt x="2682" y="2262"/>
                </a:lnTo>
                <a:lnTo>
                  <a:pt x="2680" y="2260"/>
                </a:lnTo>
                <a:lnTo>
                  <a:pt x="2679" y="2258"/>
                </a:lnTo>
                <a:lnTo>
                  <a:pt x="2678" y="2256"/>
                </a:lnTo>
                <a:lnTo>
                  <a:pt x="2678" y="2253"/>
                </a:lnTo>
                <a:lnTo>
                  <a:pt x="2678" y="2251"/>
                </a:lnTo>
                <a:lnTo>
                  <a:pt x="2679" y="2249"/>
                </a:lnTo>
                <a:lnTo>
                  <a:pt x="2680" y="2247"/>
                </a:lnTo>
                <a:lnTo>
                  <a:pt x="2681" y="2245"/>
                </a:lnTo>
                <a:lnTo>
                  <a:pt x="2683" y="2243"/>
                </a:lnTo>
                <a:lnTo>
                  <a:pt x="2685" y="2242"/>
                </a:lnTo>
                <a:lnTo>
                  <a:pt x="2688" y="2241"/>
                </a:lnTo>
                <a:close/>
                <a:moveTo>
                  <a:pt x="2818" y="2217"/>
                </a:moveTo>
                <a:lnTo>
                  <a:pt x="2821" y="2217"/>
                </a:lnTo>
                <a:lnTo>
                  <a:pt x="2824" y="2218"/>
                </a:lnTo>
                <a:lnTo>
                  <a:pt x="2828" y="2220"/>
                </a:lnTo>
                <a:lnTo>
                  <a:pt x="2831" y="2223"/>
                </a:lnTo>
                <a:lnTo>
                  <a:pt x="2833" y="2228"/>
                </a:lnTo>
                <a:lnTo>
                  <a:pt x="2833" y="2230"/>
                </a:lnTo>
                <a:lnTo>
                  <a:pt x="2832" y="2233"/>
                </a:lnTo>
                <a:lnTo>
                  <a:pt x="2832" y="2235"/>
                </a:lnTo>
                <a:lnTo>
                  <a:pt x="2830" y="2237"/>
                </a:lnTo>
                <a:lnTo>
                  <a:pt x="2829" y="2238"/>
                </a:lnTo>
                <a:lnTo>
                  <a:pt x="2827" y="2240"/>
                </a:lnTo>
                <a:lnTo>
                  <a:pt x="2825" y="2241"/>
                </a:lnTo>
                <a:lnTo>
                  <a:pt x="2823" y="2242"/>
                </a:lnTo>
                <a:lnTo>
                  <a:pt x="2820" y="2242"/>
                </a:lnTo>
                <a:lnTo>
                  <a:pt x="2818" y="2241"/>
                </a:lnTo>
                <a:lnTo>
                  <a:pt x="2813" y="2239"/>
                </a:lnTo>
                <a:lnTo>
                  <a:pt x="2810" y="2236"/>
                </a:lnTo>
                <a:lnTo>
                  <a:pt x="2809" y="2233"/>
                </a:lnTo>
                <a:lnTo>
                  <a:pt x="2808" y="2231"/>
                </a:lnTo>
                <a:lnTo>
                  <a:pt x="2808" y="2229"/>
                </a:lnTo>
                <a:lnTo>
                  <a:pt x="2809" y="2226"/>
                </a:lnTo>
                <a:lnTo>
                  <a:pt x="2810" y="2224"/>
                </a:lnTo>
                <a:lnTo>
                  <a:pt x="2811" y="2222"/>
                </a:lnTo>
                <a:lnTo>
                  <a:pt x="2812" y="2220"/>
                </a:lnTo>
                <a:lnTo>
                  <a:pt x="2814" y="2219"/>
                </a:lnTo>
                <a:lnTo>
                  <a:pt x="2816" y="2218"/>
                </a:lnTo>
                <a:lnTo>
                  <a:pt x="2818" y="2217"/>
                </a:lnTo>
                <a:close/>
                <a:moveTo>
                  <a:pt x="2753" y="2228"/>
                </a:moveTo>
                <a:lnTo>
                  <a:pt x="2758" y="2228"/>
                </a:lnTo>
                <a:lnTo>
                  <a:pt x="2760" y="2228"/>
                </a:lnTo>
                <a:lnTo>
                  <a:pt x="2762" y="2230"/>
                </a:lnTo>
                <a:lnTo>
                  <a:pt x="2764" y="2231"/>
                </a:lnTo>
                <a:lnTo>
                  <a:pt x="2766" y="2233"/>
                </a:lnTo>
                <a:lnTo>
                  <a:pt x="2767" y="2235"/>
                </a:lnTo>
                <a:lnTo>
                  <a:pt x="2767" y="2237"/>
                </a:lnTo>
                <a:lnTo>
                  <a:pt x="2767" y="2242"/>
                </a:lnTo>
                <a:lnTo>
                  <a:pt x="2766" y="2245"/>
                </a:lnTo>
                <a:lnTo>
                  <a:pt x="2765" y="2247"/>
                </a:lnTo>
                <a:lnTo>
                  <a:pt x="2764" y="2248"/>
                </a:lnTo>
                <a:lnTo>
                  <a:pt x="2762" y="2250"/>
                </a:lnTo>
                <a:lnTo>
                  <a:pt x="2760" y="2251"/>
                </a:lnTo>
                <a:lnTo>
                  <a:pt x="2757" y="2252"/>
                </a:lnTo>
                <a:lnTo>
                  <a:pt x="2753" y="2252"/>
                </a:lnTo>
                <a:lnTo>
                  <a:pt x="2750" y="2251"/>
                </a:lnTo>
                <a:lnTo>
                  <a:pt x="2748" y="2250"/>
                </a:lnTo>
                <a:lnTo>
                  <a:pt x="2746" y="2248"/>
                </a:lnTo>
                <a:lnTo>
                  <a:pt x="2745" y="2246"/>
                </a:lnTo>
                <a:lnTo>
                  <a:pt x="2744" y="2244"/>
                </a:lnTo>
                <a:lnTo>
                  <a:pt x="2743" y="2242"/>
                </a:lnTo>
                <a:lnTo>
                  <a:pt x="2743" y="2237"/>
                </a:lnTo>
                <a:lnTo>
                  <a:pt x="2744" y="2235"/>
                </a:lnTo>
                <a:lnTo>
                  <a:pt x="2745" y="2233"/>
                </a:lnTo>
                <a:lnTo>
                  <a:pt x="2747" y="2231"/>
                </a:lnTo>
                <a:lnTo>
                  <a:pt x="2749" y="2229"/>
                </a:lnTo>
                <a:lnTo>
                  <a:pt x="2751" y="2228"/>
                </a:lnTo>
                <a:lnTo>
                  <a:pt x="2753" y="2228"/>
                </a:lnTo>
                <a:close/>
                <a:moveTo>
                  <a:pt x="1984" y="2257"/>
                </a:moveTo>
                <a:lnTo>
                  <a:pt x="1987" y="2257"/>
                </a:lnTo>
                <a:lnTo>
                  <a:pt x="1990" y="2258"/>
                </a:lnTo>
                <a:lnTo>
                  <a:pt x="1993" y="2260"/>
                </a:lnTo>
                <a:lnTo>
                  <a:pt x="1995" y="2261"/>
                </a:lnTo>
                <a:lnTo>
                  <a:pt x="1996" y="2262"/>
                </a:lnTo>
                <a:lnTo>
                  <a:pt x="1998" y="2266"/>
                </a:lnTo>
                <a:lnTo>
                  <a:pt x="1998" y="2269"/>
                </a:lnTo>
                <a:lnTo>
                  <a:pt x="1973" y="2269"/>
                </a:lnTo>
                <a:lnTo>
                  <a:pt x="1974" y="2266"/>
                </a:lnTo>
                <a:lnTo>
                  <a:pt x="1975" y="2264"/>
                </a:lnTo>
                <a:lnTo>
                  <a:pt x="1976" y="2261"/>
                </a:lnTo>
                <a:lnTo>
                  <a:pt x="1979" y="2259"/>
                </a:lnTo>
                <a:lnTo>
                  <a:pt x="1981" y="2258"/>
                </a:lnTo>
                <a:lnTo>
                  <a:pt x="1984" y="2257"/>
                </a:lnTo>
                <a:close/>
                <a:moveTo>
                  <a:pt x="2038" y="2220"/>
                </a:moveTo>
                <a:lnTo>
                  <a:pt x="2042" y="2220"/>
                </a:lnTo>
                <a:lnTo>
                  <a:pt x="2045" y="2221"/>
                </a:lnTo>
                <a:lnTo>
                  <a:pt x="2048" y="2223"/>
                </a:lnTo>
                <a:lnTo>
                  <a:pt x="2051" y="2226"/>
                </a:lnTo>
                <a:lnTo>
                  <a:pt x="2052" y="2228"/>
                </a:lnTo>
                <a:lnTo>
                  <a:pt x="2053" y="2230"/>
                </a:lnTo>
                <a:lnTo>
                  <a:pt x="2053" y="2235"/>
                </a:lnTo>
                <a:lnTo>
                  <a:pt x="2052" y="2237"/>
                </a:lnTo>
                <a:lnTo>
                  <a:pt x="2051" y="2239"/>
                </a:lnTo>
                <a:lnTo>
                  <a:pt x="2049" y="2241"/>
                </a:lnTo>
                <a:lnTo>
                  <a:pt x="2047" y="2243"/>
                </a:lnTo>
                <a:lnTo>
                  <a:pt x="2045" y="2244"/>
                </a:lnTo>
                <a:lnTo>
                  <a:pt x="2043" y="2245"/>
                </a:lnTo>
                <a:lnTo>
                  <a:pt x="2039" y="2245"/>
                </a:lnTo>
                <a:lnTo>
                  <a:pt x="2036" y="2244"/>
                </a:lnTo>
                <a:lnTo>
                  <a:pt x="2033" y="2242"/>
                </a:lnTo>
                <a:lnTo>
                  <a:pt x="2030" y="2239"/>
                </a:lnTo>
                <a:lnTo>
                  <a:pt x="2029" y="2237"/>
                </a:lnTo>
                <a:lnTo>
                  <a:pt x="2028" y="2235"/>
                </a:lnTo>
                <a:lnTo>
                  <a:pt x="2028" y="2230"/>
                </a:lnTo>
                <a:lnTo>
                  <a:pt x="2029" y="2227"/>
                </a:lnTo>
                <a:lnTo>
                  <a:pt x="2030" y="2225"/>
                </a:lnTo>
                <a:lnTo>
                  <a:pt x="2032" y="2224"/>
                </a:lnTo>
                <a:lnTo>
                  <a:pt x="2034" y="2222"/>
                </a:lnTo>
                <a:lnTo>
                  <a:pt x="2036" y="2221"/>
                </a:lnTo>
                <a:lnTo>
                  <a:pt x="2038" y="2220"/>
                </a:lnTo>
                <a:close/>
                <a:moveTo>
                  <a:pt x="2094" y="2185"/>
                </a:moveTo>
                <a:lnTo>
                  <a:pt x="2098" y="2185"/>
                </a:lnTo>
                <a:lnTo>
                  <a:pt x="2102" y="2186"/>
                </a:lnTo>
                <a:lnTo>
                  <a:pt x="2105" y="2188"/>
                </a:lnTo>
                <a:lnTo>
                  <a:pt x="2106" y="2189"/>
                </a:lnTo>
                <a:lnTo>
                  <a:pt x="2107" y="2191"/>
                </a:lnTo>
                <a:lnTo>
                  <a:pt x="2108" y="2193"/>
                </a:lnTo>
                <a:lnTo>
                  <a:pt x="2109" y="2195"/>
                </a:lnTo>
                <a:lnTo>
                  <a:pt x="2109" y="2198"/>
                </a:lnTo>
                <a:lnTo>
                  <a:pt x="2109" y="2200"/>
                </a:lnTo>
                <a:lnTo>
                  <a:pt x="2108" y="2202"/>
                </a:lnTo>
                <a:lnTo>
                  <a:pt x="2107" y="2204"/>
                </a:lnTo>
                <a:lnTo>
                  <a:pt x="2105" y="2206"/>
                </a:lnTo>
                <a:lnTo>
                  <a:pt x="2103" y="2208"/>
                </a:lnTo>
                <a:lnTo>
                  <a:pt x="2101" y="2209"/>
                </a:lnTo>
                <a:lnTo>
                  <a:pt x="2099" y="2209"/>
                </a:lnTo>
                <a:lnTo>
                  <a:pt x="2095" y="2209"/>
                </a:lnTo>
                <a:lnTo>
                  <a:pt x="2092" y="2208"/>
                </a:lnTo>
                <a:lnTo>
                  <a:pt x="2088" y="2206"/>
                </a:lnTo>
                <a:lnTo>
                  <a:pt x="2087" y="2205"/>
                </a:lnTo>
                <a:lnTo>
                  <a:pt x="2086" y="2204"/>
                </a:lnTo>
                <a:lnTo>
                  <a:pt x="2085" y="2201"/>
                </a:lnTo>
                <a:lnTo>
                  <a:pt x="2084" y="2199"/>
                </a:lnTo>
                <a:lnTo>
                  <a:pt x="2084" y="2197"/>
                </a:lnTo>
                <a:lnTo>
                  <a:pt x="2085" y="2194"/>
                </a:lnTo>
                <a:lnTo>
                  <a:pt x="2085" y="2192"/>
                </a:lnTo>
                <a:lnTo>
                  <a:pt x="2087" y="2190"/>
                </a:lnTo>
                <a:lnTo>
                  <a:pt x="2088" y="2188"/>
                </a:lnTo>
                <a:lnTo>
                  <a:pt x="2090" y="2187"/>
                </a:lnTo>
                <a:lnTo>
                  <a:pt x="2092" y="2186"/>
                </a:lnTo>
                <a:lnTo>
                  <a:pt x="2094" y="2185"/>
                </a:lnTo>
                <a:close/>
                <a:moveTo>
                  <a:pt x="2152" y="2152"/>
                </a:moveTo>
                <a:lnTo>
                  <a:pt x="2155" y="2152"/>
                </a:lnTo>
                <a:lnTo>
                  <a:pt x="2159" y="2153"/>
                </a:lnTo>
                <a:lnTo>
                  <a:pt x="2162" y="2155"/>
                </a:lnTo>
                <a:lnTo>
                  <a:pt x="2164" y="2156"/>
                </a:lnTo>
                <a:lnTo>
                  <a:pt x="2165" y="2158"/>
                </a:lnTo>
                <a:lnTo>
                  <a:pt x="2166" y="2160"/>
                </a:lnTo>
                <a:lnTo>
                  <a:pt x="2166" y="2163"/>
                </a:lnTo>
                <a:lnTo>
                  <a:pt x="2166" y="2165"/>
                </a:lnTo>
                <a:lnTo>
                  <a:pt x="2166" y="2167"/>
                </a:lnTo>
                <a:lnTo>
                  <a:pt x="2165" y="2170"/>
                </a:lnTo>
                <a:lnTo>
                  <a:pt x="2164" y="2172"/>
                </a:lnTo>
                <a:lnTo>
                  <a:pt x="2162" y="2173"/>
                </a:lnTo>
                <a:lnTo>
                  <a:pt x="2160" y="2175"/>
                </a:lnTo>
                <a:lnTo>
                  <a:pt x="2158" y="2176"/>
                </a:lnTo>
                <a:lnTo>
                  <a:pt x="2156" y="2176"/>
                </a:lnTo>
                <a:lnTo>
                  <a:pt x="2152" y="2176"/>
                </a:lnTo>
                <a:lnTo>
                  <a:pt x="2149" y="2175"/>
                </a:lnTo>
                <a:lnTo>
                  <a:pt x="2145" y="2173"/>
                </a:lnTo>
                <a:lnTo>
                  <a:pt x="2144" y="2172"/>
                </a:lnTo>
                <a:lnTo>
                  <a:pt x="2143" y="2170"/>
                </a:lnTo>
                <a:lnTo>
                  <a:pt x="2142" y="2168"/>
                </a:lnTo>
                <a:lnTo>
                  <a:pt x="2142" y="2165"/>
                </a:lnTo>
                <a:lnTo>
                  <a:pt x="2142" y="2163"/>
                </a:lnTo>
                <a:lnTo>
                  <a:pt x="2142" y="2161"/>
                </a:lnTo>
                <a:lnTo>
                  <a:pt x="2143" y="2158"/>
                </a:lnTo>
                <a:lnTo>
                  <a:pt x="2144" y="2156"/>
                </a:lnTo>
                <a:lnTo>
                  <a:pt x="2146" y="2155"/>
                </a:lnTo>
                <a:lnTo>
                  <a:pt x="2148" y="2153"/>
                </a:lnTo>
                <a:lnTo>
                  <a:pt x="2150" y="2152"/>
                </a:lnTo>
                <a:lnTo>
                  <a:pt x="2152" y="2152"/>
                </a:lnTo>
                <a:close/>
                <a:moveTo>
                  <a:pt x="2211" y="2121"/>
                </a:moveTo>
                <a:lnTo>
                  <a:pt x="2215" y="2121"/>
                </a:lnTo>
                <a:lnTo>
                  <a:pt x="2217" y="2121"/>
                </a:lnTo>
                <a:lnTo>
                  <a:pt x="2219" y="2122"/>
                </a:lnTo>
                <a:lnTo>
                  <a:pt x="2220" y="2123"/>
                </a:lnTo>
                <a:lnTo>
                  <a:pt x="2222" y="2124"/>
                </a:lnTo>
                <a:lnTo>
                  <a:pt x="2224" y="2128"/>
                </a:lnTo>
                <a:lnTo>
                  <a:pt x="2225" y="2130"/>
                </a:lnTo>
                <a:lnTo>
                  <a:pt x="2226" y="2132"/>
                </a:lnTo>
                <a:lnTo>
                  <a:pt x="2226" y="2135"/>
                </a:lnTo>
                <a:lnTo>
                  <a:pt x="2225" y="2137"/>
                </a:lnTo>
                <a:lnTo>
                  <a:pt x="2224" y="2139"/>
                </a:lnTo>
                <a:lnTo>
                  <a:pt x="2223" y="2141"/>
                </a:lnTo>
                <a:lnTo>
                  <a:pt x="2221" y="2143"/>
                </a:lnTo>
                <a:lnTo>
                  <a:pt x="2219" y="2144"/>
                </a:lnTo>
                <a:lnTo>
                  <a:pt x="2215" y="2145"/>
                </a:lnTo>
                <a:lnTo>
                  <a:pt x="2212" y="2145"/>
                </a:lnTo>
                <a:lnTo>
                  <a:pt x="2210" y="2145"/>
                </a:lnTo>
                <a:lnTo>
                  <a:pt x="2207" y="2144"/>
                </a:lnTo>
                <a:lnTo>
                  <a:pt x="2205" y="2143"/>
                </a:lnTo>
                <a:lnTo>
                  <a:pt x="2204" y="2142"/>
                </a:lnTo>
                <a:lnTo>
                  <a:pt x="2201" y="2139"/>
                </a:lnTo>
                <a:lnTo>
                  <a:pt x="2200" y="2136"/>
                </a:lnTo>
                <a:lnTo>
                  <a:pt x="2200" y="2134"/>
                </a:lnTo>
                <a:lnTo>
                  <a:pt x="2200" y="2132"/>
                </a:lnTo>
                <a:lnTo>
                  <a:pt x="2201" y="2129"/>
                </a:lnTo>
                <a:lnTo>
                  <a:pt x="2202" y="2127"/>
                </a:lnTo>
                <a:lnTo>
                  <a:pt x="2203" y="2125"/>
                </a:lnTo>
                <a:lnTo>
                  <a:pt x="2205" y="2123"/>
                </a:lnTo>
                <a:lnTo>
                  <a:pt x="2207" y="2122"/>
                </a:lnTo>
                <a:lnTo>
                  <a:pt x="2211" y="2121"/>
                </a:lnTo>
                <a:close/>
                <a:moveTo>
                  <a:pt x="2271" y="2092"/>
                </a:moveTo>
                <a:lnTo>
                  <a:pt x="2275" y="2092"/>
                </a:lnTo>
                <a:lnTo>
                  <a:pt x="2279" y="2093"/>
                </a:lnTo>
                <a:lnTo>
                  <a:pt x="2280" y="2095"/>
                </a:lnTo>
                <a:lnTo>
                  <a:pt x="2282" y="2096"/>
                </a:lnTo>
                <a:lnTo>
                  <a:pt x="2283" y="2097"/>
                </a:lnTo>
                <a:lnTo>
                  <a:pt x="2284" y="2099"/>
                </a:lnTo>
                <a:lnTo>
                  <a:pt x="2285" y="2102"/>
                </a:lnTo>
                <a:lnTo>
                  <a:pt x="2285" y="2104"/>
                </a:lnTo>
                <a:lnTo>
                  <a:pt x="2285" y="2109"/>
                </a:lnTo>
                <a:lnTo>
                  <a:pt x="2283" y="2111"/>
                </a:lnTo>
                <a:lnTo>
                  <a:pt x="2282" y="2113"/>
                </a:lnTo>
                <a:lnTo>
                  <a:pt x="2280" y="2114"/>
                </a:lnTo>
                <a:lnTo>
                  <a:pt x="2278" y="2116"/>
                </a:lnTo>
                <a:lnTo>
                  <a:pt x="2275" y="2117"/>
                </a:lnTo>
                <a:lnTo>
                  <a:pt x="2271" y="2117"/>
                </a:lnTo>
                <a:lnTo>
                  <a:pt x="2267" y="2115"/>
                </a:lnTo>
                <a:lnTo>
                  <a:pt x="2266" y="2114"/>
                </a:lnTo>
                <a:lnTo>
                  <a:pt x="2264" y="2113"/>
                </a:lnTo>
                <a:lnTo>
                  <a:pt x="2263" y="2111"/>
                </a:lnTo>
                <a:lnTo>
                  <a:pt x="2262" y="2110"/>
                </a:lnTo>
                <a:lnTo>
                  <a:pt x="2261" y="2107"/>
                </a:lnTo>
                <a:lnTo>
                  <a:pt x="2261" y="2105"/>
                </a:lnTo>
                <a:lnTo>
                  <a:pt x="2261" y="2100"/>
                </a:lnTo>
                <a:lnTo>
                  <a:pt x="2262" y="2098"/>
                </a:lnTo>
                <a:lnTo>
                  <a:pt x="2264" y="2096"/>
                </a:lnTo>
                <a:lnTo>
                  <a:pt x="2266" y="2094"/>
                </a:lnTo>
                <a:lnTo>
                  <a:pt x="2268" y="2093"/>
                </a:lnTo>
                <a:lnTo>
                  <a:pt x="2271" y="2092"/>
                </a:lnTo>
                <a:close/>
                <a:moveTo>
                  <a:pt x="2913" y="1968"/>
                </a:moveTo>
                <a:lnTo>
                  <a:pt x="2916" y="1968"/>
                </a:lnTo>
                <a:lnTo>
                  <a:pt x="2919" y="1968"/>
                </a:lnTo>
                <a:lnTo>
                  <a:pt x="2921" y="1969"/>
                </a:lnTo>
                <a:lnTo>
                  <a:pt x="2925" y="1972"/>
                </a:lnTo>
                <a:lnTo>
                  <a:pt x="2926" y="1974"/>
                </a:lnTo>
                <a:lnTo>
                  <a:pt x="2927" y="1976"/>
                </a:lnTo>
                <a:lnTo>
                  <a:pt x="2928" y="1981"/>
                </a:lnTo>
                <a:lnTo>
                  <a:pt x="2928" y="1983"/>
                </a:lnTo>
                <a:lnTo>
                  <a:pt x="2927" y="1985"/>
                </a:lnTo>
                <a:lnTo>
                  <a:pt x="2926" y="1987"/>
                </a:lnTo>
                <a:lnTo>
                  <a:pt x="2925" y="1988"/>
                </a:lnTo>
                <a:lnTo>
                  <a:pt x="2923" y="1990"/>
                </a:lnTo>
                <a:lnTo>
                  <a:pt x="2922" y="1991"/>
                </a:lnTo>
                <a:lnTo>
                  <a:pt x="2920" y="1992"/>
                </a:lnTo>
                <a:lnTo>
                  <a:pt x="2918" y="1992"/>
                </a:lnTo>
                <a:lnTo>
                  <a:pt x="2915" y="1992"/>
                </a:lnTo>
                <a:lnTo>
                  <a:pt x="2913" y="1992"/>
                </a:lnTo>
                <a:lnTo>
                  <a:pt x="2910" y="1991"/>
                </a:lnTo>
                <a:lnTo>
                  <a:pt x="2907" y="1988"/>
                </a:lnTo>
                <a:lnTo>
                  <a:pt x="2905" y="1987"/>
                </a:lnTo>
                <a:lnTo>
                  <a:pt x="2904" y="1984"/>
                </a:lnTo>
                <a:lnTo>
                  <a:pt x="2903" y="1980"/>
                </a:lnTo>
                <a:lnTo>
                  <a:pt x="2904" y="1977"/>
                </a:lnTo>
                <a:lnTo>
                  <a:pt x="2904" y="1975"/>
                </a:lnTo>
                <a:lnTo>
                  <a:pt x="2905" y="1974"/>
                </a:lnTo>
                <a:lnTo>
                  <a:pt x="2906" y="1972"/>
                </a:lnTo>
                <a:lnTo>
                  <a:pt x="2908" y="1970"/>
                </a:lnTo>
                <a:lnTo>
                  <a:pt x="2910" y="1969"/>
                </a:lnTo>
                <a:lnTo>
                  <a:pt x="2911" y="1968"/>
                </a:lnTo>
                <a:lnTo>
                  <a:pt x="2913" y="1968"/>
                </a:lnTo>
                <a:close/>
                <a:moveTo>
                  <a:pt x="2332" y="2066"/>
                </a:moveTo>
                <a:lnTo>
                  <a:pt x="2336" y="2066"/>
                </a:lnTo>
                <a:lnTo>
                  <a:pt x="2340" y="2067"/>
                </a:lnTo>
                <a:lnTo>
                  <a:pt x="2343" y="2070"/>
                </a:lnTo>
                <a:lnTo>
                  <a:pt x="2344" y="2072"/>
                </a:lnTo>
                <a:lnTo>
                  <a:pt x="2345" y="2074"/>
                </a:lnTo>
                <a:lnTo>
                  <a:pt x="2346" y="2076"/>
                </a:lnTo>
                <a:lnTo>
                  <a:pt x="2346" y="2078"/>
                </a:lnTo>
                <a:lnTo>
                  <a:pt x="2346" y="2081"/>
                </a:lnTo>
                <a:lnTo>
                  <a:pt x="2345" y="2083"/>
                </a:lnTo>
                <a:lnTo>
                  <a:pt x="2344" y="2085"/>
                </a:lnTo>
                <a:lnTo>
                  <a:pt x="2342" y="2087"/>
                </a:lnTo>
                <a:lnTo>
                  <a:pt x="2341" y="2089"/>
                </a:lnTo>
                <a:lnTo>
                  <a:pt x="2338" y="2090"/>
                </a:lnTo>
                <a:lnTo>
                  <a:pt x="2336" y="2090"/>
                </a:lnTo>
                <a:lnTo>
                  <a:pt x="2332" y="2090"/>
                </a:lnTo>
                <a:lnTo>
                  <a:pt x="2328" y="2089"/>
                </a:lnTo>
                <a:lnTo>
                  <a:pt x="2324" y="2087"/>
                </a:lnTo>
                <a:lnTo>
                  <a:pt x="2323" y="2085"/>
                </a:lnTo>
                <a:lnTo>
                  <a:pt x="2322" y="2083"/>
                </a:lnTo>
                <a:lnTo>
                  <a:pt x="2322" y="2081"/>
                </a:lnTo>
                <a:lnTo>
                  <a:pt x="2321" y="2078"/>
                </a:lnTo>
                <a:lnTo>
                  <a:pt x="2322" y="2076"/>
                </a:lnTo>
                <a:lnTo>
                  <a:pt x="2322" y="2073"/>
                </a:lnTo>
                <a:lnTo>
                  <a:pt x="2323" y="2071"/>
                </a:lnTo>
                <a:lnTo>
                  <a:pt x="2325" y="2070"/>
                </a:lnTo>
                <a:lnTo>
                  <a:pt x="2327" y="2068"/>
                </a:lnTo>
                <a:lnTo>
                  <a:pt x="2329" y="2067"/>
                </a:lnTo>
                <a:lnTo>
                  <a:pt x="2332" y="2066"/>
                </a:lnTo>
                <a:close/>
                <a:moveTo>
                  <a:pt x="2847" y="1965"/>
                </a:moveTo>
                <a:lnTo>
                  <a:pt x="2850" y="1965"/>
                </a:lnTo>
                <a:lnTo>
                  <a:pt x="2852" y="1966"/>
                </a:lnTo>
                <a:lnTo>
                  <a:pt x="2855" y="1966"/>
                </a:lnTo>
                <a:lnTo>
                  <a:pt x="2857" y="1968"/>
                </a:lnTo>
                <a:lnTo>
                  <a:pt x="2858" y="1969"/>
                </a:lnTo>
                <a:lnTo>
                  <a:pt x="2860" y="1971"/>
                </a:lnTo>
                <a:lnTo>
                  <a:pt x="2861" y="1973"/>
                </a:lnTo>
                <a:lnTo>
                  <a:pt x="2862" y="1975"/>
                </a:lnTo>
                <a:lnTo>
                  <a:pt x="2862" y="1978"/>
                </a:lnTo>
                <a:lnTo>
                  <a:pt x="2862" y="1980"/>
                </a:lnTo>
                <a:lnTo>
                  <a:pt x="2861" y="1982"/>
                </a:lnTo>
                <a:lnTo>
                  <a:pt x="2860" y="1984"/>
                </a:lnTo>
                <a:lnTo>
                  <a:pt x="2859" y="1986"/>
                </a:lnTo>
                <a:lnTo>
                  <a:pt x="2856" y="1988"/>
                </a:lnTo>
                <a:lnTo>
                  <a:pt x="2854" y="1989"/>
                </a:lnTo>
                <a:lnTo>
                  <a:pt x="2852" y="1990"/>
                </a:lnTo>
                <a:lnTo>
                  <a:pt x="2849" y="1990"/>
                </a:lnTo>
                <a:lnTo>
                  <a:pt x="2847" y="1990"/>
                </a:lnTo>
                <a:lnTo>
                  <a:pt x="2844" y="1989"/>
                </a:lnTo>
                <a:lnTo>
                  <a:pt x="2842" y="1988"/>
                </a:lnTo>
                <a:lnTo>
                  <a:pt x="2841" y="1986"/>
                </a:lnTo>
                <a:lnTo>
                  <a:pt x="2839" y="1984"/>
                </a:lnTo>
                <a:lnTo>
                  <a:pt x="2838" y="1982"/>
                </a:lnTo>
                <a:lnTo>
                  <a:pt x="2837" y="1980"/>
                </a:lnTo>
                <a:lnTo>
                  <a:pt x="2837" y="1977"/>
                </a:lnTo>
                <a:lnTo>
                  <a:pt x="2837" y="1975"/>
                </a:lnTo>
                <a:lnTo>
                  <a:pt x="2838" y="1973"/>
                </a:lnTo>
                <a:lnTo>
                  <a:pt x="2839" y="1971"/>
                </a:lnTo>
                <a:lnTo>
                  <a:pt x="2840" y="1970"/>
                </a:lnTo>
                <a:lnTo>
                  <a:pt x="2843" y="1967"/>
                </a:lnTo>
                <a:lnTo>
                  <a:pt x="2845" y="1966"/>
                </a:lnTo>
                <a:lnTo>
                  <a:pt x="2847" y="1965"/>
                </a:lnTo>
                <a:close/>
                <a:moveTo>
                  <a:pt x="2393" y="2043"/>
                </a:moveTo>
                <a:lnTo>
                  <a:pt x="2398" y="2043"/>
                </a:lnTo>
                <a:lnTo>
                  <a:pt x="2400" y="2043"/>
                </a:lnTo>
                <a:lnTo>
                  <a:pt x="2402" y="2044"/>
                </a:lnTo>
                <a:lnTo>
                  <a:pt x="2405" y="2047"/>
                </a:lnTo>
                <a:lnTo>
                  <a:pt x="2406" y="2049"/>
                </a:lnTo>
                <a:lnTo>
                  <a:pt x="2407" y="2051"/>
                </a:lnTo>
                <a:lnTo>
                  <a:pt x="2408" y="2055"/>
                </a:lnTo>
                <a:lnTo>
                  <a:pt x="2407" y="2058"/>
                </a:lnTo>
                <a:lnTo>
                  <a:pt x="2407" y="2060"/>
                </a:lnTo>
                <a:lnTo>
                  <a:pt x="2405" y="2062"/>
                </a:lnTo>
                <a:lnTo>
                  <a:pt x="2404" y="2064"/>
                </a:lnTo>
                <a:lnTo>
                  <a:pt x="2402" y="2065"/>
                </a:lnTo>
                <a:lnTo>
                  <a:pt x="2400" y="2066"/>
                </a:lnTo>
                <a:lnTo>
                  <a:pt x="2398" y="2067"/>
                </a:lnTo>
                <a:lnTo>
                  <a:pt x="2393" y="2067"/>
                </a:lnTo>
                <a:lnTo>
                  <a:pt x="2391" y="2066"/>
                </a:lnTo>
                <a:lnTo>
                  <a:pt x="2389" y="2065"/>
                </a:lnTo>
                <a:lnTo>
                  <a:pt x="2386" y="2063"/>
                </a:lnTo>
                <a:lnTo>
                  <a:pt x="2385" y="2061"/>
                </a:lnTo>
                <a:lnTo>
                  <a:pt x="2384" y="2059"/>
                </a:lnTo>
                <a:lnTo>
                  <a:pt x="2383" y="2054"/>
                </a:lnTo>
                <a:lnTo>
                  <a:pt x="2383" y="2052"/>
                </a:lnTo>
                <a:lnTo>
                  <a:pt x="2384" y="2049"/>
                </a:lnTo>
                <a:lnTo>
                  <a:pt x="2386" y="2047"/>
                </a:lnTo>
                <a:lnTo>
                  <a:pt x="2387" y="2046"/>
                </a:lnTo>
                <a:lnTo>
                  <a:pt x="2389" y="2044"/>
                </a:lnTo>
                <a:lnTo>
                  <a:pt x="2391" y="2043"/>
                </a:lnTo>
                <a:lnTo>
                  <a:pt x="2393" y="2043"/>
                </a:lnTo>
                <a:close/>
                <a:moveTo>
                  <a:pt x="2781" y="1966"/>
                </a:moveTo>
                <a:lnTo>
                  <a:pt x="2783" y="1966"/>
                </a:lnTo>
                <a:lnTo>
                  <a:pt x="2788" y="1967"/>
                </a:lnTo>
                <a:lnTo>
                  <a:pt x="2790" y="1968"/>
                </a:lnTo>
                <a:lnTo>
                  <a:pt x="2792" y="1969"/>
                </a:lnTo>
                <a:lnTo>
                  <a:pt x="2793" y="1971"/>
                </a:lnTo>
                <a:lnTo>
                  <a:pt x="2795" y="1973"/>
                </a:lnTo>
                <a:lnTo>
                  <a:pt x="2795" y="1975"/>
                </a:lnTo>
                <a:lnTo>
                  <a:pt x="2796" y="1978"/>
                </a:lnTo>
                <a:lnTo>
                  <a:pt x="2795" y="1982"/>
                </a:lnTo>
                <a:lnTo>
                  <a:pt x="2793" y="1986"/>
                </a:lnTo>
                <a:lnTo>
                  <a:pt x="2790" y="1989"/>
                </a:lnTo>
                <a:lnTo>
                  <a:pt x="2788" y="1990"/>
                </a:lnTo>
                <a:lnTo>
                  <a:pt x="2786" y="1990"/>
                </a:lnTo>
                <a:lnTo>
                  <a:pt x="2784" y="1991"/>
                </a:lnTo>
                <a:lnTo>
                  <a:pt x="2779" y="1990"/>
                </a:lnTo>
                <a:lnTo>
                  <a:pt x="2777" y="1989"/>
                </a:lnTo>
                <a:lnTo>
                  <a:pt x="2775" y="1987"/>
                </a:lnTo>
                <a:lnTo>
                  <a:pt x="2773" y="1986"/>
                </a:lnTo>
                <a:lnTo>
                  <a:pt x="2772" y="1983"/>
                </a:lnTo>
                <a:lnTo>
                  <a:pt x="2771" y="1981"/>
                </a:lnTo>
                <a:lnTo>
                  <a:pt x="2771" y="1979"/>
                </a:lnTo>
                <a:lnTo>
                  <a:pt x="2772" y="1974"/>
                </a:lnTo>
                <a:lnTo>
                  <a:pt x="2774" y="1970"/>
                </a:lnTo>
                <a:lnTo>
                  <a:pt x="2777" y="1968"/>
                </a:lnTo>
                <a:lnTo>
                  <a:pt x="2779" y="1967"/>
                </a:lnTo>
                <a:lnTo>
                  <a:pt x="2781" y="1966"/>
                </a:lnTo>
                <a:close/>
                <a:moveTo>
                  <a:pt x="2456" y="2022"/>
                </a:moveTo>
                <a:lnTo>
                  <a:pt x="2461" y="2022"/>
                </a:lnTo>
                <a:lnTo>
                  <a:pt x="2463" y="2022"/>
                </a:lnTo>
                <a:lnTo>
                  <a:pt x="2465" y="2023"/>
                </a:lnTo>
                <a:lnTo>
                  <a:pt x="2466" y="2025"/>
                </a:lnTo>
                <a:lnTo>
                  <a:pt x="2468" y="2026"/>
                </a:lnTo>
                <a:lnTo>
                  <a:pt x="2469" y="2028"/>
                </a:lnTo>
                <a:lnTo>
                  <a:pt x="2470" y="2030"/>
                </a:lnTo>
                <a:lnTo>
                  <a:pt x="2471" y="2033"/>
                </a:lnTo>
                <a:lnTo>
                  <a:pt x="2471" y="2035"/>
                </a:lnTo>
                <a:lnTo>
                  <a:pt x="2470" y="2038"/>
                </a:lnTo>
                <a:lnTo>
                  <a:pt x="2469" y="2040"/>
                </a:lnTo>
                <a:lnTo>
                  <a:pt x="2468" y="2042"/>
                </a:lnTo>
                <a:lnTo>
                  <a:pt x="2466" y="2044"/>
                </a:lnTo>
                <a:lnTo>
                  <a:pt x="2464" y="2045"/>
                </a:lnTo>
                <a:lnTo>
                  <a:pt x="2462" y="2046"/>
                </a:lnTo>
                <a:lnTo>
                  <a:pt x="2460" y="2046"/>
                </a:lnTo>
                <a:lnTo>
                  <a:pt x="2456" y="2046"/>
                </a:lnTo>
                <a:lnTo>
                  <a:pt x="2454" y="2046"/>
                </a:lnTo>
                <a:lnTo>
                  <a:pt x="2452" y="2045"/>
                </a:lnTo>
                <a:lnTo>
                  <a:pt x="2450" y="2043"/>
                </a:lnTo>
                <a:lnTo>
                  <a:pt x="2449" y="2042"/>
                </a:lnTo>
                <a:lnTo>
                  <a:pt x="2447" y="2040"/>
                </a:lnTo>
                <a:lnTo>
                  <a:pt x="2446" y="2038"/>
                </a:lnTo>
                <a:lnTo>
                  <a:pt x="2446" y="2035"/>
                </a:lnTo>
                <a:lnTo>
                  <a:pt x="2446" y="2033"/>
                </a:lnTo>
                <a:lnTo>
                  <a:pt x="2446" y="2030"/>
                </a:lnTo>
                <a:lnTo>
                  <a:pt x="2447" y="2028"/>
                </a:lnTo>
                <a:lnTo>
                  <a:pt x="2449" y="2026"/>
                </a:lnTo>
                <a:lnTo>
                  <a:pt x="2450" y="2025"/>
                </a:lnTo>
                <a:lnTo>
                  <a:pt x="2452" y="2023"/>
                </a:lnTo>
                <a:lnTo>
                  <a:pt x="2455" y="2022"/>
                </a:lnTo>
                <a:lnTo>
                  <a:pt x="2456" y="2022"/>
                </a:lnTo>
                <a:close/>
                <a:moveTo>
                  <a:pt x="2715" y="1970"/>
                </a:moveTo>
                <a:lnTo>
                  <a:pt x="2718" y="1970"/>
                </a:lnTo>
                <a:lnTo>
                  <a:pt x="2721" y="1971"/>
                </a:lnTo>
                <a:lnTo>
                  <a:pt x="2723" y="1972"/>
                </a:lnTo>
                <a:lnTo>
                  <a:pt x="2725" y="1973"/>
                </a:lnTo>
                <a:lnTo>
                  <a:pt x="2727" y="1975"/>
                </a:lnTo>
                <a:lnTo>
                  <a:pt x="2728" y="1977"/>
                </a:lnTo>
                <a:lnTo>
                  <a:pt x="2729" y="1979"/>
                </a:lnTo>
                <a:lnTo>
                  <a:pt x="2730" y="1981"/>
                </a:lnTo>
                <a:lnTo>
                  <a:pt x="2730" y="1984"/>
                </a:lnTo>
                <a:lnTo>
                  <a:pt x="2729" y="1986"/>
                </a:lnTo>
                <a:lnTo>
                  <a:pt x="2727" y="1990"/>
                </a:lnTo>
                <a:lnTo>
                  <a:pt x="2726" y="1992"/>
                </a:lnTo>
                <a:lnTo>
                  <a:pt x="2724" y="1993"/>
                </a:lnTo>
                <a:lnTo>
                  <a:pt x="2720" y="1995"/>
                </a:lnTo>
                <a:lnTo>
                  <a:pt x="2717" y="1995"/>
                </a:lnTo>
                <a:lnTo>
                  <a:pt x="2714" y="1994"/>
                </a:lnTo>
                <a:lnTo>
                  <a:pt x="2712" y="1993"/>
                </a:lnTo>
                <a:lnTo>
                  <a:pt x="2710" y="1992"/>
                </a:lnTo>
                <a:lnTo>
                  <a:pt x="2708" y="1990"/>
                </a:lnTo>
                <a:lnTo>
                  <a:pt x="2706" y="1988"/>
                </a:lnTo>
                <a:lnTo>
                  <a:pt x="2706" y="1986"/>
                </a:lnTo>
                <a:lnTo>
                  <a:pt x="2705" y="1984"/>
                </a:lnTo>
                <a:lnTo>
                  <a:pt x="2705" y="1981"/>
                </a:lnTo>
                <a:lnTo>
                  <a:pt x="2705" y="1979"/>
                </a:lnTo>
                <a:lnTo>
                  <a:pt x="2708" y="1975"/>
                </a:lnTo>
                <a:lnTo>
                  <a:pt x="2709" y="1973"/>
                </a:lnTo>
                <a:lnTo>
                  <a:pt x="2711" y="1972"/>
                </a:lnTo>
                <a:lnTo>
                  <a:pt x="2715" y="1970"/>
                </a:lnTo>
                <a:close/>
                <a:moveTo>
                  <a:pt x="2520" y="2004"/>
                </a:moveTo>
                <a:lnTo>
                  <a:pt x="2524" y="2004"/>
                </a:lnTo>
                <a:lnTo>
                  <a:pt x="2527" y="2005"/>
                </a:lnTo>
                <a:lnTo>
                  <a:pt x="2529" y="2006"/>
                </a:lnTo>
                <a:lnTo>
                  <a:pt x="2530" y="2007"/>
                </a:lnTo>
                <a:lnTo>
                  <a:pt x="2532" y="2009"/>
                </a:lnTo>
                <a:lnTo>
                  <a:pt x="2533" y="2011"/>
                </a:lnTo>
                <a:lnTo>
                  <a:pt x="2534" y="2013"/>
                </a:lnTo>
                <a:lnTo>
                  <a:pt x="2534" y="2016"/>
                </a:lnTo>
                <a:lnTo>
                  <a:pt x="2534" y="2018"/>
                </a:lnTo>
                <a:lnTo>
                  <a:pt x="2533" y="2023"/>
                </a:lnTo>
                <a:lnTo>
                  <a:pt x="2531" y="2025"/>
                </a:lnTo>
                <a:lnTo>
                  <a:pt x="2530" y="2025"/>
                </a:lnTo>
                <a:lnTo>
                  <a:pt x="2529" y="2026"/>
                </a:lnTo>
                <a:lnTo>
                  <a:pt x="2527" y="2027"/>
                </a:lnTo>
                <a:lnTo>
                  <a:pt x="2525" y="2028"/>
                </a:lnTo>
                <a:lnTo>
                  <a:pt x="2520" y="2028"/>
                </a:lnTo>
                <a:lnTo>
                  <a:pt x="2518" y="2028"/>
                </a:lnTo>
                <a:lnTo>
                  <a:pt x="2515" y="2027"/>
                </a:lnTo>
                <a:lnTo>
                  <a:pt x="2514" y="2025"/>
                </a:lnTo>
                <a:lnTo>
                  <a:pt x="2512" y="2024"/>
                </a:lnTo>
                <a:lnTo>
                  <a:pt x="2511" y="2022"/>
                </a:lnTo>
                <a:lnTo>
                  <a:pt x="2510" y="2019"/>
                </a:lnTo>
                <a:lnTo>
                  <a:pt x="2510" y="2017"/>
                </a:lnTo>
                <a:lnTo>
                  <a:pt x="2510" y="2014"/>
                </a:lnTo>
                <a:lnTo>
                  <a:pt x="2511" y="2010"/>
                </a:lnTo>
                <a:lnTo>
                  <a:pt x="2513" y="2008"/>
                </a:lnTo>
                <a:lnTo>
                  <a:pt x="2514" y="2007"/>
                </a:lnTo>
                <a:lnTo>
                  <a:pt x="2515" y="2006"/>
                </a:lnTo>
                <a:lnTo>
                  <a:pt x="2517" y="2005"/>
                </a:lnTo>
                <a:lnTo>
                  <a:pt x="2519" y="2004"/>
                </a:lnTo>
                <a:lnTo>
                  <a:pt x="2520" y="2004"/>
                </a:lnTo>
                <a:close/>
                <a:moveTo>
                  <a:pt x="2650" y="1978"/>
                </a:moveTo>
                <a:lnTo>
                  <a:pt x="2652" y="1978"/>
                </a:lnTo>
                <a:lnTo>
                  <a:pt x="2655" y="1978"/>
                </a:lnTo>
                <a:lnTo>
                  <a:pt x="2657" y="1979"/>
                </a:lnTo>
                <a:lnTo>
                  <a:pt x="2659" y="1980"/>
                </a:lnTo>
                <a:lnTo>
                  <a:pt x="2661" y="1982"/>
                </a:lnTo>
                <a:lnTo>
                  <a:pt x="2662" y="1984"/>
                </a:lnTo>
                <a:lnTo>
                  <a:pt x="2663" y="1986"/>
                </a:lnTo>
                <a:lnTo>
                  <a:pt x="2664" y="1989"/>
                </a:lnTo>
                <a:lnTo>
                  <a:pt x="2664" y="1991"/>
                </a:lnTo>
                <a:lnTo>
                  <a:pt x="2664" y="1993"/>
                </a:lnTo>
                <a:lnTo>
                  <a:pt x="2663" y="1996"/>
                </a:lnTo>
                <a:lnTo>
                  <a:pt x="2662" y="1998"/>
                </a:lnTo>
                <a:lnTo>
                  <a:pt x="2660" y="1999"/>
                </a:lnTo>
                <a:lnTo>
                  <a:pt x="2658" y="2001"/>
                </a:lnTo>
                <a:lnTo>
                  <a:pt x="2656" y="2002"/>
                </a:lnTo>
                <a:lnTo>
                  <a:pt x="2654" y="2003"/>
                </a:lnTo>
                <a:lnTo>
                  <a:pt x="2651" y="2003"/>
                </a:lnTo>
                <a:lnTo>
                  <a:pt x="2649" y="2002"/>
                </a:lnTo>
                <a:lnTo>
                  <a:pt x="2646" y="2001"/>
                </a:lnTo>
                <a:lnTo>
                  <a:pt x="2644" y="2000"/>
                </a:lnTo>
                <a:lnTo>
                  <a:pt x="2643" y="1999"/>
                </a:lnTo>
                <a:lnTo>
                  <a:pt x="2641" y="1997"/>
                </a:lnTo>
                <a:lnTo>
                  <a:pt x="2640" y="1995"/>
                </a:lnTo>
                <a:lnTo>
                  <a:pt x="2639" y="1992"/>
                </a:lnTo>
                <a:lnTo>
                  <a:pt x="2639" y="1990"/>
                </a:lnTo>
                <a:lnTo>
                  <a:pt x="2640" y="1987"/>
                </a:lnTo>
                <a:lnTo>
                  <a:pt x="2640" y="1985"/>
                </a:lnTo>
                <a:lnTo>
                  <a:pt x="2642" y="1983"/>
                </a:lnTo>
                <a:lnTo>
                  <a:pt x="2643" y="1981"/>
                </a:lnTo>
                <a:lnTo>
                  <a:pt x="2645" y="1980"/>
                </a:lnTo>
                <a:lnTo>
                  <a:pt x="2647" y="1979"/>
                </a:lnTo>
                <a:lnTo>
                  <a:pt x="2650" y="1978"/>
                </a:lnTo>
                <a:close/>
                <a:moveTo>
                  <a:pt x="2584" y="1989"/>
                </a:moveTo>
                <a:lnTo>
                  <a:pt x="2589" y="1990"/>
                </a:lnTo>
                <a:lnTo>
                  <a:pt x="2591" y="1990"/>
                </a:lnTo>
                <a:lnTo>
                  <a:pt x="2593" y="1991"/>
                </a:lnTo>
                <a:lnTo>
                  <a:pt x="2595" y="1993"/>
                </a:lnTo>
                <a:lnTo>
                  <a:pt x="2597" y="1995"/>
                </a:lnTo>
                <a:lnTo>
                  <a:pt x="2598" y="1997"/>
                </a:lnTo>
                <a:lnTo>
                  <a:pt x="2599" y="1999"/>
                </a:lnTo>
                <a:lnTo>
                  <a:pt x="2599" y="2004"/>
                </a:lnTo>
                <a:lnTo>
                  <a:pt x="2598" y="2006"/>
                </a:lnTo>
                <a:lnTo>
                  <a:pt x="2597" y="2009"/>
                </a:lnTo>
                <a:lnTo>
                  <a:pt x="2595" y="2010"/>
                </a:lnTo>
                <a:lnTo>
                  <a:pt x="2593" y="2012"/>
                </a:lnTo>
                <a:lnTo>
                  <a:pt x="2591" y="2013"/>
                </a:lnTo>
                <a:lnTo>
                  <a:pt x="2589" y="2014"/>
                </a:lnTo>
                <a:lnTo>
                  <a:pt x="2584" y="2014"/>
                </a:lnTo>
                <a:lnTo>
                  <a:pt x="2582" y="2013"/>
                </a:lnTo>
                <a:lnTo>
                  <a:pt x="2580" y="2012"/>
                </a:lnTo>
                <a:lnTo>
                  <a:pt x="2578" y="2010"/>
                </a:lnTo>
                <a:lnTo>
                  <a:pt x="2576" y="2009"/>
                </a:lnTo>
                <a:lnTo>
                  <a:pt x="2575" y="2006"/>
                </a:lnTo>
                <a:lnTo>
                  <a:pt x="2574" y="2004"/>
                </a:lnTo>
                <a:lnTo>
                  <a:pt x="2574" y="1999"/>
                </a:lnTo>
                <a:lnTo>
                  <a:pt x="2575" y="1997"/>
                </a:lnTo>
                <a:lnTo>
                  <a:pt x="2576" y="1995"/>
                </a:lnTo>
                <a:lnTo>
                  <a:pt x="2578" y="1993"/>
                </a:lnTo>
                <a:lnTo>
                  <a:pt x="2580" y="1991"/>
                </a:lnTo>
                <a:lnTo>
                  <a:pt x="2582" y="1990"/>
                </a:lnTo>
                <a:lnTo>
                  <a:pt x="2584" y="1990"/>
                </a:lnTo>
                <a:lnTo>
                  <a:pt x="2584" y="1989"/>
                </a:lnTo>
                <a:close/>
                <a:moveTo>
                  <a:pt x="1561" y="2260"/>
                </a:moveTo>
                <a:lnTo>
                  <a:pt x="1564" y="2259"/>
                </a:lnTo>
                <a:lnTo>
                  <a:pt x="1567" y="2260"/>
                </a:lnTo>
                <a:lnTo>
                  <a:pt x="1570" y="2261"/>
                </a:lnTo>
                <a:lnTo>
                  <a:pt x="1572" y="2263"/>
                </a:lnTo>
                <a:lnTo>
                  <a:pt x="1573" y="2264"/>
                </a:lnTo>
                <a:lnTo>
                  <a:pt x="1574" y="2266"/>
                </a:lnTo>
                <a:lnTo>
                  <a:pt x="1575" y="2269"/>
                </a:lnTo>
                <a:lnTo>
                  <a:pt x="1551" y="2269"/>
                </a:lnTo>
                <a:lnTo>
                  <a:pt x="1552" y="2266"/>
                </a:lnTo>
                <a:lnTo>
                  <a:pt x="1554" y="2263"/>
                </a:lnTo>
                <a:lnTo>
                  <a:pt x="1556" y="2262"/>
                </a:lnTo>
                <a:lnTo>
                  <a:pt x="1557" y="2261"/>
                </a:lnTo>
                <a:lnTo>
                  <a:pt x="1561" y="2260"/>
                </a:lnTo>
                <a:close/>
                <a:moveTo>
                  <a:pt x="1608" y="2213"/>
                </a:moveTo>
                <a:lnTo>
                  <a:pt x="1611" y="2213"/>
                </a:lnTo>
                <a:lnTo>
                  <a:pt x="1614" y="2213"/>
                </a:lnTo>
                <a:lnTo>
                  <a:pt x="1617" y="2215"/>
                </a:lnTo>
                <a:lnTo>
                  <a:pt x="1619" y="2217"/>
                </a:lnTo>
                <a:lnTo>
                  <a:pt x="1621" y="2219"/>
                </a:lnTo>
                <a:lnTo>
                  <a:pt x="1622" y="2221"/>
                </a:lnTo>
                <a:lnTo>
                  <a:pt x="1623" y="2223"/>
                </a:lnTo>
                <a:lnTo>
                  <a:pt x="1623" y="2226"/>
                </a:lnTo>
                <a:lnTo>
                  <a:pt x="1623" y="2228"/>
                </a:lnTo>
                <a:lnTo>
                  <a:pt x="1622" y="2230"/>
                </a:lnTo>
                <a:lnTo>
                  <a:pt x="1621" y="2232"/>
                </a:lnTo>
                <a:lnTo>
                  <a:pt x="1619" y="2234"/>
                </a:lnTo>
                <a:lnTo>
                  <a:pt x="1616" y="2237"/>
                </a:lnTo>
                <a:lnTo>
                  <a:pt x="1613" y="2238"/>
                </a:lnTo>
                <a:lnTo>
                  <a:pt x="1610" y="2238"/>
                </a:lnTo>
                <a:lnTo>
                  <a:pt x="1607" y="2237"/>
                </a:lnTo>
                <a:lnTo>
                  <a:pt x="1604" y="2236"/>
                </a:lnTo>
                <a:lnTo>
                  <a:pt x="1601" y="2234"/>
                </a:lnTo>
                <a:lnTo>
                  <a:pt x="1600" y="2232"/>
                </a:lnTo>
                <a:lnTo>
                  <a:pt x="1599" y="2230"/>
                </a:lnTo>
                <a:lnTo>
                  <a:pt x="1598" y="2228"/>
                </a:lnTo>
                <a:lnTo>
                  <a:pt x="1598" y="2225"/>
                </a:lnTo>
                <a:lnTo>
                  <a:pt x="1598" y="2223"/>
                </a:lnTo>
                <a:lnTo>
                  <a:pt x="1599" y="2220"/>
                </a:lnTo>
                <a:lnTo>
                  <a:pt x="1600" y="2218"/>
                </a:lnTo>
                <a:lnTo>
                  <a:pt x="1602" y="2216"/>
                </a:lnTo>
                <a:lnTo>
                  <a:pt x="1605" y="2214"/>
                </a:lnTo>
                <a:lnTo>
                  <a:pt x="1608" y="2213"/>
                </a:lnTo>
                <a:close/>
                <a:moveTo>
                  <a:pt x="1657" y="2168"/>
                </a:moveTo>
                <a:lnTo>
                  <a:pt x="1660" y="2168"/>
                </a:lnTo>
                <a:lnTo>
                  <a:pt x="1663" y="2168"/>
                </a:lnTo>
                <a:lnTo>
                  <a:pt x="1665" y="2170"/>
                </a:lnTo>
                <a:lnTo>
                  <a:pt x="1668" y="2172"/>
                </a:lnTo>
                <a:lnTo>
                  <a:pt x="1669" y="2174"/>
                </a:lnTo>
                <a:lnTo>
                  <a:pt x="1671" y="2176"/>
                </a:lnTo>
                <a:lnTo>
                  <a:pt x="1671" y="2181"/>
                </a:lnTo>
                <a:lnTo>
                  <a:pt x="1671" y="2183"/>
                </a:lnTo>
                <a:lnTo>
                  <a:pt x="1670" y="2186"/>
                </a:lnTo>
                <a:lnTo>
                  <a:pt x="1669" y="2188"/>
                </a:lnTo>
                <a:lnTo>
                  <a:pt x="1667" y="2190"/>
                </a:lnTo>
                <a:lnTo>
                  <a:pt x="1664" y="2191"/>
                </a:lnTo>
                <a:lnTo>
                  <a:pt x="1661" y="2193"/>
                </a:lnTo>
                <a:lnTo>
                  <a:pt x="1658" y="2193"/>
                </a:lnTo>
                <a:lnTo>
                  <a:pt x="1655" y="2192"/>
                </a:lnTo>
                <a:lnTo>
                  <a:pt x="1652" y="2191"/>
                </a:lnTo>
                <a:lnTo>
                  <a:pt x="1649" y="2189"/>
                </a:lnTo>
                <a:lnTo>
                  <a:pt x="1648" y="2187"/>
                </a:lnTo>
                <a:lnTo>
                  <a:pt x="1647" y="2184"/>
                </a:lnTo>
                <a:lnTo>
                  <a:pt x="1646" y="2180"/>
                </a:lnTo>
                <a:lnTo>
                  <a:pt x="1647" y="2177"/>
                </a:lnTo>
                <a:lnTo>
                  <a:pt x="1647" y="2175"/>
                </a:lnTo>
                <a:lnTo>
                  <a:pt x="1649" y="2173"/>
                </a:lnTo>
                <a:lnTo>
                  <a:pt x="1650" y="2171"/>
                </a:lnTo>
                <a:lnTo>
                  <a:pt x="1653" y="2169"/>
                </a:lnTo>
                <a:lnTo>
                  <a:pt x="1657" y="2168"/>
                </a:lnTo>
                <a:close/>
                <a:moveTo>
                  <a:pt x="1706" y="2124"/>
                </a:moveTo>
                <a:lnTo>
                  <a:pt x="1709" y="2124"/>
                </a:lnTo>
                <a:lnTo>
                  <a:pt x="1712" y="2125"/>
                </a:lnTo>
                <a:lnTo>
                  <a:pt x="1715" y="2126"/>
                </a:lnTo>
                <a:lnTo>
                  <a:pt x="1717" y="2127"/>
                </a:lnTo>
                <a:lnTo>
                  <a:pt x="1718" y="2128"/>
                </a:lnTo>
                <a:lnTo>
                  <a:pt x="1719" y="2131"/>
                </a:lnTo>
                <a:lnTo>
                  <a:pt x="1720" y="2133"/>
                </a:lnTo>
                <a:lnTo>
                  <a:pt x="1721" y="2135"/>
                </a:lnTo>
                <a:lnTo>
                  <a:pt x="1721" y="2138"/>
                </a:lnTo>
                <a:lnTo>
                  <a:pt x="1720" y="2140"/>
                </a:lnTo>
                <a:lnTo>
                  <a:pt x="1720" y="2142"/>
                </a:lnTo>
                <a:lnTo>
                  <a:pt x="1718" y="2144"/>
                </a:lnTo>
                <a:lnTo>
                  <a:pt x="1716" y="2146"/>
                </a:lnTo>
                <a:lnTo>
                  <a:pt x="1714" y="2148"/>
                </a:lnTo>
                <a:lnTo>
                  <a:pt x="1711" y="2149"/>
                </a:lnTo>
                <a:lnTo>
                  <a:pt x="1707" y="2149"/>
                </a:lnTo>
                <a:lnTo>
                  <a:pt x="1704" y="2148"/>
                </a:lnTo>
                <a:lnTo>
                  <a:pt x="1701" y="2147"/>
                </a:lnTo>
                <a:lnTo>
                  <a:pt x="1700" y="2146"/>
                </a:lnTo>
                <a:lnTo>
                  <a:pt x="1699" y="2145"/>
                </a:lnTo>
                <a:lnTo>
                  <a:pt x="1697" y="2143"/>
                </a:lnTo>
                <a:lnTo>
                  <a:pt x="1696" y="2140"/>
                </a:lnTo>
                <a:lnTo>
                  <a:pt x="1696" y="2138"/>
                </a:lnTo>
                <a:lnTo>
                  <a:pt x="1696" y="2136"/>
                </a:lnTo>
                <a:lnTo>
                  <a:pt x="1696" y="2133"/>
                </a:lnTo>
                <a:lnTo>
                  <a:pt x="1697" y="2131"/>
                </a:lnTo>
                <a:lnTo>
                  <a:pt x="1699" y="2129"/>
                </a:lnTo>
                <a:lnTo>
                  <a:pt x="1700" y="2127"/>
                </a:lnTo>
                <a:lnTo>
                  <a:pt x="1703" y="2125"/>
                </a:lnTo>
                <a:lnTo>
                  <a:pt x="1706" y="2124"/>
                </a:lnTo>
                <a:close/>
                <a:moveTo>
                  <a:pt x="1757" y="2082"/>
                </a:moveTo>
                <a:lnTo>
                  <a:pt x="1760" y="2082"/>
                </a:lnTo>
                <a:lnTo>
                  <a:pt x="1764" y="2083"/>
                </a:lnTo>
                <a:lnTo>
                  <a:pt x="1767" y="2084"/>
                </a:lnTo>
                <a:lnTo>
                  <a:pt x="1769" y="2087"/>
                </a:lnTo>
                <a:lnTo>
                  <a:pt x="1770" y="2089"/>
                </a:lnTo>
                <a:lnTo>
                  <a:pt x="1771" y="2091"/>
                </a:lnTo>
                <a:lnTo>
                  <a:pt x="1772" y="2093"/>
                </a:lnTo>
                <a:lnTo>
                  <a:pt x="1772" y="2096"/>
                </a:lnTo>
                <a:lnTo>
                  <a:pt x="1771" y="2098"/>
                </a:lnTo>
                <a:lnTo>
                  <a:pt x="1770" y="2100"/>
                </a:lnTo>
                <a:lnTo>
                  <a:pt x="1769" y="2102"/>
                </a:lnTo>
                <a:lnTo>
                  <a:pt x="1767" y="2104"/>
                </a:lnTo>
                <a:lnTo>
                  <a:pt x="1764" y="2106"/>
                </a:lnTo>
                <a:lnTo>
                  <a:pt x="1762" y="2107"/>
                </a:lnTo>
                <a:lnTo>
                  <a:pt x="1758" y="2107"/>
                </a:lnTo>
                <a:lnTo>
                  <a:pt x="1755" y="2106"/>
                </a:lnTo>
                <a:lnTo>
                  <a:pt x="1752" y="2105"/>
                </a:lnTo>
                <a:lnTo>
                  <a:pt x="1750" y="2102"/>
                </a:lnTo>
                <a:lnTo>
                  <a:pt x="1748" y="2100"/>
                </a:lnTo>
                <a:lnTo>
                  <a:pt x="1747" y="2098"/>
                </a:lnTo>
                <a:lnTo>
                  <a:pt x="1747" y="2095"/>
                </a:lnTo>
                <a:lnTo>
                  <a:pt x="1747" y="2093"/>
                </a:lnTo>
                <a:lnTo>
                  <a:pt x="1747" y="2091"/>
                </a:lnTo>
                <a:lnTo>
                  <a:pt x="1748" y="2088"/>
                </a:lnTo>
                <a:lnTo>
                  <a:pt x="1750" y="2086"/>
                </a:lnTo>
                <a:lnTo>
                  <a:pt x="1752" y="2085"/>
                </a:lnTo>
                <a:lnTo>
                  <a:pt x="1754" y="2083"/>
                </a:lnTo>
                <a:lnTo>
                  <a:pt x="1757" y="2082"/>
                </a:lnTo>
                <a:close/>
                <a:moveTo>
                  <a:pt x="1809" y="2041"/>
                </a:moveTo>
                <a:lnTo>
                  <a:pt x="1813" y="2041"/>
                </a:lnTo>
                <a:lnTo>
                  <a:pt x="1816" y="2042"/>
                </a:lnTo>
                <a:lnTo>
                  <a:pt x="1819" y="2044"/>
                </a:lnTo>
                <a:lnTo>
                  <a:pt x="1822" y="2046"/>
                </a:lnTo>
                <a:lnTo>
                  <a:pt x="1824" y="2051"/>
                </a:lnTo>
                <a:lnTo>
                  <a:pt x="1824" y="2053"/>
                </a:lnTo>
                <a:lnTo>
                  <a:pt x="1824" y="2056"/>
                </a:lnTo>
                <a:lnTo>
                  <a:pt x="1822" y="2060"/>
                </a:lnTo>
                <a:lnTo>
                  <a:pt x="1821" y="2062"/>
                </a:lnTo>
                <a:lnTo>
                  <a:pt x="1819" y="2064"/>
                </a:lnTo>
                <a:lnTo>
                  <a:pt x="1817" y="2065"/>
                </a:lnTo>
                <a:lnTo>
                  <a:pt x="1814" y="2066"/>
                </a:lnTo>
                <a:lnTo>
                  <a:pt x="1810" y="2066"/>
                </a:lnTo>
                <a:lnTo>
                  <a:pt x="1807" y="2065"/>
                </a:lnTo>
                <a:lnTo>
                  <a:pt x="1804" y="2064"/>
                </a:lnTo>
                <a:lnTo>
                  <a:pt x="1802" y="2061"/>
                </a:lnTo>
                <a:lnTo>
                  <a:pt x="1799" y="2057"/>
                </a:lnTo>
                <a:lnTo>
                  <a:pt x="1799" y="2054"/>
                </a:lnTo>
                <a:lnTo>
                  <a:pt x="1799" y="2052"/>
                </a:lnTo>
                <a:lnTo>
                  <a:pt x="1801" y="2047"/>
                </a:lnTo>
                <a:lnTo>
                  <a:pt x="1802" y="2045"/>
                </a:lnTo>
                <a:lnTo>
                  <a:pt x="1804" y="2044"/>
                </a:lnTo>
                <a:lnTo>
                  <a:pt x="1807" y="2042"/>
                </a:lnTo>
                <a:lnTo>
                  <a:pt x="1809" y="2041"/>
                </a:lnTo>
                <a:close/>
                <a:moveTo>
                  <a:pt x="1863" y="2003"/>
                </a:moveTo>
                <a:lnTo>
                  <a:pt x="1866" y="2003"/>
                </a:lnTo>
                <a:lnTo>
                  <a:pt x="1870" y="2003"/>
                </a:lnTo>
                <a:lnTo>
                  <a:pt x="1873" y="2005"/>
                </a:lnTo>
                <a:lnTo>
                  <a:pt x="1874" y="2006"/>
                </a:lnTo>
                <a:lnTo>
                  <a:pt x="1875" y="2008"/>
                </a:lnTo>
                <a:lnTo>
                  <a:pt x="1877" y="2010"/>
                </a:lnTo>
                <a:lnTo>
                  <a:pt x="1877" y="2012"/>
                </a:lnTo>
                <a:lnTo>
                  <a:pt x="1877" y="2017"/>
                </a:lnTo>
                <a:lnTo>
                  <a:pt x="1877" y="2019"/>
                </a:lnTo>
                <a:lnTo>
                  <a:pt x="1876" y="2022"/>
                </a:lnTo>
                <a:lnTo>
                  <a:pt x="1874" y="2023"/>
                </a:lnTo>
                <a:lnTo>
                  <a:pt x="1872" y="2025"/>
                </a:lnTo>
                <a:lnTo>
                  <a:pt x="1870" y="2026"/>
                </a:lnTo>
                <a:lnTo>
                  <a:pt x="1867" y="2027"/>
                </a:lnTo>
                <a:lnTo>
                  <a:pt x="1864" y="2027"/>
                </a:lnTo>
                <a:lnTo>
                  <a:pt x="1860" y="2026"/>
                </a:lnTo>
                <a:lnTo>
                  <a:pt x="1857" y="2025"/>
                </a:lnTo>
                <a:lnTo>
                  <a:pt x="1856" y="2024"/>
                </a:lnTo>
                <a:lnTo>
                  <a:pt x="1855" y="2022"/>
                </a:lnTo>
                <a:lnTo>
                  <a:pt x="1854" y="2020"/>
                </a:lnTo>
                <a:lnTo>
                  <a:pt x="1853" y="2018"/>
                </a:lnTo>
                <a:lnTo>
                  <a:pt x="1853" y="2013"/>
                </a:lnTo>
                <a:lnTo>
                  <a:pt x="1853" y="2010"/>
                </a:lnTo>
                <a:lnTo>
                  <a:pt x="1855" y="2008"/>
                </a:lnTo>
                <a:lnTo>
                  <a:pt x="1856" y="2006"/>
                </a:lnTo>
                <a:lnTo>
                  <a:pt x="1858" y="2005"/>
                </a:lnTo>
                <a:lnTo>
                  <a:pt x="1860" y="2003"/>
                </a:lnTo>
                <a:lnTo>
                  <a:pt x="1863" y="2003"/>
                </a:lnTo>
                <a:close/>
                <a:moveTo>
                  <a:pt x="1918" y="1966"/>
                </a:moveTo>
                <a:lnTo>
                  <a:pt x="1921" y="1966"/>
                </a:lnTo>
                <a:lnTo>
                  <a:pt x="1925" y="1966"/>
                </a:lnTo>
                <a:lnTo>
                  <a:pt x="1926" y="1967"/>
                </a:lnTo>
                <a:lnTo>
                  <a:pt x="1928" y="1968"/>
                </a:lnTo>
                <a:lnTo>
                  <a:pt x="1930" y="1971"/>
                </a:lnTo>
                <a:lnTo>
                  <a:pt x="1932" y="1973"/>
                </a:lnTo>
                <a:lnTo>
                  <a:pt x="1932" y="1976"/>
                </a:lnTo>
                <a:lnTo>
                  <a:pt x="1932" y="1981"/>
                </a:lnTo>
                <a:lnTo>
                  <a:pt x="1931" y="1983"/>
                </a:lnTo>
                <a:lnTo>
                  <a:pt x="1930" y="1985"/>
                </a:lnTo>
                <a:lnTo>
                  <a:pt x="1929" y="1987"/>
                </a:lnTo>
                <a:lnTo>
                  <a:pt x="1927" y="1988"/>
                </a:lnTo>
                <a:lnTo>
                  <a:pt x="1925" y="1990"/>
                </a:lnTo>
                <a:lnTo>
                  <a:pt x="1922" y="1990"/>
                </a:lnTo>
                <a:lnTo>
                  <a:pt x="1919" y="1990"/>
                </a:lnTo>
                <a:lnTo>
                  <a:pt x="1915" y="1989"/>
                </a:lnTo>
                <a:lnTo>
                  <a:pt x="1913" y="1989"/>
                </a:lnTo>
                <a:lnTo>
                  <a:pt x="1912" y="1988"/>
                </a:lnTo>
                <a:lnTo>
                  <a:pt x="1910" y="1985"/>
                </a:lnTo>
                <a:lnTo>
                  <a:pt x="1908" y="1982"/>
                </a:lnTo>
                <a:lnTo>
                  <a:pt x="1908" y="1980"/>
                </a:lnTo>
                <a:lnTo>
                  <a:pt x="1908" y="1975"/>
                </a:lnTo>
                <a:lnTo>
                  <a:pt x="1908" y="1973"/>
                </a:lnTo>
                <a:lnTo>
                  <a:pt x="1910" y="1971"/>
                </a:lnTo>
                <a:lnTo>
                  <a:pt x="1911" y="1969"/>
                </a:lnTo>
                <a:lnTo>
                  <a:pt x="1913" y="1967"/>
                </a:lnTo>
                <a:lnTo>
                  <a:pt x="1915" y="1966"/>
                </a:lnTo>
                <a:lnTo>
                  <a:pt x="1918" y="1966"/>
                </a:lnTo>
                <a:close/>
                <a:moveTo>
                  <a:pt x="1974" y="1931"/>
                </a:moveTo>
                <a:lnTo>
                  <a:pt x="1978" y="1931"/>
                </a:lnTo>
                <a:lnTo>
                  <a:pt x="1981" y="1932"/>
                </a:lnTo>
                <a:lnTo>
                  <a:pt x="1984" y="1934"/>
                </a:lnTo>
                <a:lnTo>
                  <a:pt x="1986" y="1935"/>
                </a:lnTo>
                <a:lnTo>
                  <a:pt x="1987" y="1937"/>
                </a:lnTo>
                <a:lnTo>
                  <a:pt x="1988" y="1939"/>
                </a:lnTo>
                <a:lnTo>
                  <a:pt x="1988" y="1941"/>
                </a:lnTo>
                <a:lnTo>
                  <a:pt x="1989" y="1944"/>
                </a:lnTo>
                <a:lnTo>
                  <a:pt x="1988" y="1946"/>
                </a:lnTo>
                <a:lnTo>
                  <a:pt x="1987" y="1948"/>
                </a:lnTo>
                <a:lnTo>
                  <a:pt x="1986" y="1950"/>
                </a:lnTo>
                <a:lnTo>
                  <a:pt x="1985" y="1952"/>
                </a:lnTo>
                <a:lnTo>
                  <a:pt x="1983" y="1954"/>
                </a:lnTo>
                <a:lnTo>
                  <a:pt x="1980" y="1955"/>
                </a:lnTo>
                <a:lnTo>
                  <a:pt x="1978" y="1955"/>
                </a:lnTo>
                <a:lnTo>
                  <a:pt x="1975" y="1955"/>
                </a:lnTo>
                <a:lnTo>
                  <a:pt x="1971" y="1954"/>
                </a:lnTo>
                <a:lnTo>
                  <a:pt x="1968" y="1952"/>
                </a:lnTo>
                <a:lnTo>
                  <a:pt x="1967" y="1951"/>
                </a:lnTo>
                <a:lnTo>
                  <a:pt x="1965" y="1949"/>
                </a:lnTo>
                <a:lnTo>
                  <a:pt x="1964" y="1947"/>
                </a:lnTo>
                <a:lnTo>
                  <a:pt x="1964" y="1945"/>
                </a:lnTo>
                <a:lnTo>
                  <a:pt x="1964" y="1942"/>
                </a:lnTo>
                <a:lnTo>
                  <a:pt x="1964" y="1940"/>
                </a:lnTo>
                <a:lnTo>
                  <a:pt x="1965" y="1938"/>
                </a:lnTo>
                <a:lnTo>
                  <a:pt x="1966" y="1936"/>
                </a:lnTo>
                <a:lnTo>
                  <a:pt x="1968" y="1934"/>
                </a:lnTo>
                <a:lnTo>
                  <a:pt x="1970" y="1932"/>
                </a:lnTo>
                <a:lnTo>
                  <a:pt x="1972" y="1931"/>
                </a:lnTo>
                <a:lnTo>
                  <a:pt x="1974" y="1931"/>
                </a:lnTo>
                <a:close/>
                <a:moveTo>
                  <a:pt x="2031" y="1898"/>
                </a:moveTo>
                <a:lnTo>
                  <a:pt x="2035" y="1898"/>
                </a:lnTo>
                <a:lnTo>
                  <a:pt x="2039" y="1899"/>
                </a:lnTo>
                <a:lnTo>
                  <a:pt x="2041" y="1900"/>
                </a:lnTo>
                <a:lnTo>
                  <a:pt x="2042" y="1901"/>
                </a:lnTo>
                <a:lnTo>
                  <a:pt x="2044" y="1904"/>
                </a:lnTo>
                <a:lnTo>
                  <a:pt x="2045" y="1906"/>
                </a:lnTo>
                <a:lnTo>
                  <a:pt x="2046" y="1909"/>
                </a:lnTo>
                <a:lnTo>
                  <a:pt x="2046" y="1911"/>
                </a:lnTo>
                <a:lnTo>
                  <a:pt x="2046" y="1914"/>
                </a:lnTo>
                <a:lnTo>
                  <a:pt x="2045" y="1916"/>
                </a:lnTo>
                <a:lnTo>
                  <a:pt x="2043" y="1918"/>
                </a:lnTo>
                <a:lnTo>
                  <a:pt x="2042" y="1920"/>
                </a:lnTo>
                <a:lnTo>
                  <a:pt x="2040" y="1921"/>
                </a:lnTo>
                <a:lnTo>
                  <a:pt x="2038" y="1922"/>
                </a:lnTo>
                <a:lnTo>
                  <a:pt x="2036" y="1922"/>
                </a:lnTo>
                <a:lnTo>
                  <a:pt x="2032" y="1922"/>
                </a:lnTo>
                <a:lnTo>
                  <a:pt x="2028" y="1921"/>
                </a:lnTo>
                <a:lnTo>
                  <a:pt x="2027" y="1920"/>
                </a:lnTo>
                <a:lnTo>
                  <a:pt x="2025" y="1919"/>
                </a:lnTo>
                <a:lnTo>
                  <a:pt x="2023" y="1916"/>
                </a:lnTo>
                <a:lnTo>
                  <a:pt x="2022" y="1914"/>
                </a:lnTo>
                <a:lnTo>
                  <a:pt x="2021" y="1911"/>
                </a:lnTo>
                <a:lnTo>
                  <a:pt x="2021" y="1909"/>
                </a:lnTo>
                <a:lnTo>
                  <a:pt x="2022" y="1907"/>
                </a:lnTo>
                <a:lnTo>
                  <a:pt x="2022" y="1904"/>
                </a:lnTo>
                <a:lnTo>
                  <a:pt x="2024" y="1902"/>
                </a:lnTo>
                <a:lnTo>
                  <a:pt x="2025" y="1901"/>
                </a:lnTo>
                <a:lnTo>
                  <a:pt x="2028" y="1899"/>
                </a:lnTo>
                <a:lnTo>
                  <a:pt x="2029" y="1898"/>
                </a:lnTo>
                <a:lnTo>
                  <a:pt x="2031" y="1898"/>
                </a:lnTo>
                <a:close/>
                <a:moveTo>
                  <a:pt x="2927" y="1739"/>
                </a:moveTo>
                <a:lnTo>
                  <a:pt x="2931" y="1738"/>
                </a:lnTo>
                <a:lnTo>
                  <a:pt x="2933" y="1739"/>
                </a:lnTo>
                <a:lnTo>
                  <a:pt x="2935" y="1740"/>
                </a:lnTo>
                <a:lnTo>
                  <a:pt x="2937" y="1741"/>
                </a:lnTo>
                <a:lnTo>
                  <a:pt x="2939" y="1743"/>
                </a:lnTo>
                <a:lnTo>
                  <a:pt x="2940" y="1745"/>
                </a:lnTo>
                <a:lnTo>
                  <a:pt x="2941" y="1747"/>
                </a:lnTo>
                <a:lnTo>
                  <a:pt x="2942" y="1749"/>
                </a:lnTo>
                <a:lnTo>
                  <a:pt x="2942" y="1752"/>
                </a:lnTo>
                <a:lnTo>
                  <a:pt x="2942" y="1754"/>
                </a:lnTo>
                <a:lnTo>
                  <a:pt x="2941" y="1756"/>
                </a:lnTo>
                <a:lnTo>
                  <a:pt x="2940" y="1758"/>
                </a:lnTo>
                <a:lnTo>
                  <a:pt x="2939" y="1759"/>
                </a:lnTo>
                <a:lnTo>
                  <a:pt x="2936" y="1762"/>
                </a:lnTo>
                <a:lnTo>
                  <a:pt x="2934" y="1763"/>
                </a:lnTo>
                <a:lnTo>
                  <a:pt x="2932" y="1763"/>
                </a:lnTo>
                <a:lnTo>
                  <a:pt x="2928" y="1763"/>
                </a:lnTo>
                <a:lnTo>
                  <a:pt x="2926" y="1763"/>
                </a:lnTo>
                <a:lnTo>
                  <a:pt x="2924" y="1762"/>
                </a:lnTo>
                <a:lnTo>
                  <a:pt x="2922" y="1761"/>
                </a:lnTo>
                <a:lnTo>
                  <a:pt x="2920" y="1759"/>
                </a:lnTo>
                <a:lnTo>
                  <a:pt x="2919" y="1757"/>
                </a:lnTo>
                <a:lnTo>
                  <a:pt x="2918" y="1755"/>
                </a:lnTo>
                <a:lnTo>
                  <a:pt x="2917" y="1752"/>
                </a:lnTo>
                <a:lnTo>
                  <a:pt x="2917" y="1750"/>
                </a:lnTo>
                <a:lnTo>
                  <a:pt x="2917" y="1748"/>
                </a:lnTo>
                <a:lnTo>
                  <a:pt x="2918" y="1746"/>
                </a:lnTo>
                <a:lnTo>
                  <a:pt x="2919" y="1744"/>
                </a:lnTo>
                <a:lnTo>
                  <a:pt x="2920" y="1742"/>
                </a:lnTo>
                <a:lnTo>
                  <a:pt x="2924" y="1740"/>
                </a:lnTo>
                <a:lnTo>
                  <a:pt x="2925" y="1739"/>
                </a:lnTo>
                <a:lnTo>
                  <a:pt x="2927" y="1739"/>
                </a:lnTo>
                <a:close/>
                <a:moveTo>
                  <a:pt x="2861" y="1733"/>
                </a:moveTo>
                <a:lnTo>
                  <a:pt x="2865" y="1733"/>
                </a:lnTo>
                <a:lnTo>
                  <a:pt x="2867" y="1733"/>
                </a:lnTo>
                <a:lnTo>
                  <a:pt x="2869" y="1734"/>
                </a:lnTo>
                <a:lnTo>
                  <a:pt x="2871" y="1736"/>
                </a:lnTo>
                <a:lnTo>
                  <a:pt x="2873" y="1737"/>
                </a:lnTo>
                <a:lnTo>
                  <a:pt x="2874" y="1739"/>
                </a:lnTo>
                <a:lnTo>
                  <a:pt x="2875" y="1741"/>
                </a:lnTo>
                <a:lnTo>
                  <a:pt x="2876" y="1744"/>
                </a:lnTo>
                <a:lnTo>
                  <a:pt x="2876" y="1746"/>
                </a:lnTo>
                <a:lnTo>
                  <a:pt x="2876" y="1748"/>
                </a:lnTo>
                <a:lnTo>
                  <a:pt x="2875" y="1750"/>
                </a:lnTo>
                <a:lnTo>
                  <a:pt x="2874" y="1752"/>
                </a:lnTo>
                <a:lnTo>
                  <a:pt x="2873" y="1754"/>
                </a:lnTo>
                <a:lnTo>
                  <a:pt x="2870" y="1756"/>
                </a:lnTo>
                <a:lnTo>
                  <a:pt x="2868" y="1757"/>
                </a:lnTo>
                <a:lnTo>
                  <a:pt x="2866" y="1758"/>
                </a:lnTo>
                <a:lnTo>
                  <a:pt x="2863" y="1758"/>
                </a:lnTo>
                <a:lnTo>
                  <a:pt x="2860" y="1757"/>
                </a:lnTo>
                <a:lnTo>
                  <a:pt x="2858" y="1756"/>
                </a:lnTo>
                <a:lnTo>
                  <a:pt x="2856" y="1755"/>
                </a:lnTo>
                <a:lnTo>
                  <a:pt x="2854" y="1754"/>
                </a:lnTo>
                <a:lnTo>
                  <a:pt x="2853" y="1752"/>
                </a:lnTo>
                <a:lnTo>
                  <a:pt x="2852" y="1749"/>
                </a:lnTo>
                <a:lnTo>
                  <a:pt x="2851" y="1747"/>
                </a:lnTo>
                <a:lnTo>
                  <a:pt x="2851" y="1744"/>
                </a:lnTo>
                <a:lnTo>
                  <a:pt x="2852" y="1742"/>
                </a:lnTo>
                <a:lnTo>
                  <a:pt x="2852" y="1740"/>
                </a:lnTo>
                <a:lnTo>
                  <a:pt x="2853" y="1739"/>
                </a:lnTo>
                <a:lnTo>
                  <a:pt x="2854" y="1737"/>
                </a:lnTo>
                <a:lnTo>
                  <a:pt x="2858" y="1734"/>
                </a:lnTo>
                <a:lnTo>
                  <a:pt x="2859" y="1734"/>
                </a:lnTo>
                <a:lnTo>
                  <a:pt x="2861" y="1733"/>
                </a:lnTo>
                <a:close/>
                <a:moveTo>
                  <a:pt x="2090" y="1867"/>
                </a:moveTo>
                <a:lnTo>
                  <a:pt x="2094" y="1867"/>
                </a:lnTo>
                <a:lnTo>
                  <a:pt x="2096" y="1868"/>
                </a:lnTo>
                <a:lnTo>
                  <a:pt x="2098" y="1868"/>
                </a:lnTo>
                <a:lnTo>
                  <a:pt x="2099" y="1869"/>
                </a:lnTo>
                <a:lnTo>
                  <a:pt x="2101" y="1871"/>
                </a:lnTo>
                <a:lnTo>
                  <a:pt x="2103" y="1874"/>
                </a:lnTo>
                <a:lnTo>
                  <a:pt x="2104" y="1876"/>
                </a:lnTo>
                <a:lnTo>
                  <a:pt x="2105" y="1879"/>
                </a:lnTo>
                <a:lnTo>
                  <a:pt x="2104" y="1884"/>
                </a:lnTo>
                <a:lnTo>
                  <a:pt x="2103" y="1886"/>
                </a:lnTo>
                <a:lnTo>
                  <a:pt x="2102" y="1888"/>
                </a:lnTo>
                <a:lnTo>
                  <a:pt x="2100" y="1889"/>
                </a:lnTo>
                <a:lnTo>
                  <a:pt x="2098" y="1891"/>
                </a:lnTo>
                <a:lnTo>
                  <a:pt x="2096" y="1891"/>
                </a:lnTo>
                <a:lnTo>
                  <a:pt x="2094" y="1892"/>
                </a:lnTo>
                <a:lnTo>
                  <a:pt x="2090" y="1892"/>
                </a:lnTo>
                <a:lnTo>
                  <a:pt x="2088" y="1891"/>
                </a:lnTo>
                <a:lnTo>
                  <a:pt x="2087" y="1891"/>
                </a:lnTo>
                <a:lnTo>
                  <a:pt x="2085" y="1890"/>
                </a:lnTo>
                <a:lnTo>
                  <a:pt x="2083" y="1888"/>
                </a:lnTo>
                <a:lnTo>
                  <a:pt x="2081" y="1885"/>
                </a:lnTo>
                <a:lnTo>
                  <a:pt x="2080" y="1883"/>
                </a:lnTo>
                <a:lnTo>
                  <a:pt x="2080" y="1880"/>
                </a:lnTo>
                <a:lnTo>
                  <a:pt x="2080" y="1878"/>
                </a:lnTo>
                <a:lnTo>
                  <a:pt x="2080" y="1876"/>
                </a:lnTo>
                <a:lnTo>
                  <a:pt x="2081" y="1873"/>
                </a:lnTo>
                <a:lnTo>
                  <a:pt x="2083" y="1871"/>
                </a:lnTo>
                <a:lnTo>
                  <a:pt x="2085" y="1870"/>
                </a:lnTo>
                <a:lnTo>
                  <a:pt x="2087" y="1868"/>
                </a:lnTo>
                <a:lnTo>
                  <a:pt x="2088" y="1868"/>
                </a:lnTo>
                <a:lnTo>
                  <a:pt x="2090" y="1867"/>
                </a:lnTo>
                <a:close/>
                <a:moveTo>
                  <a:pt x="2795" y="1728"/>
                </a:moveTo>
                <a:lnTo>
                  <a:pt x="2799" y="1728"/>
                </a:lnTo>
                <a:lnTo>
                  <a:pt x="2801" y="1728"/>
                </a:lnTo>
                <a:lnTo>
                  <a:pt x="2803" y="1729"/>
                </a:lnTo>
                <a:lnTo>
                  <a:pt x="2805" y="1731"/>
                </a:lnTo>
                <a:lnTo>
                  <a:pt x="2807" y="1732"/>
                </a:lnTo>
                <a:lnTo>
                  <a:pt x="2809" y="1736"/>
                </a:lnTo>
                <a:lnTo>
                  <a:pt x="2810" y="1739"/>
                </a:lnTo>
                <a:lnTo>
                  <a:pt x="2810" y="1741"/>
                </a:lnTo>
                <a:lnTo>
                  <a:pt x="2810" y="1743"/>
                </a:lnTo>
                <a:lnTo>
                  <a:pt x="2809" y="1745"/>
                </a:lnTo>
                <a:lnTo>
                  <a:pt x="2808" y="1747"/>
                </a:lnTo>
                <a:lnTo>
                  <a:pt x="2807" y="1749"/>
                </a:lnTo>
                <a:lnTo>
                  <a:pt x="2804" y="1751"/>
                </a:lnTo>
                <a:lnTo>
                  <a:pt x="2802" y="1752"/>
                </a:lnTo>
                <a:lnTo>
                  <a:pt x="2800" y="1753"/>
                </a:lnTo>
                <a:lnTo>
                  <a:pt x="2797" y="1753"/>
                </a:lnTo>
                <a:lnTo>
                  <a:pt x="2794" y="1753"/>
                </a:lnTo>
                <a:lnTo>
                  <a:pt x="2792" y="1752"/>
                </a:lnTo>
                <a:lnTo>
                  <a:pt x="2790" y="1750"/>
                </a:lnTo>
                <a:lnTo>
                  <a:pt x="2788" y="1749"/>
                </a:lnTo>
                <a:lnTo>
                  <a:pt x="2786" y="1745"/>
                </a:lnTo>
                <a:lnTo>
                  <a:pt x="2785" y="1742"/>
                </a:lnTo>
                <a:lnTo>
                  <a:pt x="2785" y="1740"/>
                </a:lnTo>
                <a:lnTo>
                  <a:pt x="2786" y="1737"/>
                </a:lnTo>
                <a:lnTo>
                  <a:pt x="2786" y="1736"/>
                </a:lnTo>
                <a:lnTo>
                  <a:pt x="2787" y="1734"/>
                </a:lnTo>
                <a:lnTo>
                  <a:pt x="2788" y="1732"/>
                </a:lnTo>
                <a:lnTo>
                  <a:pt x="2792" y="1730"/>
                </a:lnTo>
                <a:lnTo>
                  <a:pt x="2793" y="1729"/>
                </a:lnTo>
                <a:lnTo>
                  <a:pt x="2795" y="1728"/>
                </a:lnTo>
                <a:close/>
                <a:moveTo>
                  <a:pt x="2150" y="1839"/>
                </a:moveTo>
                <a:lnTo>
                  <a:pt x="2154" y="1839"/>
                </a:lnTo>
                <a:lnTo>
                  <a:pt x="2158" y="1840"/>
                </a:lnTo>
                <a:lnTo>
                  <a:pt x="2161" y="1843"/>
                </a:lnTo>
                <a:lnTo>
                  <a:pt x="2162" y="1844"/>
                </a:lnTo>
                <a:lnTo>
                  <a:pt x="2163" y="1846"/>
                </a:lnTo>
                <a:lnTo>
                  <a:pt x="2164" y="1849"/>
                </a:lnTo>
                <a:lnTo>
                  <a:pt x="2165" y="1851"/>
                </a:lnTo>
                <a:lnTo>
                  <a:pt x="2164" y="1856"/>
                </a:lnTo>
                <a:lnTo>
                  <a:pt x="2163" y="1858"/>
                </a:lnTo>
                <a:lnTo>
                  <a:pt x="2161" y="1860"/>
                </a:lnTo>
                <a:lnTo>
                  <a:pt x="2159" y="1862"/>
                </a:lnTo>
                <a:lnTo>
                  <a:pt x="2157" y="1863"/>
                </a:lnTo>
                <a:lnTo>
                  <a:pt x="2154" y="1864"/>
                </a:lnTo>
                <a:lnTo>
                  <a:pt x="2150" y="1864"/>
                </a:lnTo>
                <a:lnTo>
                  <a:pt x="2146" y="1862"/>
                </a:lnTo>
                <a:lnTo>
                  <a:pt x="2143" y="1860"/>
                </a:lnTo>
                <a:lnTo>
                  <a:pt x="2142" y="1858"/>
                </a:lnTo>
                <a:lnTo>
                  <a:pt x="2141" y="1856"/>
                </a:lnTo>
                <a:lnTo>
                  <a:pt x="2140" y="1854"/>
                </a:lnTo>
                <a:lnTo>
                  <a:pt x="2140" y="1852"/>
                </a:lnTo>
                <a:lnTo>
                  <a:pt x="2140" y="1847"/>
                </a:lnTo>
                <a:lnTo>
                  <a:pt x="2141" y="1845"/>
                </a:lnTo>
                <a:lnTo>
                  <a:pt x="2143" y="1843"/>
                </a:lnTo>
                <a:lnTo>
                  <a:pt x="2145" y="1841"/>
                </a:lnTo>
                <a:lnTo>
                  <a:pt x="2147" y="1840"/>
                </a:lnTo>
                <a:lnTo>
                  <a:pt x="2150" y="1839"/>
                </a:lnTo>
                <a:close/>
                <a:moveTo>
                  <a:pt x="2729" y="1724"/>
                </a:moveTo>
                <a:lnTo>
                  <a:pt x="2732" y="1724"/>
                </a:lnTo>
                <a:lnTo>
                  <a:pt x="2735" y="1724"/>
                </a:lnTo>
                <a:lnTo>
                  <a:pt x="2737" y="1725"/>
                </a:lnTo>
                <a:lnTo>
                  <a:pt x="2741" y="1728"/>
                </a:lnTo>
                <a:lnTo>
                  <a:pt x="2742" y="1730"/>
                </a:lnTo>
                <a:lnTo>
                  <a:pt x="2743" y="1732"/>
                </a:lnTo>
                <a:lnTo>
                  <a:pt x="2744" y="1734"/>
                </a:lnTo>
                <a:lnTo>
                  <a:pt x="2744" y="1737"/>
                </a:lnTo>
                <a:lnTo>
                  <a:pt x="2744" y="1739"/>
                </a:lnTo>
                <a:lnTo>
                  <a:pt x="2743" y="1741"/>
                </a:lnTo>
                <a:lnTo>
                  <a:pt x="2742" y="1743"/>
                </a:lnTo>
                <a:lnTo>
                  <a:pt x="2741" y="1744"/>
                </a:lnTo>
                <a:lnTo>
                  <a:pt x="2739" y="1746"/>
                </a:lnTo>
                <a:lnTo>
                  <a:pt x="2738" y="1747"/>
                </a:lnTo>
                <a:lnTo>
                  <a:pt x="2736" y="1748"/>
                </a:lnTo>
                <a:lnTo>
                  <a:pt x="2734" y="1748"/>
                </a:lnTo>
                <a:lnTo>
                  <a:pt x="2731" y="1749"/>
                </a:lnTo>
                <a:lnTo>
                  <a:pt x="2729" y="1748"/>
                </a:lnTo>
                <a:lnTo>
                  <a:pt x="2726" y="1747"/>
                </a:lnTo>
                <a:lnTo>
                  <a:pt x="2722" y="1745"/>
                </a:lnTo>
                <a:lnTo>
                  <a:pt x="2721" y="1743"/>
                </a:lnTo>
                <a:lnTo>
                  <a:pt x="2720" y="1740"/>
                </a:lnTo>
                <a:lnTo>
                  <a:pt x="2719" y="1738"/>
                </a:lnTo>
                <a:lnTo>
                  <a:pt x="2719" y="1736"/>
                </a:lnTo>
                <a:lnTo>
                  <a:pt x="2719" y="1733"/>
                </a:lnTo>
                <a:lnTo>
                  <a:pt x="2720" y="1731"/>
                </a:lnTo>
                <a:lnTo>
                  <a:pt x="2721" y="1730"/>
                </a:lnTo>
                <a:lnTo>
                  <a:pt x="2722" y="1728"/>
                </a:lnTo>
                <a:lnTo>
                  <a:pt x="2724" y="1726"/>
                </a:lnTo>
                <a:lnTo>
                  <a:pt x="2725" y="1725"/>
                </a:lnTo>
                <a:lnTo>
                  <a:pt x="2727" y="1724"/>
                </a:lnTo>
                <a:lnTo>
                  <a:pt x="2729" y="1724"/>
                </a:lnTo>
                <a:close/>
                <a:moveTo>
                  <a:pt x="2212" y="1814"/>
                </a:moveTo>
                <a:lnTo>
                  <a:pt x="2216" y="1814"/>
                </a:lnTo>
                <a:lnTo>
                  <a:pt x="2218" y="1814"/>
                </a:lnTo>
                <a:lnTo>
                  <a:pt x="2220" y="1815"/>
                </a:lnTo>
                <a:lnTo>
                  <a:pt x="2222" y="1816"/>
                </a:lnTo>
                <a:lnTo>
                  <a:pt x="2223" y="1818"/>
                </a:lnTo>
                <a:lnTo>
                  <a:pt x="2225" y="1819"/>
                </a:lnTo>
                <a:lnTo>
                  <a:pt x="2226" y="1821"/>
                </a:lnTo>
                <a:lnTo>
                  <a:pt x="2226" y="1824"/>
                </a:lnTo>
                <a:lnTo>
                  <a:pt x="2227" y="1826"/>
                </a:lnTo>
                <a:lnTo>
                  <a:pt x="2226" y="1829"/>
                </a:lnTo>
                <a:lnTo>
                  <a:pt x="2226" y="1831"/>
                </a:lnTo>
                <a:lnTo>
                  <a:pt x="2224" y="1833"/>
                </a:lnTo>
                <a:lnTo>
                  <a:pt x="2223" y="1835"/>
                </a:lnTo>
                <a:lnTo>
                  <a:pt x="2221" y="1836"/>
                </a:lnTo>
                <a:lnTo>
                  <a:pt x="2219" y="1838"/>
                </a:lnTo>
                <a:lnTo>
                  <a:pt x="2216" y="1838"/>
                </a:lnTo>
                <a:lnTo>
                  <a:pt x="2212" y="1838"/>
                </a:lnTo>
                <a:lnTo>
                  <a:pt x="2210" y="1838"/>
                </a:lnTo>
                <a:lnTo>
                  <a:pt x="2207" y="1837"/>
                </a:lnTo>
                <a:lnTo>
                  <a:pt x="2205" y="1836"/>
                </a:lnTo>
                <a:lnTo>
                  <a:pt x="2204" y="1834"/>
                </a:lnTo>
                <a:lnTo>
                  <a:pt x="2202" y="1832"/>
                </a:lnTo>
                <a:lnTo>
                  <a:pt x="2201" y="1830"/>
                </a:lnTo>
                <a:lnTo>
                  <a:pt x="2201" y="1828"/>
                </a:lnTo>
                <a:lnTo>
                  <a:pt x="2201" y="1826"/>
                </a:lnTo>
                <a:lnTo>
                  <a:pt x="2201" y="1823"/>
                </a:lnTo>
                <a:lnTo>
                  <a:pt x="2202" y="1821"/>
                </a:lnTo>
                <a:lnTo>
                  <a:pt x="2203" y="1819"/>
                </a:lnTo>
                <a:lnTo>
                  <a:pt x="2204" y="1817"/>
                </a:lnTo>
                <a:lnTo>
                  <a:pt x="2206" y="1815"/>
                </a:lnTo>
                <a:lnTo>
                  <a:pt x="2210" y="1814"/>
                </a:lnTo>
                <a:lnTo>
                  <a:pt x="2212" y="1814"/>
                </a:lnTo>
                <a:close/>
                <a:moveTo>
                  <a:pt x="2663" y="1723"/>
                </a:moveTo>
                <a:lnTo>
                  <a:pt x="2665" y="1722"/>
                </a:lnTo>
                <a:lnTo>
                  <a:pt x="2668" y="1723"/>
                </a:lnTo>
                <a:lnTo>
                  <a:pt x="2670" y="1723"/>
                </a:lnTo>
                <a:lnTo>
                  <a:pt x="2672" y="1724"/>
                </a:lnTo>
                <a:lnTo>
                  <a:pt x="2674" y="1726"/>
                </a:lnTo>
                <a:lnTo>
                  <a:pt x="2676" y="1728"/>
                </a:lnTo>
                <a:lnTo>
                  <a:pt x="2677" y="1730"/>
                </a:lnTo>
                <a:lnTo>
                  <a:pt x="2678" y="1732"/>
                </a:lnTo>
                <a:lnTo>
                  <a:pt x="2678" y="1735"/>
                </a:lnTo>
                <a:lnTo>
                  <a:pt x="2677" y="1739"/>
                </a:lnTo>
                <a:lnTo>
                  <a:pt x="2676" y="1741"/>
                </a:lnTo>
                <a:lnTo>
                  <a:pt x="2675" y="1743"/>
                </a:lnTo>
                <a:lnTo>
                  <a:pt x="2672" y="1746"/>
                </a:lnTo>
                <a:lnTo>
                  <a:pt x="2668" y="1747"/>
                </a:lnTo>
                <a:lnTo>
                  <a:pt x="2666" y="1747"/>
                </a:lnTo>
                <a:lnTo>
                  <a:pt x="2663" y="1747"/>
                </a:lnTo>
                <a:lnTo>
                  <a:pt x="2661" y="1746"/>
                </a:lnTo>
                <a:lnTo>
                  <a:pt x="2659" y="1745"/>
                </a:lnTo>
                <a:lnTo>
                  <a:pt x="2657" y="1744"/>
                </a:lnTo>
                <a:lnTo>
                  <a:pt x="2655" y="1742"/>
                </a:lnTo>
                <a:lnTo>
                  <a:pt x="2654" y="1740"/>
                </a:lnTo>
                <a:lnTo>
                  <a:pt x="2653" y="1737"/>
                </a:lnTo>
                <a:lnTo>
                  <a:pt x="2653" y="1735"/>
                </a:lnTo>
                <a:lnTo>
                  <a:pt x="2654" y="1731"/>
                </a:lnTo>
                <a:lnTo>
                  <a:pt x="2655" y="1729"/>
                </a:lnTo>
                <a:lnTo>
                  <a:pt x="2656" y="1727"/>
                </a:lnTo>
                <a:lnTo>
                  <a:pt x="2659" y="1724"/>
                </a:lnTo>
                <a:lnTo>
                  <a:pt x="2663" y="1723"/>
                </a:lnTo>
                <a:close/>
                <a:moveTo>
                  <a:pt x="2274" y="1791"/>
                </a:moveTo>
                <a:lnTo>
                  <a:pt x="2278" y="1791"/>
                </a:lnTo>
                <a:lnTo>
                  <a:pt x="2281" y="1791"/>
                </a:lnTo>
                <a:lnTo>
                  <a:pt x="2282" y="1792"/>
                </a:lnTo>
                <a:lnTo>
                  <a:pt x="2286" y="1795"/>
                </a:lnTo>
                <a:lnTo>
                  <a:pt x="2287" y="1797"/>
                </a:lnTo>
                <a:lnTo>
                  <a:pt x="2288" y="1799"/>
                </a:lnTo>
                <a:lnTo>
                  <a:pt x="2289" y="1804"/>
                </a:lnTo>
                <a:lnTo>
                  <a:pt x="2288" y="1806"/>
                </a:lnTo>
                <a:lnTo>
                  <a:pt x="2287" y="1809"/>
                </a:lnTo>
                <a:lnTo>
                  <a:pt x="2286" y="1811"/>
                </a:lnTo>
                <a:lnTo>
                  <a:pt x="2284" y="1812"/>
                </a:lnTo>
                <a:lnTo>
                  <a:pt x="2282" y="1814"/>
                </a:lnTo>
                <a:lnTo>
                  <a:pt x="2280" y="1815"/>
                </a:lnTo>
                <a:lnTo>
                  <a:pt x="2278" y="1815"/>
                </a:lnTo>
                <a:lnTo>
                  <a:pt x="2274" y="1815"/>
                </a:lnTo>
                <a:lnTo>
                  <a:pt x="2272" y="1815"/>
                </a:lnTo>
                <a:lnTo>
                  <a:pt x="2270" y="1814"/>
                </a:lnTo>
                <a:lnTo>
                  <a:pt x="2267" y="1811"/>
                </a:lnTo>
                <a:lnTo>
                  <a:pt x="2265" y="1809"/>
                </a:lnTo>
                <a:lnTo>
                  <a:pt x="2264" y="1807"/>
                </a:lnTo>
                <a:lnTo>
                  <a:pt x="2264" y="1802"/>
                </a:lnTo>
                <a:lnTo>
                  <a:pt x="2264" y="1800"/>
                </a:lnTo>
                <a:lnTo>
                  <a:pt x="2265" y="1798"/>
                </a:lnTo>
                <a:lnTo>
                  <a:pt x="2266" y="1796"/>
                </a:lnTo>
                <a:lnTo>
                  <a:pt x="2268" y="1794"/>
                </a:lnTo>
                <a:lnTo>
                  <a:pt x="2270" y="1792"/>
                </a:lnTo>
                <a:lnTo>
                  <a:pt x="2272" y="1791"/>
                </a:lnTo>
                <a:lnTo>
                  <a:pt x="2274" y="1791"/>
                </a:lnTo>
                <a:close/>
                <a:moveTo>
                  <a:pt x="2337" y="1771"/>
                </a:moveTo>
                <a:lnTo>
                  <a:pt x="2342" y="1771"/>
                </a:lnTo>
                <a:lnTo>
                  <a:pt x="2344" y="1772"/>
                </a:lnTo>
                <a:lnTo>
                  <a:pt x="2346" y="1773"/>
                </a:lnTo>
                <a:lnTo>
                  <a:pt x="2348" y="1774"/>
                </a:lnTo>
                <a:lnTo>
                  <a:pt x="2349" y="1776"/>
                </a:lnTo>
                <a:lnTo>
                  <a:pt x="2350" y="1778"/>
                </a:lnTo>
                <a:lnTo>
                  <a:pt x="2351" y="1780"/>
                </a:lnTo>
                <a:lnTo>
                  <a:pt x="2352" y="1782"/>
                </a:lnTo>
                <a:lnTo>
                  <a:pt x="2352" y="1785"/>
                </a:lnTo>
                <a:lnTo>
                  <a:pt x="2351" y="1787"/>
                </a:lnTo>
                <a:lnTo>
                  <a:pt x="2350" y="1789"/>
                </a:lnTo>
                <a:lnTo>
                  <a:pt x="2349" y="1791"/>
                </a:lnTo>
                <a:lnTo>
                  <a:pt x="2347" y="1793"/>
                </a:lnTo>
                <a:lnTo>
                  <a:pt x="2345" y="1794"/>
                </a:lnTo>
                <a:lnTo>
                  <a:pt x="2343" y="1795"/>
                </a:lnTo>
                <a:lnTo>
                  <a:pt x="2340" y="1796"/>
                </a:lnTo>
                <a:lnTo>
                  <a:pt x="2337" y="1796"/>
                </a:lnTo>
                <a:lnTo>
                  <a:pt x="2335" y="1795"/>
                </a:lnTo>
                <a:lnTo>
                  <a:pt x="2333" y="1794"/>
                </a:lnTo>
                <a:lnTo>
                  <a:pt x="2331" y="1793"/>
                </a:lnTo>
                <a:lnTo>
                  <a:pt x="2329" y="1791"/>
                </a:lnTo>
                <a:lnTo>
                  <a:pt x="2328" y="1789"/>
                </a:lnTo>
                <a:lnTo>
                  <a:pt x="2327" y="1787"/>
                </a:lnTo>
                <a:lnTo>
                  <a:pt x="2327" y="1784"/>
                </a:lnTo>
                <a:lnTo>
                  <a:pt x="2327" y="1782"/>
                </a:lnTo>
                <a:lnTo>
                  <a:pt x="2327" y="1780"/>
                </a:lnTo>
                <a:lnTo>
                  <a:pt x="2328" y="1777"/>
                </a:lnTo>
                <a:lnTo>
                  <a:pt x="2330" y="1775"/>
                </a:lnTo>
                <a:lnTo>
                  <a:pt x="2331" y="1774"/>
                </a:lnTo>
                <a:lnTo>
                  <a:pt x="2333" y="1772"/>
                </a:lnTo>
                <a:lnTo>
                  <a:pt x="2336" y="1771"/>
                </a:lnTo>
                <a:lnTo>
                  <a:pt x="2337" y="1771"/>
                </a:lnTo>
                <a:close/>
                <a:moveTo>
                  <a:pt x="2597" y="1725"/>
                </a:moveTo>
                <a:lnTo>
                  <a:pt x="2599" y="1725"/>
                </a:lnTo>
                <a:lnTo>
                  <a:pt x="2601" y="1725"/>
                </a:lnTo>
                <a:lnTo>
                  <a:pt x="2603" y="1726"/>
                </a:lnTo>
                <a:lnTo>
                  <a:pt x="2606" y="1727"/>
                </a:lnTo>
                <a:lnTo>
                  <a:pt x="2608" y="1728"/>
                </a:lnTo>
                <a:lnTo>
                  <a:pt x="2609" y="1730"/>
                </a:lnTo>
                <a:lnTo>
                  <a:pt x="2611" y="1732"/>
                </a:lnTo>
                <a:lnTo>
                  <a:pt x="2611" y="1734"/>
                </a:lnTo>
                <a:lnTo>
                  <a:pt x="2612" y="1737"/>
                </a:lnTo>
                <a:lnTo>
                  <a:pt x="2612" y="1739"/>
                </a:lnTo>
                <a:lnTo>
                  <a:pt x="2611" y="1741"/>
                </a:lnTo>
                <a:lnTo>
                  <a:pt x="2609" y="1745"/>
                </a:lnTo>
                <a:lnTo>
                  <a:pt x="2608" y="1747"/>
                </a:lnTo>
                <a:lnTo>
                  <a:pt x="2606" y="1748"/>
                </a:lnTo>
                <a:lnTo>
                  <a:pt x="2604" y="1749"/>
                </a:lnTo>
                <a:lnTo>
                  <a:pt x="2602" y="1750"/>
                </a:lnTo>
                <a:lnTo>
                  <a:pt x="2600" y="1750"/>
                </a:lnTo>
                <a:lnTo>
                  <a:pt x="2595" y="1749"/>
                </a:lnTo>
                <a:lnTo>
                  <a:pt x="2593" y="1748"/>
                </a:lnTo>
                <a:lnTo>
                  <a:pt x="2591" y="1747"/>
                </a:lnTo>
                <a:lnTo>
                  <a:pt x="2590" y="1745"/>
                </a:lnTo>
                <a:lnTo>
                  <a:pt x="2588" y="1743"/>
                </a:lnTo>
                <a:lnTo>
                  <a:pt x="2587" y="1741"/>
                </a:lnTo>
                <a:lnTo>
                  <a:pt x="2587" y="1738"/>
                </a:lnTo>
                <a:lnTo>
                  <a:pt x="2587" y="1736"/>
                </a:lnTo>
                <a:lnTo>
                  <a:pt x="2587" y="1734"/>
                </a:lnTo>
                <a:lnTo>
                  <a:pt x="2590" y="1730"/>
                </a:lnTo>
                <a:lnTo>
                  <a:pt x="2591" y="1728"/>
                </a:lnTo>
                <a:lnTo>
                  <a:pt x="2593" y="1727"/>
                </a:lnTo>
                <a:lnTo>
                  <a:pt x="2595" y="1726"/>
                </a:lnTo>
                <a:lnTo>
                  <a:pt x="2597" y="1725"/>
                </a:lnTo>
                <a:close/>
                <a:moveTo>
                  <a:pt x="2401" y="1754"/>
                </a:moveTo>
                <a:lnTo>
                  <a:pt x="2406" y="1755"/>
                </a:lnTo>
                <a:lnTo>
                  <a:pt x="2408" y="1755"/>
                </a:lnTo>
                <a:lnTo>
                  <a:pt x="2410" y="1756"/>
                </a:lnTo>
                <a:lnTo>
                  <a:pt x="2412" y="1758"/>
                </a:lnTo>
                <a:lnTo>
                  <a:pt x="2413" y="1760"/>
                </a:lnTo>
                <a:lnTo>
                  <a:pt x="2415" y="1762"/>
                </a:lnTo>
                <a:lnTo>
                  <a:pt x="2415" y="1764"/>
                </a:lnTo>
                <a:lnTo>
                  <a:pt x="2416" y="1766"/>
                </a:lnTo>
                <a:lnTo>
                  <a:pt x="2416" y="1769"/>
                </a:lnTo>
                <a:lnTo>
                  <a:pt x="2415" y="1771"/>
                </a:lnTo>
                <a:lnTo>
                  <a:pt x="2414" y="1773"/>
                </a:lnTo>
                <a:lnTo>
                  <a:pt x="2412" y="1775"/>
                </a:lnTo>
                <a:lnTo>
                  <a:pt x="2411" y="1777"/>
                </a:lnTo>
                <a:lnTo>
                  <a:pt x="2409" y="1778"/>
                </a:lnTo>
                <a:lnTo>
                  <a:pt x="2406" y="1779"/>
                </a:lnTo>
                <a:lnTo>
                  <a:pt x="2401" y="1779"/>
                </a:lnTo>
                <a:lnTo>
                  <a:pt x="2399" y="1778"/>
                </a:lnTo>
                <a:lnTo>
                  <a:pt x="2396" y="1777"/>
                </a:lnTo>
                <a:lnTo>
                  <a:pt x="2395" y="1776"/>
                </a:lnTo>
                <a:lnTo>
                  <a:pt x="2393" y="1774"/>
                </a:lnTo>
                <a:lnTo>
                  <a:pt x="2392" y="1772"/>
                </a:lnTo>
                <a:lnTo>
                  <a:pt x="2391" y="1770"/>
                </a:lnTo>
                <a:lnTo>
                  <a:pt x="2391" y="1767"/>
                </a:lnTo>
                <a:lnTo>
                  <a:pt x="2391" y="1765"/>
                </a:lnTo>
                <a:lnTo>
                  <a:pt x="2392" y="1762"/>
                </a:lnTo>
                <a:lnTo>
                  <a:pt x="2393" y="1760"/>
                </a:lnTo>
                <a:lnTo>
                  <a:pt x="2394" y="1758"/>
                </a:lnTo>
                <a:lnTo>
                  <a:pt x="2396" y="1757"/>
                </a:lnTo>
                <a:lnTo>
                  <a:pt x="2398" y="1755"/>
                </a:lnTo>
                <a:lnTo>
                  <a:pt x="2400" y="1755"/>
                </a:lnTo>
                <a:lnTo>
                  <a:pt x="2401" y="1754"/>
                </a:lnTo>
                <a:close/>
                <a:moveTo>
                  <a:pt x="2531" y="1731"/>
                </a:moveTo>
                <a:lnTo>
                  <a:pt x="2534" y="1731"/>
                </a:lnTo>
                <a:lnTo>
                  <a:pt x="2537" y="1732"/>
                </a:lnTo>
                <a:lnTo>
                  <a:pt x="2539" y="1732"/>
                </a:lnTo>
                <a:lnTo>
                  <a:pt x="2541" y="1734"/>
                </a:lnTo>
                <a:lnTo>
                  <a:pt x="2543" y="1735"/>
                </a:lnTo>
                <a:lnTo>
                  <a:pt x="2544" y="1737"/>
                </a:lnTo>
                <a:lnTo>
                  <a:pt x="2545" y="1740"/>
                </a:lnTo>
                <a:lnTo>
                  <a:pt x="2546" y="1742"/>
                </a:lnTo>
                <a:lnTo>
                  <a:pt x="2546" y="1745"/>
                </a:lnTo>
                <a:lnTo>
                  <a:pt x="2546" y="1747"/>
                </a:lnTo>
                <a:lnTo>
                  <a:pt x="2545" y="1749"/>
                </a:lnTo>
                <a:lnTo>
                  <a:pt x="2544" y="1751"/>
                </a:lnTo>
                <a:lnTo>
                  <a:pt x="2542" y="1753"/>
                </a:lnTo>
                <a:lnTo>
                  <a:pt x="2540" y="1754"/>
                </a:lnTo>
                <a:lnTo>
                  <a:pt x="2538" y="1755"/>
                </a:lnTo>
                <a:lnTo>
                  <a:pt x="2536" y="1756"/>
                </a:lnTo>
                <a:lnTo>
                  <a:pt x="2533" y="1756"/>
                </a:lnTo>
                <a:lnTo>
                  <a:pt x="2530" y="1756"/>
                </a:lnTo>
                <a:lnTo>
                  <a:pt x="2528" y="1755"/>
                </a:lnTo>
                <a:lnTo>
                  <a:pt x="2526" y="1753"/>
                </a:lnTo>
                <a:lnTo>
                  <a:pt x="2524" y="1752"/>
                </a:lnTo>
                <a:lnTo>
                  <a:pt x="2523" y="1750"/>
                </a:lnTo>
                <a:lnTo>
                  <a:pt x="2522" y="1748"/>
                </a:lnTo>
                <a:lnTo>
                  <a:pt x="2521" y="1745"/>
                </a:lnTo>
                <a:lnTo>
                  <a:pt x="2521" y="1743"/>
                </a:lnTo>
                <a:lnTo>
                  <a:pt x="2521" y="1740"/>
                </a:lnTo>
                <a:lnTo>
                  <a:pt x="2522" y="1738"/>
                </a:lnTo>
                <a:lnTo>
                  <a:pt x="2523" y="1736"/>
                </a:lnTo>
                <a:lnTo>
                  <a:pt x="2525" y="1734"/>
                </a:lnTo>
                <a:lnTo>
                  <a:pt x="2527" y="1733"/>
                </a:lnTo>
                <a:lnTo>
                  <a:pt x="2529" y="1732"/>
                </a:lnTo>
                <a:lnTo>
                  <a:pt x="2531" y="1731"/>
                </a:lnTo>
                <a:close/>
                <a:moveTo>
                  <a:pt x="2466" y="1741"/>
                </a:moveTo>
                <a:lnTo>
                  <a:pt x="2471" y="1741"/>
                </a:lnTo>
                <a:lnTo>
                  <a:pt x="2473" y="1742"/>
                </a:lnTo>
                <a:lnTo>
                  <a:pt x="2475" y="1743"/>
                </a:lnTo>
                <a:lnTo>
                  <a:pt x="2477" y="1745"/>
                </a:lnTo>
                <a:lnTo>
                  <a:pt x="2479" y="1747"/>
                </a:lnTo>
                <a:lnTo>
                  <a:pt x="2480" y="1749"/>
                </a:lnTo>
                <a:lnTo>
                  <a:pt x="2480" y="1751"/>
                </a:lnTo>
                <a:lnTo>
                  <a:pt x="2480" y="1756"/>
                </a:lnTo>
                <a:lnTo>
                  <a:pt x="2479" y="1758"/>
                </a:lnTo>
                <a:lnTo>
                  <a:pt x="2478" y="1761"/>
                </a:lnTo>
                <a:lnTo>
                  <a:pt x="2477" y="1762"/>
                </a:lnTo>
                <a:lnTo>
                  <a:pt x="2475" y="1764"/>
                </a:lnTo>
                <a:lnTo>
                  <a:pt x="2473" y="1765"/>
                </a:lnTo>
                <a:lnTo>
                  <a:pt x="2470" y="1766"/>
                </a:lnTo>
                <a:lnTo>
                  <a:pt x="2465" y="1766"/>
                </a:lnTo>
                <a:lnTo>
                  <a:pt x="2463" y="1765"/>
                </a:lnTo>
                <a:lnTo>
                  <a:pt x="2461" y="1764"/>
                </a:lnTo>
                <a:lnTo>
                  <a:pt x="2459" y="1762"/>
                </a:lnTo>
                <a:lnTo>
                  <a:pt x="2458" y="1760"/>
                </a:lnTo>
                <a:lnTo>
                  <a:pt x="2456" y="1758"/>
                </a:lnTo>
                <a:lnTo>
                  <a:pt x="2456" y="1756"/>
                </a:lnTo>
                <a:lnTo>
                  <a:pt x="2456" y="1751"/>
                </a:lnTo>
                <a:lnTo>
                  <a:pt x="2457" y="1748"/>
                </a:lnTo>
                <a:lnTo>
                  <a:pt x="2458" y="1746"/>
                </a:lnTo>
                <a:lnTo>
                  <a:pt x="2459" y="1744"/>
                </a:lnTo>
                <a:lnTo>
                  <a:pt x="2461" y="1743"/>
                </a:lnTo>
                <a:lnTo>
                  <a:pt x="2463" y="1742"/>
                </a:lnTo>
                <a:lnTo>
                  <a:pt x="2466" y="1741"/>
                </a:lnTo>
                <a:close/>
                <a:moveTo>
                  <a:pt x="1254" y="2223"/>
                </a:moveTo>
                <a:lnTo>
                  <a:pt x="1256" y="2223"/>
                </a:lnTo>
                <a:lnTo>
                  <a:pt x="1259" y="2224"/>
                </a:lnTo>
                <a:lnTo>
                  <a:pt x="1261" y="2224"/>
                </a:lnTo>
                <a:lnTo>
                  <a:pt x="1263" y="2226"/>
                </a:lnTo>
                <a:lnTo>
                  <a:pt x="1265" y="2228"/>
                </a:lnTo>
                <a:lnTo>
                  <a:pt x="1267" y="2230"/>
                </a:lnTo>
                <a:lnTo>
                  <a:pt x="1268" y="2234"/>
                </a:lnTo>
                <a:lnTo>
                  <a:pt x="1268" y="2237"/>
                </a:lnTo>
                <a:lnTo>
                  <a:pt x="1268" y="2239"/>
                </a:lnTo>
                <a:lnTo>
                  <a:pt x="1266" y="2243"/>
                </a:lnTo>
                <a:lnTo>
                  <a:pt x="1264" y="2245"/>
                </a:lnTo>
                <a:lnTo>
                  <a:pt x="1262" y="2247"/>
                </a:lnTo>
                <a:lnTo>
                  <a:pt x="1260" y="2248"/>
                </a:lnTo>
                <a:lnTo>
                  <a:pt x="1258" y="2248"/>
                </a:lnTo>
                <a:lnTo>
                  <a:pt x="1255" y="2248"/>
                </a:lnTo>
                <a:lnTo>
                  <a:pt x="1253" y="2248"/>
                </a:lnTo>
                <a:lnTo>
                  <a:pt x="1250" y="2247"/>
                </a:lnTo>
                <a:lnTo>
                  <a:pt x="1248" y="2246"/>
                </a:lnTo>
                <a:lnTo>
                  <a:pt x="1246" y="2244"/>
                </a:lnTo>
                <a:lnTo>
                  <a:pt x="1245" y="2242"/>
                </a:lnTo>
                <a:lnTo>
                  <a:pt x="1243" y="2237"/>
                </a:lnTo>
                <a:lnTo>
                  <a:pt x="1243" y="2235"/>
                </a:lnTo>
                <a:lnTo>
                  <a:pt x="1244" y="2233"/>
                </a:lnTo>
                <a:lnTo>
                  <a:pt x="1246" y="2228"/>
                </a:lnTo>
                <a:lnTo>
                  <a:pt x="1247" y="2226"/>
                </a:lnTo>
                <a:lnTo>
                  <a:pt x="1249" y="2225"/>
                </a:lnTo>
                <a:lnTo>
                  <a:pt x="1251" y="2224"/>
                </a:lnTo>
                <a:lnTo>
                  <a:pt x="1254" y="2223"/>
                </a:lnTo>
                <a:close/>
                <a:moveTo>
                  <a:pt x="1295" y="2172"/>
                </a:moveTo>
                <a:lnTo>
                  <a:pt x="1297" y="2171"/>
                </a:lnTo>
                <a:lnTo>
                  <a:pt x="1300" y="2172"/>
                </a:lnTo>
                <a:lnTo>
                  <a:pt x="1302" y="2173"/>
                </a:lnTo>
                <a:lnTo>
                  <a:pt x="1305" y="2174"/>
                </a:lnTo>
                <a:lnTo>
                  <a:pt x="1307" y="2176"/>
                </a:lnTo>
                <a:lnTo>
                  <a:pt x="1308" y="2178"/>
                </a:lnTo>
                <a:lnTo>
                  <a:pt x="1309" y="2183"/>
                </a:lnTo>
                <a:lnTo>
                  <a:pt x="1309" y="2185"/>
                </a:lnTo>
                <a:lnTo>
                  <a:pt x="1309" y="2187"/>
                </a:lnTo>
                <a:lnTo>
                  <a:pt x="1307" y="2192"/>
                </a:lnTo>
                <a:lnTo>
                  <a:pt x="1305" y="2194"/>
                </a:lnTo>
                <a:lnTo>
                  <a:pt x="1303" y="2195"/>
                </a:lnTo>
                <a:lnTo>
                  <a:pt x="1299" y="2196"/>
                </a:lnTo>
                <a:lnTo>
                  <a:pt x="1296" y="2197"/>
                </a:lnTo>
                <a:lnTo>
                  <a:pt x="1294" y="2196"/>
                </a:lnTo>
                <a:lnTo>
                  <a:pt x="1291" y="2195"/>
                </a:lnTo>
                <a:lnTo>
                  <a:pt x="1289" y="2194"/>
                </a:lnTo>
                <a:lnTo>
                  <a:pt x="1287" y="2192"/>
                </a:lnTo>
                <a:lnTo>
                  <a:pt x="1286" y="2190"/>
                </a:lnTo>
                <a:lnTo>
                  <a:pt x="1284" y="2185"/>
                </a:lnTo>
                <a:lnTo>
                  <a:pt x="1284" y="2183"/>
                </a:lnTo>
                <a:lnTo>
                  <a:pt x="1285" y="2180"/>
                </a:lnTo>
                <a:lnTo>
                  <a:pt x="1287" y="2176"/>
                </a:lnTo>
                <a:lnTo>
                  <a:pt x="1289" y="2174"/>
                </a:lnTo>
                <a:lnTo>
                  <a:pt x="1291" y="2173"/>
                </a:lnTo>
                <a:lnTo>
                  <a:pt x="1295" y="2172"/>
                </a:lnTo>
                <a:close/>
                <a:moveTo>
                  <a:pt x="1337" y="2121"/>
                </a:moveTo>
                <a:lnTo>
                  <a:pt x="1340" y="2121"/>
                </a:lnTo>
                <a:lnTo>
                  <a:pt x="1343" y="2121"/>
                </a:lnTo>
                <a:lnTo>
                  <a:pt x="1345" y="2122"/>
                </a:lnTo>
                <a:lnTo>
                  <a:pt x="1347" y="2124"/>
                </a:lnTo>
                <a:lnTo>
                  <a:pt x="1349" y="2125"/>
                </a:lnTo>
                <a:lnTo>
                  <a:pt x="1351" y="2128"/>
                </a:lnTo>
                <a:lnTo>
                  <a:pt x="1351" y="2130"/>
                </a:lnTo>
                <a:lnTo>
                  <a:pt x="1352" y="2132"/>
                </a:lnTo>
                <a:lnTo>
                  <a:pt x="1352" y="2135"/>
                </a:lnTo>
                <a:lnTo>
                  <a:pt x="1351" y="2137"/>
                </a:lnTo>
                <a:lnTo>
                  <a:pt x="1350" y="2139"/>
                </a:lnTo>
                <a:lnTo>
                  <a:pt x="1349" y="2141"/>
                </a:lnTo>
                <a:lnTo>
                  <a:pt x="1347" y="2143"/>
                </a:lnTo>
                <a:lnTo>
                  <a:pt x="1345" y="2144"/>
                </a:lnTo>
                <a:lnTo>
                  <a:pt x="1344" y="2145"/>
                </a:lnTo>
                <a:lnTo>
                  <a:pt x="1341" y="2146"/>
                </a:lnTo>
                <a:lnTo>
                  <a:pt x="1339" y="2146"/>
                </a:lnTo>
                <a:lnTo>
                  <a:pt x="1336" y="2145"/>
                </a:lnTo>
                <a:lnTo>
                  <a:pt x="1333" y="2144"/>
                </a:lnTo>
                <a:lnTo>
                  <a:pt x="1331" y="2143"/>
                </a:lnTo>
                <a:lnTo>
                  <a:pt x="1329" y="2141"/>
                </a:lnTo>
                <a:lnTo>
                  <a:pt x="1328" y="2139"/>
                </a:lnTo>
                <a:lnTo>
                  <a:pt x="1327" y="2137"/>
                </a:lnTo>
                <a:lnTo>
                  <a:pt x="1327" y="2134"/>
                </a:lnTo>
                <a:lnTo>
                  <a:pt x="1327" y="2132"/>
                </a:lnTo>
                <a:lnTo>
                  <a:pt x="1327" y="2129"/>
                </a:lnTo>
                <a:lnTo>
                  <a:pt x="1328" y="2127"/>
                </a:lnTo>
                <a:lnTo>
                  <a:pt x="1330" y="2125"/>
                </a:lnTo>
                <a:lnTo>
                  <a:pt x="1331" y="2123"/>
                </a:lnTo>
                <a:lnTo>
                  <a:pt x="1333" y="2122"/>
                </a:lnTo>
                <a:lnTo>
                  <a:pt x="1335" y="2121"/>
                </a:lnTo>
                <a:lnTo>
                  <a:pt x="1337" y="2121"/>
                </a:lnTo>
                <a:close/>
                <a:moveTo>
                  <a:pt x="1381" y="2071"/>
                </a:moveTo>
                <a:lnTo>
                  <a:pt x="1384" y="2071"/>
                </a:lnTo>
                <a:lnTo>
                  <a:pt x="1386" y="2071"/>
                </a:lnTo>
                <a:lnTo>
                  <a:pt x="1389" y="2072"/>
                </a:lnTo>
                <a:lnTo>
                  <a:pt x="1391" y="2074"/>
                </a:lnTo>
                <a:lnTo>
                  <a:pt x="1393" y="2076"/>
                </a:lnTo>
                <a:lnTo>
                  <a:pt x="1394" y="2078"/>
                </a:lnTo>
                <a:lnTo>
                  <a:pt x="1395" y="2080"/>
                </a:lnTo>
                <a:lnTo>
                  <a:pt x="1396" y="2083"/>
                </a:lnTo>
                <a:lnTo>
                  <a:pt x="1395" y="2088"/>
                </a:lnTo>
                <a:lnTo>
                  <a:pt x="1394" y="2090"/>
                </a:lnTo>
                <a:lnTo>
                  <a:pt x="1392" y="2092"/>
                </a:lnTo>
                <a:lnTo>
                  <a:pt x="1391" y="2093"/>
                </a:lnTo>
                <a:lnTo>
                  <a:pt x="1389" y="2095"/>
                </a:lnTo>
                <a:lnTo>
                  <a:pt x="1387" y="2095"/>
                </a:lnTo>
                <a:lnTo>
                  <a:pt x="1385" y="2096"/>
                </a:lnTo>
                <a:lnTo>
                  <a:pt x="1382" y="2096"/>
                </a:lnTo>
                <a:lnTo>
                  <a:pt x="1380" y="2096"/>
                </a:lnTo>
                <a:lnTo>
                  <a:pt x="1377" y="2095"/>
                </a:lnTo>
                <a:lnTo>
                  <a:pt x="1375" y="2093"/>
                </a:lnTo>
                <a:lnTo>
                  <a:pt x="1373" y="2091"/>
                </a:lnTo>
                <a:lnTo>
                  <a:pt x="1372" y="2089"/>
                </a:lnTo>
                <a:lnTo>
                  <a:pt x="1371" y="2087"/>
                </a:lnTo>
                <a:lnTo>
                  <a:pt x="1370" y="2084"/>
                </a:lnTo>
                <a:lnTo>
                  <a:pt x="1371" y="2079"/>
                </a:lnTo>
                <a:lnTo>
                  <a:pt x="1372" y="2077"/>
                </a:lnTo>
                <a:lnTo>
                  <a:pt x="1374" y="2075"/>
                </a:lnTo>
                <a:lnTo>
                  <a:pt x="1375" y="2074"/>
                </a:lnTo>
                <a:lnTo>
                  <a:pt x="1377" y="2072"/>
                </a:lnTo>
                <a:lnTo>
                  <a:pt x="1379" y="2072"/>
                </a:lnTo>
                <a:lnTo>
                  <a:pt x="1381" y="2071"/>
                </a:lnTo>
                <a:close/>
                <a:moveTo>
                  <a:pt x="1426" y="2023"/>
                </a:moveTo>
                <a:lnTo>
                  <a:pt x="1429" y="2022"/>
                </a:lnTo>
                <a:lnTo>
                  <a:pt x="1432" y="2023"/>
                </a:lnTo>
                <a:lnTo>
                  <a:pt x="1434" y="2024"/>
                </a:lnTo>
                <a:lnTo>
                  <a:pt x="1437" y="2026"/>
                </a:lnTo>
                <a:lnTo>
                  <a:pt x="1438" y="2028"/>
                </a:lnTo>
                <a:lnTo>
                  <a:pt x="1440" y="2030"/>
                </a:lnTo>
                <a:lnTo>
                  <a:pt x="1440" y="2032"/>
                </a:lnTo>
                <a:lnTo>
                  <a:pt x="1441" y="2035"/>
                </a:lnTo>
                <a:lnTo>
                  <a:pt x="1440" y="2039"/>
                </a:lnTo>
                <a:lnTo>
                  <a:pt x="1439" y="2042"/>
                </a:lnTo>
                <a:lnTo>
                  <a:pt x="1437" y="2044"/>
                </a:lnTo>
                <a:lnTo>
                  <a:pt x="1434" y="2046"/>
                </a:lnTo>
                <a:lnTo>
                  <a:pt x="1430" y="2047"/>
                </a:lnTo>
                <a:lnTo>
                  <a:pt x="1427" y="2048"/>
                </a:lnTo>
                <a:lnTo>
                  <a:pt x="1424" y="2047"/>
                </a:lnTo>
                <a:lnTo>
                  <a:pt x="1422" y="2046"/>
                </a:lnTo>
                <a:lnTo>
                  <a:pt x="1419" y="2044"/>
                </a:lnTo>
                <a:lnTo>
                  <a:pt x="1418" y="2042"/>
                </a:lnTo>
                <a:lnTo>
                  <a:pt x="1416" y="2040"/>
                </a:lnTo>
                <a:lnTo>
                  <a:pt x="1416" y="2038"/>
                </a:lnTo>
                <a:lnTo>
                  <a:pt x="1415" y="2035"/>
                </a:lnTo>
                <a:lnTo>
                  <a:pt x="1416" y="2031"/>
                </a:lnTo>
                <a:lnTo>
                  <a:pt x="1417" y="2028"/>
                </a:lnTo>
                <a:lnTo>
                  <a:pt x="1419" y="2026"/>
                </a:lnTo>
                <a:lnTo>
                  <a:pt x="1422" y="2024"/>
                </a:lnTo>
                <a:lnTo>
                  <a:pt x="1426" y="2023"/>
                </a:lnTo>
                <a:close/>
                <a:moveTo>
                  <a:pt x="1472" y="1975"/>
                </a:moveTo>
                <a:lnTo>
                  <a:pt x="1475" y="1975"/>
                </a:lnTo>
                <a:lnTo>
                  <a:pt x="1478" y="1976"/>
                </a:lnTo>
                <a:lnTo>
                  <a:pt x="1481" y="1977"/>
                </a:lnTo>
                <a:lnTo>
                  <a:pt x="1483" y="1979"/>
                </a:lnTo>
                <a:lnTo>
                  <a:pt x="1485" y="1981"/>
                </a:lnTo>
                <a:lnTo>
                  <a:pt x="1486" y="1983"/>
                </a:lnTo>
                <a:lnTo>
                  <a:pt x="1487" y="1985"/>
                </a:lnTo>
                <a:lnTo>
                  <a:pt x="1487" y="1988"/>
                </a:lnTo>
                <a:lnTo>
                  <a:pt x="1487" y="1990"/>
                </a:lnTo>
                <a:lnTo>
                  <a:pt x="1486" y="1993"/>
                </a:lnTo>
                <a:lnTo>
                  <a:pt x="1485" y="1995"/>
                </a:lnTo>
                <a:lnTo>
                  <a:pt x="1483" y="1997"/>
                </a:lnTo>
                <a:lnTo>
                  <a:pt x="1482" y="1998"/>
                </a:lnTo>
                <a:lnTo>
                  <a:pt x="1480" y="1999"/>
                </a:lnTo>
                <a:lnTo>
                  <a:pt x="1476" y="2000"/>
                </a:lnTo>
                <a:lnTo>
                  <a:pt x="1473" y="2000"/>
                </a:lnTo>
                <a:lnTo>
                  <a:pt x="1471" y="2000"/>
                </a:lnTo>
                <a:lnTo>
                  <a:pt x="1468" y="1999"/>
                </a:lnTo>
                <a:lnTo>
                  <a:pt x="1465" y="1997"/>
                </a:lnTo>
                <a:lnTo>
                  <a:pt x="1464" y="1995"/>
                </a:lnTo>
                <a:lnTo>
                  <a:pt x="1463" y="1992"/>
                </a:lnTo>
                <a:lnTo>
                  <a:pt x="1462" y="1990"/>
                </a:lnTo>
                <a:lnTo>
                  <a:pt x="1462" y="1988"/>
                </a:lnTo>
                <a:lnTo>
                  <a:pt x="1462" y="1985"/>
                </a:lnTo>
                <a:lnTo>
                  <a:pt x="1463" y="1983"/>
                </a:lnTo>
                <a:lnTo>
                  <a:pt x="1464" y="1981"/>
                </a:lnTo>
                <a:lnTo>
                  <a:pt x="1465" y="1979"/>
                </a:lnTo>
                <a:lnTo>
                  <a:pt x="1467" y="1978"/>
                </a:lnTo>
                <a:lnTo>
                  <a:pt x="1469" y="1977"/>
                </a:lnTo>
                <a:lnTo>
                  <a:pt x="1472" y="1975"/>
                </a:lnTo>
                <a:close/>
                <a:moveTo>
                  <a:pt x="1520" y="1929"/>
                </a:moveTo>
                <a:lnTo>
                  <a:pt x="1523" y="1929"/>
                </a:lnTo>
                <a:lnTo>
                  <a:pt x="1526" y="1930"/>
                </a:lnTo>
                <a:lnTo>
                  <a:pt x="1529" y="1931"/>
                </a:lnTo>
                <a:lnTo>
                  <a:pt x="1531" y="1933"/>
                </a:lnTo>
                <a:lnTo>
                  <a:pt x="1533" y="1935"/>
                </a:lnTo>
                <a:lnTo>
                  <a:pt x="1534" y="1937"/>
                </a:lnTo>
                <a:lnTo>
                  <a:pt x="1534" y="1942"/>
                </a:lnTo>
                <a:lnTo>
                  <a:pt x="1534" y="1945"/>
                </a:lnTo>
                <a:lnTo>
                  <a:pt x="1533" y="1947"/>
                </a:lnTo>
                <a:lnTo>
                  <a:pt x="1532" y="1949"/>
                </a:lnTo>
                <a:lnTo>
                  <a:pt x="1531" y="1951"/>
                </a:lnTo>
                <a:lnTo>
                  <a:pt x="1527" y="1953"/>
                </a:lnTo>
                <a:lnTo>
                  <a:pt x="1526" y="1954"/>
                </a:lnTo>
                <a:lnTo>
                  <a:pt x="1524" y="1954"/>
                </a:lnTo>
                <a:lnTo>
                  <a:pt x="1521" y="1954"/>
                </a:lnTo>
                <a:lnTo>
                  <a:pt x="1518" y="1954"/>
                </a:lnTo>
                <a:lnTo>
                  <a:pt x="1515" y="1952"/>
                </a:lnTo>
                <a:lnTo>
                  <a:pt x="1513" y="1950"/>
                </a:lnTo>
                <a:lnTo>
                  <a:pt x="1511" y="1948"/>
                </a:lnTo>
                <a:lnTo>
                  <a:pt x="1510" y="1946"/>
                </a:lnTo>
                <a:lnTo>
                  <a:pt x="1509" y="1941"/>
                </a:lnTo>
                <a:lnTo>
                  <a:pt x="1510" y="1939"/>
                </a:lnTo>
                <a:lnTo>
                  <a:pt x="1510" y="1937"/>
                </a:lnTo>
                <a:lnTo>
                  <a:pt x="1512" y="1935"/>
                </a:lnTo>
                <a:lnTo>
                  <a:pt x="1513" y="1933"/>
                </a:lnTo>
                <a:lnTo>
                  <a:pt x="1516" y="1931"/>
                </a:lnTo>
                <a:lnTo>
                  <a:pt x="1518" y="1930"/>
                </a:lnTo>
                <a:lnTo>
                  <a:pt x="1520" y="1929"/>
                </a:lnTo>
                <a:close/>
                <a:moveTo>
                  <a:pt x="1569" y="1885"/>
                </a:moveTo>
                <a:lnTo>
                  <a:pt x="1572" y="1885"/>
                </a:lnTo>
                <a:lnTo>
                  <a:pt x="1575" y="1885"/>
                </a:lnTo>
                <a:lnTo>
                  <a:pt x="1578" y="1887"/>
                </a:lnTo>
                <a:lnTo>
                  <a:pt x="1579" y="1888"/>
                </a:lnTo>
                <a:lnTo>
                  <a:pt x="1580" y="1889"/>
                </a:lnTo>
                <a:lnTo>
                  <a:pt x="1582" y="1891"/>
                </a:lnTo>
                <a:lnTo>
                  <a:pt x="1583" y="1893"/>
                </a:lnTo>
                <a:lnTo>
                  <a:pt x="1583" y="1896"/>
                </a:lnTo>
                <a:lnTo>
                  <a:pt x="1583" y="1898"/>
                </a:lnTo>
                <a:lnTo>
                  <a:pt x="1583" y="1901"/>
                </a:lnTo>
                <a:lnTo>
                  <a:pt x="1582" y="1903"/>
                </a:lnTo>
                <a:lnTo>
                  <a:pt x="1581" y="1905"/>
                </a:lnTo>
                <a:lnTo>
                  <a:pt x="1579" y="1907"/>
                </a:lnTo>
                <a:lnTo>
                  <a:pt x="1576" y="1909"/>
                </a:lnTo>
                <a:lnTo>
                  <a:pt x="1573" y="1910"/>
                </a:lnTo>
                <a:lnTo>
                  <a:pt x="1570" y="1910"/>
                </a:lnTo>
                <a:lnTo>
                  <a:pt x="1567" y="1909"/>
                </a:lnTo>
                <a:lnTo>
                  <a:pt x="1564" y="1908"/>
                </a:lnTo>
                <a:lnTo>
                  <a:pt x="1563" y="1907"/>
                </a:lnTo>
                <a:lnTo>
                  <a:pt x="1561" y="1906"/>
                </a:lnTo>
                <a:lnTo>
                  <a:pt x="1560" y="1904"/>
                </a:lnTo>
                <a:lnTo>
                  <a:pt x="1559" y="1901"/>
                </a:lnTo>
                <a:lnTo>
                  <a:pt x="1558" y="1899"/>
                </a:lnTo>
                <a:lnTo>
                  <a:pt x="1558" y="1897"/>
                </a:lnTo>
                <a:lnTo>
                  <a:pt x="1559" y="1894"/>
                </a:lnTo>
                <a:lnTo>
                  <a:pt x="1560" y="1892"/>
                </a:lnTo>
                <a:lnTo>
                  <a:pt x="1561" y="1890"/>
                </a:lnTo>
                <a:lnTo>
                  <a:pt x="1563" y="1888"/>
                </a:lnTo>
                <a:lnTo>
                  <a:pt x="1565" y="1886"/>
                </a:lnTo>
                <a:lnTo>
                  <a:pt x="1569" y="1885"/>
                </a:lnTo>
                <a:close/>
                <a:moveTo>
                  <a:pt x="1619" y="1842"/>
                </a:moveTo>
                <a:lnTo>
                  <a:pt x="1622" y="1842"/>
                </a:lnTo>
                <a:lnTo>
                  <a:pt x="1625" y="1843"/>
                </a:lnTo>
                <a:lnTo>
                  <a:pt x="1628" y="1844"/>
                </a:lnTo>
                <a:lnTo>
                  <a:pt x="1631" y="1846"/>
                </a:lnTo>
                <a:lnTo>
                  <a:pt x="1632" y="1848"/>
                </a:lnTo>
                <a:lnTo>
                  <a:pt x="1633" y="1851"/>
                </a:lnTo>
                <a:lnTo>
                  <a:pt x="1634" y="1853"/>
                </a:lnTo>
                <a:lnTo>
                  <a:pt x="1634" y="1856"/>
                </a:lnTo>
                <a:lnTo>
                  <a:pt x="1633" y="1858"/>
                </a:lnTo>
                <a:lnTo>
                  <a:pt x="1632" y="1860"/>
                </a:lnTo>
                <a:lnTo>
                  <a:pt x="1631" y="1862"/>
                </a:lnTo>
                <a:lnTo>
                  <a:pt x="1629" y="1864"/>
                </a:lnTo>
                <a:lnTo>
                  <a:pt x="1626" y="1866"/>
                </a:lnTo>
                <a:lnTo>
                  <a:pt x="1623" y="1867"/>
                </a:lnTo>
                <a:lnTo>
                  <a:pt x="1620" y="1867"/>
                </a:lnTo>
                <a:lnTo>
                  <a:pt x="1617" y="1866"/>
                </a:lnTo>
                <a:lnTo>
                  <a:pt x="1614" y="1865"/>
                </a:lnTo>
                <a:lnTo>
                  <a:pt x="1611" y="1862"/>
                </a:lnTo>
                <a:lnTo>
                  <a:pt x="1610" y="1860"/>
                </a:lnTo>
                <a:lnTo>
                  <a:pt x="1609" y="1858"/>
                </a:lnTo>
                <a:lnTo>
                  <a:pt x="1609" y="1856"/>
                </a:lnTo>
                <a:lnTo>
                  <a:pt x="1609" y="1853"/>
                </a:lnTo>
                <a:lnTo>
                  <a:pt x="1609" y="1851"/>
                </a:lnTo>
                <a:lnTo>
                  <a:pt x="1610" y="1849"/>
                </a:lnTo>
                <a:lnTo>
                  <a:pt x="1611" y="1846"/>
                </a:lnTo>
                <a:lnTo>
                  <a:pt x="1613" y="1845"/>
                </a:lnTo>
                <a:lnTo>
                  <a:pt x="1616" y="1843"/>
                </a:lnTo>
                <a:lnTo>
                  <a:pt x="1619" y="1842"/>
                </a:lnTo>
                <a:close/>
                <a:moveTo>
                  <a:pt x="1671" y="1801"/>
                </a:moveTo>
                <a:lnTo>
                  <a:pt x="1674" y="1801"/>
                </a:lnTo>
                <a:lnTo>
                  <a:pt x="1677" y="1801"/>
                </a:lnTo>
                <a:lnTo>
                  <a:pt x="1680" y="1803"/>
                </a:lnTo>
                <a:lnTo>
                  <a:pt x="1683" y="1805"/>
                </a:lnTo>
                <a:lnTo>
                  <a:pt x="1685" y="1810"/>
                </a:lnTo>
                <a:lnTo>
                  <a:pt x="1685" y="1812"/>
                </a:lnTo>
                <a:lnTo>
                  <a:pt x="1685" y="1815"/>
                </a:lnTo>
                <a:lnTo>
                  <a:pt x="1685" y="1817"/>
                </a:lnTo>
                <a:lnTo>
                  <a:pt x="1684" y="1819"/>
                </a:lnTo>
                <a:lnTo>
                  <a:pt x="1682" y="1821"/>
                </a:lnTo>
                <a:lnTo>
                  <a:pt x="1681" y="1823"/>
                </a:lnTo>
                <a:lnTo>
                  <a:pt x="1679" y="1824"/>
                </a:lnTo>
                <a:lnTo>
                  <a:pt x="1678" y="1825"/>
                </a:lnTo>
                <a:lnTo>
                  <a:pt x="1675" y="1825"/>
                </a:lnTo>
                <a:lnTo>
                  <a:pt x="1672" y="1826"/>
                </a:lnTo>
                <a:lnTo>
                  <a:pt x="1668" y="1825"/>
                </a:lnTo>
                <a:lnTo>
                  <a:pt x="1665" y="1823"/>
                </a:lnTo>
                <a:lnTo>
                  <a:pt x="1663" y="1821"/>
                </a:lnTo>
                <a:lnTo>
                  <a:pt x="1661" y="1816"/>
                </a:lnTo>
                <a:lnTo>
                  <a:pt x="1660" y="1814"/>
                </a:lnTo>
                <a:lnTo>
                  <a:pt x="1660" y="1811"/>
                </a:lnTo>
                <a:lnTo>
                  <a:pt x="1661" y="1809"/>
                </a:lnTo>
                <a:lnTo>
                  <a:pt x="1662" y="1807"/>
                </a:lnTo>
                <a:lnTo>
                  <a:pt x="1663" y="1805"/>
                </a:lnTo>
                <a:lnTo>
                  <a:pt x="1665" y="1803"/>
                </a:lnTo>
                <a:lnTo>
                  <a:pt x="1666" y="1802"/>
                </a:lnTo>
                <a:lnTo>
                  <a:pt x="1668" y="1802"/>
                </a:lnTo>
                <a:lnTo>
                  <a:pt x="1671" y="1801"/>
                </a:lnTo>
                <a:close/>
                <a:moveTo>
                  <a:pt x="1724" y="1761"/>
                </a:moveTo>
                <a:lnTo>
                  <a:pt x="1727" y="1761"/>
                </a:lnTo>
                <a:lnTo>
                  <a:pt x="1731" y="1762"/>
                </a:lnTo>
                <a:lnTo>
                  <a:pt x="1734" y="1764"/>
                </a:lnTo>
                <a:lnTo>
                  <a:pt x="1736" y="1766"/>
                </a:lnTo>
                <a:lnTo>
                  <a:pt x="1737" y="1768"/>
                </a:lnTo>
                <a:lnTo>
                  <a:pt x="1738" y="1771"/>
                </a:lnTo>
                <a:lnTo>
                  <a:pt x="1739" y="1773"/>
                </a:lnTo>
                <a:lnTo>
                  <a:pt x="1738" y="1776"/>
                </a:lnTo>
                <a:lnTo>
                  <a:pt x="1738" y="1778"/>
                </a:lnTo>
                <a:lnTo>
                  <a:pt x="1737" y="1780"/>
                </a:lnTo>
                <a:lnTo>
                  <a:pt x="1735" y="1782"/>
                </a:lnTo>
                <a:lnTo>
                  <a:pt x="1733" y="1784"/>
                </a:lnTo>
                <a:lnTo>
                  <a:pt x="1731" y="1785"/>
                </a:lnTo>
                <a:lnTo>
                  <a:pt x="1728" y="1786"/>
                </a:lnTo>
                <a:lnTo>
                  <a:pt x="1725" y="1786"/>
                </a:lnTo>
                <a:lnTo>
                  <a:pt x="1721" y="1785"/>
                </a:lnTo>
                <a:lnTo>
                  <a:pt x="1718" y="1784"/>
                </a:lnTo>
                <a:lnTo>
                  <a:pt x="1716" y="1781"/>
                </a:lnTo>
                <a:lnTo>
                  <a:pt x="1714" y="1779"/>
                </a:lnTo>
                <a:lnTo>
                  <a:pt x="1714" y="1776"/>
                </a:lnTo>
                <a:lnTo>
                  <a:pt x="1713" y="1774"/>
                </a:lnTo>
                <a:lnTo>
                  <a:pt x="1714" y="1772"/>
                </a:lnTo>
                <a:lnTo>
                  <a:pt x="1714" y="1769"/>
                </a:lnTo>
                <a:lnTo>
                  <a:pt x="1715" y="1767"/>
                </a:lnTo>
                <a:lnTo>
                  <a:pt x="1717" y="1765"/>
                </a:lnTo>
                <a:lnTo>
                  <a:pt x="1719" y="1763"/>
                </a:lnTo>
                <a:lnTo>
                  <a:pt x="1721" y="1762"/>
                </a:lnTo>
                <a:lnTo>
                  <a:pt x="1724" y="1761"/>
                </a:lnTo>
                <a:close/>
                <a:moveTo>
                  <a:pt x="1778" y="1724"/>
                </a:moveTo>
                <a:lnTo>
                  <a:pt x="1782" y="1723"/>
                </a:lnTo>
                <a:lnTo>
                  <a:pt x="1785" y="1724"/>
                </a:lnTo>
                <a:lnTo>
                  <a:pt x="1788" y="1726"/>
                </a:lnTo>
                <a:lnTo>
                  <a:pt x="1791" y="1729"/>
                </a:lnTo>
                <a:lnTo>
                  <a:pt x="1792" y="1731"/>
                </a:lnTo>
                <a:lnTo>
                  <a:pt x="1793" y="1734"/>
                </a:lnTo>
                <a:lnTo>
                  <a:pt x="1793" y="1738"/>
                </a:lnTo>
                <a:lnTo>
                  <a:pt x="1792" y="1741"/>
                </a:lnTo>
                <a:lnTo>
                  <a:pt x="1791" y="1743"/>
                </a:lnTo>
                <a:lnTo>
                  <a:pt x="1789" y="1745"/>
                </a:lnTo>
                <a:lnTo>
                  <a:pt x="1787" y="1746"/>
                </a:lnTo>
                <a:lnTo>
                  <a:pt x="1785" y="1748"/>
                </a:lnTo>
                <a:lnTo>
                  <a:pt x="1783" y="1748"/>
                </a:lnTo>
                <a:lnTo>
                  <a:pt x="1779" y="1748"/>
                </a:lnTo>
                <a:lnTo>
                  <a:pt x="1775" y="1748"/>
                </a:lnTo>
                <a:lnTo>
                  <a:pt x="1772" y="1746"/>
                </a:lnTo>
                <a:lnTo>
                  <a:pt x="1770" y="1743"/>
                </a:lnTo>
                <a:lnTo>
                  <a:pt x="1769" y="1741"/>
                </a:lnTo>
                <a:lnTo>
                  <a:pt x="1768" y="1738"/>
                </a:lnTo>
                <a:lnTo>
                  <a:pt x="1768" y="1733"/>
                </a:lnTo>
                <a:lnTo>
                  <a:pt x="1769" y="1731"/>
                </a:lnTo>
                <a:lnTo>
                  <a:pt x="1770" y="1729"/>
                </a:lnTo>
                <a:lnTo>
                  <a:pt x="1771" y="1727"/>
                </a:lnTo>
                <a:lnTo>
                  <a:pt x="1773" y="1725"/>
                </a:lnTo>
                <a:lnTo>
                  <a:pt x="1776" y="1724"/>
                </a:lnTo>
                <a:lnTo>
                  <a:pt x="1778" y="1724"/>
                </a:lnTo>
                <a:close/>
                <a:moveTo>
                  <a:pt x="2917" y="1515"/>
                </a:moveTo>
                <a:lnTo>
                  <a:pt x="2921" y="1515"/>
                </a:lnTo>
                <a:lnTo>
                  <a:pt x="2924" y="1516"/>
                </a:lnTo>
                <a:lnTo>
                  <a:pt x="2926" y="1517"/>
                </a:lnTo>
                <a:lnTo>
                  <a:pt x="2928" y="1518"/>
                </a:lnTo>
                <a:lnTo>
                  <a:pt x="2930" y="1520"/>
                </a:lnTo>
                <a:lnTo>
                  <a:pt x="2931" y="1522"/>
                </a:lnTo>
                <a:lnTo>
                  <a:pt x="2932" y="1524"/>
                </a:lnTo>
                <a:lnTo>
                  <a:pt x="2932" y="1527"/>
                </a:lnTo>
                <a:lnTo>
                  <a:pt x="2932" y="1529"/>
                </a:lnTo>
                <a:lnTo>
                  <a:pt x="2932" y="1531"/>
                </a:lnTo>
                <a:lnTo>
                  <a:pt x="2931" y="1533"/>
                </a:lnTo>
                <a:lnTo>
                  <a:pt x="2930" y="1535"/>
                </a:lnTo>
                <a:lnTo>
                  <a:pt x="2929" y="1536"/>
                </a:lnTo>
                <a:lnTo>
                  <a:pt x="2927" y="1538"/>
                </a:lnTo>
                <a:lnTo>
                  <a:pt x="2926" y="1539"/>
                </a:lnTo>
                <a:lnTo>
                  <a:pt x="2922" y="1540"/>
                </a:lnTo>
                <a:lnTo>
                  <a:pt x="2918" y="1540"/>
                </a:lnTo>
                <a:lnTo>
                  <a:pt x="2916" y="1540"/>
                </a:lnTo>
                <a:lnTo>
                  <a:pt x="2913" y="1539"/>
                </a:lnTo>
                <a:lnTo>
                  <a:pt x="2911" y="1537"/>
                </a:lnTo>
                <a:lnTo>
                  <a:pt x="2910" y="1535"/>
                </a:lnTo>
                <a:lnTo>
                  <a:pt x="2908" y="1533"/>
                </a:lnTo>
                <a:lnTo>
                  <a:pt x="2908" y="1531"/>
                </a:lnTo>
                <a:lnTo>
                  <a:pt x="2907" y="1529"/>
                </a:lnTo>
                <a:lnTo>
                  <a:pt x="2907" y="1526"/>
                </a:lnTo>
                <a:lnTo>
                  <a:pt x="2908" y="1524"/>
                </a:lnTo>
                <a:lnTo>
                  <a:pt x="2908" y="1522"/>
                </a:lnTo>
                <a:lnTo>
                  <a:pt x="2909" y="1521"/>
                </a:lnTo>
                <a:lnTo>
                  <a:pt x="2911" y="1519"/>
                </a:lnTo>
                <a:lnTo>
                  <a:pt x="2912" y="1518"/>
                </a:lnTo>
                <a:lnTo>
                  <a:pt x="2914" y="1517"/>
                </a:lnTo>
                <a:lnTo>
                  <a:pt x="2917" y="1515"/>
                </a:lnTo>
                <a:close/>
                <a:moveTo>
                  <a:pt x="1834" y="1688"/>
                </a:moveTo>
                <a:lnTo>
                  <a:pt x="1838" y="1688"/>
                </a:lnTo>
                <a:lnTo>
                  <a:pt x="1841" y="1689"/>
                </a:lnTo>
                <a:lnTo>
                  <a:pt x="1844" y="1691"/>
                </a:lnTo>
                <a:lnTo>
                  <a:pt x="1846" y="1692"/>
                </a:lnTo>
                <a:lnTo>
                  <a:pt x="1847" y="1694"/>
                </a:lnTo>
                <a:lnTo>
                  <a:pt x="1848" y="1696"/>
                </a:lnTo>
                <a:lnTo>
                  <a:pt x="1849" y="1698"/>
                </a:lnTo>
                <a:lnTo>
                  <a:pt x="1849" y="1701"/>
                </a:lnTo>
                <a:lnTo>
                  <a:pt x="1848" y="1703"/>
                </a:lnTo>
                <a:lnTo>
                  <a:pt x="1848" y="1706"/>
                </a:lnTo>
                <a:lnTo>
                  <a:pt x="1846" y="1708"/>
                </a:lnTo>
                <a:lnTo>
                  <a:pt x="1845" y="1710"/>
                </a:lnTo>
                <a:lnTo>
                  <a:pt x="1843" y="1711"/>
                </a:lnTo>
                <a:lnTo>
                  <a:pt x="1841" y="1712"/>
                </a:lnTo>
                <a:lnTo>
                  <a:pt x="1838" y="1713"/>
                </a:lnTo>
                <a:lnTo>
                  <a:pt x="1835" y="1713"/>
                </a:lnTo>
                <a:lnTo>
                  <a:pt x="1831" y="1712"/>
                </a:lnTo>
                <a:lnTo>
                  <a:pt x="1828" y="1710"/>
                </a:lnTo>
                <a:lnTo>
                  <a:pt x="1827" y="1709"/>
                </a:lnTo>
                <a:lnTo>
                  <a:pt x="1825" y="1707"/>
                </a:lnTo>
                <a:lnTo>
                  <a:pt x="1824" y="1705"/>
                </a:lnTo>
                <a:lnTo>
                  <a:pt x="1824" y="1702"/>
                </a:lnTo>
                <a:lnTo>
                  <a:pt x="1824" y="1700"/>
                </a:lnTo>
                <a:lnTo>
                  <a:pt x="1824" y="1697"/>
                </a:lnTo>
                <a:lnTo>
                  <a:pt x="1825" y="1695"/>
                </a:lnTo>
                <a:lnTo>
                  <a:pt x="1826" y="1693"/>
                </a:lnTo>
                <a:lnTo>
                  <a:pt x="1827" y="1691"/>
                </a:lnTo>
                <a:lnTo>
                  <a:pt x="1830" y="1690"/>
                </a:lnTo>
                <a:lnTo>
                  <a:pt x="1832" y="1689"/>
                </a:lnTo>
                <a:lnTo>
                  <a:pt x="1834" y="1688"/>
                </a:lnTo>
                <a:close/>
                <a:moveTo>
                  <a:pt x="2852" y="1507"/>
                </a:moveTo>
                <a:lnTo>
                  <a:pt x="2855" y="1507"/>
                </a:lnTo>
                <a:lnTo>
                  <a:pt x="2858" y="1508"/>
                </a:lnTo>
                <a:lnTo>
                  <a:pt x="2860" y="1509"/>
                </a:lnTo>
                <a:lnTo>
                  <a:pt x="2861" y="1509"/>
                </a:lnTo>
                <a:lnTo>
                  <a:pt x="2862" y="1510"/>
                </a:lnTo>
                <a:lnTo>
                  <a:pt x="2864" y="1512"/>
                </a:lnTo>
                <a:lnTo>
                  <a:pt x="2865" y="1514"/>
                </a:lnTo>
                <a:lnTo>
                  <a:pt x="2866" y="1516"/>
                </a:lnTo>
                <a:lnTo>
                  <a:pt x="2867" y="1519"/>
                </a:lnTo>
                <a:lnTo>
                  <a:pt x="2866" y="1521"/>
                </a:lnTo>
                <a:lnTo>
                  <a:pt x="2866" y="1523"/>
                </a:lnTo>
                <a:lnTo>
                  <a:pt x="2865" y="1525"/>
                </a:lnTo>
                <a:lnTo>
                  <a:pt x="2864" y="1527"/>
                </a:lnTo>
                <a:lnTo>
                  <a:pt x="2863" y="1529"/>
                </a:lnTo>
                <a:lnTo>
                  <a:pt x="2860" y="1531"/>
                </a:lnTo>
                <a:lnTo>
                  <a:pt x="2858" y="1532"/>
                </a:lnTo>
                <a:lnTo>
                  <a:pt x="2856" y="1532"/>
                </a:lnTo>
                <a:lnTo>
                  <a:pt x="2853" y="1532"/>
                </a:lnTo>
                <a:lnTo>
                  <a:pt x="2850" y="1532"/>
                </a:lnTo>
                <a:lnTo>
                  <a:pt x="2848" y="1531"/>
                </a:lnTo>
                <a:lnTo>
                  <a:pt x="2847" y="1530"/>
                </a:lnTo>
                <a:lnTo>
                  <a:pt x="2846" y="1529"/>
                </a:lnTo>
                <a:lnTo>
                  <a:pt x="2844" y="1528"/>
                </a:lnTo>
                <a:lnTo>
                  <a:pt x="2843" y="1526"/>
                </a:lnTo>
                <a:lnTo>
                  <a:pt x="2842" y="1523"/>
                </a:lnTo>
                <a:lnTo>
                  <a:pt x="2841" y="1521"/>
                </a:lnTo>
                <a:lnTo>
                  <a:pt x="2841" y="1518"/>
                </a:lnTo>
                <a:lnTo>
                  <a:pt x="2842" y="1516"/>
                </a:lnTo>
                <a:lnTo>
                  <a:pt x="2843" y="1514"/>
                </a:lnTo>
                <a:lnTo>
                  <a:pt x="2844" y="1513"/>
                </a:lnTo>
                <a:lnTo>
                  <a:pt x="2845" y="1511"/>
                </a:lnTo>
                <a:lnTo>
                  <a:pt x="2848" y="1509"/>
                </a:lnTo>
                <a:lnTo>
                  <a:pt x="2850" y="1508"/>
                </a:lnTo>
                <a:lnTo>
                  <a:pt x="2852" y="1507"/>
                </a:lnTo>
                <a:close/>
                <a:moveTo>
                  <a:pt x="2786" y="1500"/>
                </a:moveTo>
                <a:lnTo>
                  <a:pt x="2790" y="1500"/>
                </a:lnTo>
                <a:lnTo>
                  <a:pt x="2792" y="1500"/>
                </a:lnTo>
                <a:lnTo>
                  <a:pt x="2794" y="1501"/>
                </a:lnTo>
                <a:lnTo>
                  <a:pt x="2795" y="1502"/>
                </a:lnTo>
                <a:lnTo>
                  <a:pt x="2796" y="1503"/>
                </a:lnTo>
                <a:lnTo>
                  <a:pt x="2798" y="1504"/>
                </a:lnTo>
                <a:lnTo>
                  <a:pt x="2799" y="1506"/>
                </a:lnTo>
                <a:lnTo>
                  <a:pt x="2800" y="1509"/>
                </a:lnTo>
                <a:lnTo>
                  <a:pt x="2801" y="1511"/>
                </a:lnTo>
                <a:lnTo>
                  <a:pt x="2801" y="1514"/>
                </a:lnTo>
                <a:lnTo>
                  <a:pt x="2800" y="1518"/>
                </a:lnTo>
                <a:lnTo>
                  <a:pt x="2799" y="1519"/>
                </a:lnTo>
                <a:lnTo>
                  <a:pt x="2797" y="1521"/>
                </a:lnTo>
                <a:lnTo>
                  <a:pt x="2794" y="1523"/>
                </a:lnTo>
                <a:lnTo>
                  <a:pt x="2792" y="1524"/>
                </a:lnTo>
                <a:lnTo>
                  <a:pt x="2790" y="1525"/>
                </a:lnTo>
                <a:lnTo>
                  <a:pt x="2787" y="1525"/>
                </a:lnTo>
                <a:lnTo>
                  <a:pt x="2784" y="1524"/>
                </a:lnTo>
                <a:lnTo>
                  <a:pt x="2782" y="1523"/>
                </a:lnTo>
                <a:lnTo>
                  <a:pt x="2781" y="1523"/>
                </a:lnTo>
                <a:lnTo>
                  <a:pt x="2780" y="1522"/>
                </a:lnTo>
                <a:lnTo>
                  <a:pt x="2778" y="1520"/>
                </a:lnTo>
                <a:lnTo>
                  <a:pt x="2777" y="1518"/>
                </a:lnTo>
                <a:lnTo>
                  <a:pt x="2776" y="1516"/>
                </a:lnTo>
                <a:lnTo>
                  <a:pt x="2776" y="1514"/>
                </a:lnTo>
                <a:lnTo>
                  <a:pt x="2776" y="1511"/>
                </a:lnTo>
                <a:lnTo>
                  <a:pt x="2777" y="1507"/>
                </a:lnTo>
                <a:lnTo>
                  <a:pt x="2778" y="1505"/>
                </a:lnTo>
                <a:lnTo>
                  <a:pt x="2779" y="1504"/>
                </a:lnTo>
                <a:lnTo>
                  <a:pt x="2782" y="1501"/>
                </a:lnTo>
                <a:lnTo>
                  <a:pt x="2784" y="1500"/>
                </a:lnTo>
                <a:lnTo>
                  <a:pt x="2786" y="1500"/>
                </a:lnTo>
                <a:close/>
                <a:moveTo>
                  <a:pt x="1891" y="1655"/>
                </a:moveTo>
                <a:lnTo>
                  <a:pt x="1895" y="1654"/>
                </a:lnTo>
                <a:lnTo>
                  <a:pt x="1899" y="1656"/>
                </a:lnTo>
                <a:lnTo>
                  <a:pt x="1900" y="1656"/>
                </a:lnTo>
                <a:lnTo>
                  <a:pt x="1902" y="1658"/>
                </a:lnTo>
                <a:lnTo>
                  <a:pt x="1904" y="1661"/>
                </a:lnTo>
                <a:lnTo>
                  <a:pt x="1906" y="1666"/>
                </a:lnTo>
                <a:lnTo>
                  <a:pt x="1906" y="1668"/>
                </a:lnTo>
                <a:lnTo>
                  <a:pt x="1905" y="1670"/>
                </a:lnTo>
                <a:lnTo>
                  <a:pt x="1904" y="1673"/>
                </a:lnTo>
                <a:lnTo>
                  <a:pt x="1903" y="1675"/>
                </a:lnTo>
                <a:lnTo>
                  <a:pt x="1901" y="1676"/>
                </a:lnTo>
                <a:lnTo>
                  <a:pt x="1899" y="1678"/>
                </a:lnTo>
                <a:lnTo>
                  <a:pt x="1897" y="1679"/>
                </a:lnTo>
                <a:lnTo>
                  <a:pt x="1895" y="1679"/>
                </a:lnTo>
                <a:lnTo>
                  <a:pt x="1892" y="1679"/>
                </a:lnTo>
                <a:lnTo>
                  <a:pt x="1888" y="1678"/>
                </a:lnTo>
                <a:lnTo>
                  <a:pt x="1886" y="1677"/>
                </a:lnTo>
                <a:lnTo>
                  <a:pt x="1885" y="1676"/>
                </a:lnTo>
                <a:lnTo>
                  <a:pt x="1882" y="1673"/>
                </a:lnTo>
                <a:lnTo>
                  <a:pt x="1881" y="1668"/>
                </a:lnTo>
                <a:lnTo>
                  <a:pt x="1881" y="1666"/>
                </a:lnTo>
                <a:lnTo>
                  <a:pt x="1881" y="1664"/>
                </a:lnTo>
                <a:lnTo>
                  <a:pt x="1882" y="1661"/>
                </a:lnTo>
                <a:lnTo>
                  <a:pt x="1883" y="1659"/>
                </a:lnTo>
                <a:lnTo>
                  <a:pt x="1885" y="1657"/>
                </a:lnTo>
                <a:lnTo>
                  <a:pt x="1887" y="1656"/>
                </a:lnTo>
                <a:lnTo>
                  <a:pt x="1889" y="1655"/>
                </a:lnTo>
                <a:lnTo>
                  <a:pt x="1891" y="1655"/>
                </a:lnTo>
                <a:close/>
                <a:moveTo>
                  <a:pt x="2720" y="1493"/>
                </a:moveTo>
                <a:lnTo>
                  <a:pt x="2724" y="1493"/>
                </a:lnTo>
                <a:lnTo>
                  <a:pt x="2726" y="1493"/>
                </a:lnTo>
                <a:lnTo>
                  <a:pt x="2728" y="1494"/>
                </a:lnTo>
                <a:lnTo>
                  <a:pt x="2730" y="1495"/>
                </a:lnTo>
                <a:lnTo>
                  <a:pt x="2731" y="1496"/>
                </a:lnTo>
                <a:lnTo>
                  <a:pt x="2732" y="1497"/>
                </a:lnTo>
                <a:lnTo>
                  <a:pt x="2734" y="1499"/>
                </a:lnTo>
                <a:lnTo>
                  <a:pt x="2734" y="1502"/>
                </a:lnTo>
                <a:lnTo>
                  <a:pt x="2735" y="1504"/>
                </a:lnTo>
                <a:lnTo>
                  <a:pt x="2735" y="1507"/>
                </a:lnTo>
                <a:lnTo>
                  <a:pt x="2734" y="1511"/>
                </a:lnTo>
                <a:lnTo>
                  <a:pt x="2733" y="1512"/>
                </a:lnTo>
                <a:lnTo>
                  <a:pt x="2732" y="1514"/>
                </a:lnTo>
                <a:lnTo>
                  <a:pt x="2728" y="1516"/>
                </a:lnTo>
                <a:lnTo>
                  <a:pt x="2727" y="1517"/>
                </a:lnTo>
                <a:lnTo>
                  <a:pt x="2725" y="1518"/>
                </a:lnTo>
                <a:lnTo>
                  <a:pt x="2721" y="1518"/>
                </a:lnTo>
                <a:lnTo>
                  <a:pt x="2719" y="1517"/>
                </a:lnTo>
                <a:lnTo>
                  <a:pt x="2716" y="1516"/>
                </a:lnTo>
                <a:lnTo>
                  <a:pt x="2714" y="1515"/>
                </a:lnTo>
                <a:lnTo>
                  <a:pt x="2713" y="1513"/>
                </a:lnTo>
                <a:lnTo>
                  <a:pt x="2711" y="1511"/>
                </a:lnTo>
                <a:lnTo>
                  <a:pt x="2710" y="1509"/>
                </a:lnTo>
                <a:lnTo>
                  <a:pt x="2710" y="1507"/>
                </a:lnTo>
                <a:lnTo>
                  <a:pt x="2710" y="1504"/>
                </a:lnTo>
                <a:lnTo>
                  <a:pt x="2711" y="1500"/>
                </a:lnTo>
                <a:lnTo>
                  <a:pt x="2712" y="1498"/>
                </a:lnTo>
                <a:lnTo>
                  <a:pt x="2713" y="1497"/>
                </a:lnTo>
                <a:lnTo>
                  <a:pt x="2716" y="1494"/>
                </a:lnTo>
                <a:lnTo>
                  <a:pt x="2718" y="1493"/>
                </a:lnTo>
                <a:lnTo>
                  <a:pt x="2720" y="1493"/>
                </a:lnTo>
                <a:close/>
                <a:moveTo>
                  <a:pt x="1949" y="1624"/>
                </a:moveTo>
                <a:lnTo>
                  <a:pt x="1953" y="1623"/>
                </a:lnTo>
                <a:lnTo>
                  <a:pt x="1955" y="1624"/>
                </a:lnTo>
                <a:lnTo>
                  <a:pt x="1957" y="1625"/>
                </a:lnTo>
                <a:lnTo>
                  <a:pt x="1959" y="1626"/>
                </a:lnTo>
                <a:lnTo>
                  <a:pt x="1960" y="1627"/>
                </a:lnTo>
                <a:lnTo>
                  <a:pt x="1963" y="1630"/>
                </a:lnTo>
                <a:lnTo>
                  <a:pt x="1964" y="1633"/>
                </a:lnTo>
                <a:lnTo>
                  <a:pt x="1964" y="1635"/>
                </a:lnTo>
                <a:lnTo>
                  <a:pt x="1964" y="1637"/>
                </a:lnTo>
                <a:lnTo>
                  <a:pt x="1964" y="1640"/>
                </a:lnTo>
                <a:lnTo>
                  <a:pt x="1963" y="1642"/>
                </a:lnTo>
                <a:lnTo>
                  <a:pt x="1962" y="1643"/>
                </a:lnTo>
                <a:lnTo>
                  <a:pt x="1961" y="1644"/>
                </a:lnTo>
                <a:lnTo>
                  <a:pt x="1959" y="1646"/>
                </a:lnTo>
                <a:lnTo>
                  <a:pt x="1957" y="1647"/>
                </a:lnTo>
                <a:lnTo>
                  <a:pt x="1954" y="1648"/>
                </a:lnTo>
                <a:lnTo>
                  <a:pt x="1950" y="1648"/>
                </a:lnTo>
                <a:lnTo>
                  <a:pt x="1948" y="1648"/>
                </a:lnTo>
                <a:lnTo>
                  <a:pt x="1946" y="1647"/>
                </a:lnTo>
                <a:lnTo>
                  <a:pt x="1944" y="1646"/>
                </a:lnTo>
                <a:lnTo>
                  <a:pt x="1943" y="1645"/>
                </a:lnTo>
                <a:lnTo>
                  <a:pt x="1940" y="1642"/>
                </a:lnTo>
                <a:lnTo>
                  <a:pt x="1939" y="1639"/>
                </a:lnTo>
                <a:lnTo>
                  <a:pt x="1939" y="1637"/>
                </a:lnTo>
                <a:lnTo>
                  <a:pt x="1939" y="1634"/>
                </a:lnTo>
                <a:lnTo>
                  <a:pt x="1940" y="1632"/>
                </a:lnTo>
                <a:lnTo>
                  <a:pt x="1941" y="1630"/>
                </a:lnTo>
                <a:lnTo>
                  <a:pt x="1941" y="1629"/>
                </a:lnTo>
                <a:lnTo>
                  <a:pt x="1942" y="1628"/>
                </a:lnTo>
                <a:lnTo>
                  <a:pt x="1944" y="1626"/>
                </a:lnTo>
                <a:lnTo>
                  <a:pt x="1946" y="1625"/>
                </a:lnTo>
                <a:lnTo>
                  <a:pt x="1949" y="1624"/>
                </a:lnTo>
                <a:close/>
                <a:moveTo>
                  <a:pt x="2654" y="1486"/>
                </a:moveTo>
                <a:lnTo>
                  <a:pt x="2658" y="1486"/>
                </a:lnTo>
                <a:lnTo>
                  <a:pt x="2660" y="1487"/>
                </a:lnTo>
                <a:lnTo>
                  <a:pt x="2663" y="1488"/>
                </a:lnTo>
                <a:lnTo>
                  <a:pt x="2665" y="1489"/>
                </a:lnTo>
                <a:lnTo>
                  <a:pt x="2666" y="1491"/>
                </a:lnTo>
                <a:lnTo>
                  <a:pt x="2668" y="1493"/>
                </a:lnTo>
                <a:lnTo>
                  <a:pt x="2669" y="1495"/>
                </a:lnTo>
                <a:lnTo>
                  <a:pt x="2669" y="1497"/>
                </a:lnTo>
                <a:lnTo>
                  <a:pt x="2669" y="1500"/>
                </a:lnTo>
                <a:lnTo>
                  <a:pt x="2668" y="1504"/>
                </a:lnTo>
                <a:lnTo>
                  <a:pt x="2667" y="1506"/>
                </a:lnTo>
                <a:lnTo>
                  <a:pt x="2666" y="1507"/>
                </a:lnTo>
                <a:lnTo>
                  <a:pt x="2663" y="1510"/>
                </a:lnTo>
                <a:lnTo>
                  <a:pt x="2661" y="1511"/>
                </a:lnTo>
                <a:lnTo>
                  <a:pt x="2659" y="1511"/>
                </a:lnTo>
                <a:lnTo>
                  <a:pt x="2655" y="1511"/>
                </a:lnTo>
                <a:lnTo>
                  <a:pt x="2653" y="1511"/>
                </a:lnTo>
                <a:lnTo>
                  <a:pt x="2651" y="1510"/>
                </a:lnTo>
                <a:lnTo>
                  <a:pt x="2649" y="1508"/>
                </a:lnTo>
                <a:lnTo>
                  <a:pt x="2647" y="1507"/>
                </a:lnTo>
                <a:lnTo>
                  <a:pt x="2646" y="1505"/>
                </a:lnTo>
                <a:lnTo>
                  <a:pt x="2645" y="1503"/>
                </a:lnTo>
                <a:lnTo>
                  <a:pt x="2644" y="1500"/>
                </a:lnTo>
                <a:lnTo>
                  <a:pt x="2644" y="1498"/>
                </a:lnTo>
                <a:lnTo>
                  <a:pt x="2645" y="1493"/>
                </a:lnTo>
                <a:lnTo>
                  <a:pt x="2646" y="1492"/>
                </a:lnTo>
                <a:lnTo>
                  <a:pt x="2647" y="1490"/>
                </a:lnTo>
                <a:lnTo>
                  <a:pt x="2651" y="1488"/>
                </a:lnTo>
                <a:lnTo>
                  <a:pt x="2652" y="1487"/>
                </a:lnTo>
                <a:lnTo>
                  <a:pt x="2654" y="1486"/>
                </a:lnTo>
                <a:close/>
                <a:moveTo>
                  <a:pt x="2009" y="1595"/>
                </a:moveTo>
                <a:lnTo>
                  <a:pt x="2013" y="1595"/>
                </a:lnTo>
                <a:lnTo>
                  <a:pt x="2017" y="1596"/>
                </a:lnTo>
                <a:lnTo>
                  <a:pt x="2020" y="1599"/>
                </a:lnTo>
                <a:lnTo>
                  <a:pt x="2023" y="1602"/>
                </a:lnTo>
                <a:lnTo>
                  <a:pt x="2023" y="1603"/>
                </a:lnTo>
                <a:lnTo>
                  <a:pt x="2024" y="1605"/>
                </a:lnTo>
                <a:lnTo>
                  <a:pt x="2024" y="1607"/>
                </a:lnTo>
                <a:lnTo>
                  <a:pt x="2024" y="1610"/>
                </a:lnTo>
                <a:lnTo>
                  <a:pt x="2023" y="1612"/>
                </a:lnTo>
                <a:lnTo>
                  <a:pt x="2022" y="1614"/>
                </a:lnTo>
                <a:lnTo>
                  <a:pt x="2021" y="1616"/>
                </a:lnTo>
                <a:lnTo>
                  <a:pt x="2019" y="1618"/>
                </a:lnTo>
                <a:lnTo>
                  <a:pt x="2016" y="1619"/>
                </a:lnTo>
                <a:lnTo>
                  <a:pt x="2013" y="1620"/>
                </a:lnTo>
                <a:lnTo>
                  <a:pt x="2009" y="1620"/>
                </a:lnTo>
                <a:lnTo>
                  <a:pt x="2005" y="1619"/>
                </a:lnTo>
                <a:lnTo>
                  <a:pt x="2002" y="1616"/>
                </a:lnTo>
                <a:lnTo>
                  <a:pt x="2000" y="1613"/>
                </a:lnTo>
                <a:lnTo>
                  <a:pt x="1999" y="1611"/>
                </a:lnTo>
                <a:lnTo>
                  <a:pt x="1999" y="1610"/>
                </a:lnTo>
                <a:lnTo>
                  <a:pt x="1999" y="1608"/>
                </a:lnTo>
                <a:lnTo>
                  <a:pt x="1999" y="1605"/>
                </a:lnTo>
                <a:lnTo>
                  <a:pt x="1999" y="1603"/>
                </a:lnTo>
                <a:lnTo>
                  <a:pt x="2001" y="1601"/>
                </a:lnTo>
                <a:lnTo>
                  <a:pt x="2002" y="1599"/>
                </a:lnTo>
                <a:lnTo>
                  <a:pt x="2004" y="1597"/>
                </a:lnTo>
                <a:lnTo>
                  <a:pt x="2006" y="1596"/>
                </a:lnTo>
                <a:lnTo>
                  <a:pt x="2009" y="1595"/>
                </a:lnTo>
                <a:close/>
                <a:moveTo>
                  <a:pt x="2588" y="1481"/>
                </a:moveTo>
                <a:lnTo>
                  <a:pt x="2591" y="1481"/>
                </a:lnTo>
                <a:lnTo>
                  <a:pt x="2594" y="1481"/>
                </a:lnTo>
                <a:lnTo>
                  <a:pt x="2596" y="1482"/>
                </a:lnTo>
                <a:lnTo>
                  <a:pt x="2598" y="1483"/>
                </a:lnTo>
                <a:lnTo>
                  <a:pt x="2600" y="1485"/>
                </a:lnTo>
                <a:lnTo>
                  <a:pt x="2601" y="1487"/>
                </a:lnTo>
                <a:lnTo>
                  <a:pt x="2603" y="1489"/>
                </a:lnTo>
                <a:lnTo>
                  <a:pt x="2603" y="1491"/>
                </a:lnTo>
                <a:lnTo>
                  <a:pt x="2603" y="1494"/>
                </a:lnTo>
                <a:lnTo>
                  <a:pt x="2603" y="1496"/>
                </a:lnTo>
                <a:lnTo>
                  <a:pt x="2602" y="1498"/>
                </a:lnTo>
                <a:lnTo>
                  <a:pt x="2601" y="1500"/>
                </a:lnTo>
                <a:lnTo>
                  <a:pt x="2600" y="1502"/>
                </a:lnTo>
                <a:lnTo>
                  <a:pt x="2599" y="1503"/>
                </a:lnTo>
                <a:lnTo>
                  <a:pt x="2597" y="1504"/>
                </a:lnTo>
                <a:lnTo>
                  <a:pt x="2595" y="1505"/>
                </a:lnTo>
                <a:lnTo>
                  <a:pt x="2593" y="1506"/>
                </a:lnTo>
                <a:lnTo>
                  <a:pt x="2590" y="1506"/>
                </a:lnTo>
                <a:lnTo>
                  <a:pt x="2587" y="1505"/>
                </a:lnTo>
                <a:lnTo>
                  <a:pt x="2585" y="1505"/>
                </a:lnTo>
                <a:lnTo>
                  <a:pt x="2583" y="1503"/>
                </a:lnTo>
                <a:lnTo>
                  <a:pt x="2581" y="1502"/>
                </a:lnTo>
                <a:lnTo>
                  <a:pt x="2580" y="1500"/>
                </a:lnTo>
                <a:lnTo>
                  <a:pt x="2579" y="1497"/>
                </a:lnTo>
                <a:lnTo>
                  <a:pt x="2578" y="1495"/>
                </a:lnTo>
                <a:lnTo>
                  <a:pt x="2578" y="1492"/>
                </a:lnTo>
                <a:lnTo>
                  <a:pt x="2578" y="1490"/>
                </a:lnTo>
                <a:lnTo>
                  <a:pt x="2579" y="1488"/>
                </a:lnTo>
                <a:lnTo>
                  <a:pt x="2580" y="1486"/>
                </a:lnTo>
                <a:lnTo>
                  <a:pt x="2581" y="1485"/>
                </a:lnTo>
                <a:lnTo>
                  <a:pt x="2583" y="1483"/>
                </a:lnTo>
                <a:lnTo>
                  <a:pt x="2585" y="1482"/>
                </a:lnTo>
                <a:lnTo>
                  <a:pt x="2586" y="1481"/>
                </a:lnTo>
                <a:lnTo>
                  <a:pt x="2588" y="1481"/>
                </a:lnTo>
                <a:close/>
                <a:moveTo>
                  <a:pt x="2070" y="1569"/>
                </a:moveTo>
                <a:lnTo>
                  <a:pt x="2074" y="1569"/>
                </a:lnTo>
                <a:lnTo>
                  <a:pt x="2076" y="1570"/>
                </a:lnTo>
                <a:lnTo>
                  <a:pt x="2078" y="1571"/>
                </a:lnTo>
                <a:lnTo>
                  <a:pt x="2080" y="1572"/>
                </a:lnTo>
                <a:lnTo>
                  <a:pt x="2082" y="1573"/>
                </a:lnTo>
                <a:lnTo>
                  <a:pt x="2083" y="1575"/>
                </a:lnTo>
                <a:lnTo>
                  <a:pt x="2084" y="1577"/>
                </a:lnTo>
                <a:lnTo>
                  <a:pt x="2085" y="1579"/>
                </a:lnTo>
                <a:lnTo>
                  <a:pt x="2085" y="1582"/>
                </a:lnTo>
                <a:lnTo>
                  <a:pt x="2084" y="1584"/>
                </a:lnTo>
                <a:lnTo>
                  <a:pt x="2084" y="1587"/>
                </a:lnTo>
                <a:lnTo>
                  <a:pt x="2083" y="1589"/>
                </a:lnTo>
                <a:lnTo>
                  <a:pt x="2081" y="1591"/>
                </a:lnTo>
                <a:lnTo>
                  <a:pt x="2079" y="1592"/>
                </a:lnTo>
                <a:lnTo>
                  <a:pt x="2077" y="1593"/>
                </a:lnTo>
                <a:lnTo>
                  <a:pt x="2074" y="1594"/>
                </a:lnTo>
                <a:lnTo>
                  <a:pt x="2070" y="1594"/>
                </a:lnTo>
                <a:lnTo>
                  <a:pt x="2068" y="1593"/>
                </a:lnTo>
                <a:lnTo>
                  <a:pt x="2066" y="1593"/>
                </a:lnTo>
                <a:lnTo>
                  <a:pt x="2064" y="1591"/>
                </a:lnTo>
                <a:lnTo>
                  <a:pt x="2063" y="1590"/>
                </a:lnTo>
                <a:lnTo>
                  <a:pt x="2061" y="1588"/>
                </a:lnTo>
                <a:lnTo>
                  <a:pt x="2060" y="1586"/>
                </a:lnTo>
                <a:lnTo>
                  <a:pt x="2060" y="1584"/>
                </a:lnTo>
                <a:lnTo>
                  <a:pt x="2060" y="1581"/>
                </a:lnTo>
                <a:lnTo>
                  <a:pt x="2060" y="1579"/>
                </a:lnTo>
                <a:lnTo>
                  <a:pt x="2061" y="1577"/>
                </a:lnTo>
                <a:lnTo>
                  <a:pt x="2062" y="1574"/>
                </a:lnTo>
                <a:lnTo>
                  <a:pt x="2063" y="1573"/>
                </a:lnTo>
                <a:lnTo>
                  <a:pt x="2065" y="1571"/>
                </a:lnTo>
                <a:lnTo>
                  <a:pt x="2068" y="1570"/>
                </a:lnTo>
                <a:lnTo>
                  <a:pt x="2070" y="1569"/>
                </a:lnTo>
                <a:close/>
                <a:moveTo>
                  <a:pt x="2522" y="1479"/>
                </a:moveTo>
                <a:lnTo>
                  <a:pt x="2525" y="1479"/>
                </a:lnTo>
                <a:lnTo>
                  <a:pt x="2527" y="1479"/>
                </a:lnTo>
                <a:lnTo>
                  <a:pt x="2529" y="1480"/>
                </a:lnTo>
                <a:lnTo>
                  <a:pt x="2532" y="1481"/>
                </a:lnTo>
                <a:lnTo>
                  <a:pt x="2533" y="1482"/>
                </a:lnTo>
                <a:lnTo>
                  <a:pt x="2535" y="1484"/>
                </a:lnTo>
                <a:lnTo>
                  <a:pt x="2536" y="1486"/>
                </a:lnTo>
                <a:lnTo>
                  <a:pt x="2537" y="1489"/>
                </a:lnTo>
                <a:lnTo>
                  <a:pt x="2537" y="1491"/>
                </a:lnTo>
                <a:lnTo>
                  <a:pt x="2536" y="1496"/>
                </a:lnTo>
                <a:lnTo>
                  <a:pt x="2535" y="1498"/>
                </a:lnTo>
                <a:lnTo>
                  <a:pt x="2534" y="1499"/>
                </a:lnTo>
                <a:lnTo>
                  <a:pt x="2531" y="1502"/>
                </a:lnTo>
                <a:lnTo>
                  <a:pt x="2527" y="1504"/>
                </a:lnTo>
                <a:lnTo>
                  <a:pt x="2525" y="1504"/>
                </a:lnTo>
                <a:lnTo>
                  <a:pt x="2522" y="1504"/>
                </a:lnTo>
                <a:lnTo>
                  <a:pt x="2520" y="1503"/>
                </a:lnTo>
                <a:lnTo>
                  <a:pt x="2518" y="1502"/>
                </a:lnTo>
                <a:lnTo>
                  <a:pt x="2516" y="1500"/>
                </a:lnTo>
                <a:lnTo>
                  <a:pt x="2514" y="1498"/>
                </a:lnTo>
                <a:lnTo>
                  <a:pt x="2513" y="1496"/>
                </a:lnTo>
                <a:lnTo>
                  <a:pt x="2512" y="1494"/>
                </a:lnTo>
                <a:lnTo>
                  <a:pt x="2512" y="1491"/>
                </a:lnTo>
                <a:lnTo>
                  <a:pt x="2513" y="1487"/>
                </a:lnTo>
                <a:lnTo>
                  <a:pt x="2514" y="1485"/>
                </a:lnTo>
                <a:lnTo>
                  <a:pt x="2515" y="1483"/>
                </a:lnTo>
                <a:lnTo>
                  <a:pt x="2518" y="1480"/>
                </a:lnTo>
                <a:lnTo>
                  <a:pt x="2522" y="1479"/>
                </a:lnTo>
                <a:close/>
                <a:moveTo>
                  <a:pt x="2132" y="1546"/>
                </a:moveTo>
                <a:lnTo>
                  <a:pt x="2136" y="1546"/>
                </a:lnTo>
                <a:lnTo>
                  <a:pt x="2139" y="1547"/>
                </a:lnTo>
                <a:lnTo>
                  <a:pt x="2141" y="1548"/>
                </a:lnTo>
                <a:lnTo>
                  <a:pt x="2144" y="1551"/>
                </a:lnTo>
                <a:lnTo>
                  <a:pt x="2145" y="1552"/>
                </a:lnTo>
                <a:lnTo>
                  <a:pt x="2146" y="1555"/>
                </a:lnTo>
                <a:lnTo>
                  <a:pt x="2147" y="1560"/>
                </a:lnTo>
                <a:lnTo>
                  <a:pt x="2146" y="1562"/>
                </a:lnTo>
                <a:lnTo>
                  <a:pt x="2145" y="1564"/>
                </a:lnTo>
                <a:lnTo>
                  <a:pt x="2144" y="1566"/>
                </a:lnTo>
                <a:lnTo>
                  <a:pt x="2143" y="1568"/>
                </a:lnTo>
                <a:lnTo>
                  <a:pt x="2141" y="1569"/>
                </a:lnTo>
                <a:lnTo>
                  <a:pt x="2138" y="1571"/>
                </a:lnTo>
                <a:lnTo>
                  <a:pt x="2136" y="1571"/>
                </a:lnTo>
                <a:lnTo>
                  <a:pt x="2132" y="1571"/>
                </a:lnTo>
                <a:lnTo>
                  <a:pt x="2130" y="1570"/>
                </a:lnTo>
                <a:lnTo>
                  <a:pt x="2128" y="1570"/>
                </a:lnTo>
                <a:lnTo>
                  <a:pt x="2124" y="1567"/>
                </a:lnTo>
                <a:lnTo>
                  <a:pt x="2123" y="1565"/>
                </a:lnTo>
                <a:lnTo>
                  <a:pt x="2122" y="1563"/>
                </a:lnTo>
                <a:lnTo>
                  <a:pt x="2122" y="1558"/>
                </a:lnTo>
                <a:lnTo>
                  <a:pt x="2122" y="1555"/>
                </a:lnTo>
                <a:lnTo>
                  <a:pt x="2123" y="1553"/>
                </a:lnTo>
                <a:lnTo>
                  <a:pt x="2124" y="1551"/>
                </a:lnTo>
                <a:lnTo>
                  <a:pt x="2126" y="1549"/>
                </a:lnTo>
                <a:lnTo>
                  <a:pt x="2128" y="1548"/>
                </a:lnTo>
                <a:lnTo>
                  <a:pt x="2130" y="1547"/>
                </a:lnTo>
                <a:lnTo>
                  <a:pt x="2132" y="1546"/>
                </a:lnTo>
                <a:close/>
                <a:moveTo>
                  <a:pt x="2456" y="1481"/>
                </a:moveTo>
                <a:lnTo>
                  <a:pt x="2458" y="1481"/>
                </a:lnTo>
                <a:lnTo>
                  <a:pt x="2463" y="1482"/>
                </a:lnTo>
                <a:lnTo>
                  <a:pt x="2465" y="1483"/>
                </a:lnTo>
                <a:lnTo>
                  <a:pt x="2467" y="1484"/>
                </a:lnTo>
                <a:lnTo>
                  <a:pt x="2468" y="1486"/>
                </a:lnTo>
                <a:lnTo>
                  <a:pt x="2470" y="1488"/>
                </a:lnTo>
                <a:lnTo>
                  <a:pt x="2471" y="1490"/>
                </a:lnTo>
                <a:lnTo>
                  <a:pt x="2471" y="1493"/>
                </a:lnTo>
                <a:lnTo>
                  <a:pt x="2471" y="1495"/>
                </a:lnTo>
                <a:lnTo>
                  <a:pt x="2470" y="1497"/>
                </a:lnTo>
                <a:lnTo>
                  <a:pt x="2470" y="1499"/>
                </a:lnTo>
                <a:lnTo>
                  <a:pt x="2468" y="1501"/>
                </a:lnTo>
                <a:lnTo>
                  <a:pt x="2467" y="1503"/>
                </a:lnTo>
                <a:lnTo>
                  <a:pt x="2465" y="1504"/>
                </a:lnTo>
                <a:lnTo>
                  <a:pt x="2463" y="1505"/>
                </a:lnTo>
                <a:lnTo>
                  <a:pt x="2461" y="1506"/>
                </a:lnTo>
                <a:lnTo>
                  <a:pt x="2459" y="1506"/>
                </a:lnTo>
                <a:lnTo>
                  <a:pt x="2454" y="1505"/>
                </a:lnTo>
                <a:lnTo>
                  <a:pt x="2452" y="1504"/>
                </a:lnTo>
                <a:lnTo>
                  <a:pt x="2450" y="1503"/>
                </a:lnTo>
                <a:lnTo>
                  <a:pt x="2448" y="1501"/>
                </a:lnTo>
                <a:lnTo>
                  <a:pt x="2447" y="1499"/>
                </a:lnTo>
                <a:lnTo>
                  <a:pt x="2446" y="1497"/>
                </a:lnTo>
                <a:lnTo>
                  <a:pt x="2446" y="1494"/>
                </a:lnTo>
                <a:lnTo>
                  <a:pt x="2446" y="1492"/>
                </a:lnTo>
                <a:lnTo>
                  <a:pt x="2446" y="1490"/>
                </a:lnTo>
                <a:lnTo>
                  <a:pt x="2447" y="1487"/>
                </a:lnTo>
                <a:lnTo>
                  <a:pt x="2449" y="1486"/>
                </a:lnTo>
                <a:lnTo>
                  <a:pt x="2450" y="1484"/>
                </a:lnTo>
                <a:lnTo>
                  <a:pt x="2452" y="1483"/>
                </a:lnTo>
                <a:lnTo>
                  <a:pt x="2454" y="1482"/>
                </a:lnTo>
                <a:lnTo>
                  <a:pt x="2456" y="1481"/>
                </a:lnTo>
                <a:close/>
                <a:moveTo>
                  <a:pt x="2195" y="1526"/>
                </a:moveTo>
                <a:lnTo>
                  <a:pt x="2200" y="1526"/>
                </a:lnTo>
                <a:lnTo>
                  <a:pt x="2202" y="1527"/>
                </a:lnTo>
                <a:lnTo>
                  <a:pt x="2204" y="1528"/>
                </a:lnTo>
                <a:lnTo>
                  <a:pt x="2206" y="1529"/>
                </a:lnTo>
                <a:lnTo>
                  <a:pt x="2207" y="1531"/>
                </a:lnTo>
                <a:lnTo>
                  <a:pt x="2208" y="1533"/>
                </a:lnTo>
                <a:lnTo>
                  <a:pt x="2210" y="1535"/>
                </a:lnTo>
                <a:lnTo>
                  <a:pt x="2211" y="1538"/>
                </a:lnTo>
                <a:lnTo>
                  <a:pt x="2211" y="1540"/>
                </a:lnTo>
                <a:lnTo>
                  <a:pt x="2210" y="1543"/>
                </a:lnTo>
                <a:lnTo>
                  <a:pt x="2208" y="1545"/>
                </a:lnTo>
                <a:lnTo>
                  <a:pt x="2207" y="1547"/>
                </a:lnTo>
                <a:lnTo>
                  <a:pt x="2205" y="1549"/>
                </a:lnTo>
                <a:lnTo>
                  <a:pt x="2203" y="1550"/>
                </a:lnTo>
                <a:lnTo>
                  <a:pt x="2201" y="1551"/>
                </a:lnTo>
                <a:lnTo>
                  <a:pt x="2198" y="1551"/>
                </a:lnTo>
                <a:lnTo>
                  <a:pt x="2195" y="1551"/>
                </a:lnTo>
                <a:lnTo>
                  <a:pt x="2193" y="1550"/>
                </a:lnTo>
                <a:lnTo>
                  <a:pt x="2191" y="1549"/>
                </a:lnTo>
                <a:lnTo>
                  <a:pt x="2189" y="1548"/>
                </a:lnTo>
                <a:lnTo>
                  <a:pt x="2187" y="1546"/>
                </a:lnTo>
                <a:lnTo>
                  <a:pt x="2186" y="1544"/>
                </a:lnTo>
                <a:lnTo>
                  <a:pt x="2185" y="1542"/>
                </a:lnTo>
                <a:lnTo>
                  <a:pt x="2185" y="1540"/>
                </a:lnTo>
                <a:lnTo>
                  <a:pt x="2185" y="1537"/>
                </a:lnTo>
                <a:lnTo>
                  <a:pt x="2185" y="1535"/>
                </a:lnTo>
                <a:lnTo>
                  <a:pt x="2186" y="1533"/>
                </a:lnTo>
                <a:lnTo>
                  <a:pt x="2188" y="1531"/>
                </a:lnTo>
                <a:lnTo>
                  <a:pt x="2189" y="1529"/>
                </a:lnTo>
                <a:lnTo>
                  <a:pt x="2191" y="1528"/>
                </a:lnTo>
                <a:lnTo>
                  <a:pt x="2194" y="1527"/>
                </a:lnTo>
                <a:lnTo>
                  <a:pt x="2195" y="1526"/>
                </a:lnTo>
                <a:close/>
                <a:moveTo>
                  <a:pt x="2390" y="1487"/>
                </a:moveTo>
                <a:lnTo>
                  <a:pt x="2393" y="1487"/>
                </a:lnTo>
                <a:lnTo>
                  <a:pt x="2396" y="1487"/>
                </a:lnTo>
                <a:lnTo>
                  <a:pt x="2398" y="1488"/>
                </a:lnTo>
                <a:lnTo>
                  <a:pt x="2400" y="1489"/>
                </a:lnTo>
                <a:lnTo>
                  <a:pt x="2402" y="1491"/>
                </a:lnTo>
                <a:lnTo>
                  <a:pt x="2403" y="1493"/>
                </a:lnTo>
                <a:lnTo>
                  <a:pt x="2404" y="1495"/>
                </a:lnTo>
                <a:lnTo>
                  <a:pt x="2405" y="1498"/>
                </a:lnTo>
                <a:lnTo>
                  <a:pt x="2405" y="1500"/>
                </a:lnTo>
                <a:lnTo>
                  <a:pt x="2405" y="1503"/>
                </a:lnTo>
                <a:lnTo>
                  <a:pt x="2404" y="1505"/>
                </a:lnTo>
                <a:lnTo>
                  <a:pt x="2403" y="1507"/>
                </a:lnTo>
                <a:lnTo>
                  <a:pt x="2401" y="1509"/>
                </a:lnTo>
                <a:lnTo>
                  <a:pt x="2399" y="1510"/>
                </a:lnTo>
                <a:lnTo>
                  <a:pt x="2397" y="1511"/>
                </a:lnTo>
                <a:lnTo>
                  <a:pt x="2395" y="1512"/>
                </a:lnTo>
                <a:lnTo>
                  <a:pt x="2392" y="1512"/>
                </a:lnTo>
                <a:lnTo>
                  <a:pt x="2389" y="1511"/>
                </a:lnTo>
                <a:lnTo>
                  <a:pt x="2387" y="1510"/>
                </a:lnTo>
                <a:lnTo>
                  <a:pt x="2385" y="1509"/>
                </a:lnTo>
                <a:lnTo>
                  <a:pt x="2383" y="1508"/>
                </a:lnTo>
                <a:lnTo>
                  <a:pt x="2382" y="1506"/>
                </a:lnTo>
                <a:lnTo>
                  <a:pt x="2381" y="1503"/>
                </a:lnTo>
                <a:lnTo>
                  <a:pt x="2380" y="1501"/>
                </a:lnTo>
                <a:lnTo>
                  <a:pt x="2380" y="1498"/>
                </a:lnTo>
                <a:lnTo>
                  <a:pt x="2380" y="1496"/>
                </a:lnTo>
                <a:lnTo>
                  <a:pt x="2381" y="1494"/>
                </a:lnTo>
                <a:lnTo>
                  <a:pt x="2382" y="1492"/>
                </a:lnTo>
                <a:lnTo>
                  <a:pt x="2384" y="1490"/>
                </a:lnTo>
                <a:lnTo>
                  <a:pt x="2386" y="1489"/>
                </a:lnTo>
                <a:lnTo>
                  <a:pt x="2388" y="1488"/>
                </a:lnTo>
                <a:lnTo>
                  <a:pt x="2390" y="1487"/>
                </a:lnTo>
                <a:close/>
                <a:moveTo>
                  <a:pt x="2260" y="1510"/>
                </a:moveTo>
                <a:lnTo>
                  <a:pt x="2265" y="1510"/>
                </a:lnTo>
                <a:lnTo>
                  <a:pt x="2267" y="1511"/>
                </a:lnTo>
                <a:lnTo>
                  <a:pt x="2269" y="1512"/>
                </a:lnTo>
                <a:lnTo>
                  <a:pt x="2271" y="1513"/>
                </a:lnTo>
                <a:lnTo>
                  <a:pt x="2273" y="1515"/>
                </a:lnTo>
                <a:lnTo>
                  <a:pt x="2274" y="1517"/>
                </a:lnTo>
                <a:lnTo>
                  <a:pt x="2275" y="1519"/>
                </a:lnTo>
                <a:lnTo>
                  <a:pt x="2275" y="1522"/>
                </a:lnTo>
                <a:lnTo>
                  <a:pt x="2275" y="1524"/>
                </a:lnTo>
                <a:lnTo>
                  <a:pt x="2274" y="1527"/>
                </a:lnTo>
                <a:lnTo>
                  <a:pt x="2273" y="1529"/>
                </a:lnTo>
                <a:lnTo>
                  <a:pt x="2271" y="1531"/>
                </a:lnTo>
                <a:lnTo>
                  <a:pt x="2270" y="1532"/>
                </a:lnTo>
                <a:lnTo>
                  <a:pt x="2268" y="1534"/>
                </a:lnTo>
                <a:lnTo>
                  <a:pt x="2265" y="1534"/>
                </a:lnTo>
                <a:lnTo>
                  <a:pt x="2260" y="1534"/>
                </a:lnTo>
                <a:lnTo>
                  <a:pt x="2258" y="1534"/>
                </a:lnTo>
                <a:lnTo>
                  <a:pt x="2255" y="1533"/>
                </a:lnTo>
                <a:lnTo>
                  <a:pt x="2254" y="1531"/>
                </a:lnTo>
                <a:lnTo>
                  <a:pt x="2252" y="1529"/>
                </a:lnTo>
                <a:lnTo>
                  <a:pt x="2251" y="1527"/>
                </a:lnTo>
                <a:lnTo>
                  <a:pt x="2250" y="1525"/>
                </a:lnTo>
                <a:lnTo>
                  <a:pt x="2250" y="1522"/>
                </a:lnTo>
                <a:lnTo>
                  <a:pt x="2250" y="1520"/>
                </a:lnTo>
                <a:lnTo>
                  <a:pt x="2250" y="1518"/>
                </a:lnTo>
                <a:lnTo>
                  <a:pt x="2252" y="1515"/>
                </a:lnTo>
                <a:lnTo>
                  <a:pt x="2253" y="1514"/>
                </a:lnTo>
                <a:lnTo>
                  <a:pt x="2255" y="1512"/>
                </a:lnTo>
                <a:lnTo>
                  <a:pt x="2257" y="1511"/>
                </a:lnTo>
                <a:lnTo>
                  <a:pt x="2259" y="1510"/>
                </a:lnTo>
                <a:lnTo>
                  <a:pt x="2260" y="1510"/>
                </a:lnTo>
                <a:close/>
                <a:moveTo>
                  <a:pt x="2325" y="1497"/>
                </a:moveTo>
                <a:lnTo>
                  <a:pt x="2327" y="1496"/>
                </a:lnTo>
                <a:lnTo>
                  <a:pt x="2330" y="1497"/>
                </a:lnTo>
                <a:lnTo>
                  <a:pt x="2332" y="1497"/>
                </a:lnTo>
                <a:lnTo>
                  <a:pt x="2334" y="1499"/>
                </a:lnTo>
                <a:lnTo>
                  <a:pt x="2336" y="1500"/>
                </a:lnTo>
                <a:lnTo>
                  <a:pt x="2338" y="1502"/>
                </a:lnTo>
                <a:lnTo>
                  <a:pt x="2339" y="1504"/>
                </a:lnTo>
                <a:lnTo>
                  <a:pt x="2339" y="1507"/>
                </a:lnTo>
                <a:lnTo>
                  <a:pt x="2339" y="1512"/>
                </a:lnTo>
                <a:lnTo>
                  <a:pt x="2339" y="1514"/>
                </a:lnTo>
                <a:lnTo>
                  <a:pt x="2337" y="1516"/>
                </a:lnTo>
                <a:lnTo>
                  <a:pt x="2336" y="1518"/>
                </a:lnTo>
                <a:lnTo>
                  <a:pt x="2334" y="1520"/>
                </a:lnTo>
                <a:lnTo>
                  <a:pt x="2332" y="1521"/>
                </a:lnTo>
                <a:lnTo>
                  <a:pt x="2329" y="1521"/>
                </a:lnTo>
                <a:lnTo>
                  <a:pt x="2327" y="1522"/>
                </a:lnTo>
                <a:lnTo>
                  <a:pt x="2324" y="1521"/>
                </a:lnTo>
                <a:lnTo>
                  <a:pt x="2322" y="1520"/>
                </a:lnTo>
                <a:lnTo>
                  <a:pt x="2320" y="1519"/>
                </a:lnTo>
                <a:lnTo>
                  <a:pt x="2318" y="1518"/>
                </a:lnTo>
                <a:lnTo>
                  <a:pt x="2316" y="1516"/>
                </a:lnTo>
                <a:lnTo>
                  <a:pt x="2315" y="1514"/>
                </a:lnTo>
                <a:lnTo>
                  <a:pt x="2315" y="1511"/>
                </a:lnTo>
                <a:lnTo>
                  <a:pt x="2314" y="1509"/>
                </a:lnTo>
                <a:lnTo>
                  <a:pt x="2315" y="1506"/>
                </a:lnTo>
                <a:lnTo>
                  <a:pt x="2316" y="1504"/>
                </a:lnTo>
                <a:lnTo>
                  <a:pt x="2317" y="1502"/>
                </a:lnTo>
                <a:lnTo>
                  <a:pt x="2318" y="1500"/>
                </a:lnTo>
                <a:lnTo>
                  <a:pt x="2320" y="1498"/>
                </a:lnTo>
                <a:lnTo>
                  <a:pt x="2322" y="1497"/>
                </a:lnTo>
                <a:lnTo>
                  <a:pt x="2325" y="1497"/>
                </a:lnTo>
                <a:close/>
                <a:moveTo>
                  <a:pt x="939" y="2269"/>
                </a:moveTo>
                <a:lnTo>
                  <a:pt x="942" y="2269"/>
                </a:lnTo>
                <a:lnTo>
                  <a:pt x="945" y="2269"/>
                </a:lnTo>
                <a:lnTo>
                  <a:pt x="938" y="2269"/>
                </a:lnTo>
                <a:lnTo>
                  <a:pt x="939" y="2269"/>
                </a:lnTo>
                <a:close/>
                <a:moveTo>
                  <a:pt x="973" y="2212"/>
                </a:moveTo>
                <a:lnTo>
                  <a:pt x="978" y="2212"/>
                </a:lnTo>
                <a:lnTo>
                  <a:pt x="980" y="2213"/>
                </a:lnTo>
                <a:lnTo>
                  <a:pt x="982" y="2214"/>
                </a:lnTo>
                <a:lnTo>
                  <a:pt x="984" y="2215"/>
                </a:lnTo>
                <a:lnTo>
                  <a:pt x="986" y="2217"/>
                </a:lnTo>
                <a:lnTo>
                  <a:pt x="987" y="2219"/>
                </a:lnTo>
                <a:lnTo>
                  <a:pt x="988" y="2222"/>
                </a:lnTo>
                <a:lnTo>
                  <a:pt x="988" y="2224"/>
                </a:lnTo>
                <a:lnTo>
                  <a:pt x="988" y="2226"/>
                </a:lnTo>
                <a:lnTo>
                  <a:pt x="987" y="2229"/>
                </a:lnTo>
                <a:lnTo>
                  <a:pt x="986" y="2231"/>
                </a:lnTo>
                <a:lnTo>
                  <a:pt x="985" y="2233"/>
                </a:lnTo>
                <a:lnTo>
                  <a:pt x="982" y="2235"/>
                </a:lnTo>
                <a:lnTo>
                  <a:pt x="980" y="2236"/>
                </a:lnTo>
                <a:lnTo>
                  <a:pt x="978" y="2237"/>
                </a:lnTo>
                <a:lnTo>
                  <a:pt x="973" y="2237"/>
                </a:lnTo>
                <a:lnTo>
                  <a:pt x="971" y="2236"/>
                </a:lnTo>
                <a:lnTo>
                  <a:pt x="969" y="2235"/>
                </a:lnTo>
                <a:lnTo>
                  <a:pt x="967" y="2234"/>
                </a:lnTo>
                <a:lnTo>
                  <a:pt x="965" y="2232"/>
                </a:lnTo>
                <a:lnTo>
                  <a:pt x="964" y="2230"/>
                </a:lnTo>
                <a:lnTo>
                  <a:pt x="963" y="2228"/>
                </a:lnTo>
                <a:lnTo>
                  <a:pt x="963" y="2225"/>
                </a:lnTo>
                <a:lnTo>
                  <a:pt x="963" y="2223"/>
                </a:lnTo>
                <a:lnTo>
                  <a:pt x="963" y="2220"/>
                </a:lnTo>
                <a:lnTo>
                  <a:pt x="965" y="2218"/>
                </a:lnTo>
                <a:lnTo>
                  <a:pt x="966" y="2216"/>
                </a:lnTo>
                <a:lnTo>
                  <a:pt x="968" y="2214"/>
                </a:lnTo>
                <a:lnTo>
                  <a:pt x="971" y="2213"/>
                </a:lnTo>
                <a:lnTo>
                  <a:pt x="973" y="2212"/>
                </a:lnTo>
                <a:close/>
                <a:moveTo>
                  <a:pt x="1008" y="2156"/>
                </a:moveTo>
                <a:lnTo>
                  <a:pt x="1013" y="2156"/>
                </a:lnTo>
                <a:lnTo>
                  <a:pt x="1015" y="2157"/>
                </a:lnTo>
                <a:lnTo>
                  <a:pt x="1017" y="2158"/>
                </a:lnTo>
                <a:lnTo>
                  <a:pt x="1019" y="2159"/>
                </a:lnTo>
                <a:lnTo>
                  <a:pt x="1021" y="2161"/>
                </a:lnTo>
                <a:lnTo>
                  <a:pt x="1022" y="2163"/>
                </a:lnTo>
                <a:lnTo>
                  <a:pt x="1023" y="2166"/>
                </a:lnTo>
                <a:lnTo>
                  <a:pt x="1023" y="2168"/>
                </a:lnTo>
                <a:lnTo>
                  <a:pt x="1023" y="2171"/>
                </a:lnTo>
                <a:lnTo>
                  <a:pt x="1022" y="2173"/>
                </a:lnTo>
                <a:lnTo>
                  <a:pt x="1021" y="2175"/>
                </a:lnTo>
                <a:lnTo>
                  <a:pt x="1019" y="2177"/>
                </a:lnTo>
                <a:lnTo>
                  <a:pt x="1017" y="2179"/>
                </a:lnTo>
                <a:lnTo>
                  <a:pt x="1015" y="2180"/>
                </a:lnTo>
                <a:lnTo>
                  <a:pt x="1013" y="2181"/>
                </a:lnTo>
                <a:lnTo>
                  <a:pt x="1008" y="2181"/>
                </a:lnTo>
                <a:lnTo>
                  <a:pt x="1006" y="2180"/>
                </a:lnTo>
                <a:lnTo>
                  <a:pt x="1004" y="2179"/>
                </a:lnTo>
                <a:lnTo>
                  <a:pt x="1002" y="2178"/>
                </a:lnTo>
                <a:lnTo>
                  <a:pt x="1000" y="2176"/>
                </a:lnTo>
                <a:lnTo>
                  <a:pt x="999" y="2174"/>
                </a:lnTo>
                <a:lnTo>
                  <a:pt x="998" y="2171"/>
                </a:lnTo>
                <a:lnTo>
                  <a:pt x="998" y="2169"/>
                </a:lnTo>
                <a:lnTo>
                  <a:pt x="998" y="2166"/>
                </a:lnTo>
                <a:lnTo>
                  <a:pt x="999" y="2164"/>
                </a:lnTo>
                <a:lnTo>
                  <a:pt x="1000" y="2162"/>
                </a:lnTo>
                <a:lnTo>
                  <a:pt x="1001" y="2160"/>
                </a:lnTo>
                <a:lnTo>
                  <a:pt x="1003" y="2158"/>
                </a:lnTo>
                <a:lnTo>
                  <a:pt x="1006" y="2157"/>
                </a:lnTo>
                <a:lnTo>
                  <a:pt x="1008" y="2156"/>
                </a:lnTo>
                <a:close/>
                <a:moveTo>
                  <a:pt x="1045" y="2101"/>
                </a:moveTo>
                <a:lnTo>
                  <a:pt x="1049" y="2101"/>
                </a:lnTo>
                <a:lnTo>
                  <a:pt x="1052" y="2101"/>
                </a:lnTo>
                <a:lnTo>
                  <a:pt x="1054" y="2103"/>
                </a:lnTo>
                <a:lnTo>
                  <a:pt x="1056" y="2104"/>
                </a:lnTo>
                <a:lnTo>
                  <a:pt x="1057" y="2106"/>
                </a:lnTo>
                <a:lnTo>
                  <a:pt x="1059" y="2108"/>
                </a:lnTo>
                <a:lnTo>
                  <a:pt x="1059" y="2111"/>
                </a:lnTo>
                <a:lnTo>
                  <a:pt x="1059" y="2116"/>
                </a:lnTo>
                <a:lnTo>
                  <a:pt x="1058" y="2118"/>
                </a:lnTo>
                <a:lnTo>
                  <a:pt x="1057" y="2120"/>
                </a:lnTo>
                <a:lnTo>
                  <a:pt x="1056" y="2122"/>
                </a:lnTo>
                <a:lnTo>
                  <a:pt x="1054" y="2124"/>
                </a:lnTo>
                <a:lnTo>
                  <a:pt x="1051" y="2125"/>
                </a:lnTo>
                <a:lnTo>
                  <a:pt x="1049" y="2126"/>
                </a:lnTo>
                <a:lnTo>
                  <a:pt x="1044" y="2126"/>
                </a:lnTo>
                <a:lnTo>
                  <a:pt x="1042" y="2125"/>
                </a:lnTo>
                <a:lnTo>
                  <a:pt x="1040" y="2124"/>
                </a:lnTo>
                <a:lnTo>
                  <a:pt x="1038" y="2122"/>
                </a:lnTo>
                <a:lnTo>
                  <a:pt x="1036" y="2120"/>
                </a:lnTo>
                <a:lnTo>
                  <a:pt x="1035" y="2118"/>
                </a:lnTo>
                <a:lnTo>
                  <a:pt x="1034" y="2116"/>
                </a:lnTo>
                <a:lnTo>
                  <a:pt x="1034" y="2111"/>
                </a:lnTo>
                <a:lnTo>
                  <a:pt x="1035" y="2108"/>
                </a:lnTo>
                <a:lnTo>
                  <a:pt x="1036" y="2106"/>
                </a:lnTo>
                <a:lnTo>
                  <a:pt x="1038" y="2104"/>
                </a:lnTo>
                <a:lnTo>
                  <a:pt x="1040" y="2102"/>
                </a:lnTo>
                <a:lnTo>
                  <a:pt x="1042" y="2101"/>
                </a:lnTo>
                <a:lnTo>
                  <a:pt x="1045" y="2101"/>
                </a:lnTo>
                <a:close/>
                <a:moveTo>
                  <a:pt x="1082" y="2046"/>
                </a:moveTo>
                <a:lnTo>
                  <a:pt x="1087" y="2046"/>
                </a:lnTo>
                <a:lnTo>
                  <a:pt x="1089" y="2047"/>
                </a:lnTo>
                <a:lnTo>
                  <a:pt x="1092" y="2048"/>
                </a:lnTo>
                <a:lnTo>
                  <a:pt x="1094" y="2050"/>
                </a:lnTo>
                <a:lnTo>
                  <a:pt x="1095" y="2052"/>
                </a:lnTo>
                <a:lnTo>
                  <a:pt x="1096" y="2054"/>
                </a:lnTo>
                <a:lnTo>
                  <a:pt x="1097" y="2056"/>
                </a:lnTo>
                <a:lnTo>
                  <a:pt x="1097" y="2061"/>
                </a:lnTo>
                <a:lnTo>
                  <a:pt x="1096" y="2064"/>
                </a:lnTo>
                <a:lnTo>
                  <a:pt x="1095" y="2066"/>
                </a:lnTo>
                <a:lnTo>
                  <a:pt x="1093" y="2068"/>
                </a:lnTo>
                <a:lnTo>
                  <a:pt x="1091" y="2069"/>
                </a:lnTo>
                <a:lnTo>
                  <a:pt x="1089" y="2071"/>
                </a:lnTo>
                <a:lnTo>
                  <a:pt x="1086" y="2071"/>
                </a:lnTo>
                <a:lnTo>
                  <a:pt x="1082" y="2071"/>
                </a:lnTo>
                <a:lnTo>
                  <a:pt x="1079" y="2070"/>
                </a:lnTo>
                <a:lnTo>
                  <a:pt x="1077" y="2069"/>
                </a:lnTo>
                <a:lnTo>
                  <a:pt x="1075" y="2067"/>
                </a:lnTo>
                <a:lnTo>
                  <a:pt x="1073" y="2065"/>
                </a:lnTo>
                <a:lnTo>
                  <a:pt x="1072" y="2063"/>
                </a:lnTo>
                <a:lnTo>
                  <a:pt x="1072" y="2061"/>
                </a:lnTo>
                <a:lnTo>
                  <a:pt x="1072" y="2056"/>
                </a:lnTo>
                <a:lnTo>
                  <a:pt x="1073" y="2054"/>
                </a:lnTo>
                <a:lnTo>
                  <a:pt x="1074" y="2051"/>
                </a:lnTo>
                <a:lnTo>
                  <a:pt x="1076" y="2049"/>
                </a:lnTo>
                <a:lnTo>
                  <a:pt x="1078" y="2048"/>
                </a:lnTo>
                <a:lnTo>
                  <a:pt x="1080" y="2047"/>
                </a:lnTo>
                <a:lnTo>
                  <a:pt x="1082" y="2046"/>
                </a:lnTo>
                <a:close/>
                <a:moveTo>
                  <a:pt x="1121" y="1993"/>
                </a:moveTo>
                <a:lnTo>
                  <a:pt x="1126" y="1993"/>
                </a:lnTo>
                <a:lnTo>
                  <a:pt x="1128" y="1993"/>
                </a:lnTo>
                <a:lnTo>
                  <a:pt x="1131" y="1995"/>
                </a:lnTo>
                <a:lnTo>
                  <a:pt x="1133" y="1997"/>
                </a:lnTo>
                <a:lnTo>
                  <a:pt x="1134" y="1999"/>
                </a:lnTo>
                <a:lnTo>
                  <a:pt x="1135" y="2001"/>
                </a:lnTo>
                <a:lnTo>
                  <a:pt x="1136" y="2003"/>
                </a:lnTo>
                <a:lnTo>
                  <a:pt x="1136" y="2006"/>
                </a:lnTo>
                <a:lnTo>
                  <a:pt x="1135" y="2008"/>
                </a:lnTo>
                <a:lnTo>
                  <a:pt x="1135" y="2010"/>
                </a:lnTo>
                <a:lnTo>
                  <a:pt x="1133" y="2013"/>
                </a:lnTo>
                <a:lnTo>
                  <a:pt x="1132" y="2014"/>
                </a:lnTo>
                <a:lnTo>
                  <a:pt x="1130" y="2016"/>
                </a:lnTo>
                <a:lnTo>
                  <a:pt x="1128" y="2017"/>
                </a:lnTo>
                <a:lnTo>
                  <a:pt x="1125" y="2018"/>
                </a:lnTo>
                <a:lnTo>
                  <a:pt x="1120" y="2017"/>
                </a:lnTo>
                <a:lnTo>
                  <a:pt x="1118" y="2017"/>
                </a:lnTo>
                <a:lnTo>
                  <a:pt x="1115" y="2015"/>
                </a:lnTo>
                <a:lnTo>
                  <a:pt x="1114" y="2014"/>
                </a:lnTo>
                <a:lnTo>
                  <a:pt x="1112" y="2011"/>
                </a:lnTo>
                <a:lnTo>
                  <a:pt x="1111" y="2009"/>
                </a:lnTo>
                <a:lnTo>
                  <a:pt x="1110" y="2007"/>
                </a:lnTo>
                <a:lnTo>
                  <a:pt x="1110" y="2004"/>
                </a:lnTo>
                <a:lnTo>
                  <a:pt x="1111" y="2002"/>
                </a:lnTo>
                <a:lnTo>
                  <a:pt x="1112" y="2000"/>
                </a:lnTo>
                <a:lnTo>
                  <a:pt x="1113" y="1997"/>
                </a:lnTo>
                <a:lnTo>
                  <a:pt x="1115" y="1996"/>
                </a:lnTo>
                <a:lnTo>
                  <a:pt x="1116" y="1994"/>
                </a:lnTo>
                <a:lnTo>
                  <a:pt x="1119" y="1993"/>
                </a:lnTo>
                <a:lnTo>
                  <a:pt x="1121" y="1993"/>
                </a:lnTo>
                <a:close/>
                <a:moveTo>
                  <a:pt x="1161" y="1940"/>
                </a:moveTo>
                <a:lnTo>
                  <a:pt x="1163" y="1940"/>
                </a:lnTo>
                <a:lnTo>
                  <a:pt x="1166" y="1940"/>
                </a:lnTo>
                <a:lnTo>
                  <a:pt x="1169" y="1941"/>
                </a:lnTo>
                <a:lnTo>
                  <a:pt x="1171" y="1942"/>
                </a:lnTo>
                <a:lnTo>
                  <a:pt x="1173" y="1944"/>
                </a:lnTo>
                <a:lnTo>
                  <a:pt x="1174" y="1946"/>
                </a:lnTo>
                <a:lnTo>
                  <a:pt x="1175" y="1948"/>
                </a:lnTo>
                <a:lnTo>
                  <a:pt x="1176" y="1951"/>
                </a:lnTo>
                <a:lnTo>
                  <a:pt x="1176" y="1953"/>
                </a:lnTo>
                <a:lnTo>
                  <a:pt x="1175" y="1956"/>
                </a:lnTo>
                <a:lnTo>
                  <a:pt x="1174" y="1958"/>
                </a:lnTo>
                <a:lnTo>
                  <a:pt x="1173" y="1960"/>
                </a:lnTo>
                <a:lnTo>
                  <a:pt x="1171" y="1962"/>
                </a:lnTo>
                <a:lnTo>
                  <a:pt x="1170" y="1963"/>
                </a:lnTo>
                <a:lnTo>
                  <a:pt x="1168" y="1964"/>
                </a:lnTo>
                <a:lnTo>
                  <a:pt x="1165" y="1965"/>
                </a:lnTo>
                <a:lnTo>
                  <a:pt x="1163" y="1965"/>
                </a:lnTo>
                <a:lnTo>
                  <a:pt x="1160" y="1965"/>
                </a:lnTo>
                <a:lnTo>
                  <a:pt x="1158" y="1964"/>
                </a:lnTo>
                <a:lnTo>
                  <a:pt x="1155" y="1962"/>
                </a:lnTo>
                <a:lnTo>
                  <a:pt x="1153" y="1961"/>
                </a:lnTo>
                <a:lnTo>
                  <a:pt x="1152" y="1959"/>
                </a:lnTo>
                <a:lnTo>
                  <a:pt x="1151" y="1956"/>
                </a:lnTo>
                <a:lnTo>
                  <a:pt x="1150" y="1954"/>
                </a:lnTo>
                <a:lnTo>
                  <a:pt x="1150" y="1952"/>
                </a:lnTo>
                <a:lnTo>
                  <a:pt x="1151" y="1949"/>
                </a:lnTo>
                <a:lnTo>
                  <a:pt x="1152" y="1947"/>
                </a:lnTo>
                <a:lnTo>
                  <a:pt x="1153" y="1945"/>
                </a:lnTo>
                <a:lnTo>
                  <a:pt x="1155" y="1943"/>
                </a:lnTo>
                <a:lnTo>
                  <a:pt x="1157" y="1941"/>
                </a:lnTo>
                <a:lnTo>
                  <a:pt x="1159" y="1940"/>
                </a:lnTo>
                <a:lnTo>
                  <a:pt x="1161" y="1940"/>
                </a:lnTo>
                <a:close/>
                <a:moveTo>
                  <a:pt x="1202" y="1888"/>
                </a:moveTo>
                <a:lnTo>
                  <a:pt x="1205" y="1888"/>
                </a:lnTo>
                <a:lnTo>
                  <a:pt x="1208" y="1888"/>
                </a:lnTo>
                <a:lnTo>
                  <a:pt x="1210" y="1889"/>
                </a:lnTo>
                <a:lnTo>
                  <a:pt x="1213" y="1891"/>
                </a:lnTo>
                <a:lnTo>
                  <a:pt x="1214" y="1893"/>
                </a:lnTo>
                <a:lnTo>
                  <a:pt x="1216" y="1895"/>
                </a:lnTo>
                <a:lnTo>
                  <a:pt x="1217" y="1897"/>
                </a:lnTo>
                <a:lnTo>
                  <a:pt x="1217" y="1900"/>
                </a:lnTo>
                <a:lnTo>
                  <a:pt x="1217" y="1902"/>
                </a:lnTo>
                <a:lnTo>
                  <a:pt x="1217" y="1904"/>
                </a:lnTo>
                <a:lnTo>
                  <a:pt x="1214" y="1909"/>
                </a:lnTo>
                <a:lnTo>
                  <a:pt x="1213" y="1910"/>
                </a:lnTo>
                <a:lnTo>
                  <a:pt x="1211" y="1912"/>
                </a:lnTo>
                <a:lnTo>
                  <a:pt x="1209" y="1913"/>
                </a:lnTo>
                <a:lnTo>
                  <a:pt x="1207" y="1913"/>
                </a:lnTo>
                <a:lnTo>
                  <a:pt x="1204" y="1913"/>
                </a:lnTo>
                <a:lnTo>
                  <a:pt x="1201" y="1913"/>
                </a:lnTo>
                <a:lnTo>
                  <a:pt x="1199" y="1912"/>
                </a:lnTo>
                <a:lnTo>
                  <a:pt x="1196" y="1911"/>
                </a:lnTo>
                <a:lnTo>
                  <a:pt x="1195" y="1909"/>
                </a:lnTo>
                <a:lnTo>
                  <a:pt x="1193" y="1907"/>
                </a:lnTo>
                <a:lnTo>
                  <a:pt x="1192" y="1904"/>
                </a:lnTo>
                <a:lnTo>
                  <a:pt x="1192" y="1902"/>
                </a:lnTo>
                <a:lnTo>
                  <a:pt x="1192" y="1900"/>
                </a:lnTo>
                <a:lnTo>
                  <a:pt x="1192" y="1897"/>
                </a:lnTo>
                <a:lnTo>
                  <a:pt x="1195" y="1893"/>
                </a:lnTo>
                <a:lnTo>
                  <a:pt x="1196" y="1891"/>
                </a:lnTo>
                <a:lnTo>
                  <a:pt x="1198" y="1890"/>
                </a:lnTo>
                <a:lnTo>
                  <a:pt x="1200" y="1889"/>
                </a:lnTo>
                <a:lnTo>
                  <a:pt x="1202" y="1888"/>
                </a:lnTo>
                <a:close/>
                <a:moveTo>
                  <a:pt x="1245" y="1838"/>
                </a:moveTo>
                <a:lnTo>
                  <a:pt x="1248" y="1838"/>
                </a:lnTo>
                <a:lnTo>
                  <a:pt x="1250" y="1838"/>
                </a:lnTo>
                <a:lnTo>
                  <a:pt x="1253" y="1839"/>
                </a:lnTo>
                <a:lnTo>
                  <a:pt x="1255" y="1841"/>
                </a:lnTo>
                <a:lnTo>
                  <a:pt x="1257" y="1842"/>
                </a:lnTo>
                <a:lnTo>
                  <a:pt x="1259" y="1845"/>
                </a:lnTo>
                <a:lnTo>
                  <a:pt x="1259" y="1847"/>
                </a:lnTo>
                <a:lnTo>
                  <a:pt x="1260" y="1849"/>
                </a:lnTo>
                <a:lnTo>
                  <a:pt x="1260" y="1852"/>
                </a:lnTo>
                <a:lnTo>
                  <a:pt x="1259" y="1854"/>
                </a:lnTo>
                <a:lnTo>
                  <a:pt x="1258" y="1856"/>
                </a:lnTo>
                <a:lnTo>
                  <a:pt x="1257" y="1859"/>
                </a:lnTo>
                <a:lnTo>
                  <a:pt x="1255" y="1860"/>
                </a:lnTo>
                <a:lnTo>
                  <a:pt x="1253" y="1861"/>
                </a:lnTo>
                <a:lnTo>
                  <a:pt x="1251" y="1862"/>
                </a:lnTo>
                <a:lnTo>
                  <a:pt x="1249" y="1863"/>
                </a:lnTo>
                <a:lnTo>
                  <a:pt x="1247" y="1863"/>
                </a:lnTo>
                <a:lnTo>
                  <a:pt x="1244" y="1862"/>
                </a:lnTo>
                <a:lnTo>
                  <a:pt x="1241" y="1861"/>
                </a:lnTo>
                <a:lnTo>
                  <a:pt x="1239" y="1860"/>
                </a:lnTo>
                <a:lnTo>
                  <a:pt x="1237" y="1858"/>
                </a:lnTo>
                <a:lnTo>
                  <a:pt x="1236" y="1856"/>
                </a:lnTo>
                <a:lnTo>
                  <a:pt x="1235" y="1853"/>
                </a:lnTo>
                <a:lnTo>
                  <a:pt x="1234" y="1851"/>
                </a:lnTo>
                <a:lnTo>
                  <a:pt x="1235" y="1849"/>
                </a:lnTo>
                <a:lnTo>
                  <a:pt x="1235" y="1846"/>
                </a:lnTo>
                <a:lnTo>
                  <a:pt x="1236" y="1844"/>
                </a:lnTo>
                <a:lnTo>
                  <a:pt x="1238" y="1842"/>
                </a:lnTo>
                <a:lnTo>
                  <a:pt x="1239" y="1840"/>
                </a:lnTo>
                <a:lnTo>
                  <a:pt x="1241" y="1839"/>
                </a:lnTo>
                <a:lnTo>
                  <a:pt x="1243" y="1838"/>
                </a:lnTo>
                <a:lnTo>
                  <a:pt x="1245" y="1838"/>
                </a:lnTo>
                <a:close/>
                <a:moveTo>
                  <a:pt x="1289" y="1788"/>
                </a:moveTo>
                <a:lnTo>
                  <a:pt x="1292" y="1788"/>
                </a:lnTo>
                <a:lnTo>
                  <a:pt x="1295" y="1789"/>
                </a:lnTo>
                <a:lnTo>
                  <a:pt x="1297" y="1790"/>
                </a:lnTo>
                <a:lnTo>
                  <a:pt x="1300" y="1791"/>
                </a:lnTo>
                <a:lnTo>
                  <a:pt x="1301" y="1793"/>
                </a:lnTo>
                <a:lnTo>
                  <a:pt x="1303" y="1796"/>
                </a:lnTo>
                <a:lnTo>
                  <a:pt x="1304" y="1798"/>
                </a:lnTo>
                <a:lnTo>
                  <a:pt x="1304" y="1800"/>
                </a:lnTo>
                <a:lnTo>
                  <a:pt x="1303" y="1805"/>
                </a:lnTo>
                <a:lnTo>
                  <a:pt x="1302" y="1807"/>
                </a:lnTo>
                <a:lnTo>
                  <a:pt x="1301" y="1809"/>
                </a:lnTo>
                <a:lnTo>
                  <a:pt x="1299" y="1811"/>
                </a:lnTo>
                <a:lnTo>
                  <a:pt x="1297" y="1812"/>
                </a:lnTo>
                <a:lnTo>
                  <a:pt x="1295" y="1813"/>
                </a:lnTo>
                <a:lnTo>
                  <a:pt x="1293" y="1813"/>
                </a:lnTo>
                <a:lnTo>
                  <a:pt x="1291" y="1813"/>
                </a:lnTo>
                <a:lnTo>
                  <a:pt x="1288" y="1813"/>
                </a:lnTo>
                <a:lnTo>
                  <a:pt x="1285" y="1812"/>
                </a:lnTo>
                <a:lnTo>
                  <a:pt x="1283" y="1810"/>
                </a:lnTo>
                <a:lnTo>
                  <a:pt x="1281" y="1808"/>
                </a:lnTo>
                <a:lnTo>
                  <a:pt x="1280" y="1806"/>
                </a:lnTo>
                <a:lnTo>
                  <a:pt x="1279" y="1804"/>
                </a:lnTo>
                <a:lnTo>
                  <a:pt x="1278" y="1801"/>
                </a:lnTo>
                <a:lnTo>
                  <a:pt x="1279" y="1797"/>
                </a:lnTo>
                <a:lnTo>
                  <a:pt x="1280" y="1794"/>
                </a:lnTo>
                <a:lnTo>
                  <a:pt x="1282" y="1792"/>
                </a:lnTo>
                <a:lnTo>
                  <a:pt x="1283" y="1791"/>
                </a:lnTo>
                <a:lnTo>
                  <a:pt x="1285" y="1790"/>
                </a:lnTo>
                <a:lnTo>
                  <a:pt x="1287" y="1789"/>
                </a:lnTo>
                <a:lnTo>
                  <a:pt x="1289" y="1788"/>
                </a:lnTo>
                <a:close/>
                <a:moveTo>
                  <a:pt x="1334" y="1740"/>
                </a:moveTo>
                <a:lnTo>
                  <a:pt x="1337" y="1740"/>
                </a:lnTo>
                <a:lnTo>
                  <a:pt x="1340" y="1740"/>
                </a:lnTo>
                <a:lnTo>
                  <a:pt x="1343" y="1742"/>
                </a:lnTo>
                <a:lnTo>
                  <a:pt x="1345" y="1744"/>
                </a:lnTo>
                <a:lnTo>
                  <a:pt x="1347" y="1746"/>
                </a:lnTo>
                <a:lnTo>
                  <a:pt x="1348" y="1748"/>
                </a:lnTo>
                <a:lnTo>
                  <a:pt x="1349" y="1750"/>
                </a:lnTo>
                <a:lnTo>
                  <a:pt x="1349" y="1752"/>
                </a:lnTo>
                <a:lnTo>
                  <a:pt x="1348" y="1757"/>
                </a:lnTo>
                <a:lnTo>
                  <a:pt x="1347" y="1759"/>
                </a:lnTo>
                <a:lnTo>
                  <a:pt x="1346" y="1762"/>
                </a:lnTo>
                <a:lnTo>
                  <a:pt x="1342" y="1764"/>
                </a:lnTo>
                <a:lnTo>
                  <a:pt x="1339" y="1765"/>
                </a:lnTo>
                <a:lnTo>
                  <a:pt x="1336" y="1765"/>
                </a:lnTo>
                <a:lnTo>
                  <a:pt x="1333" y="1765"/>
                </a:lnTo>
                <a:lnTo>
                  <a:pt x="1330" y="1764"/>
                </a:lnTo>
                <a:lnTo>
                  <a:pt x="1328" y="1762"/>
                </a:lnTo>
                <a:lnTo>
                  <a:pt x="1326" y="1760"/>
                </a:lnTo>
                <a:lnTo>
                  <a:pt x="1325" y="1758"/>
                </a:lnTo>
                <a:lnTo>
                  <a:pt x="1324" y="1755"/>
                </a:lnTo>
                <a:lnTo>
                  <a:pt x="1324" y="1753"/>
                </a:lnTo>
                <a:lnTo>
                  <a:pt x="1325" y="1748"/>
                </a:lnTo>
                <a:lnTo>
                  <a:pt x="1326" y="1746"/>
                </a:lnTo>
                <a:lnTo>
                  <a:pt x="1327" y="1744"/>
                </a:lnTo>
                <a:lnTo>
                  <a:pt x="1331" y="1741"/>
                </a:lnTo>
                <a:lnTo>
                  <a:pt x="1334" y="1740"/>
                </a:lnTo>
                <a:close/>
                <a:moveTo>
                  <a:pt x="1381" y="1693"/>
                </a:moveTo>
                <a:lnTo>
                  <a:pt x="1384" y="1693"/>
                </a:lnTo>
                <a:lnTo>
                  <a:pt x="1387" y="1694"/>
                </a:lnTo>
                <a:lnTo>
                  <a:pt x="1390" y="1695"/>
                </a:lnTo>
                <a:lnTo>
                  <a:pt x="1392" y="1697"/>
                </a:lnTo>
                <a:lnTo>
                  <a:pt x="1394" y="1699"/>
                </a:lnTo>
                <a:lnTo>
                  <a:pt x="1395" y="1701"/>
                </a:lnTo>
                <a:lnTo>
                  <a:pt x="1396" y="1704"/>
                </a:lnTo>
                <a:lnTo>
                  <a:pt x="1396" y="1706"/>
                </a:lnTo>
                <a:lnTo>
                  <a:pt x="1396" y="1708"/>
                </a:lnTo>
                <a:lnTo>
                  <a:pt x="1395" y="1711"/>
                </a:lnTo>
                <a:lnTo>
                  <a:pt x="1394" y="1713"/>
                </a:lnTo>
                <a:lnTo>
                  <a:pt x="1392" y="1715"/>
                </a:lnTo>
                <a:lnTo>
                  <a:pt x="1389" y="1717"/>
                </a:lnTo>
                <a:lnTo>
                  <a:pt x="1386" y="1718"/>
                </a:lnTo>
                <a:lnTo>
                  <a:pt x="1382" y="1719"/>
                </a:lnTo>
                <a:lnTo>
                  <a:pt x="1379" y="1718"/>
                </a:lnTo>
                <a:lnTo>
                  <a:pt x="1377" y="1717"/>
                </a:lnTo>
                <a:lnTo>
                  <a:pt x="1374" y="1715"/>
                </a:lnTo>
                <a:lnTo>
                  <a:pt x="1373" y="1713"/>
                </a:lnTo>
                <a:lnTo>
                  <a:pt x="1371" y="1710"/>
                </a:lnTo>
                <a:lnTo>
                  <a:pt x="1371" y="1708"/>
                </a:lnTo>
                <a:lnTo>
                  <a:pt x="1371" y="1706"/>
                </a:lnTo>
                <a:lnTo>
                  <a:pt x="1371" y="1703"/>
                </a:lnTo>
                <a:lnTo>
                  <a:pt x="1372" y="1701"/>
                </a:lnTo>
                <a:lnTo>
                  <a:pt x="1373" y="1699"/>
                </a:lnTo>
                <a:lnTo>
                  <a:pt x="1374" y="1697"/>
                </a:lnTo>
                <a:lnTo>
                  <a:pt x="1378" y="1695"/>
                </a:lnTo>
                <a:lnTo>
                  <a:pt x="1381" y="1693"/>
                </a:lnTo>
                <a:close/>
                <a:moveTo>
                  <a:pt x="1429" y="1648"/>
                </a:moveTo>
                <a:lnTo>
                  <a:pt x="1432" y="1648"/>
                </a:lnTo>
                <a:lnTo>
                  <a:pt x="1435" y="1648"/>
                </a:lnTo>
                <a:lnTo>
                  <a:pt x="1438" y="1650"/>
                </a:lnTo>
                <a:lnTo>
                  <a:pt x="1440" y="1651"/>
                </a:lnTo>
                <a:lnTo>
                  <a:pt x="1441" y="1652"/>
                </a:lnTo>
                <a:lnTo>
                  <a:pt x="1442" y="1654"/>
                </a:lnTo>
                <a:lnTo>
                  <a:pt x="1443" y="1656"/>
                </a:lnTo>
                <a:lnTo>
                  <a:pt x="1444" y="1661"/>
                </a:lnTo>
                <a:lnTo>
                  <a:pt x="1444" y="1663"/>
                </a:lnTo>
                <a:lnTo>
                  <a:pt x="1443" y="1666"/>
                </a:lnTo>
                <a:lnTo>
                  <a:pt x="1442" y="1668"/>
                </a:lnTo>
                <a:lnTo>
                  <a:pt x="1440" y="1670"/>
                </a:lnTo>
                <a:lnTo>
                  <a:pt x="1437" y="1672"/>
                </a:lnTo>
                <a:lnTo>
                  <a:pt x="1435" y="1673"/>
                </a:lnTo>
                <a:lnTo>
                  <a:pt x="1434" y="1673"/>
                </a:lnTo>
                <a:lnTo>
                  <a:pt x="1431" y="1673"/>
                </a:lnTo>
                <a:lnTo>
                  <a:pt x="1427" y="1673"/>
                </a:lnTo>
                <a:lnTo>
                  <a:pt x="1425" y="1671"/>
                </a:lnTo>
                <a:lnTo>
                  <a:pt x="1423" y="1670"/>
                </a:lnTo>
                <a:lnTo>
                  <a:pt x="1422" y="1669"/>
                </a:lnTo>
                <a:lnTo>
                  <a:pt x="1421" y="1667"/>
                </a:lnTo>
                <a:lnTo>
                  <a:pt x="1419" y="1665"/>
                </a:lnTo>
                <a:lnTo>
                  <a:pt x="1419" y="1660"/>
                </a:lnTo>
                <a:lnTo>
                  <a:pt x="1419" y="1658"/>
                </a:lnTo>
                <a:lnTo>
                  <a:pt x="1420" y="1655"/>
                </a:lnTo>
                <a:lnTo>
                  <a:pt x="1421" y="1653"/>
                </a:lnTo>
                <a:lnTo>
                  <a:pt x="1423" y="1651"/>
                </a:lnTo>
                <a:lnTo>
                  <a:pt x="1426" y="1649"/>
                </a:lnTo>
                <a:lnTo>
                  <a:pt x="1428" y="1648"/>
                </a:lnTo>
                <a:lnTo>
                  <a:pt x="1429" y="1648"/>
                </a:lnTo>
                <a:close/>
                <a:moveTo>
                  <a:pt x="1479" y="1604"/>
                </a:moveTo>
                <a:lnTo>
                  <a:pt x="1482" y="1604"/>
                </a:lnTo>
                <a:lnTo>
                  <a:pt x="1485" y="1605"/>
                </a:lnTo>
                <a:lnTo>
                  <a:pt x="1488" y="1606"/>
                </a:lnTo>
                <a:lnTo>
                  <a:pt x="1489" y="1607"/>
                </a:lnTo>
                <a:lnTo>
                  <a:pt x="1491" y="1608"/>
                </a:lnTo>
                <a:lnTo>
                  <a:pt x="1492" y="1611"/>
                </a:lnTo>
                <a:lnTo>
                  <a:pt x="1493" y="1613"/>
                </a:lnTo>
                <a:lnTo>
                  <a:pt x="1494" y="1615"/>
                </a:lnTo>
                <a:lnTo>
                  <a:pt x="1494" y="1618"/>
                </a:lnTo>
                <a:lnTo>
                  <a:pt x="1493" y="1620"/>
                </a:lnTo>
                <a:lnTo>
                  <a:pt x="1492" y="1622"/>
                </a:lnTo>
                <a:lnTo>
                  <a:pt x="1491" y="1624"/>
                </a:lnTo>
                <a:lnTo>
                  <a:pt x="1489" y="1626"/>
                </a:lnTo>
                <a:lnTo>
                  <a:pt x="1488" y="1627"/>
                </a:lnTo>
                <a:lnTo>
                  <a:pt x="1486" y="1628"/>
                </a:lnTo>
                <a:lnTo>
                  <a:pt x="1483" y="1629"/>
                </a:lnTo>
                <a:lnTo>
                  <a:pt x="1480" y="1629"/>
                </a:lnTo>
                <a:lnTo>
                  <a:pt x="1477" y="1629"/>
                </a:lnTo>
                <a:lnTo>
                  <a:pt x="1474" y="1627"/>
                </a:lnTo>
                <a:lnTo>
                  <a:pt x="1473" y="1626"/>
                </a:lnTo>
                <a:lnTo>
                  <a:pt x="1471" y="1625"/>
                </a:lnTo>
                <a:lnTo>
                  <a:pt x="1470" y="1623"/>
                </a:lnTo>
                <a:lnTo>
                  <a:pt x="1469" y="1621"/>
                </a:lnTo>
                <a:lnTo>
                  <a:pt x="1468" y="1618"/>
                </a:lnTo>
                <a:lnTo>
                  <a:pt x="1468" y="1616"/>
                </a:lnTo>
                <a:lnTo>
                  <a:pt x="1469" y="1613"/>
                </a:lnTo>
                <a:lnTo>
                  <a:pt x="1470" y="1611"/>
                </a:lnTo>
                <a:lnTo>
                  <a:pt x="1471" y="1609"/>
                </a:lnTo>
                <a:lnTo>
                  <a:pt x="1473" y="1607"/>
                </a:lnTo>
                <a:lnTo>
                  <a:pt x="1474" y="1606"/>
                </a:lnTo>
                <a:lnTo>
                  <a:pt x="1476" y="1605"/>
                </a:lnTo>
                <a:lnTo>
                  <a:pt x="1479" y="1604"/>
                </a:lnTo>
                <a:close/>
                <a:moveTo>
                  <a:pt x="1530" y="1562"/>
                </a:moveTo>
                <a:lnTo>
                  <a:pt x="1533" y="1562"/>
                </a:lnTo>
                <a:lnTo>
                  <a:pt x="1536" y="1563"/>
                </a:lnTo>
                <a:lnTo>
                  <a:pt x="1539" y="1564"/>
                </a:lnTo>
                <a:lnTo>
                  <a:pt x="1542" y="1567"/>
                </a:lnTo>
                <a:lnTo>
                  <a:pt x="1543" y="1569"/>
                </a:lnTo>
                <a:lnTo>
                  <a:pt x="1544" y="1571"/>
                </a:lnTo>
                <a:lnTo>
                  <a:pt x="1545" y="1574"/>
                </a:lnTo>
                <a:lnTo>
                  <a:pt x="1545" y="1576"/>
                </a:lnTo>
                <a:lnTo>
                  <a:pt x="1543" y="1581"/>
                </a:lnTo>
                <a:lnTo>
                  <a:pt x="1543" y="1582"/>
                </a:lnTo>
                <a:lnTo>
                  <a:pt x="1542" y="1583"/>
                </a:lnTo>
                <a:lnTo>
                  <a:pt x="1540" y="1584"/>
                </a:lnTo>
                <a:lnTo>
                  <a:pt x="1537" y="1586"/>
                </a:lnTo>
                <a:lnTo>
                  <a:pt x="1534" y="1587"/>
                </a:lnTo>
                <a:lnTo>
                  <a:pt x="1531" y="1587"/>
                </a:lnTo>
                <a:lnTo>
                  <a:pt x="1528" y="1586"/>
                </a:lnTo>
                <a:lnTo>
                  <a:pt x="1525" y="1585"/>
                </a:lnTo>
                <a:lnTo>
                  <a:pt x="1522" y="1582"/>
                </a:lnTo>
                <a:lnTo>
                  <a:pt x="1521" y="1580"/>
                </a:lnTo>
                <a:lnTo>
                  <a:pt x="1520" y="1578"/>
                </a:lnTo>
                <a:lnTo>
                  <a:pt x="1519" y="1576"/>
                </a:lnTo>
                <a:lnTo>
                  <a:pt x="1519" y="1573"/>
                </a:lnTo>
                <a:lnTo>
                  <a:pt x="1521" y="1568"/>
                </a:lnTo>
                <a:lnTo>
                  <a:pt x="1521" y="1567"/>
                </a:lnTo>
                <a:lnTo>
                  <a:pt x="1522" y="1566"/>
                </a:lnTo>
                <a:lnTo>
                  <a:pt x="1524" y="1565"/>
                </a:lnTo>
                <a:lnTo>
                  <a:pt x="1527" y="1563"/>
                </a:lnTo>
                <a:lnTo>
                  <a:pt x="1530" y="1562"/>
                </a:lnTo>
                <a:close/>
                <a:moveTo>
                  <a:pt x="2903" y="1298"/>
                </a:moveTo>
                <a:lnTo>
                  <a:pt x="2907" y="1298"/>
                </a:lnTo>
                <a:lnTo>
                  <a:pt x="2910" y="1299"/>
                </a:lnTo>
                <a:lnTo>
                  <a:pt x="2912" y="1300"/>
                </a:lnTo>
                <a:lnTo>
                  <a:pt x="2914" y="1302"/>
                </a:lnTo>
                <a:lnTo>
                  <a:pt x="2916" y="1303"/>
                </a:lnTo>
                <a:lnTo>
                  <a:pt x="2917" y="1305"/>
                </a:lnTo>
                <a:lnTo>
                  <a:pt x="2918" y="1308"/>
                </a:lnTo>
                <a:lnTo>
                  <a:pt x="2918" y="1310"/>
                </a:lnTo>
                <a:lnTo>
                  <a:pt x="2918" y="1313"/>
                </a:lnTo>
                <a:lnTo>
                  <a:pt x="2917" y="1317"/>
                </a:lnTo>
                <a:lnTo>
                  <a:pt x="2916" y="1318"/>
                </a:lnTo>
                <a:lnTo>
                  <a:pt x="2914" y="1320"/>
                </a:lnTo>
                <a:lnTo>
                  <a:pt x="2911" y="1322"/>
                </a:lnTo>
                <a:lnTo>
                  <a:pt x="2908" y="1323"/>
                </a:lnTo>
                <a:lnTo>
                  <a:pt x="2903" y="1323"/>
                </a:lnTo>
                <a:lnTo>
                  <a:pt x="2901" y="1323"/>
                </a:lnTo>
                <a:lnTo>
                  <a:pt x="2899" y="1322"/>
                </a:lnTo>
                <a:lnTo>
                  <a:pt x="2897" y="1320"/>
                </a:lnTo>
                <a:lnTo>
                  <a:pt x="2895" y="1318"/>
                </a:lnTo>
                <a:lnTo>
                  <a:pt x="2894" y="1316"/>
                </a:lnTo>
                <a:lnTo>
                  <a:pt x="2893" y="1314"/>
                </a:lnTo>
                <a:lnTo>
                  <a:pt x="2893" y="1311"/>
                </a:lnTo>
                <a:lnTo>
                  <a:pt x="2893" y="1309"/>
                </a:lnTo>
                <a:lnTo>
                  <a:pt x="2894" y="1305"/>
                </a:lnTo>
                <a:lnTo>
                  <a:pt x="2895" y="1303"/>
                </a:lnTo>
                <a:lnTo>
                  <a:pt x="2896" y="1302"/>
                </a:lnTo>
                <a:lnTo>
                  <a:pt x="2900" y="1300"/>
                </a:lnTo>
                <a:lnTo>
                  <a:pt x="2903" y="1298"/>
                </a:lnTo>
                <a:close/>
                <a:moveTo>
                  <a:pt x="1582" y="1522"/>
                </a:moveTo>
                <a:lnTo>
                  <a:pt x="1586" y="1522"/>
                </a:lnTo>
                <a:lnTo>
                  <a:pt x="1589" y="1522"/>
                </a:lnTo>
                <a:lnTo>
                  <a:pt x="1592" y="1524"/>
                </a:lnTo>
                <a:lnTo>
                  <a:pt x="1595" y="1527"/>
                </a:lnTo>
                <a:lnTo>
                  <a:pt x="1597" y="1531"/>
                </a:lnTo>
                <a:lnTo>
                  <a:pt x="1597" y="1534"/>
                </a:lnTo>
                <a:lnTo>
                  <a:pt x="1597" y="1536"/>
                </a:lnTo>
                <a:lnTo>
                  <a:pt x="1596" y="1538"/>
                </a:lnTo>
                <a:lnTo>
                  <a:pt x="1595" y="1541"/>
                </a:lnTo>
                <a:lnTo>
                  <a:pt x="1594" y="1543"/>
                </a:lnTo>
                <a:lnTo>
                  <a:pt x="1592" y="1544"/>
                </a:lnTo>
                <a:lnTo>
                  <a:pt x="1589" y="1546"/>
                </a:lnTo>
                <a:lnTo>
                  <a:pt x="1587" y="1547"/>
                </a:lnTo>
                <a:lnTo>
                  <a:pt x="1583" y="1547"/>
                </a:lnTo>
                <a:lnTo>
                  <a:pt x="1580" y="1546"/>
                </a:lnTo>
                <a:lnTo>
                  <a:pt x="1577" y="1544"/>
                </a:lnTo>
                <a:lnTo>
                  <a:pt x="1574" y="1542"/>
                </a:lnTo>
                <a:lnTo>
                  <a:pt x="1572" y="1537"/>
                </a:lnTo>
                <a:lnTo>
                  <a:pt x="1572" y="1535"/>
                </a:lnTo>
                <a:lnTo>
                  <a:pt x="1572" y="1532"/>
                </a:lnTo>
                <a:lnTo>
                  <a:pt x="1572" y="1530"/>
                </a:lnTo>
                <a:lnTo>
                  <a:pt x="1573" y="1528"/>
                </a:lnTo>
                <a:lnTo>
                  <a:pt x="1575" y="1526"/>
                </a:lnTo>
                <a:lnTo>
                  <a:pt x="1577" y="1524"/>
                </a:lnTo>
                <a:lnTo>
                  <a:pt x="1579" y="1522"/>
                </a:lnTo>
                <a:lnTo>
                  <a:pt x="1582" y="1522"/>
                </a:lnTo>
                <a:close/>
                <a:moveTo>
                  <a:pt x="2838" y="1288"/>
                </a:moveTo>
                <a:lnTo>
                  <a:pt x="2842" y="1288"/>
                </a:lnTo>
                <a:lnTo>
                  <a:pt x="2844" y="1289"/>
                </a:lnTo>
                <a:lnTo>
                  <a:pt x="2847" y="1290"/>
                </a:lnTo>
                <a:lnTo>
                  <a:pt x="2849" y="1291"/>
                </a:lnTo>
                <a:lnTo>
                  <a:pt x="2850" y="1293"/>
                </a:lnTo>
                <a:lnTo>
                  <a:pt x="2852" y="1295"/>
                </a:lnTo>
                <a:lnTo>
                  <a:pt x="2852" y="1297"/>
                </a:lnTo>
                <a:lnTo>
                  <a:pt x="2853" y="1300"/>
                </a:lnTo>
                <a:lnTo>
                  <a:pt x="2853" y="1302"/>
                </a:lnTo>
                <a:lnTo>
                  <a:pt x="2851" y="1306"/>
                </a:lnTo>
                <a:lnTo>
                  <a:pt x="2850" y="1308"/>
                </a:lnTo>
                <a:lnTo>
                  <a:pt x="2849" y="1310"/>
                </a:lnTo>
                <a:lnTo>
                  <a:pt x="2846" y="1312"/>
                </a:lnTo>
                <a:lnTo>
                  <a:pt x="2842" y="1313"/>
                </a:lnTo>
                <a:lnTo>
                  <a:pt x="2838" y="1313"/>
                </a:lnTo>
                <a:lnTo>
                  <a:pt x="2836" y="1312"/>
                </a:lnTo>
                <a:lnTo>
                  <a:pt x="2833" y="1311"/>
                </a:lnTo>
                <a:lnTo>
                  <a:pt x="2831" y="1310"/>
                </a:lnTo>
                <a:lnTo>
                  <a:pt x="2830" y="1308"/>
                </a:lnTo>
                <a:lnTo>
                  <a:pt x="2829" y="1306"/>
                </a:lnTo>
                <a:lnTo>
                  <a:pt x="2828" y="1304"/>
                </a:lnTo>
                <a:lnTo>
                  <a:pt x="2827" y="1301"/>
                </a:lnTo>
                <a:lnTo>
                  <a:pt x="2827" y="1299"/>
                </a:lnTo>
                <a:lnTo>
                  <a:pt x="2829" y="1295"/>
                </a:lnTo>
                <a:lnTo>
                  <a:pt x="2830" y="1293"/>
                </a:lnTo>
                <a:lnTo>
                  <a:pt x="2831" y="1292"/>
                </a:lnTo>
                <a:lnTo>
                  <a:pt x="2834" y="1289"/>
                </a:lnTo>
                <a:lnTo>
                  <a:pt x="2838" y="1288"/>
                </a:lnTo>
                <a:close/>
                <a:moveTo>
                  <a:pt x="1636" y="1483"/>
                </a:moveTo>
                <a:lnTo>
                  <a:pt x="1640" y="1483"/>
                </a:lnTo>
                <a:lnTo>
                  <a:pt x="1643" y="1484"/>
                </a:lnTo>
                <a:lnTo>
                  <a:pt x="1646" y="1486"/>
                </a:lnTo>
                <a:lnTo>
                  <a:pt x="1649" y="1489"/>
                </a:lnTo>
                <a:lnTo>
                  <a:pt x="1650" y="1491"/>
                </a:lnTo>
                <a:lnTo>
                  <a:pt x="1651" y="1493"/>
                </a:lnTo>
                <a:lnTo>
                  <a:pt x="1651" y="1498"/>
                </a:lnTo>
                <a:lnTo>
                  <a:pt x="1650" y="1500"/>
                </a:lnTo>
                <a:lnTo>
                  <a:pt x="1649" y="1503"/>
                </a:lnTo>
                <a:lnTo>
                  <a:pt x="1647" y="1505"/>
                </a:lnTo>
                <a:lnTo>
                  <a:pt x="1645" y="1506"/>
                </a:lnTo>
                <a:lnTo>
                  <a:pt x="1643" y="1508"/>
                </a:lnTo>
                <a:lnTo>
                  <a:pt x="1640" y="1508"/>
                </a:lnTo>
                <a:lnTo>
                  <a:pt x="1637" y="1508"/>
                </a:lnTo>
                <a:lnTo>
                  <a:pt x="1633" y="1507"/>
                </a:lnTo>
                <a:lnTo>
                  <a:pt x="1630" y="1506"/>
                </a:lnTo>
                <a:lnTo>
                  <a:pt x="1628" y="1503"/>
                </a:lnTo>
                <a:lnTo>
                  <a:pt x="1627" y="1501"/>
                </a:lnTo>
                <a:lnTo>
                  <a:pt x="1626" y="1498"/>
                </a:lnTo>
                <a:lnTo>
                  <a:pt x="1626" y="1493"/>
                </a:lnTo>
                <a:lnTo>
                  <a:pt x="1626" y="1491"/>
                </a:lnTo>
                <a:lnTo>
                  <a:pt x="1628" y="1489"/>
                </a:lnTo>
                <a:lnTo>
                  <a:pt x="1629" y="1487"/>
                </a:lnTo>
                <a:lnTo>
                  <a:pt x="1631" y="1485"/>
                </a:lnTo>
                <a:lnTo>
                  <a:pt x="1633" y="1484"/>
                </a:lnTo>
                <a:lnTo>
                  <a:pt x="1636" y="1483"/>
                </a:lnTo>
                <a:close/>
                <a:moveTo>
                  <a:pt x="2772" y="1278"/>
                </a:moveTo>
                <a:lnTo>
                  <a:pt x="2776" y="1278"/>
                </a:lnTo>
                <a:lnTo>
                  <a:pt x="2779" y="1279"/>
                </a:lnTo>
                <a:lnTo>
                  <a:pt x="2781" y="1280"/>
                </a:lnTo>
                <a:lnTo>
                  <a:pt x="2783" y="1281"/>
                </a:lnTo>
                <a:lnTo>
                  <a:pt x="2785" y="1283"/>
                </a:lnTo>
                <a:lnTo>
                  <a:pt x="2786" y="1285"/>
                </a:lnTo>
                <a:lnTo>
                  <a:pt x="2787" y="1288"/>
                </a:lnTo>
                <a:lnTo>
                  <a:pt x="2787" y="1290"/>
                </a:lnTo>
                <a:lnTo>
                  <a:pt x="2787" y="1293"/>
                </a:lnTo>
                <a:lnTo>
                  <a:pt x="2787" y="1295"/>
                </a:lnTo>
                <a:lnTo>
                  <a:pt x="2786" y="1296"/>
                </a:lnTo>
                <a:lnTo>
                  <a:pt x="2785" y="1298"/>
                </a:lnTo>
                <a:lnTo>
                  <a:pt x="2784" y="1300"/>
                </a:lnTo>
                <a:lnTo>
                  <a:pt x="2781" y="1302"/>
                </a:lnTo>
                <a:lnTo>
                  <a:pt x="2777" y="1303"/>
                </a:lnTo>
                <a:lnTo>
                  <a:pt x="2773" y="1303"/>
                </a:lnTo>
                <a:lnTo>
                  <a:pt x="2770" y="1303"/>
                </a:lnTo>
                <a:lnTo>
                  <a:pt x="2768" y="1302"/>
                </a:lnTo>
                <a:lnTo>
                  <a:pt x="2766" y="1300"/>
                </a:lnTo>
                <a:lnTo>
                  <a:pt x="2764" y="1298"/>
                </a:lnTo>
                <a:lnTo>
                  <a:pt x="2763" y="1296"/>
                </a:lnTo>
                <a:lnTo>
                  <a:pt x="2762" y="1294"/>
                </a:lnTo>
                <a:lnTo>
                  <a:pt x="2762" y="1292"/>
                </a:lnTo>
                <a:lnTo>
                  <a:pt x="2762" y="1289"/>
                </a:lnTo>
                <a:lnTo>
                  <a:pt x="2762" y="1287"/>
                </a:lnTo>
                <a:lnTo>
                  <a:pt x="2763" y="1285"/>
                </a:lnTo>
                <a:lnTo>
                  <a:pt x="2764" y="1283"/>
                </a:lnTo>
                <a:lnTo>
                  <a:pt x="2766" y="1282"/>
                </a:lnTo>
                <a:lnTo>
                  <a:pt x="2769" y="1280"/>
                </a:lnTo>
                <a:lnTo>
                  <a:pt x="2772" y="1278"/>
                </a:lnTo>
                <a:close/>
                <a:moveTo>
                  <a:pt x="2707" y="1269"/>
                </a:moveTo>
                <a:lnTo>
                  <a:pt x="2711" y="1269"/>
                </a:lnTo>
                <a:lnTo>
                  <a:pt x="2713" y="1269"/>
                </a:lnTo>
                <a:lnTo>
                  <a:pt x="2716" y="1270"/>
                </a:lnTo>
                <a:lnTo>
                  <a:pt x="2718" y="1272"/>
                </a:lnTo>
                <a:lnTo>
                  <a:pt x="2719" y="1274"/>
                </a:lnTo>
                <a:lnTo>
                  <a:pt x="2721" y="1276"/>
                </a:lnTo>
                <a:lnTo>
                  <a:pt x="2721" y="1278"/>
                </a:lnTo>
                <a:lnTo>
                  <a:pt x="2722" y="1281"/>
                </a:lnTo>
                <a:lnTo>
                  <a:pt x="2722" y="1283"/>
                </a:lnTo>
                <a:lnTo>
                  <a:pt x="2721" y="1285"/>
                </a:lnTo>
                <a:lnTo>
                  <a:pt x="2720" y="1287"/>
                </a:lnTo>
                <a:lnTo>
                  <a:pt x="2719" y="1289"/>
                </a:lnTo>
                <a:lnTo>
                  <a:pt x="2718" y="1290"/>
                </a:lnTo>
                <a:lnTo>
                  <a:pt x="2717" y="1292"/>
                </a:lnTo>
                <a:lnTo>
                  <a:pt x="2715" y="1293"/>
                </a:lnTo>
                <a:lnTo>
                  <a:pt x="2711" y="1294"/>
                </a:lnTo>
                <a:lnTo>
                  <a:pt x="2707" y="1294"/>
                </a:lnTo>
                <a:lnTo>
                  <a:pt x="2705" y="1293"/>
                </a:lnTo>
                <a:lnTo>
                  <a:pt x="2703" y="1292"/>
                </a:lnTo>
                <a:lnTo>
                  <a:pt x="2701" y="1291"/>
                </a:lnTo>
                <a:lnTo>
                  <a:pt x="2699" y="1289"/>
                </a:lnTo>
                <a:lnTo>
                  <a:pt x="2698" y="1287"/>
                </a:lnTo>
                <a:lnTo>
                  <a:pt x="2697" y="1285"/>
                </a:lnTo>
                <a:lnTo>
                  <a:pt x="2696" y="1282"/>
                </a:lnTo>
                <a:lnTo>
                  <a:pt x="2697" y="1280"/>
                </a:lnTo>
                <a:lnTo>
                  <a:pt x="2697" y="1278"/>
                </a:lnTo>
                <a:lnTo>
                  <a:pt x="2698" y="1276"/>
                </a:lnTo>
                <a:lnTo>
                  <a:pt x="2699" y="1274"/>
                </a:lnTo>
                <a:lnTo>
                  <a:pt x="2700" y="1272"/>
                </a:lnTo>
                <a:lnTo>
                  <a:pt x="2701" y="1271"/>
                </a:lnTo>
                <a:lnTo>
                  <a:pt x="2703" y="1270"/>
                </a:lnTo>
                <a:lnTo>
                  <a:pt x="2707" y="1269"/>
                </a:lnTo>
                <a:close/>
                <a:moveTo>
                  <a:pt x="1691" y="1447"/>
                </a:moveTo>
                <a:lnTo>
                  <a:pt x="1695" y="1447"/>
                </a:lnTo>
                <a:lnTo>
                  <a:pt x="1699" y="1448"/>
                </a:lnTo>
                <a:lnTo>
                  <a:pt x="1702" y="1450"/>
                </a:lnTo>
                <a:lnTo>
                  <a:pt x="1703" y="1451"/>
                </a:lnTo>
                <a:lnTo>
                  <a:pt x="1704" y="1453"/>
                </a:lnTo>
                <a:lnTo>
                  <a:pt x="1705" y="1455"/>
                </a:lnTo>
                <a:lnTo>
                  <a:pt x="1706" y="1457"/>
                </a:lnTo>
                <a:lnTo>
                  <a:pt x="1706" y="1460"/>
                </a:lnTo>
                <a:lnTo>
                  <a:pt x="1706" y="1462"/>
                </a:lnTo>
                <a:lnTo>
                  <a:pt x="1705" y="1465"/>
                </a:lnTo>
                <a:lnTo>
                  <a:pt x="1704" y="1467"/>
                </a:lnTo>
                <a:lnTo>
                  <a:pt x="1702" y="1469"/>
                </a:lnTo>
                <a:lnTo>
                  <a:pt x="1700" y="1470"/>
                </a:lnTo>
                <a:lnTo>
                  <a:pt x="1698" y="1471"/>
                </a:lnTo>
                <a:lnTo>
                  <a:pt x="1696" y="1472"/>
                </a:lnTo>
                <a:lnTo>
                  <a:pt x="1692" y="1472"/>
                </a:lnTo>
                <a:lnTo>
                  <a:pt x="1688" y="1471"/>
                </a:lnTo>
                <a:lnTo>
                  <a:pt x="1685" y="1469"/>
                </a:lnTo>
                <a:lnTo>
                  <a:pt x="1684" y="1468"/>
                </a:lnTo>
                <a:lnTo>
                  <a:pt x="1683" y="1466"/>
                </a:lnTo>
                <a:lnTo>
                  <a:pt x="1682" y="1464"/>
                </a:lnTo>
                <a:lnTo>
                  <a:pt x="1681" y="1461"/>
                </a:lnTo>
                <a:lnTo>
                  <a:pt x="1681" y="1459"/>
                </a:lnTo>
                <a:lnTo>
                  <a:pt x="1681" y="1457"/>
                </a:lnTo>
                <a:lnTo>
                  <a:pt x="1682" y="1454"/>
                </a:lnTo>
                <a:lnTo>
                  <a:pt x="1683" y="1452"/>
                </a:lnTo>
                <a:lnTo>
                  <a:pt x="1685" y="1450"/>
                </a:lnTo>
                <a:lnTo>
                  <a:pt x="1687" y="1449"/>
                </a:lnTo>
                <a:lnTo>
                  <a:pt x="1689" y="1448"/>
                </a:lnTo>
                <a:lnTo>
                  <a:pt x="1691" y="1447"/>
                </a:lnTo>
                <a:close/>
                <a:moveTo>
                  <a:pt x="2641" y="1260"/>
                </a:moveTo>
                <a:lnTo>
                  <a:pt x="2645" y="1260"/>
                </a:lnTo>
                <a:lnTo>
                  <a:pt x="2648" y="1260"/>
                </a:lnTo>
                <a:lnTo>
                  <a:pt x="2650" y="1261"/>
                </a:lnTo>
                <a:lnTo>
                  <a:pt x="2652" y="1263"/>
                </a:lnTo>
                <a:lnTo>
                  <a:pt x="2654" y="1265"/>
                </a:lnTo>
                <a:lnTo>
                  <a:pt x="2655" y="1267"/>
                </a:lnTo>
                <a:lnTo>
                  <a:pt x="2656" y="1269"/>
                </a:lnTo>
                <a:lnTo>
                  <a:pt x="2656" y="1271"/>
                </a:lnTo>
                <a:lnTo>
                  <a:pt x="2656" y="1274"/>
                </a:lnTo>
                <a:lnTo>
                  <a:pt x="2656" y="1276"/>
                </a:lnTo>
                <a:lnTo>
                  <a:pt x="2655" y="1278"/>
                </a:lnTo>
                <a:lnTo>
                  <a:pt x="2654" y="1280"/>
                </a:lnTo>
                <a:lnTo>
                  <a:pt x="2653" y="1281"/>
                </a:lnTo>
                <a:lnTo>
                  <a:pt x="2651" y="1283"/>
                </a:lnTo>
                <a:lnTo>
                  <a:pt x="2650" y="1284"/>
                </a:lnTo>
                <a:lnTo>
                  <a:pt x="2646" y="1285"/>
                </a:lnTo>
                <a:lnTo>
                  <a:pt x="2642" y="1285"/>
                </a:lnTo>
                <a:lnTo>
                  <a:pt x="2639" y="1284"/>
                </a:lnTo>
                <a:lnTo>
                  <a:pt x="2637" y="1283"/>
                </a:lnTo>
                <a:lnTo>
                  <a:pt x="2635" y="1282"/>
                </a:lnTo>
                <a:lnTo>
                  <a:pt x="2633" y="1280"/>
                </a:lnTo>
                <a:lnTo>
                  <a:pt x="2632" y="1278"/>
                </a:lnTo>
                <a:lnTo>
                  <a:pt x="2631" y="1276"/>
                </a:lnTo>
                <a:lnTo>
                  <a:pt x="2631" y="1273"/>
                </a:lnTo>
                <a:lnTo>
                  <a:pt x="2631" y="1271"/>
                </a:lnTo>
                <a:lnTo>
                  <a:pt x="2631" y="1269"/>
                </a:lnTo>
                <a:lnTo>
                  <a:pt x="2632" y="1267"/>
                </a:lnTo>
                <a:lnTo>
                  <a:pt x="2633" y="1265"/>
                </a:lnTo>
                <a:lnTo>
                  <a:pt x="2634" y="1264"/>
                </a:lnTo>
                <a:lnTo>
                  <a:pt x="2636" y="1262"/>
                </a:lnTo>
                <a:lnTo>
                  <a:pt x="2638" y="1261"/>
                </a:lnTo>
                <a:lnTo>
                  <a:pt x="2641" y="1260"/>
                </a:lnTo>
                <a:close/>
                <a:moveTo>
                  <a:pt x="1748" y="1413"/>
                </a:moveTo>
                <a:lnTo>
                  <a:pt x="1752" y="1413"/>
                </a:lnTo>
                <a:lnTo>
                  <a:pt x="1755" y="1414"/>
                </a:lnTo>
                <a:lnTo>
                  <a:pt x="1759" y="1416"/>
                </a:lnTo>
                <a:lnTo>
                  <a:pt x="1760" y="1417"/>
                </a:lnTo>
                <a:lnTo>
                  <a:pt x="1761" y="1419"/>
                </a:lnTo>
                <a:lnTo>
                  <a:pt x="1762" y="1421"/>
                </a:lnTo>
                <a:lnTo>
                  <a:pt x="1763" y="1424"/>
                </a:lnTo>
                <a:lnTo>
                  <a:pt x="1763" y="1426"/>
                </a:lnTo>
                <a:lnTo>
                  <a:pt x="1762" y="1429"/>
                </a:lnTo>
                <a:lnTo>
                  <a:pt x="1762" y="1431"/>
                </a:lnTo>
                <a:lnTo>
                  <a:pt x="1760" y="1433"/>
                </a:lnTo>
                <a:lnTo>
                  <a:pt x="1759" y="1435"/>
                </a:lnTo>
                <a:lnTo>
                  <a:pt x="1757" y="1436"/>
                </a:lnTo>
                <a:lnTo>
                  <a:pt x="1752" y="1438"/>
                </a:lnTo>
                <a:lnTo>
                  <a:pt x="1749" y="1438"/>
                </a:lnTo>
                <a:lnTo>
                  <a:pt x="1745" y="1437"/>
                </a:lnTo>
                <a:lnTo>
                  <a:pt x="1742" y="1435"/>
                </a:lnTo>
                <a:lnTo>
                  <a:pt x="1740" y="1433"/>
                </a:lnTo>
                <a:lnTo>
                  <a:pt x="1739" y="1432"/>
                </a:lnTo>
                <a:lnTo>
                  <a:pt x="1738" y="1429"/>
                </a:lnTo>
                <a:lnTo>
                  <a:pt x="1738" y="1427"/>
                </a:lnTo>
                <a:lnTo>
                  <a:pt x="1738" y="1424"/>
                </a:lnTo>
                <a:lnTo>
                  <a:pt x="1738" y="1422"/>
                </a:lnTo>
                <a:lnTo>
                  <a:pt x="1739" y="1420"/>
                </a:lnTo>
                <a:lnTo>
                  <a:pt x="1740" y="1418"/>
                </a:lnTo>
                <a:lnTo>
                  <a:pt x="1742" y="1416"/>
                </a:lnTo>
                <a:lnTo>
                  <a:pt x="1744" y="1414"/>
                </a:lnTo>
                <a:lnTo>
                  <a:pt x="1748" y="1413"/>
                </a:lnTo>
                <a:close/>
                <a:moveTo>
                  <a:pt x="2576" y="1251"/>
                </a:moveTo>
                <a:lnTo>
                  <a:pt x="2580" y="1251"/>
                </a:lnTo>
                <a:lnTo>
                  <a:pt x="2582" y="1252"/>
                </a:lnTo>
                <a:lnTo>
                  <a:pt x="2584" y="1253"/>
                </a:lnTo>
                <a:lnTo>
                  <a:pt x="2586" y="1254"/>
                </a:lnTo>
                <a:lnTo>
                  <a:pt x="2588" y="1256"/>
                </a:lnTo>
                <a:lnTo>
                  <a:pt x="2589" y="1258"/>
                </a:lnTo>
                <a:lnTo>
                  <a:pt x="2590" y="1260"/>
                </a:lnTo>
                <a:lnTo>
                  <a:pt x="2591" y="1263"/>
                </a:lnTo>
                <a:lnTo>
                  <a:pt x="2591" y="1265"/>
                </a:lnTo>
                <a:lnTo>
                  <a:pt x="2590" y="1267"/>
                </a:lnTo>
                <a:lnTo>
                  <a:pt x="2589" y="1269"/>
                </a:lnTo>
                <a:lnTo>
                  <a:pt x="2588" y="1271"/>
                </a:lnTo>
                <a:lnTo>
                  <a:pt x="2587" y="1273"/>
                </a:lnTo>
                <a:lnTo>
                  <a:pt x="2586" y="1274"/>
                </a:lnTo>
                <a:lnTo>
                  <a:pt x="2584" y="1275"/>
                </a:lnTo>
                <a:lnTo>
                  <a:pt x="2580" y="1276"/>
                </a:lnTo>
                <a:lnTo>
                  <a:pt x="2576" y="1276"/>
                </a:lnTo>
                <a:lnTo>
                  <a:pt x="2574" y="1276"/>
                </a:lnTo>
                <a:lnTo>
                  <a:pt x="2572" y="1275"/>
                </a:lnTo>
                <a:lnTo>
                  <a:pt x="2570" y="1273"/>
                </a:lnTo>
                <a:lnTo>
                  <a:pt x="2568" y="1271"/>
                </a:lnTo>
                <a:lnTo>
                  <a:pt x="2567" y="1269"/>
                </a:lnTo>
                <a:lnTo>
                  <a:pt x="2566" y="1267"/>
                </a:lnTo>
                <a:lnTo>
                  <a:pt x="2565" y="1265"/>
                </a:lnTo>
                <a:lnTo>
                  <a:pt x="2565" y="1262"/>
                </a:lnTo>
                <a:lnTo>
                  <a:pt x="2566" y="1260"/>
                </a:lnTo>
                <a:lnTo>
                  <a:pt x="2567" y="1258"/>
                </a:lnTo>
                <a:lnTo>
                  <a:pt x="2568" y="1256"/>
                </a:lnTo>
                <a:lnTo>
                  <a:pt x="2569" y="1255"/>
                </a:lnTo>
                <a:lnTo>
                  <a:pt x="2570" y="1254"/>
                </a:lnTo>
                <a:lnTo>
                  <a:pt x="2572" y="1253"/>
                </a:lnTo>
                <a:lnTo>
                  <a:pt x="2576" y="1251"/>
                </a:lnTo>
                <a:close/>
                <a:moveTo>
                  <a:pt x="1806" y="1381"/>
                </a:moveTo>
                <a:lnTo>
                  <a:pt x="1810" y="1381"/>
                </a:lnTo>
                <a:lnTo>
                  <a:pt x="1812" y="1381"/>
                </a:lnTo>
                <a:lnTo>
                  <a:pt x="1814" y="1382"/>
                </a:lnTo>
                <a:lnTo>
                  <a:pt x="1816" y="1383"/>
                </a:lnTo>
                <a:lnTo>
                  <a:pt x="1817" y="1384"/>
                </a:lnTo>
                <a:lnTo>
                  <a:pt x="1820" y="1388"/>
                </a:lnTo>
                <a:lnTo>
                  <a:pt x="1821" y="1393"/>
                </a:lnTo>
                <a:lnTo>
                  <a:pt x="1821" y="1395"/>
                </a:lnTo>
                <a:lnTo>
                  <a:pt x="1820" y="1397"/>
                </a:lnTo>
                <a:lnTo>
                  <a:pt x="1819" y="1400"/>
                </a:lnTo>
                <a:lnTo>
                  <a:pt x="1819" y="1401"/>
                </a:lnTo>
                <a:lnTo>
                  <a:pt x="1818" y="1402"/>
                </a:lnTo>
                <a:lnTo>
                  <a:pt x="1816" y="1403"/>
                </a:lnTo>
                <a:lnTo>
                  <a:pt x="1814" y="1405"/>
                </a:lnTo>
                <a:lnTo>
                  <a:pt x="1810" y="1406"/>
                </a:lnTo>
                <a:lnTo>
                  <a:pt x="1806" y="1406"/>
                </a:lnTo>
                <a:lnTo>
                  <a:pt x="1805" y="1406"/>
                </a:lnTo>
                <a:lnTo>
                  <a:pt x="1803" y="1405"/>
                </a:lnTo>
                <a:lnTo>
                  <a:pt x="1801" y="1404"/>
                </a:lnTo>
                <a:lnTo>
                  <a:pt x="1799" y="1403"/>
                </a:lnTo>
                <a:lnTo>
                  <a:pt x="1797" y="1399"/>
                </a:lnTo>
                <a:lnTo>
                  <a:pt x="1796" y="1395"/>
                </a:lnTo>
                <a:lnTo>
                  <a:pt x="1796" y="1392"/>
                </a:lnTo>
                <a:lnTo>
                  <a:pt x="1796" y="1390"/>
                </a:lnTo>
                <a:lnTo>
                  <a:pt x="1797" y="1388"/>
                </a:lnTo>
                <a:lnTo>
                  <a:pt x="1798" y="1386"/>
                </a:lnTo>
                <a:lnTo>
                  <a:pt x="1798" y="1385"/>
                </a:lnTo>
                <a:lnTo>
                  <a:pt x="1800" y="1384"/>
                </a:lnTo>
                <a:lnTo>
                  <a:pt x="1802" y="1382"/>
                </a:lnTo>
                <a:lnTo>
                  <a:pt x="1806" y="1381"/>
                </a:lnTo>
                <a:close/>
                <a:moveTo>
                  <a:pt x="2510" y="1243"/>
                </a:moveTo>
                <a:lnTo>
                  <a:pt x="2514" y="1243"/>
                </a:lnTo>
                <a:lnTo>
                  <a:pt x="2516" y="1243"/>
                </a:lnTo>
                <a:lnTo>
                  <a:pt x="2519" y="1244"/>
                </a:lnTo>
                <a:lnTo>
                  <a:pt x="2521" y="1246"/>
                </a:lnTo>
                <a:lnTo>
                  <a:pt x="2522" y="1248"/>
                </a:lnTo>
                <a:lnTo>
                  <a:pt x="2524" y="1250"/>
                </a:lnTo>
                <a:lnTo>
                  <a:pt x="2525" y="1252"/>
                </a:lnTo>
                <a:lnTo>
                  <a:pt x="2525" y="1254"/>
                </a:lnTo>
                <a:lnTo>
                  <a:pt x="2525" y="1257"/>
                </a:lnTo>
                <a:lnTo>
                  <a:pt x="2524" y="1259"/>
                </a:lnTo>
                <a:lnTo>
                  <a:pt x="2524" y="1261"/>
                </a:lnTo>
                <a:lnTo>
                  <a:pt x="2523" y="1263"/>
                </a:lnTo>
                <a:lnTo>
                  <a:pt x="2521" y="1264"/>
                </a:lnTo>
                <a:lnTo>
                  <a:pt x="2518" y="1267"/>
                </a:lnTo>
                <a:lnTo>
                  <a:pt x="2516" y="1267"/>
                </a:lnTo>
                <a:lnTo>
                  <a:pt x="2515" y="1268"/>
                </a:lnTo>
                <a:lnTo>
                  <a:pt x="2511" y="1268"/>
                </a:lnTo>
                <a:lnTo>
                  <a:pt x="2508" y="1267"/>
                </a:lnTo>
                <a:lnTo>
                  <a:pt x="2506" y="1266"/>
                </a:lnTo>
                <a:lnTo>
                  <a:pt x="2504" y="1265"/>
                </a:lnTo>
                <a:lnTo>
                  <a:pt x="2502" y="1263"/>
                </a:lnTo>
                <a:lnTo>
                  <a:pt x="2501" y="1261"/>
                </a:lnTo>
                <a:lnTo>
                  <a:pt x="2500" y="1259"/>
                </a:lnTo>
                <a:lnTo>
                  <a:pt x="2500" y="1256"/>
                </a:lnTo>
                <a:lnTo>
                  <a:pt x="2500" y="1254"/>
                </a:lnTo>
                <a:lnTo>
                  <a:pt x="2500" y="1252"/>
                </a:lnTo>
                <a:lnTo>
                  <a:pt x="2501" y="1250"/>
                </a:lnTo>
                <a:lnTo>
                  <a:pt x="2502" y="1248"/>
                </a:lnTo>
                <a:lnTo>
                  <a:pt x="2503" y="1247"/>
                </a:lnTo>
                <a:lnTo>
                  <a:pt x="2506" y="1244"/>
                </a:lnTo>
                <a:lnTo>
                  <a:pt x="2508" y="1243"/>
                </a:lnTo>
                <a:lnTo>
                  <a:pt x="2510" y="1243"/>
                </a:lnTo>
                <a:close/>
                <a:moveTo>
                  <a:pt x="1865" y="1352"/>
                </a:moveTo>
                <a:lnTo>
                  <a:pt x="1870" y="1352"/>
                </a:lnTo>
                <a:lnTo>
                  <a:pt x="1873" y="1353"/>
                </a:lnTo>
                <a:lnTo>
                  <a:pt x="1875" y="1354"/>
                </a:lnTo>
                <a:lnTo>
                  <a:pt x="1877" y="1356"/>
                </a:lnTo>
                <a:lnTo>
                  <a:pt x="1879" y="1359"/>
                </a:lnTo>
                <a:lnTo>
                  <a:pt x="1880" y="1360"/>
                </a:lnTo>
                <a:lnTo>
                  <a:pt x="1880" y="1362"/>
                </a:lnTo>
                <a:lnTo>
                  <a:pt x="1880" y="1364"/>
                </a:lnTo>
                <a:lnTo>
                  <a:pt x="1880" y="1367"/>
                </a:lnTo>
                <a:lnTo>
                  <a:pt x="1880" y="1369"/>
                </a:lnTo>
                <a:lnTo>
                  <a:pt x="1878" y="1371"/>
                </a:lnTo>
                <a:lnTo>
                  <a:pt x="1877" y="1373"/>
                </a:lnTo>
                <a:lnTo>
                  <a:pt x="1875" y="1375"/>
                </a:lnTo>
                <a:lnTo>
                  <a:pt x="1873" y="1376"/>
                </a:lnTo>
                <a:lnTo>
                  <a:pt x="1870" y="1377"/>
                </a:lnTo>
                <a:lnTo>
                  <a:pt x="1866" y="1377"/>
                </a:lnTo>
                <a:lnTo>
                  <a:pt x="1862" y="1376"/>
                </a:lnTo>
                <a:lnTo>
                  <a:pt x="1860" y="1375"/>
                </a:lnTo>
                <a:lnTo>
                  <a:pt x="1859" y="1373"/>
                </a:lnTo>
                <a:lnTo>
                  <a:pt x="1856" y="1370"/>
                </a:lnTo>
                <a:lnTo>
                  <a:pt x="1856" y="1369"/>
                </a:lnTo>
                <a:lnTo>
                  <a:pt x="1855" y="1367"/>
                </a:lnTo>
                <a:lnTo>
                  <a:pt x="1855" y="1365"/>
                </a:lnTo>
                <a:lnTo>
                  <a:pt x="1855" y="1362"/>
                </a:lnTo>
                <a:lnTo>
                  <a:pt x="1856" y="1360"/>
                </a:lnTo>
                <a:lnTo>
                  <a:pt x="1857" y="1358"/>
                </a:lnTo>
                <a:lnTo>
                  <a:pt x="1858" y="1356"/>
                </a:lnTo>
                <a:lnTo>
                  <a:pt x="1860" y="1354"/>
                </a:lnTo>
                <a:lnTo>
                  <a:pt x="1862" y="1353"/>
                </a:lnTo>
                <a:lnTo>
                  <a:pt x="1865" y="1352"/>
                </a:lnTo>
                <a:close/>
                <a:moveTo>
                  <a:pt x="2444" y="1237"/>
                </a:moveTo>
                <a:lnTo>
                  <a:pt x="2447" y="1237"/>
                </a:lnTo>
                <a:lnTo>
                  <a:pt x="2450" y="1237"/>
                </a:lnTo>
                <a:lnTo>
                  <a:pt x="2452" y="1238"/>
                </a:lnTo>
                <a:lnTo>
                  <a:pt x="2454" y="1239"/>
                </a:lnTo>
                <a:lnTo>
                  <a:pt x="2456" y="1241"/>
                </a:lnTo>
                <a:lnTo>
                  <a:pt x="2457" y="1243"/>
                </a:lnTo>
                <a:lnTo>
                  <a:pt x="2458" y="1245"/>
                </a:lnTo>
                <a:lnTo>
                  <a:pt x="2459" y="1247"/>
                </a:lnTo>
                <a:lnTo>
                  <a:pt x="2459" y="1250"/>
                </a:lnTo>
                <a:lnTo>
                  <a:pt x="2459" y="1252"/>
                </a:lnTo>
                <a:lnTo>
                  <a:pt x="2458" y="1254"/>
                </a:lnTo>
                <a:lnTo>
                  <a:pt x="2457" y="1256"/>
                </a:lnTo>
                <a:lnTo>
                  <a:pt x="2456" y="1258"/>
                </a:lnTo>
                <a:lnTo>
                  <a:pt x="2454" y="1259"/>
                </a:lnTo>
                <a:lnTo>
                  <a:pt x="2453" y="1260"/>
                </a:lnTo>
                <a:lnTo>
                  <a:pt x="2451" y="1261"/>
                </a:lnTo>
                <a:lnTo>
                  <a:pt x="2449" y="1262"/>
                </a:lnTo>
                <a:lnTo>
                  <a:pt x="2446" y="1262"/>
                </a:lnTo>
                <a:lnTo>
                  <a:pt x="2443" y="1262"/>
                </a:lnTo>
                <a:lnTo>
                  <a:pt x="2441" y="1261"/>
                </a:lnTo>
                <a:lnTo>
                  <a:pt x="2439" y="1259"/>
                </a:lnTo>
                <a:lnTo>
                  <a:pt x="2437" y="1258"/>
                </a:lnTo>
                <a:lnTo>
                  <a:pt x="2435" y="1256"/>
                </a:lnTo>
                <a:lnTo>
                  <a:pt x="2434" y="1253"/>
                </a:lnTo>
                <a:lnTo>
                  <a:pt x="2434" y="1251"/>
                </a:lnTo>
                <a:lnTo>
                  <a:pt x="2434" y="1248"/>
                </a:lnTo>
                <a:lnTo>
                  <a:pt x="2434" y="1246"/>
                </a:lnTo>
                <a:lnTo>
                  <a:pt x="2435" y="1244"/>
                </a:lnTo>
                <a:lnTo>
                  <a:pt x="2436" y="1242"/>
                </a:lnTo>
                <a:lnTo>
                  <a:pt x="2437" y="1241"/>
                </a:lnTo>
                <a:lnTo>
                  <a:pt x="2439" y="1239"/>
                </a:lnTo>
                <a:lnTo>
                  <a:pt x="2440" y="1238"/>
                </a:lnTo>
                <a:lnTo>
                  <a:pt x="2442" y="1237"/>
                </a:lnTo>
                <a:lnTo>
                  <a:pt x="2444" y="1237"/>
                </a:lnTo>
                <a:close/>
                <a:moveTo>
                  <a:pt x="1926" y="1326"/>
                </a:moveTo>
                <a:lnTo>
                  <a:pt x="1930" y="1326"/>
                </a:lnTo>
                <a:lnTo>
                  <a:pt x="1932" y="1326"/>
                </a:lnTo>
                <a:lnTo>
                  <a:pt x="1934" y="1327"/>
                </a:lnTo>
                <a:lnTo>
                  <a:pt x="1936" y="1328"/>
                </a:lnTo>
                <a:lnTo>
                  <a:pt x="1938" y="1330"/>
                </a:lnTo>
                <a:lnTo>
                  <a:pt x="1939" y="1331"/>
                </a:lnTo>
                <a:lnTo>
                  <a:pt x="1940" y="1333"/>
                </a:lnTo>
                <a:lnTo>
                  <a:pt x="1941" y="1336"/>
                </a:lnTo>
                <a:lnTo>
                  <a:pt x="1941" y="1338"/>
                </a:lnTo>
                <a:lnTo>
                  <a:pt x="1941" y="1341"/>
                </a:lnTo>
                <a:lnTo>
                  <a:pt x="1940" y="1343"/>
                </a:lnTo>
                <a:lnTo>
                  <a:pt x="1939" y="1345"/>
                </a:lnTo>
                <a:lnTo>
                  <a:pt x="1937" y="1347"/>
                </a:lnTo>
                <a:lnTo>
                  <a:pt x="1935" y="1349"/>
                </a:lnTo>
                <a:lnTo>
                  <a:pt x="1933" y="1350"/>
                </a:lnTo>
                <a:lnTo>
                  <a:pt x="1930" y="1351"/>
                </a:lnTo>
                <a:lnTo>
                  <a:pt x="1926" y="1351"/>
                </a:lnTo>
                <a:lnTo>
                  <a:pt x="1924" y="1350"/>
                </a:lnTo>
                <a:lnTo>
                  <a:pt x="1922" y="1349"/>
                </a:lnTo>
                <a:lnTo>
                  <a:pt x="1920" y="1348"/>
                </a:lnTo>
                <a:lnTo>
                  <a:pt x="1919" y="1347"/>
                </a:lnTo>
                <a:lnTo>
                  <a:pt x="1918" y="1345"/>
                </a:lnTo>
                <a:lnTo>
                  <a:pt x="1917" y="1343"/>
                </a:lnTo>
                <a:lnTo>
                  <a:pt x="1916" y="1340"/>
                </a:lnTo>
                <a:lnTo>
                  <a:pt x="1916" y="1338"/>
                </a:lnTo>
                <a:lnTo>
                  <a:pt x="1916" y="1336"/>
                </a:lnTo>
                <a:lnTo>
                  <a:pt x="1917" y="1333"/>
                </a:lnTo>
                <a:lnTo>
                  <a:pt x="1918" y="1331"/>
                </a:lnTo>
                <a:lnTo>
                  <a:pt x="1919" y="1329"/>
                </a:lnTo>
                <a:lnTo>
                  <a:pt x="1921" y="1328"/>
                </a:lnTo>
                <a:lnTo>
                  <a:pt x="1924" y="1326"/>
                </a:lnTo>
                <a:lnTo>
                  <a:pt x="1926" y="1326"/>
                </a:lnTo>
                <a:close/>
                <a:moveTo>
                  <a:pt x="2378" y="1235"/>
                </a:moveTo>
                <a:lnTo>
                  <a:pt x="2380" y="1234"/>
                </a:lnTo>
                <a:lnTo>
                  <a:pt x="2383" y="1235"/>
                </a:lnTo>
                <a:lnTo>
                  <a:pt x="2385" y="1235"/>
                </a:lnTo>
                <a:lnTo>
                  <a:pt x="2387" y="1237"/>
                </a:lnTo>
                <a:lnTo>
                  <a:pt x="2389" y="1238"/>
                </a:lnTo>
                <a:lnTo>
                  <a:pt x="2391" y="1240"/>
                </a:lnTo>
                <a:lnTo>
                  <a:pt x="2392" y="1242"/>
                </a:lnTo>
                <a:lnTo>
                  <a:pt x="2393" y="1245"/>
                </a:lnTo>
                <a:lnTo>
                  <a:pt x="2393" y="1247"/>
                </a:lnTo>
                <a:lnTo>
                  <a:pt x="2392" y="1252"/>
                </a:lnTo>
                <a:lnTo>
                  <a:pt x="2391" y="1254"/>
                </a:lnTo>
                <a:lnTo>
                  <a:pt x="2390" y="1255"/>
                </a:lnTo>
                <a:lnTo>
                  <a:pt x="2387" y="1258"/>
                </a:lnTo>
                <a:lnTo>
                  <a:pt x="2385" y="1259"/>
                </a:lnTo>
                <a:lnTo>
                  <a:pt x="2383" y="1260"/>
                </a:lnTo>
                <a:lnTo>
                  <a:pt x="2380" y="1260"/>
                </a:lnTo>
                <a:lnTo>
                  <a:pt x="2378" y="1260"/>
                </a:lnTo>
                <a:lnTo>
                  <a:pt x="2375" y="1259"/>
                </a:lnTo>
                <a:lnTo>
                  <a:pt x="2373" y="1258"/>
                </a:lnTo>
                <a:lnTo>
                  <a:pt x="2371" y="1256"/>
                </a:lnTo>
                <a:lnTo>
                  <a:pt x="2370" y="1254"/>
                </a:lnTo>
                <a:lnTo>
                  <a:pt x="2369" y="1252"/>
                </a:lnTo>
                <a:lnTo>
                  <a:pt x="2368" y="1250"/>
                </a:lnTo>
                <a:lnTo>
                  <a:pt x="2368" y="1247"/>
                </a:lnTo>
                <a:lnTo>
                  <a:pt x="2368" y="1243"/>
                </a:lnTo>
                <a:lnTo>
                  <a:pt x="2369" y="1241"/>
                </a:lnTo>
                <a:lnTo>
                  <a:pt x="2371" y="1239"/>
                </a:lnTo>
                <a:lnTo>
                  <a:pt x="2374" y="1236"/>
                </a:lnTo>
                <a:lnTo>
                  <a:pt x="2376" y="1235"/>
                </a:lnTo>
                <a:lnTo>
                  <a:pt x="2378" y="1235"/>
                </a:lnTo>
                <a:close/>
                <a:moveTo>
                  <a:pt x="1988" y="1302"/>
                </a:moveTo>
                <a:lnTo>
                  <a:pt x="1992" y="1302"/>
                </a:lnTo>
                <a:lnTo>
                  <a:pt x="1995" y="1303"/>
                </a:lnTo>
                <a:lnTo>
                  <a:pt x="1997" y="1304"/>
                </a:lnTo>
                <a:lnTo>
                  <a:pt x="2000" y="1307"/>
                </a:lnTo>
                <a:lnTo>
                  <a:pt x="2001" y="1308"/>
                </a:lnTo>
                <a:lnTo>
                  <a:pt x="2002" y="1311"/>
                </a:lnTo>
                <a:lnTo>
                  <a:pt x="2003" y="1316"/>
                </a:lnTo>
                <a:lnTo>
                  <a:pt x="2002" y="1318"/>
                </a:lnTo>
                <a:lnTo>
                  <a:pt x="2002" y="1320"/>
                </a:lnTo>
                <a:lnTo>
                  <a:pt x="2000" y="1322"/>
                </a:lnTo>
                <a:lnTo>
                  <a:pt x="1999" y="1324"/>
                </a:lnTo>
                <a:lnTo>
                  <a:pt x="1997" y="1326"/>
                </a:lnTo>
                <a:lnTo>
                  <a:pt x="1994" y="1327"/>
                </a:lnTo>
                <a:lnTo>
                  <a:pt x="1992" y="1327"/>
                </a:lnTo>
                <a:lnTo>
                  <a:pt x="1988" y="1327"/>
                </a:lnTo>
                <a:lnTo>
                  <a:pt x="1986" y="1327"/>
                </a:lnTo>
                <a:lnTo>
                  <a:pt x="1984" y="1326"/>
                </a:lnTo>
                <a:lnTo>
                  <a:pt x="1980" y="1323"/>
                </a:lnTo>
                <a:lnTo>
                  <a:pt x="1979" y="1321"/>
                </a:lnTo>
                <a:lnTo>
                  <a:pt x="1978" y="1319"/>
                </a:lnTo>
                <a:lnTo>
                  <a:pt x="1977" y="1314"/>
                </a:lnTo>
                <a:lnTo>
                  <a:pt x="1978" y="1312"/>
                </a:lnTo>
                <a:lnTo>
                  <a:pt x="1979" y="1309"/>
                </a:lnTo>
                <a:lnTo>
                  <a:pt x="1980" y="1307"/>
                </a:lnTo>
                <a:lnTo>
                  <a:pt x="1982" y="1305"/>
                </a:lnTo>
                <a:lnTo>
                  <a:pt x="1984" y="1304"/>
                </a:lnTo>
                <a:lnTo>
                  <a:pt x="1986" y="1303"/>
                </a:lnTo>
                <a:lnTo>
                  <a:pt x="1988" y="1302"/>
                </a:lnTo>
                <a:close/>
                <a:moveTo>
                  <a:pt x="2312" y="1236"/>
                </a:moveTo>
                <a:lnTo>
                  <a:pt x="2313" y="1236"/>
                </a:lnTo>
                <a:lnTo>
                  <a:pt x="2318" y="1237"/>
                </a:lnTo>
                <a:lnTo>
                  <a:pt x="2321" y="1238"/>
                </a:lnTo>
                <a:lnTo>
                  <a:pt x="2323" y="1239"/>
                </a:lnTo>
                <a:lnTo>
                  <a:pt x="2324" y="1241"/>
                </a:lnTo>
                <a:lnTo>
                  <a:pt x="2326" y="1243"/>
                </a:lnTo>
                <a:lnTo>
                  <a:pt x="2326" y="1246"/>
                </a:lnTo>
                <a:lnTo>
                  <a:pt x="2327" y="1248"/>
                </a:lnTo>
                <a:lnTo>
                  <a:pt x="2327" y="1251"/>
                </a:lnTo>
                <a:lnTo>
                  <a:pt x="2326" y="1253"/>
                </a:lnTo>
                <a:lnTo>
                  <a:pt x="2325" y="1255"/>
                </a:lnTo>
                <a:lnTo>
                  <a:pt x="2324" y="1257"/>
                </a:lnTo>
                <a:lnTo>
                  <a:pt x="2323" y="1258"/>
                </a:lnTo>
                <a:lnTo>
                  <a:pt x="2321" y="1260"/>
                </a:lnTo>
                <a:lnTo>
                  <a:pt x="2319" y="1261"/>
                </a:lnTo>
                <a:lnTo>
                  <a:pt x="2316" y="1261"/>
                </a:lnTo>
                <a:lnTo>
                  <a:pt x="2315" y="1262"/>
                </a:lnTo>
                <a:lnTo>
                  <a:pt x="2310" y="1261"/>
                </a:lnTo>
                <a:lnTo>
                  <a:pt x="2308" y="1260"/>
                </a:lnTo>
                <a:lnTo>
                  <a:pt x="2306" y="1258"/>
                </a:lnTo>
                <a:lnTo>
                  <a:pt x="2304" y="1257"/>
                </a:lnTo>
                <a:lnTo>
                  <a:pt x="2303" y="1255"/>
                </a:lnTo>
                <a:lnTo>
                  <a:pt x="2302" y="1252"/>
                </a:lnTo>
                <a:lnTo>
                  <a:pt x="2302" y="1250"/>
                </a:lnTo>
                <a:lnTo>
                  <a:pt x="2302" y="1247"/>
                </a:lnTo>
                <a:lnTo>
                  <a:pt x="2302" y="1245"/>
                </a:lnTo>
                <a:lnTo>
                  <a:pt x="2303" y="1243"/>
                </a:lnTo>
                <a:lnTo>
                  <a:pt x="2304" y="1241"/>
                </a:lnTo>
                <a:lnTo>
                  <a:pt x="2306" y="1239"/>
                </a:lnTo>
                <a:lnTo>
                  <a:pt x="2308" y="1238"/>
                </a:lnTo>
                <a:lnTo>
                  <a:pt x="2310" y="1237"/>
                </a:lnTo>
                <a:lnTo>
                  <a:pt x="2312" y="1236"/>
                </a:lnTo>
                <a:close/>
                <a:moveTo>
                  <a:pt x="2051" y="1282"/>
                </a:moveTo>
                <a:lnTo>
                  <a:pt x="2056" y="1282"/>
                </a:lnTo>
                <a:lnTo>
                  <a:pt x="2058" y="1283"/>
                </a:lnTo>
                <a:lnTo>
                  <a:pt x="2060" y="1284"/>
                </a:lnTo>
                <a:lnTo>
                  <a:pt x="2062" y="1285"/>
                </a:lnTo>
                <a:lnTo>
                  <a:pt x="2063" y="1287"/>
                </a:lnTo>
                <a:lnTo>
                  <a:pt x="2064" y="1289"/>
                </a:lnTo>
                <a:lnTo>
                  <a:pt x="2065" y="1291"/>
                </a:lnTo>
                <a:lnTo>
                  <a:pt x="2066" y="1294"/>
                </a:lnTo>
                <a:lnTo>
                  <a:pt x="2066" y="1296"/>
                </a:lnTo>
                <a:lnTo>
                  <a:pt x="2065" y="1298"/>
                </a:lnTo>
                <a:lnTo>
                  <a:pt x="2064" y="1301"/>
                </a:lnTo>
                <a:lnTo>
                  <a:pt x="2063" y="1303"/>
                </a:lnTo>
                <a:lnTo>
                  <a:pt x="2061" y="1304"/>
                </a:lnTo>
                <a:lnTo>
                  <a:pt x="2059" y="1306"/>
                </a:lnTo>
                <a:lnTo>
                  <a:pt x="2057" y="1307"/>
                </a:lnTo>
                <a:lnTo>
                  <a:pt x="2055" y="1307"/>
                </a:lnTo>
                <a:lnTo>
                  <a:pt x="2051" y="1307"/>
                </a:lnTo>
                <a:lnTo>
                  <a:pt x="2048" y="1306"/>
                </a:lnTo>
                <a:lnTo>
                  <a:pt x="2046" y="1305"/>
                </a:lnTo>
                <a:lnTo>
                  <a:pt x="2045" y="1304"/>
                </a:lnTo>
                <a:lnTo>
                  <a:pt x="2043" y="1302"/>
                </a:lnTo>
                <a:lnTo>
                  <a:pt x="2042" y="1300"/>
                </a:lnTo>
                <a:lnTo>
                  <a:pt x="2041" y="1298"/>
                </a:lnTo>
                <a:lnTo>
                  <a:pt x="2040" y="1296"/>
                </a:lnTo>
                <a:lnTo>
                  <a:pt x="2041" y="1293"/>
                </a:lnTo>
                <a:lnTo>
                  <a:pt x="2041" y="1291"/>
                </a:lnTo>
                <a:lnTo>
                  <a:pt x="2042" y="1288"/>
                </a:lnTo>
                <a:lnTo>
                  <a:pt x="2043" y="1286"/>
                </a:lnTo>
                <a:lnTo>
                  <a:pt x="2045" y="1285"/>
                </a:lnTo>
                <a:lnTo>
                  <a:pt x="2047" y="1283"/>
                </a:lnTo>
                <a:lnTo>
                  <a:pt x="2050" y="1282"/>
                </a:lnTo>
                <a:lnTo>
                  <a:pt x="2051" y="1282"/>
                </a:lnTo>
                <a:close/>
                <a:moveTo>
                  <a:pt x="2115" y="1265"/>
                </a:moveTo>
                <a:lnTo>
                  <a:pt x="2120" y="1265"/>
                </a:lnTo>
                <a:lnTo>
                  <a:pt x="2122" y="1266"/>
                </a:lnTo>
                <a:lnTo>
                  <a:pt x="2124" y="1267"/>
                </a:lnTo>
                <a:lnTo>
                  <a:pt x="2126" y="1269"/>
                </a:lnTo>
                <a:lnTo>
                  <a:pt x="2127" y="1270"/>
                </a:lnTo>
                <a:lnTo>
                  <a:pt x="2129" y="1272"/>
                </a:lnTo>
                <a:lnTo>
                  <a:pt x="2129" y="1275"/>
                </a:lnTo>
                <a:lnTo>
                  <a:pt x="2130" y="1277"/>
                </a:lnTo>
                <a:lnTo>
                  <a:pt x="2130" y="1280"/>
                </a:lnTo>
                <a:lnTo>
                  <a:pt x="2129" y="1282"/>
                </a:lnTo>
                <a:lnTo>
                  <a:pt x="2128" y="1284"/>
                </a:lnTo>
                <a:lnTo>
                  <a:pt x="2126" y="1286"/>
                </a:lnTo>
                <a:lnTo>
                  <a:pt x="2125" y="1288"/>
                </a:lnTo>
                <a:lnTo>
                  <a:pt x="2122" y="1289"/>
                </a:lnTo>
                <a:lnTo>
                  <a:pt x="2120" y="1290"/>
                </a:lnTo>
                <a:lnTo>
                  <a:pt x="2115" y="1290"/>
                </a:lnTo>
                <a:lnTo>
                  <a:pt x="2112" y="1289"/>
                </a:lnTo>
                <a:lnTo>
                  <a:pt x="2110" y="1288"/>
                </a:lnTo>
                <a:lnTo>
                  <a:pt x="2108" y="1287"/>
                </a:lnTo>
                <a:lnTo>
                  <a:pt x="2107" y="1285"/>
                </a:lnTo>
                <a:lnTo>
                  <a:pt x="2105" y="1283"/>
                </a:lnTo>
                <a:lnTo>
                  <a:pt x="2105" y="1281"/>
                </a:lnTo>
                <a:lnTo>
                  <a:pt x="2104" y="1278"/>
                </a:lnTo>
                <a:lnTo>
                  <a:pt x="2105" y="1276"/>
                </a:lnTo>
                <a:lnTo>
                  <a:pt x="2105" y="1273"/>
                </a:lnTo>
                <a:lnTo>
                  <a:pt x="2106" y="1271"/>
                </a:lnTo>
                <a:lnTo>
                  <a:pt x="2108" y="1269"/>
                </a:lnTo>
                <a:lnTo>
                  <a:pt x="2110" y="1267"/>
                </a:lnTo>
                <a:lnTo>
                  <a:pt x="2112" y="1266"/>
                </a:lnTo>
                <a:lnTo>
                  <a:pt x="2114" y="1265"/>
                </a:lnTo>
                <a:lnTo>
                  <a:pt x="2115" y="1265"/>
                </a:lnTo>
                <a:close/>
                <a:moveTo>
                  <a:pt x="2246" y="1242"/>
                </a:moveTo>
                <a:lnTo>
                  <a:pt x="2249" y="1242"/>
                </a:lnTo>
                <a:lnTo>
                  <a:pt x="2252" y="1243"/>
                </a:lnTo>
                <a:lnTo>
                  <a:pt x="2254" y="1243"/>
                </a:lnTo>
                <a:lnTo>
                  <a:pt x="2256" y="1245"/>
                </a:lnTo>
                <a:lnTo>
                  <a:pt x="2258" y="1246"/>
                </a:lnTo>
                <a:lnTo>
                  <a:pt x="2259" y="1248"/>
                </a:lnTo>
                <a:lnTo>
                  <a:pt x="2260" y="1251"/>
                </a:lnTo>
                <a:lnTo>
                  <a:pt x="2261" y="1253"/>
                </a:lnTo>
                <a:lnTo>
                  <a:pt x="2261" y="1256"/>
                </a:lnTo>
                <a:lnTo>
                  <a:pt x="2261" y="1258"/>
                </a:lnTo>
                <a:lnTo>
                  <a:pt x="2258" y="1262"/>
                </a:lnTo>
                <a:lnTo>
                  <a:pt x="2257" y="1264"/>
                </a:lnTo>
                <a:lnTo>
                  <a:pt x="2255" y="1266"/>
                </a:lnTo>
                <a:lnTo>
                  <a:pt x="2253" y="1267"/>
                </a:lnTo>
                <a:lnTo>
                  <a:pt x="2251" y="1267"/>
                </a:lnTo>
                <a:lnTo>
                  <a:pt x="2248" y="1267"/>
                </a:lnTo>
                <a:lnTo>
                  <a:pt x="2245" y="1267"/>
                </a:lnTo>
                <a:lnTo>
                  <a:pt x="2243" y="1266"/>
                </a:lnTo>
                <a:lnTo>
                  <a:pt x="2241" y="1265"/>
                </a:lnTo>
                <a:lnTo>
                  <a:pt x="2239" y="1263"/>
                </a:lnTo>
                <a:lnTo>
                  <a:pt x="2237" y="1261"/>
                </a:lnTo>
                <a:lnTo>
                  <a:pt x="2236" y="1259"/>
                </a:lnTo>
                <a:lnTo>
                  <a:pt x="2236" y="1256"/>
                </a:lnTo>
                <a:lnTo>
                  <a:pt x="2236" y="1254"/>
                </a:lnTo>
                <a:lnTo>
                  <a:pt x="2236" y="1251"/>
                </a:lnTo>
                <a:lnTo>
                  <a:pt x="2238" y="1247"/>
                </a:lnTo>
                <a:lnTo>
                  <a:pt x="2240" y="1245"/>
                </a:lnTo>
                <a:lnTo>
                  <a:pt x="2242" y="1244"/>
                </a:lnTo>
                <a:lnTo>
                  <a:pt x="2244" y="1243"/>
                </a:lnTo>
                <a:lnTo>
                  <a:pt x="2246" y="1242"/>
                </a:lnTo>
                <a:close/>
                <a:moveTo>
                  <a:pt x="2180" y="1252"/>
                </a:moveTo>
                <a:lnTo>
                  <a:pt x="2185" y="1252"/>
                </a:lnTo>
                <a:lnTo>
                  <a:pt x="2187" y="1253"/>
                </a:lnTo>
                <a:lnTo>
                  <a:pt x="2189" y="1254"/>
                </a:lnTo>
                <a:lnTo>
                  <a:pt x="2191" y="1256"/>
                </a:lnTo>
                <a:lnTo>
                  <a:pt x="2193" y="1257"/>
                </a:lnTo>
                <a:lnTo>
                  <a:pt x="2194" y="1260"/>
                </a:lnTo>
                <a:lnTo>
                  <a:pt x="2194" y="1262"/>
                </a:lnTo>
                <a:lnTo>
                  <a:pt x="2194" y="1267"/>
                </a:lnTo>
                <a:lnTo>
                  <a:pt x="2193" y="1270"/>
                </a:lnTo>
                <a:lnTo>
                  <a:pt x="2192" y="1272"/>
                </a:lnTo>
                <a:lnTo>
                  <a:pt x="2191" y="1274"/>
                </a:lnTo>
                <a:lnTo>
                  <a:pt x="2189" y="1275"/>
                </a:lnTo>
                <a:lnTo>
                  <a:pt x="2187" y="1276"/>
                </a:lnTo>
                <a:lnTo>
                  <a:pt x="2184" y="1277"/>
                </a:lnTo>
                <a:lnTo>
                  <a:pt x="2179" y="1277"/>
                </a:lnTo>
                <a:lnTo>
                  <a:pt x="2177" y="1276"/>
                </a:lnTo>
                <a:lnTo>
                  <a:pt x="2175" y="1275"/>
                </a:lnTo>
                <a:lnTo>
                  <a:pt x="2173" y="1273"/>
                </a:lnTo>
                <a:lnTo>
                  <a:pt x="2171" y="1271"/>
                </a:lnTo>
                <a:lnTo>
                  <a:pt x="2170" y="1269"/>
                </a:lnTo>
                <a:lnTo>
                  <a:pt x="2169" y="1267"/>
                </a:lnTo>
                <a:lnTo>
                  <a:pt x="2169" y="1262"/>
                </a:lnTo>
                <a:lnTo>
                  <a:pt x="2170" y="1259"/>
                </a:lnTo>
                <a:lnTo>
                  <a:pt x="2171" y="1257"/>
                </a:lnTo>
                <a:lnTo>
                  <a:pt x="2173" y="1255"/>
                </a:lnTo>
                <a:lnTo>
                  <a:pt x="2175" y="1254"/>
                </a:lnTo>
                <a:lnTo>
                  <a:pt x="2177" y="1253"/>
                </a:lnTo>
                <a:lnTo>
                  <a:pt x="2180" y="1252"/>
                </a:lnTo>
                <a:close/>
                <a:moveTo>
                  <a:pt x="717" y="2229"/>
                </a:moveTo>
                <a:lnTo>
                  <a:pt x="721" y="2229"/>
                </a:lnTo>
                <a:lnTo>
                  <a:pt x="723" y="2229"/>
                </a:lnTo>
                <a:lnTo>
                  <a:pt x="725" y="2230"/>
                </a:lnTo>
                <a:lnTo>
                  <a:pt x="727" y="2231"/>
                </a:lnTo>
                <a:lnTo>
                  <a:pt x="729" y="2233"/>
                </a:lnTo>
                <a:lnTo>
                  <a:pt x="730" y="2235"/>
                </a:lnTo>
                <a:lnTo>
                  <a:pt x="731" y="2237"/>
                </a:lnTo>
                <a:lnTo>
                  <a:pt x="732" y="2242"/>
                </a:lnTo>
                <a:lnTo>
                  <a:pt x="732" y="2245"/>
                </a:lnTo>
                <a:lnTo>
                  <a:pt x="731" y="2247"/>
                </a:lnTo>
                <a:lnTo>
                  <a:pt x="729" y="2250"/>
                </a:lnTo>
                <a:lnTo>
                  <a:pt x="727" y="2252"/>
                </a:lnTo>
                <a:lnTo>
                  <a:pt x="724" y="2253"/>
                </a:lnTo>
                <a:lnTo>
                  <a:pt x="722" y="2254"/>
                </a:lnTo>
                <a:lnTo>
                  <a:pt x="718" y="2254"/>
                </a:lnTo>
                <a:lnTo>
                  <a:pt x="716" y="2254"/>
                </a:lnTo>
                <a:lnTo>
                  <a:pt x="714" y="2253"/>
                </a:lnTo>
                <a:lnTo>
                  <a:pt x="712" y="2252"/>
                </a:lnTo>
                <a:lnTo>
                  <a:pt x="710" y="2250"/>
                </a:lnTo>
                <a:lnTo>
                  <a:pt x="708" y="2248"/>
                </a:lnTo>
                <a:lnTo>
                  <a:pt x="707" y="2246"/>
                </a:lnTo>
                <a:lnTo>
                  <a:pt x="707" y="2241"/>
                </a:lnTo>
                <a:lnTo>
                  <a:pt x="707" y="2239"/>
                </a:lnTo>
                <a:lnTo>
                  <a:pt x="708" y="2236"/>
                </a:lnTo>
                <a:lnTo>
                  <a:pt x="710" y="2234"/>
                </a:lnTo>
                <a:lnTo>
                  <a:pt x="712" y="2231"/>
                </a:lnTo>
                <a:lnTo>
                  <a:pt x="714" y="2230"/>
                </a:lnTo>
                <a:lnTo>
                  <a:pt x="717" y="2229"/>
                </a:lnTo>
                <a:close/>
                <a:moveTo>
                  <a:pt x="747" y="2170"/>
                </a:moveTo>
                <a:lnTo>
                  <a:pt x="751" y="2169"/>
                </a:lnTo>
                <a:lnTo>
                  <a:pt x="753" y="2170"/>
                </a:lnTo>
                <a:lnTo>
                  <a:pt x="755" y="2171"/>
                </a:lnTo>
                <a:lnTo>
                  <a:pt x="757" y="2172"/>
                </a:lnTo>
                <a:lnTo>
                  <a:pt x="759" y="2174"/>
                </a:lnTo>
                <a:lnTo>
                  <a:pt x="760" y="2176"/>
                </a:lnTo>
                <a:lnTo>
                  <a:pt x="761" y="2178"/>
                </a:lnTo>
                <a:lnTo>
                  <a:pt x="762" y="2183"/>
                </a:lnTo>
                <a:lnTo>
                  <a:pt x="762" y="2185"/>
                </a:lnTo>
                <a:lnTo>
                  <a:pt x="761" y="2188"/>
                </a:lnTo>
                <a:lnTo>
                  <a:pt x="759" y="2190"/>
                </a:lnTo>
                <a:lnTo>
                  <a:pt x="757" y="2192"/>
                </a:lnTo>
                <a:lnTo>
                  <a:pt x="754" y="2194"/>
                </a:lnTo>
                <a:lnTo>
                  <a:pt x="752" y="2195"/>
                </a:lnTo>
                <a:lnTo>
                  <a:pt x="748" y="2195"/>
                </a:lnTo>
                <a:lnTo>
                  <a:pt x="746" y="2194"/>
                </a:lnTo>
                <a:lnTo>
                  <a:pt x="744" y="2194"/>
                </a:lnTo>
                <a:lnTo>
                  <a:pt x="741" y="2192"/>
                </a:lnTo>
                <a:lnTo>
                  <a:pt x="740" y="2190"/>
                </a:lnTo>
                <a:lnTo>
                  <a:pt x="738" y="2188"/>
                </a:lnTo>
                <a:lnTo>
                  <a:pt x="737" y="2186"/>
                </a:lnTo>
                <a:lnTo>
                  <a:pt x="737" y="2181"/>
                </a:lnTo>
                <a:lnTo>
                  <a:pt x="737" y="2179"/>
                </a:lnTo>
                <a:lnTo>
                  <a:pt x="738" y="2176"/>
                </a:lnTo>
                <a:lnTo>
                  <a:pt x="740" y="2174"/>
                </a:lnTo>
                <a:lnTo>
                  <a:pt x="742" y="2172"/>
                </a:lnTo>
                <a:lnTo>
                  <a:pt x="744" y="2170"/>
                </a:lnTo>
                <a:lnTo>
                  <a:pt x="747" y="2170"/>
                </a:lnTo>
                <a:close/>
                <a:moveTo>
                  <a:pt x="777" y="2111"/>
                </a:moveTo>
                <a:lnTo>
                  <a:pt x="781" y="2111"/>
                </a:lnTo>
                <a:lnTo>
                  <a:pt x="785" y="2112"/>
                </a:lnTo>
                <a:lnTo>
                  <a:pt x="787" y="2113"/>
                </a:lnTo>
                <a:lnTo>
                  <a:pt x="789" y="2115"/>
                </a:lnTo>
                <a:lnTo>
                  <a:pt x="791" y="2117"/>
                </a:lnTo>
                <a:lnTo>
                  <a:pt x="792" y="2119"/>
                </a:lnTo>
                <a:lnTo>
                  <a:pt x="792" y="2122"/>
                </a:lnTo>
                <a:lnTo>
                  <a:pt x="792" y="2124"/>
                </a:lnTo>
                <a:lnTo>
                  <a:pt x="792" y="2127"/>
                </a:lnTo>
                <a:lnTo>
                  <a:pt x="791" y="2129"/>
                </a:lnTo>
                <a:lnTo>
                  <a:pt x="789" y="2132"/>
                </a:lnTo>
                <a:lnTo>
                  <a:pt x="787" y="2134"/>
                </a:lnTo>
                <a:lnTo>
                  <a:pt x="784" y="2135"/>
                </a:lnTo>
                <a:lnTo>
                  <a:pt x="782" y="2136"/>
                </a:lnTo>
                <a:lnTo>
                  <a:pt x="777" y="2136"/>
                </a:lnTo>
                <a:lnTo>
                  <a:pt x="773" y="2135"/>
                </a:lnTo>
                <a:lnTo>
                  <a:pt x="771" y="2133"/>
                </a:lnTo>
                <a:lnTo>
                  <a:pt x="769" y="2131"/>
                </a:lnTo>
                <a:lnTo>
                  <a:pt x="768" y="2129"/>
                </a:lnTo>
                <a:lnTo>
                  <a:pt x="767" y="2127"/>
                </a:lnTo>
                <a:lnTo>
                  <a:pt x="767" y="2125"/>
                </a:lnTo>
                <a:lnTo>
                  <a:pt x="767" y="2122"/>
                </a:lnTo>
                <a:lnTo>
                  <a:pt x="767" y="2120"/>
                </a:lnTo>
                <a:lnTo>
                  <a:pt x="768" y="2117"/>
                </a:lnTo>
                <a:lnTo>
                  <a:pt x="770" y="2115"/>
                </a:lnTo>
                <a:lnTo>
                  <a:pt x="772" y="2113"/>
                </a:lnTo>
                <a:lnTo>
                  <a:pt x="774" y="2111"/>
                </a:lnTo>
                <a:lnTo>
                  <a:pt x="777" y="2111"/>
                </a:lnTo>
                <a:close/>
                <a:moveTo>
                  <a:pt x="808" y="2052"/>
                </a:moveTo>
                <a:lnTo>
                  <a:pt x="813" y="2052"/>
                </a:lnTo>
                <a:lnTo>
                  <a:pt x="817" y="2054"/>
                </a:lnTo>
                <a:lnTo>
                  <a:pt x="819" y="2055"/>
                </a:lnTo>
                <a:lnTo>
                  <a:pt x="821" y="2057"/>
                </a:lnTo>
                <a:lnTo>
                  <a:pt x="822" y="2059"/>
                </a:lnTo>
                <a:lnTo>
                  <a:pt x="823" y="2061"/>
                </a:lnTo>
                <a:lnTo>
                  <a:pt x="823" y="2064"/>
                </a:lnTo>
                <a:lnTo>
                  <a:pt x="823" y="2066"/>
                </a:lnTo>
                <a:lnTo>
                  <a:pt x="823" y="2069"/>
                </a:lnTo>
                <a:lnTo>
                  <a:pt x="822" y="2071"/>
                </a:lnTo>
                <a:lnTo>
                  <a:pt x="820" y="2073"/>
                </a:lnTo>
                <a:lnTo>
                  <a:pt x="818" y="2075"/>
                </a:lnTo>
                <a:lnTo>
                  <a:pt x="815" y="2077"/>
                </a:lnTo>
                <a:lnTo>
                  <a:pt x="813" y="2077"/>
                </a:lnTo>
                <a:lnTo>
                  <a:pt x="809" y="2078"/>
                </a:lnTo>
                <a:lnTo>
                  <a:pt x="804" y="2076"/>
                </a:lnTo>
                <a:lnTo>
                  <a:pt x="802" y="2075"/>
                </a:lnTo>
                <a:lnTo>
                  <a:pt x="801" y="2073"/>
                </a:lnTo>
                <a:lnTo>
                  <a:pt x="799" y="2071"/>
                </a:lnTo>
                <a:lnTo>
                  <a:pt x="798" y="2068"/>
                </a:lnTo>
                <a:lnTo>
                  <a:pt x="798" y="2066"/>
                </a:lnTo>
                <a:lnTo>
                  <a:pt x="798" y="2064"/>
                </a:lnTo>
                <a:lnTo>
                  <a:pt x="798" y="2061"/>
                </a:lnTo>
                <a:lnTo>
                  <a:pt x="799" y="2059"/>
                </a:lnTo>
                <a:lnTo>
                  <a:pt x="801" y="2056"/>
                </a:lnTo>
                <a:lnTo>
                  <a:pt x="803" y="2054"/>
                </a:lnTo>
                <a:lnTo>
                  <a:pt x="806" y="2053"/>
                </a:lnTo>
                <a:lnTo>
                  <a:pt x="808" y="2052"/>
                </a:lnTo>
                <a:close/>
                <a:moveTo>
                  <a:pt x="841" y="1995"/>
                </a:moveTo>
                <a:lnTo>
                  <a:pt x="845" y="1995"/>
                </a:lnTo>
                <a:lnTo>
                  <a:pt x="847" y="1995"/>
                </a:lnTo>
                <a:lnTo>
                  <a:pt x="849" y="1996"/>
                </a:lnTo>
                <a:lnTo>
                  <a:pt x="851" y="1998"/>
                </a:lnTo>
                <a:lnTo>
                  <a:pt x="853" y="1999"/>
                </a:lnTo>
                <a:lnTo>
                  <a:pt x="854" y="2002"/>
                </a:lnTo>
                <a:lnTo>
                  <a:pt x="855" y="2004"/>
                </a:lnTo>
                <a:lnTo>
                  <a:pt x="856" y="2006"/>
                </a:lnTo>
                <a:lnTo>
                  <a:pt x="856" y="2009"/>
                </a:lnTo>
                <a:lnTo>
                  <a:pt x="855" y="2011"/>
                </a:lnTo>
                <a:lnTo>
                  <a:pt x="854" y="2014"/>
                </a:lnTo>
                <a:lnTo>
                  <a:pt x="853" y="2015"/>
                </a:lnTo>
                <a:lnTo>
                  <a:pt x="852" y="2016"/>
                </a:lnTo>
                <a:lnTo>
                  <a:pt x="850" y="2018"/>
                </a:lnTo>
                <a:lnTo>
                  <a:pt x="848" y="2019"/>
                </a:lnTo>
                <a:lnTo>
                  <a:pt x="845" y="2020"/>
                </a:lnTo>
                <a:lnTo>
                  <a:pt x="841" y="2020"/>
                </a:lnTo>
                <a:lnTo>
                  <a:pt x="839" y="2019"/>
                </a:lnTo>
                <a:lnTo>
                  <a:pt x="837" y="2018"/>
                </a:lnTo>
                <a:lnTo>
                  <a:pt x="834" y="2017"/>
                </a:lnTo>
                <a:lnTo>
                  <a:pt x="833" y="2015"/>
                </a:lnTo>
                <a:lnTo>
                  <a:pt x="831" y="2013"/>
                </a:lnTo>
                <a:lnTo>
                  <a:pt x="831" y="2011"/>
                </a:lnTo>
                <a:lnTo>
                  <a:pt x="830" y="2008"/>
                </a:lnTo>
                <a:lnTo>
                  <a:pt x="830" y="2006"/>
                </a:lnTo>
                <a:lnTo>
                  <a:pt x="831" y="2003"/>
                </a:lnTo>
                <a:lnTo>
                  <a:pt x="832" y="2001"/>
                </a:lnTo>
                <a:lnTo>
                  <a:pt x="833" y="2000"/>
                </a:lnTo>
                <a:lnTo>
                  <a:pt x="834" y="1998"/>
                </a:lnTo>
                <a:lnTo>
                  <a:pt x="836" y="1997"/>
                </a:lnTo>
                <a:lnTo>
                  <a:pt x="838" y="1995"/>
                </a:lnTo>
                <a:lnTo>
                  <a:pt x="841" y="1995"/>
                </a:lnTo>
                <a:close/>
                <a:moveTo>
                  <a:pt x="874" y="1938"/>
                </a:moveTo>
                <a:lnTo>
                  <a:pt x="879" y="1938"/>
                </a:lnTo>
                <a:lnTo>
                  <a:pt x="881" y="1938"/>
                </a:lnTo>
                <a:lnTo>
                  <a:pt x="883" y="1939"/>
                </a:lnTo>
                <a:lnTo>
                  <a:pt x="885" y="1941"/>
                </a:lnTo>
                <a:lnTo>
                  <a:pt x="887" y="1943"/>
                </a:lnTo>
                <a:lnTo>
                  <a:pt x="888" y="1945"/>
                </a:lnTo>
                <a:lnTo>
                  <a:pt x="889" y="1947"/>
                </a:lnTo>
                <a:lnTo>
                  <a:pt x="889" y="1950"/>
                </a:lnTo>
                <a:lnTo>
                  <a:pt x="889" y="1952"/>
                </a:lnTo>
                <a:lnTo>
                  <a:pt x="889" y="1954"/>
                </a:lnTo>
                <a:lnTo>
                  <a:pt x="888" y="1957"/>
                </a:lnTo>
                <a:lnTo>
                  <a:pt x="886" y="1959"/>
                </a:lnTo>
                <a:lnTo>
                  <a:pt x="884" y="1961"/>
                </a:lnTo>
                <a:lnTo>
                  <a:pt x="881" y="1962"/>
                </a:lnTo>
                <a:lnTo>
                  <a:pt x="879" y="1963"/>
                </a:lnTo>
                <a:lnTo>
                  <a:pt x="874" y="1963"/>
                </a:lnTo>
                <a:lnTo>
                  <a:pt x="872" y="1962"/>
                </a:lnTo>
                <a:lnTo>
                  <a:pt x="870" y="1961"/>
                </a:lnTo>
                <a:lnTo>
                  <a:pt x="868" y="1960"/>
                </a:lnTo>
                <a:lnTo>
                  <a:pt x="866" y="1958"/>
                </a:lnTo>
                <a:lnTo>
                  <a:pt x="865" y="1956"/>
                </a:lnTo>
                <a:lnTo>
                  <a:pt x="864" y="1953"/>
                </a:lnTo>
                <a:lnTo>
                  <a:pt x="864" y="1951"/>
                </a:lnTo>
                <a:lnTo>
                  <a:pt x="864" y="1948"/>
                </a:lnTo>
                <a:lnTo>
                  <a:pt x="865" y="1946"/>
                </a:lnTo>
                <a:lnTo>
                  <a:pt x="866" y="1944"/>
                </a:lnTo>
                <a:lnTo>
                  <a:pt x="867" y="1941"/>
                </a:lnTo>
                <a:lnTo>
                  <a:pt x="869" y="1940"/>
                </a:lnTo>
                <a:lnTo>
                  <a:pt x="872" y="1938"/>
                </a:lnTo>
                <a:lnTo>
                  <a:pt x="874" y="1938"/>
                </a:lnTo>
                <a:close/>
                <a:moveTo>
                  <a:pt x="909" y="1881"/>
                </a:moveTo>
                <a:lnTo>
                  <a:pt x="914" y="1881"/>
                </a:lnTo>
                <a:lnTo>
                  <a:pt x="916" y="1882"/>
                </a:lnTo>
                <a:lnTo>
                  <a:pt x="918" y="1883"/>
                </a:lnTo>
                <a:lnTo>
                  <a:pt x="920" y="1885"/>
                </a:lnTo>
                <a:lnTo>
                  <a:pt x="922" y="1887"/>
                </a:lnTo>
                <a:lnTo>
                  <a:pt x="923" y="1889"/>
                </a:lnTo>
                <a:lnTo>
                  <a:pt x="924" y="1891"/>
                </a:lnTo>
                <a:lnTo>
                  <a:pt x="924" y="1894"/>
                </a:lnTo>
                <a:lnTo>
                  <a:pt x="924" y="1896"/>
                </a:lnTo>
                <a:lnTo>
                  <a:pt x="923" y="1899"/>
                </a:lnTo>
                <a:lnTo>
                  <a:pt x="922" y="1901"/>
                </a:lnTo>
                <a:lnTo>
                  <a:pt x="921" y="1903"/>
                </a:lnTo>
                <a:lnTo>
                  <a:pt x="918" y="1905"/>
                </a:lnTo>
                <a:lnTo>
                  <a:pt x="916" y="1906"/>
                </a:lnTo>
                <a:lnTo>
                  <a:pt x="914" y="1907"/>
                </a:lnTo>
                <a:lnTo>
                  <a:pt x="909" y="1907"/>
                </a:lnTo>
                <a:lnTo>
                  <a:pt x="907" y="1906"/>
                </a:lnTo>
                <a:lnTo>
                  <a:pt x="905" y="1905"/>
                </a:lnTo>
                <a:lnTo>
                  <a:pt x="903" y="1903"/>
                </a:lnTo>
                <a:lnTo>
                  <a:pt x="901" y="1901"/>
                </a:lnTo>
                <a:lnTo>
                  <a:pt x="900" y="1899"/>
                </a:lnTo>
                <a:lnTo>
                  <a:pt x="899" y="1897"/>
                </a:lnTo>
                <a:lnTo>
                  <a:pt x="899" y="1894"/>
                </a:lnTo>
                <a:lnTo>
                  <a:pt x="899" y="1892"/>
                </a:lnTo>
                <a:lnTo>
                  <a:pt x="899" y="1889"/>
                </a:lnTo>
                <a:lnTo>
                  <a:pt x="901" y="1887"/>
                </a:lnTo>
                <a:lnTo>
                  <a:pt x="902" y="1885"/>
                </a:lnTo>
                <a:lnTo>
                  <a:pt x="904" y="1883"/>
                </a:lnTo>
                <a:lnTo>
                  <a:pt x="907" y="1882"/>
                </a:lnTo>
                <a:lnTo>
                  <a:pt x="909" y="1881"/>
                </a:lnTo>
                <a:close/>
                <a:moveTo>
                  <a:pt x="945" y="1826"/>
                </a:moveTo>
                <a:lnTo>
                  <a:pt x="950" y="1826"/>
                </a:lnTo>
                <a:lnTo>
                  <a:pt x="952" y="1827"/>
                </a:lnTo>
                <a:lnTo>
                  <a:pt x="955" y="1828"/>
                </a:lnTo>
                <a:lnTo>
                  <a:pt x="957" y="1830"/>
                </a:lnTo>
                <a:lnTo>
                  <a:pt x="958" y="1831"/>
                </a:lnTo>
                <a:lnTo>
                  <a:pt x="959" y="1834"/>
                </a:lnTo>
                <a:lnTo>
                  <a:pt x="960" y="1836"/>
                </a:lnTo>
                <a:lnTo>
                  <a:pt x="960" y="1841"/>
                </a:lnTo>
                <a:lnTo>
                  <a:pt x="959" y="1843"/>
                </a:lnTo>
                <a:lnTo>
                  <a:pt x="958" y="1846"/>
                </a:lnTo>
                <a:lnTo>
                  <a:pt x="956" y="1848"/>
                </a:lnTo>
                <a:lnTo>
                  <a:pt x="954" y="1849"/>
                </a:lnTo>
                <a:lnTo>
                  <a:pt x="952" y="1850"/>
                </a:lnTo>
                <a:lnTo>
                  <a:pt x="950" y="1851"/>
                </a:lnTo>
                <a:lnTo>
                  <a:pt x="945" y="1851"/>
                </a:lnTo>
                <a:lnTo>
                  <a:pt x="943" y="1850"/>
                </a:lnTo>
                <a:lnTo>
                  <a:pt x="940" y="1849"/>
                </a:lnTo>
                <a:lnTo>
                  <a:pt x="938" y="1848"/>
                </a:lnTo>
                <a:lnTo>
                  <a:pt x="937" y="1846"/>
                </a:lnTo>
                <a:lnTo>
                  <a:pt x="936" y="1843"/>
                </a:lnTo>
                <a:lnTo>
                  <a:pt x="935" y="1841"/>
                </a:lnTo>
                <a:lnTo>
                  <a:pt x="935" y="1836"/>
                </a:lnTo>
                <a:lnTo>
                  <a:pt x="936" y="1834"/>
                </a:lnTo>
                <a:lnTo>
                  <a:pt x="937" y="1831"/>
                </a:lnTo>
                <a:lnTo>
                  <a:pt x="939" y="1829"/>
                </a:lnTo>
                <a:lnTo>
                  <a:pt x="941" y="1828"/>
                </a:lnTo>
                <a:lnTo>
                  <a:pt x="943" y="1827"/>
                </a:lnTo>
                <a:lnTo>
                  <a:pt x="945" y="1826"/>
                </a:lnTo>
                <a:close/>
                <a:moveTo>
                  <a:pt x="983" y="1771"/>
                </a:moveTo>
                <a:lnTo>
                  <a:pt x="988" y="1771"/>
                </a:lnTo>
                <a:lnTo>
                  <a:pt x="990" y="1772"/>
                </a:lnTo>
                <a:lnTo>
                  <a:pt x="992" y="1773"/>
                </a:lnTo>
                <a:lnTo>
                  <a:pt x="994" y="1775"/>
                </a:lnTo>
                <a:lnTo>
                  <a:pt x="996" y="1777"/>
                </a:lnTo>
                <a:lnTo>
                  <a:pt x="997" y="1779"/>
                </a:lnTo>
                <a:lnTo>
                  <a:pt x="998" y="1782"/>
                </a:lnTo>
                <a:lnTo>
                  <a:pt x="997" y="1787"/>
                </a:lnTo>
                <a:lnTo>
                  <a:pt x="997" y="1789"/>
                </a:lnTo>
                <a:lnTo>
                  <a:pt x="995" y="1791"/>
                </a:lnTo>
                <a:lnTo>
                  <a:pt x="994" y="1793"/>
                </a:lnTo>
                <a:lnTo>
                  <a:pt x="992" y="1795"/>
                </a:lnTo>
                <a:lnTo>
                  <a:pt x="990" y="1796"/>
                </a:lnTo>
                <a:lnTo>
                  <a:pt x="987" y="1797"/>
                </a:lnTo>
                <a:lnTo>
                  <a:pt x="982" y="1796"/>
                </a:lnTo>
                <a:lnTo>
                  <a:pt x="980" y="1796"/>
                </a:lnTo>
                <a:lnTo>
                  <a:pt x="978" y="1794"/>
                </a:lnTo>
                <a:lnTo>
                  <a:pt x="976" y="1793"/>
                </a:lnTo>
                <a:lnTo>
                  <a:pt x="974" y="1791"/>
                </a:lnTo>
                <a:lnTo>
                  <a:pt x="973" y="1789"/>
                </a:lnTo>
                <a:lnTo>
                  <a:pt x="972" y="1786"/>
                </a:lnTo>
                <a:lnTo>
                  <a:pt x="972" y="1781"/>
                </a:lnTo>
                <a:lnTo>
                  <a:pt x="973" y="1779"/>
                </a:lnTo>
                <a:lnTo>
                  <a:pt x="974" y="1777"/>
                </a:lnTo>
                <a:lnTo>
                  <a:pt x="976" y="1775"/>
                </a:lnTo>
                <a:lnTo>
                  <a:pt x="978" y="1773"/>
                </a:lnTo>
                <a:lnTo>
                  <a:pt x="980" y="1772"/>
                </a:lnTo>
                <a:lnTo>
                  <a:pt x="983" y="1771"/>
                </a:lnTo>
                <a:close/>
                <a:moveTo>
                  <a:pt x="1021" y="1718"/>
                </a:moveTo>
                <a:lnTo>
                  <a:pt x="1026" y="1718"/>
                </a:lnTo>
                <a:lnTo>
                  <a:pt x="1029" y="1719"/>
                </a:lnTo>
                <a:lnTo>
                  <a:pt x="1031" y="1720"/>
                </a:lnTo>
                <a:lnTo>
                  <a:pt x="1033" y="1722"/>
                </a:lnTo>
                <a:lnTo>
                  <a:pt x="1035" y="1724"/>
                </a:lnTo>
                <a:lnTo>
                  <a:pt x="1036" y="1726"/>
                </a:lnTo>
                <a:lnTo>
                  <a:pt x="1036" y="1728"/>
                </a:lnTo>
                <a:lnTo>
                  <a:pt x="1036" y="1731"/>
                </a:lnTo>
                <a:lnTo>
                  <a:pt x="1036" y="1733"/>
                </a:lnTo>
                <a:lnTo>
                  <a:pt x="1035" y="1736"/>
                </a:lnTo>
                <a:lnTo>
                  <a:pt x="1034" y="1738"/>
                </a:lnTo>
                <a:lnTo>
                  <a:pt x="1032" y="1740"/>
                </a:lnTo>
                <a:lnTo>
                  <a:pt x="1030" y="1741"/>
                </a:lnTo>
                <a:lnTo>
                  <a:pt x="1028" y="1742"/>
                </a:lnTo>
                <a:lnTo>
                  <a:pt x="1026" y="1743"/>
                </a:lnTo>
                <a:lnTo>
                  <a:pt x="1021" y="1743"/>
                </a:lnTo>
                <a:lnTo>
                  <a:pt x="1018" y="1742"/>
                </a:lnTo>
                <a:lnTo>
                  <a:pt x="1016" y="1741"/>
                </a:lnTo>
                <a:lnTo>
                  <a:pt x="1014" y="1739"/>
                </a:lnTo>
                <a:lnTo>
                  <a:pt x="1013" y="1737"/>
                </a:lnTo>
                <a:lnTo>
                  <a:pt x="1012" y="1735"/>
                </a:lnTo>
                <a:lnTo>
                  <a:pt x="1011" y="1732"/>
                </a:lnTo>
                <a:lnTo>
                  <a:pt x="1011" y="1730"/>
                </a:lnTo>
                <a:lnTo>
                  <a:pt x="1011" y="1727"/>
                </a:lnTo>
                <a:lnTo>
                  <a:pt x="1012" y="1725"/>
                </a:lnTo>
                <a:lnTo>
                  <a:pt x="1013" y="1723"/>
                </a:lnTo>
                <a:lnTo>
                  <a:pt x="1015" y="1721"/>
                </a:lnTo>
                <a:lnTo>
                  <a:pt x="1017" y="1719"/>
                </a:lnTo>
                <a:lnTo>
                  <a:pt x="1019" y="1718"/>
                </a:lnTo>
                <a:lnTo>
                  <a:pt x="1021" y="1718"/>
                </a:lnTo>
                <a:close/>
                <a:moveTo>
                  <a:pt x="1061" y="1665"/>
                </a:moveTo>
                <a:lnTo>
                  <a:pt x="1064" y="1665"/>
                </a:lnTo>
                <a:lnTo>
                  <a:pt x="1067" y="1665"/>
                </a:lnTo>
                <a:lnTo>
                  <a:pt x="1069" y="1666"/>
                </a:lnTo>
                <a:lnTo>
                  <a:pt x="1072" y="1667"/>
                </a:lnTo>
                <a:lnTo>
                  <a:pt x="1073" y="1669"/>
                </a:lnTo>
                <a:lnTo>
                  <a:pt x="1075" y="1671"/>
                </a:lnTo>
                <a:lnTo>
                  <a:pt x="1076" y="1674"/>
                </a:lnTo>
                <a:lnTo>
                  <a:pt x="1076" y="1676"/>
                </a:lnTo>
                <a:lnTo>
                  <a:pt x="1076" y="1678"/>
                </a:lnTo>
                <a:lnTo>
                  <a:pt x="1076" y="1681"/>
                </a:lnTo>
                <a:lnTo>
                  <a:pt x="1075" y="1683"/>
                </a:lnTo>
                <a:lnTo>
                  <a:pt x="1074" y="1685"/>
                </a:lnTo>
                <a:lnTo>
                  <a:pt x="1070" y="1689"/>
                </a:lnTo>
                <a:lnTo>
                  <a:pt x="1068" y="1690"/>
                </a:lnTo>
                <a:lnTo>
                  <a:pt x="1066" y="1690"/>
                </a:lnTo>
                <a:lnTo>
                  <a:pt x="1063" y="1690"/>
                </a:lnTo>
                <a:lnTo>
                  <a:pt x="1061" y="1690"/>
                </a:lnTo>
                <a:lnTo>
                  <a:pt x="1058" y="1689"/>
                </a:lnTo>
                <a:lnTo>
                  <a:pt x="1056" y="1688"/>
                </a:lnTo>
                <a:lnTo>
                  <a:pt x="1054" y="1686"/>
                </a:lnTo>
                <a:lnTo>
                  <a:pt x="1052" y="1684"/>
                </a:lnTo>
                <a:lnTo>
                  <a:pt x="1051" y="1682"/>
                </a:lnTo>
                <a:lnTo>
                  <a:pt x="1051" y="1679"/>
                </a:lnTo>
                <a:lnTo>
                  <a:pt x="1051" y="1677"/>
                </a:lnTo>
                <a:lnTo>
                  <a:pt x="1051" y="1674"/>
                </a:lnTo>
                <a:lnTo>
                  <a:pt x="1052" y="1672"/>
                </a:lnTo>
                <a:lnTo>
                  <a:pt x="1054" y="1670"/>
                </a:lnTo>
                <a:lnTo>
                  <a:pt x="1057" y="1667"/>
                </a:lnTo>
                <a:lnTo>
                  <a:pt x="1059" y="1666"/>
                </a:lnTo>
                <a:lnTo>
                  <a:pt x="1061" y="1665"/>
                </a:lnTo>
                <a:close/>
                <a:moveTo>
                  <a:pt x="1103" y="1613"/>
                </a:moveTo>
                <a:lnTo>
                  <a:pt x="1105" y="1613"/>
                </a:lnTo>
                <a:lnTo>
                  <a:pt x="1108" y="1614"/>
                </a:lnTo>
                <a:lnTo>
                  <a:pt x="1111" y="1615"/>
                </a:lnTo>
                <a:lnTo>
                  <a:pt x="1113" y="1616"/>
                </a:lnTo>
                <a:lnTo>
                  <a:pt x="1115" y="1618"/>
                </a:lnTo>
                <a:lnTo>
                  <a:pt x="1116" y="1620"/>
                </a:lnTo>
                <a:lnTo>
                  <a:pt x="1117" y="1622"/>
                </a:lnTo>
                <a:lnTo>
                  <a:pt x="1118" y="1625"/>
                </a:lnTo>
                <a:lnTo>
                  <a:pt x="1118" y="1627"/>
                </a:lnTo>
                <a:lnTo>
                  <a:pt x="1117" y="1630"/>
                </a:lnTo>
                <a:lnTo>
                  <a:pt x="1116" y="1632"/>
                </a:lnTo>
                <a:lnTo>
                  <a:pt x="1115" y="1634"/>
                </a:lnTo>
                <a:lnTo>
                  <a:pt x="1113" y="1636"/>
                </a:lnTo>
                <a:lnTo>
                  <a:pt x="1111" y="1637"/>
                </a:lnTo>
                <a:lnTo>
                  <a:pt x="1109" y="1638"/>
                </a:lnTo>
                <a:lnTo>
                  <a:pt x="1107" y="1639"/>
                </a:lnTo>
                <a:lnTo>
                  <a:pt x="1105" y="1639"/>
                </a:lnTo>
                <a:lnTo>
                  <a:pt x="1102" y="1638"/>
                </a:lnTo>
                <a:lnTo>
                  <a:pt x="1099" y="1637"/>
                </a:lnTo>
                <a:lnTo>
                  <a:pt x="1097" y="1636"/>
                </a:lnTo>
                <a:lnTo>
                  <a:pt x="1095" y="1634"/>
                </a:lnTo>
                <a:lnTo>
                  <a:pt x="1094" y="1632"/>
                </a:lnTo>
                <a:lnTo>
                  <a:pt x="1093" y="1630"/>
                </a:lnTo>
                <a:lnTo>
                  <a:pt x="1092" y="1627"/>
                </a:lnTo>
                <a:lnTo>
                  <a:pt x="1092" y="1625"/>
                </a:lnTo>
                <a:lnTo>
                  <a:pt x="1093" y="1622"/>
                </a:lnTo>
                <a:lnTo>
                  <a:pt x="1094" y="1620"/>
                </a:lnTo>
                <a:lnTo>
                  <a:pt x="1095" y="1618"/>
                </a:lnTo>
                <a:lnTo>
                  <a:pt x="1097" y="1616"/>
                </a:lnTo>
                <a:lnTo>
                  <a:pt x="1099" y="1615"/>
                </a:lnTo>
                <a:lnTo>
                  <a:pt x="1101" y="1614"/>
                </a:lnTo>
                <a:lnTo>
                  <a:pt x="1103" y="1613"/>
                </a:lnTo>
                <a:close/>
                <a:moveTo>
                  <a:pt x="1146" y="1563"/>
                </a:moveTo>
                <a:lnTo>
                  <a:pt x="1148" y="1563"/>
                </a:lnTo>
                <a:lnTo>
                  <a:pt x="1151" y="1563"/>
                </a:lnTo>
                <a:lnTo>
                  <a:pt x="1154" y="1564"/>
                </a:lnTo>
                <a:lnTo>
                  <a:pt x="1156" y="1566"/>
                </a:lnTo>
                <a:lnTo>
                  <a:pt x="1158" y="1568"/>
                </a:lnTo>
                <a:lnTo>
                  <a:pt x="1159" y="1570"/>
                </a:lnTo>
                <a:lnTo>
                  <a:pt x="1160" y="1572"/>
                </a:lnTo>
                <a:lnTo>
                  <a:pt x="1161" y="1575"/>
                </a:lnTo>
                <a:lnTo>
                  <a:pt x="1160" y="1577"/>
                </a:lnTo>
                <a:lnTo>
                  <a:pt x="1160" y="1579"/>
                </a:lnTo>
                <a:lnTo>
                  <a:pt x="1159" y="1582"/>
                </a:lnTo>
                <a:lnTo>
                  <a:pt x="1157" y="1584"/>
                </a:lnTo>
                <a:lnTo>
                  <a:pt x="1156" y="1585"/>
                </a:lnTo>
                <a:lnTo>
                  <a:pt x="1154" y="1587"/>
                </a:lnTo>
                <a:lnTo>
                  <a:pt x="1152" y="1588"/>
                </a:lnTo>
                <a:lnTo>
                  <a:pt x="1150" y="1588"/>
                </a:lnTo>
                <a:lnTo>
                  <a:pt x="1147" y="1588"/>
                </a:lnTo>
                <a:lnTo>
                  <a:pt x="1144" y="1588"/>
                </a:lnTo>
                <a:lnTo>
                  <a:pt x="1142" y="1587"/>
                </a:lnTo>
                <a:lnTo>
                  <a:pt x="1139" y="1585"/>
                </a:lnTo>
                <a:lnTo>
                  <a:pt x="1138" y="1583"/>
                </a:lnTo>
                <a:lnTo>
                  <a:pt x="1136" y="1581"/>
                </a:lnTo>
                <a:lnTo>
                  <a:pt x="1135" y="1579"/>
                </a:lnTo>
                <a:lnTo>
                  <a:pt x="1135" y="1576"/>
                </a:lnTo>
                <a:lnTo>
                  <a:pt x="1135" y="1574"/>
                </a:lnTo>
                <a:lnTo>
                  <a:pt x="1136" y="1571"/>
                </a:lnTo>
                <a:lnTo>
                  <a:pt x="1137" y="1569"/>
                </a:lnTo>
                <a:lnTo>
                  <a:pt x="1138" y="1567"/>
                </a:lnTo>
                <a:lnTo>
                  <a:pt x="1140" y="1566"/>
                </a:lnTo>
                <a:lnTo>
                  <a:pt x="1142" y="1564"/>
                </a:lnTo>
                <a:lnTo>
                  <a:pt x="1143" y="1563"/>
                </a:lnTo>
                <a:lnTo>
                  <a:pt x="1146" y="1563"/>
                </a:lnTo>
                <a:close/>
                <a:moveTo>
                  <a:pt x="1190" y="1514"/>
                </a:moveTo>
                <a:lnTo>
                  <a:pt x="1193" y="1513"/>
                </a:lnTo>
                <a:lnTo>
                  <a:pt x="1195" y="1514"/>
                </a:lnTo>
                <a:lnTo>
                  <a:pt x="1198" y="1515"/>
                </a:lnTo>
                <a:lnTo>
                  <a:pt x="1201" y="1517"/>
                </a:lnTo>
                <a:lnTo>
                  <a:pt x="1202" y="1519"/>
                </a:lnTo>
                <a:lnTo>
                  <a:pt x="1204" y="1521"/>
                </a:lnTo>
                <a:lnTo>
                  <a:pt x="1204" y="1523"/>
                </a:lnTo>
                <a:lnTo>
                  <a:pt x="1205" y="1526"/>
                </a:lnTo>
                <a:lnTo>
                  <a:pt x="1205" y="1528"/>
                </a:lnTo>
                <a:lnTo>
                  <a:pt x="1204" y="1531"/>
                </a:lnTo>
                <a:lnTo>
                  <a:pt x="1203" y="1533"/>
                </a:lnTo>
                <a:lnTo>
                  <a:pt x="1201" y="1535"/>
                </a:lnTo>
                <a:lnTo>
                  <a:pt x="1200" y="1536"/>
                </a:lnTo>
                <a:lnTo>
                  <a:pt x="1198" y="1537"/>
                </a:lnTo>
                <a:lnTo>
                  <a:pt x="1196" y="1538"/>
                </a:lnTo>
                <a:lnTo>
                  <a:pt x="1194" y="1539"/>
                </a:lnTo>
                <a:lnTo>
                  <a:pt x="1191" y="1539"/>
                </a:lnTo>
                <a:lnTo>
                  <a:pt x="1188" y="1539"/>
                </a:lnTo>
                <a:lnTo>
                  <a:pt x="1186" y="1537"/>
                </a:lnTo>
                <a:lnTo>
                  <a:pt x="1183" y="1536"/>
                </a:lnTo>
                <a:lnTo>
                  <a:pt x="1182" y="1534"/>
                </a:lnTo>
                <a:lnTo>
                  <a:pt x="1180" y="1531"/>
                </a:lnTo>
                <a:lnTo>
                  <a:pt x="1179" y="1529"/>
                </a:lnTo>
                <a:lnTo>
                  <a:pt x="1179" y="1527"/>
                </a:lnTo>
                <a:lnTo>
                  <a:pt x="1179" y="1524"/>
                </a:lnTo>
                <a:lnTo>
                  <a:pt x="1180" y="1522"/>
                </a:lnTo>
                <a:lnTo>
                  <a:pt x="1181" y="1520"/>
                </a:lnTo>
                <a:lnTo>
                  <a:pt x="1183" y="1518"/>
                </a:lnTo>
                <a:lnTo>
                  <a:pt x="1184" y="1516"/>
                </a:lnTo>
                <a:lnTo>
                  <a:pt x="1186" y="1515"/>
                </a:lnTo>
                <a:lnTo>
                  <a:pt x="1188" y="1514"/>
                </a:lnTo>
                <a:lnTo>
                  <a:pt x="1190" y="1514"/>
                </a:lnTo>
                <a:close/>
                <a:moveTo>
                  <a:pt x="1235" y="1466"/>
                </a:moveTo>
                <a:lnTo>
                  <a:pt x="1238" y="1465"/>
                </a:lnTo>
                <a:lnTo>
                  <a:pt x="1241" y="1466"/>
                </a:lnTo>
                <a:lnTo>
                  <a:pt x="1244" y="1467"/>
                </a:lnTo>
                <a:lnTo>
                  <a:pt x="1246" y="1469"/>
                </a:lnTo>
                <a:lnTo>
                  <a:pt x="1248" y="1471"/>
                </a:lnTo>
                <a:lnTo>
                  <a:pt x="1249" y="1473"/>
                </a:lnTo>
                <a:lnTo>
                  <a:pt x="1250" y="1476"/>
                </a:lnTo>
                <a:lnTo>
                  <a:pt x="1250" y="1478"/>
                </a:lnTo>
                <a:lnTo>
                  <a:pt x="1250" y="1481"/>
                </a:lnTo>
                <a:lnTo>
                  <a:pt x="1249" y="1483"/>
                </a:lnTo>
                <a:lnTo>
                  <a:pt x="1248" y="1485"/>
                </a:lnTo>
                <a:lnTo>
                  <a:pt x="1247" y="1487"/>
                </a:lnTo>
                <a:lnTo>
                  <a:pt x="1243" y="1490"/>
                </a:lnTo>
                <a:lnTo>
                  <a:pt x="1240" y="1491"/>
                </a:lnTo>
                <a:lnTo>
                  <a:pt x="1237" y="1491"/>
                </a:lnTo>
                <a:lnTo>
                  <a:pt x="1234" y="1491"/>
                </a:lnTo>
                <a:lnTo>
                  <a:pt x="1231" y="1489"/>
                </a:lnTo>
                <a:lnTo>
                  <a:pt x="1229" y="1487"/>
                </a:lnTo>
                <a:lnTo>
                  <a:pt x="1227" y="1485"/>
                </a:lnTo>
                <a:lnTo>
                  <a:pt x="1226" y="1483"/>
                </a:lnTo>
                <a:lnTo>
                  <a:pt x="1225" y="1481"/>
                </a:lnTo>
                <a:lnTo>
                  <a:pt x="1225" y="1478"/>
                </a:lnTo>
                <a:lnTo>
                  <a:pt x="1225" y="1476"/>
                </a:lnTo>
                <a:lnTo>
                  <a:pt x="1226" y="1474"/>
                </a:lnTo>
                <a:lnTo>
                  <a:pt x="1227" y="1471"/>
                </a:lnTo>
                <a:lnTo>
                  <a:pt x="1228" y="1469"/>
                </a:lnTo>
                <a:lnTo>
                  <a:pt x="1232" y="1467"/>
                </a:lnTo>
                <a:lnTo>
                  <a:pt x="1235" y="1466"/>
                </a:lnTo>
                <a:close/>
                <a:moveTo>
                  <a:pt x="1282" y="1419"/>
                </a:moveTo>
                <a:lnTo>
                  <a:pt x="1285" y="1419"/>
                </a:lnTo>
                <a:lnTo>
                  <a:pt x="1288" y="1420"/>
                </a:lnTo>
                <a:lnTo>
                  <a:pt x="1291" y="1421"/>
                </a:lnTo>
                <a:lnTo>
                  <a:pt x="1294" y="1423"/>
                </a:lnTo>
                <a:lnTo>
                  <a:pt x="1295" y="1425"/>
                </a:lnTo>
                <a:lnTo>
                  <a:pt x="1296" y="1427"/>
                </a:lnTo>
                <a:lnTo>
                  <a:pt x="1297" y="1432"/>
                </a:lnTo>
                <a:lnTo>
                  <a:pt x="1297" y="1434"/>
                </a:lnTo>
                <a:lnTo>
                  <a:pt x="1296" y="1437"/>
                </a:lnTo>
                <a:lnTo>
                  <a:pt x="1295" y="1439"/>
                </a:lnTo>
                <a:lnTo>
                  <a:pt x="1293" y="1441"/>
                </a:lnTo>
                <a:lnTo>
                  <a:pt x="1290" y="1443"/>
                </a:lnTo>
                <a:lnTo>
                  <a:pt x="1287" y="1444"/>
                </a:lnTo>
                <a:lnTo>
                  <a:pt x="1284" y="1444"/>
                </a:lnTo>
                <a:lnTo>
                  <a:pt x="1281" y="1444"/>
                </a:lnTo>
                <a:lnTo>
                  <a:pt x="1278" y="1443"/>
                </a:lnTo>
                <a:lnTo>
                  <a:pt x="1275" y="1441"/>
                </a:lnTo>
                <a:lnTo>
                  <a:pt x="1274" y="1439"/>
                </a:lnTo>
                <a:lnTo>
                  <a:pt x="1273" y="1436"/>
                </a:lnTo>
                <a:lnTo>
                  <a:pt x="1272" y="1431"/>
                </a:lnTo>
                <a:lnTo>
                  <a:pt x="1272" y="1429"/>
                </a:lnTo>
                <a:lnTo>
                  <a:pt x="1273" y="1427"/>
                </a:lnTo>
                <a:lnTo>
                  <a:pt x="1274" y="1424"/>
                </a:lnTo>
                <a:lnTo>
                  <a:pt x="1276" y="1422"/>
                </a:lnTo>
                <a:lnTo>
                  <a:pt x="1279" y="1420"/>
                </a:lnTo>
                <a:lnTo>
                  <a:pt x="1282" y="1419"/>
                </a:lnTo>
                <a:close/>
                <a:moveTo>
                  <a:pt x="2942" y="1097"/>
                </a:moveTo>
                <a:lnTo>
                  <a:pt x="2943" y="1096"/>
                </a:lnTo>
                <a:lnTo>
                  <a:pt x="2943" y="1122"/>
                </a:lnTo>
                <a:lnTo>
                  <a:pt x="2941" y="1122"/>
                </a:lnTo>
                <a:lnTo>
                  <a:pt x="2939" y="1121"/>
                </a:lnTo>
                <a:lnTo>
                  <a:pt x="2937" y="1120"/>
                </a:lnTo>
                <a:lnTo>
                  <a:pt x="2935" y="1118"/>
                </a:lnTo>
                <a:lnTo>
                  <a:pt x="2933" y="1116"/>
                </a:lnTo>
                <a:lnTo>
                  <a:pt x="2932" y="1114"/>
                </a:lnTo>
                <a:lnTo>
                  <a:pt x="2931" y="1112"/>
                </a:lnTo>
                <a:lnTo>
                  <a:pt x="2931" y="1107"/>
                </a:lnTo>
                <a:lnTo>
                  <a:pt x="2933" y="1103"/>
                </a:lnTo>
                <a:lnTo>
                  <a:pt x="2934" y="1101"/>
                </a:lnTo>
                <a:lnTo>
                  <a:pt x="2935" y="1100"/>
                </a:lnTo>
                <a:lnTo>
                  <a:pt x="2938" y="1098"/>
                </a:lnTo>
                <a:lnTo>
                  <a:pt x="2942" y="1097"/>
                </a:lnTo>
                <a:close/>
                <a:moveTo>
                  <a:pt x="1331" y="1374"/>
                </a:moveTo>
                <a:lnTo>
                  <a:pt x="1334" y="1374"/>
                </a:lnTo>
                <a:lnTo>
                  <a:pt x="1337" y="1375"/>
                </a:lnTo>
                <a:lnTo>
                  <a:pt x="1340" y="1376"/>
                </a:lnTo>
                <a:lnTo>
                  <a:pt x="1341" y="1377"/>
                </a:lnTo>
                <a:lnTo>
                  <a:pt x="1343" y="1378"/>
                </a:lnTo>
                <a:lnTo>
                  <a:pt x="1344" y="1380"/>
                </a:lnTo>
                <a:lnTo>
                  <a:pt x="1345" y="1383"/>
                </a:lnTo>
                <a:lnTo>
                  <a:pt x="1346" y="1387"/>
                </a:lnTo>
                <a:lnTo>
                  <a:pt x="1345" y="1390"/>
                </a:lnTo>
                <a:lnTo>
                  <a:pt x="1345" y="1392"/>
                </a:lnTo>
                <a:lnTo>
                  <a:pt x="1343" y="1394"/>
                </a:lnTo>
                <a:lnTo>
                  <a:pt x="1342" y="1396"/>
                </a:lnTo>
                <a:lnTo>
                  <a:pt x="1339" y="1398"/>
                </a:lnTo>
                <a:lnTo>
                  <a:pt x="1335" y="1399"/>
                </a:lnTo>
                <a:lnTo>
                  <a:pt x="1332" y="1399"/>
                </a:lnTo>
                <a:lnTo>
                  <a:pt x="1329" y="1399"/>
                </a:lnTo>
                <a:lnTo>
                  <a:pt x="1326" y="1397"/>
                </a:lnTo>
                <a:lnTo>
                  <a:pt x="1325" y="1396"/>
                </a:lnTo>
                <a:lnTo>
                  <a:pt x="1323" y="1395"/>
                </a:lnTo>
                <a:lnTo>
                  <a:pt x="1322" y="1393"/>
                </a:lnTo>
                <a:lnTo>
                  <a:pt x="1321" y="1391"/>
                </a:lnTo>
                <a:lnTo>
                  <a:pt x="1320" y="1386"/>
                </a:lnTo>
                <a:lnTo>
                  <a:pt x="1321" y="1384"/>
                </a:lnTo>
                <a:lnTo>
                  <a:pt x="1321" y="1381"/>
                </a:lnTo>
                <a:lnTo>
                  <a:pt x="1323" y="1379"/>
                </a:lnTo>
                <a:lnTo>
                  <a:pt x="1324" y="1377"/>
                </a:lnTo>
                <a:lnTo>
                  <a:pt x="1327" y="1375"/>
                </a:lnTo>
                <a:lnTo>
                  <a:pt x="1331" y="1374"/>
                </a:lnTo>
                <a:close/>
                <a:moveTo>
                  <a:pt x="2877" y="1084"/>
                </a:moveTo>
                <a:lnTo>
                  <a:pt x="2881" y="1084"/>
                </a:lnTo>
                <a:lnTo>
                  <a:pt x="2884" y="1085"/>
                </a:lnTo>
                <a:lnTo>
                  <a:pt x="2886" y="1086"/>
                </a:lnTo>
                <a:lnTo>
                  <a:pt x="2888" y="1087"/>
                </a:lnTo>
                <a:lnTo>
                  <a:pt x="2889" y="1089"/>
                </a:lnTo>
                <a:lnTo>
                  <a:pt x="2891" y="1092"/>
                </a:lnTo>
                <a:lnTo>
                  <a:pt x="2891" y="1094"/>
                </a:lnTo>
                <a:lnTo>
                  <a:pt x="2892" y="1096"/>
                </a:lnTo>
                <a:lnTo>
                  <a:pt x="2891" y="1099"/>
                </a:lnTo>
                <a:lnTo>
                  <a:pt x="2890" y="1103"/>
                </a:lnTo>
                <a:lnTo>
                  <a:pt x="2889" y="1104"/>
                </a:lnTo>
                <a:lnTo>
                  <a:pt x="2888" y="1106"/>
                </a:lnTo>
                <a:lnTo>
                  <a:pt x="2885" y="1108"/>
                </a:lnTo>
                <a:lnTo>
                  <a:pt x="2881" y="1109"/>
                </a:lnTo>
                <a:lnTo>
                  <a:pt x="2876" y="1109"/>
                </a:lnTo>
                <a:lnTo>
                  <a:pt x="2874" y="1108"/>
                </a:lnTo>
                <a:lnTo>
                  <a:pt x="2872" y="1107"/>
                </a:lnTo>
                <a:lnTo>
                  <a:pt x="2870" y="1106"/>
                </a:lnTo>
                <a:lnTo>
                  <a:pt x="2868" y="1104"/>
                </a:lnTo>
                <a:lnTo>
                  <a:pt x="2867" y="1102"/>
                </a:lnTo>
                <a:lnTo>
                  <a:pt x="2866" y="1099"/>
                </a:lnTo>
                <a:lnTo>
                  <a:pt x="2866" y="1097"/>
                </a:lnTo>
                <a:lnTo>
                  <a:pt x="2866" y="1094"/>
                </a:lnTo>
                <a:lnTo>
                  <a:pt x="2868" y="1090"/>
                </a:lnTo>
                <a:lnTo>
                  <a:pt x="2869" y="1089"/>
                </a:lnTo>
                <a:lnTo>
                  <a:pt x="2870" y="1087"/>
                </a:lnTo>
                <a:lnTo>
                  <a:pt x="2873" y="1085"/>
                </a:lnTo>
                <a:lnTo>
                  <a:pt x="2877" y="1084"/>
                </a:lnTo>
                <a:close/>
                <a:moveTo>
                  <a:pt x="1381" y="1331"/>
                </a:moveTo>
                <a:lnTo>
                  <a:pt x="1384" y="1331"/>
                </a:lnTo>
                <a:lnTo>
                  <a:pt x="1387" y="1331"/>
                </a:lnTo>
                <a:lnTo>
                  <a:pt x="1390" y="1333"/>
                </a:lnTo>
                <a:lnTo>
                  <a:pt x="1393" y="1335"/>
                </a:lnTo>
                <a:lnTo>
                  <a:pt x="1394" y="1337"/>
                </a:lnTo>
                <a:lnTo>
                  <a:pt x="1395" y="1340"/>
                </a:lnTo>
                <a:lnTo>
                  <a:pt x="1396" y="1342"/>
                </a:lnTo>
                <a:lnTo>
                  <a:pt x="1396" y="1344"/>
                </a:lnTo>
                <a:lnTo>
                  <a:pt x="1395" y="1347"/>
                </a:lnTo>
                <a:lnTo>
                  <a:pt x="1394" y="1349"/>
                </a:lnTo>
                <a:lnTo>
                  <a:pt x="1393" y="1351"/>
                </a:lnTo>
                <a:lnTo>
                  <a:pt x="1391" y="1353"/>
                </a:lnTo>
                <a:lnTo>
                  <a:pt x="1388" y="1355"/>
                </a:lnTo>
                <a:lnTo>
                  <a:pt x="1385" y="1356"/>
                </a:lnTo>
                <a:lnTo>
                  <a:pt x="1382" y="1356"/>
                </a:lnTo>
                <a:lnTo>
                  <a:pt x="1379" y="1355"/>
                </a:lnTo>
                <a:lnTo>
                  <a:pt x="1376" y="1354"/>
                </a:lnTo>
                <a:lnTo>
                  <a:pt x="1373" y="1352"/>
                </a:lnTo>
                <a:lnTo>
                  <a:pt x="1372" y="1349"/>
                </a:lnTo>
                <a:lnTo>
                  <a:pt x="1371" y="1347"/>
                </a:lnTo>
                <a:lnTo>
                  <a:pt x="1370" y="1345"/>
                </a:lnTo>
                <a:lnTo>
                  <a:pt x="1370" y="1342"/>
                </a:lnTo>
                <a:lnTo>
                  <a:pt x="1371" y="1340"/>
                </a:lnTo>
                <a:lnTo>
                  <a:pt x="1372" y="1338"/>
                </a:lnTo>
                <a:lnTo>
                  <a:pt x="1373" y="1335"/>
                </a:lnTo>
                <a:lnTo>
                  <a:pt x="1375" y="1334"/>
                </a:lnTo>
                <a:lnTo>
                  <a:pt x="1378" y="1332"/>
                </a:lnTo>
                <a:lnTo>
                  <a:pt x="1381" y="1331"/>
                </a:lnTo>
                <a:close/>
                <a:moveTo>
                  <a:pt x="2812" y="1072"/>
                </a:moveTo>
                <a:lnTo>
                  <a:pt x="2816" y="1072"/>
                </a:lnTo>
                <a:lnTo>
                  <a:pt x="2819" y="1072"/>
                </a:lnTo>
                <a:lnTo>
                  <a:pt x="2821" y="1074"/>
                </a:lnTo>
                <a:lnTo>
                  <a:pt x="2823" y="1075"/>
                </a:lnTo>
                <a:lnTo>
                  <a:pt x="2824" y="1077"/>
                </a:lnTo>
                <a:lnTo>
                  <a:pt x="2826" y="1079"/>
                </a:lnTo>
                <a:lnTo>
                  <a:pt x="2826" y="1082"/>
                </a:lnTo>
                <a:lnTo>
                  <a:pt x="2827" y="1084"/>
                </a:lnTo>
                <a:lnTo>
                  <a:pt x="2826" y="1087"/>
                </a:lnTo>
                <a:lnTo>
                  <a:pt x="2825" y="1090"/>
                </a:lnTo>
                <a:lnTo>
                  <a:pt x="2824" y="1092"/>
                </a:lnTo>
                <a:lnTo>
                  <a:pt x="2823" y="1094"/>
                </a:lnTo>
                <a:lnTo>
                  <a:pt x="2820" y="1096"/>
                </a:lnTo>
                <a:lnTo>
                  <a:pt x="2816" y="1097"/>
                </a:lnTo>
                <a:lnTo>
                  <a:pt x="2811" y="1097"/>
                </a:lnTo>
                <a:lnTo>
                  <a:pt x="2809" y="1096"/>
                </a:lnTo>
                <a:lnTo>
                  <a:pt x="2807" y="1095"/>
                </a:lnTo>
                <a:lnTo>
                  <a:pt x="2805" y="1093"/>
                </a:lnTo>
                <a:lnTo>
                  <a:pt x="2803" y="1092"/>
                </a:lnTo>
                <a:lnTo>
                  <a:pt x="2802" y="1089"/>
                </a:lnTo>
                <a:lnTo>
                  <a:pt x="2801" y="1087"/>
                </a:lnTo>
                <a:lnTo>
                  <a:pt x="2801" y="1085"/>
                </a:lnTo>
                <a:lnTo>
                  <a:pt x="2801" y="1082"/>
                </a:lnTo>
                <a:lnTo>
                  <a:pt x="2803" y="1078"/>
                </a:lnTo>
                <a:lnTo>
                  <a:pt x="2804" y="1077"/>
                </a:lnTo>
                <a:lnTo>
                  <a:pt x="2805" y="1075"/>
                </a:lnTo>
                <a:lnTo>
                  <a:pt x="2808" y="1073"/>
                </a:lnTo>
                <a:lnTo>
                  <a:pt x="2812" y="1072"/>
                </a:lnTo>
                <a:close/>
                <a:moveTo>
                  <a:pt x="2746" y="1060"/>
                </a:moveTo>
                <a:lnTo>
                  <a:pt x="2751" y="1060"/>
                </a:lnTo>
                <a:lnTo>
                  <a:pt x="2753" y="1061"/>
                </a:lnTo>
                <a:lnTo>
                  <a:pt x="2756" y="1062"/>
                </a:lnTo>
                <a:lnTo>
                  <a:pt x="2758" y="1063"/>
                </a:lnTo>
                <a:lnTo>
                  <a:pt x="2759" y="1065"/>
                </a:lnTo>
                <a:lnTo>
                  <a:pt x="2760" y="1067"/>
                </a:lnTo>
                <a:lnTo>
                  <a:pt x="2761" y="1070"/>
                </a:lnTo>
                <a:lnTo>
                  <a:pt x="2762" y="1072"/>
                </a:lnTo>
                <a:lnTo>
                  <a:pt x="2761" y="1075"/>
                </a:lnTo>
                <a:lnTo>
                  <a:pt x="2760" y="1079"/>
                </a:lnTo>
                <a:lnTo>
                  <a:pt x="2759" y="1080"/>
                </a:lnTo>
                <a:lnTo>
                  <a:pt x="2758" y="1082"/>
                </a:lnTo>
                <a:lnTo>
                  <a:pt x="2755" y="1084"/>
                </a:lnTo>
                <a:lnTo>
                  <a:pt x="2751" y="1085"/>
                </a:lnTo>
                <a:lnTo>
                  <a:pt x="2746" y="1085"/>
                </a:lnTo>
                <a:lnTo>
                  <a:pt x="2744" y="1084"/>
                </a:lnTo>
                <a:lnTo>
                  <a:pt x="2742" y="1083"/>
                </a:lnTo>
                <a:lnTo>
                  <a:pt x="2740" y="1082"/>
                </a:lnTo>
                <a:lnTo>
                  <a:pt x="2738" y="1080"/>
                </a:lnTo>
                <a:lnTo>
                  <a:pt x="2737" y="1078"/>
                </a:lnTo>
                <a:lnTo>
                  <a:pt x="2736" y="1075"/>
                </a:lnTo>
                <a:lnTo>
                  <a:pt x="2736" y="1073"/>
                </a:lnTo>
                <a:lnTo>
                  <a:pt x="2736" y="1070"/>
                </a:lnTo>
                <a:lnTo>
                  <a:pt x="2737" y="1066"/>
                </a:lnTo>
                <a:lnTo>
                  <a:pt x="2738" y="1065"/>
                </a:lnTo>
                <a:lnTo>
                  <a:pt x="2740" y="1063"/>
                </a:lnTo>
                <a:lnTo>
                  <a:pt x="2743" y="1061"/>
                </a:lnTo>
                <a:lnTo>
                  <a:pt x="2746" y="1060"/>
                </a:lnTo>
                <a:close/>
                <a:moveTo>
                  <a:pt x="1432" y="1289"/>
                </a:moveTo>
                <a:lnTo>
                  <a:pt x="1436" y="1289"/>
                </a:lnTo>
                <a:lnTo>
                  <a:pt x="1439" y="1290"/>
                </a:lnTo>
                <a:lnTo>
                  <a:pt x="1442" y="1291"/>
                </a:lnTo>
                <a:lnTo>
                  <a:pt x="1445" y="1294"/>
                </a:lnTo>
                <a:lnTo>
                  <a:pt x="1447" y="1298"/>
                </a:lnTo>
                <a:lnTo>
                  <a:pt x="1447" y="1301"/>
                </a:lnTo>
                <a:lnTo>
                  <a:pt x="1447" y="1303"/>
                </a:lnTo>
                <a:lnTo>
                  <a:pt x="1447" y="1306"/>
                </a:lnTo>
                <a:lnTo>
                  <a:pt x="1446" y="1308"/>
                </a:lnTo>
                <a:lnTo>
                  <a:pt x="1444" y="1310"/>
                </a:lnTo>
                <a:lnTo>
                  <a:pt x="1442" y="1312"/>
                </a:lnTo>
                <a:lnTo>
                  <a:pt x="1441" y="1313"/>
                </a:lnTo>
                <a:lnTo>
                  <a:pt x="1440" y="1314"/>
                </a:lnTo>
                <a:lnTo>
                  <a:pt x="1437" y="1314"/>
                </a:lnTo>
                <a:lnTo>
                  <a:pt x="1433" y="1315"/>
                </a:lnTo>
                <a:lnTo>
                  <a:pt x="1430" y="1314"/>
                </a:lnTo>
                <a:lnTo>
                  <a:pt x="1427" y="1312"/>
                </a:lnTo>
                <a:lnTo>
                  <a:pt x="1424" y="1310"/>
                </a:lnTo>
                <a:lnTo>
                  <a:pt x="1422" y="1305"/>
                </a:lnTo>
                <a:lnTo>
                  <a:pt x="1422" y="1303"/>
                </a:lnTo>
                <a:lnTo>
                  <a:pt x="1422" y="1300"/>
                </a:lnTo>
                <a:lnTo>
                  <a:pt x="1422" y="1298"/>
                </a:lnTo>
                <a:lnTo>
                  <a:pt x="1423" y="1296"/>
                </a:lnTo>
                <a:lnTo>
                  <a:pt x="1425" y="1293"/>
                </a:lnTo>
                <a:lnTo>
                  <a:pt x="1427" y="1292"/>
                </a:lnTo>
                <a:lnTo>
                  <a:pt x="1428" y="1291"/>
                </a:lnTo>
                <a:lnTo>
                  <a:pt x="1429" y="1290"/>
                </a:lnTo>
                <a:lnTo>
                  <a:pt x="1432" y="1289"/>
                </a:lnTo>
                <a:close/>
                <a:moveTo>
                  <a:pt x="2681" y="1048"/>
                </a:moveTo>
                <a:lnTo>
                  <a:pt x="2686" y="1048"/>
                </a:lnTo>
                <a:lnTo>
                  <a:pt x="2688" y="1049"/>
                </a:lnTo>
                <a:lnTo>
                  <a:pt x="2690" y="1050"/>
                </a:lnTo>
                <a:lnTo>
                  <a:pt x="2692" y="1052"/>
                </a:lnTo>
                <a:lnTo>
                  <a:pt x="2694" y="1054"/>
                </a:lnTo>
                <a:lnTo>
                  <a:pt x="2695" y="1056"/>
                </a:lnTo>
                <a:lnTo>
                  <a:pt x="2696" y="1058"/>
                </a:lnTo>
                <a:lnTo>
                  <a:pt x="2696" y="1061"/>
                </a:lnTo>
                <a:lnTo>
                  <a:pt x="2696" y="1063"/>
                </a:lnTo>
                <a:lnTo>
                  <a:pt x="2695" y="1067"/>
                </a:lnTo>
                <a:lnTo>
                  <a:pt x="2694" y="1069"/>
                </a:lnTo>
                <a:lnTo>
                  <a:pt x="2693" y="1070"/>
                </a:lnTo>
                <a:lnTo>
                  <a:pt x="2689" y="1072"/>
                </a:lnTo>
                <a:lnTo>
                  <a:pt x="2686" y="1074"/>
                </a:lnTo>
                <a:lnTo>
                  <a:pt x="2681" y="1074"/>
                </a:lnTo>
                <a:lnTo>
                  <a:pt x="2679" y="1073"/>
                </a:lnTo>
                <a:lnTo>
                  <a:pt x="2677" y="1072"/>
                </a:lnTo>
                <a:lnTo>
                  <a:pt x="2675" y="1070"/>
                </a:lnTo>
                <a:lnTo>
                  <a:pt x="2673" y="1068"/>
                </a:lnTo>
                <a:lnTo>
                  <a:pt x="2672" y="1066"/>
                </a:lnTo>
                <a:lnTo>
                  <a:pt x="2671" y="1064"/>
                </a:lnTo>
                <a:lnTo>
                  <a:pt x="2671" y="1061"/>
                </a:lnTo>
                <a:lnTo>
                  <a:pt x="2671" y="1059"/>
                </a:lnTo>
                <a:lnTo>
                  <a:pt x="2672" y="1055"/>
                </a:lnTo>
                <a:lnTo>
                  <a:pt x="2673" y="1053"/>
                </a:lnTo>
                <a:lnTo>
                  <a:pt x="2675" y="1052"/>
                </a:lnTo>
                <a:lnTo>
                  <a:pt x="2678" y="1050"/>
                </a:lnTo>
                <a:lnTo>
                  <a:pt x="2681" y="1048"/>
                </a:lnTo>
                <a:close/>
                <a:moveTo>
                  <a:pt x="1485" y="1250"/>
                </a:moveTo>
                <a:lnTo>
                  <a:pt x="1489" y="1249"/>
                </a:lnTo>
                <a:lnTo>
                  <a:pt x="1492" y="1250"/>
                </a:lnTo>
                <a:lnTo>
                  <a:pt x="1495" y="1252"/>
                </a:lnTo>
                <a:lnTo>
                  <a:pt x="1498" y="1255"/>
                </a:lnTo>
                <a:lnTo>
                  <a:pt x="1499" y="1257"/>
                </a:lnTo>
                <a:lnTo>
                  <a:pt x="1500" y="1259"/>
                </a:lnTo>
                <a:lnTo>
                  <a:pt x="1500" y="1262"/>
                </a:lnTo>
                <a:lnTo>
                  <a:pt x="1500" y="1264"/>
                </a:lnTo>
                <a:lnTo>
                  <a:pt x="1499" y="1267"/>
                </a:lnTo>
                <a:lnTo>
                  <a:pt x="1498" y="1269"/>
                </a:lnTo>
                <a:lnTo>
                  <a:pt x="1497" y="1271"/>
                </a:lnTo>
                <a:lnTo>
                  <a:pt x="1495" y="1273"/>
                </a:lnTo>
                <a:lnTo>
                  <a:pt x="1492" y="1274"/>
                </a:lnTo>
                <a:lnTo>
                  <a:pt x="1490" y="1275"/>
                </a:lnTo>
                <a:lnTo>
                  <a:pt x="1486" y="1275"/>
                </a:lnTo>
                <a:lnTo>
                  <a:pt x="1483" y="1274"/>
                </a:lnTo>
                <a:lnTo>
                  <a:pt x="1480" y="1272"/>
                </a:lnTo>
                <a:lnTo>
                  <a:pt x="1477" y="1270"/>
                </a:lnTo>
                <a:lnTo>
                  <a:pt x="1476" y="1267"/>
                </a:lnTo>
                <a:lnTo>
                  <a:pt x="1475" y="1265"/>
                </a:lnTo>
                <a:lnTo>
                  <a:pt x="1475" y="1263"/>
                </a:lnTo>
                <a:lnTo>
                  <a:pt x="1475" y="1260"/>
                </a:lnTo>
                <a:lnTo>
                  <a:pt x="1475" y="1258"/>
                </a:lnTo>
                <a:lnTo>
                  <a:pt x="1476" y="1256"/>
                </a:lnTo>
                <a:lnTo>
                  <a:pt x="1478" y="1253"/>
                </a:lnTo>
                <a:lnTo>
                  <a:pt x="1480" y="1252"/>
                </a:lnTo>
                <a:lnTo>
                  <a:pt x="1482" y="1250"/>
                </a:lnTo>
                <a:lnTo>
                  <a:pt x="1485" y="1250"/>
                </a:lnTo>
                <a:close/>
                <a:moveTo>
                  <a:pt x="2616" y="1037"/>
                </a:moveTo>
                <a:lnTo>
                  <a:pt x="2620" y="1037"/>
                </a:lnTo>
                <a:lnTo>
                  <a:pt x="2623" y="1038"/>
                </a:lnTo>
                <a:lnTo>
                  <a:pt x="2625" y="1039"/>
                </a:lnTo>
                <a:lnTo>
                  <a:pt x="2627" y="1041"/>
                </a:lnTo>
                <a:lnTo>
                  <a:pt x="2629" y="1042"/>
                </a:lnTo>
                <a:lnTo>
                  <a:pt x="2630" y="1044"/>
                </a:lnTo>
                <a:lnTo>
                  <a:pt x="2631" y="1047"/>
                </a:lnTo>
                <a:lnTo>
                  <a:pt x="2631" y="1049"/>
                </a:lnTo>
                <a:lnTo>
                  <a:pt x="2631" y="1052"/>
                </a:lnTo>
                <a:lnTo>
                  <a:pt x="2630" y="1056"/>
                </a:lnTo>
                <a:lnTo>
                  <a:pt x="2629" y="1057"/>
                </a:lnTo>
                <a:lnTo>
                  <a:pt x="2627" y="1059"/>
                </a:lnTo>
                <a:lnTo>
                  <a:pt x="2624" y="1061"/>
                </a:lnTo>
                <a:lnTo>
                  <a:pt x="2621" y="1062"/>
                </a:lnTo>
                <a:lnTo>
                  <a:pt x="2616" y="1062"/>
                </a:lnTo>
                <a:lnTo>
                  <a:pt x="2614" y="1062"/>
                </a:lnTo>
                <a:lnTo>
                  <a:pt x="2611" y="1061"/>
                </a:lnTo>
                <a:lnTo>
                  <a:pt x="2610" y="1059"/>
                </a:lnTo>
                <a:lnTo>
                  <a:pt x="2608" y="1057"/>
                </a:lnTo>
                <a:lnTo>
                  <a:pt x="2607" y="1055"/>
                </a:lnTo>
                <a:lnTo>
                  <a:pt x="2606" y="1053"/>
                </a:lnTo>
                <a:lnTo>
                  <a:pt x="2606" y="1050"/>
                </a:lnTo>
                <a:lnTo>
                  <a:pt x="2606" y="1048"/>
                </a:lnTo>
                <a:lnTo>
                  <a:pt x="2607" y="1044"/>
                </a:lnTo>
                <a:lnTo>
                  <a:pt x="2608" y="1042"/>
                </a:lnTo>
                <a:lnTo>
                  <a:pt x="2609" y="1041"/>
                </a:lnTo>
                <a:lnTo>
                  <a:pt x="2612" y="1038"/>
                </a:lnTo>
                <a:lnTo>
                  <a:pt x="2616" y="1037"/>
                </a:lnTo>
                <a:close/>
                <a:moveTo>
                  <a:pt x="1540" y="1212"/>
                </a:moveTo>
                <a:lnTo>
                  <a:pt x="1543" y="1212"/>
                </a:lnTo>
                <a:lnTo>
                  <a:pt x="1547" y="1213"/>
                </a:lnTo>
                <a:lnTo>
                  <a:pt x="1548" y="1214"/>
                </a:lnTo>
                <a:lnTo>
                  <a:pt x="1550" y="1215"/>
                </a:lnTo>
                <a:lnTo>
                  <a:pt x="1553" y="1218"/>
                </a:lnTo>
                <a:lnTo>
                  <a:pt x="1554" y="1220"/>
                </a:lnTo>
                <a:lnTo>
                  <a:pt x="1554" y="1222"/>
                </a:lnTo>
                <a:lnTo>
                  <a:pt x="1554" y="1227"/>
                </a:lnTo>
                <a:lnTo>
                  <a:pt x="1554" y="1230"/>
                </a:lnTo>
                <a:lnTo>
                  <a:pt x="1553" y="1232"/>
                </a:lnTo>
                <a:lnTo>
                  <a:pt x="1551" y="1234"/>
                </a:lnTo>
                <a:lnTo>
                  <a:pt x="1549" y="1235"/>
                </a:lnTo>
                <a:lnTo>
                  <a:pt x="1547" y="1237"/>
                </a:lnTo>
                <a:lnTo>
                  <a:pt x="1544" y="1237"/>
                </a:lnTo>
                <a:lnTo>
                  <a:pt x="1540" y="1237"/>
                </a:lnTo>
                <a:lnTo>
                  <a:pt x="1537" y="1236"/>
                </a:lnTo>
                <a:lnTo>
                  <a:pt x="1535" y="1236"/>
                </a:lnTo>
                <a:lnTo>
                  <a:pt x="1534" y="1235"/>
                </a:lnTo>
                <a:lnTo>
                  <a:pt x="1531" y="1232"/>
                </a:lnTo>
                <a:lnTo>
                  <a:pt x="1530" y="1229"/>
                </a:lnTo>
                <a:lnTo>
                  <a:pt x="1529" y="1227"/>
                </a:lnTo>
                <a:lnTo>
                  <a:pt x="1529" y="1222"/>
                </a:lnTo>
                <a:lnTo>
                  <a:pt x="1530" y="1220"/>
                </a:lnTo>
                <a:lnTo>
                  <a:pt x="1531" y="1218"/>
                </a:lnTo>
                <a:lnTo>
                  <a:pt x="1533" y="1216"/>
                </a:lnTo>
                <a:lnTo>
                  <a:pt x="1535" y="1214"/>
                </a:lnTo>
                <a:lnTo>
                  <a:pt x="1537" y="1213"/>
                </a:lnTo>
                <a:lnTo>
                  <a:pt x="1540" y="1212"/>
                </a:lnTo>
                <a:close/>
                <a:moveTo>
                  <a:pt x="2551" y="1026"/>
                </a:moveTo>
                <a:lnTo>
                  <a:pt x="2555" y="1026"/>
                </a:lnTo>
                <a:lnTo>
                  <a:pt x="2558" y="1027"/>
                </a:lnTo>
                <a:lnTo>
                  <a:pt x="2560" y="1028"/>
                </a:lnTo>
                <a:lnTo>
                  <a:pt x="2562" y="1030"/>
                </a:lnTo>
                <a:lnTo>
                  <a:pt x="2563" y="1031"/>
                </a:lnTo>
                <a:lnTo>
                  <a:pt x="2565" y="1034"/>
                </a:lnTo>
                <a:lnTo>
                  <a:pt x="2566" y="1036"/>
                </a:lnTo>
                <a:lnTo>
                  <a:pt x="2566" y="1038"/>
                </a:lnTo>
                <a:lnTo>
                  <a:pt x="2566" y="1041"/>
                </a:lnTo>
                <a:lnTo>
                  <a:pt x="2564" y="1045"/>
                </a:lnTo>
                <a:lnTo>
                  <a:pt x="2563" y="1047"/>
                </a:lnTo>
                <a:lnTo>
                  <a:pt x="2562" y="1048"/>
                </a:lnTo>
                <a:lnTo>
                  <a:pt x="2559" y="1050"/>
                </a:lnTo>
                <a:lnTo>
                  <a:pt x="2555" y="1052"/>
                </a:lnTo>
                <a:lnTo>
                  <a:pt x="2551" y="1052"/>
                </a:lnTo>
                <a:lnTo>
                  <a:pt x="2549" y="1051"/>
                </a:lnTo>
                <a:lnTo>
                  <a:pt x="2546" y="1050"/>
                </a:lnTo>
                <a:lnTo>
                  <a:pt x="2544" y="1048"/>
                </a:lnTo>
                <a:lnTo>
                  <a:pt x="2543" y="1046"/>
                </a:lnTo>
                <a:lnTo>
                  <a:pt x="2541" y="1044"/>
                </a:lnTo>
                <a:lnTo>
                  <a:pt x="2541" y="1042"/>
                </a:lnTo>
                <a:lnTo>
                  <a:pt x="2540" y="1039"/>
                </a:lnTo>
                <a:lnTo>
                  <a:pt x="2540" y="1037"/>
                </a:lnTo>
                <a:lnTo>
                  <a:pt x="2542" y="1033"/>
                </a:lnTo>
                <a:lnTo>
                  <a:pt x="2543" y="1031"/>
                </a:lnTo>
                <a:lnTo>
                  <a:pt x="2544" y="1030"/>
                </a:lnTo>
                <a:lnTo>
                  <a:pt x="2547" y="1028"/>
                </a:lnTo>
                <a:lnTo>
                  <a:pt x="2551" y="1026"/>
                </a:lnTo>
                <a:close/>
                <a:moveTo>
                  <a:pt x="1596" y="1177"/>
                </a:moveTo>
                <a:lnTo>
                  <a:pt x="1599" y="1177"/>
                </a:lnTo>
                <a:lnTo>
                  <a:pt x="1603" y="1178"/>
                </a:lnTo>
                <a:lnTo>
                  <a:pt x="1606" y="1180"/>
                </a:lnTo>
                <a:lnTo>
                  <a:pt x="1608" y="1181"/>
                </a:lnTo>
                <a:lnTo>
                  <a:pt x="1609" y="1183"/>
                </a:lnTo>
                <a:lnTo>
                  <a:pt x="1610" y="1185"/>
                </a:lnTo>
                <a:lnTo>
                  <a:pt x="1610" y="1188"/>
                </a:lnTo>
                <a:lnTo>
                  <a:pt x="1611" y="1190"/>
                </a:lnTo>
                <a:lnTo>
                  <a:pt x="1610" y="1192"/>
                </a:lnTo>
                <a:lnTo>
                  <a:pt x="1609" y="1195"/>
                </a:lnTo>
                <a:lnTo>
                  <a:pt x="1608" y="1197"/>
                </a:lnTo>
                <a:lnTo>
                  <a:pt x="1606" y="1199"/>
                </a:lnTo>
                <a:lnTo>
                  <a:pt x="1604" y="1200"/>
                </a:lnTo>
                <a:lnTo>
                  <a:pt x="1602" y="1201"/>
                </a:lnTo>
                <a:lnTo>
                  <a:pt x="1600" y="1202"/>
                </a:lnTo>
                <a:lnTo>
                  <a:pt x="1596" y="1202"/>
                </a:lnTo>
                <a:lnTo>
                  <a:pt x="1593" y="1201"/>
                </a:lnTo>
                <a:lnTo>
                  <a:pt x="1589" y="1199"/>
                </a:lnTo>
                <a:lnTo>
                  <a:pt x="1588" y="1198"/>
                </a:lnTo>
                <a:lnTo>
                  <a:pt x="1587" y="1196"/>
                </a:lnTo>
                <a:lnTo>
                  <a:pt x="1586" y="1194"/>
                </a:lnTo>
                <a:lnTo>
                  <a:pt x="1585" y="1191"/>
                </a:lnTo>
                <a:lnTo>
                  <a:pt x="1585" y="1189"/>
                </a:lnTo>
                <a:lnTo>
                  <a:pt x="1585" y="1186"/>
                </a:lnTo>
                <a:lnTo>
                  <a:pt x="1586" y="1184"/>
                </a:lnTo>
                <a:lnTo>
                  <a:pt x="1587" y="1182"/>
                </a:lnTo>
                <a:lnTo>
                  <a:pt x="1589" y="1180"/>
                </a:lnTo>
                <a:lnTo>
                  <a:pt x="1591" y="1178"/>
                </a:lnTo>
                <a:lnTo>
                  <a:pt x="1593" y="1177"/>
                </a:lnTo>
                <a:lnTo>
                  <a:pt x="1596" y="1177"/>
                </a:lnTo>
                <a:close/>
                <a:moveTo>
                  <a:pt x="2486" y="1016"/>
                </a:moveTo>
                <a:lnTo>
                  <a:pt x="2490" y="1016"/>
                </a:lnTo>
                <a:lnTo>
                  <a:pt x="2492" y="1016"/>
                </a:lnTo>
                <a:lnTo>
                  <a:pt x="2495" y="1017"/>
                </a:lnTo>
                <a:lnTo>
                  <a:pt x="2497" y="1019"/>
                </a:lnTo>
                <a:lnTo>
                  <a:pt x="2498" y="1021"/>
                </a:lnTo>
                <a:lnTo>
                  <a:pt x="2499" y="1023"/>
                </a:lnTo>
                <a:lnTo>
                  <a:pt x="2500" y="1025"/>
                </a:lnTo>
                <a:lnTo>
                  <a:pt x="2501" y="1028"/>
                </a:lnTo>
                <a:lnTo>
                  <a:pt x="2500" y="1030"/>
                </a:lnTo>
                <a:lnTo>
                  <a:pt x="2499" y="1034"/>
                </a:lnTo>
                <a:lnTo>
                  <a:pt x="2498" y="1036"/>
                </a:lnTo>
                <a:lnTo>
                  <a:pt x="2497" y="1037"/>
                </a:lnTo>
                <a:lnTo>
                  <a:pt x="2495" y="1039"/>
                </a:lnTo>
                <a:lnTo>
                  <a:pt x="2494" y="1040"/>
                </a:lnTo>
                <a:lnTo>
                  <a:pt x="2490" y="1041"/>
                </a:lnTo>
                <a:lnTo>
                  <a:pt x="2486" y="1041"/>
                </a:lnTo>
                <a:lnTo>
                  <a:pt x="2483" y="1040"/>
                </a:lnTo>
                <a:lnTo>
                  <a:pt x="2481" y="1039"/>
                </a:lnTo>
                <a:lnTo>
                  <a:pt x="2479" y="1038"/>
                </a:lnTo>
                <a:lnTo>
                  <a:pt x="2477" y="1036"/>
                </a:lnTo>
                <a:lnTo>
                  <a:pt x="2476" y="1034"/>
                </a:lnTo>
                <a:lnTo>
                  <a:pt x="2475" y="1031"/>
                </a:lnTo>
                <a:lnTo>
                  <a:pt x="2475" y="1029"/>
                </a:lnTo>
                <a:lnTo>
                  <a:pt x="2475" y="1026"/>
                </a:lnTo>
                <a:lnTo>
                  <a:pt x="2476" y="1022"/>
                </a:lnTo>
                <a:lnTo>
                  <a:pt x="2477" y="1021"/>
                </a:lnTo>
                <a:lnTo>
                  <a:pt x="2479" y="1019"/>
                </a:lnTo>
                <a:lnTo>
                  <a:pt x="2480" y="1018"/>
                </a:lnTo>
                <a:lnTo>
                  <a:pt x="2482" y="1017"/>
                </a:lnTo>
                <a:lnTo>
                  <a:pt x="2486" y="1016"/>
                </a:lnTo>
                <a:close/>
                <a:moveTo>
                  <a:pt x="1653" y="1144"/>
                </a:moveTo>
                <a:lnTo>
                  <a:pt x="1657" y="1144"/>
                </a:lnTo>
                <a:lnTo>
                  <a:pt x="1661" y="1145"/>
                </a:lnTo>
                <a:lnTo>
                  <a:pt x="1662" y="1146"/>
                </a:lnTo>
                <a:lnTo>
                  <a:pt x="1664" y="1147"/>
                </a:lnTo>
                <a:lnTo>
                  <a:pt x="1666" y="1150"/>
                </a:lnTo>
                <a:lnTo>
                  <a:pt x="1668" y="1155"/>
                </a:lnTo>
                <a:lnTo>
                  <a:pt x="1668" y="1158"/>
                </a:lnTo>
                <a:lnTo>
                  <a:pt x="1667" y="1160"/>
                </a:lnTo>
                <a:lnTo>
                  <a:pt x="1667" y="1162"/>
                </a:lnTo>
                <a:lnTo>
                  <a:pt x="1665" y="1164"/>
                </a:lnTo>
                <a:lnTo>
                  <a:pt x="1663" y="1166"/>
                </a:lnTo>
                <a:lnTo>
                  <a:pt x="1661" y="1168"/>
                </a:lnTo>
                <a:lnTo>
                  <a:pt x="1659" y="1169"/>
                </a:lnTo>
                <a:lnTo>
                  <a:pt x="1657" y="1169"/>
                </a:lnTo>
                <a:lnTo>
                  <a:pt x="1653" y="1169"/>
                </a:lnTo>
                <a:lnTo>
                  <a:pt x="1650" y="1168"/>
                </a:lnTo>
                <a:lnTo>
                  <a:pt x="1648" y="1167"/>
                </a:lnTo>
                <a:lnTo>
                  <a:pt x="1646" y="1166"/>
                </a:lnTo>
                <a:lnTo>
                  <a:pt x="1644" y="1163"/>
                </a:lnTo>
                <a:lnTo>
                  <a:pt x="1642" y="1158"/>
                </a:lnTo>
                <a:lnTo>
                  <a:pt x="1642" y="1155"/>
                </a:lnTo>
                <a:lnTo>
                  <a:pt x="1643" y="1153"/>
                </a:lnTo>
                <a:lnTo>
                  <a:pt x="1644" y="1151"/>
                </a:lnTo>
                <a:lnTo>
                  <a:pt x="1645" y="1148"/>
                </a:lnTo>
                <a:lnTo>
                  <a:pt x="1647" y="1147"/>
                </a:lnTo>
                <a:lnTo>
                  <a:pt x="1649" y="1145"/>
                </a:lnTo>
                <a:lnTo>
                  <a:pt x="1651" y="1144"/>
                </a:lnTo>
                <a:lnTo>
                  <a:pt x="1653" y="1144"/>
                </a:lnTo>
                <a:close/>
                <a:moveTo>
                  <a:pt x="2420" y="1005"/>
                </a:moveTo>
                <a:lnTo>
                  <a:pt x="2424" y="1005"/>
                </a:lnTo>
                <a:lnTo>
                  <a:pt x="2427" y="1006"/>
                </a:lnTo>
                <a:lnTo>
                  <a:pt x="2429" y="1007"/>
                </a:lnTo>
                <a:lnTo>
                  <a:pt x="2431" y="1009"/>
                </a:lnTo>
                <a:lnTo>
                  <a:pt x="2433" y="1011"/>
                </a:lnTo>
                <a:lnTo>
                  <a:pt x="2434" y="1013"/>
                </a:lnTo>
                <a:lnTo>
                  <a:pt x="2435" y="1015"/>
                </a:lnTo>
                <a:lnTo>
                  <a:pt x="2435" y="1017"/>
                </a:lnTo>
                <a:lnTo>
                  <a:pt x="2435" y="1020"/>
                </a:lnTo>
                <a:lnTo>
                  <a:pt x="2434" y="1024"/>
                </a:lnTo>
                <a:lnTo>
                  <a:pt x="2433" y="1026"/>
                </a:lnTo>
                <a:lnTo>
                  <a:pt x="2431" y="1027"/>
                </a:lnTo>
                <a:lnTo>
                  <a:pt x="2430" y="1028"/>
                </a:lnTo>
                <a:lnTo>
                  <a:pt x="2428" y="1029"/>
                </a:lnTo>
                <a:lnTo>
                  <a:pt x="2425" y="1031"/>
                </a:lnTo>
                <a:lnTo>
                  <a:pt x="2420" y="1031"/>
                </a:lnTo>
                <a:lnTo>
                  <a:pt x="2418" y="1030"/>
                </a:lnTo>
                <a:lnTo>
                  <a:pt x="2416" y="1029"/>
                </a:lnTo>
                <a:lnTo>
                  <a:pt x="2414" y="1027"/>
                </a:lnTo>
                <a:lnTo>
                  <a:pt x="2412" y="1026"/>
                </a:lnTo>
                <a:lnTo>
                  <a:pt x="2411" y="1024"/>
                </a:lnTo>
                <a:lnTo>
                  <a:pt x="2410" y="1021"/>
                </a:lnTo>
                <a:lnTo>
                  <a:pt x="2410" y="1019"/>
                </a:lnTo>
                <a:lnTo>
                  <a:pt x="2410" y="1016"/>
                </a:lnTo>
                <a:lnTo>
                  <a:pt x="2411" y="1012"/>
                </a:lnTo>
                <a:lnTo>
                  <a:pt x="2412" y="1011"/>
                </a:lnTo>
                <a:lnTo>
                  <a:pt x="2413" y="1009"/>
                </a:lnTo>
                <a:lnTo>
                  <a:pt x="2415" y="1008"/>
                </a:lnTo>
                <a:lnTo>
                  <a:pt x="2416" y="1007"/>
                </a:lnTo>
                <a:lnTo>
                  <a:pt x="2420" y="1005"/>
                </a:lnTo>
                <a:close/>
                <a:moveTo>
                  <a:pt x="1712" y="1113"/>
                </a:moveTo>
                <a:lnTo>
                  <a:pt x="1716" y="1113"/>
                </a:lnTo>
                <a:lnTo>
                  <a:pt x="1718" y="1113"/>
                </a:lnTo>
                <a:lnTo>
                  <a:pt x="1720" y="1114"/>
                </a:lnTo>
                <a:lnTo>
                  <a:pt x="1722" y="1115"/>
                </a:lnTo>
                <a:lnTo>
                  <a:pt x="1723" y="1116"/>
                </a:lnTo>
                <a:lnTo>
                  <a:pt x="1726" y="1120"/>
                </a:lnTo>
                <a:lnTo>
                  <a:pt x="1726" y="1122"/>
                </a:lnTo>
                <a:lnTo>
                  <a:pt x="1727" y="1125"/>
                </a:lnTo>
                <a:lnTo>
                  <a:pt x="1727" y="1127"/>
                </a:lnTo>
                <a:lnTo>
                  <a:pt x="1726" y="1129"/>
                </a:lnTo>
                <a:lnTo>
                  <a:pt x="1725" y="1132"/>
                </a:lnTo>
                <a:lnTo>
                  <a:pt x="1724" y="1134"/>
                </a:lnTo>
                <a:lnTo>
                  <a:pt x="1722" y="1135"/>
                </a:lnTo>
                <a:lnTo>
                  <a:pt x="1720" y="1138"/>
                </a:lnTo>
                <a:lnTo>
                  <a:pt x="1718" y="1138"/>
                </a:lnTo>
                <a:lnTo>
                  <a:pt x="1716" y="1139"/>
                </a:lnTo>
                <a:lnTo>
                  <a:pt x="1712" y="1139"/>
                </a:lnTo>
                <a:lnTo>
                  <a:pt x="1710" y="1138"/>
                </a:lnTo>
                <a:lnTo>
                  <a:pt x="1708" y="1138"/>
                </a:lnTo>
                <a:lnTo>
                  <a:pt x="1707" y="1137"/>
                </a:lnTo>
                <a:lnTo>
                  <a:pt x="1705" y="1134"/>
                </a:lnTo>
                <a:lnTo>
                  <a:pt x="1702" y="1131"/>
                </a:lnTo>
                <a:lnTo>
                  <a:pt x="1702" y="1128"/>
                </a:lnTo>
                <a:lnTo>
                  <a:pt x="1701" y="1126"/>
                </a:lnTo>
                <a:lnTo>
                  <a:pt x="1701" y="1123"/>
                </a:lnTo>
                <a:lnTo>
                  <a:pt x="1702" y="1121"/>
                </a:lnTo>
                <a:lnTo>
                  <a:pt x="1703" y="1119"/>
                </a:lnTo>
                <a:lnTo>
                  <a:pt x="1704" y="1117"/>
                </a:lnTo>
                <a:lnTo>
                  <a:pt x="1706" y="1115"/>
                </a:lnTo>
                <a:lnTo>
                  <a:pt x="1708" y="1114"/>
                </a:lnTo>
                <a:lnTo>
                  <a:pt x="1710" y="1113"/>
                </a:lnTo>
                <a:lnTo>
                  <a:pt x="1712" y="1113"/>
                </a:lnTo>
                <a:close/>
                <a:moveTo>
                  <a:pt x="2355" y="996"/>
                </a:moveTo>
                <a:lnTo>
                  <a:pt x="2358" y="996"/>
                </a:lnTo>
                <a:lnTo>
                  <a:pt x="2361" y="996"/>
                </a:lnTo>
                <a:lnTo>
                  <a:pt x="2363" y="997"/>
                </a:lnTo>
                <a:lnTo>
                  <a:pt x="2365" y="999"/>
                </a:lnTo>
                <a:lnTo>
                  <a:pt x="2367" y="1001"/>
                </a:lnTo>
                <a:lnTo>
                  <a:pt x="2368" y="1003"/>
                </a:lnTo>
                <a:lnTo>
                  <a:pt x="2369" y="1005"/>
                </a:lnTo>
                <a:lnTo>
                  <a:pt x="2370" y="1008"/>
                </a:lnTo>
                <a:lnTo>
                  <a:pt x="2370" y="1010"/>
                </a:lnTo>
                <a:lnTo>
                  <a:pt x="2369" y="1012"/>
                </a:lnTo>
                <a:lnTo>
                  <a:pt x="2368" y="1014"/>
                </a:lnTo>
                <a:lnTo>
                  <a:pt x="2367" y="1016"/>
                </a:lnTo>
                <a:lnTo>
                  <a:pt x="2366" y="1017"/>
                </a:lnTo>
                <a:lnTo>
                  <a:pt x="2363" y="1020"/>
                </a:lnTo>
                <a:lnTo>
                  <a:pt x="2361" y="1021"/>
                </a:lnTo>
                <a:lnTo>
                  <a:pt x="2359" y="1021"/>
                </a:lnTo>
                <a:lnTo>
                  <a:pt x="2355" y="1021"/>
                </a:lnTo>
                <a:lnTo>
                  <a:pt x="2353" y="1021"/>
                </a:lnTo>
                <a:lnTo>
                  <a:pt x="2351" y="1020"/>
                </a:lnTo>
                <a:lnTo>
                  <a:pt x="2349" y="1018"/>
                </a:lnTo>
                <a:lnTo>
                  <a:pt x="2347" y="1016"/>
                </a:lnTo>
                <a:lnTo>
                  <a:pt x="2346" y="1014"/>
                </a:lnTo>
                <a:lnTo>
                  <a:pt x="2345" y="1012"/>
                </a:lnTo>
                <a:lnTo>
                  <a:pt x="2344" y="1010"/>
                </a:lnTo>
                <a:lnTo>
                  <a:pt x="2344" y="1007"/>
                </a:lnTo>
                <a:lnTo>
                  <a:pt x="2345" y="1005"/>
                </a:lnTo>
                <a:lnTo>
                  <a:pt x="2345" y="1003"/>
                </a:lnTo>
                <a:lnTo>
                  <a:pt x="2346" y="1001"/>
                </a:lnTo>
                <a:lnTo>
                  <a:pt x="2348" y="1000"/>
                </a:lnTo>
                <a:lnTo>
                  <a:pt x="2351" y="997"/>
                </a:lnTo>
                <a:lnTo>
                  <a:pt x="2353" y="996"/>
                </a:lnTo>
                <a:lnTo>
                  <a:pt x="2355" y="996"/>
                </a:lnTo>
                <a:close/>
                <a:moveTo>
                  <a:pt x="1772" y="1085"/>
                </a:moveTo>
                <a:lnTo>
                  <a:pt x="1776" y="1085"/>
                </a:lnTo>
                <a:lnTo>
                  <a:pt x="1780" y="1087"/>
                </a:lnTo>
                <a:lnTo>
                  <a:pt x="1782" y="1088"/>
                </a:lnTo>
                <a:lnTo>
                  <a:pt x="1784" y="1089"/>
                </a:lnTo>
                <a:lnTo>
                  <a:pt x="1786" y="1093"/>
                </a:lnTo>
                <a:lnTo>
                  <a:pt x="1787" y="1095"/>
                </a:lnTo>
                <a:lnTo>
                  <a:pt x="1787" y="1098"/>
                </a:lnTo>
                <a:lnTo>
                  <a:pt x="1787" y="1100"/>
                </a:lnTo>
                <a:lnTo>
                  <a:pt x="1786" y="1103"/>
                </a:lnTo>
                <a:lnTo>
                  <a:pt x="1785" y="1105"/>
                </a:lnTo>
                <a:lnTo>
                  <a:pt x="1783" y="1107"/>
                </a:lnTo>
                <a:lnTo>
                  <a:pt x="1781" y="1108"/>
                </a:lnTo>
                <a:lnTo>
                  <a:pt x="1779" y="1110"/>
                </a:lnTo>
                <a:lnTo>
                  <a:pt x="1776" y="1110"/>
                </a:lnTo>
                <a:lnTo>
                  <a:pt x="1772" y="1110"/>
                </a:lnTo>
                <a:lnTo>
                  <a:pt x="1768" y="1109"/>
                </a:lnTo>
                <a:lnTo>
                  <a:pt x="1766" y="1108"/>
                </a:lnTo>
                <a:lnTo>
                  <a:pt x="1765" y="1107"/>
                </a:lnTo>
                <a:lnTo>
                  <a:pt x="1762" y="1103"/>
                </a:lnTo>
                <a:lnTo>
                  <a:pt x="1762" y="1100"/>
                </a:lnTo>
                <a:lnTo>
                  <a:pt x="1761" y="1098"/>
                </a:lnTo>
                <a:lnTo>
                  <a:pt x="1762" y="1095"/>
                </a:lnTo>
                <a:lnTo>
                  <a:pt x="1762" y="1093"/>
                </a:lnTo>
                <a:lnTo>
                  <a:pt x="1763" y="1091"/>
                </a:lnTo>
                <a:lnTo>
                  <a:pt x="1765" y="1089"/>
                </a:lnTo>
                <a:lnTo>
                  <a:pt x="1767" y="1087"/>
                </a:lnTo>
                <a:lnTo>
                  <a:pt x="1769" y="1086"/>
                </a:lnTo>
                <a:lnTo>
                  <a:pt x="1772" y="1085"/>
                </a:lnTo>
                <a:close/>
                <a:moveTo>
                  <a:pt x="2289" y="990"/>
                </a:moveTo>
                <a:lnTo>
                  <a:pt x="2292" y="990"/>
                </a:lnTo>
                <a:lnTo>
                  <a:pt x="2294" y="990"/>
                </a:lnTo>
                <a:lnTo>
                  <a:pt x="2297" y="991"/>
                </a:lnTo>
                <a:lnTo>
                  <a:pt x="2299" y="993"/>
                </a:lnTo>
                <a:lnTo>
                  <a:pt x="2301" y="994"/>
                </a:lnTo>
                <a:lnTo>
                  <a:pt x="2302" y="996"/>
                </a:lnTo>
                <a:lnTo>
                  <a:pt x="2303" y="998"/>
                </a:lnTo>
                <a:lnTo>
                  <a:pt x="2304" y="1001"/>
                </a:lnTo>
                <a:lnTo>
                  <a:pt x="2304" y="1003"/>
                </a:lnTo>
                <a:lnTo>
                  <a:pt x="2304" y="1006"/>
                </a:lnTo>
                <a:lnTo>
                  <a:pt x="2303" y="1008"/>
                </a:lnTo>
                <a:lnTo>
                  <a:pt x="2302" y="1010"/>
                </a:lnTo>
                <a:lnTo>
                  <a:pt x="2301" y="1011"/>
                </a:lnTo>
                <a:lnTo>
                  <a:pt x="2299" y="1013"/>
                </a:lnTo>
                <a:lnTo>
                  <a:pt x="2297" y="1014"/>
                </a:lnTo>
                <a:lnTo>
                  <a:pt x="2295" y="1015"/>
                </a:lnTo>
                <a:lnTo>
                  <a:pt x="2293" y="1015"/>
                </a:lnTo>
                <a:lnTo>
                  <a:pt x="2290" y="1016"/>
                </a:lnTo>
                <a:lnTo>
                  <a:pt x="2288" y="1015"/>
                </a:lnTo>
                <a:lnTo>
                  <a:pt x="2285" y="1014"/>
                </a:lnTo>
                <a:lnTo>
                  <a:pt x="2283" y="1013"/>
                </a:lnTo>
                <a:lnTo>
                  <a:pt x="2281" y="1011"/>
                </a:lnTo>
                <a:lnTo>
                  <a:pt x="2280" y="1009"/>
                </a:lnTo>
                <a:lnTo>
                  <a:pt x="2279" y="1007"/>
                </a:lnTo>
                <a:lnTo>
                  <a:pt x="2278" y="1005"/>
                </a:lnTo>
                <a:lnTo>
                  <a:pt x="2278" y="1002"/>
                </a:lnTo>
                <a:lnTo>
                  <a:pt x="2279" y="1000"/>
                </a:lnTo>
                <a:lnTo>
                  <a:pt x="2279" y="998"/>
                </a:lnTo>
                <a:lnTo>
                  <a:pt x="2280" y="996"/>
                </a:lnTo>
                <a:lnTo>
                  <a:pt x="2282" y="994"/>
                </a:lnTo>
                <a:lnTo>
                  <a:pt x="2283" y="993"/>
                </a:lnTo>
                <a:lnTo>
                  <a:pt x="2285" y="992"/>
                </a:lnTo>
                <a:lnTo>
                  <a:pt x="2287" y="991"/>
                </a:lnTo>
                <a:lnTo>
                  <a:pt x="2289" y="990"/>
                </a:lnTo>
                <a:close/>
                <a:moveTo>
                  <a:pt x="1833" y="1061"/>
                </a:moveTo>
                <a:lnTo>
                  <a:pt x="1838" y="1061"/>
                </a:lnTo>
                <a:lnTo>
                  <a:pt x="1840" y="1061"/>
                </a:lnTo>
                <a:lnTo>
                  <a:pt x="1842" y="1062"/>
                </a:lnTo>
                <a:lnTo>
                  <a:pt x="1845" y="1065"/>
                </a:lnTo>
                <a:lnTo>
                  <a:pt x="1847" y="1067"/>
                </a:lnTo>
                <a:lnTo>
                  <a:pt x="1848" y="1069"/>
                </a:lnTo>
                <a:lnTo>
                  <a:pt x="1848" y="1074"/>
                </a:lnTo>
                <a:lnTo>
                  <a:pt x="1848" y="1076"/>
                </a:lnTo>
                <a:lnTo>
                  <a:pt x="1847" y="1079"/>
                </a:lnTo>
                <a:lnTo>
                  <a:pt x="1844" y="1083"/>
                </a:lnTo>
                <a:lnTo>
                  <a:pt x="1842" y="1084"/>
                </a:lnTo>
                <a:lnTo>
                  <a:pt x="1840" y="1085"/>
                </a:lnTo>
                <a:lnTo>
                  <a:pt x="1838" y="1086"/>
                </a:lnTo>
                <a:lnTo>
                  <a:pt x="1833" y="1086"/>
                </a:lnTo>
                <a:lnTo>
                  <a:pt x="1831" y="1085"/>
                </a:lnTo>
                <a:lnTo>
                  <a:pt x="1829" y="1085"/>
                </a:lnTo>
                <a:lnTo>
                  <a:pt x="1826" y="1082"/>
                </a:lnTo>
                <a:lnTo>
                  <a:pt x="1825" y="1080"/>
                </a:lnTo>
                <a:lnTo>
                  <a:pt x="1824" y="1078"/>
                </a:lnTo>
                <a:lnTo>
                  <a:pt x="1823" y="1073"/>
                </a:lnTo>
                <a:lnTo>
                  <a:pt x="1823" y="1070"/>
                </a:lnTo>
                <a:lnTo>
                  <a:pt x="1824" y="1068"/>
                </a:lnTo>
                <a:lnTo>
                  <a:pt x="1827" y="1064"/>
                </a:lnTo>
                <a:lnTo>
                  <a:pt x="1829" y="1063"/>
                </a:lnTo>
                <a:lnTo>
                  <a:pt x="1831" y="1061"/>
                </a:lnTo>
                <a:lnTo>
                  <a:pt x="1833" y="1061"/>
                </a:lnTo>
                <a:close/>
                <a:moveTo>
                  <a:pt x="2223" y="988"/>
                </a:moveTo>
                <a:lnTo>
                  <a:pt x="2225" y="988"/>
                </a:lnTo>
                <a:lnTo>
                  <a:pt x="2227" y="989"/>
                </a:lnTo>
                <a:lnTo>
                  <a:pt x="2230" y="989"/>
                </a:lnTo>
                <a:lnTo>
                  <a:pt x="2232" y="990"/>
                </a:lnTo>
                <a:lnTo>
                  <a:pt x="2234" y="992"/>
                </a:lnTo>
                <a:lnTo>
                  <a:pt x="2235" y="994"/>
                </a:lnTo>
                <a:lnTo>
                  <a:pt x="2237" y="996"/>
                </a:lnTo>
                <a:lnTo>
                  <a:pt x="2237" y="998"/>
                </a:lnTo>
                <a:lnTo>
                  <a:pt x="2238" y="1001"/>
                </a:lnTo>
                <a:lnTo>
                  <a:pt x="2237" y="1006"/>
                </a:lnTo>
                <a:lnTo>
                  <a:pt x="2236" y="1008"/>
                </a:lnTo>
                <a:lnTo>
                  <a:pt x="2235" y="1009"/>
                </a:lnTo>
                <a:lnTo>
                  <a:pt x="2231" y="1012"/>
                </a:lnTo>
                <a:lnTo>
                  <a:pt x="2229" y="1013"/>
                </a:lnTo>
                <a:lnTo>
                  <a:pt x="2227" y="1014"/>
                </a:lnTo>
                <a:lnTo>
                  <a:pt x="2225" y="1014"/>
                </a:lnTo>
                <a:lnTo>
                  <a:pt x="2222" y="1014"/>
                </a:lnTo>
                <a:lnTo>
                  <a:pt x="2220" y="1013"/>
                </a:lnTo>
                <a:lnTo>
                  <a:pt x="2218" y="1012"/>
                </a:lnTo>
                <a:lnTo>
                  <a:pt x="2216" y="1010"/>
                </a:lnTo>
                <a:lnTo>
                  <a:pt x="2214" y="1008"/>
                </a:lnTo>
                <a:lnTo>
                  <a:pt x="2213" y="1006"/>
                </a:lnTo>
                <a:lnTo>
                  <a:pt x="2212" y="1004"/>
                </a:lnTo>
                <a:lnTo>
                  <a:pt x="2212" y="1001"/>
                </a:lnTo>
                <a:lnTo>
                  <a:pt x="2213" y="997"/>
                </a:lnTo>
                <a:lnTo>
                  <a:pt x="2214" y="995"/>
                </a:lnTo>
                <a:lnTo>
                  <a:pt x="2215" y="993"/>
                </a:lnTo>
                <a:lnTo>
                  <a:pt x="2218" y="990"/>
                </a:lnTo>
                <a:lnTo>
                  <a:pt x="2220" y="989"/>
                </a:lnTo>
                <a:lnTo>
                  <a:pt x="2223" y="988"/>
                </a:lnTo>
                <a:close/>
                <a:moveTo>
                  <a:pt x="1896" y="1040"/>
                </a:moveTo>
                <a:lnTo>
                  <a:pt x="1901" y="1040"/>
                </a:lnTo>
                <a:lnTo>
                  <a:pt x="1903" y="1040"/>
                </a:lnTo>
                <a:lnTo>
                  <a:pt x="1905" y="1041"/>
                </a:lnTo>
                <a:lnTo>
                  <a:pt x="1907" y="1043"/>
                </a:lnTo>
                <a:lnTo>
                  <a:pt x="1908" y="1044"/>
                </a:lnTo>
                <a:lnTo>
                  <a:pt x="1910" y="1046"/>
                </a:lnTo>
                <a:lnTo>
                  <a:pt x="1911" y="1048"/>
                </a:lnTo>
                <a:lnTo>
                  <a:pt x="1911" y="1051"/>
                </a:lnTo>
                <a:lnTo>
                  <a:pt x="1911" y="1054"/>
                </a:lnTo>
                <a:lnTo>
                  <a:pt x="1911" y="1056"/>
                </a:lnTo>
                <a:lnTo>
                  <a:pt x="1910" y="1058"/>
                </a:lnTo>
                <a:lnTo>
                  <a:pt x="1908" y="1060"/>
                </a:lnTo>
                <a:lnTo>
                  <a:pt x="1907" y="1062"/>
                </a:lnTo>
                <a:lnTo>
                  <a:pt x="1904" y="1063"/>
                </a:lnTo>
                <a:lnTo>
                  <a:pt x="1902" y="1064"/>
                </a:lnTo>
                <a:lnTo>
                  <a:pt x="1900" y="1065"/>
                </a:lnTo>
                <a:lnTo>
                  <a:pt x="1896" y="1065"/>
                </a:lnTo>
                <a:lnTo>
                  <a:pt x="1894" y="1064"/>
                </a:lnTo>
                <a:lnTo>
                  <a:pt x="1892" y="1063"/>
                </a:lnTo>
                <a:lnTo>
                  <a:pt x="1890" y="1062"/>
                </a:lnTo>
                <a:lnTo>
                  <a:pt x="1888" y="1060"/>
                </a:lnTo>
                <a:lnTo>
                  <a:pt x="1887" y="1058"/>
                </a:lnTo>
                <a:lnTo>
                  <a:pt x="1886" y="1056"/>
                </a:lnTo>
                <a:lnTo>
                  <a:pt x="1886" y="1053"/>
                </a:lnTo>
                <a:lnTo>
                  <a:pt x="1886" y="1051"/>
                </a:lnTo>
                <a:lnTo>
                  <a:pt x="1886" y="1049"/>
                </a:lnTo>
                <a:lnTo>
                  <a:pt x="1887" y="1046"/>
                </a:lnTo>
                <a:lnTo>
                  <a:pt x="1888" y="1044"/>
                </a:lnTo>
                <a:lnTo>
                  <a:pt x="1890" y="1042"/>
                </a:lnTo>
                <a:lnTo>
                  <a:pt x="1892" y="1041"/>
                </a:lnTo>
                <a:lnTo>
                  <a:pt x="1895" y="1040"/>
                </a:lnTo>
                <a:lnTo>
                  <a:pt x="1896" y="1040"/>
                </a:lnTo>
                <a:close/>
                <a:moveTo>
                  <a:pt x="2156" y="991"/>
                </a:moveTo>
                <a:lnTo>
                  <a:pt x="2157" y="991"/>
                </a:lnTo>
                <a:lnTo>
                  <a:pt x="2162" y="991"/>
                </a:lnTo>
                <a:lnTo>
                  <a:pt x="2164" y="992"/>
                </a:lnTo>
                <a:lnTo>
                  <a:pt x="2166" y="994"/>
                </a:lnTo>
                <a:lnTo>
                  <a:pt x="2168" y="996"/>
                </a:lnTo>
                <a:lnTo>
                  <a:pt x="2169" y="998"/>
                </a:lnTo>
                <a:lnTo>
                  <a:pt x="2170" y="1000"/>
                </a:lnTo>
                <a:lnTo>
                  <a:pt x="2171" y="1003"/>
                </a:lnTo>
                <a:lnTo>
                  <a:pt x="2171" y="1005"/>
                </a:lnTo>
                <a:lnTo>
                  <a:pt x="2170" y="1007"/>
                </a:lnTo>
                <a:lnTo>
                  <a:pt x="2169" y="1009"/>
                </a:lnTo>
                <a:lnTo>
                  <a:pt x="2168" y="1011"/>
                </a:lnTo>
                <a:lnTo>
                  <a:pt x="2166" y="1013"/>
                </a:lnTo>
                <a:lnTo>
                  <a:pt x="2164" y="1014"/>
                </a:lnTo>
                <a:lnTo>
                  <a:pt x="2160" y="1016"/>
                </a:lnTo>
                <a:lnTo>
                  <a:pt x="2159" y="1016"/>
                </a:lnTo>
                <a:lnTo>
                  <a:pt x="2154" y="1016"/>
                </a:lnTo>
                <a:lnTo>
                  <a:pt x="2151" y="1015"/>
                </a:lnTo>
                <a:lnTo>
                  <a:pt x="2149" y="1013"/>
                </a:lnTo>
                <a:lnTo>
                  <a:pt x="2148" y="1011"/>
                </a:lnTo>
                <a:lnTo>
                  <a:pt x="2146" y="1009"/>
                </a:lnTo>
                <a:lnTo>
                  <a:pt x="2145" y="1007"/>
                </a:lnTo>
                <a:lnTo>
                  <a:pt x="2145" y="1004"/>
                </a:lnTo>
                <a:lnTo>
                  <a:pt x="2145" y="1002"/>
                </a:lnTo>
                <a:lnTo>
                  <a:pt x="2146" y="1000"/>
                </a:lnTo>
                <a:lnTo>
                  <a:pt x="2146" y="997"/>
                </a:lnTo>
                <a:lnTo>
                  <a:pt x="2148" y="996"/>
                </a:lnTo>
                <a:lnTo>
                  <a:pt x="2149" y="994"/>
                </a:lnTo>
                <a:lnTo>
                  <a:pt x="2151" y="993"/>
                </a:lnTo>
                <a:lnTo>
                  <a:pt x="2156" y="991"/>
                </a:lnTo>
                <a:close/>
                <a:moveTo>
                  <a:pt x="1960" y="1022"/>
                </a:moveTo>
                <a:lnTo>
                  <a:pt x="1965" y="1022"/>
                </a:lnTo>
                <a:lnTo>
                  <a:pt x="1967" y="1023"/>
                </a:lnTo>
                <a:lnTo>
                  <a:pt x="1969" y="1024"/>
                </a:lnTo>
                <a:lnTo>
                  <a:pt x="1971" y="1025"/>
                </a:lnTo>
                <a:lnTo>
                  <a:pt x="1972" y="1027"/>
                </a:lnTo>
                <a:lnTo>
                  <a:pt x="1974" y="1029"/>
                </a:lnTo>
                <a:lnTo>
                  <a:pt x="1974" y="1031"/>
                </a:lnTo>
                <a:lnTo>
                  <a:pt x="1975" y="1034"/>
                </a:lnTo>
                <a:lnTo>
                  <a:pt x="1975" y="1036"/>
                </a:lnTo>
                <a:lnTo>
                  <a:pt x="1974" y="1039"/>
                </a:lnTo>
                <a:lnTo>
                  <a:pt x="1973" y="1041"/>
                </a:lnTo>
                <a:lnTo>
                  <a:pt x="1971" y="1043"/>
                </a:lnTo>
                <a:lnTo>
                  <a:pt x="1970" y="1045"/>
                </a:lnTo>
                <a:lnTo>
                  <a:pt x="1968" y="1046"/>
                </a:lnTo>
                <a:lnTo>
                  <a:pt x="1965" y="1047"/>
                </a:lnTo>
                <a:lnTo>
                  <a:pt x="1960" y="1047"/>
                </a:lnTo>
                <a:lnTo>
                  <a:pt x="1957" y="1046"/>
                </a:lnTo>
                <a:lnTo>
                  <a:pt x="1955" y="1045"/>
                </a:lnTo>
                <a:lnTo>
                  <a:pt x="1953" y="1044"/>
                </a:lnTo>
                <a:lnTo>
                  <a:pt x="1952" y="1042"/>
                </a:lnTo>
                <a:lnTo>
                  <a:pt x="1950" y="1040"/>
                </a:lnTo>
                <a:lnTo>
                  <a:pt x="1950" y="1038"/>
                </a:lnTo>
                <a:lnTo>
                  <a:pt x="1949" y="1035"/>
                </a:lnTo>
                <a:lnTo>
                  <a:pt x="1949" y="1032"/>
                </a:lnTo>
                <a:lnTo>
                  <a:pt x="1950" y="1030"/>
                </a:lnTo>
                <a:lnTo>
                  <a:pt x="1951" y="1028"/>
                </a:lnTo>
                <a:lnTo>
                  <a:pt x="1952" y="1026"/>
                </a:lnTo>
                <a:lnTo>
                  <a:pt x="1954" y="1024"/>
                </a:lnTo>
                <a:lnTo>
                  <a:pt x="1956" y="1023"/>
                </a:lnTo>
                <a:lnTo>
                  <a:pt x="1959" y="1022"/>
                </a:lnTo>
                <a:lnTo>
                  <a:pt x="1960" y="1022"/>
                </a:lnTo>
                <a:close/>
                <a:moveTo>
                  <a:pt x="2090" y="997"/>
                </a:moveTo>
                <a:lnTo>
                  <a:pt x="2093" y="997"/>
                </a:lnTo>
                <a:lnTo>
                  <a:pt x="2095" y="998"/>
                </a:lnTo>
                <a:lnTo>
                  <a:pt x="2098" y="999"/>
                </a:lnTo>
                <a:lnTo>
                  <a:pt x="2100" y="1000"/>
                </a:lnTo>
                <a:lnTo>
                  <a:pt x="2102" y="1001"/>
                </a:lnTo>
                <a:lnTo>
                  <a:pt x="2103" y="1003"/>
                </a:lnTo>
                <a:lnTo>
                  <a:pt x="2104" y="1006"/>
                </a:lnTo>
                <a:lnTo>
                  <a:pt x="2105" y="1008"/>
                </a:lnTo>
                <a:lnTo>
                  <a:pt x="2105" y="1011"/>
                </a:lnTo>
                <a:lnTo>
                  <a:pt x="2104" y="1013"/>
                </a:lnTo>
                <a:lnTo>
                  <a:pt x="2104" y="1015"/>
                </a:lnTo>
                <a:lnTo>
                  <a:pt x="2102" y="1018"/>
                </a:lnTo>
                <a:lnTo>
                  <a:pt x="2101" y="1019"/>
                </a:lnTo>
                <a:lnTo>
                  <a:pt x="2099" y="1021"/>
                </a:lnTo>
                <a:lnTo>
                  <a:pt x="2097" y="1022"/>
                </a:lnTo>
                <a:lnTo>
                  <a:pt x="2094" y="1023"/>
                </a:lnTo>
                <a:lnTo>
                  <a:pt x="2091" y="1023"/>
                </a:lnTo>
                <a:lnTo>
                  <a:pt x="2089" y="1022"/>
                </a:lnTo>
                <a:lnTo>
                  <a:pt x="2086" y="1021"/>
                </a:lnTo>
                <a:lnTo>
                  <a:pt x="2084" y="1020"/>
                </a:lnTo>
                <a:lnTo>
                  <a:pt x="2082" y="1018"/>
                </a:lnTo>
                <a:lnTo>
                  <a:pt x="2081" y="1016"/>
                </a:lnTo>
                <a:lnTo>
                  <a:pt x="2080" y="1014"/>
                </a:lnTo>
                <a:lnTo>
                  <a:pt x="2079" y="1012"/>
                </a:lnTo>
                <a:lnTo>
                  <a:pt x="2079" y="1009"/>
                </a:lnTo>
                <a:lnTo>
                  <a:pt x="2080" y="1007"/>
                </a:lnTo>
                <a:lnTo>
                  <a:pt x="2082" y="1002"/>
                </a:lnTo>
                <a:lnTo>
                  <a:pt x="2083" y="1001"/>
                </a:lnTo>
                <a:lnTo>
                  <a:pt x="2085" y="999"/>
                </a:lnTo>
                <a:lnTo>
                  <a:pt x="2087" y="998"/>
                </a:lnTo>
                <a:lnTo>
                  <a:pt x="2090" y="997"/>
                </a:lnTo>
                <a:close/>
                <a:moveTo>
                  <a:pt x="2024" y="1008"/>
                </a:moveTo>
                <a:lnTo>
                  <a:pt x="2029" y="1008"/>
                </a:lnTo>
                <a:lnTo>
                  <a:pt x="2032" y="1009"/>
                </a:lnTo>
                <a:lnTo>
                  <a:pt x="2034" y="1010"/>
                </a:lnTo>
                <a:lnTo>
                  <a:pt x="2036" y="1011"/>
                </a:lnTo>
                <a:lnTo>
                  <a:pt x="2037" y="1013"/>
                </a:lnTo>
                <a:lnTo>
                  <a:pt x="2038" y="1015"/>
                </a:lnTo>
                <a:lnTo>
                  <a:pt x="2039" y="1018"/>
                </a:lnTo>
                <a:lnTo>
                  <a:pt x="2039" y="1023"/>
                </a:lnTo>
                <a:lnTo>
                  <a:pt x="2038" y="1025"/>
                </a:lnTo>
                <a:lnTo>
                  <a:pt x="2037" y="1028"/>
                </a:lnTo>
                <a:lnTo>
                  <a:pt x="2036" y="1029"/>
                </a:lnTo>
                <a:lnTo>
                  <a:pt x="2034" y="1031"/>
                </a:lnTo>
                <a:lnTo>
                  <a:pt x="2031" y="1032"/>
                </a:lnTo>
                <a:lnTo>
                  <a:pt x="2029" y="1033"/>
                </a:lnTo>
                <a:lnTo>
                  <a:pt x="2024" y="1033"/>
                </a:lnTo>
                <a:lnTo>
                  <a:pt x="2022" y="1032"/>
                </a:lnTo>
                <a:lnTo>
                  <a:pt x="2019" y="1031"/>
                </a:lnTo>
                <a:lnTo>
                  <a:pt x="2017" y="1029"/>
                </a:lnTo>
                <a:lnTo>
                  <a:pt x="2016" y="1027"/>
                </a:lnTo>
                <a:lnTo>
                  <a:pt x="2015" y="1025"/>
                </a:lnTo>
                <a:lnTo>
                  <a:pt x="2014" y="1023"/>
                </a:lnTo>
                <a:lnTo>
                  <a:pt x="2014" y="1018"/>
                </a:lnTo>
                <a:lnTo>
                  <a:pt x="2015" y="1015"/>
                </a:lnTo>
                <a:lnTo>
                  <a:pt x="2016" y="1013"/>
                </a:lnTo>
                <a:lnTo>
                  <a:pt x="2018" y="1011"/>
                </a:lnTo>
                <a:lnTo>
                  <a:pt x="2020" y="1010"/>
                </a:lnTo>
                <a:lnTo>
                  <a:pt x="2022" y="1008"/>
                </a:lnTo>
                <a:lnTo>
                  <a:pt x="2024" y="1008"/>
                </a:lnTo>
                <a:close/>
                <a:moveTo>
                  <a:pt x="513" y="2208"/>
                </a:moveTo>
                <a:lnTo>
                  <a:pt x="517" y="2208"/>
                </a:lnTo>
                <a:lnTo>
                  <a:pt x="520" y="2209"/>
                </a:lnTo>
                <a:lnTo>
                  <a:pt x="522" y="2210"/>
                </a:lnTo>
                <a:lnTo>
                  <a:pt x="524" y="2211"/>
                </a:lnTo>
                <a:lnTo>
                  <a:pt x="526" y="2213"/>
                </a:lnTo>
                <a:lnTo>
                  <a:pt x="527" y="2215"/>
                </a:lnTo>
                <a:lnTo>
                  <a:pt x="528" y="2218"/>
                </a:lnTo>
                <a:lnTo>
                  <a:pt x="528" y="2220"/>
                </a:lnTo>
                <a:lnTo>
                  <a:pt x="528" y="2223"/>
                </a:lnTo>
                <a:lnTo>
                  <a:pt x="527" y="2225"/>
                </a:lnTo>
                <a:lnTo>
                  <a:pt x="526" y="2228"/>
                </a:lnTo>
                <a:lnTo>
                  <a:pt x="524" y="2231"/>
                </a:lnTo>
                <a:lnTo>
                  <a:pt x="521" y="2232"/>
                </a:lnTo>
                <a:lnTo>
                  <a:pt x="518" y="2233"/>
                </a:lnTo>
                <a:lnTo>
                  <a:pt x="514" y="2234"/>
                </a:lnTo>
                <a:lnTo>
                  <a:pt x="511" y="2233"/>
                </a:lnTo>
                <a:lnTo>
                  <a:pt x="508" y="2232"/>
                </a:lnTo>
                <a:lnTo>
                  <a:pt x="506" y="2230"/>
                </a:lnTo>
                <a:lnTo>
                  <a:pt x="505" y="2228"/>
                </a:lnTo>
                <a:lnTo>
                  <a:pt x="504" y="2226"/>
                </a:lnTo>
                <a:lnTo>
                  <a:pt x="503" y="2224"/>
                </a:lnTo>
                <a:lnTo>
                  <a:pt x="502" y="2221"/>
                </a:lnTo>
                <a:lnTo>
                  <a:pt x="503" y="2219"/>
                </a:lnTo>
                <a:lnTo>
                  <a:pt x="503" y="2216"/>
                </a:lnTo>
                <a:lnTo>
                  <a:pt x="505" y="2213"/>
                </a:lnTo>
                <a:lnTo>
                  <a:pt x="507" y="2211"/>
                </a:lnTo>
                <a:lnTo>
                  <a:pt x="510" y="2209"/>
                </a:lnTo>
                <a:lnTo>
                  <a:pt x="513" y="2208"/>
                </a:lnTo>
                <a:close/>
                <a:moveTo>
                  <a:pt x="537" y="2146"/>
                </a:moveTo>
                <a:lnTo>
                  <a:pt x="541" y="2146"/>
                </a:lnTo>
                <a:lnTo>
                  <a:pt x="544" y="2147"/>
                </a:lnTo>
                <a:lnTo>
                  <a:pt x="546" y="2148"/>
                </a:lnTo>
                <a:lnTo>
                  <a:pt x="548" y="2150"/>
                </a:lnTo>
                <a:lnTo>
                  <a:pt x="550" y="2152"/>
                </a:lnTo>
                <a:lnTo>
                  <a:pt x="551" y="2154"/>
                </a:lnTo>
                <a:lnTo>
                  <a:pt x="552" y="2156"/>
                </a:lnTo>
                <a:lnTo>
                  <a:pt x="552" y="2159"/>
                </a:lnTo>
                <a:lnTo>
                  <a:pt x="552" y="2161"/>
                </a:lnTo>
                <a:lnTo>
                  <a:pt x="551" y="2164"/>
                </a:lnTo>
                <a:lnTo>
                  <a:pt x="550" y="2167"/>
                </a:lnTo>
                <a:lnTo>
                  <a:pt x="547" y="2169"/>
                </a:lnTo>
                <a:lnTo>
                  <a:pt x="545" y="2171"/>
                </a:lnTo>
                <a:lnTo>
                  <a:pt x="542" y="2172"/>
                </a:lnTo>
                <a:lnTo>
                  <a:pt x="538" y="2172"/>
                </a:lnTo>
                <a:lnTo>
                  <a:pt x="535" y="2171"/>
                </a:lnTo>
                <a:lnTo>
                  <a:pt x="532" y="2170"/>
                </a:lnTo>
                <a:lnTo>
                  <a:pt x="530" y="2168"/>
                </a:lnTo>
                <a:lnTo>
                  <a:pt x="529" y="2166"/>
                </a:lnTo>
                <a:lnTo>
                  <a:pt x="527" y="2164"/>
                </a:lnTo>
                <a:lnTo>
                  <a:pt x="527" y="2162"/>
                </a:lnTo>
                <a:lnTo>
                  <a:pt x="526" y="2159"/>
                </a:lnTo>
                <a:lnTo>
                  <a:pt x="527" y="2157"/>
                </a:lnTo>
                <a:lnTo>
                  <a:pt x="527" y="2154"/>
                </a:lnTo>
                <a:lnTo>
                  <a:pt x="529" y="2151"/>
                </a:lnTo>
                <a:lnTo>
                  <a:pt x="531" y="2149"/>
                </a:lnTo>
                <a:lnTo>
                  <a:pt x="534" y="2147"/>
                </a:lnTo>
                <a:lnTo>
                  <a:pt x="537" y="2146"/>
                </a:lnTo>
                <a:close/>
                <a:moveTo>
                  <a:pt x="562" y="2085"/>
                </a:moveTo>
                <a:lnTo>
                  <a:pt x="566" y="2085"/>
                </a:lnTo>
                <a:lnTo>
                  <a:pt x="569" y="2086"/>
                </a:lnTo>
                <a:lnTo>
                  <a:pt x="572" y="2087"/>
                </a:lnTo>
                <a:lnTo>
                  <a:pt x="574" y="2089"/>
                </a:lnTo>
                <a:lnTo>
                  <a:pt x="575" y="2091"/>
                </a:lnTo>
                <a:lnTo>
                  <a:pt x="576" y="2093"/>
                </a:lnTo>
                <a:lnTo>
                  <a:pt x="577" y="2095"/>
                </a:lnTo>
                <a:lnTo>
                  <a:pt x="577" y="2098"/>
                </a:lnTo>
                <a:lnTo>
                  <a:pt x="577" y="2100"/>
                </a:lnTo>
                <a:lnTo>
                  <a:pt x="576" y="2103"/>
                </a:lnTo>
                <a:lnTo>
                  <a:pt x="575" y="2106"/>
                </a:lnTo>
                <a:lnTo>
                  <a:pt x="572" y="2108"/>
                </a:lnTo>
                <a:lnTo>
                  <a:pt x="570" y="2110"/>
                </a:lnTo>
                <a:lnTo>
                  <a:pt x="567" y="2111"/>
                </a:lnTo>
                <a:lnTo>
                  <a:pt x="563" y="2111"/>
                </a:lnTo>
                <a:lnTo>
                  <a:pt x="559" y="2110"/>
                </a:lnTo>
                <a:lnTo>
                  <a:pt x="557" y="2108"/>
                </a:lnTo>
                <a:lnTo>
                  <a:pt x="555" y="2107"/>
                </a:lnTo>
                <a:lnTo>
                  <a:pt x="554" y="2105"/>
                </a:lnTo>
                <a:lnTo>
                  <a:pt x="552" y="2103"/>
                </a:lnTo>
                <a:lnTo>
                  <a:pt x="552" y="2100"/>
                </a:lnTo>
                <a:lnTo>
                  <a:pt x="551" y="2098"/>
                </a:lnTo>
                <a:lnTo>
                  <a:pt x="552" y="2095"/>
                </a:lnTo>
                <a:lnTo>
                  <a:pt x="552" y="2093"/>
                </a:lnTo>
                <a:lnTo>
                  <a:pt x="554" y="2090"/>
                </a:lnTo>
                <a:lnTo>
                  <a:pt x="556" y="2088"/>
                </a:lnTo>
                <a:lnTo>
                  <a:pt x="559" y="2086"/>
                </a:lnTo>
                <a:lnTo>
                  <a:pt x="562" y="2085"/>
                </a:lnTo>
                <a:close/>
                <a:moveTo>
                  <a:pt x="588" y="2024"/>
                </a:moveTo>
                <a:lnTo>
                  <a:pt x="592" y="2024"/>
                </a:lnTo>
                <a:lnTo>
                  <a:pt x="596" y="2025"/>
                </a:lnTo>
                <a:lnTo>
                  <a:pt x="598" y="2026"/>
                </a:lnTo>
                <a:lnTo>
                  <a:pt x="600" y="2028"/>
                </a:lnTo>
                <a:lnTo>
                  <a:pt x="601" y="2030"/>
                </a:lnTo>
                <a:lnTo>
                  <a:pt x="603" y="2032"/>
                </a:lnTo>
                <a:lnTo>
                  <a:pt x="603" y="2035"/>
                </a:lnTo>
                <a:lnTo>
                  <a:pt x="603" y="2037"/>
                </a:lnTo>
                <a:lnTo>
                  <a:pt x="603" y="2040"/>
                </a:lnTo>
                <a:lnTo>
                  <a:pt x="602" y="2042"/>
                </a:lnTo>
                <a:lnTo>
                  <a:pt x="601" y="2045"/>
                </a:lnTo>
                <a:lnTo>
                  <a:pt x="598" y="2047"/>
                </a:lnTo>
                <a:lnTo>
                  <a:pt x="597" y="2048"/>
                </a:lnTo>
                <a:lnTo>
                  <a:pt x="596" y="2049"/>
                </a:lnTo>
                <a:lnTo>
                  <a:pt x="593" y="2050"/>
                </a:lnTo>
                <a:lnTo>
                  <a:pt x="589" y="2050"/>
                </a:lnTo>
                <a:lnTo>
                  <a:pt x="585" y="2049"/>
                </a:lnTo>
                <a:lnTo>
                  <a:pt x="583" y="2048"/>
                </a:lnTo>
                <a:lnTo>
                  <a:pt x="581" y="2046"/>
                </a:lnTo>
                <a:lnTo>
                  <a:pt x="580" y="2044"/>
                </a:lnTo>
                <a:lnTo>
                  <a:pt x="578" y="2042"/>
                </a:lnTo>
                <a:lnTo>
                  <a:pt x="578" y="2039"/>
                </a:lnTo>
                <a:lnTo>
                  <a:pt x="578" y="2037"/>
                </a:lnTo>
                <a:lnTo>
                  <a:pt x="578" y="2034"/>
                </a:lnTo>
                <a:lnTo>
                  <a:pt x="579" y="2032"/>
                </a:lnTo>
                <a:lnTo>
                  <a:pt x="580" y="2029"/>
                </a:lnTo>
                <a:lnTo>
                  <a:pt x="583" y="2027"/>
                </a:lnTo>
                <a:lnTo>
                  <a:pt x="584" y="2026"/>
                </a:lnTo>
                <a:lnTo>
                  <a:pt x="585" y="2025"/>
                </a:lnTo>
                <a:lnTo>
                  <a:pt x="588" y="2024"/>
                </a:lnTo>
                <a:close/>
                <a:moveTo>
                  <a:pt x="616" y="1964"/>
                </a:moveTo>
                <a:lnTo>
                  <a:pt x="619" y="1964"/>
                </a:lnTo>
                <a:lnTo>
                  <a:pt x="623" y="1965"/>
                </a:lnTo>
                <a:lnTo>
                  <a:pt x="625" y="1966"/>
                </a:lnTo>
                <a:lnTo>
                  <a:pt x="627" y="1968"/>
                </a:lnTo>
                <a:lnTo>
                  <a:pt x="629" y="1970"/>
                </a:lnTo>
                <a:lnTo>
                  <a:pt x="630" y="1972"/>
                </a:lnTo>
                <a:lnTo>
                  <a:pt x="631" y="1975"/>
                </a:lnTo>
                <a:lnTo>
                  <a:pt x="631" y="1977"/>
                </a:lnTo>
                <a:lnTo>
                  <a:pt x="630" y="1980"/>
                </a:lnTo>
                <a:lnTo>
                  <a:pt x="629" y="1982"/>
                </a:lnTo>
                <a:lnTo>
                  <a:pt x="628" y="1985"/>
                </a:lnTo>
                <a:lnTo>
                  <a:pt x="626" y="1987"/>
                </a:lnTo>
                <a:lnTo>
                  <a:pt x="623" y="1989"/>
                </a:lnTo>
                <a:lnTo>
                  <a:pt x="620" y="1989"/>
                </a:lnTo>
                <a:lnTo>
                  <a:pt x="616" y="1990"/>
                </a:lnTo>
                <a:lnTo>
                  <a:pt x="612" y="1988"/>
                </a:lnTo>
                <a:lnTo>
                  <a:pt x="610" y="1987"/>
                </a:lnTo>
                <a:lnTo>
                  <a:pt x="608" y="1985"/>
                </a:lnTo>
                <a:lnTo>
                  <a:pt x="607" y="1983"/>
                </a:lnTo>
                <a:lnTo>
                  <a:pt x="606" y="1981"/>
                </a:lnTo>
                <a:lnTo>
                  <a:pt x="605" y="1979"/>
                </a:lnTo>
                <a:lnTo>
                  <a:pt x="605" y="1976"/>
                </a:lnTo>
                <a:lnTo>
                  <a:pt x="605" y="1974"/>
                </a:lnTo>
                <a:lnTo>
                  <a:pt x="606" y="1971"/>
                </a:lnTo>
                <a:lnTo>
                  <a:pt x="608" y="1969"/>
                </a:lnTo>
                <a:lnTo>
                  <a:pt x="610" y="1966"/>
                </a:lnTo>
                <a:lnTo>
                  <a:pt x="613" y="1965"/>
                </a:lnTo>
                <a:lnTo>
                  <a:pt x="616" y="1964"/>
                </a:lnTo>
                <a:close/>
                <a:moveTo>
                  <a:pt x="644" y="1904"/>
                </a:moveTo>
                <a:lnTo>
                  <a:pt x="648" y="1904"/>
                </a:lnTo>
                <a:lnTo>
                  <a:pt x="650" y="1905"/>
                </a:lnTo>
                <a:lnTo>
                  <a:pt x="652" y="1905"/>
                </a:lnTo>
                <a:lnTo>
                  <a:pt x="654" y="1907"/>
                </a:lnTo>
                <a:lnTo>
                  <a:pt x="656" y="1908"/>
                </a:lnTo>
                <a:lnTo>
                  <a:pt x="657" y="1911"/>
                </a:lnTo>
                <a:lnTo>
                  <a:pt x="658" y="1913"/>
                </a:lnTo>
                <a:lnTo>
                  <a:pt x="659" y="1915"/>
                </a:lnTo>
                <a:lnTo>
                  <a:pt x="659" y="1918"/>
                </a:lnTo>
                <a:lnTo>
                  <a:pt x="659" y="1920"/>
                </a:lnTo>
                <a:lnTo>
                  <a:pt x="658" y="1923"/>
                </a:lnTo>
                <a:lnTo>
                  <a:pt x="656" y="1925"/>
                </a:lnTo>
                <a:lnTo>
                  <a:pt x="654" y="1927"/>
                </a:lnTo>
                <a:lnTo>
                  <a:pt x="651" y="1929"/>
                </a:lnTo>
                <a:lnTo>
                  <a:pt x="648" y="1930"/>
                </a:lnTo>
                <a:lnTo>
                  <a:pt x="644" y="1930"/>
                </a:lnTo>
                <a:lnTo>
                  <a:pt x="642" y="1929"/>
                </a:lnTo>
                <a:lnTo>
                  <a:pt x="641" y="1929"/>
                </a:lnTo>
                <a:lnTo>
                  <a:pt x="638" y="1927"/>
                </a:lnTo>
                <a:lnTo>
                  <a:pt x="636" y="1925"/>
                </a:lnTo>
                <a:lnTo>
                  <a:pt x="635" y="1923"/>
                </a:lnTo>
                <a:lnTo>
                  <a:pt x="634" y="1921"/>
                </a:lnTo>
                <a:lnTo>
                  <a:pt x="633" y="1919"/>
                </a:lnTo>
                <a:lnTo>
                  <a:pt x="633" y="1916"/>
                </a:lnTo>
                <a:lnTo>
                  <a:pt x="634" y="1914"/>
                </a:lnTo>
                <a:lnTo>
                  <a:pt x="635" y="1911"/>
                </a:lnTo>
                <a:lnTo>
                  <a:pt x="636" y="1909"/>
                </a:lnTo>
                <a:lnTo>
                  <a:pt x="638" y="1907"/>
                </a:lnTo>
                <a:lnTo>
                  <a:pt x="641" y="1905"/>
                </a:lnTo>
                <a:lnTo>
                  <a:pt x="644" y="1904"/>
                </a:lnTo>
                <a:close/>
                <a:moveTo>
                  <a:pt x="673" y="1845"/>
                </a:moveTo>
                <a:lnTo>
                  <a:pt x="678" y="1845"/>
                </a:lnTo>
                <a:lnTo>
                  <a:pt x="680" y="1845"/>
                </a:lnTo>
                <a:lnTo>
                  <a:pt x="682" y="1846"/>
                </a:lnTo>
                <a:lnTo>
                  <a:pt x="684" y="1848"/>
                </a:lnTo>
                <a:lnTo>
                  <a:pt x="686" y="1849"/>
                </a:lnTo>
                <a:lnTo>
                  <a:pt x="687" y="1852"/>
                </a:lnTo>
                <a:lnTo>
                  <a:pt x="688" y="1854"/>
                </a:lnTo>
                <a:lnTo>
                  <a:pt x="689" y="1856"/>
                </a:lnTo>
                <a:lnTo>
                  <a:pt x="689" y="1859"/>
                </a:lnTo>
                <a:lnTo>
                  <a:pt x="688" y="1861"/>
                </a:lnTo>
                <a:lnTo>
                  <a:pt x="687" y="1864"/>
                </a:lnTo>
                <a:lnTo>
                  <a:pt x="686" y="1866"/>
                </a:lnTo>
                <a:lnTo>
                  <a:pt x="683" y="1868"/>
                </a:lnTo>
                <a:lnTo>
                  <a:pt x="681" y="1870"/>
                </a:lnTo>
                <a:lnTo>
                  <a:pt x="678" y="1871"/>
                </a:lnTo>
                <a:lnTo>
                  <a:pt x="674" y="1871"/>
                </a:lnTo>
                <a:lnTo>
                  <a:pt x="672" y="1870"/>
                </a:lnTo>
                <a:lnTo>
                  <a:pt x="670" y="1869"/>
                </a:lnTo>
                <a:lnTo>
                  <a:pt x="668" y="1868"/>
                </a:lnTo>
                <a:lnTo>
                  <a:pt x="666" y="1866"/>
                </a:lnTo>
                <a:lnTo>
                  <a:pt x="664" y="1864"/>
                </a:lnTo>
                <a:lnTo>
                  <a:pt x="663" y="1862"/>
                </a:lnTo>
                <a:lnTo>
                  <a:pt x="663" y="1859"/>
                </a:lnTo>
                <a:lnTo>
                  <a:pt x="663" y="1857"/>
                </a:lnTo>
                <a:lnTo>
                  <a:pt x="663" y="1854"/>
                </a:lnTo>
                <a:lnTo>
                  <a:pt x="664" y="1852"/>
                </a:lnTo>
                <a:lnTo>
                  <a:pt x="666" y="1849"/>
                </a:lnTo>
                <a:lnTo>
                  <a:pt x="668" y="1847"/>
                </a:lnTo>
                <a:lnTo>
                  <a:pt x="671" y="1846"/>
                </a:lnTo>
                <a:lnTo>
                  <a:pt x="673" y="1845"/>
                </a:lnTo>
                <a:close/>
                <a:moveTo>
                  <a:pt x="704" y="1786"/>
                </a:moveTo>
                <a:lnTo>
                  <a:pt x="708" y="1786"/>
                </a:lnTo>
                <a:lnTo>
                  <a:pt x="713" y="1788"/>
                </a:lnTo>
                <a:lnTo>
                  <a:pt x="715" y="1789"/>
                </a:lnTo>
                <a:lnTo>
                  <a:pt x="717" y="1791"/>
                </a:lnTo>
                <a:lnTo>
                  <a:pt x="718" y="1793"/>
                </a:lnTo>
                <a:lnTo>
                  <a:pt x="719" y="1795"/>
                </a:lnTo>
                <a:lnTo>
                  <a:pt x="719" y="1798"/>
                </a:lnTo>
                <a:lnTo>
                  <a:pt x="719" y="1800"/>
                </a:lnTo>
                <a:lnTo>
                  <a:pt x="718" y="1805"/>
                </a:lnTo>
                <a:lnTo>
                  <a:pt x="716" y="1808"/>
                </a:lnTo>
                <a:lnTo>
                  <a:pt x="714" y="1810"/>
                </a:lnTo>
                <a:lnTo>
                  <a:pt x="711" y="1811"/>
                </a:lnTo>
                <a:lnTo>
                  <a:pt x="709" y="1812"/>
                </a:lnTo>
                <a:lnTo>
                  <a:pt x="704" y="1812"/>
                </a:lnTo>
                <a:lnTo>
                  <a:pt x="700" y="1811"/>
                </a:lnTo>
                <a:lnTo>
                  <a:pt x="698" y="1809"/>
                </a:lnTo>
                <a:lnTo>
                  <a:pt x="696" y="1807"/>
                </a:lnTo>
                <a:lnTo>
                  <a:pt x="695" y="1805"/>
                </a:lnTo>
                <a:lnTo>
                  <a:pt x="694" y="1803"/>
                </a:lnTo>
                <a:lnTo>
                  <a:pt x="694" y="1800"/>
                </a:lnTo>
                <a:lnTo>
                  <a:pt x="694" y="1798"/>
                </a:lnTo>
                <a:lnTo>
                  <a:pt x="695" y="1793"/>
                </a:lnTo>
                <a:lnTo>
                  <a:pt x="697" y="1791"/>
                </a:lnTo>
                <a:lnTo>
                  <a:pt x="699" y="1789"/>
                </a:lnTo>
                <a:lnTo>
                  <a:pt x="701" y="1787"/>
                </a:lnTo>
                <a:lnTo>
                  <a:pt x="704" y="1786"/>
                </a:lnTo>
                <a:close/>
                <a:moveTo>
                  <a:pt x="737" y="1729"/>
                </a:moveTo>
                <a:lnTo>
                  <a:pt x="742" y="1729"/>
                </a:lnTo>
                <a:lnTo>
                  <a:pt x="744" y="1729"/>
                </a:lnTo>
                <a:lnTo>
                  <a:pt x="746" y="1730"/>
                </a:lnTo>
                <a:lnTo>
                  <a:pt x="748" y="1732"/>
                </a:lnTo>
                <a:lnTo>
                  <a:pt x="750" y="1733"/>
                </a:lnTo>
                <a:lnTo>
                  <a:pt x="751" y="1736"/>
                </a:lnTo>
                <a:lnTo>
                  <a:pt x="752" y="1738"/>
                </a:lnTo>
                <a:lnTo>
                  <a:pt x="752" y="1740"/>
                </a:lnTo>
                <a:lnTo>
                  <a:pt x="752" y="1743"/>
                </a:lnTo>
                <a:lnTo>
                  <a:pt x="751" y="1748"/>
                </a:lnTo>
                <a:lnTo>
                  <a:pt x="749" y="1750"/>
                </a:lnTo>
                <a:lnTo>
                  <a:pt x="747" y="1752"/>
                </a:lnTo>
                <a:lnTo>
                  <a:pt x="744" y="1753"/>
                </a:lnTo>
                <a:lnTo>
                  <a:pt x="742" y="1754"/>
                </a:lnTo>
                <a:lnTo>
                  <a:pt x="737" y="1754"/>
                </a:lnTo>
                <a:lnTo>
                  <a:pt x="734" y="1753"/>
                </a:lnTo>
                <a:lnTo>
                  <a:pt x="732" y="1753"/>
                </a:lnTo>
                <a:lnTo>
                  <a:pt x="730" y="1751"/>
                </a:lnTo>
                <a:lnTo>
                  <a:pt x="728" y="1749"/>
                </a:lnTo>
                <a:lnTo>
                  <a:pt x="727" y="1747"/>
                </a:lnTo>
                <a:lnTo>
                  <a:pt x="726" y="1745"/>
                </a:lnTo>
                <a:lnTo>
                  <a:pt x="726" y="1742"/>
                </a:lnTo>
                <a:lnTo>
                  <a:pt x="726" y="1740"/>
                </a:lnTo>
                <a:lnTo>
                  <a:pt x="726" y="1737"/>
                </a:lnTo>
                <a:lnTo>
                  <a:pt x="727" y="1735"/>
                </a:lnTo>
                <a:lnTo>
                  <a:pt x="729" y="1733"/>
                </a:lnTo>
                <a:lnTo>
                  <a:pt x="731" y="1731"/>
                </a:lnTo>
                <a:lnTo>
                  <a:pt x="734" y="1729"/>
                </a:lnTo>
                <a:lnTo>
                  <a:pt x="737" y="1729"/>
                </a:lnTo>
                <a:close/>
                <a:moveTo>
                  <a:pt x="770" y="1671"/>
                </a:moveTo>
                <a:lnTo>
                  <a:pt x="775" y="1671"/>
                </a:lnTo>
                <a:lnTo>
                  <a:pt x="777" y="1672"/>
                </a:lnTo>
                <a:lnTo>
                  <a:pt x="779" y="1673"/>
                </a:lnTo>
                <a:lnTo>
                  <a:pt x="781" y="1674"/>
                </a:lnTo>
                <a:lnTo>
                  <a:pt x="783" y="1676"/>
                </a:lnTo>
                <a:lnTo>
                  <a:pt x="784" y="1679"/>
                </a:lnTo>
                <a:lnTo>
                  <a:pt x="785" y="1681"/>
                </a:lnTo>
                <a:lnTo>
                  <a:pt x="786" y="1683"/>
                </a:lnTo>
                <a:lnTo>
                  <a:pt x="785" y="1686"/>
                </a:lnTo>
                <a:lnTo>
                  <a:pt x="785" y="1688"/>
                </a:lnTo>
                <a:lnTo>
                  <a:pt x="784" y="1691"/>
                </a:lnTo>
                <a:lnTo>
                  <a:pt x="782" y="1693"/>
                </a:lnTo>
                <a:lnTo>
                  <a:pt x="780" y="1695"/>
                </a:lnTo>
                <a:lnTo>
                  <a:pt x="777" y="1696"/>
                </a:lnTo>
                <a:lnTo>
                  <a:pt x="775" y="1697"/>
                </a:lnTo>
                <a:lnTo>
                  <a:pt x="770" y="1697"/>
                </a:lnTo>
                <a:lnTo>
                  <a:pt x="768" y="1696"/>
                </a:lnTo>
                <a:lnTo>
                  <a:pt x="766" y="1695"/>
                </a:lnTo>
                <a:lnTo>
                  <a:pt x="764" y="1694"/>
                </a:lnTo>
                <a:lnTo>
                  <a:pt x="762" y="1692"/>
                </a:lnTo>
                <a:lnTo>
                  <a:pt x="761" y="1690"/>
                </a:lnTo>
                <a:lnTo>
                  <a:pt x="760" y="1687"/>
                </a:lnTo>
                <a:lnTo>
                  <a:pt x="760" y="1685"/>
                </a:lnTo>
                <a:lnTo>
                  <a:pt x="760" y="1682"/>
                </a:lnTo>
                <a:lnTo>
                  <a:pt x="760" y="1680"/>
                </a:lnTo>
                <a:lnTo>
                  <a:pt x="762" y="1677"/>
                </a:lnTo>
                <a:lnTo>
                  <a:pt x="763" y="1675"/>
                </a:lnTo>
                <a:lnTo>
                  <a:pt x="765" y="1673"/>
                </a:lnTo>
                <a:lnTo>
                  <a:pt x="768" y="1672"/>
                </a:lnTo>
                <a:lnTo>
                  <a:pt x="770" y="1671"/>
                </a:lnTo>
                <a:close/>
                <a:moveTo>
                  <a:pt x="805" y="1615"/>
                </a:moveTo>
                <a:lnTo>
                  <a:pt x="809" y="1615"/>
                </a:lnTo>
                <a:lnTo>
                  <a:pt x="812" y="1616"/>
                </a:lnTo>
                <a:lnTo>
                  <a:pt x="814" y="1617"/>
                </a:lnTo>
                <a:lnTo>
                  <a:pt x="816" y="1618"/>
                </a:lnTo>
                <a:lnTo>
                  <a:pt x="818" y="1620"/>
                </a:lnTo>
                <a:lnTo>
                  <a:pt x="819" y="1622"/>
                </a:lnTo>
                <a:lnTo>
                  <a:pt x="820" y="1625"/>
                </a:lnTo>
                <a:lnTo>
                  <a:pt x="820" y="1627"/>
                </a:lnTo>
                <a:lnTo>
                  <a:pt x="820" y="1630"/>
                </a:lnTo>
                <a:lnTo>
                  <a:pt x="819" y="1632"/>
                </a:lnTo>
                <a:lnTo>
                  <a:pt x="818" y="1634"/>
                </a:lnTo>
                <a:lnTo>
                  <a:pt x="816" y="1637"/>
                </a:lnTo>
                <a:lnTo>
                  <a:pt x="814" y="1638"/>
                </a:lnTo>
                <a:lnTo>
                  <a:pt x="812" y="1640"/>
                </a:lnTo>
                <a:lnTo>
                  <a:pt x="809" y="1640"/>
                </a:lnTo>
                <a:lnTo>
                  <a:pt x="805" y="1640"/>
                </a:lnTo>
                <a:lnTo>
                  <a:pt x="802" y="1640"/>
                </a:lnTo>
                <a:lnTo>
                  <a:pt x="800" y="1639"/>
                </a:lnTo>
                <a:lnTo>
                  <a:pt x="798" y="1637"/>
                </a:lnTo>
                <a:lnTo>
                  <a:pt x="797" y="1635"/>
                </a:lnTo>
                <a:lnTo>
                  <a:pt x="795" y="1633"/>
                </a:lnTo>
                <a:lnTo>
                  <a:pt x="794" y="1630"/>
                </a:lnTo>
                <a:lnTo>
                  <a:pt x="794" y="1628"/>
                </a:lnTo>
                <a:lnTo>
                  <a:pt x="794" y="1626"/>
                </a:lnTo>
                <a:lnTo>
                  <a:pt x="795" y="1623"/>
                </a:lnTo>
                <a:lnTo>
                  <a:pt x="796" y="1621"/>
                </a:lnTo>
                <a:lnTo>
                  <a:pt x="798" y="1619"/>
                </a:lnTo>
                <a:lnTo>
                  <a:pt x="800" y="1617"/>
                </a:lnTo>
                <a:lnTo>
                  <a:pt x="802" y="1616"/>
                </a:lnTo>
                <a:lnTo>
                  <a:pt x="805" y="1615"/>
                </a:lnTo>
                <a:close/>
                <a:moveTo>
                  <a:pt x="841" y="1559"/>
                </a:moveTo>
                <a:lnTo>
                  <a:pt x="845" y="1559"/>
                </a:lnTo>
                <a:lnTo>
                  <a:pt x="848" y="1560"/>
                </a:lnTo>
                <a:lnTo>
                  <a:pt x="850" y="1561"/>
                </a:lnTo>
                <a:lnTo>
                  <a:pt x="852" y="1563"/>
                </a:lnTo>
                <a:lnTo>
                  <a:pt x="854" y="1565"/>
                </a:lnTo>
                <a:lnTo>
                  <a:pt x="855" y="1567"/>
                </a:lnTo>
                <a:lnTo>
                  <a:pt x="855" y="1569"/>
                </a:lnTo>
                <a:lnTo>
                  <a:pt x="856" y="1574"/>
                </a:lnTo>
                <a:lnTo>
                  <a:pt x="855" y="1577"/>
                </a:lnTo>
                <a:lnTo>
                  <a:pt x="854" y="1579"/>
                </a:lnTo>
                <a:lnTo>
                  <a:pt x="852" y="1581"/>
                </a:lnTo>
                <a:lnTo>
                  <a:pt x="850" y="1583"/>
                </a:lnTo>
                <a:lnTo>
                  <a:pt x="848" y="1584"/>
                </a:lnTo>
                <a:lnTo>
                  <a:pt x="845" y="1585"/>
                </a:lnTo>
                <a:lnTo>
                  <a:pt x="840" y="1585"/>
                </a:lnTo>
                <a:lnTo>
                  <a:pt x="838" y="1584"/>
                </a:lnTo>
                <a:lnTo>
                  <a:pt x="836" y="1583"/>
                </a:lnTo>
                <a:lnTo>
                  <a:pt x="834" y="1581"/>
                </a:lnTo>
                <a:lnTo>
                  <a:pt x="832" y="1579"/>
                </a:lnTo>
                <a:lnTo>
                  <a:pt x="831" y="1577"/>
                </a:lnTo>
                <a:lnTo>
                  <a:pt x="830" y="1574"/>
                </a:lnTo>
                <a:lnTo>
                  <a:pt x="830" y="1570"/>
                </a:lnTo>
                <a:lnTo>
                  <a:pt x="831" y="1567"/>
                </a:lnTo>
                <a:lnTo>
                  <a:pt x="832" y="1565"/>
                </a:lnTo>
                <a:lnTo>
                  <a:pt x="834" y="1563"/>
                </a:lnTo>
                <a:lnTo>
                  <a:pt x="836" y="1561"/>
                </a:lnTo>
                <a:lnTo>
                  <a:pt x="838" y="1560"/>
                </a:lnTo>
                <a:lnTo>
                  <a:pt x="841" y="1559"/>
                </a:lnTo>
                <a:close/>
                <a:moveTo>
                  <a:pt x="878" y="1504"/>
                </a:moveTo>
                <a:lnTo>
                  <a:pt x="883" y="1504"/>
                </a:lnTo>
                <a:lnTo>
                  <a:pt x="885" y="1505"/>
                </a:lnTo>
                <a:lnTo>
                  <a:pt x="887" y="1506"/>
                </a:lnTo>
                <a:lnTo>
                  <a:pt x="889" y="1508"/>
                </a:lnTo>
                <a:lnTo>
                  <a:pt x="891" y="1510"/>
                </a:lnTo>
                <a:lnTo>
                  <a:pt x="892" y="1512"/>
                </a:lnTo>
                <a:lnTo>
                  <a:pt x="893" y="1515"/>
                </a:lnTo>
                <a:lnTo>
                  <a:pt x="893" y="1520"/>
                </a:lnTo>
                <a:lnTo>
                  <a:pt x="892" y="1522"/>
                </a:lnTo>
                <a:lnTo>
                  <a:pt x="891" y="1524"/>
                </a:lnTo>
                <a:lnTo>
                  <a:pt x="889" y="1526"/>
                </a:lnTo>
                <a:lnTo>
                  <a:pt x="887" y="1528"/>
                </a:lnTo>
                <a:lnTo>
                  <a:pt x="885" y="1529"/>
                </a:lnTo>
                <a:lnTo>
                  <a:pt x="882" y="1530"/>
                </a:lnTo>
                <a:lnTo>
                  <a:pt x="877" y="1530"/>
                </a:lnTo>
                <a:lnTo>
                  <a:pt x="875" y="1529"/>
                </a:lnTo>
                <a:lnTo>
                  <a:pt x="873" y="1528"/>
                </a:lnTo>
                <a:lnTo>
                  <a:pt x="871" y="1526"/>
                </a:lnTo>
                <a:lnTo>
                  <a:pt x="869" y="1524"/>
                </a:lnTo>
                <a:lnTo>
                  <a:pt x="868" y="1522"/>
                </a:lnTo>
                <a:lnTo>
                  <a:pt x="867" y="1519"/>
                </a:lnTo>
                <a:lnTo>
                  <a:pt x="867" y="1514"/>
                </a:lnTo>
                <a:lnTo>
                  <a:pt x="868" y="1512"/>
                </a:lnTo>
                <a:lnTo>
                  <a:pt x="869" y="1510"/>
                </a:lnTo>
                <a:lnTo>
                  <a:pt x="871" y="1508"/>
                </a:lnTo>
                <a:lnTo>
                  <a:pt x="873" y="1506"/>
                </a:lnTo>
                <a:lnTo>
                  <a:pt x="875" y="1505"/>
                </a:lnTo>
                <a:lnTo>
                  <a:pt x="878" y="1504"/>
                </a:lnTo>
                <a:close/>
                <a:moveTo>
                  <a:pt x="916" y="1451"/>
                </a:moveTo>
                <a:lnTo>
                  <a:pt x="921" y="1451"/>
                </a:lnTo>
                <a:lnTo>
                  <a:pt x="924" y="1451"/>
                </a:lnTo>
                <a:lnTo>
                  <a:pt x="926" y="1453"/>
                </a:lnTo>
                <a:lnTo>
                  <a:pt x="928" y="1455"/>
                </a:lnTo>
                <a:lnTo>
                  <a:pt x="929" y="1457"/>
                </a:lnTo>
                <a:lnTo>
                  <a:pt x="930" y="1459"/>
                </a:lnTo>
                <a:lnTo>
                  <a:pt x="931" y="1461"/>
                </a:lnTo>
                <a:lnTo>
                  <a:pt x="931" y="1464"/>
                </a:lnTo>
                <a:lnTo>
                  <a:pt x="931" y="1466"/>
                </a:lnTo>
                <a:lnTo>
                  <a:pt x="930" y="1469"/>
                </a:lnTo>
                <a:lnTo>
                  <a:pt x="929" y="1471"/>
                </a:lnTo>
                <a:lnTo>
                  <a:pt x="927" y="1473"/>
                </a:lnTo>
                <a:lnTo>
                  <a:pt x="925" y="1474"/>
                </a:lnTo>
                <a:lnTo>
                  <a:pt x="923" y="1475"/>
                </a:lnTo>
                <a:lnTo>
                  <a:pt x="921" y="1476"/>
                </a:lnTo>
                <a:lnTo>
                  <a:pt x="915" y="1476"/>
                </a:lnTo>
                <a:lnTo>
                  <a:pt x="913" y="1475"/>
                </a:lnTo>
                <a:lnTo>
                  <a:pt x="911" y="1474"/>
                </a:lnTo>
                <a:lnTo>
                  <a:pt x="909" y="1472"/>
                </a:lnTo>
                <a:lnTo>
                  <a:pt x="907" y="1470"/>
                </a:lnTo>
                <a:lnTo>
                  <a:pt x="906" y="1468"/>
                </a:lnTo>
                <a:lnTo>
                  <a:pt x="906" y="1465"/>
                </a:lnTo>
                <a:lnTo>
                  <a:pt x="905" y="1463"/>
                </a:lnTo>
                <a:lnTo>
                  <a:pt x="906" y="1460"/>
                </a:lnTo>
                <a:lnTo>
                  <a:pt x="907" y="1458"/>
                </a:lnTo>
                <a:lnTo>
                  <a:pt x="908" y="1456"/>
                </a:lnTo>
                <a:lnTo>
                  <a:pt x="910" y="1454"/>
                </a:lnTo>
                <a:lnTo>
                  <a:pt x="912" y="1452"/>
                </a:lnTo>
                <a:lnTo>
                  <a:pt x="914" y="1451"/>
                </a:lnTo>
                <a:lnTo>
                  <a:pt x="916" y="1451"/>
                </a:lnTo>
                <a:close/>
                <a:moveTo>
                  <a:pt x="956" y="1398"/>
                </a:moveTo>
                <a:lnTo>
                  <a:pt x="958" y="1397"/>
                </a:lnTo>
                <a:lnTo>
                  <a:pt x="961" y="1398"/>
                </a:lnTo>
                <a:lnTo>
                  <a:pt x="964" y="1399"/>
                </a:lnTo>
                <a:lnTo>
                  <a:pt x="966" y="1400"/>
                </a:lnTo>
                <a:lnTo>
                  <a:pt x="968" y="1402"/>
                </a:lnTo>
                <a:lnTo>
                  <a:pt x="969" y="1404"/>
                </a:lnTo>
                <a:lnTo>
                  <a:pt x="970" y="1406"/>
                </a:lnTo>
                <a:lnTo>
                  <a:pt x="971" y="1409"/>
                </a:lnTo>
                <a:lnTo>
                  <a:pt x="971" y="1411"/>
                </a:lnTo>
                <a:lnTo>
                  <a:pt x="971" y="1414"/>
                </a:lnTo>
                <a:lnTo>
                  <a:pt x="970" y="1416"/>
                </a:lnTo>
                <a:lnTo>
                  <a:pt x="968" y="1418"/>
                </a:lnTo>
                <a:lnTo>
                  <a:pt x="967" y="1420"/>
                </a:lnTo>
                <a:lnTo>
                  <a:pt x="965" y="1421"/>
                </a:lnTo>
                <a:lnTo>
                  <a:pt x="963" y="1422"/>
                </a:lnTo>
                <a:lnTo>
                  <a:pt x="960" y="1423"/>
                </a:lnTo>
                <a:lnTo>
                  <a:pt x="958" y="1423"/>
                </a:lnTo>
                <a:lnTo>
                  <a:pt x="955" y="1423"/>
                </a:lnTo>
                <a:lnTo>
                  <a:pt x="953" y="1422"/>
                </a:lnTo>
                <a:lnTo>
                  <a:pt x="950" y="1421"/>
                </a:lnTo>
                <a:lnTo>
                  <a:pt x="948" y="1419"/>
                </a:lnTo>
                <a:lnTo>
                  <a:pt x="947" y="1417"/>
                </a:lnTo>
                <a:lnTo>
                  <a:pt x="946" y="1414"/>
                </a:lnTo>
                <a:lnTo>
                  <a:pt x="945" y="1412"/>
                </a:lnTo>
                <a:lnTo>
                  <a:pt x="945" y="1410"/>
                </a:lnTo>
                <a:lnTo>
                  <a:pt x="946" y="1407"/>
                </a:lnTo>
                <a:lnTo>
                  <a:pt x="947" y="1405"/>
                </a:lnTo>
                <a:lnTo>
                  <a:pt x="948" y="1402"/>
                </a:lnTo>
                <a:lnTo>
                  <a:pt x="950" y="1401"/>
                </a:lnTo>
                <a:lnTo>
                  <a:pt x="951" y="1399"/>
                </a:lnTo>
                <a:lnTo>
                  <a:pt x="954" y="1398"/>
                </a:lnTo>
                <a:lnTo>
                  <a:pt x="956" y="1398"/>
                </a:lnTo>
                <a:close/>
                <a:moveTo>
                  <a:pt x="997" y="1346"/>
                </a:moveTo>
                <a:lnTo>
                  <a:pt x="1000" y="1346"/>
                </a:lnTo>
                <a:lnTo>
                  <a:pt x="1002" y="1346"/>
                </a:lnTo>
                <a:lnTo>
                  <a:pt x="1005" y="1347"/>
                </a:lnTo>
                <a:lnTo>
                  <a:pt x="1007" y="1349"/>
                </a:lnTo>
                <a:lnTo>
                  <a:pt x="1009" y="1350"/>
                </a:lnTo>
                <a:lnTo>
                  <a:pt x="1011" y="1353"/>
                </a:lnTo>
                <a:lnTo>
                  <a:pt x="1012" y="1355"/>
                </a:lnTo>
                <a:lnTo>
                  <a:pt x="1012" y="1357"/>
                </a:lnTo>
                <a:lnTo>
                  <a:pt x="1012" y="1360"/>
                </a:lnTo>
                <a:lnTo>
                  <a:pt x="1012" y="1362"/>
                </a:lnTo>
                <a:lnTo>
                  <a:pt x="1011" y="1365"/>
                </a:lnTo>
                <a:lnTo>
                  <a:pt x="1009" y="1367"/>
                </a:lnTo>
                <a:lnTo>
                  <a:pt x="1008" y="1368"/>
                </a:lnTo>
                <a:lnTo>
                  <a:pt x="1006" y="1370"/>
                </a:lnTo>
                <a:lnTo>
                  <a:pt x="1004" y="1371"/>
                </a:lnTo>
                <a:lnTo>
                  <a:pt x="1002" y="1371"/>
                </a:lnTo>
                <a:lnTo>
                  <a:pt x="999" y="1372"/>
                </a:lnTo>
                <a:lnTo>
                  <a:pt x="996" y="1371"/>
                </a:lnTo>
                <a:lnTo>
                  <a:pt x="994" y="1370"/>
                </a:lnTo>
                <a:lnTo>
                  <a:pt x="991" y="1369"/>
                </a:lnTo>
                <a:lnTo>
                  <a:pt x="989" y="1367"/>
                </a:lnTo>
                <a:lnTo>
                  <a:pt x="988" y="1365"/>
                </a:lnTo>
                <a:lnTo>
                  <a:pt x="987" y="1362"/>
                </a:lnTo>
                <a:lnTo>
                  <a:pt x="986" y="1360"/>
                </a:lnTo>
                <a:lnTo>
                  <a:pt x="986" y="1357"/>
                </a:lnTo>
                <a:lnTo>
                  <a:pt x="987" y="1355"/>
                </a:lnTo>
                <a:lnTo>
                  <a:pt x="988" y="1353"/>
                </a:lnTo>
                <a:lnTo>
                  <a:pt x="989" y="1350"/>
                </a:lnTo>
                <a:lnTo>
                  <a:pt x="991" y="1349"/>
                </a:lnTo>
                <a:lnTo>
                  <a:pt x="993" y="1347"/>
                </a:lnTo>
                <a:lnTo>
                  <a:pt x="995" y="1346"/>
                </a:lnTo>
                <a:lnTo>
                  <a:pt x="997" y="1346"/>
                </a:lnTo>
                <a:close/>
                <a:moveTo>
                  <a:pt x="1040" y="1295"/>
                </a:moveTo>
                <a:lnTo>
                  <a:pt x="1042" y="1295"/>
                </a:lnTo>
                <a:lnTo>
                  <a:pt x="1045" y="1296"/>
                </a:lnTo>
                <a:lnTo>
                  <a:pt x="1048" y="1297"/>
                </a:lnTo>
                <a:lnTo>
                  <a:pt x="1050" y="1298"/>
                </a:lnTo>
                <a:lnTo>
                  <a:pt x="1052" y="1300"/>
                </a:lnTo>
                <a:lnTo>
                  <a:pt x="1054" y="1302"/>
                </a:lnTo>
                <a:lnTo>
                  <a:pt x="1054" y="1305"/>
                </a:lnTo>
                <a:lnTo>
                  <a:pt x="1055" y="1307"/>
                </a:lnTo>
                <a:lnTo>
                  <a:pt x="1055" y="1310"/>
                </a:lnTo>
                <a:lnTo>
                  <a:pt x="1054" y="1312"/>
                </a:lnTo>
                <a:lnTo>
                  <a:pt x="1053" y="1314"/>
                </a:lnTo>
                <a:lnTo>
                  <a:pt x="1052" y="1316"/>
                </a:lnTo>
                <a:lnTo>
                  <a:pt x="1050" y="1318"/>
                </a:lnTo>
                <a:lnTo>
                  <a:pt x="1048" y="1319"/>
                </a:lnTo>
                <a:lnTo>
                  <a:pt x="1044" y="1321"/>
                </a:lnTo>
                <a:lnTo>
                  <a:pt x="1041" y="1321"/>
                </a:lnTo>
                <a:lnTo>
                  <a:pt x="1039" y="1320"/>
                </a:lnTo>
                <a:lnTo>
                  <a:pt x="1036" y="1319"/>
                </a:lnTo>
                <a:lnTo>
                  <a:pt x="1033" y="1318"/>
                </a:lnTo>
                <a:lnTo>
                  <a:pt x="1032" y="1316"/>
                </a:lnTo>
                <a:lnTo>
                  <a:pt x="1030" y="1314"/>
                </a:lnTo>
                <a:lnTo>
                  <a:pt x="1029" y="1311"/>
                </a:lnTo>
                <a:lnTo>
                  <a:pt x="1029" y="1309"/>
                </a:lnTo>
                <a:lnTo>
                  <a:pt x="1029" y="1306"/>
                </a:lnTo>
                <a:lnTo>
                  <a:pt x="1030" y="1304"/>
                </a:lnTo>
                <a:lnTo>
                  <a:pt x="1031" y="1302"/>
                </a:lnTo>
                <a:lnTo>
                  <a:pt x="1032" y="1300"/>
                </a:lnTo>
                <a:lnTo>
                  <a:pt x="1034" y="1298"/>
                </a:lnTo>
                <a:lnTo>
                  <a:pt x="1036" y="1297"/>
                </a:lnTo>
                <a:lnTo>
                  <a:pt x="1040" y="1295"/>
                </a:lnTo>
                <a:close/>
                <a:moveTo>
                  <a:pt x="1084" y="1246"/>
                </a:moveTo>
                <a:lnTo>
                  <a:pt x="1087" y="1246"/>
                </a:lnTo>
                <a:lnTo>
                  <a:pt x="1090" y="1246"/>
                </a:lnTo>
                <a:lnTo>
                  <a:pt x="1092" y="1247"/>
                </a:lnTo>
                <a:lnTo>
                  <a:pt x="1095" y="1249"/>
                </a:lnTo>
                <a:lnTo>
                  <a:pt x="1096" y="1251"/>
                </a:lnTo>
                <a:lnTo>
                  <a:pt x="1098" y="1253"/>
                </a:lnTo>
                <a:lnTo>
                  <a:pt x="1099" y="1256"/>
                </a:lnTo>
                <a:lnTo>
                  <a:pt x="1099" y="1258"/>
                </a:lnTo>
                <a:lnTo>
                  <a:pt x="1098" y="1263"/>
                </a:lnTo>
                <a:lnTo>
                  <a:pt x="1097" y="1265"/>
                </a:lnTo>
                <a:lnTo>
                  <a:pt x="1096" y="1267"/>
                </a:lnTo>
                <a:lnTo>
                  <a:pt x="1092" y="1270"/>
                </a:lnTo>
                <a:lnTo>
                  <a:pt x="1090" y="1271"/>
                </a:lnTo>
                <a:lnTo>
                  <a:pt x="1088" y="1271"/>
                </a:lnTo>
                <a:lnTo>
                  <a:pt x="1085" y="1272"/>
                </a:lnTo>
                <a:lnTo>
                  <a:pt x="1082" y="1271"/>
                </a:lnTo>
                <a:lnTo>
                  <a:pt x="1080" y="1270"/>
                </a:lnTo>
                <a:lnTo>
                  <a:pt x="1077" y="1268"/>
                </a:lnTo>
                <a:lnTo>
                  <a:pt x="1076" y="1266"/>
                </a:lnTo>
                <a:lnTo>
                  <a:pt x="1074" y="1264"/>
                </a:lnTo>
                <a:lnTo>
                  <a:pt x="1073" y="1262"/>
                </a:lnTo>
                <a:lnTo>
                  <a:pt x="1073" y="1259"/>
                </a:lnTo>
                <a:lnTo>
                  <a:pt x="1074" y="1254"/>
                </a:lnTo>
                <a:lnTo>
                  <a:pt x="1075" y="1252"/>
                </a:lnTo>
                <a:lnTo>
                  <a:pt x="1077" y="1250"/>
                </a:lnTo>
                <a:lnTo>
                  <a:pt x="1080" y="1247"/>
                </a:lnTo>
                <a:lnTo>
                  <a:pt x="1082" y="1246"/>
                </a:lnTo>
                <a:lnTo>
                  <a:pt x="1084" y="1246"/>
                </a:lnTo>
                <a:close/>
                <a:moveTo>
                  <a:pt x="2904" y="887"/>
                </a:moveTo>
                <a:lnTo>
                  <a:pt x="2909" y="887"/>
                </a:lnTo>
                <a:lnTo>
                  <a:pt x="2911" y="888"/>
                </a:lnTo>
                <a:lnTo>
                  <a:pt x="2913" y="889"/>
                </a:lnTo>
                <a:lnTo>
                  <a:pt x="2917" y="893"/>
                </a:lnTo>
                <a:lnTo>
                  <a:pt x="2918" y="895"/>
                </a:lnTo>
                <a:lnTo>
                  <a:pt x="2918" y="897"/>
                </a:lnTo>
                <a:lnTo>
                  <a:pt x="2918" y="903"/>
                </a:lnTo>
                <a:lnTo>
                  <a:pt x="2917" y="906"/>
                </a:lnTo>
                <a:lnTo>
                  <a:pt x="2915" y="909"/>
                </a:lnTo>
                <a:lnTo>
                  <a:pt x="2912" y="911"/>
                </a:lnTo>
                <a:lnTo>
                  <a:pt x="2908" y="912"/>
                </a:lnTo>
                <a:lnTo>
                  <a:pt x="2903" y="912"/>
                </a:lnTo>
                <a:lnTo>
                  <a:pt x="2900" y="912"/>
                </a:lnTo>
                <a:lnTo>
                  <a:pt x="2898" y="910"/>
                </a:lnTo>
                <a:lnTo>
                  <a:pt x="2895" y="907"/>
                </a:lnTo>
                <a:lnTo>
                  <a:pt x="2894" y="905"/>
                </a:lnTo>
                <a:lnTo>
                  <a:pt x="2893" y="902"/>
                </a:lnTo>
                <a:lnTo>
                  <a:pt x="2893" y="897"/>
                </a:lnTo>
                <a:lnTo>
                  <a:pt x="2895" y="893"/>
                </a:lnTo>
                <a:lnTo>
                  <a:pt x="2897" y="890"/>
                </a:lnTo>
                <a:lnTo>
                  <a:pt x="2900" y="888"/>
                </a:lnTo>
                <a:lnTo>
                  <a:pt x="2904" y="887"/>
                </a:lnTo>
                <a:close/>
                <a:moveTo>
                  <a:pt x="1129" y="1198"/>
                </a:moveTo>
                <a:lnTo>
                  <a:pt x="1132" y="1198"/>
                </a:lnTo>
                <a:lnTo>
                  <a:pt x="1135" y="1198"/>
                </a:lnTo>
                <a:lnTo>
                  <a:pt x="1138" y="1200"/>
                </a:lnTo>
                <a:lnTo>
                  <a:pt x="1141" y="1202"/>
                </a:lnTo>
                <a:lnTo>
                  <a:pt x="1142" y="1204"/>
                </a:lnTo>
                <a:lnTo>
                  <a:pt x="1144" y="1206"/>
                </a:lnTo>
                <a:lnTo>
                  <a:pt x="1144" y="1208"/>
                </a:lnTo>
                <a:lnTo>
                  <a:pt x="1145" y="1211"/>
                </a:lnTo>
                <a:lnTo>
                  <a:pt x="1144" y="1213"/>
                </a:lnTo>
                <a:lnTo>
                  <a:pt x="1144" y="1215"/>
                </a:lnTo>
                <a:lnTo>
                  <a:pt x="1142" y="1218"/>
                </a:lnTo>
                <a:lnTo>
                  <a:pt x="1141" y="1220"/>
                </a:lnTo>
                <a:lnTo>
                  <a:pt x="1138" y="1222"/>
                </a:lnTo>
                <a:lnTo>
                  <a:pt x="1134" y="1223"/>
                </a:lnTo>
                <a:lnTo>
                  <a:pt x="1131" y="1224"/>
                </a:lnTo>
                <a:lnTo>
                  <a:pt x="1128" y="1223"/>
                </a:lnTo>
                <a:lnTo>
                  <a:pt x="1125" y="1222"/>
                </a:lnTo>
                <a:lnTo>
                  <a:pt x="1123" y="1220"/>
                </a:lnTo>
                <a:lnTo>
                  <a:pt x="1121" y="1218"/>
                </a:lnTo>
                <a:lnTo>
                  <a:pt x="1120" y="1216"/>
                </a:lnTo>
                <a:lnTo>
                  <a:pt x="1119" y="1213"/>
                </a:lnTo>
                <a:lnTo>
                  <a:pt x="1119" y="1211"/>
                </a:lnTo>
                <a:lnTo>
                  <a:pt x="1119" y="1208"/>
                </a:lnTo>
                <a:lnTo>
                  <a:pt x="1120" y="1206"/>
                </a:lnTo>
                <a:lnTo>
                  <a:pt x="1121" y="1204"/>
                </a:lnTo>
                <a:lnTo>
                  <a:pt x="1122" y="1202"/>
                </a:lnTo>
                <a:lnTo>
                  <a:pt x="1126" y="1199"/>
                </a:lnTo>
                <a:lnTo>
                  <a:pt x="1129" y="1198"/>
                </a:lnTo>
                <a:close/>
                <a:moveTo>
                  <a:pt x="2839" y="873"/>
                </a:moveTo>
                <a:lnTo>
                  <a:pt x="2844" y="873"/>
                </a:lnTo>
                <a:lnTo>
                  <a:pt x="2846" y="874"/>
                </a:lnTo>
                <a:lnTo>
                  <a:pt x="2849" y="875"/>
                </a:lnTo>
                <a:lnTo>
                  <a:pt x="2852" y="879"/>
                </a:lnTo>
                <a:lnTo>
                  <a:pt x="2853" y="881"/>
                </a:lnTo>
                <a:lnTo>
                  <a:pt x="2854" y="883"/>
                </a:lnTo>
                <a:lnTo>
                  <a:pt x="2854" y="888"/>
                </a:lnTo>
                <a:lnTo>
                  <a:pt x="2852" y="892"/>
                </a:lnTo>
                <a:lnTo>
                  <a:pt x="2850" y="895"/>
                </a:lnTo>
                <a:lnTo>
                  <a:pt x="2847" y="897"/>
                </a:lnTo>
                <a:lnTo>
                  <a:pt x="2843" y="898"/>
                </a:lnTo>
                <a:lnTo>
                  <a:pt x="2838" y="898"/>
                </a:lnTo>
                <a:lnTo>
                  <a:pt x="2836" y="897"/>
                </a:lnTo>
                <a:lnTo>
                  <a:pt x="2834" y="896"/>
                </a:lnTo>
                <a:lnTo>
                  <a:pt x="2830" y="893"/>
                </a:lnTo>
                <a:lnTo>
                  <a:pt x="2829" y="890"/>
                </a:lnTo>
                <a:lnTo>
                  <a:pt x="2828" y="888"/>
                </a:lnTo>
                <a:lnTo>
                  <a:pt x="2828" y="883"/>
                </a:lnTo>
                <a:lnTo>
                  <a:pt x="2830" y="879"/>
                </a:lnTo>
                <a:lnTo>
                  <a:pt x="2832" y="876"/>
                </a:lnTo>
                <a:lnTo>
                  <a:pt x="2835" y="874"/>
                </a:lnTo>
                <a:lnTo>
                  <a:pt x="2839" y="873"/>
                </a:lnTo>
                <a:close/>
                <a:moveTo>
                  <a:pt x="1176" y="1152"/>
                </a:moveTo>
                <a:lnTo>
                  <a:pt x="1180" y="1151"/>
                </a:lnTo>
                <a:lnTo>
                  <a:pt x="1183" y="1152"/>
                </a:lnTo>
                <a:lnTo>
                  <a:pt x="1185" y="1153"/>
                </a:lnTo>
                <a:lnTo>
                  <a:pt x="1188" y="1155"/>
                </a:lnTo>
                <a:lnTo>
                  <a:pt x="1190" y="1157"/>
                </a:lnTo>
                <a:lnTo>
                  <a:pt x="1191" y="1160"/>
                </a:lnTo>
                <a:lnTo>
                  <a:pt x="1191" y="1162"/>
                </a:lnTo>
                <a:lnTo>
                  <a:pt x="1192" y="1165"/>
                </a:lnTo>
                <a:lnTo>
                  <a:pt x="1191" y="1167"/>
                </a:lnTo>
                <a:lnTo>
                  <a:pt x="1191" y="1169"/>
                </a:lnTo>
                <a:lnTo>
                  <a:pt x="1189" y="1172"/>
                </a:lnTo>
                <a:lnTo>
                  <a:pt x="1188" y="1174"/>
                </a:lnTo>
                <a:lnTo>
                  <a:pt x="1186" y="1175"/>
                </a:lnTo>
                <a:lnTo>
                  <a:pt x="1184" y="1176"/>
                </a:lnTo>
                <a:lnTo>
                  <a:pt x="1181" y="1177"/>
                </a:lnTo>
                <a:lnTo>
                  <a:pt x="1178" y="1177"/>
                </a:lnTo>
                <a:lnTo>
                  <a:pt x="1175" y="1177"/>
                </a:lnTo>
                <a:lnTo>
                  <a:pt x="1172" y="1175"/>
                </a:lnTo>
                <a:lnTo>
                  <a:pt x="1169" y="1173"/>
                </a:lnTo>
                <a:lnTo>
                  <a:pt x="1168" y="1171"/>
                </a:lnTo>
                <a:lnTo>
                  <a:pt x="1167" y="1169"/>
                </a:lnTo>
                <a:lnTo>
                  <a:pt x="1166" y="1166"/>
                </a:lnTo>
                <a:lnTo>
                  <a:pt x="1166" y="1164"/>
                </a:lnTo>
                <a:lnTo>
                  <a:pt x="1166" y="1162"/>
                </a:lnTo>
                <a:lnTo>
                  <a:pt x="1167" y="1159"/>
                </a:lnTo>
                <a:lnTo>
                  <a:pt x="1168" y="1157"/>
                </a:lnTo>
                <a:lnTo>
                  <a:pt x="1170" y="1155"/>
                </a:lnTo>
                <a:lnTo>
                  <a:pt x="1171" y="1154"/>
                </a:lnTo>
                <a:lnTo>
                  <a:pt x="1173" y="1153"/>
                </a:lnTo>
                <a:lnTo>
                  <a:pt x="1176" y="1152"/>
                </a:lnTo>
                <a:close/>
                <a:moveTo>
                  <a:pt x="2774" y="859"/>
                </a:moveTo>
                <a:lnTo>
                  <a:pt x="2779" y="859"/>
                </a:lnTo>
                <a:lnTo>
                  <a:pt x="2782" y="860"/>
                </a:lnTo>
                <a:lnTo>
                  <a:pt x="2784" y="861"/>
                </a:lnTo>
                <a:lnTo>
                  <a:pt x="2786" y="863"/>
                </a:lnTo>
                <a:lnTo>
                  <a:pt x="2787" y="865"/>
                </a:lnTo>
                <a:lnTo>
                  <a:pt x="2788" y="867"/>
                </a:lnTo>
                <a:lnTo>
                  <a:pt x="2789" y="869"/>
                </a:lnTo>
                <a:lnTo>
                  <a:pt x="2789" y="874"/>
                </a:lnTo>
                <a:lnTo>
                  <a:pt x="2788" y="878"/>
                </a:lnTo>
                <a:lnTo>
                  <a:pt x="2785" y="881"/>
                </a:lnTo>
                <a:lnTo>
                  <a:pt x="2782" y="883"/>
                </a:lnTo>
                <a:lnTo>
                  <a:pt x="2779" y="884"/>
                </a:lnTo>
                <a:lnTo>
                  <a:pt x="2774" y="884"/>
                </a:lnTo>
                <a:lnTo>
                  <a:pt x="2771" y="884"/>
                </a:lnTo>
                <a:lnTo>
                  <a:pt x="2769" y="882"/>
                </a:lnTo>
                <a:lnTo>
                  <a:pt x="2767" y="881"/>
                </a:lnTo>
                <a:lnTo>
                  <a:pt x="2766" y="879"/>
                </a:lnTo>
                <a:lnTo>
                  <a:pt x="2764" y="877"/>
                </a:lnTo>
                <a:lnTo>
                  <a:pt x="2764" y="874"/>
                </a:lnTo>
                <a:lnTo>
                  <a:pt x="2764" y="869"/>
                </a:lnTo>
                <a:lnTo>
                  <a:pt x="2765" y="865"/>
                </a:lnTo>
                <a:lnTo>
                  <a:pt x="2768" y="862"/>
                </a:lnTo>
                <a:lnTo>
                  <a:pt x="2771" y="860"/>
                </a:lnTo>
                <a:lnTo>
                  <a:pt x="2774" y="859"/>
                </a:lnTo>
                <a:close/>
                <a:moveTo>
                  <a:pt x="2709" y="845"/>
                </a:moveTo>
                <a:lnTo>
                  <a:pt x="2714" y="845"/>
                </a:lnTo>
                <a:lnTo>
                  <a:pt x="2717" y="846"/>
                </a:lnTo>
                <a:lnTo>
                  <a:pt x="2719" y="847"/>
                </a:lnTo>
                <a:lnTo>
                  <a:pt x="2721" y="849"/>
                </a:lnTo>
                <a:lnTo>
                  <a:pt x="2722" y="851"/>
                </a:lnTo>
                <a:lnTo>
                  <a:pt x="2724" y="853"/>
                </a:lnTo>
                <a:lnTo>
                  <a:pt x="2724" y="856"/>
                </a:lnTo>
                <a:lnTo>
                  <a:pt x="2724" y="861"/>
                </a:lnTo>
                <a:lnTo>
                  <a:pt x="2723" y="864"/>
                </a:lnTo>
                <a:lnTo>
                  <a:pt x="2721" y="867"/>
                </a:lnTo>
                <a:lnTo>
                  <a:pt x="2718" y="870"/>
                </a:lnTo>
                <a:lnTo>
                  <a:pt x="2714" y="871"/>
                </a:lnTo>
                <a:lnTo>
                  <a:pt x="2709" y="871"/>
                </a:lnTo>
                <a:lnTo>
                  <a:pt x="2707" y="870"/>
                </a:lnTo>
                <a:lnTo>
                  <a:pt x="2704" y="869"/>
                </a:lnTo>
                <a:lnTo>
                  <a:pt x="2702" y="867"/>
                </a:lnTo>
                <a:lnTo>
                  <a:pt x="2701" y="865"/>
                </a:lnTo>
                <a:lnTo>
                  <a:pt x="2700" y="863"/>
                </a:lnTo>
                <a:lnTo>
                  <a:pt x="2699" y="861"/>
                </a:lnTo>
                <a:lnTo>
                  <a:pt x="2699" y="855"/>
                </a:lnTo>
                <a:lnTo>
                  <a:pt x="2700" y="852"/>
                </a:lnTo>
                <a:lnTo>
                  <a:pt x="2703" y="849"/>
                </a:lnTo>
                <a:lnTo>
                  <a:pt x="2706" y="847"/>
                </a:lnTo>
                <a:lnTo>
                  <a:pt x="2709" y="845"/>
                </a:lnTo>
                <a:close/>
                <a:moveTo>
                  <a:pt x="1225" y="1106"/>
                </a:moveTo>
                <a:lnTo>
                  <a:pt x="1228" y="1106"/>
                </a:lnTo>
                <a:lnTo>
                  <a:pt x="1231" y="1106"/>
                </a:lnTo>
                <a:lnTo>
                  <a:pt x="1234" y="1108"/>
                </a:lnTo>
                <a:lnTo>
                  <a:pt x="1236" y="1109"/>
                </a:lnTo>
                <a:lnTo>
                  <a:pt x="1237" y="1110"/>
                </a:lnTo>
                <a:lnTo>
                  <a:pt x="1238" y="1112"/>
                </a:lnTo>
                <a:lnTo>
                  <a:pt x="1240" y="1114"/>
                </a:lnTo>
                <a:lnTo>
                  <a:pt x="1240" y="1117"/>
                </a:lnTo>
                <a:lnTo>
                  <a:pt x="1240" y="1119"/>
                </a:lnTo>
                <a:lnTo>
                  <a:pt x="1240" y="1122"/>
                </a:lnTo>
                <a:lnTo>
                  <a:pt x="1239" y="1124"/>
                </a:lnTo>
                <a:lnTo>
                  <a:pt x="1238" y="1126"/>
                </a:lnTo>
                <a:lnTo>
                  <a:pt x="1236" y="1128"/>
                </a:lnTo>
                <a:lnTo>
                  <a:pt x="1233" y="1130"/>
                </a:lnTo>
                <a:lnTo>
                  <a:pt x="1230" y="1131"/>
                </a:lnTo>
                <a:lnTo>
                  <a:pt x="1226" y="1131"/>
                </a:lnTo>
                <a:lnTo>
                  <a:pt x="1223" y="1131"/>
                </a:lnTo>
                <a:lnTo>
                  <a:pt x="1220" y="1129"/>
                </a:lnTo>
                <a:lnTo>
                  <a:pt x="1219" y="1128"/>
                </a:lnTo>
                <a:lnTo>
                  <a:pt x="1218" y="1127"/>
                </a:lnTo>
                <a:lnTo>
                  <a:pt x="1216" y="1125"/>
                </a:lnTo>
                <a:lnTo>
                  <a:pt x="1215" y="1123"/>
                </a:lnTo>
                <a:lnTo>
                  <a:pt x="1215" y="1120"/>
                </a:lnTo>
                <a:lnTo>
                  <a:pt x="1214" y="1118"/>
                </a:lnTo>
                <a:lnTo>
                  <a:pt x="1215" y="1115"/>
                </a:lnTo>
                <a:lnTo>
                  <a:pt x="1216" y="1113"/>
                </a:lnTo>
                <a:lnTo>
                  <a:pt x="1217" y="1111"/>
                </a:lnTo>
                <a:lnTo>
                  <a:pt x="1219" y="1109"/>
                </a:lnTo>
                <a:lnTo>
                  <a:pt x="1222" y="1107"/>
                </a:lnTo>
                <a:lnTo>
                  <a:pt x="1225" y="1106"/>
                </a:lnTo>
                <a:close/>
                <a:moveTo>
                  <a:pt x="2645" y="832"/>
                </a:moveTo>
                <a:lnTo>
                  <a:pt x="2649" y="832"/>
                </a:lnTo>
                <a:lnTo>
                  <a:pt x="2652" y="833"/>
                </a:lnTo>
                <a:lnTo>
                  <a:pt x="2654" y="834"/>
                </a:lnTo>
                <a:lnTo>
                  <a:pt x="2656" y="836"/>
                </a:lnTo>
                <a:lnTo>
                  <a:pt x="2658" y="838"/>
                </a:lnTo>
                <a:lnTo>
                  <a:pt x="2659" y="840"/>
                </a:lnTo>
                <a:lnTo>
                  <a:pt x="2660" y="842"/>
                </a:lnTo>
                <a:lnTo>
                  <a:pt x="2660" y="847"/>
                </a:lnTo>
                <a:lnTo>
                  <a:pt x="2658" y="851"/>
                </a:lnTo>
                <a:lnTo>
                  <a:pt x="2656" y="854"/>
                </a:lnTo>
                <a:lnTo>
                  <a:pt x="2653" y="856"/>
                </a:lnTo>
                <a:lnTo>
                  <a:pt x="2649" y="857"/>
                </a:lnTo>
                <a:lnTo>
                  <a:pt x="2644" y="857"/>
                </a:lnTo>
                <a:lnTo>
                  <a:pt x="2642" y="857"/>
                </a:lnTo>
                <a:lnTo>
                  <a:pt x="2640" y="855"/>
                </a:lnTo>
                <a:lnTo>
                  <a:pt x="2638" y="854"/>
                </a:lnTo>
                <a:lnTo>
                  <a:pt x="2636" y="852"/>
                </a:lnTo>
                <a:lnTo>
                  <a:pt x="2635" y="850"/>
                </a:lnTo>
                <a:lnTo>
                  <a:pt x="2634" y="847"/>
                </a:lnTo>
                <a:lnTo>
                  <a:pt x="2634" y="842"/>
                </a:lnTo>
                <a:lnTo>
                  <a:pt x="2636" y="838"/>
                </a:lnTo>
                <a:lnTo>
                  <a:pt x="2638" y="835"/>
                </a:lnTo>
                <a:lnTo>
                  <a:pt x="2641" y="833"/>
                </a:lnTo>
                <a:lnTo>
                  <a:pt x="2645" y="832"/>
                </a:lnTo>
                <a:close/>
                <a:moveTo>
                  <a:pt x="1275" y="1063"/>
                </a:moveTo>
                <a:lnTo>
                  <a:pt x="1279" y="1062"/>
                </a:lnTo>
                <a:lnTo>
                  <a:pt x="1282" y="1063"/>
                </a:lnTo>
                <a:lnTo>
                  <a:pt x="1285" y="1065"/>
                </a:lnTo>
                <a:lnTo>
                  <a:pt x="1287" y="1067"/>
                </a:lnTo>
                <a:lnTo>
                  <a:pt x="1289" y="1069"/>
                </a:lnTo>
                <a:lnTo>
                  <a:pt x="1290" y="1072"/>
                </a:lnTo>
                <a:lnTo>
                  <a:pt x="1290" y="1074"/>
                </a:lnTo>
                <a:lnTo>
                  <a:pt x="1290" y="1077"/>
                </a:lnTo>
                <a:lnTo>
                  <a:pt x="1290" y="1079"/>
                </a:lnTo>
                <a:lnTo>
                  <a:pt x="1289" y="1081"/>
                </a:lnTo>
                <a:lnTo>
                  <a:pt x="1288" y="1083"/>
                </a:lnTo>
                <a:lnTo>
                  <a:pt x="1286" y="1085"/>
                </a:lnTo>
                <a:lnTo>
                  <a:pt x="1283" y="1087"/>
                </a:lnTo>
                <a:lnTo>
                  <a:pt x="1280" y="1088"/>
                </a:lnTo>
                <a:lnTo>
                  <a:pt x="1276" y="1088"/>
                </a:lnTo>
                <a:lnTo>
                  <a:pt x="1273" y="1088"/>
                </a:lnTo>
                <a:lnTo>
                  <a:pt x="1270" y="1086"/>
                </a:lnTo>
                <a:lnTo>
                  <a:pt x="1268" y="1084"/>
                </a:lnTo>
                <a:lnTo>
                  <a:pt x="1266" y="1081"/>
                </a:lnTo>
                <a:lnTo>
                  <a:pt x="1265" y="1079"/>
                </a:lnTo>
                <a:lnTo>
                  <a:pt x="1265" y="1077"/>
                </a:lnTo>
                <a:lnTo>
                  <a:pt x="1265" y="1074"/>
                </a:lnTo>
                <a:lnTo>
                  <a:pt x="1265" y="1072"/>
                </a:lnTo>
                <a:lnTo>
                  <a:pt x="1266" y="1069"/>
                </a:lnTo>
                <a:lnTo>
                  <a:pt x="1267" y="1067"/>
                </a:lnTo>
                <a:lnTo>
                  <a:pt x="1269" y="1065"/>
                </a:lnTo>
                <a:lnTo>
                  <a:pt x="1272" y="1064"/>
                </a:lnTo>
                <a:lnTo>
                  <a:pt x="1275" y="1063"/>
                </a:lnTo>
                <a:close/>
                <a:moveTo>
                  <a:pt x="2580" y="819"/>
                </a:moveTo>
                <a:lnTo>
                  <a:pt x="2585" y="819"/>
                </a:lnTo>
                <a:lnTo>
                  <a:pt x="2587" y="820"/>
                </a:lnTo>
                <a:lnTo>
                  <a:pt x="2589" y="821"/>
                </a:lnTo>
                <a:lnTo>
                  <a:pt x="2591" y="823"/>
                </a:lnTo>
                <a:lnTo>
                  <a:pt x="2593" y="824"/>
                </a:lnTo>
                <a:lnTo>
                  <a:pt x="2594" y="827"/>
                </a:lnTo>
                <a:lnTo>
                  <a:pt x="2595" y="829"/>
                </a:lnTo>
                <a:lnTo>
                  <a:pt x="2595" y="834"/>
                </a:lnTo>
                <a:lnTo>
                  <a:pt x="2593" y="838"/>
                </a:lnTo>
                <a:lnTo>
                  <a:pt x="2591" y="841"/>
                </a:lnTo>
                <a:lnTo>
                  <a:pt x="2588" y="843"/>
                </a:lnTo>
                <a:lnTo>
                  <a:pt x="2584" y="844"/>
                </a:lnTo>
                <a:lnTo>
                  <a:pt x="2579" y="844"/>
                </a:lnTo>
                <a:lnTo>
                  <a:pt x="2577" y="844"/>
                </a:lnTo>
                <a:lnTo>
                  <a:pt x="2575" y="842"/>
                </a:lnTo>
                <a:lnTo>
                  <a:pt x="2573" y="841"/>
                </a:lnTo>
                <a:lnTo>
                  <a:pt x="2571" y="839"/>
                </a:lnTo>
                <a:lnTo>
                  <a:pt x="2570" y="837"/>
                </a:lnTo>
                <a:lnTo>
                  <a:pt x="2569" y="834"/>
                </a:lnTo>
                <a:lnTo>
                  <a:pt x="2569" y="829"/>
                </a:lnTo>
                <a:lnTo>
                  <a:pt x="2571" y="825"/>
                </a:lnTo>
                <a:lnTo>
                  <a:pt x="2573" y="822"/>
                </a:lnTo>
                <a:lnTo>
                  <a:pt x="2576" y="820"/>
                </a:lnTo>
                <a:lnTo>
                  <a:pt x="2580" y="819"/>
                </a:lnTo>
                <a:close/>
                <a:moveTo>
                  <a:pt x="1327" y="1021"/>
                </a:moveTo>
                <a:lnTo>
                  <a:pt x="1330" y="1021"/>
                </a:lnTo>
                <a:lnTo>
                  <a:pt x="1334" y="1022"/>
                </a:lnTo>
                <a:lnTo>
                  <a:pt x="1337" y="1024"/>
                </a:lnTo>
                <a:lnTo>
                  <a:pt x="1340" y="1026"/>
                </a:lnTo>
                <a:lnTo>
                  <a:pt x="1342" y="1031"/>
                </a:lnTo>
                <a:lnTo>
                  <a:pt x="1342" y="1033"/>
                </a:lnTo>
                <a:lnTo>
                  <a:pt x="1342" y="1036"/>
                </a:lnTo>
                <a:lnTo>
                  <a:pt x="1341" y="1038"/>
                </a:lnTo>
                <a:lnTo>
                  <a:pt x="1340" y="1041"/>
                </a:lnTo>
                <a:lnTo>
                  <a:pt x="1339" y="1043"/>
                </a:lnTo>
                <a:lnTo>
                  <a:pt x="1337" y="1044"/>
                </a:lnTo>
                <a:lnTo>
                  <a:pt x="1336" y="1045"/>
                </a:lnTo>
                <a:lnTo>
                  <a:pt x="1334" y="1046"/>
                </a:lnTo>
                <a:lnTo>
                  <a:pt x="1332" y="1047"/>
                </a:lnTo>
                <a:lnTo>
                  <a:pt x="1328" y="1047"/>
                </a:lnTo>
                <a:lnTo>
                  <a:pt x="1325" y="1046"/>
                </a:lnTo>
                <a:lnTo>
                  <a:pt x="1322" y="1045"/>
                </a:lnTo>
                <a:lnTo>
                  <a:pt x="1319" y="1042"/>
                </a:lnTo>
                <a:lnTo>
                  <a:pt x="1317" y="1037"/>
                </a:lnTo>
                <a:lnTo>
                  <a:pt x="1316" y="1035"/>
                </a:lnTo>
                <a:lnTo>
                  <a:pt x="1316" y="1032"/>
                </a:lnTo>
                <a:lnTo>
                  <a:pt x="1317" y="1030"/>
                </a:lnTo>
                <a:lnTo>
                  <a:pt x="1318" y="1028"/>
                </a:lnTo>
                <a:lnTo>
                  <a:pt x="1319" y="1026"/>
                </a:lnTo>
                <a:lnTo>
                  <a:pt x="1321" y="1024"/>
                </a:lnTo>
                <a:lnTo>
                  <a:pt x="1323" y="1023"/>
                </a:lnTo>
                <a:lnTo>
                  <a:pt x="1324" y="1022"/>
                </a:lnTo>
                <a:lnTo>
                  <a:pt x="1327" y="1021"/>
                </a:lnTo>
                <a:close/>
                <a:moveTo>
                  <a:pt x="2515" y="806"/>
                </a:moveTo>
                <a:lnTo>
                  <a:pt x="2520" y="806"/>
                </a:lnTo>
                <a:lnTo>
                  <a:pt x="2522" y="807"/>
                </a:lnTo>
                <a:lnTo>
                  <a:pt x="2524" y="808"/>
                </a:lnTo>
                <a:lnTo>
                  <a:pt x="2526" y="810"/>
                </a:lnTo>
                <a:lnTo>
                  <a:pt x="2528" y="812"/>
                </a:lnTo>
                <a:lnTo>
                  <a:pt x="2529" y="814"/>
                </a:lnTo>
                <a:lnTo>
                  <a:pt x="2530" y="816"/>
                </a:lnTo>
                <a:lnTo>
                  <a:pt x="2530" y="821"/>
                </a:lnTo>
                <a:lnTo>
                  <a:pt x="2528" y="825"/>
                </a:lnTo>
                <a:lnTo>
                  <a:pt x="2526" y="828"/>
                </a:lnTo>
                <a:lnTo>
                  <a:pt x="2523" y="830"/>
                </a:lnTo>
                <a:lnTo>
                  <a:pt x="2519" y="831"/>
                </a:lnTo>
                <a:lnTo>
                  <a:pt x="2515" y="831"/>
                </a:lnTo>
                <a:lnTo>
                  <a:pt x="2512" y="831"/>
                </a:lnTo>
                <a:lnTo>
                  <a:pt x="2510" y="829"/>
                </a:lnTo>
                <a:lnTo>
                  <a:pt x="2508" y="828"/>
                </a:lnTo>
                <a:lnTo>
                  <a:pt x="2506" y="826"/>
                </a:lnTo>
                <a:lnTo>
                  <a:pt x="2505" y="824"/>
                </a:lnTo>
                <a:lnTo>
                  <a:pt x="2504" y="821"/>
                </a:lnTo>
                <a:lnTo>
                  <a:pt x="2504" y="816"/>
                </a:lnTo>
                <a:lnTo>
                  <a:pt x="2506" y="813"/>
                </a:lnTo>
                <a:lnTo>
                  <a:pt x="2508" y="809"/>
                </a:lnTo>
                <a:lnTo>
                  <a:pt x="2511" y="807"/>
                </a:lnTo>
                <a:lnTo>
                  <a:pt x="2515" y="806"/>
                </a:lnTo>
                <a:close/>
                <a:moveTo>
                  <a:pt x="1380" y="982"/>
                </a:moveTo>
                <a:lnTo>
                  <a:pt x="1384" y="982"/>
                </a:lnTo>
                <a:lnTo>
                  <a:pt x="1387" y="983"/>
                </a:lnTo>
                <a:lnTo>
                  <a:pt x="1391" y="985"/>
                </a:lnTo>
                <a:lnTo>
                  <a:pt x="1393" y="988"/>
                </a:lnTo>
                <a:lnTo>
                  <a:pt x="1394" y="990"/>
                </a:lnTo>
                <a:lnTo>
                  <a:pt x="1395" y="992"/>
                </a:lnTo>
                <a:lnTo>
                  <a:pt x="1395" y="995"/>
                </a:lnTo>
                <a:lnTo>
                  <a:pt x="1395" y="997"/>
                </a:lnTo>
                <a:lnTo>
                  <a:pt x="1395" y="1000"/>
                </a:lnTo>
                <a:lnTo>
                  <a:pt x="1394" y="1002"/>
                </a:lnTo>
                <a:lnTo>
                  <a:pt x="1392" y="1004"/>
                </a:lnTo>
                <a:lnTo>
                  <a:pt x="1390" y="1006"/>
                </a:lnTo>
                <a:lnTo>
                  <a:pt x="1387" y="1007"/>
                </a:lnTo>
                <a:lnTo>
                  <a:pt x="1385" y="1008"/>
                </a:lnTo>
                <a:lnTo>
                  <a:pt x="1381" y="1008"/>
                </a:lnTo>
                <a:lnTo>
                  <a:pt x="1378" y="1007"/>
                </a:lnTo>
                <a:lnTo>
                  <a:pt x="1375" y="1005"/>
                </a:lnTo>
                <a:lnTo>
                  <a:pt x="1372" y="1002"/>
                </a:lnTo>
                <a:lnTo>
                  <a:pt x="1371" y="1000"/>
                </a:lnTo>
                <a:lnTo>
                  <a:pt x="1370" y="998"/>
                </a:lnTo>
                <a:lnTo>
                  <a:pt x="1370" y="995"/>
                </a:lnTo>
                <a:lnTo>
                  <a:pt x="1370" y="993"/>
                </a:lnTo>
                <a:lnTo>
                  <a:pt x="1371" y="990"/>
                </a:lnTo>
                <a:lnTo>
                  <a:pt x="1372" y="988"/>
                </a:lnTo>
                <a:lnTo>
                  <a:pt x="1373" y="986"/>
                </a:lnTo>
                <a:lnTo>
                  <a:pt x="1375" y="984"/>
                </a:lnTo>
                <a:lnTo>
                  <a:pt x="1378" y="983"/>
                </a:lnTo>
                <a:lnTo>
                  <a:pt x="1380" y="982"/>
                </a:lnTo>
                <a:close/>
                <a:moveTo>
                  <a:pt x="2450" y="793"/>
                </a:moveTo>
                <a:lnTo>
                  <a:pt x="2455" y="793"/>
                </a:lnTo>
                <a:lnTo>
                  <a:pt x="2457" y="794"/>
                </a:lnTo>
                <a:lnTo>
                  <a:pt x="2459" y="795"/>
                </a:lnTo>
                <a:lnTo>
                  <a:pt x="2461" y="797"/>
                </a:lnTo>
                <a:lnTo>
                  <a:pt x="2463" y="799"/>
                </a:lnTo>
                <a:lnTo>
                  <a:pt x="2464" y="801"/>
                </a:lnTo>
                <a:lnTo>
                  <a:pt x="2465" y="803"/>
                </a:lnTo>
                <a:lnTo>
                  <a:pt x="2465" y="806"/>
                </a:lnTo>
                <a:lnTo>
                  <a:pt x="2465" y="809"/>
                </a:lnTo>
                <a:lnTo>
                  <a:pt x="2464" y="812"/>
                </a:lnTo>
                <a:lnTo>
                  <a:pt x="2461" y="815"/>
                </a:lnTo>
                <a:lnTo>
                  <a:pt x="2458" y="818"/>
                </a:lnTo>
                <a:lnTo>
                  <a:pt x="2454" y="819"/>
                </a:lnTo>
                <a:lnTo>
                  <a:pt x="2450" y="819"/>
                </a:lnTo>
                <a:lnTo>
                  <a:pt x="2447" y="818"/>
                </a:lnTo>
                <a:lnTo>
                  <a:pt x="2445" y="817"/>
                </a:lnTo>
                <a:lnTo>
                  <a:pt x="2443" y="815"/>
                </a:lnTo>
                <a:lnTo>
                  <a:pt x="2441" y="813"/>
                </a:lnTo>
                <a:lnTo>
                  <a:pt x="2440" y="811"/>
                </a:lnTo>
                <a:lnTo>
                  <a:pt x="2440" y="809"/>
                </a:lnTo>
                <a:lnTo>
                  <a:pt x="2439" y="806"/>
                </a:lnTo>
                <a:lnTo>
                  <a:pt x="2439" y="804"/>
                </a:lnTo>
                <a:lnTo>
                  <a:pt x="2441" y="800"/>
                </a:lnTo>
                <a:lnTo>
                  <a:pt x="2443" y="797"/>
                </a:lnTo>
                <a:lnTo>
                  <a:pt x="2446" y="795"/>
                </a:lnTo>
                <a:lnTo>
                  <a:pt x="2450" y="793"/>
                </a:lnTo>
                <a:close/>
                <a:moveTo>
                  <a:pt x="2385" y="781"/>
                </a:moveTo>
                <a:lnTo>
                  <a:pt x="2390" y="781"/>
                </a:lnTo>
                <a:lnTo>
                  <a:pt x="2392" y="782"/>
                </a:lnTo>
                <a:lnTo>
                  <a:pt x="2394" y="783"/>
                </a:lnTo>
                <a:lnTo>
                  <a:pt x="2396" y="785"/>
                </a:lnTo>
                <a:lnTo>
                  <a:pt x="2398" y="786"/>
                </a:lnTo>
                <a:lnTo>
                  <a:pt x="2399" y="789"/>
                </a:lnTo>
                <a:lnTo>
                  <a:pt x="2400" y="791"/>
                </a:lnTo>
                <a:lnTo>
                  <a:pt x="2400" y="794"/>
                </a:lnTo>
                <a:lnTo>
                  <a:pt x="2400" y="796"/>
                </a:lnTo>
                <a:lnTo>
                  <a:pt x="2399" y="800"/>
                </a:lnTo>
                <a:lnTo>
                  <a:pt x="2396" y="803"/>
                </a:lnTo>
                <a:lnTo>
                  <a:pt x="2393" y="805"/>
                </a:lnTo>
                <a:lnTo>
                  <a:pt x="2389" y="806"/>
                </a:lnTo>
                <a:lnTo>
                  <a:pt x="2385" y="806"/>
                </a:lnTo>
                <a:lnTo>
                  <a:pt x="2382" y="806"/>
                </a:lnTo>
                <a:lnTo>
                  <a:pt x="2380" y="805"/>
                </a:lnTo>
                <a:lnTo>
                  <a:pt x="2378" y="803"/>
                </a:lnTo>
                <a:lnTo>
                  <a:pt x="2377" y="801"/>
                </a:lnTo>
                <a:lnTo>
                  <a:pt x="2375" y="799"/>
                </a:lnTo>
                <a:lnTo>
                  <a:pt x="2375" y="796"/>
                </a:lnTo>
                <a:lnTo>
                  <a:pt x="2374" y="794"/>
                </a:lnTo>
                <a:lnTo>
                  <a:pt x="2374" y="791"/>
                </a:lnTo>
                <a:lnTo>
                  <a:pt x="2376" y="788"/>
                </a:lnTo>
                <a:lnTo>
                  <a:pt x="2378" y="784"/>
                </a:lnTo>
                <a:lnTo>
                  <a:pt x="2381" y="782"/>
                </a:lnTo>
                <a:lnTo>
                  <a:pt x="2385" y="781"/>
                </a:lnTo>
                <a:close/>
                <a:moveTo>
                  <a:pt x="1435" y="945"/>
                </a:moveTo>
                <a:lnTo>
                  <a:pt x="1439" y="945"/>
                </a:lnTo>
                <a:lnTo>
                  <a:pt x="1443" y="946"/>
                </a:lnTo>
                <a:lnTo>
                  <a:pt x="1446" y="948"/>
                </a:lnTo>
                <a:lnTo>
                  <a:pt x="1447" y="950"/>
                </a:lnTo>
                <a:lnTo>
                  <a:pt x="1448" y="951"/>
                </a:lnTo>
                <a:lnTo>
                  <a:pt x="1450" y="953"/>
                </a:lnTo>
                <a:lnTo>
                  <a:pt x="1450" y="956"/>
                </a:lnTo>
                <a:lnTo>
                  <a:pt x="1450" y="961"/>
                </a:lnTo>
                <a:lnTo>
                  <a:pt x="1449" y="963"/>
                </a:lnTo>
                <a:lnTo>
                  <a:pt x="1448" y="965"/>
                </a:lnTo>
                <a:lnTo>
                  <a:pt x="1446" y="967"/>
                </a:lnTo>
                <a:lnTo>
                  <a:pt x="1444" y="969"/>
                </a:lnTo>
                <a:lnTo>
                  <a:pt x="1442" y="970"/>
                </a:lnTo>
                <a:lnTo>
                  <a:pt x="1440" y="971"/>
                </a:lnTo>
                <a:lnTo>
                  <a:pt x="1436" y="971"/>
                </a:lnTo>
                <a:lnTo>
                  <a:pt x="1432" y="970"/>
                </a:lnTo>
                <a:lnTo>
                  <a:pt x="1429" y="968"/>
                </a:lnTo>
                <a:lnTo>
                  <a:pt x="1428" y="967"/>
                </a:lnTo>
                <a:lnTo>
                  <a:pt x="1427" y="965"/>
                </a:lnTo>
                <a:lnTo>
                  <a:pt x="1425" y="963"/>
                </a:lnTo>
                <a:lnTo>
                  <a:pt x="1425" y="960"/>
                </a:lnTo>
                <a:lnTo>
                  <a:pt x="1425" y="955"/>
                </a:lnTo>
                <a:lnTo>
                  <a:pt x="1426" y="953"/>
                </a:lnTo>
                <a:lnTo>
                  <a:pt x="1427" y="951"/>
                </a:lnTo>
                <a:lnTo>
                  <a:pt x="1428" y="949"/>
                </a:lnTo>
                <a:lnTo>
                  <a:pt x="1430" y="947"/>
                </a:lnTo>
                <a:lnTo>
                  <a:pt x="1433" y="946"/>
                </a:lnTo>
                <a:lnTo>
                  <a:pt x="1435" y="945"/>
                </a:lnTo>
                <a:close/>
                <a:moveTo>
                  <a:pt x="2320" y="769"/>
                </a:moveTo>
                <a:lnTo>
                  <a:pt x="2325" y="769"/>
                </a:lnTo>
                <a:lnTo>
                  <a:pt x="2327" y="770"/>
                </a:lnTo>
                <a:lnTo>
                  <a:pt x="2329" y="771"/>
                </a:lnTo>
                <a:lnTo>
                  <a:pt x="2331" y="772"/>
                </a:lnTo>
                <a:lnTo>
                  <a:pt x="2333" y="774"/>
                </a:lnTo>
                <a:lnTo>
                  <a:pt x="2334" y="776"/>
                </a:lnTo>
                <a:lnTo>
                  <a:pt x="2335" y="779"/>
                </a:lnTo>
                <a:lnTo>
                  <a:pt x="2335" y="781"/>
                </a:lnTo>
                <a:lnTo>
                  <a:pt x="2335" y="784"/>
                </a:lnTo>
                <a:lnTo>
                  <a:pt x="2334" y="788"/>
                </a:lnTo>
                <a:lnTo>
                  <a:pt x="2332" y="789"/>
                </a:lnTo>
                <a:lnTo>
                  <a:pt x="2331" y="791"/>
                </a:lnTo>
                <a:lnTo>
                  <a:pt x="2328" y="793"/>
                </a:lnTo>
                <a:lnTo>
                  <a:pt x="2324" y="794"/>
                </a:lnTo>
                <a:lnTo>
                  <a:pt x="2320" y="794"/>
                </a:lnTo>
                <a:lnTo>
                  <a:pt x="2317" y="794"/>
                </a:lnTo>
                <a:lnTo>
                  <a:pt x="2315" y="792"/>
                </a:lnTo>
                <a:lnTo>
                  <a:pt x="2313" y="791"/>
                </a:lnTo>
                <a:lnTo>
                  <a:pt x="2312" y="789"/>
                </a:lnTo>
                <a:lnTo>
                  <a:pt x="2310" y="787"/>
                </a:lnTo>
                <a:lnTo>
                  <a:pt x="2310" y="784"/>
                </a:lnTo>
                <a:lnTo>
                  <a:pt x="2309" y="782"/>
                </a:lnTo>
                <a:lnTo>
                  <a:pt x="2309" y="779"/>
                </a:lnTo>
                <a:lnTo>
                  <a:pt x="2311" y="775"/>
                </a:lnTo>
                <a:lnTo>
                  <a:pt x="2313" y="772"/>
                </a:lnTo>
                <a:lnTo>
                  <a:pt x="2316" y="770"/>
                </a:lnTo>
                <a:lnTo>
                  <a:pt x="2320" y="769"/>
                </a:lnTo>
                <a:close/>
                <a:moveTo>
                  <a:pt x="1492" y="911"/>
                </a:moveTo>
                <a:lnTo>
                  <a:pt x="1496" y="911"/>
                </a:lnTo>
                <a:lnTo>
                  <a:pt x="1499" y="912"/>
                </a:lnTo>
                <a:lnTo>
                  <a:pt x="1501" y="913"/>
                </a:lnTo>
                <a:lnTo>
                  <a:pt x="1503" y="914"/>
                </a:lnTo>
                <a:lnTo>
                  <a:pt x="1505" y="917"/>
                </a:lnTo>
                <a:lnTo>
                  <a:pt x="1506" y="920"/>
                </a:lnTo>
                <a:lnTo>
                  <a:pt x="1507" y="922"/>
                </a:lnTo>
                <a:lnTo>
                  <a:pt x="1507" y="924"/>
                </a:lnTo>
                <a:lnTo>
                  <a:pt x="1506" y="927"/>
                </a:lnTo>
                <a:lnTo>
                  <a:pt x="1504" y="931"/>
                </a:lnTo>
                <a:lnTo>
                  <a:pt x="1502" y="933"/>
                </a:lnTo>
                <a:lnTo>
                  <a:pt x="1500" y="935"/>
                </a:lnTo>
                <a:lnTo>
                  <a:pt x="1498" y="936"/>
                </a:lnTo>
                <a:lnTo>
                  <a:pt x="1496" y="936"/>
                </a:lnTo>
                <a:lnTo>
                  <a:pt x="1492" y="936"/>
                </a:lnTo>
                <a:lnTo>
                  <a:pt x="1489" y="935"/>
                </a:lnTo>
                <a:lnTo>
                  <a:pt x="1487" y="934"/>
                </a:lnTo>
                <a:lnTo>
                  <a:pt x="1485" y="933"/>
                </a:lnTo>
                <a:lnTo>
                  <a:pt x="1483" y="930"/>
                </a:lnTo>
                <a:lnTo>
                  <a:pt x="1482" y="928"/>
                </a:lnTo>
                <a:lnTo>
                  <a:pt x="1481" y="925"/>
                </a:lnTo>
                <a:lnTo>
                  <a:pt x="1481" y="923"/>
                </a:lnTo>
                <a:lnTo>
                  <a:pt x="1481" y="920"/>
                </a:lnTo>
                <a:lnTo>
                  <a:pt x="1484" y="916"/>
                </a:lnTo>
                <a:lnTo>
                  <a:pt x="1485" y="914"/>
                </a:lnTo>
                <a:lnTo>
                  <a:pt x="1487" y="912"/>
                </a:lnTo>
                <a:lnTo>
                  <a:pt x="1489" y="911"/>
                </a:lnTo>
                <a:lnTo>
                  <a:pt x="1492" y="911"/>
                </a:lnTo>
                <a:close/>
                <a:moveTo>
                  <a:pt x="2255" y="757"/>
                </a:moveTo>
                <a:lnTo>
                  <a:pt x="2259" y="757"/>
                </a:lnTo>
                <a:lnTo>
                  <a:pt x="2262" y="758"/>
                </a:lnTo>
                <a:lnTo>
                  <a:pt x="2264" y="759"/>
                </a:lnTo>
                <a:lnTo>
                  <a:pt x="2266" y="760"/>
                </a:lnTo>
                <a:lnTo>
                  <a:pt x="2268" y="762"/>
                </a:lnTo>
                <a:lnTo>
                  <a:pt x="2269" y="764"/>
                </a:lnTo>
                <a:lnTo>
                  <a:pt x="2270" y="767"/>
                </a:lnTo>
                <a:lnTo>
                  <a:pt x="2270" y="769"/>
                </a:lnTo>
                <a:lnTo>
                  <a:pt x="2270" y="772"/>
                </a:lnTo>
                <a:lnTo>
                  <a:pt x="2269" y="776"/>
                </a:lnTo>
                <a:lnTo>
                  <a:pt x="2267" y="777"/>
                </a:lnTo>
                <a:lnTo>
                  <a:pt x="2266" y="779"/>
                </a:lnTo>
                <a:lnTo>
                  <a:pt x="2265" y="780"/>
                </a:lnTo>
                <a:lnTo>
                  <a:pt x="2263" y="781"/>
                </a:lnTo>
                <a:lnTo>
                  <a:pt x="2259" y="782"/>
                </a:lnTo>
                <a:lnTo>
                  <a:pt x="2255" y="782"/>
                </a:lnTo>
                <a:lnTo>
                  <a:pt x="2252" y="782"/>
                </a:lnTo>
                <a:lnTo>
                  <a:pt x="2250" y="781"/>
                </a:lnTo>
                <a:lnTo>
                  <a:pt x="2248" y="779"/>
                </a:lnTo>
                <a:lnTo>
                  <a:pt x="2247" y="777"/>
                </a:lnTo>
                <a:lnTo>
                  <a:pt x="2245" y="775"/>
                </a:lnTo>
                <a:lnTo>
                  <a:pt x="2244" y="773"/>
                </a:lnTo>
                <a:lnTo>
                  <a:pt x="2244" y="770"/>
                </a:lnTo>
                <a:lnTo>
                  <a:pt x="2244" y="768"/>
                </a:lnTo>
                <a:lnTo>
                  <a:pt x="2246" y="764"/>
                </a:lnTo>
                <a:lnTo>
                  <a:pt x="2247" y="762"/>
                </a:lnTo>
                <a:lnTo>
                  <a:pt x="2248" y="761"/>
                </a:lnTo>
                <a:lnTo>
                  <a:pt x="2249" y="759"/>
                </a:lnTo>
                <a:lnTo>
                  <a:pt x="2251" y="758"/>
                </a:lnTo>
                <a:lnTo>
                  <a:pt x="2255" y="757"/>
                </a:lnTo>
                <a:close/>
                <a:moveTo>
                  <a:pt x="1550" y="879"/>
                </a:moveTo>
                <a:lnTo>
                  <a:pt x="1554" y="879"/>
                </a:lnTo>
                <a:lnTo>
                  <a:pt x="1556" y="879"/>
                </a:lnTo>
                <a:lnTo>
                  <a:pt x="1557" y="880"/>
                </a:lnTo>
                <a:lnTo>
                  <a:pt x="1559" y="881"/>
                </a:lnTo>
                <a:lnTo>
                  <a:pt x="1561" y="882"/>
                </a:lnTo>
                <a:lnTo>
                  <a:pt x="1563" y="886"/>
                </a:lnTo>
                <a:lnTo>
                  <a:pt x="1564" y="888"/>
                </a:lnTo>
                <a:lnTo>
                  <a:pt x="1565" y="891"/>
                </a:lnTo>
                <a:lnTo>
                  <a:pt x="1565" y="893"/>
                </a:lnTo>
                <a:lnTo>
                  <a:pt x="1564" y="896"/>
                </a:lnTo>
                <a:lnTo>
                  <a:pt x="1563" y="898"/>
                </a:lnTo>
                <a:lnTo>
                  <a:pt x="1563" y="899"/>
                </a:lnTo>
                <a:lnTo>
                  <a:pt x="1562" y="900"/>
                </a:lnTo>
                <a:lnTo>
                  <a:pt x="1560" y="902"/>
                </a:lnTo>
                <a:lnTo>
                  <a:pt x="1558" y="903"/>
                </a:lnTo>
                <a:lnTo>
                  <a:pt x="1554" y="904"/>
                </a:lnTo>
                <a:lnTo>
                  <a:pt x="1550" y="905"/>
                </a:lnTo>
                <a:lnTo>
                  <a:pt x="1548" y="904"/>
                </a:lnTo>
                <a:lnTo>
                  <a:pt x="1546" y="903"/>
                </a:lnTo>
                <a:lnTo>
                  <a:pt x="1544" y="902"/>
                </a:lnTo>
                <a:lnTo>
                  <a:pt x="1543" y="901"/>
                </a:lnTo>
                <a:lnTo>
                  <a:pt x="1540" y="898"/>
                </a:lnTo>
                <a:lnTo>
                  <a:pt x="1539" y="895"/>
                </a:lnTo>
                <a:lnTo>
                  <a:pt x="1539" y="893"/>
                </a:lnTo>
                <a:lnTo>
                  <a:pt x="1539" y="890"/>
                </a:lnTo>
                <a:lnTo>
                  <a:pt x="1540" y="888"/>
                </a:lnTo>
                <a:lnTo>
                  <a:pt x="1540" y="886"/>
                </a:lnTo>
                <a:lnTo>
                  <a:pt x="1541" y="884"/>
                </a:lnTo>
                <a:lnTo>
                  <a:pt x="1542" y="883"/>
                </a:lnTo>
                <a:lnTo>
                  <a:pt x="1544" y="882"/>
                </a:lnTo>
                <a:lnTo>
                  <a:pt x="1546" y="880"/>
                </a:lnTo>
                <a:lnTo>
                  <a:pt x="1550" y="879"/>
                </a:lnTo>
                <a:close/>
                <a:moveTo>
                  <a:pt x="2188" y="748"/>
                </a:moveTo>
                <a:lnTo>
                  <a:pt x="2192" y="748"/>
                </a:lnTo>
                <a:lnTo>
                  <a:pt x="2194" y="748"/>
                </a:lnTo>
                <a:lnTo>
                  <a:pt x="2197" y="749"/>
                </a:lnTo>
                <a:lnTo>
                  <a:pt x="2199" y="751"/>
                </a:lnTo>
                <a:lnTo>
                  <a:pt x="2201" y="753"/>
                </a:lnTo>
                <a:lnTo>
                  <a:pt x="2202" y="755"/>
                </a:lnTo>
                <a:lnTo>
                  <a:pt x="2203" y="757"/>
                </a:lnTo>
                <a:lnTo>
                  <a:pt x="2203" y="759"/>
                </a:lnTo>
                <a:lnTo>
                  <a:pt x="2203" y="762"/>
                </a:lnTo>
                <a:lnTo>
                  <a:pt x="2203" y="764"/>
                </a:lnTo>
                <a:lnTo>
                  <a:pt x="2202" y="766"/>
                </a:lnTo>
                <a:lnTo>
                  <a:pt x="2200" y="770"/>
                </a:lnTo>
                <a:lnTo>
                  <a:pt x="2197" y="772"/>
                </a:lnTo>
                <a:lnTo>
                  <a:pt x="2195" y="773"/>
                </a:lnTo>
                <a:lnTo>
                  <a:pt x="2193" y="773"/>
                </a:lnTo>
                <a:lnTo>
                  <a:pt x="2189" y="774"/>
                </a:lnTo>
                <a:lnTo>
                  <a:pt x="2187" y="773"/>
                </a:lnTo>
                <a:lnTo>
                  <a:pt x="2184" y="772"/>
                </a:lnTo>
                <a:lnTo>
                  <a:pt x="2182" y="771"/>
                </a:lnTo>
                <a:lnTo>
                  <a:pt x="2180" y="769"/>
                </a:lnTo>
                <a:lnTo>
                  <a:pt x="2179" y="767"/>
                </a:lnTo>
                <a:lnTo>
                  <a:pt x="2178" y="765"/>
                </a:lnTo>
                <a:lnTo>
                  <a:pt x="2178" y="762"/>
                </a:lnTo>
                <a:lnTo>
                  <a:pt x="2178" y="759"/>
                </a:lnTo>
                <a:lnTo>
                  <a:pt x="2178" y="757"/>
                </a:lnTo>
                <a:lnTo>
                  <a:pt x="2179" y="755"/>
                </a:lnTo>
                <a:lnTo>
                  <a:pt x="2181" y="752"/>
                </a:lnTo>
                <a:lnTo>
                  <a:pt x="2184" y="749"/>
                </a:lnTo>
                <a:lnTo>
                  <a:pt x="2186" y="749"/>
                </a:lnTo>
                <a:lnTo>
                  <a:pt x="2188" y="748"/>
                </a:lnTo>
                <a:close/>
                <a:moveTo>
                  <a:pt x="1609" y="850"/>
                </a:moveTo>
                <a:lnTo>
                  <a:pt x="1613" y="850"/>
                </a:lnTo>
                <a:lnTo>
                  <a:pt x="1617" y="851"/>
                </a:lnTo>
                <a:lnTo>
                  <a:pt x="1619" y="852"/>
                </a:lnTo>
                <a:lnTo>
                  <a:pt x="1621" y="854"/>
                </a:lnTo>
                <a:lnTo>
                  <a:pt x="1623" y="857"/>
                </a:lnTo>
                <a:lnTo>
                  <a:pt x="1624" y="860"/>
                </a:lnTo>
                <a:lnTo>
                  <a:pt x="1624" y="862"/>
                </a:lnTo>
                <a:lnTo>
                  <a:pt x="1623" y="867"/>
                </a:lnTo>
                <a:lnTo>
                  <a:pt x="1622" y="869"/>
                </a:lnTo>
                <a:lnTo>
                  <a:pt x="1621" y="871"/>
                </a:lnTo>
                <a:lnTo>
                  <a:pt x="1619" y="873"/>
                </a:lnTo>
                <a:lnTo>
                  <a:pt x="1617" y="874"/>
                </a:lnTo>
                <a:lnTo>
                  <a:pt x="1613" y="875"/>
                </a:lnTo>
                <a:lnTo>
                  <a:pt x="1609" y="875"/>
                </a:lnTo>
                <a:lnTo>
                  <a:pt x="1605" y="874"/>
                </a:lnTo>
                <a:lnTo>
                  <a:pt x="1604" y="873"/>
                </a:lnTo>
                <a:lnTo>
                  <a:pt x="1602" y="872"/>
                </a:lnTo>
                <a:lnTo>
                  <a:pt x="1599" y="868"/>
                </a:lnTo>
                <a:lnTo>
                  <a:pt x="1599" y="866"/>
                </a:lnTo>
                <a:lnTo>
                  <a:pt x="1598" y="863"/>
                </a:lnTo>
                <a:lnTo>
                  <a:pt x="1599" y="858"/>
                </a:lnTo>
                <a:lnTo>
                  <a:pt x="1600" y="856"/>
                </a:lnTo>
                <a:lnTo>
                  <a:pt x="1602" y="854"/>
                </a:lnTo>
                <a:lnTo>
                  <a:pt x="1604" y="852"/>
                </a:lnTo>
                <a:lnTo>
                  <a:pt x="1606" y="851"/>
                </a:lnTo>
                <a:lnTo>
                  <a:pt x="1609" y="850"/>
                </a:lnTo>
                <a:close/>
                <a:moveTo>
                  <a:pt x="1670" y="824"/>
                </a:moveTo>
                <a:lnTo>
                  <a:pt x="1674" y="824"/>
                </a:lnTo>
                <a:lnTo>
                  <a:pt x="1676" y="824"/>
                </a:lnTo>
                <a:lnTo>
                  <a:pt x="1678" y="825"/>
                </a:lnTo>
                <a:lnTo>
                  <a:pt x="1680" y="827"/>
                </a:lnTo>
                <a:lnTo>
                  <a:pt x="1682" y="828"/>
                </a:lnTo>
                <a:lnTo>
                  <a:pt x="1683" y="830"/>
                </a:lnTo>
                <a:lnTo>
                  <a:pt x="1684" y="832"/>
                </a:lnTo>
                <a:lnTo>
                  <a:pt x="1685" y="834"/>
                </a:lnTo>
                <a:lnTo>
                  <a:pt x="1685" y="837"/>
                </a:lnTo>
                <a:lnTo>
                  <a:pt x="1685" y="839"/>
                </a:lnTo>
                <a:lnTo>
                  <a:pt x="1684" y="842"/>
                </a:lnTo>
                <a:lnTo>
                  <a:pt x="1683" y="844"/>
                </a:lnTo>
                <a:lnTo>
                  <a:pt x="1681" y="846"/>
                </a:lnTo>
                <a:lnTo>
                  <a:pt x="1679" y="847"/>
                </a:lnTo>
                <a:lnTo>
                  <a:pt x="1677" y="849"/>
                </a:lnTo>
                <a:lnTo>
                  <a:pt x="1674" y="849"/>
                </a:lnTo>
                <a:lnTo>
                  <a:pt x="1670" y="849"/>
                </a:lnTo>
                <a:lnTo>
                  <a:pt x="1668" y="849"/>
                </a:lnTo>
                <a:lnTo>
                  <a:pt x="1666" y="848"/>
                </a:lnTo>
                <a:lnTo>
                  <a:pt x="1664" y="847"/>
                </a:lnTo>
                <a:lnTo>
                  <a:pt x="1662" y="845"/>
                </a:lnTo>
                <a:lnTo>
                  <a:pt x="1661" y="843"/>
                </a:lnTo>
                <a:lnTo>
                  <a:pt x="1660" y="841"/>
                </a:lnTo>
                <a:lnTo>
                  <a:pt x="1659" y="839"/>
                </a:lnTo>
                <a:lnTo>
                  <a:pt x="1659" y="836"/>
                </a:lnTo>
                <a:lnTo>
                  <a:pt x="1659" y="834"/>
                </a:lnTo>
                <a:lnTo>
                  <a:pt x="1660" y="832"/>
                </a:lnTo>
                <a:lnTo>
                  <a:pt x="1661" y="829"/>
                </a:lnTo>
                <a:lnTo>
                  <a:pt x="1663" y="827"/>
                </a:lnTo>
                <a:lnTo>
                  <a:pt x="1665" y="826"/>
                </a:lnTo>
                <a:lnTo>
                  <a:pt x="1667" y="825"/>
                </a:lnTo>
                <a:lnTo>
                  <a:pt x="1670" y="824"/>
                </a:lnTo>
                <a:close/>
                <a:moveTo>
                  <a:pt x="2122" y="743"/>
                </a:moveTo>
                <a:lnTo>
                  <a:pt x="2125" y="743"/>
                </a:lnTo>
                <a:lnTo>
                  <a:pt x="2128" y="744"/>
                </a:lnTo>
                <a:lnTo>
                  <a:pt x="2130" y="744"/>
                </a:lnTo>
                <a:lnTo>
                  <a:pt x="2132" y="746"/>
                </a:lnTo>
                <a:lnTo>
                  <a:pt x="2134" y="747"/>
                </a:lnTo>
                <a:lnTo>
                  <a:pt x="2136" y="749"/>
                </a:lnTo>
                <a:lnTo>
                  <a:pt x="2137" y="752"/>
                </a:lnTo>
                <a:lnTo>
                  <a:pt x="2137" y="754"/>
                </a:lnTo>
                <a:lnTo>
                  <a:pt x="2137" y="757"/>
                </a:lnTo>
                <a:lnTo>
                  <a:pt x="2137" y="759"/>
                </a:lnTo>
                <a:lnTo>
                  <a:pt x="2137" y="761"/>
                </a:lnTo>
                <a:lnTo>
                  <a:pt x="2134" y="765"/>
                </a:lnTo>
                <a:lnTo>
                  <a:pt x="2131" y="767"/>
                </a:lnTo>
                <a:lnTo>
                  <a:pt x="2127" y="769"/>
                </a:lnTo>
                <a:lnTo>
                  <a:pt x="2124" y="769"/>
                </a:lnTo>
                <a:lnTo>
                  <a:pt x="2121" y="769"/>
                </a:lnTo>
                <a:lnTo>
                  <a:pt x="2119" y="768"/>
                </a:lnTo>
                <a:lnTo>
                  <a:pt x="2117" y="766"/>
                </a:lnTo>
                <a:lnTo>
                  <a:pt x="2115" y="765"/>
                </a:lnTo>
                <a:lnTo>
                  <a:pt x="2114" y="763"/>
                </a:lnTo>
                <a:lnTo>
                  <a:pt x="2112" y="761"/>
                </a:lnTo>
                <a:lnTo>
                  <a:pt x="2112" y="758"/>
                </a:lnTo>
                <a:lnTo>
                  <a:pt x="2112" y="756"/>
                </a:lnTo>
                <a:lnTo>
                  <a:pt x="2112" y="753"/>
                </a:lnTo>
                <a:lnTo>
                  <a:pt x="2113" y="751"/>
                </a:lnTo>
                <a:lnTo>
                  <a:pt x="2115" y="748"/>
                </a:lnTo>
                <a:lnTo>
                  <a:pt x="2118" y="745"/>
                </a:lnTo>
                <a:lnTo>
                  <a:pt x="2122" y="743"/>
                </a:lnTo>
                <a:close/>
                <a:moveTo>
                  <a:pt x="1732" y="801"/>
                </a:moveTo>
                <a:lnTo>
                  <a:pt x="1736" y="801"/>
                </a:lnTo>
                <a:lnTo>
                  <a:pt x="1739" y="802"/>
                </a:lnTo>
                <a:lnTo>
                  <a:pt x="1741" y="803"/>
                </a:lnTo>
                <a:lnTo>
                  <a:pt x="1742" y="804"/>
                </a:lnTo>
                <a:lnTo>
                  <a:pt x="1744" y="806"/>
                </a:lnTo>
                <a:lnTo>
                  <a:pt x="1745" y="808"/>
                </a:lnTo>
                <a:lnTo>
                  <a:pt x="1746" y="810"/>
                </a:lnTo>
                <a:lnTo>
                  <a:pt x="1747" y="815"/>
                </a:lnTo>
                <a:lnTo>
                  <a:pt x="1747" y="817"/>
                </a:lnTo>
                <a:lnTo>
                  <a:pt x="1746" y="820"/>
                </a:lnTo>
                <a:lnTo>
                  <a:pt x="1744" y="822"/>
                </a:lnTo>
                <a:lnTo>
                  <a:pt x="1743" y="824"/>
                </a:lnTo>
                <a:lnTo>
                  <a:pt x="1741" y="825"/>
                </a:lnTo>
                <a:lnTo>
                  <a:pt x="1738" y="826"/>
                </a:lnTo>
                <a:lnTo>
                  <a:pt x="1736" y="827"/>
                </a:lnTo>
                <a:lnTo>
                  <a:pt x="1732" y="827"/>
                </a:lnTo>
                <a:lnTo>
                  <a:pt x="1730" y="826"/>
                </a:lnTo>
                <a:lnTo>
                  <a:pt x="1728" y="825"/>
                </a:lnTo>
                <a:lnTo>
                  <a:pt x="1726" y="824"/>
                </a:lnTo>
                <a:lnTo>
                  <a:pt x="1724" y="822"/>
                </a:lnTo>
                <a:lnTo>
                  <a:pt x="1723" y="820"/>
                </a:lnTo>
                <a:lnTo>
                  <a:pt x="1722" y="818"/>
                </a:lnTo>
                <a:lnTo>
                  <a:pt x="1721" y="813"/>
                </a:lnTo>
                <a:lnTo>
                  <a:pt x="1722" y="810"/>
                </a:lnTo>
                <a:lnTo>
                  <a:pt x="1723" y="808"/>
                </a:lnTo>
                <a:lnTo>
                  <a:pt x="1724" y="806"/>
                </a:lnTo>
                <a:lnTo>
                  <a:pt x="1726" y="804"/>
                </a:lnTo>
                <a:lnTo>
                  <a:pt x="1728" y="803"/>
                </a:lnTo>
                <a:lnTo>
                  <a:pt x="1730" y="802"/>
                </a:lnTo>
                <a:lnTo>
                  <a:pt x="1732" y="801"/>
                </a:lnTo>
                <a:close/>
                <a:moveTo>
                  <a:pt x="2056" y="743"/>
                </a:moveTo>
                <a:lnTo>
                  <a:pt x="2058" y="743"/>
                </a:lnTo>
                <a:lnTo>
                  <a:pt x="2061" y="743"/>
                </a:lnTo>
                <a:lnTo>
                  <a:pt x="2063" y="744"/>
                </a:lnTo>
                <a:lnTo>
                  <a:pt x="2065" y="745"/>
                </a:lnTo>
                <a:lnTo>
                  <a:pt x="2067" y="746"/>
                </a:lnTo>
                <a:lnTo>
                  <a:pt x="2069" y="748"/>
                </a:lnTo>
                <a:lnTo>
                  <a:pt x="2070" y="750"/>
                </a:lnTo>
                <a:lnTo>
                  <a:pt x="2071" y="753"/>
                </a:lnTo>
                <a:lnTo>
                  <a:pt x="2071" y="755"/>
                </a:lnTo>
                <a:lnTo>
                  <a:pt x="2071" y="758"/>
                </a:lnTo>
                <a:lnTo>
                  <a:pt x="2071" y="760"/>
                </a:lnTo>
                <a:lnTo>
                  <a:pt x="2070" y="762"/>
                </a:lnTo>
                <a:lnTo>
                  <a:pt x="2068" y="764"/>
                </a:lnTo>
                <a:lnTo>
                  <a:pt x="2067" y="765"/>
                </a:lnTo>
                <a:lnTo>
                  <a:pt x="2065" y="767"/>
                </a:lnTo>
                <a:lnTo>
                  <a:pt x="2063" y="768"/>
                </a:lnTo>
                <a:lnTo>
                  <a:pt x="2061" y="768"/>
                </a:lnTo>
                <a:lnTo>
                  <a:pt x="2059" y="768"/>
                </a:lnTo>
                <a:lnTo>
                  <a:pt x="2056" y="768"/>
                </a:lnTo>
                <a:lnTo>
                  <a:pt x="2054" y="768"/>
                </a:lnTo>
                <a:lnTo>
                  <a:pt x="2051" y="766"/>
                </a:lnTo>
                <a:lnTo>
                  <a:pt x="2049" y="765"/>
                </a:lnTo>
                <a:lnTo>
                  <a:pt x="2048" y="763"/>
                </a:lnTo>
                <a:lnTo>
                  <a:pt x="2047" y="761"/>
                </a:lnTo>
                <a:lnTo>
                  <a:pt x="2046" y="758"/>
                </a:lnTo>
                <a:lnTo>
                  <a:pt x="2045" y="756"/>
                </a:lnTo>
                <a:lnTo>
                  <a:pt x="2046" y="753"/>
                </a:lnTo>
                <a:lnTo>
                  <a:pt x="2046" y="751"/>
                </a:lnTo>
                <a:lnTo>
                  <a:pt x="2047" y="749"/>
                </a:lnTo>
                <a:lnTo>
                  <a:pt x="2048" y="747"/>
                </a:lnTo>
                <a:lnTo>
                  <a:pt x="2050" y="746"/>
                </a:lnTo>
                <a:lnTo>
                  <a:pt x="2052" y="744"/>
                </a:lnTo>
                <a:lnTo>
                  <a:pt x="2054" y="743"/>
                </a:lnTo>
                <a:lnTo>
                  <a:pt x="2056" y="743"/>
                </a:lnTo>
                <a:close/>
                <a:moveTo>
                  <a:pt x="1795" y="782"/>
                </a:moveTo>
                <a:lnTo>
                  <a:pt x="1800" y="782"/>
                </a:lnTo>
                <a:lnTo>
                  <a:pt x="1802" y="783"/>
                </a:lnTo>
                <a:lnTo>
                  <a:pt x="1804" y="784"/>
                </a:lnTo>
                <a:lnTo>
                  <a:pt x="1806" y="785"/>
                </a:lnTo>
                <a:lnTo>
                  <a:pt x="1808" y="787"/>
                </a:lnTo>
                <a:lnTo>
                  <a:pt x="1809" y="789"/>
                </a:lnTo>
                <a:lnTo>
                  <a:pt x="1810" y="791"/>
                </a:lnTo>
                <a:lnTo>
                  <a:pt x="1810" y="794"/>
                </a:lnTo>
                <a:lnTo>
                  <a:pt x="1810" y="796"/>
                </a:lnTo>
                <a:lnTo>
                  <a:pt x="1810" y="799"/>
                </a:lnTo>
                <a:lnTo>
                  <a:pt x="1809" y="801"/>
                </a:lnTo>
                <a:lnTo>
                  <a:pt x="1807" y="803"/>
                </a:lnTo>
                <a:lnTo>
                  <a:pt x="1805" y="805"/>
                </a:lnTo>
                <a:lnTo>
                  <a:pt x="1803" y="806"/>
                </a:lnTo>
                <a:lnTo>
                  <a:pt x="1801" y="807"/>
                </a:lnTo>
                <a:lnTo>
                  <a:pt x="1795" y="807"/>
                </a:lnTo>
                <a:lnTo>
                  <a:pt x="1793" y="806"/>
                </a:lnTo>
                <a:lnTo>
                  <a:pt x="1791" y="805"/>
                </a:lnTo>
                <a:lnTo>
                  <a:pt x="1789" y="804"/>
                </a:lnTo>
                <a:lnTo>
                  <a:pt x="1787" y="802"/>
                </a:lnTo>
                <a:lnTo>
                  <a:pt x="1786" y="800"/>
                </a:lnTo>
                <a:lnTo>
                  <a:pt x="1785" y="798"/>
                </a:lnTo>
                <a:lnTo>
                  <a:pt x="1784" y="795"/>
                </a:lnTo>
                <a:lnTo>
                  <a:pt x="1785" y="793"/>
                </a:lnTo>
                <a:lnTo>
                  <a:pt x="1785" y="790"/>
                </a:lnTo>
                <a:lnTo>
                  <a:pt x="1786" y="788"/>
                </a:lnTo>
                <a:lnTo>
                  <a:pt x="1788" y="786"/>
                </a:lnTo>
                <a:lnTo>
                  <a:pt x="1789" y="784"/>
                </a:lnTo>
                <a:lnTo>
                  <a:pt x="1791" y="783"/>
                </a:lnTo>
                <a:lnTo>
                  <a:pt x="1794" y="782"/>
                </a:lnTo>
                <a:lnTo>
                  <a:pt x="1795" y="782"/>
                </a:lnTo>
                <a:close/>
                <a:moveTo>
                  <a:pt x="1990" y="747"/>
                </a:moveTo>
                <a:lnTo>
                  <a:pt x="1993" y="747"/>
                </a:lnTo>
                <a:lnTo>
                  <a:pt x="1996" y="747"/>
                </a:lnTo>
                <a:lnTo>
                  <a:pt x="1998" y="748"/>
                </a:lnTo>
                <a:lnTo>
                  <a:pt x="2001" y="749"/>
                </a:lnTo>
                <a:lnTo>
                  <a:pt x="2002" y="751"/>
                </a:lnTo>
                <a:lnTo>
                  <a:pt x="2004" y="753"/>
                </a:lnTo>
                <a:lnTo>
                  <a:pt x="2005" y="756"/>
                </a:lnTo>
                <a:lnTo>
                  <a:pt x="2005" y="758"/>
                </a:lnTo>
                <a:lnTo>
                  <a:pt x="2005" y="761"/>
                </a:lnTo>
                <a:lnTo>
                  <a:pt x="2005" y="763"/>
                </a:lnTo>
                <a:lnTo>
                  <a:pt x="2004" y="765"/>
                </a:lnTo>
                <a:lnTo>
                  <a:pt x="2003" y="767"/>
                </a:lnTo>
                <a:lnTo>
                  <a:pt x="1999" y="770"/>
                </a:lnTo>
                <a:lnTo>
                  <a:pt x="1997" y="771"/>
                </a:lnTo>
                <a:lnTo>
                  <a:pt x="1995" y="772"/>
                </a:lnTo>
                <a:lnTo>
                  <a:pt x="1992" y="772"/>
                </a:lnTo>
                <a:lnTo>
                  <a:pt x="1989" y="771"/>
                </a:lnTo>
                <a:lnTo>
                  <a:pt x="1986" y="771"/>
                </a:lnTo>
                <a:lnTo>
                  <a:pt x="1984" y="769"/>
                </a:lnTo>
                <a:lnTo>
                  <a:pt x="1982" y="767"/>
                </a:lnTo>
                <a:lnTo>
                  <a:pt x="1981" y="765"/>
                </a:lnTo>
                <a:lnTo>
                  <a:pt x="1980" y="763"/>
                </a:lnTo>
                <a:lnTo>
                  <a:pt x="1979" y="760"/>
                </a:lnTo>
                <a:lnTo>
                  <a:pt x="1979" y="758"/>
                </a:lnTo>
                <a:lnTo>
                  <a:pt x="1980" y="756"/>
                </a:lnTo>
                <a:lnTo>
                  <a:pt x="1981" y="753"/>
                </a:lnTo>
                <a:lnTo>
                  <a:pt x="1982" y="751"/>
                </a:lnTo>
                <a:lnTo>
                  <a:pt x="1986" y="748"/>
                </a:lnTo>
                <a:lnTo>
                  <a:pt x="1988" y="747"/>
                </a:lnTo>
                <a:lnTo>
                  <a:pt x="1990" y="747"/>
                </a:lnTo>
                <a:close/>
                <a:moveTo>
                  <a:pt x="1859" y="766"/>
                </a:moveTo>
                <a:lnTo>
                  <a:pt x="1864" y="766"/>
                </a:lnTo>
                <a:lnTo>
                  <a:pt x="1867" y="767"/>
                </a:lnTo>
                <a:lnTo>
                  <a:pt x="1869" y="768"/>
                </a:lnTo>
                <a:lnTo>
                  <a:pt x="1871" y="770"/>
                </a:lnTo>
                <a:lnTo>
                  <a:pt x="1872" y="772"/>
                </a:lnTo>
                <a:lnTo>
                  <a:pt x="1873" y="774"/>
                </a:lnTo>
                <a:lnTo>
                  <a:pt x="1874" y="776"/>
                </a:lnTo>
                <a:lnTo>
                  <a:pt x="1874" y="781"/>
                </a:lnTo>
                <a:lnTo>
                  <a:pt x="1874" y="784"/>
                </a:lnTo>
                <a:lnTo>
                  <a:pt x="1872" y="786"/>
                </a:lnTo>
                <a:lnTo>
                  <a:pt x="1871" y="788"/>
                </a:lnTo>
                <a:lnTo>
                  <a:pt x="1869" y="789"/>
                </a:lnTo>
                <a:lnTo>
                  <a:pt x="1867" y="791"/>
                </a:lnTo>
                <a:lnTo>
                  <a:pt x="1864" y="792"/>
                </a:lnTo>
                <a:lnTo>
                  <a:pt x="1859" y="791"/>
                </a:lnTo>
                <a:lnTo>
                  <a:pt x="1857" y="791"/>
                </a:lnTo>
                <a:lnTo>
                  <a:pt x="1854" y="790"/>
                </a:lnTo>
                <a:lnTo>
                  <a:pt x="1853" y="788"/>
                </a:lnTo>
                <a:lnTo>
                  <a:pt x="1851" y="786"/>
                </a:lnTo>
                <a:lnTo>
                  <a:pt x="1850" y="784"/>
                </a:lnTo>
                <a:lnTo>
                  <a:pt x="1849" y="782"/>
                </a:lnTo>
                <a:lnTo>
                  <a:pt x="1849" y="776"/>
                </a:lnTo>
                <a:lnTo>
                  <a:pt x="1850" y="774"/>
                </a:lnTo>
                <a:lnTo>
                  <a:pt x="1851" y="772"/>
                </a:lnTo>
                <a:lnTo>
                  <a:pt x="1852" y="770"/>
                </a:lnTo>
                <a:lnTo>
                  <a:pt x="1854" y="768"/>
                </a:lnTo>
                <a:lnTo>
                  <a:pt x="1856" y="767"/>
                </a:lnTo>
                <a:lnTo>
                  <a:pt x="1859" y="766"/>
                </a:lnTo>
                <a:close/>
                <a:moveTo>
                  <a:pt x="1924" y="754"/>
                </a:moveTo>
                <a:lnTo>
                  <a:pt x="1927" y="754"/>
                </a:lnTo>
                <a:lnTo>
                  <a:pt x="1930" y="755"/>
                </a:lnTo>
                <a:lnTo>
                  <a:pt x="1934" y="757"/>
                </a:lnTo>
                <a:lnTo>
                  <a:pt x="1936" y="758"/>
                </a:lnTo>
                <a:lnTo>
                  <a:pt x="1938" y="760"/>
                </a:lnTo>
                <a:lnTo>
                  <a:pt x="1939" y="763"/>
                </a:lnTo>
                <a:lnTo>
                  <a:pt x="1939" y="765"/>
                </a:lnTo>
                <a:lnTo>
                  <a:pt x="1940" y="768"/>
                </a:lnTo>
                <a:lnTo>
                  <a:pt x="1939" y="770"/>
                </a:lnTo>
                <a:lnTo>
                  <a:pt x="1938" y="773"/>
                </a:lnTo>
                <a:lnTo>
                  <a:pt x="1937" y="775"/>
                </a:lnTo>
                <a:lnTo>
                  <a:pt x="1936" y="776"/>
                </a:lnTo>
                <a:lnTo>
                  <a:pt x="1934" y="778"/>
                </a:lnTo>
                <a:lnTo>
                  <a:pt x="1931" y="779"/>
                </a:lnTo>
                <a:lnTo>
                  <a:pt x="1929" y="780"/>
                </a:lnTo>
                <a:lnTo>
                  <a:pt x="1926" y="780"/>
                </a:lnTo>
                <a:lnTo>
                  <a:pt x="1924" y="780"/>
                </a:lnTo>
                <a:lnTo>
                  <a:pt x="1919" y="777"/>
                </a:lnTo>
                <a:lnTo>
                  <a:pt x="1917" y="776"/>
                </a:lnTo>
                <a:lnTo>
                  <a:pt x="1916" y="774"/>
                </a:lnTo>
                <a:lnTo>
                  <a:pt x="1915" y="772"/>
                </a:lnTo>
                <a:lnTo>
                  <a:pt x="1914" y="769"/>
                </a:lnTo>
                <a:lnTo>
                  <a:pt x="1914" y="766"/>
                </a:lnTo>
                <a:lnTo>
                  <a:pt x="1914" y="764"/>
                </a:lnTo>
                <a:lnTo>
                  <a:pt x="1915" y="762"/>
                </a:lnTo>
                <a:lnTo>
                  <a:pt x="1916" y="760"/>
                </a:lnTo>
                <a:lnTo>
                  <a:pt x="1918" y="758"/>
                </a:lnTo>
                <a:lnTo>
                  <a:pt x="1920" y="756"/>
                </a:lnTo>
                <a:lnTo>
                  <a:pt x="1922" y="755"/>
                </a:lnTo>
                <a:lnTo>
                  <a:pt x="1924" y="754"/>
                </a:lnTo>
                <a:close/>
                <a:moveTo>
                  <a:pt x="309" y="2268"/>
                </a:moveTo>
                <a:lnTo>
                  <a:pt x="312" y="2268"/>
                </a:lnTo>
                <a:lnTo>
                  <a:pt x="315" y="2268"/>
                </a:lnTo>
                <a:lnTo>
                  <a:pt x="318" y="2269"/>
                </a:lnTo>
                <a:lnTo>
                  <a:pt x="305" y="2269"/>
                </a:lnTo>
                <a:lnTo>
                  <a:pt x="307" y="2268"/>
                </a:lnTo>
                <a:lnTo>
                  <a:pt x="309" y="2268"/>
                </a:lnTo>
                <a:close/>
                <a:moveTo>
                  <a:pt x="327" y="2204"/>
                </a:moveTo>
                <a:lnTo>
                  <a:pt x="330" y="2204"/>
                </a:lnTo>
                <a:lnTo>
                  <a:pt x="333" y="2204"/>
                </a:lnTo>
                <a:lnTo>
                  <a:pt x="336" y="2205"/>
                </a:lnTo>
                <a:lnTo>
                  <a:pt x="338" y="2207"/>
                </a:lnTo>
                <a:lnTo>
                  <a:pt x="340" y="2209"/>
                </a:lnTo>
                <a:lnTo>
                  <a:pt x="341" y="2211"/>
                </a:lnTo>
                <a:lnTo>
                  <a:pt x="342" y="2213"/>
                </a:lnTo>
                <a:lnTo>
                  <a:pt x="343" y="2215"/>
                </a:lnTo>
                <a:lnTo>
                  <a:pt x="343" y="2218"/>
                </a:lnTo>
                <a:lnTo>
                  <a:pt x="342" y="2221"/>
                </a:lnTo>
                <a:lnTo>
                  <a:pt x="341" y="2224"/>
                </a:lnTo>
                <a:lnTo>
                  <a:pt x="338" y="2227"/>
                </a:lnTo>
                <a:lnTo>
                  <a:pt x="335" y="2229"/>
                </a:lnTo>
                <a:lnTo>
                  <a:pt x="334" y="2229"/>
                </a:lnTo>
                <a:lnTo>
                  <a:pt x="332" y="2230"/>
                </a:lnTo>
                <a:lnTo>
                  <a:pt x="329" y="2230"/>
                </a:lnTo>
                <a:lnTo>
                  <a:pt x="326" y="2229"/>
                </a:lnTo>
                <a:lnTo>
                  <a:pt x="323" y="2228"/>
                </a:lnTo>
                <a:lnTo>
                  <a:pt x="321" y="2227"/>
                </a:lnTo>
                <a:lnTo>
                  <a:pt x="320" y="2225"/>
                </a:lnTo>
                <a:lnTo>
                  <a:pt x="318" y="2223"/>
                </a:lnTo>
                <a:lnTo>
                  <a:pt x="317" y="2221"/>
                </a:lnTo>
                <a:lnTo>
                  <a:pt x="317" y="2218"/>
                </a:lnTo>
                <a:lnTo>
                  <a:pt x="317" y="2216"/>
                </a:lnTo>
                <a:lnTo>
                  <a:pt x="317" y="2213"/>
                </a:lnTo>
                <a:lnTo>
                  <a:pt x="319" y="2210"/>
                </a:lnTo>
                <a:lnTo>
                  <a:pt x="321" y="2207"/>
                </a:lnTo>
                <a:lnTo>
                  <a:pt x="324" y="2205"/>
                </a:lnTo>
                <a:lnTo>
                  <a:pt x="326" y="2205"/>
                </a:lnTo>
                <a:lnTo>
                  <a:pt x="327" y="2204"/>
                </a:lnTo>
                <a:close/>
                <a:moveTo>
                  <a:pt x="347" y="2141"/>
                </a:moveTo>
                <a:lnTo>
                  <a:pt x="350" y="2141"/>
                </a:lnTo>
                <a:lnTo>
                  <a:pt x="353" y="2141"/>
                </a:lnTo>
                <a:lnTo>
                  <a:pt x="355" y="2142"/>
                </a:lnTo>
                <a:lnTo>
                  <a:pt x="357" y="2144"/>
                </a:lnTo>
                <a:lnTo>
                  <a:pt x="359" y="2145"/>
                </a:lnTo>
                <a:lnTo>
                  <a:pt x="360" y="2148"/>
                </a:lnTo>
                <a:lnTo>
                  <a:pt x="361" y="2150"/>
                </a:lnTo>
                <a:lnTo>
                  <a:pt x="362" y="2152"/>
                </a:lnTo>
                <a:lnTo>
                  <a:pt x="362" y="2155"/>
                </a:lnTo>
                <a:lnTo>
                  <a:pt x="361" y="2157"/>
                </a:lnTo>
                <a:lnTo>
                  <a:pt x="361" y="2159"/>
                </a:lnTo>
                <a:lnTo>
                  <a:pt x="360" y="2161"/>
                </a:lnTo>
                <a:lnTo>
                  <a:pt x="357" y="2163"/>
                </a:lnTo>
                <a:lnTo>
                  <a:pt x="354" y="2165"/>
                </a:lnTo>
                <a:lnTo>
                  <a:pt x="351" y="2166"/>
                </a:lnTo>
                <a:lnTo>
                  <a:pt x="348" y="2167"/>
                </a:lnTo>
                <a:lnTo>
                  <a:pt x="345" y="2166"/>
                </a:lnTo>
                <a:lnTo>
                  <a:pt x="343" y="2165"/>
                </a:lnTo>
                <a:lnTo>
                  <a:pt x="340" y="2164"/>
                </a:lnTo>
                <a:lnTo>
                  <a:pt x="339" y="2162"/>
                </a:lnTo>
                <a:lnTo>
                  <a:pt x="337" y="2160"/>
                </a:lnTo>
                <a:lnTo>
                  <a:pt x="336" y="2157"/>
                </a:lnTo>
                <a:lnTo>
                  <a:pt x="336" y="2155"/>
                </a:lnTo>
                <a:lnTo>
                  <a:pt x="336" y="2152"/>
                </a:lnTo>
                <a:lnTo>
                  <a:pt x="336" y="2150"/>
                </a:lnTo>
                <a:lnTo>
                  <a:pt x="337" y="2148"/>
                </a:lnTo>
                <a:lnTo>
                  <a:pt x="338" y="2146"/>
                </a:lnTo>
                <a:lnTo>
                  <a:pt x="340" y="2144"/>
                </a:lnTo>
                <a:lnTo>
                  <a:pt x="343" y="2142"/>
                </a:lnTo>
                <a:lnTo>
                  <a:pt x="347" y="2141"/>
                </a:lnTo>
                <a:close/>
                <a:moveTo>
                  <a:pt x="367" y="2078"/>
                </a:moveTo>
                <a:lnTo>
                  <a:pt x="370" y="2078"/>
                </a:lnTo>
                <a:lnTo>
                  <a:pt x="373" y="2078"/>
                </a:lnTo>
                <a:lnTo>
                  <a:pt x="375" y="2079"/>
                </a:lnTo>
                <a:lnTo>
                  <a:pt x="378" y="2081"/>
                </a:lnTo>
                <a:lnTo>
                  <a:pt x="379" y="2083"/>
                </a:lnTo>
                <a:lnTo>
                  <a:pt x="381" y="2085"/>
                </a:lnTo>
                <a:lnTo>
                  <a:pt x="382" y="2087"/>
                </a:lnTo>
                <a:lnTo>
                  <a:pt x="382" y="2090"/>
                </a:lnTo>
                <a:lnTo>
                  <a:pt x="382" y="2092"/>
                </a:lnTo>
                <a:lnTo>
                  <a:pt x="381" y="2095"/>
                </a:lnTo>
                <a:lnTo>
                  <a:pt x="380" y="2098"/>
                </a:lnTo>
                <a:lnTo>
                  <a:pt x="377" y="2101"/>
                </a:lnTo>
                <a:lnTo>
                  <a:pt x="376" y="2102"/>
                </a:lnTo>
                <a:lnTo>
                  <a:pt x="375" y="2102"/>
                </a:lnTo>
                <a:lnTo>
                  <a:pt x="371" y="2103"/>
                </a:lnTo>
                <a:lnTo>
                  <a:pt x="368" y="2104"/>
                </a:lnTo>
                <a:lnTo>
                  <a:pt x="365" y="2103"/>
                </a:lnTo>
                <a:lnTo>
                  <a:pt x="363" y="2102"/>
                </a:lnTo>
                <a:lnTo>
                  <a:pt x="360" y="2100"/>
                </a:lnTo>
                <a:lnTo>
                  <a:pt x="359" y="2099"/>
                </a:lnTo>
                <a:lnTo>
                  <a:pt x="357" y="2096"/>
                </a:lnTo>
                <a:lnTo>
                  <a:pt x="356" y="2094"/>
                </a:lnTo>
                <a:lnTo>
                  <a:pt x="356" y="2092"/>
                </a:lnTo>
                <a:lnTo>
                  <a:pt x="356" y="2089"/>
                </a:lnTo>
                <a:lnTo>
                  <a:pt x="357" y="2087"/>
                </a:lnTo>
                <a:lnTo>
                  <a:pt x="358" y="2083"/>
                </a:lnTo>
                <a:lnTo>
                  <a:pt x="361" y="2081"/>
                </a:lnTo>
                <a:lnTo>
                  <a:pt x="362" y="2080"/>
                </a:lnTo>
                <a:lnTo>
                  <a:pt x="363" y="2079"/>
                </a:lnTo>
                <a:lnTo>
                  <a:pt x="367" y="2078"/>
                </a:lnTo>
                <a:close/>
                <a:moveTo>
                  <a:pt x="388" y="2015"/>
                </a:moveTo>
                <a:lnTo>
                  <a:pt x="391" y="2015"/>
                </a:lnTo>
                <a:lnTo>
                  <a:pt x="394" y="2016"/>
                </a:lnTo>
                <a:lnTo>
                  <a:pt x="397" y="2017"/>
                </a:lnTo>
                <a:lnTo>
                  <a:pt x="399" y="2018"/>
                </a:lnTo>
                <a:lnTo>
                  <a:pt x="401" y="2020"/>
                </a:lnTo>
                <a:lnTo>
                  <a:pt x="402" y="2022"/>
                </a:lnTo>
                <a:lnTo>
                  <a:pt x="403" y="2025"/>
                </a:lnTo>
                <a:lnTo>
                  <a:pt x="403" y="2027"/>
                </a:lnTo>
                <a:lnTo>
                  <a:pt x="403" y="2030"/>
                </a:lnTo>
                <a:lnTo>
                  <a:pt x="403" y="2032"/>
                </a:lnTo>
                <a:lnTo>
                  <a:pt x="401" y="2035"/>
                </a:lnTo>
                <a:lnTo>
                  <a:pt x="399" y="2038"/>
                </a:lnTo>
                <a:lnTo>
                  <a:pt x="396" y="2040"/>
                </a:lnTo>
                <a:lnTo>
                  <a:pt x="392" y="2041"/>
                </a:lnTo>
                <a:lnTo>
                  <a:pt x="389" y="2041"/>
                </a:lnTo>
                <a:lnTo>
                  <a:pt x="386" y="2040"/>
                </a:lnTo>
                <a:lnTo>
                  <a:pt x="384" y="2039"/>
                </a:lnTo>
                <a:lnTo>
                  <a:pt x="381" y="2038"/>
                </a:lnTo>
                <a:lnTo>
                  <a:pt x="380" y="2036"/>
                </a:lnTo>
                <a:lnTo>
                  <a:pt x="378" y="2034"/>
                </a:lnTo>
                <a:lnTo>
                  <a:pt x="378" y="2031"/>
                </a:lnTo>
                <a:lnTo>
                  <a:pt x="377" y="2029"/>
                </a:lnTo>
                <a:lnTo>
                  <a:pt x="377" y="2026"/>
                </a:lnTo>
                <a:lnTo>
                  <a:pt x="378" y="2024"/>
                </a:lnTo>
                <a:lnTo>
                  <a:pt x="380" y="2020"/>
                </a:lnTo>
                <a:lnTo>
                  <a:pt x="382" y="2018"/>
                </a:lnTo>
                <a:lnTo>
                  <a:pt x="385" y="2016"/>
                </a:lnTo>
                <a:lnTo>
                  <a:pt x="388" y="2015"/>
                </a:lnTo>
                <a:close/>
                <a:moveTo>
                  <a:pt x="410" y="1953"/>
                </a:moveTo>
                <a:lnTo>
                  <a:pt x="414" y="1953"/>
                </a:lnTo>
                <a:lnTo>
                  <a:pt x="417" y="1953"/>
                </a:lnTo>
                <a:lnTo>
                  <a:pt x="419" y="1955"/>
                </a:lnTo>
                <a:lnTo>
                  <a:pt x="421" y="1956"/>
                </a:lnTo>
                <a:lnTo>
                  <a:pt x="423" y="1958"/>
                </a:lnTo>
                <a:lnTo>
                  <a:pt x="424" y="1960"/>
                </a:lnTo>
                <a:lnTo>
                  <a:pt x="425" y="1963"/>
                </a:lnTo>
                <a:lnTo>
                  <a:pt x="425" y="1965"/>
                </a:lnTo>
                <a:lnTo>
                  <a:pt x="425" y="1968"/>
                </a:lnTo>
                <a:lnTo>
                  <a:pt x="425" y="1970"/>
                </a:lnTo>
                <a:lnTo>
                  <a:pt x="423" y="1973"/>
                </a:lnTo>
                <a:lnTo>
                  <a:pt x="421" y="1976"/>
                </a:lnTo>
                <a:lnTo>
                  <a:pt x="418" y="1977"/>
                </a:lnTo>
                <a:lnTo>
                  <a:pt x="415" y="1978"/>
                </a:lnTo>
                <a:lnTo>
                  <a:pt x="411" y="1979"/>
                </a:lnTo>
                <a:lnTo>
                  <a:pt x="408" y="1978"/>
                </a:lnTo>
                <a:lnTo>
                  <a:pt x="406" y="1977"/>
                </a:lnTo>
                <a:lnTo>
                  <a:pt x="404" y="1975"/>
                </a:lnTo>
                <a:lnTo>
                  <a:pt x="402" y="1973"/>
                </a:lnTo>
                <a:lnTo>
                  <a:pt x="401" y="1971"/>
                </a:lnTo>
                <a:lnTo>
                  <a:pt x="400" y="1969"/>
                </a:lnTo>
                <a:lnTo>
                  <a:pt x="399" y="1966"/>
                </a:lnTo>
                <a:lnTo>
                  <a:pt x="400" y="1964"/>
                </a:lnTo>
                <a:lnTo>
                  <a:pt x="400" y="1961"/>
                </a:lnTo>
                <a:lnTo>
                  <a:pt x="402" y="1958"/>
                </a:lnTo>
                <a:lnTo>
                  <a:pt x="404" y="1956"/>
                </a:lnTo>
                <a:lnTo>
                  <a:pt x="407" y="1954"/>
                </a:lnTo>
                <a:lnTo>
                  <a:pt x="410" y="1953"/>
                </a:lnTo>
                <a:close/>
                <a:moveTo>
                  <a:pt x="433" y="1891"/>
                </a:moveTo>
                <a:lnTo>
                  <a:pt x="437" y="1891"/>
                </a:lnTo>
                <a:lnTo>
                  <a:pt x="440" y="1892"/>
                </a:lnTo>
                <a:lnTo>
                  <a:pt x="443" y="1893"/>
                </a:lnTo>
                <a:lnTo>
                  <a:pt x="445" y="1894"/>
                </a:lnTo>
                <a:lnTo>
                  <a:pt x="446" y="1896"/>
                </a:lnTo>
                <a:lnTo>
                  <a:pt x="448" y="1898"/>
                </a:lnTo>
                <a:lnTo>
                  <a:pt x="448" y="1901"/>
                </a:lnTo>
                <a:lnTo>
                  <a:pt x="449" y="1903"/>
                </a:lnTo>
                <a:lnTo>
                  <a:pt x="449" y="1906"/>
                </a:lnTo>
                <a:lnTo>
                  <a:pt x="448" y="1908"/>
                </a:lnTo>
                <a:lnTo>
                  <a:pt x="446" y="1911"/>
                </a:lnTo>
                <a:lnTo>
                  <a:pt x="444" y="1914"/>
                </a:lnTo>
                <a:lnTo>
                  <a:pt x="441" y="1916"/>
                </a:lnTo>
                <a:lnTo>
                  <a:pt x="438" y="1917"/>
                </a:lnTo>
                <a:lnTo>
                  <a:pt x="435" y="1917"/>
                </a:lnTo>
                <a:lnTo>
                  <a:pt x="431" y="1916"/>
                </a:lnTo>
                <a:lnTo>
                  <a:pt x="429" y="1915"/>
                </a:lnTo>
                <a:lnTo>
                  <a:pt x="427" y="1913"/>
                </a:lnTo>
                <a:lnTo>
                  <a:pt x="425" y="1911"/>
                </a:lnTo>
                <a:lnTo>
                  <a:pt x="424" y="1909"/>
                </a:lnTo>
                <a:lnTo>
                  <a:pt x="423" y="1907"/>
                </a:lnTo>
                <a:lnTo>
                  <a:pt x="423" y="1904"/>
                </a:lnTo>
                <a:lnTo>
                  <a:pt x="423" y="1902"/>
                </a:lnTo>
                <a:lnTo>
                  <a:pt x="424" y="1899"/>
                </a:lnTo>
                <a:lnTo>
                  <a:pt x="425" y="1896"/>
                </a:lnTo>
                <a:lnTo>
                  <a:pt x="428" y="1894"/>
                </a:lnTo>
                <a:lnTo>
                  <a:pt x="430" y="1892"/>
                </a:lnTo>
                <a:lnTo>
                  <a:pt x="433" y="1891"/>
                </a:lnTo>
                <a:close/>
                <a:moveTo>
                  <a:pt x="458" y="1829"/>
                </a:moveTo>
                <a:lnTo>
                  <a:pt x="461" y="1829"/>
                </a:lnTo>
                <a:lnTo>
                  <a:pt x="463" y="1830"/>
                </a:lnTo>
                <a:lnTo>
                  <a:pt x="465" y="1830"/>
                </a:lnTo>
                <a:lnTo>
                  <a:pt x="467" y="1831"/>
                </a:lnTo>
                <a:lnTo>
                  <a:pt x="469" y="1833"/>
                </a:lnTo>
                <a:lnTo>
                  <a:pt x="471" y="1835"/>
                </a:lnTo>
                <a:lnTo>
                  <a:pt x="472" y="1837"/>
                </a:lnTo>
                <a:lnTo>
                  <a:pt x="473" y="1840"/>
                </a:lnTo>
                <a:lnTo>
                  <a:pt x="473" y="1842"/>
                </a:lnTo>
                <a:lnTo>
                  <a:pt x="473" y="1845"/>
                </a:lnTo>
                <a:lnTo>
                  <a:pt x="472" y="1847"/>
                </a:lnTo>
                <a:lnTo>
                  <a:pt x="470" y="1850"/>
                </a:lnTo>
                <a:lnTo>
                  <a:pt x="468" y="1852"/>
                </a:lnTo>
                <a:lnTo>
                  <a:pt x="465" y="1854"/>
                </a:lnTo>
                <a:lnTo>
                  <a:pt x="462" y="1855"/>
                </a:lnTo>
                <a:lnTo>
                  <a:pt x="459" y="1855"/>
                </a:lnTo>
                <a:lnTo>
                  <a:pt x="457" y="1855"/>
                </a:lnTo>
                <a:lnTo>
                  <a:pt x="455" y="1854"/>
                </a:lnTo>
                <a:lnTo>
                  <a:pt x="453" y="1853"/>
                </a:lnTo>
                <a:lnTo>
                  <a:pt x="451" y="1851"/>
                </a:lnTo>
                <a:lnTo>
                  <a:pt x="449" y="1849"/>
                </a:lnTo>
                <a:lnTo>
                  <a:pt x="448" y="1847"/>
                </a:lnTo>
                <a:lnTo>
                  <a:pt x="447" y="1845"/>
                </a:lnTo>
                <a:lnTo>
                  <a:pt x="447" y="1842"/>
                </a:lnTo>
                <a:lnTo>
                  <a:pt x="447" y="1840"/>
                </a:lnTo>
                <a:lnTo>
                  <a:pt x="448" y="1837"/>
                </a:lnTo>
                <a:lnTo>
                  <a:pt x="450" y="1834"/>
                </a:lnTo>
                <a:lnTo>
                  <a:pt x="452" y="1832"/>
                </a:lnTo>
                <a:lnTo>
                  <a:pt x="455" y="1830"/>
                </a:lnTo>
                <a:lnTo>
                  <a:pt x="458" y="1829"/>
                </a:lnTo>
                <a:close/>
                <a:moveTo>
                  <a:pt x="483" y="1768"/>
                </a:moveTo>
                <a:lnTo>
                  <a:pt x="487" y="1768"/>
                </a:lnTo>
                <a:lnTo>
                  <a:pt x="491" y="1769"/>
                </a:lnTo>
                <a:lnTo>
                  <a:pt x="493" y="1770"/>
                </a:lnTo>
                <a:lnTo>
                  <a:pt x="495" y="1772"/>
                </a:lnTo>
                <a:lnTo>
                  <a:pt x="496" y="1774"/>
                </a:lnTo>
                <a:lnTo>
                  <a:pt x="498" y="1776"/>
                </a:lnTo>
                <a:lnTo>
                  <a:pt x="498" y="1779"/>
                </a:lnTo>
                <a:lnTo>
                  <a:pt x="499" y="1781"/>
                </a:lnTo>
                <a:lnTo>
                  <a:pt x="498" y="1784"/>
                </a:lnTo>
                <a:lnTo>
                  <a:pt x="498" y="1786"/>
                </a:lnTo>
                <a:lnTo>
                  <a:pt x="496" y="1789"/>
                </a:lnTo>
                <a:lnTo>
                  <a:pt x="494" y="1791"/>
                </a:lnTo>
                <a:lnTo>
                  <a:pt x="491" y="1793"/>
                </a:lnTo>
                <a:lnTo>
                  <a:pt x="488" y="1794"/>
                </a:lnTo>
                <a:lnTo>
                  <a:pt x="484" y="1794"/>
                </a:lnTo>
                <a:lnTo>
                  <a:pt x="480" y="1793"/>
                </a:lnTo>
                <a:lnTo>
                  <a:pt x="478" y="1792"/>
                </a:lnTo>
                <a:lnTo>
                  <a:pt x="476" y="1790"/>
                </a:lnTo>
                <a:lnTo>
                  <a:pt x="475" y="1788"/>
                </a:lnTo>
                <a:lnTo>
                  <a:pt x="473" y="1786"/>
                </a:lnTo>
                <a:lnTo>
                  <a:pt x="473" y="1784"/>
                </a:lnTo>
                <a:lnTo>
                  <a:pt x="473" y="1781"/>
                </a:lnTo>
                <a:lnTo>
                  <a:pt x="473" y="1779"/>
                </a:lnTo>
                <a:lnTo>
                  <a:pt x="474" y="1776"/>
                </a:lnTo>
                <a:lnTo>
                  <a:pt x="475" y="1773"/>
                </a:lnTo>
                <a:lnTo>
                  <a:pt x="478" y="1771"/>
                </a:lnTo>
                <a:lnTo>
                  <a:pt x="480" y="1769"/>
                </a:lnTo>
                <a:lnTo>
                  <a:pt x="483" y="1768"/>
                </a:lnTo>
                <a:close/>
                <a:moveTo>
                  <a:pt x="510" y="1708"/>
                </a:moveTo>
                <a:lnTo>
                  <a:pt x="514" y="1708"/>
                </a:lnTo>
                <a:lnTo>
                  <a:pt x="517" y="1709"/>
                </a:lnTo>
                <a:lnTo>
                  <a:pt x="520" y="1710"/>
                </a:lnTo>
                <a:lnTo>
                  <a:pt x="522" y="1712"/>
                </a:lnTo>
                <a:lnTo>
                  <a:pt x="523" y="1714"/>
                </a:lnTo>
                <a:lnTo>
                  <a:pt x="524" y="1716"/>
                </a:lnTo>
                <a:lnTo>
                  <a:pt x="525" y="1718"/>
                </a:lnTo>
                <a:lnTo>
                  <a:pt x="525" y="1721"/>
                </a:lnTo>
                <a:lnTo>
                  <a:pt x="525" y="1723"/>
                </a:lnTo>
                <a:lnTo>
                  <a:pt x="524" y="1726"/>
                </a:lnTo>
                <a:lnTo>
                  <a:pt x="522" y="1729"/>
                </a:lnTo>
                <a:lnTo>
                  <a:pt x="520" y="1731"/>
                </a:lnTo>
                <a:lnTo>
                  <a:pt x="519" y="1732"/>
                </a:lnTo>
                <a:lnTo>
                  <a:pt x="517" y="1732"/>
                </a:lnTo>
                <a:lnTo>
                  <a:pt x="514" y="1733"/>
                </a:lnTo>
                <a:lnTo>
                  <a:pt x="511" y="1733"/>
                </a:lnTo>
                <a:lnTo>
                  <a:pt x="507" y="1732"/>
                </a:lnTo>
                <a:lnTo>
                  <a:pt x="504" y="1731"/>
                </a:lnTo>
                <a:lnTo>
                  <a:pt x="503" y="1729"/>
                </a:lnTo>
                <a:lnTo>
                  <a:pt x="501" y="1727"/>
                </a:lnTo>
                <a:lnTo>
                  <a:pt x="500" y="1725"/>
                </a:lnTo>
                <a:lnTo>
                  <a:pt x="499" y="1723"/>
                </a:lnTo>
                <a:lnTo>
                  <a:pt x="499" y="1720"/>
                </a:lnTo>
                <a:lnTo>
                  <a:pt x="499" y="1718"/>
                </a:lnTo>
                <a:lnTo>
                  <a:pt x="500" y="1715"/>
                </a:lnTo>
                <a:lnTo>
                  <a:pt x="502" y="1712"/>
                </a:lnTo>
                <a:lnTo>
                  <a:pt x="504" y="1710"/>
                </a:lnTo>
                <a:lnTo>
                  <a:pt x="506" y="1709"/>
                </a:lnTo>
                <a:lnTo>
                  <a:pt x="507" y="1709"/>
                </a:lnTo>
                <a:lnTo>
                  <a:pt x="510" y="1708"/>
                </a:lnTo>
                <a:close/>
                <a:moveTo>
                  <a:pt x="538" y="1648"/>
                </a:moveTo>
                <a:lnTo>
                  <a:pt x="542" y="1648"/>
                </a:lnTo>
                <a:lnTo>
                  <a:pt x="543" y="1648"/>
                </a:lnTo>
                <a:lnTo>
                  <a:pt x="545" y="1649"/>
                </a:lnTo>
                <a:lnTo>
                  <a:pt x="548" y="1650"/>
                </a:lnTo>
                <a:lnTo>
                  <a:pt x="550" y="1652"/>
                </a:lnTo>
                <a:lnTo>
                  <a:pt x="551" y="1654"/>
                </a:lnTo>
                <a:lnTo>
                  <a:pt x="552" y="1656"/>
                </a:lnTo>
                <a:lnTo>
                  <a:pt x="553" y="1658"/>
                </a:lnTo>
                <a:lnTo>
                  <a:pt x="553" y="1661"/>
                </a:lnTo>
                <a:lnTo>
                  <a:pt x="552" y="1664"/>
                </a:lnTo>
                <a:lnTo>
                  <a:pt x="552" y="1666"/>
                </a:lnTo>
                <a:lnTo>
                  <a:pt x="550" y="1669"/>
                </a:lnTo>
                <a:lnTo>
                  <a:pt x="548" y="1671"/>
                </a:lnTo>
                <a:lnTo>
                  <a:pt x="545" y="1672"/>
                </a:lnTo>
                <a:lnTo>
                  <a:pt x="542" y="1673"/>
                </a:lnTo>
                <a:lnTo>
                  <a:pt x="538" y="1673"/>
                </a:lnTo>
                <a:lnTo>
                  <a:pt x="536" y="1673"/>
                </a:lnTo>
                <a:lnTo>
                  <a:pt x="534" y="1672"/>
                </a:lnTo>
                <a:lnTo>
                  <a:pt x="532" y="1671"/>
                </a:lnTo>
                <a:lnTo>
                  <a:pt x="530" y="1669"/>
                </a:lnTo>
                <a:lnTo>
                  <a:pt x="529" y="1667"/>
                </a:lnTo>
                <a:lnTo>
                  <a:pt x="528" y="1665"/>
                </a:lnTo>
                <a:lnTo>
                  <a:pt x="527" y="1662"/>
                </a:lnTo>
                <a:lnTo>
                  <a:pt x="527" y="1660"/>
                </a:lnTo>
                <a:lnTo>
                  <a:pt x="527" y="1657"/>
                </a:lnTo>
                <a:lnTo>
                  <a:pt x="528" y="1655"/>
                </a:lnTo>
                <a:lnTo>
                  <a:pt x="530" y="1652"/>
                </a:lnTo>
                <a:lnTo>
                  <a:pt x="532" y="1650"/>
                </a:lnTo>
                <a:lnTo>
                  <a:pt x="535" y="1649"/>
                </a:lnTo>
                <a:lnTo>
                  <a:pt x="538" y="1648"/>
                </a:lnTo>
                <a:close/>
                <a:moveTo>
                  <a:pt x="566" y="1588"/>
                </a:moveTo>
                <a:lnTo>
                  <a:pt x="571" y="1588"/>
                </a:lnTo>
                <a:lnTo>
                  <a:pt x="573" y="1588"/>
                </a:lnTo>
                <a:lnTo>
                  <a:pt x="575" y="1589"/>
                </a:lnTo>
                <a:lnTo>
                  <a:pt x="577" y="1591"/>
                </a:lnTo>
                <a:lnTo>
                  <a:pt x="579" y="1592"/>
                </a:lnTo>
                <a:lnTo>
                  <a:pt x="580" y="1595"/>
                </a:lnTo>
                <a:lnTo>
                  <a:pt x="581" y="1597"/>
                </a:lnTo>
                <a:lnTo>
                  <a:pt x="582" y="1599"/>
                </a:lnTo>
                <a:lnTo>
                  <a:pt x="582" y="1602"/>
                </a:lnTo>
                <a:lnTo>
                  <a:pt x="581" y="1604"/>
                </a:lnTo>
                <a:lnTo>
                  <a:pt x="580" y="1607"/>
                </a:lnTo>
                <a:lnTo>
                  <a:pt x="579" y="1609"/>
                </a:lnTo>
                <a:lnTo>
                  <a:pt x="576" y="1611"/>
                </a:lnTo>
                <a:lnTo>
                  <a:pt x="574" y="1613"/>
                </a:lnTo>
                <a:lnTo>
                  <a:pt x="571" y="1614"/>
                </a:lnTo>
                <a:lnTo>
                  <a:pt x="567" y="1614"/>
                </a:lnTo>
                <a:lnTo>
                  <a:pt x="565" y="1613"/>
                </a:lnTo>
                <a:lnTo>
                  <a:pt x="563" y="1613"/>
                </a:lnTo>
                <a:lnTo>
                  <a:pt x="561" y="1611"/>
                </a:lnTo>
                <a:lnTo>
                  <a:pt x="559" y="1609"/>
                </a:lnTo>
                <a:lnTo>
                  <a:pt x="557" y="1607"/>
                </a:lnTo>
                <a:lnTo>
                  <a:pt x="556" y="1605"/>
                </a:lnTo>
                <a:lnTo>
                  <a:pt x="556" y="1603"/>
                </a:lnTo>
                <a:lnTo>
                  <a:pt x="556" y="1600"/>
                </a:lnTo>
                <a:lnTo>
                  <a:pt x="556" y="1598"/>
                </a:lnTo>
                <a:lnTo>
                  <a:pt x="557" y="1595"/>
                </a:lnTo>
                <a:lnTo>
                  <a:pt x="559" y="1593"/>
                </a:lnTo>
                <a:lnTo>
                  <a:pt x="561" y="1590"/>
                </a:lnTo>
                <a:lnTo>
                  <a:pt x="564" y="1589"/>
                </a:lnTo>
                <a:lnTo>
                  <a:pt x="566" y="1588"/>
                </a:lnTo>
                <a:close/>
                <a:moveTo>
                  <a:pt x="597" y="1529"/>
                </a:moveTo>
                <a:lnTo>
                  <a:pt x="601" y="1529"/>
                </a:lnTo>
                <a:lnTo>
                  <a:pt x="605" y="1530"/>
                </a:lnTo>
                <a:lnTo>
                  <a:pt x="607" y="1532"/>
                </a:lnTo>
                <a:lnTo>
                  <a:pt x="609" y="1534"/>
                </a:lnTo>
                <a:lnTo>
                  <a:pt x="610" y="1536"/>
                </a:lnTo>
                <a:lnTo>
                  <a:pt x="611" y="1538"/>
                </a:lnTo>
                <a:lnTo>
                  <a:pt x="612" y="1541"/>
                </a:lnTo>
                <a:lnTo>
                  <a:pt x="612" y="1543"/>
                </a:lnTo>
                <a:lnTo>
                  <a:pt x="611" y="1546"/>
                </a:lnTo>
                <a:lnTo>
                  <a:pt x="610" y="1548"/>
                </a:lnTo>
                <a:lnTo>
                  <a:pt x="609" y="1551"/>
                </a:lnTo>
                <a:lnTo>
                  <a:pt x="606" y="1553"/>
                </a:lnTo>
                <a:lnTo>
                  <a:pt x="604" y="1554"/>
                </a:lnTo>
                <a:lnTo>
                  <a:pt x="601" y="1555"/>
                </a:lnTo>
                <a:lnTo>
                  <a:pt x="597" y="1555"/>
                </a:lnTo>
                <a:lnTo>
                  <a:pt x="593" y="1554"/>
                </a:lnTo>
                <a:lnTo>
                  <a:pt x="591" y="1552"/>
                </a:lnTo>
                <a:lnTo>
                  <a:pt x="589" y="1550"/>
                </a:lnTo>
                <a:lnTo>
                  <a:pt x="587" y="1548"/>
                </a:lnTo>
                <a:lnTo>
                  <a:pt x="586" y="1546"/>
                </a:lnTo>
                <a:lnTo>
                  <a:pt x="586" y="1543"/>
                </a:lnTo>
                <a:lnTo>
                  <a:pt x="586" y="1541"/>
                </a:lnTo>
                <a:lnTo>
                  <a:pt x="586" y="1538"/>
                </a:lnTo>
                <a:lnTo>
                  <a:pt x="587" y="1536"/>
                </a:lnTo>
                <a:lnTo>
                  <a:pt x="589" y="1533"/>
                </a:lnTo>
                <a:lnTo>
                  <a:pt x="591" y="1531"/>
                </a:lnTo>
                <a:lnTo>
                  <a:pt x="594" y="1530"/>
                </a:lnTo>
                <a:lnTo>
                  <a:pt x="597" y="1529"/>
                </a:lnTo>
                <a:close/>
                <a:moveTo>
                  <a:pt x="628" y="1471"/>
                </a:moveTo>
                <a:lnTo>
                  <a:pt x="632" y="1471"/>
                </a:lnTo>
                <a:lnTo>
                  <a:pt x="636" y="1472"/>
                </a:lnTo>
                <a:lnTo>
                  <a:pt x="639" y="1474"/>
                </a:lnTo>
                <a:lnTo>
                  <a:pt x="640" y="1476"/>
                </a:lnTo>
                <a:lnTo>
                  <a:pt x="642" y="1478"/>
                </a:lnTo>
                <a:lnTo>
                  <a:pt x="643" y="1480"/>
                </a:lnTo>
                <a:lnTo>
                  <a:pt x="643" y="1483"/>
                </a:lnTo>
                <a:lnTo>
                  <a:pt x="643" y="1485"/>
                </a:lnTo>
                <a:lnTo>
                  <a:pt x="642" y="1490"/>
                </a:lnTo>
                <a:lnTo>
                  <a:pt x="640" y="1492"/>
                </a:lnTo>
                <a:lnTo>
                  <a:pt x="638" y="1494"/>
                </a:lnTo>
                <a:lnTo>
                  <a:pt x="635" y="1496"/>
                </a:lnTo>
                <a:lnTo>
                  <a:pt x="632" y="1497"/>
                </a:lnTo>
                <a:lnTo>
                  <a:pt x="628" y="1497"/>
                </a:lnTo>
                <a:lnTo>
                  <a:pt x="624" y="1495"/>
                </a:lnTo>
                <a:lnTo>
                  <a:pt x="622" y="1494"/>
                </a:lnTo>
                <a:lnTo>
                  <a:pt x="620" y="1492"/>
                </a:lnTo>
                <a:lnTo>
                  <a:pt x="619" y="1490"/>
                </a:lnTo>
                <a:lnTo>
                  <a:pt x="618" y="1487"/>
                </a:lnTo>
                <a:lnTo>
                  <a:pt x="617" y="1485"/>
                </a:lnTo>
                <a:lnTo>
                  <a:pt x="617" y="1482"/>
                </a:lnTo>
                <a:lnTo>
                  <a:pt x="619" y="1477"/>
                </a:lnTo>
                <a:lnTo>
                  <a:pt x="620" y="1475"/>
                </a:lnTo>
                <a:lnTo>
                  <a:pt x="623" y="1473"/>
                </a:lnTo>
                <a:lnTo>
                  <a:pt x="625" y="1472"/>
                </a:lnTo>
                <a:lnTo>
                  <a:pt x="628" y="1471"/>
                </a:lnTo>
                <a:close/>
                <a:moveTo>
                  <a:pt x="660" y="1413"/>
                </a:moveTo>
                <a:lnTo>
                  <a:pt x="665" y="1413"/>
                </a:lnTo>
                <a:lnTo>
                  <a:pt x="667" y="1414"/>
                </a:lnTo>
                <a:lnTo>
                  <a:pt x="669" y="1415"/>
                </a:lnTo>
                <a:lnTo>
                  <a:pt x="671" y="1416"/>
                </a:lnTo>
                <a:lnTo>
                  <a:pt x="673" y="1418"/>
                </a:lnTo>
                <a:lnTo>
                  <a:pt x="674" y="1420"/>
                </a:lnTo>
                <a:lnTo>
                  <a:pt x="675" y="1423"/>
                </a:lnTo>
                <a:lnTo>
                  <a:pt x="676" y="1425"/>
                </a:lnTo>
                <a:lnTo>
                  <a:pt x="676" y="1428"/>
                </a:lnTo>
                <a:lnTo>
                  <a:pt x="675" y="1430"/>
                </a:lnTo>
                <a:lnTo>
                  <a:pt x="674" y="1433"/>
                </a:lnTo>
                <a:lnTo>
                  <a:pt x="673" y="1434"/>
                </a:lnTo>
                <a:lnTo>
                  <a:pt x="672" y="1435"/>
                </a:lnTo>
                <a:lnTo>
                  <a:pt x="670" y="1437"/>
                </a:lnTo>
                <a:lnTo>
                  <a:pt x="668" y="1438"/>
                </a:lnTo>
                <a:lnTo>
                  <a:pt x="665" y="1439"/>
                </a:lnTo>
                <a:lnTo>
                  <a:pt x="661" y="1439"/>
                </a:lnTo>
                <a:lnTo>
                  <a:pt x="658" y="1438"/>
                </a:lnTo>
                <a:lnTo>
                  <a:pt x="656" y="1437"/>
                </a:lnTo>
                <a:lnTo>
                  <a:pt x="654" y="1436"/>
                </a:lnTo>
                <a:lnTo>
                  <a:pt x="652" y="1434"/>
                </a:lnTo>
                <a:lnTo>
                  <a:pt x="651" y="1432"/>
                </a:lnTo>
                <a:lnTo>
                  <a:pt x="650" y="1430"/>
                </a:lnTo>
                <a:lnTo>
                  <a:pt x="650" y="1427"/>
                </a:lnTo>
                <a:lnTo>
                  <a:pt x="650" y="1425"/>
                </a:lnTo>
                <a:lnTo>
                  <a:pt x="650" y="1422"/>
                </a:lnTo>
                <a:lnTo>
                  <a:pt x="651" y="1420"/>
                </a:lnTo>
                <a:lnTo>
                  <a:pt x="652" y="1418"/>
                </a:lnTo>
                <a:lnTo>
                  <a:pt x="653" y="1417"/>
                </a:lnTo>
                <a:lnTo>
                  <a:pt x="655" y="1415"/>
                </a:lnTo>
                <a:lnTo>
                  <a:pt x="658" y="1414"/>
                </a:lnTo>
                <a:lnTo>
                  <a:pt x="660" y="1413"/>
                </a:lnTo>
                <a:close/>
                <a:moveTo>
                  <a:pt x="694" y="1357"/>
                </a:moveTo>
                <a:lnTo>
                  <a:pt x="699" y="1357"/>
                </a:lnTo>
                <a:lnTo>
                  <a:pt x="701" y="1357"/>
                </a:lnTo>
                <a:lnTo>
                  <a:pt x="703" y="1358"/>
                </a:lnTo>
                <a:lnTo>
                  <a:pt x="705" y="1360"/>
                </a:lnTo>
                <a:lnTo>
                  <a:pt x="707" y="1362"/>
                </a:lnTo>
                <a:lnTo>
                  <a:pt x="708" y="1364"/>
                </a:lnTo>
                <a:lnTo>
                  <a:pt x="709" y="1366"/>
                </a:lnTo>
                <a:lnTo>
                  <a:pt x="710" y="1369"/>
                </a:lnTo>
                <a:lnTo>
                  <a:pt x="709" y="1371"/>
                </a:lnTo>
                <a:lnTo>
                  <a:pt x="709" y="1374"/>
                </a:lnTo>
                <a:lnTo>
                  <a:pt x="708" y="1376"/>
                </a:lnTo>
                <a:lnTo>
                  <a:pt x="706" y="1378"/>
                </a:lnTo>
                <a:lnTo>
                  <a:pt x="704" y="1380"/>
                </a:lnTo>
                <a:lnTo>
                  <a:pt x="701" y="1381"/>
                </a:lnTo>
                <a:lnTo>
                  <a:pt x="699" y="1382"/>
                </a:lnTo>
                <a:lnTo>
                  <a:pt x="694" y="1382"/>
                </a:lnTo>
                <a:lnTo>
                  <a:pt x="692" y="1382"/>
                </a:lnTo>
                <a:lnTo>
                  <a:pt x="690" y="1380"/>
                </a:lnTo>
                <a:lnTo>
                  <a:pt x="688" y="1379"/>
                </a:lnTo>
                <a:lnTo>
                  <a:pt x="686" y="1377"/>
                </a:lnTo>
                <a:lnTo>
                  <a:pt x="685" y="1375"/>
                </a:lnTo>
                <a:lnTo>
                  <a:pt x="684" y="1372"/>
                </a:lnTo>
                <a:lnTo>
                  <a:pt x="684" y="1370"/>
                </a:lnTo>
                <a:lnTo>
                  <a:pt x="684" y="1367"/>
                </a:lnTo>
                <a:lnTo>
                  <a:pt x="684" y="1365"/>
                </a:lnTo>
                <a:lnTo>
                  <a:pt x="685" y="1363"/>
                </a:lnTo>
                <a:lnTo>
                  <a:pt x="687" y="1360"/>
                </a:lnTo>
                <a:lnTo>
                  <a:pt x="689" y="1359"/>
                </a:lnTo>
                <a:lnTo>
                  <a:pt x="692" y="1357"/>
                </a:lnTo>
                <a:lnTo>
                  <a:pt x="694" y="1357"/>
                </a:lnTo>
                <a:close/>
                <a:moveTo>
                  <a:pt x="730" y="1300"/>
                </a:moveTo>
                <a:lnTo>
                  <a:pt x="734" y="1301"/>
                </a:lnTo>
                <a:lnTo>
                  <a:pt x="738" y="1301"/>
                </a:lnTo>
                <a:lnTo>
                  <a:pt x="740" y="1302"/>
                </a:lnTo>
                <a:lnTo>
                  <a:pt x="742" y="1304"/>
                </a:lnTo>
                <a:lnTo>
                  <a:pt x="744" y="1306"/>
                </a:lnTo>
                <a:lnTo>
                  <a:pt x="745" y="1308"/>
                </a:lnTo>
                <a:lnTo>
                  <a:pt x="746" y="1311"/>
                </a:lnTo>
                <a:lnTo>
                  <a:pt x="746" y="1313"/>
                </a:lnTo>
                <a:lnTo>
                  <a:pt x="746" y="1316"/>
                </a:lnTo>
                <a:lnTo>
                  <a:pt x="745" y="1318"/>
                </a:lnTo>
                <a:lnTo>
                  <a:pt x="744" y="1320"/>
                </a:lnTo>
                <a:lnTo>
                  <a:pt x="742" y="1323"/>
                </a:lnTo>
                <a:lnTo>
                  <a:pt x="740" y="1324"/>
                </a:lnTo>
                <a:lnTo>
                  <a:pt x="738" y="1325"/>
                </a:lnTo>
                <a:lnTo>
                  <a:pt x="734" y="1326"/>
                </a:lnTo>
                <a:lnTo>
                  <a:pt x="729" y="1326"/>
                </a:lnTo>
                <a:lnTo>
                  <a:pt x="727" y="1325"/>
                </a:lnTo>
                <a:lnTo>
                  <a:pt x="725" y="1324"/>
                </a:lnTo>
                <a:lnTo>
                  <a:pt x="723" y="1323"/>
                </a:lnTo>
                <a:lnTo>
                  <a:pt x="721" y="1321"/>
                </a:lnTo>
                <a:lnTo>
                  <a:pt x="720" y="1318"/>
                </a:lnTo>
                <a:lnTo>
                  <a:pt x="719" y="1316"/>
                </a:lnTo>
                <a:lnTo>
                  <a:pt x="719" y="1314"/>
                </a:lnTo>
                <a:lnTo>
                  <a:pt x="719" y="1311"/>
                </a:lnTo>
                <a:lnTo>
                  <a:pt x="720" y="1309"/>
                </a:lnTo>
                <a:lnTo>
                  <a:pt x="721" y="1306"/>
                </a:lnTo>
                <a:lnTo>
                  <a:pt x="723" y="1304"/>
                </a:lnTo>
                <a:lnTo>
                  <a:pt x="725" y="1302"/>
                </a:lnTo>
                <a:lnTo>
                  <a:pt x="727" y="1301"/>
                </a:lnTo>
                <a:lnTo>
                  <a:pt x="730" y="1300"/>
                </a:lnTo>
                <a:close/>
                <a:moveTo>
                  <a:pt x="767" y="1245"/>
                </a:moveTo>
                <a:lnTo>
                  <a:pt x="772" y="1245"/>
                </a:lnTo>
                <a:lnTo>
                  <a:pt x="774" y="1246"/>
                </a:lnTo>
                <a:lnTo>
                  <a:pt x="777" y="1247"/>
                </a:lnTo>
                <a:lnTo>
                  <a:pt x="779" y="1249"/>
                </a:lnTo>
                <a:lnTo>
                  <a:pt x="780" y="1251"/>
                </a:lnTo>
                <a:lnTo>
                  <a:pt x="781" y="1253"/>
                </a:lnTo>
                <a:lnTo>
                  <a:pt x="782" y="1256"/>
                </a:lnTo>
                <a:lnTo>
                  <a:pt x="782" y="1261"/>
                </a:lnTo>
                <a:lnTo>
                  <a:pt x="781" y="1263"/>
                </a:lnTo>
                <a:lnTo>
                  <a:pt x="780" y="1265"/>
                </a:lnTo>
                <a:lnTo>
                  <a:pt x="778" y="1268"/>
                </a:lnTo>
                <a:lnTo>
                  <a:pt x="776" y="1269"/>
                </a:lnTo>
                <a:lnTo>
                  <a:pt x="774" y="1270"/>
                </a:lnTo>
                <a:lnTo>
                  <a:pt x="772" y="1271"/>
                </a:lnTo>
                <a:lnTo>
                  <a:pt x="767" y="1271"/>
                </a:lnTo>
                <a:lnTo>
                  <a:pt x="764" y="1270"/>
                </a:lnTo>
                <a:lnTo>
                  <a:pt x="762" y="1269"/>
                </a:lnTo>
                <a:lnTo>
                  <a:pt x="760" y="1267"/>
                </a:lnTo>
                <a:lnTo>
                  <a:pt x="758" y="1265"/>
                </a:lnTo>
                <a:lnTo>
                  <a:pt x="757" y="1263"/>
                </a:lnTo>
                <a:lnTo>
                  <a:pt x="757" y="1261"/>
                </a:lnTo>
                <a:lnTo>
                  <a:pt x="757" y="1256"/>
                </a:lnTo>
                <a:lnTo>
                  <a:pt x="757" y="1253"/>
                </a:lnTo>
                <a:lnTo>
                  <a:pt x="759" y="1251"/>
                </a:lnTo>
                <a:lnTo>
                  <a:pt x="760" y="1249"/>
                </a:lnTo>
                <a:lnTo>
                  <a:pt x="762" y="1247"/>
                </a:lnTo>
                <a:lnTo>
                  <a:pt x="765" y="1246"/>
                </a:lnTo>
                <a:lnTo>
                  <a:pt x="767" y="1245"/>
                </a:lnTo>
                <a:close/>
                <a:moveTo>
                  <a:pt x="805" y="1191"/>
                </a:moveTo>
                <a:lnTo>
                  <a:pt x="810" y="1191"/>
                </a:lnTo>
                <a:lnTo>
                  <a:pt x="813" y="1192"/>
                </a:lnTo>
                <a:lnTo>
                  <a:pt x="815" y="1193"/>
                </a:lnTo>
                <a:lnTo>
                  <a:pt x="817" y="1195"/>
                </a:lnTo>
                <a:lnTo>
                  <a:pt x="818" y="1197"/>
                </a:lnTo>
                <a:lnTo>
                  <a:pt x="819" y="1199"/>
                </a:lnTo>
                <a:lnTo>
                  <a:pt x="820" y="1202"/>
                </a:lnTo>
                <a:lnTo>
                  <a:pt x="820" y="1204"/>
                </a:lnTo>
                <a:lnTo>
                  <a:pt x="820" y="1207"/>
                </a:lnTo>
                <a:lnTo>
                  <a:pt x="819" y="1209"/>
                </a:lnTo>
                <a:lnTo>
                  <a:pt x="818" y="1212"/>
                </a:lnTo>
                <a:lnTo>
                  <a:pt x="816" y="1213"/>
                </a:lnTo>
                <a:lnTo>
                  <a:pt x="814" y="1215"/>
                </a:lnTo>
                <a:lnTo>
                  <a:pt x="812" y="1216"/>
                </a:lnTo>
                <a:lnTo>
                  <a:pt x="810" y="1217"/>
                </a:lnTo>
                <a:lnTo>
                  <a:pt x="804" y="1217"/>
                </a:lnTo>
                <a:lnTo>
                  <a:pt x="802" y="1216"/>
                </a:lnTo>
                <a:lnTo>
                  <a:pt x="800" y="1215"/>
                </a:lnTo>
                <a:lnTo>
                  <a:pt x="798" y="1213"/>
                </a:lnTo>
                <a:lnTo>
                  <a:pt x="796" y="1211"/>
                </a:lnTo>
                <a:lnTo>
                  <a:pt x="795" y="1208"/>
                </a:lnTo>
                <a:lnTo>
                  <a:pt x="794" y="1206"/>
                </a:lnTo>
                <a:lnTo>
                  <a:pt x="794" y="1204"/>
                </a:lnTo>
                <a:lnTo>
                  <a:pt x="795" y="1201"/>
                </a:lnTo>
                <a:lnTo>
                  <a:pt x="795" y="1199"/>
                </a:lnTo>
                <a:lnTo>
                  <a:pt x="797" y="1196"/>
                </a:lnTo>
                <a:lnTo>
                  <a:pt x="798" y="1194"/>
                </a:lnTo>
                <a:lnTo>
                  <a:pt x="800" y="1193"/>
                </a:lnTo>
                <a:lnTo>
                  <a:pt x="803" y="1192"/>
                </a:lnTo>
                <a:lnTo>
                  <a:pt x="805" y="1191"/>
                </a:lnTo>
                <a:close/>
                <a:moveTo>
                  <a:pt x="844" y="1138"/>
                </a:moveTo>
                <a:lnTo>
                  <a:pt x="847" y="1138"/>
                </a:lnTo>
                <a:lnTo>
                  <a:pt x="850" y="1138"/>
                </a:lnTo>
                <a:lnTo>
                  <a:pt x="852" y="1139"/>
                </a:lnTo>
                <a:lnTo>
                  <a:pt x="854" y="1140"/>
                </a:lnTo>
                <a:lnTo>
                  <a:pt x="856" y="1142"/>
                </a:lnTo>
                <a:lnTo>
                  <a:pt x="858" y="1144"/>
                </a:lnTo>
                <a:lnTo>
                  <a:pt x="859" y="1147"/>
                </a:lnTo>
                <a:lnTo>
                  <a:pt x="860" y="1149"/>
                </a:lnTo>
                <a:lnTo>
                  <a:pt x="860" y="1152"/>
                </a:lnTo>
                <a:lnTo>
                  <a:pt x="859" y="1154"/>
                </a:lnTo>
                <a:lnTo>
                  <a:pt x="858" y="1156"/>
                </a:lnTo>
                <a:lnTo>
                  <a:pt x="857" y="1159"/>
                </a:lnTo>
                <a:lnTo>
                  <a:pt x="855" y="1160"/>
                </a:lnTo>
                <a:lnTo>
                  <a:pt x="853" y="1162"/>
                </a:lnTo>
                <a:lnTo>
                  <a:pt x="851" y="1163"/>
                </a:lnTo>
                <a:lnTo>
                  <a:pt x="849" y="1164"/>
                </a:lnTo>
                <a:lnTo>
                  <a:pt x="846" y="1164"/>
                </a:lnTo>
                <a:lnTo>
                  <a:pt x="844" y="1163"/>
                </a:lnTo>
                <a:lnTo>
                  <a:pt x="841" y="1163"/>
                </a:lnTo>
                <a:lnTo>
                  <a:pt x="839" y="1161"/>
                </a:lnTo>
                <a:lnTo>
                  <a:pt x="837" y="1159"/>
                </a:lnTo>
                <a:lnTo>
                  <a:pt x="835" y="1157"/>
                </a:lnTo>
                <a:lnTo>
                  <a:pt x="834" y="1155"/>
                </a:lnTo>
                <a:lnTo>
                  <a:pt x="834" y="1153"/>
                </a:lnTo>
                <a:lnTo>
                  <a:pt x="834" y="1150"/>
                </a:lnTo>
                <a:lnTo>
                  <a:pt x="834" y="1148"/>
                </a:lnTo>
                <a:lnTo>
                  <a:pt x="835" y="1145"/>
                </a:lnTo>
                <a:lnTo>
                  <a:pt x="836" y="1143"/>
                </a:lnTo>
                <a:lnTo>
                  <a:pt x="838" y="1141"/>
                </a:lnTo>
                <a:lnTo>
                  <a:pt x="840" y="1140"/>
                </a:lnTo>
                <a:lnTo>
                  <a:pt x="842" y="1139"/>
                </a:lnTo>
                <a:lnTo>
                  <a:pt x="844" y="1138"/>
                </a:lnTo>
                <a:close/>
                <a:moveTo>
                  <a:pt x="885" y="1085"/>
                </a:moveTo>
                <a:lnTo>
                  <a:pt x="888" y="1085"/>
                </a:lnTo>
                <a:lnTo>
                  <a:pt x="891" y="1085"/>
                </a:lnTo>
                <a:lnTo>
                  <a:pt x="893" y="1086"/>
                </a:lnTo>
                <a:lnTo>
                  <a:pt x="896" y="1088"/>
                </a:lnTo>
                <a:lnTo>
                  <a:pt x="897" y="1089"/>
                </a:lnTo>
                <a:lnTo>
                  <a:pt x="899" y="1092"/>
                </a:lnTo>
                <a:lnTo>
                  <a:pt x="900" y="1094"/>
                </a:lnTo>
                <a:lnTo>
                  <a:pt x="900" y="1096"/>
                </a:lnTo>
                <a:lnTo>
                  <a:pt x="900" y="1099"/>
                </a:lnTo>
                <a:lnTo>
                  <a:pt x="900" y="1101"/>
                </a:lnTo>
                <a:lnTo>
                  <a:pt x="899" y="1104"/>
                </a:lnTo>
                <a:lnTo>
                  <a:pt x="898" y="1106"/>
                </a:lnTo>
                <a:lnTo>
                  <a:pt x="896" y="1108"/>
                </a:lnTo>
                <a:lnTo>
                  <a:pt x="894" y="1109"/>
                </a:lnTo>
                <a:lnTo>
                  <a:pt x="892" y="1110"/>
                </a:lnTo>
                <a:lnTo>
                  <a:pt x="890" y="1111"/>
                </a:lnTo>
                <a:lnTo>
                  <a:pt x="887" y="1111"/>
                </a:lnTo>
                <a:lnTo>
                  <a:pt x="884" y="1110"/>
                </a:lnTo>
                <a:lnTo>
                  <a:pt x="882" y="1109"/>
                </a:lnTo>
                <a:lnTo>
                  <a:pt x="879" y="1108"/>
                </a:lnTo>
                <a:lnTo>
                  <a:pt x="877" y="1106"/>
                </a:lnTo>
                <a:lnTo>
                  <a:pt x="876" y="1104"/>
                </a:lnTo>
                <a:lnTo>
                  <a:pt x="875" y="1102"/>
                </a:lnTo>
                <a:lnTo>
                  <a:pt x="874" y="1099"/>
                </a:lnTo>
                <a:lnTo>
                  <a:pt x="874" y="1097"/>
                </a:lnTo>
                <a:lnTo>
                  <a:pt x="875" y="1094"/>
                </a:lnTo>
                <a:lnTo>
                  <a:pt x="876" y="1092"/>
                </a:lnTo>
                <a:lnTo>
                  <a:pt x="877" y="1090"/>
                </a:lnTo>
                <a:lnTo>
                  <a:pt x="879" y="1088"/>
                </a:lnTo>
                <a:lnTo>
                  <a:pt x="881" y="1086"/>
                </a:lnTo>
                <a:lnTo>
                  <a:pt x="883" y="1085"/>
                </a:lnTo>
                <a:lnTo>
                  <a:pt x="885" y="1085"/>
                </a:lnTo>
                <a:close/>
                <a:moveTo>
                  <a:pt x="2919" y="693"/>
                </a:moveTo>
                <a:lnTo>
                  <a:pt x="2922" y="693"/>
                </a:lnTo>
                <a:lnTo>
                  <a:pt x="2924" y="693"/>
                </a:lnTo>
                <a:lnTo>
                  <a:pt x="2927" y="694"/>
                </a:lnTo>
                <a:lnTo>
                  <a:pt x="2929" y="695"/>
                </a:lnTo>
                <a:lnTo>
                  <a:pt x="2931" y="697"/>
                </a:lnTo>
                <a:lnTo>
                  <a:pt x="2932" y="699"/>
                </a:lnTo>
                <a:lnTo>
                  <a:pt x="2934" y="701"/>
                </a:lnTo>
                <a:lnTo>
                  <a:pt x="2934" y="704"/>
                </a:lnTo>
                <a:lnTo>
                  <a:pt x="2934" y="706"/>
                </a:lnTo>
                <a:lnTo>
                  <a:pt x="2934" y="709"/>
                </a:lnTo>
                <a:lnTo>
                  <a:pt x="2933" y="712"/>
                </a:lnTo>
                <a:lnTo>
                  <a:pt x="2930" y="715"/>
                </a:lnTo>
                <a:lnTo>
                  <a:pt x="2927" y="717"/>
                </a:lnTo>
                <a:lnTo>
                  <a:pt x="2924" y="719"/>
                </a:lnTo>
                <a:lnTo>
                  <a:pt x="2921" y="719"/>
                </a:lnTo>
                <a:lnTo>
                  <a:pt x="2918" y="718"/>
                </a:lnTo>
                <a:lnTo>
                  <a:pt x="2916" y="718"/>
                </a:lnTo>
                <a:lnTo>
                  <a:pt x="2914" y="716"/>
                </a:lnTo>
                <a:lnTo>
                  <a:pt x="2912" y="715"/>
                </a:lnTo>
                <a:lnTo>
                  <a:pt x="2910" y="713"/>
                </a:lnTo>
                <a:lnTo>
                  <a:pt x="2909" y="710"/>
                </a:lnTo>
                <a:lnTo>
                  <a:pt x="2909" y="708"/>
                </a:lnTo>
                <a:lnTo>
                  <a:pt x="2908" y="705"/>
                </a:lnTo>
                <a:lnTo>
                  <a:pt x="2909" y="703"/>
                </a:lnTo>
                <a:lnTo>
                  <a:pt x="2910" y="699"/>
                </a:lnTo>
                <a:lnTo>
                  <a:pt x="2913" y="696"/>
                </a:lnTo>
                <a:lnTo>
                  <a:pt x="2916" y="694"/>
                </a:lnTo>
                <a:lnTo>
                  <a:pt x="2919" y="693"/>
                </a:lnTo>
                <a:close/>
                <a:moveTo>
                  <a:pt x="927" y="1034"/>
                </a:moveTo>
                <a:lnTo>
                  <a:pt x="930" y="1034"/>
                </a:lnTo>
                <a:lnTo>
                  <a:pt x="933" y="1034"/>
                </a:lnTo>
                <a:lnTo>
                  <a:pt x="936" y="1035"/>
                </a:lnTo>
                <a:lnTo>
                  <a:pt x="938" y="1037"/>
                </a:lnTo>
                <a:lnTo>
                  <a:pt x="940" y="1039"/>
                </a:lnTo>
                <a:lnTo>
                  <a:pt x="941" y="1041"/>
                </a:lnTo>
                <a:lnTo>
                  <a:pt x="942" y="1043"/>
                </a:lnTo>
                <a:lnTo>
                  <a:pt x="943" y="1046"/>
                </a:lnTo>
                <a:lnTo>
                  <a:pt x="943" y="1048"/>
                </a:lnTo>
                <a:lnTo>
                  <a:pt x="942" y="1051"/>
                </a:lnTo>
                <a:lnTo>
                  <a:pt x="941" y="1053"/>
                </a:lnTo>
                <a:lnTo>
                  <a:pt x="940" y="1055"/>
                </a:lnTo>
                <a:lnTo>
                  <a:pt x="939" y="1056"/>
                </a:lnTo>
                <a:lnTo>
                  <a:pt x="938" y="1057"/>
                </a:lnTo>
                <a:lnTo>
                  <a:pt x="936" y="1058"/>
                </a:lnTo>
                <a:lnTo>
                  <a:pt x="932" y="1060"/>
                </a:lnTo>
                <a:lnTo>
                  <a:pt x="929" y="1060"/>
                </a:lnTo>
                <a:lnTo>
                  <a:pt x="926" y="1059"/>
                </a:lnTo>
                <a:lnTo>
                  <a:pt x="924" y="1058"/>
                </a:lnTo>
                <a:lnTo>
                  <a:pt x="921" y="1057"/>
                </a:lnTo>
                <a:lnTo>
                  <a:pt x="919" y="1055"/>
                </a:lnTo>
                <a:lnTo>
                  <a:pt x="918" y="1053"/>
                </a:lnTo>
                <a:lnTo>
                  <a:pt x="917" y="1050"/>
                </a:lnTo>
                <a:lnTo>
                  <a:pt x="917" y="1048"/>
                </a:lnTo>
                <a:lnTo>
                  <a:pt x="917" y="1045"/>
                </a:lnTo>
                <a:lnTo>
                  <a:pt x="917" y="1043"/>
                </a:lnTo>
                <a:lnTo>
                  <a:pt x="918" y="1041"/>
                </a:lnTo>
                <a:lnTo>
                  <a:pt x="920" y="1038"/>
                </a:lnTo>
                <a:lnTo>
                  <a:pt x="921" y="1037"/>
                </a:lnTo>
                <a:lnTo>
                  <a:pt x="923" y="1035"/>
                </a:lnTo>
                <a:lnTo>
                  <a:pt x="927" y="1034"/>
                </a:lnTo>
                <a:close/>
                <a:moveTo>
                  <a:pt x="2855" y="678"/>
                </a:moveTo>
                <a:lnTo>
                  <a:pt x="2857" y="678"/>
                </a:lnTo>
                <a:lnTo>
                  <a:pt x="2860" y="678"/>
                </a:lnTo>
                <a:lnTo>
                  <a:pt x="2862" y="679"/>
                </a:lnTo>
                <a:lnTo>
                  <a:pt x="2865" y="680"/>
                </a:lnTo>
                <a:lnTo>
                  <a:pt x="2867" y="682"/>
                </a:lnTo>
                <a:lnTo>
                  <a:pt x="2868" y="684"/>
                </a:lnTo>
                <a:lnTo>
                  <a:pt x="2869" y="686"/>
                </a:lnTo>
                <a:lnTo>
                  <a:pt x="2870" y="688"/>
                </a:lnTo>
                <a:lnTo>
                  <a:pt x="2870" y="691"/>
                </a:lnTo>
                <a:lnTo>
                  <a:pt x="2870" y="694"/>
                </a:lnTo>
                <a:lnTo>
                  <a:pt x="2869" y="696"/>
                </a:lnTo>
                <a:lnTo>
                  <a:pt x="2868" y="697"/>
                </a:lnTo>
                <a:lnTo>
                  <a:pt x="2866" y="700"/>
                </a:lnTo>
                <a:lnTo>
                  <a:pt x="2863" y="702"/>
                </a:lnTo>
                <a:lnTo>
                  <a:pt x="2859" y="703"/>
                </a:lnTo>
                <a:lnTo>
                  <a:pt x="2857" y="704"/>
                </a:lnTo>
                <a:lnTo>
                  <a:pt x="2854" y="703"/>
                </a:lnTo>
                <a:lnTo>
                  <a:pt x="2852" y="702"/>
                </a:lnTo>
                <a:lnTo>
                  <a:pt x="2849" y="701"/>
                </a:lnTo>
                <a:lnTo>
                  <a:pt x="2847" y="700"/>
                </a:lnTo>
                <a:lnTo>
                  <a:pt x="2846" y="698"/>
                </a:lnTo>
                <a:lnTo>
                  <a:pt x="2845" y="695"/>
                </a:lnTo>
                <a:lnTo>
                  <a:pt x="2844" y="693"/>
                </a:lnTo>
                <a:lnTo>
                  <a:pt x="2844" y="690"/>
                </a:lnTo>
                <a:lnTo>
                  <a:pt x="2844" y="688"/>
                </a:lnTo>
                <a:lnTo>
                  <a:pt x="2845" y="686"/>
                </a:lnTo>
                <a:lnTo>
                  <a:pt x="2846" y="684"/>
                </a:lnTo>
                <a:lnTo>
                  <a:pt x="2848" y="681"/>
                </a:lnTo>
                <a:lnTo>
                  <a:pt x="2851" y="679"/>
                </a:lnTo>
                <a:lnTo>
                  <a:pt x="2855" y="678"/>
                </a:lnTo>
                <a:close/>
                <a:moveTo>
                  <a:pt x="971" y="984"/>
                </a:moveTo>
                <a:lnTo>
                  <a:pt x="974" y="984"/>
                </a:lnTo>
                <a:lnTo>
                  <a:pt x="977" y="985"/>
                </a:lnTo>
                <a:lnTo>
                  <a:pt x="980" y="986"/>
                </a:lnTo>
                <a:lnTo>
                  <a:pt x="982" y="988"/>
                </a:lnTo>
                <a:lnTo>
                  <a:pt x="984" y="990"/>
                </a:lnTo>
                <a:lnTo>
                  <a:pt x="985" y="992"/>
                </a:lnTo>
                <a:lnTo>
                  <a:pt x="986" y="993"/>
                </a:lnTo>
                <a:lnTo>
                  <a:pt x="986" y="994"/>
                </a:lnTo>
                <a:lnTo>
                  <a:pt x="987" y="997"/>
                </a:lnTo>
                <a:lnTo>
                  <a:pt x="986" y="1002"/>
                </a:lnTo>
                <a:lnTo>
                  <a:pt x="985" y="1004"/>
                </a:lnTo>
                <a:lnTo>
                  <a:pt x="983" y="1006"/>
                </a:lnTo>
                <a:lnTo>
                  <a:pt x="980" y="1009"/>
                </a:lnTo>
                <a:lnTo>
                  <a:pt x="978" y="1010"/>
                </a:lnTo>
                <a:lnTo>
                  <a:pt x="976" y="1010"/>
                </a:lnTo>
                <a:lnTo>
                  <a:pt x="973" y="1010"/>
                </a:lnTo>
                <a:lnTo>
                  <a:pt x="970" y="1010"/>
                </a:lnTo>
                <a:lnTo>
                  <a:pt x="967" y="1009"/>
                </a:lnTo>
                <a:lnTo>
                  <a:pt x="965" y="1007"/>
                </a:lnTo>
                <a:lnTo>
                  <a:pt x="963" y="1005"/>
                </a:lnTo>
                <a:lnTo>
                  <a:pt x="962" y="1003"/>
                </a:lnTo>
                <a:lnTo>
                  <a:pt x="961" y="1002"/>
                </a:lnTo>
                <a:lnTo>
                  <a:pt x="961" y="1000"/>
                </a:lnTo>
                <a:lnTo>
                  <a:pt x="960" y="998"/>
                </a:lnTo>
                <a:lnTo>
                  <a:pt x="961" y="993"/>
                </a:lnTo>
                <a:lnTo>
                  <a:pt x="962" y="991"/>
                </a:lnTo>
                <a:lnTo>
                  <a:pt x="964" y="988"/>
                </a:lnTo>
                <a:lnTo>
                  <a:pt x="967" y="986"/>
                </a:lnTo>
                <a:lnTo>
                  <a:pt x="969" y="985"/>
                </a:lnTo>
                <a:lnTo>
                  <a:pt x="971" y="984"/>
                </a:lnTo>
                <a:close/>
                <a:moveTo>
                  <a:pt x="2790" y="663"/>
                </a:moveTo>
                <a:lnTo>
                  <a:pt x="2793" y="663"/>
                </a:lnTo>
                <a:lnTo>
                  <a:pt x="2796" y="663"/>
                </a:lnTo>
                <a:lnTo>
                  <a:pt x="2798" y="664"/>
                </a:lnTo>
                <a:lnTo>
                  <a:pt x="2800" y="665"/>
                </a:lnTo>
                <a:lnTo>
                  <a:pt x="2802" y="667"/>
                </a:lnTo>
                <a:lnTo>
                  <a:pt x="2804" y="669"/>
                </a:lnTo>
                <a:lnTo>
                  <a:pt x="2805" y="671"/>
                </a:lnTo>
                <a:lnTo>
                  <a:pt x="2805" y="673"/>
                </a:lnTo>
                <a:lnTo>
                  <a:pt x="2806" y="676"/>
                </a:lnTo>
                <a:lnTo>
                  <a:pt x="2805" y="679"/>
                </a:lnTo>
                <a:lnTo>
                  <a:pt x="2805" y="680"/>
                </a:lnTo>
                <a:lnTo>
                  <a:pt x="2804" y="682"/>
                </a:lnTo>
                <a:lnTo>
                  <a:pt x="2801" y="685"/>
                </a:lnTo>
                <a:lnTo>
                  <a:pt x="2798" y="687"/>
                </a:lnTo>
                <a:lnTo>
                  <a:pt x="2795" y="688"/>
                </a:lnTo>
                <a:lnTo>
                  <a:pt x="2792" y="689"/>
                </a:lnTo>
                <a:lnTo>
                  <a:pt x="2790" y="688"/>
                </a:lnTo>
                <a:lnTo>
                  <a:pt x="2787" y="687"/>
                </a:lnTo>
                <a:lnTo>
                  <a:pt x="2785" y="686"/>
                </a:lnTo>
                <a:lnTo>
                  <a:pt x="2783" y="684"/>
                </a:lnTo>
                <a:lnTo>
                  <a:pt x="2782" y="682"/>
                </a:lnTo>
                <a:lnTo>
                  <a:pt x="2780" y="680"/>
                </a:lnTo>
                <a:lnTo>
                  <a:pt x="2780" y="678"/>
                </a:lnTo>
                <a:lnTo>
                  <a:pt x="2780" y="675"/>
                </a:lnTo>
                <a:lnTo>
                  <a:pt x="2780" y="673"/>
                </a:lnTo>
                <a:lnTo>
                  <a:pt x="2781" y="671"/>
                </a:lnTo>
                <a:lnTo>
                  <a:pt x="2781" y="669"/>
                </a:lnTo>
                <a:lnTo>
                  <a:pt x="2784" y="666"/>
                </a:lnTo>
                <a:lnTo>
                  <a:pt x="2787" y="664"/>
                </a:lnTo>
                <a:lnTo>
                  <a:pt x="2790" y="663"/>
                </a:lnTo>
                <a:close/>
                <a:moveTo>
                  <a:pt x="2726" y="648"/>
                </a:moveTo>
                <a:lnTo>
                  <a:pt x="2729" y="647"/>
                </a:lnTo>
                <a:lnTo>
                  <a:pt x="2731" y="648"/>
                </a:lnTo>
                <a:lnTo>
                  <a:pt x="2734" y="649"/>
                </a:lnTo>
                <a:lnTo>
                  <a:pt x="2736" y="650"/>
                </a:lnTo>
                <a:lnTo>
                  <a:pt x="2738" y="652"/>
                </a:lnTo>
                <a:lnTo>
                  <a:pt x="2739" y="654"/>
                </a:lnTo>
                <a:lnTo>
                  <a:pt x="2740" y="656"/>
                </a:lnTo>
                <a:lnTo>
                  <a:pt x="2741" y="658"/>
                </a:lnTo>
                <a:lnTo>
                  <a:pt x="2741" y="661"/>
                </a:lnTo>
                <a:lnTo>
                  <a:pt x="2741" y="663"/>
                </a:lnTo>
                <a:lnTo>
                  <a:pt x="2740" y="665"/>
                </a:lnTo>
                <a:lnTo>
                  <a:pt x="2739" y="667"/>
                </a:lnTo>
                <a:lnTo>
                  <a:pt x="2737" y="670"/>
                </a:lnTo>
                <a:lnTo>
                  <a:pt x="2734" y="672"/>
                </a:lnTo>
                <a:lnTo>
                  <a:pt x="2730" y="673"/>
                </a:lnTo>
                <a:lnTo>
                  <a:pt x="2728" y="673"/>
                </a:lnTo>
                <a:lnTo>
                  <a:pt x="2725" y="673"/>
                </a:lnTo>
                <a:lnTo>
                  <a:pt x="2723" y="672"/>
                </a:lnTo>
                <a:lnTo>
                  <a:pt x="2721" y="671"/>
                </a:lnTo>
                <a:lnTo>
                  <a:pt x="2719" y="669"/>
                </a:lnTo>
                <a:lnTo>
                  <a:pt x="2717" y="667"/>
                </a:lnTo>
                <a:lnTo>
                  <a:pt x="2716" y="665"/>
                </a:lnTo>
                <a:lnTo>
                  <a:pt x="2715" y="663"/>
                </a:lnTo>
                <a:lnTo>
                  <a:pt x="2715" y="660"/>
                </a:lnTo>
                <a:lnTo>
                  <a:pt x="2716" y="657"/>
                </a:lnTo>
                <a:lnTo>
                  <a:pt x="2716" y="655"/>
                </a:lnTo>
                <a:lnTo>
                  <a:pt x="2717" y="654"/>
                </a:lnTo>
                <a:lnTo>
                  <a:pt x="2719" y="651"/>
                </a:lnTo>
                <a:lnTo>
                  <a:pt x="2722" y="649"/>
                </a:lnTo>
                <a:lnTo>
                  <a:pt x="2726" y="648"/>
                </a:lnTo>
                <a:close/>
                <a:moveTo>
                  <a:pt x="1017" y="936"/>
                </a:moveTo>
                <a:lnTo>
                  <a:pt x="1020" y="936"/>
                </a:lnTo>
                <a:lnTo>
                  <a:pt x="1023" y="937"/>
                </a:lnTo>
                <a:lnTo>
                  <a:pt x="1025" y="938"/>
                </a:lnTo>
                <a:lnTo>
                  <a:pt x="1028" y="940"/>
                </a:lnTo>
                <a:lnTo>
                  <a:pt x="1030" y="942"/>
                </a:lnTo>
                <a:lnTo>
                  <a:pt x="1031" y="944"/>
                </a:lnTo>
                <a:lnTo>
                  <a:pt x="1032" y="946"/>
                </a:lnTo>
                <a:lnTo>
                  <a:pt x="1032" y="949"/>
                </a:lnTo>
                <a:lnTo>
                  <a:pt x="1032" y="951"/>
                </a:lnTo>
                <a:lnTo>
                  <a:pt x="1031" y="954"/>
                </a:lnTo>
                <a:lnTo>
                  <a:pt x="1030" y="956"/>
                </a:lnTo>
                <a:lnTo>
                  <a:pt x="1028" y="958"/>
                </a:lnTo>
                <a:lnTo>
                  <a:pt x="1025" y="961"/>
                </a:lnTo>
                <a:lnTo>
                  <a:pt x="1021" y="962"/>
                </a:lnTo>
                <a:lnTo>
                  <a:pt x="1018" y="962"/>
                </a:lnTo>
                <a:lnTo>
                  <a:pt x="1015" y="962"/>
                </a:lnTo>
                <a:lnTo>
                  <a:pt x="1012" y="960"/>
                </a:lnTo>
                <a:lnTo>
                  <a:pt x="1010" y="958"/>
                </a:lnTo>
                <a:lnTo>
                  <a:pt x="1008" y="956"/>
                </a:lnTo>
                <a:lnTo>
                  <a:pt x="1007" y="954"/>
                </a:lnTo>
                <a:lnTo>
                  <a:pt x="1006" y="952"/>
                </a:lnTo>
                <a:lnTo>
                  <a:pt x="1006" y="949"/>
                </a:lnTo>
                <a:lnTo>
                  <a:pt x="1006" y="947"/>
                </a:lnTo>
                <a:lnTo>
                  <a:pt x="1007" y="944"/>
                </a:lnTo>
                <a:lnTo>
                  <a:pt x="1008" y="942"/>
                </a:lnTo>
                <a:lnTo>
                  <a:pt x="1010" y="940"/>
                </a:lnTo>
                <a:lnTo>
                  <a:pt x="1013" y="938"/>
                </a:lnTo>
                <a:lnTo>
                  <a:pt x="1017" y="936"/>
                </a:lnTo>
                <a:close/>
                <a:moveTo>
                  <a:pt x="2662" y="632"/>
                </a:moveTo>
                <a:lnTo>
                  <a:pt x="2664" y="632"/>
                </a:lnTo>
                <a:lnTo>
                  <a:pt x="2667" y="633"/>
                </a:lnTo>
                <a:lnTo>
                  <a:pt x="2669" y="633"/>
                </a:lnTo>
                <a:lnTo>
                  <a:pt x="2671" y="635"/>
                </a:lnTo>
                <a:lnTo>
                  <a:pt x="2673" y="636"/>
                </a:lnTo>
                <a:lnTo>
                  <a:pt x="2675" y="638"/>
                </a:lnTo>
                <a:lnTo>
                  <a:pt x="2676" y="641"/>
                </a:lnTo>
                <a:lnTo>
                  <a:pt x="2677" y="643"/>
                </a:lnTo>
                <a:lnTo>
                  <a:pt x="2677" y="646"/>
                </a:lnTo>
                <a:lnTo>
                  <a:pt x="2676" y="648"/>
                </a:lnTo>
                <a:lnTo>
                  <a:pt x="2675" y="652"/>
                </a:lnTo>
                <a:lnTo>
                  <a:pt x="2673" y="655"/>
                </a:lnTo>
                <a:lnTo>
                  <a:pt x="2670" y="657"/>
                </a:lnTo>
                <a:lnTo>
                  <a:pt x="2666" y="658"/>
                </a:lnTo>
                <a:lnTo>
                  <a:pt x="2663" y="658"/>
                </a:lnTo>
                <a:lnTo>
                  <a:pt x="2661" y="658"/>
                </a:lnTo>
                <a:lnTo>
                  <a:pt x="2658" y="657"/>
                </a:lnTo>
                <a:lnTo>
                  <a:pt x="2656" y="656"/>
                </a:lnTo>
                <a:lnTo>
                  <a:pt x="2654" y="654"/>
                </a:lnTo>
                <a:lnTo>
                  <a:pt x="2653" y="652"/>
                </a:lnTo>
                <a:lnTo>
                  <a:pt x="2652" y="650"/>
                </a:lnTo>
                <a:lnTo>
                  <a:pt x="2651" y="648"/>
                </a:lnTo>
                <a:lnTo>
                  <a:pt x="2651" y="645"/>
                </a:lnTo>
                <a:lnTo>
                  <a:pt x="2651" y="642"/>
                </a:lnTo>
                <a:lnTo>
                  <a:pt x="2653" y="639"/>
                </a:lnTo>
                <a:lnTo>
                  <a:pt x="2655" y="636"/>
                </a:lnTo>
                <a:lnTo>
                  <a:pt x="2658" y="634"/>
                </a:lnTo>
                <a:lnTo>
                  <a:pt x="2662" y="632"/>
                </a:lnTo>
                <a:close/>
                <a:moveTo>
                  <a:pt x="1064" y="890"/>
                </a:moveTo>
                <a:lnTo>
                  <a:pt x="1067" y="889"/>
                </a:lnTo>
                <a:lnTo>
                  <a:pt x="1070" y="890"/>
                </a:lnTo>
                <a:lnTo>
                  <a:pt x="1073" y="891"/>
                </a:lnTo>
                <a:lnTo>
                  <a:pt x="1075" y="893"/>
                </a:lnTo>
                <a:lnTo>
                  <a:pt x="1077" y="896"/>
                </a:lnTo>
                <a:lnTo>
                  <a:pt x="1078" y="898"/>
                </a:lnTo>
                <a:lnTo>
                  <a:pt x="1079" y="900"/>
                </a:lnTo>
                <a:lnTo>
                  <a:pt x="1079" y="903"/>
                </a:lnTo>
                <a:lnTo>
                  <a:pt x="1079" y="905"/>
                </a:lnTo>
                <a:lnTo>
                  <a:pt x="1078" y="908"/>
                </a:lnTo>
                <a:lnTo>
                  <a:pt x="1077" y="910"/>
                </a:lnTo>
                <a:lnTo>
                  <a:pt x="1075" y="912"/>
                </a:lnTo>
                <a:lnTo>
                  <a:pt x="1073" y="913"/>
                </a:lnTo>
                <a:lnTo>
                  <a:pt x="1072" y="914"/>
                </a:lnTo>
                <a:lnTo>
                  <a:pt x="1068" y="915"/>
                </a:lnTo>
                <a:lnTo>
                  <a:pt x="1065" y="915"/>
                </a:lnTo>
                <a:lnTo>
                  <a:pt x="1062" y="915"/>
                </a:lnTo>
                <a:lnTo>
                  <a:pt x="1059" y="914"/>
                </a:lnTo>
                <a:lnTo>
                  <a:pt x="1056" y="911"/>
                </a:lnTo>
                <a:lnTo>
                  <a:pt x="1055" y="909"/>
                </a:lnTo>
                <a:lnTo>
                  <a:pt x="1054" y="907"/>
                </a:lnTo>
                <a:lnTo>
                  <a:pt x="1053" y="905"/>
                </a:lnTo>
                <a:lnTo>
                  <a:pt x="1053" y="902"/>
                </a:lnTo>
                <a:lnTo>
                  <a:pt x="1053" y="900"/>
                </a:lnTo>
                <a:lnTo>
                  <a:pt x="1054" y="897"/>
                </a:lnTo>
                <a:lnTo>
                  <a:pt x="1055" y="895"/>
                </a:lnTo>
                <a:lnTo>
                  <a:pt x="1057" y="893"/>
                </a:lnTo>
                <a:lnTo>
                  <a:pt x="1058" y="892"/>
                </a:lnTo>
                <a:lnTo>
                  <a:pt x="1060" y="891"/>
                </a:lnTo>
                <a:lnTo>
                  <a:pt x="1064" y="890"/>
                </a:lnTo>
                <a:close/>
                <a:moveTo>
                  <a:pt x="2597" y="618"/>
                </a:moveTo>
                <a:lnTo>
                  <a:pt x="2600" y="617"/>
                </a:lnTo>
                <a:lnTo>
                  <a:pt x="2602" y="618"/>
                </a:lnTo>
                <a:lnTo>
                  <a:pt x="2605" y="619"/>
                </a:lnTo>
                <a:lnTo>
                  <a:pt x="2607" y="620"/>
                </a:lnTo>
                <a:lnTo>
                  <a:pt x="2609" y="621"/>
                </a:lnTo>
                <a:lnTo>
                  <a:pt x="2610" y="623"/>
                </a:lnTo>
                <a:lnTo>
                  <a:pt x="2611" y="626"/>
                </a:lnTo>
                <a:lnTo>
                  <a:pt x="2612" y="628"/>
                </a:lnTo>
                <a:lnTo>
                  <a:pt x="2612" y="631"/>
                </a:lnTo>
                <a:lnTo>
                  <a:pt x="2612" y="633"/>
                </a:lnTo>
                <a:lnTo>
                  <a:pt x="2611" y="637"/>
                </a:lnTo>
                <a:lnTo>
                  <a:pt x="2608" y="640"/>
                </a:lnTo>
                <a:lnTo>
                  <a:pt x="2605" y="642"/>
                </a:lnTo>
                <a:lnTo>
                  <a:pt x="2602" y="643"/>
                </a:lnTo>
                <a:lnTo>
                  <a:pt x="2599" y="643"/>
                </a:lnTo>
                <a:lnTo>
                  <a:pt x="2596" y="643"/>
                </a:lnTo>
                <a:lnTo>
                  <a:pt x="2594" y="642"/>
                </a:lnTo>
                <a:lnTo>
                  <a:pt x="2592" y="641"/>
                </a:lnTo>
                <a:lnTo>
                  <a:pt x="2590" y="639"/>
                </a:lnTo>
                <a:lnTo>
                  <a:pt x="2588" y="637"/>
                </a:lnTo>
                <a:lnTo>
                  <a:pt x="2587" y="635"/>
                </a:lnTo>
                <a:lnTo>
                  <a:pt x="2587" y="633"/>
                </a:lnTo>
                <a:lnTo>
                  <a:pt x="2586" y="630"/>
                </a:lnTo>
                <a:lnTo>
                  <a:pt x="2587" y="627"/>
                </a:lnTo>
                <a:lnTo>
                  <a:pt x="2588" y="624"/>
                </a:lnTo>
                <a:lnTo>
                  <a:pt x="2590" y="621"/>
                </a:lnTo>
                <a:lnTo>
                  <a:pt x="2594" y="619"/>
                </a:lnTo>
                <a:lnTo>
                  <a:pt x="2597" y="618"/>
                </a:lnTo>
                <a:close/>
                <a:moveTo>
                  <a:pt x="2533" y="603"/>
                </a:moveTo>
                <a:lnTo>
                  <a:pt x="2535" y="603"/>
                </a:lnTo>
                <a:lnTo>
                  <a:pt x="2538" y="603"/>
                </a:lnTo>
                <a:lnTo>
                  <a:pt x="2542" y="605"/>
                </a:lnTo>
                <a:lnTo>
                  <a:pt x="2544" y="607"/>
                </a:lnTo>
                <a:lnTo>
                  <a:pt x="2546" y="609"/>
                </a:lnTo>
                <a:lnTo>
                  <a:pt x="2547" y="611"/>
                </a:lnTo>
                <a:lnTo>
                  <a:pt x="2548" y="613"/>
                </a:lnTo>
                <a:lnTo>
                  <a:pt x="2548" y="619"/>
                </a:lnTo>
                <a:lnTo>
                  <a:pt x="2546" y="622"/>
                </a:lnTo>
                <a:lnTo>
                  <a:pt x="2544" y="625"/>
                </a:lnTo>
                <a:lnTo>
                  <a:pt x="2541" y="627"/>
                </a:lnTo>
                <a:lnTo>
                  <a:pt x="2537" y="628"/>
                </a:lnTo>
                <a:lnTo>
                  <a:pt x="2535" y="629"/>
                </a:lnTo>
                <a:lnTo>
                  <a:pt x="2532" y="628"/>
                </a:lnTo>
                <a:lnTo>
                  <a:pt x="2527" y="626"/>
                </a:lnTo>
                <a:lnTo>
                  <a:pt x="2525" y="625"/>
                </a:lnTo>
                <a:lnTo>
                  <a:pt x="2524" y="623"/>
                </a:lnTo>
                <a:lnTo>
                  <a:pt x="2523" y="620"/>
                </a:lnTo>
                <a:lnTo>
                  <a:pt x="2522" y="618"/>
                </a:lnTo>
                <a:lnTo>
                  <a:pt x="2522" y="615"/>
                </a:lnTo>
                <a:lnTo>
                  <a:pt x="2522" y="613"/>
                </a:lnTo>
                <a:lnTo>
                  <a:pt x="2524" y="609"/>
                </a:lnTo>
                <a:lnTo>
                  <a:pt x="2526" y="606"/>
                </a:lnTo>
                <a:lnTo>
                  <a:pt x="2529" y="604"/>
                </a:lnTo>
                <a:lnTo>
                  <a:pt x="2533" y="603"/>
                </a:lnTo>
                <a:close/>
                <a:moveTo>
                  <a:pt x="1112" y="845"/>
                </a:moveTo>
                <a:lnTo>
                  <a:pt x="1115" y="845"/>
                </a:lnTo>
                <a:lnTo>
                  <a:pt x="1119" y="845"/>
                </a:lnTo>
                <a:lnTo>
                  <a:pt x="1121" y="847"/>
                </a:lnTo>
                <a:lnTo>
                  <a:pt x="1123" y="848"/>
                </a:lnTo>
                <a:lnTo>
                  <a:pt x="1124" y="849"/>
                </a:lnTo>
                <a:lnTo>
                  <a:pt x="1126" y="851"/>
                </a:lnTo>
                <a:lnTo>
                  <a:pt x="1127" y="853"/>
                </a:lnTo>
                <a:lnTo>
                  <a:pt x="1127" y="856"/>
                </a:lnTo>
                <a:lnTo>
                  <a:pt x="1127" y="858"/>
                </a:lnTo>
                <a:lnTo>
                  <a:pt x="1127" y="861"/>
                </a:lnTo>
                <a:lnTo>
                  <a:pt x="1126" y="863"/>
                </a:lnTo>
                <a:lnTo>
                  <a:pt x="1125" y="865"/>
                </a:lnTo>
                <a:lnTo>
                  <a:pt x="1123" y="867"/>
                </a:lnTo>
                <a:lnTo>
                  <a:pt x="1120" y="869"/>
                </a:lnTo>
                <a:lnTo>
                  <a:pt x="1118" y="870"/>
                </a:lnTo>
                <a:lnTo>
                  <a:pt x="1117" y="870"/>
                </a:lnTo>
                <a:lnTo>
                  <a:pt x="1113" y="871"/>
                </a:lnTo>
                <a:lnTo>
                  <a:pt x="1110" y="870"/>
                </a:lnTo>
                <a:lnTo>
                  <a:pt x="1107" y="868"/>
                </a:lnTo>
                <a:lnTo>
                  <a:pt x="1106" y="867"/>
                </a:lnTo>
                <a:lnTo>
                  <a:pt x="1105" y="866"/>
                </a:lnTo>
                <a:lnTo>
                  <a:pt x="1103" y="864"/>
                </a:lnTo>
                <a:lnTo>
                  <a:pt x="1102" y="862"/>
                </a:lnTo>
                <a:lnTo>
                  <a:pt x="1101" y="859"/>
                </a:lnTo>
                <a:lnTo>
                  <a:pt x="1101" y="857"/>
                </a:lnTo>
                <a:lnTo>
                  <a:pt x="1102" y="854"/>
                </a:lnTo>
                <a:lnTo>
                  <a:pt x="1103" y="852"/>
                </a:lnTo>
                <a:lnTo>
                  <a:pt x="1104" y="850"/>
                </a:lnTo>
                <a:lnTo>
                  <a:pt x="1106" y="848"/>
                </a:lnTo>
                <a:lnTo>
                  <a:pt x="1109" y="846"/>
                </a:lnTo>
                <a:lnTo>
                  <a:pt x="1110" y="845"/>
                </a:lnTo>
                <a:lnTo>
                  <a:pt x="1112" y="845"/>
                </a:lnTo>
                <a:close/>
                <a:moveTo>
                  <a:pt x="2468" y="588"/>
                </a:moveTo>
                <a:lnTo>
                  <a:pt x="2473" y="588"/>
                </a:lnTo>
                <a:lnTo>
                  <a:pt x="2478" y="590"/>
                </a:lnTo>
                <a:lnTo>
                  <a:pt x="2480" y="592"/>
                </a:lnTo>
                <a:lnTo>
                  <a:pt x="2481" y="594"/>
                </a:lnTo>
                <a:lnTo>
                  <a:pt x="2482" y="596"/>
                </a:lnTo>
                <a:lnTo>
                  <a:pt x="2483" y="599"/>
                </a:lnTo>
                <a:lnTo>
                  <a:pt x="2483" y="604"/>
                </a:lnTo>
                <a:lnTo>
                  <a:pt x="2482" y="608"/>
                </a:lnTo>
                <a:lnTo>
                  <a:pt x="2479" y="610"/>
                </a:lnTo>
                <a:lnTo>
                  <a:pt x="2476" y="613"/>
                </a:lnTo>
                <a:lnTo>
                  <a:pt x="2473" y="614"/>
                </a:lnTo>
                <a:lnTo>
                  <a:pt x="2467" y="614"/>
                </a:lnTo>
                <a:lnTo>
                  <a:pt x="2463" y="612"/>
                </a:lnTo>
                <a:lnTo>
                  <a:pt x="2461" y="610"/>
                </a:lnTo>
                <a:lnTo>
                  <a:pt x="2459" y="608"/>
                </a:lnTo>
                <a:lnTo>
                  <a:pt x="2458" y="606"/>
                </a:lnTo>
                <a:lnTo>
                  <a:pt x="2457" y="603"/>
                </a:lnTo>
                <a:lnTo>
                  <a:pt x="2458" y="598"/>
                </a:lnTo>
                <a:lnTo>
                  <a:pt x="2459" y="594"/>
                </a:lnTo>
                <a:lnTo>
                  <a:pt x="2461" y="592"/>
                </a:lnTo>
                <a:lnTo>
                  <a:pt x="2464" y="589"/>
                </a:lnTo>
                <a:lnTo>
                  <a:pt x="2468" y="588"/>
                </a:lnTo>
                <a:close/>
                <a:moveTo>
                  <a:pt x="1162" y="802"/>
                </a:moveTo>
                <a:lnTo>
                  <a:pt x="1166" y="801"/>
                </a:lnTo>
                <a:lnTo>
                  <a:pt x="1169" y="802"/>
                </a:lnTo>
                <a:lnTo>
                  <a:pt x="1172" y="804"/>
                </a:lnTo>
                <a:lnTo>
                  <a:pt x="1175" y="806"/>
                </a:lnTo>
                <a:lnTo>
                  <a:pt x="1176" y="808"/>
                </a:lnTo>
                <a:lnTo>
                  <a:pt x="1177" y="811"/>
                </a:lnTo>
                <a:lnTo>
                  <a:pt x="1177" y="813"/>
                </a:lnTo>
                <a:lnTo>
                  <a:pt x="1177" y="816"/>
                </a:lnTo>
                <a:lnTo>
                  <a:pt x="1177" y="818"/>
                </a:lnTo>
                <a:lnTo>
                  <a:pt x="1176" y="820"/>
                </a:lnTo>
                <a:lnTo>
                  <a:pt x="1175" y="823"/>
                </a:lnTo>
                <a:lnTo>
                  <a:pt x="1173" y="824"/>
                </a:lnTo>
                <a:lnTo>
                  <a:pt x="1170" y="826"/>
                </a:lnTo>
                <a:lnTo>
                  <a:pt x="1167" y="827"/>
                </a:lnTo>
                <a:lnTo>
                  <a:pt x="1163" y="827"/>
                </a:lnTo>
                <a:lnTo>
                  <a:pt x="1160" y="827"/>
                </a:lnTo>
                <a:lnTo>
                  <a:pt x="1157" y="825"/>
                </a:lnTo>
                <a:lnTo>
                  <a:pt x="1154" y="823"/>
                </a:lnTo>
                <a:lnTo>
                  <a:pt x="1153" y="821"/>
                </a:lnTo>
                <a:lnTo>
                  <a:pt x="1152" y="818"/>
                </a:lnTo>
                <a:lnTo>
                  <a:pt x="1152" y="816"/>
                </a:lnTo>
                <a:lnTo>
                  <a:pt x="1152" y="813"/>
                </a:lnTo>
                <a:lnTo>
                  <a:pt x="1152" y="811"/>
                </a:lnTo>
                <a:lnTo>
                  <a:pt x="1153" y="808"/>
                </a:lnTo>
                <a:lnTo>
                  <a:pt x="1154" y="806"/>
                </a:lnTo>
                <a:lnTo>
                  <a:pt x="1156" y="804"/>
                </a:lnTo>
                <a:lnTo>
                  <a:pt x="1159" y="803"/>
                </a:lnTo>
                <a:lnTo>
                  <a:pt x="1162" y="802"/>
                </a:lnTo>
                <a:close/>
                <a:moveTo>
                  <a:pt x="2403" y="574"/>
                </a:moveTo>
                <a:lnTo>
                  <a:pt x="2409" y="574"/>
                </a:lnTo>
                <a:lnTo>
                  <a:pt x="2411" y="575"/>
                </a:lnTo>
                <a:lnTo>
                  <a:pt x="2413" y="576"/>
                </a:lnTo>
                <a:lnTo>
                  <a:pt x="2415" y="578"/>
                </a:lnTo>
                <a:lnTo>
                  <a:pt x="2417" y="580"/>
                </a:lnTo>
                <a:lnTo>
                  <a:pt x="2418" y="582"/>
                </a:lnTo>
                <a:lnTo>
                  <a:pt x="2419" y="584"/>
                </a:lnTo>
                <a:lnTo>
                  <a:pt x="2418" y="589"/>
                </a:lnTo>
                <a:lnTo>
                  <a:pt x="2417" y="593"/>
                </a:lnTo>
                <a:lnTo>
                  <a:pt x="2415" y="596"/>
                </a:lnTo>
                <a:lnTo>
                  <a:pt x="2412" y="598"/>
                </a:lnTo>
                <a:lnTo>
                  <a:pt x="2408" y="599"/>
                </a:lnTo>
                <a:lnTo>
                  <a:pt x="2403" y="599"/>
                </a:lnTo>
                <a:lnTo>
                  <a:pt x="2400" y="598"/>
                </a:lnTo>
                <a:lnTo>
                  <a:pt x="2398" y="597"/>
                </a:lnTo>
                <a:lnTo>
                  <a:pt x="2396" y="596"/>
                </a:lnTo>
                <a:lnTo>
                  <a:pt x="2395" y="594"/>
                </a:lnTo>
                <a:lnTo>
                  <a:pt x="2394" y="591"/>
                </a:lnTo>
                <a:lnTo>
                  <a:pt x="2393" y="589"/>
                </a:lnTo>
                <a:lnTo>
                  <a:pt x="2393" y="584"/>
                </a:lnTo>
                <a:lnTo>
                  <a:pt x="2394" y="580"/>
                </a:lnTo>
                <a:lnTo>
                  <a:pt x="2397" y="577"/>
                </a:lnTo>
                <a:lnTo>
                  <a:pt x="2400" y="575"/>
                </a:lnTo>
                <a:lnTo>
                  <a:pt x="2403" y="574"/>
                </a:lnTo>
                <a:close/>
                <a:moveTo>
                  <a:pt x="1214" y="761"/>
                </a:moveTo>
                <a:lnTo>
                  <a:pt x="1218" y="760"/>
                </a:lnTo>
                <a:lnTo>
                  <a:pt x="1221" y="761"/>
                </a:lnTo>
                <a:lnTo>
                  <a:pt x="1224" y="763"/>
                </a:lnTo>
                <a:lnTo>
                  <a:pt x="1227" y="765"/>
                </a:lnTo>
                <a:lnTo>
                  <a:pt x="1228" y="768"/>
                </a:lnTo>
                <a:lnTo>
                  <a:pt x="1229" y="770"/>
                </a:lnTo>
                <a:lnTo>
                  <a:pt x="1229" y="773"/>
                </a:lnTo>
                <a:lnTo>
                  <a:pt x="1229" y="775"/>
                </a:lnTo>
                <a:lnTo>
                  <a:pt x="1229" y="778"/>
                </a:lnTo>
                <a:lnTo>
                  <a:pt x="1228" y="780"/>
                </a:lnTo>
                <a:lnTo>
                  <a:pt x="1226" y="782"/>
                </a:lnTo>
                <a:lnTo>
                  <a:pt x="1224" y="784"/>
                </a:lnTo>
                <a:lnTo>
                  <a:pt x="1223" y="785"/>
                </a:lnTo>
                <a:lnTo>
                  <a:pt x="1222" y="785"/>
                </a:lnTo>
                <a:lnTo>
                  <a:pt x="1219" y="786"/>
                </a:lnTo>
                <a:lnTo>
                  <a:pt x="1215" y="786"/>
                </a:lnTo>
                <a:lnTo>
                  <a:pt x="1212" y="786"/>
                </a:lnTo>
                <a:lnTo>
                  <a:pt x="1209" y="784"/>
                </a:lnTo>
                <a:lnTo>
                  <a:pt x="1206" y="781"/>
                </a:lnTo>
                <a:lnTo>
                  <a:pt x="1205" y="779"/>
                </a:lnTo>
                <a:lnTo>
                  <a:pt x="1204" y="777"/>
                </a:lnTo>
                <a:lnTo>
                  <a:pt x="1203" y="774"/>
                </a:lnTo>
                <a:lnTo>
                  <a:pt x="1203" y="772"/>
                </a:lnTo>
                <a:lnTo>
                  <a:pt x="1204" y="769"/>
                </a:lnTo>
                <a:lnTo>
                  <a:pt x="1205" y="767"/>
                </a:lnTo>
                <a:lnTo>
                  <a:pt x="1207" y="765"/>
                </a:lnTo>
                <a:lnTo>
                  <a:pt x="1208" y="763"/>
                </a:lnTo>
                <a:lnTo>
                  <a:pt x="1210" y="762"/>
                </a:lnTo>
                <a:lnTo>
                  <a:pt x="1211" y="761"/>
                </a:lnTo>
                <a:lnTo>
                  <a:pt x="1214" y="761"/>
                </a:lnTo>
                <a:close/>
                <a:moveTo>
                  <a:pt x="2339" y="559"/>
                </a:moveTo>
                <a:lnTo>
                  <a:pt x="2344" y="560"/>
                </a:lnTo>
                <a:lnTo>
                  <a:pt x="2346" y="560"/>
                </a:lnTo>
                <a:lnTo>
                  <a:pt x="2349" y="562"/>
                </a:lnTo>
                <a:lnTo>
                  <a:pt x="2351" y="563"/>
                </a:lnTo>
                <a:lnTo>
                  <a:pt x="2352" y="565"/>
                </a:lnTo>
                <a:lnTo>
                  <a:pt x="2353" y="567"/>
                </a:lnTo>
                <a:lnTo>
                  <a:pt x="2354" y="570"/>
                </a:lnTo>
                <a:lnTo>
                  <a:pt x="2354" y="575"/>
                </a:lnTo>
                <a:lnTo>
                  <a:pt x="2352" y="579"/>
                </a:lnTo>
                <a:lnTo>
                  <a:pt x="2350" y="582"/>
                </a:lnTo>
                <a:lnTo>
                  <a:pt x="2347" y="584"/>
                </a:lnTo>
                <a:lnTo>
                  <a:pt x="2343" y="585"/>
                </a:lnTo>
                <a:lnTo>
                  <a:pt x="2338" y="585"/>
                </a:lnTo>
                <a:lnTo>
                  <a:pt x="2336" y="584"/>
                </a:lnTo>
                <a:lnTo>
                  <a:pt x="2334" y="583"/>
                </a:lnTo>
                <a:lnTo>
                  <a:pt x="2332" y="581"/>
                </a:lnTo>
                <a:lnTo>
                  <a:pt x="2330" y="579"/>
                </a:lnTo>
                <a:lnTo>
                  <a:pt x="2329" y="577"/>
                </a:lnTo>
                <a:lnTo>
                  <a:pt x="2328" y="575"/>
                </a:lnTo>
                <a:lnTo>
                  <a:pt x="2328" y="569"/>
                </a:lnTo>
                <a:lnTo>
                  <a:pt x="2330" y="566"/>
                </a:lnTo>
                <a:lnTo>
                  <a:pt x="2332" y="563"/>
                </a:lnTo>
                <a:lnTo>
                  <a:pt x="2335" y="561"/>
                </a:lnTo>
                <a:lnTo>
                  <a:pt x="2339" y="559"/>
                </a:lnTo>
                <a:close/>
                <a:moveTo>
                  <a:pt x="2274" y="545"/>
                </a:moveTo>
                <a:lnTo>
                  <a:pt x="2279" y="545"/>
                </a:lnTo>
                <a:lnTo>
                  <a:pt x="2282" y="546"/>
                </a:lnTo>
                <a:lnTo>
                  <a:pt x="2284" y="547"/>
                </a:lnTo>
                <a:lnTo>
                  <a:pt x="2286" y="549"/>
                </a:lnTo>
                <a:lnTo>
                  <a:pt x="2287" y="551"/>
                </a:lnTo>
                <a:lnTo>
                  <a:pt x="2289" y="553"/>
                </a:lnTo>
                <a:lnTo>
                  <a:pt x="2289" y="556"/>
                </a:lnTo>
                <a:lnTo>
                  <a:pt x="2289" y="561"/>
                </a:lnTo>
                <a:lnTo>
                  <a:pt x="2288" y="565"/>
                </a:lnTo>
                <a:lnTo>
                  <a:pt x="2285" y="568"/>
                </a:lnTo>
                <a:lnTo>
                  <a:pt x="2282" y="570"/>
                </a:lnTo>
                <a:lnTo>
                  <a:pt x="2279" y="571"/>
                </a:lnTo>
                <a:lnTo>
                  <a:pt x="2274" y="571"/>
                </a:lnTo>
                <a:lnTo>
                  <a:pt x="2271" y="570"/>
                </a:lnTo>
                <a:lnTo>
                  <a:pt x="2269" y="569"/>
                </a:lnTo>
                <a:lnTo>
                  <a:pt x="2267" y="567"/>
                </a:lnTo>
                <a:lnTo>
                  <a:pt x="2266" y="565"/>
                </a:lnTo>
                <a:lnTo>
                  <a:pt x="2264" y="563"/>
                </a:lnTo>
                <a:lnTo>
                  <a:pt x="2264" y="560"/>
                </a:lnTo>
                <a:lnTo>
                  <a:pt x="2264" y="555"/>
                </a:lnTo>
                <a:lnTo>
                  <a:pt x="2265" y="552"/>
                </a:lnTo>
                <a:lnTo>
                  <a:pt x="2268" y="549"/>
                </a:lnTo>
                <a:lnTo>
                  <a:pt x="2271" y="546"/>
                </a:lnTo>
                <a:lnTo>
                  <a:pt x="2274" y="545"/>
                </a:lnTo>
                <a:close/>
                <a:moveTo>
                  <a:pt x="1268" y="722"/>
                </a:moveTo>
                <a:lnTo>
                  <a:pt x="1271" y="721"/>
                </a:lnTo>
                <a:lnTo>
                  <a:pt x="1275" y="722"/>
                </a:lnTo>
                <a:lnTo>
                  <a:pt x="1278" y="724"/>
                </a:lnTo>
                <a:lnTo>
                  <a:pt x="1280" y="727"/>
                </a:lnTo>
                <a:lnTo>
                  <a:pt x="1282" y="729"/>
                </a:lnTo>
                <a:lnTo>
                  <a:pt x="1283" y="732"/>
                </a:lnTo>
                <a:lnTo>
                  <a:pt x="1283" y="737"/>
                </a:lnTo>
                <a:lnTo>
                  <a:pt x="1282" y="739"/>
                </a:lnTo>
                <a:lnTo>
                  <a:pt x="1281" y="741"/>
                </a:lnTo>
                <a:lnTo>
                  <a:pt x="1279" y="743"/>
                </a:lnTo>
                <a:lnTo>
                  <a:pt x="1277" y="745"/>
                </a:lnTo>
                <a:lnTo>
                  <a:pt x="1275" y="746"/>
                </a:lnTo>
                <a:lnTo>
                  <a:pt x="1272" y="747"/>
                </a:lnTo>
                <a:lnTo>
                  <a:pt x="1268" y="747"/>
                </a:lnTo>
                <a:lnTo>
                  <a:pt x="1265" y="746"/>
                </a:lnTo>
                <a:lnTo>
                  <a:pt x="1262" y="745"/>
                </a:lnTo>
                <a:lnTo>
                  <a:pt x="1259" y="742"/>
                </a:lnTo>
                <a:lnTo>
                  <a:pt x="1258" y="740"/>
                </a:lnTo>
                <a:lnTo>
                  <a:pt x="1257" y="737"/>
                </a:lnTo>
                <a:lnTo>
                  <a:pt x="1257" y="732"/>
                </a:lnTo>
                <a:lnTo>
                  <a:pt x="1258" y="730"/>
                </a:lnTo>
                <a:lnTo>
                  <a:pt x="1259" y="727"/>
                </a:lnTo>
                <a:lnTo>
                  <a:pt x="1260" y="725"/>
                </a:lnTo>
                <a:lnTo>
                  <a:pt x="1262" y="724"/>
                </a:lnTo>
                <a:lnTo>
                  <a:pt x="1265" y="722"/>
                </a:lnTo>
                <a:lnTo>
                  <a:pt x="1268" y="722"/>
                </a:lnTo>
                <a:close/>
                <a:moveTo>
                  <a:pt x="2210" y="531"/>
                </a:moveTo>
                <a:lnTo>
                  <a:pt x="2215" y="531"/>
                </a:lnTo>
                <a:lnTo>
                  <a:pt x="2217" y="532"/>
                </a:lnTo>
                <a:lnTo>
                  <a:pt x="2219" y="533"/>
                </a:lnTo>
                <a:lnTo>
                  <a:pt x="2221" y="535"/>
                </a:lnTo>
                <a:lnTo>
                  <a:pt x="2223" y="537"/>
                </a:lnTo>
                <a:lnTo>
                  <a:pt x="2224" y="539"/>
                </a:lnTo>
                <a:lnTo>
                  <a:pt x="2225" y="542"/>
                </a:lnTo>
                <a:lnTo>
                  <a:pt x="2225" y="547"/>
                </a:lnTo>
                <a:lnTo>
                  <a:pt x="2223" y="551"/>
                </a:lnTo>
                <a:lnTo>
                  <a:pt x="2221" y="554"/>
                </a:lnTo>
                <a:lnTo>
                  <a:pt x="2218" y="556"/>
                </a:lnTo>
                <a:lnTo>
                  <a:pt x="2214" y="557"/>
                </a:lnTo>
                <a:lnTo>
                  <a:pt x="2208" y="557"/>
                </a:lnTo>
                <a:lnTo>
                  <a:pt x="2206" y="556"/>
                </a:lnTo>
                <a:lnTo>
                  <a:pt x="2203" y="555"/>
                </a:lnTo>
                <a:lnTo>
                  <a:pt x="2201" y="553"/>
                </a:lnTo>
                <a:lnTo>
                  <a:pt x="2200" y="551"/>
                </a:lnTo>
                <a:lnTo>
                  <a:pt x="2199" y="549"/>
                </a:lnTo>
                <a:lnTo>
                  <a:pt x="2198" y="546"/>
                </a:lnTo>
                <a:lnTo>
                  <a:pt x="2198" y="541"/>
                </a:lnTo>
                <a:lnTo>
                  <a:pt x="2200" y="538"/>
                </a:lnTo>
                <a:lnTo>
                  <a:pt x="2202" y="535"/>
                </a:lnTo>
                <a:lnTo>
                  <a:pt x="2205" y="532"/>
                </a:lnTo>
                <a:lnTo>
                  <a:pt x="2210" y="531"/>
                </a:lnTo>
                <a:close/>
                <a:moveTo>
                  <a:pt x="1323" y="685"/>
                </a:moveTo>
                <a:lnTo>
                  <a:pt x="1326" y="685"/>
                </a:lnTo>
                <a:lnTo>
                  <a:pt x="1330" y="686"/>
                </a:lnTo>
                <a:lnTo>
                  <a:pt x="1333" y="688"/>
                </a:lnTo>
                <a:lnTo>
                  <a:pt x="1335" y="689"/>
                </a:lnTo>
                <a:lnTo>
                  <a:pt x="1336" y="691"/>
                </a:lnTo>
                <a:lnTo>
                  <a:pt x="1337" y="693"/>
                </a:lnTo>
                <a:lnTo>
                  <a:pt x="1338" y="696"/>
                </a:lnTo>
                <a:lnTo>
                  <a:pt x="1338" y="698"/>
                </a:lnTo>
                <a:lnTo>
                  <a:pt x="1338" y="701"/>
                </a:lnTo>
                <a:lnTo>
                  <a:pt x="1337" y="703"/>
                </a:lnTo>
                <a:lnTo>
                  <a:pt x="1336" y="705"/>
                </a:lnTo>
                <a:lnTo>
                  <a:pt x="1334" y="707"/>
                </a:lnTo>
                <a:lnTo>
                  <a:pt x="1332" y="709"/>
                </a:lnTo>
                <a:lnTo>
                  <a:pt x="1330" y="710"/>
                </a:lnTo>
                <a:lnTo>
                  <a:pt x="1327" y="711"/>
                </a:lnTo>
                <a:lnTo>
                  <a:pt x="1323" y="711"/>
                </a:lnTo>
                <a:lnTo>
                  <a:pt x="1320" y="710"/>
                </a:lnTo>
                <a:lnTo>
                  <a:pt x="1316" y="708"/>
                </a:lnTo>
                <a:lnTo>
                  <a:pt x="1315" y="706"/>
                </a:lnTo>
                <a:lnTo>
                  <a:pt x="1314" y="705"/>
                </a:lnTo>
                <a:lnTo>
                  <a:pt x="1313" y="702"/>
                </a:lnTo>
                <a:lnTo>
                  <a:pt x="1312" y="700"/>
                </a:lnTo>
                <a:lnTo>
                  <a:pt x="1312" y="697"/>
                </a:lnTo>
                <a:lnTo>
                  <a:pt x="1312" y="695"/>
                </a:lnTo>
                <a:lnTo>
                  <a:pt x="1313" y="693"/>
                </a:lnTo>
                <a:lnTo>
                  <a:pt x="1314" y="690"/>
                </a:lnTo>
                <a:lnTo>
                  <a:pt x="1316" y="688"/>
                </a:lnTo>
                <a:lnTo>
                  <a:pt x="1318" y="687"/>
                </a:lnTo>
                <a:lnTo>
                  <a:pt x="1320" y="686"/>
                </a:lnTo>
                <a:lnTo>
                  <a:pt x="1323" y="685"/>
                </a:lnTo>
                <a:close/>
                <a:moveTo>
                  <a:pt x="2144" y="517"/>
                </a:moveTo>
                <a:lnTo>
                  <a:pt x="2149" y="517"/>
                </a:lnTo>
                <a:lnTo>
                  <a:pt x="2151" y="518"/>
                </a:lnTo>
                <a:lnTo>
                  <a:pt x="2154" y="519"/>
                </a:lnTo>
                <a:lnTo>
                  <a:pt x="2155" y="521"/>
                </a:lnTo>
                <a:lnTo>
                  <a:pt x="2157" y="523"/>
                </a:lnTo>
                <a:lnTo>
                  <a:pt x="2158" y="525"/>
                </a:lnTo>
                <a:lnTo>
                  <a:pt x="2159" y="528"/>
                </a:lnTo>
                <a:lnTo>
                  <a:pt x="2159" y="533"/>
                </a:lnTo>
                <a:lnTo>
                  <a:pt x="2158" y="537"/>
                </a:lnTo>
                <a:lnTo>
                  <a:pt x="2155" y="540"/>
                </a:lnTo>
                <a:lnTo>
                  <a:pt x="2152" y="542"/>
                </a:lnTo>
                <a:lnTo>
                  <a:pt x="2148" y="543"/>
                </a:lnTo>
                <a:lnTo>
                  <a:pt x="2144" y="543"/>
                </a:lnTo>
                <a:lnTo>
                  <a:pt x="2141" y="542"/>
                </a:lnTo>
                <a:lnTo>
                  <a:pt x="2139" y="541"/>
                </a:lnTo>
                <a:lnTo>
                  <a:pt x="2137" y="539"/>
                </a:lnTo>
                <a:lnTo>
                  <a:pt x="2135" y="537"/>
                </a:lnTo>
                <a:lnTo>
                  <a:pt x="2134" y="535"/>
                </a:lnTo>
                <a:lnTo>
                  <a:pt x="2133" y="533"/>
                </a:lnTo>
                <a:lnTo>
                  <a:pt x="2133" y="528"/>
                </a:lnTo>
                <a:lnTo>
                  <a:pt x="2135" y="524"/>
                </a:lnTo>
                <a:lnTo>
                  <a:pt x="2137" y="521"/>
                </a:lnTo>
                <a:lnTo>
                  <a:pt x="2140" y="519"/>
                </a:lnTo>
                <a:lnTo>
                  <a:pt x="2144" y="517"/>
                </a:lnTo>
                <a:close/>
                <a:moveTo>
                  <a:pt x="1379" y="651"/>
                </a:moveTo>
                <a:lnTo>
                  <a:pt x="1383" y="651"/>
                </a:lnTo>
                <a:lnTo>
                  <a:pt x="1387" y="652"/>
                </a:lnTo>
                <a:lnTo>
                  <a:pt x="1389" y="653"/>
                </a:lnTo>
                <a:lnTo>
                  <a:pt x="1390" y="654"/>
                </a:lnTo>
                <a:lnTo>
                  <a:pt x="1393" y="657"/>
                </a:lnTo>
                <a:lnTo>
                  <a:pt x="1394" y="660"/>
                </a:lnTo>
                <a:lnTo>
                  <a:pt x="1395" y="662"/>
                </a:lnTo>
                <a:lnTo>
                  <a:pt x="1395" y="665"/>
                </a:lnTo>
                <a:lnTo>
                  <a:pt x="1394" y="667"/>
                </a:lnTo>
                <a:lnTo>
                  <a:pt x="1393" y="670"/>
                </a:lnTo>
                <a:lnTo>
                  <a:pt x="1392" y="672"/>
                </a:lnTo>
                <a:lnTo>
                  <a:pt x="1390" y="674"/>
                </a:lnTo>
                <a:lnTo>
                  <a:pt x="1388" y="675"/>
                </a:lnTo>
                <a:lnTo>
                  <a:pt x="1386" y="676"/>
                </a:lnTo>
                <a:lnTo>
                  <a:pt x="1384" y="677"/>
                </a:lnTo>
                <a:lnTo>
                  <a:pt x="1380" y="677"/>
                </a:lnTo>
                <a:lnTo>
                  <a:pt x="1376" y="676"/>
                </a:lnTo>
                <a:lnTo>
                  <a:pt x="1374" y="675"/>
                </a:lnTo>
                <a:lnTo>
                  <a:pt x="1373" y="673"/>
                </a:lnTo>
                <a:lnTo>
                  <a:pt x="1370" y="670"/>
                </a:lnTo>
                <a:lnTo>
                  <a:pt x="1369" y="668"/>
                </a:lnTo>
                <a:lnTo>
                  <a:pt x="1369" y="665"/>
                </a:lnTo>
                <a:lnTo>
                  <a:pt x="1369" y="663"/>
                </a:lnTo>
                <a:lnTo>
                  <a:pt x="1369" y="660"/>
                </a:lnTo>
                <a:lnTo>
                  <a:pt x="1370" y="658"/>
                </a:lnTo>
                <a:lnTo>
                  <a:pt x="1371" y="656"/>
                </a:lnTo>
                <a:lnTo>
                  <a:pt x="1373" y="654"/>
                </a:lnTo>
                <a:lnTo>
                  <a:pt x="1375" y="652"/>
                </a:lnTo>
                <a:lnTo>
                  <a:pt x="1377" y="652"/>
                </a:lnTo>
                <a:lnTo>
                  <a:pt x="1379" y="651"/>
                </a:lnTo>
                <a:close/>
                <a:moveTo>
                  <a:pt x="1438" y="620"/>
                </a:moveTo>
                <a:lnTo>
                  <a:pt x="1442" y="620"/>
                </a:lnTo>
                <a:lnTo>
                  <a:pt x="1444" y="620"/>
                </a:lnTo>
                <a:lnTo>
                  <a:pt x="1446" y="621"/>
                </a:lnTo>
                <a:lnTo>
                  <a:pt x="1447" y="622"/>
                </a:lnTo>
                <a:lnTo>
                  <a:pt x="1449" y="623"/>
                </a:lnTo>
                <a:lnTo>
                  <a:pt x="1452" y="627"/>
                </a:lnTo>
                <a:lnTo>
                  <a:pt x="1452" y="629"/>
                </a:lnTo>
                <a:lnTo>
                  <a:pt x="1453" y="632"/>
                </a:lnTo>
                <a:lnTo>
                  <a:pt x="1453" y="634"/>
                </a:lnTo>
                <a:lnTo>
                  <a:pt x="1452" y="637"/>
                </a:lnTo>
                <a:lnTo>
                  <a:pt x="1451" y="639"/>
                </a:lnTo>
                <a:lnTo>
                  <a:pt x="1450" y="641"/>
                </a:lnTo>
                <a:lnTo>
                  <a:pt x="1448" y="643"/>
                </a:lnTo>
                <a:lnTo>
                  <a:pt x="1446" y="644"/>
                </a:lnTo>
                <a:lnTo>
                  <a:pt x="1442" y="645"/>
                </a:lnTo>
                <a:lnTo>
                  <a:pt x="1438" y="645"/>
                </a:lnTo>
                <a:lnTo>
                  <a:pt x="1436" y="645"/>
                </a:lnTo>
                <a:lnTo>
                  <a:pt x="1434" y="644"/>
                </a:lnTo>
                <a:lnTo>
                  <a:pt x="1432" y="643"/>
                </a:lnTo>
                <a:lnTo>
                  <a:pt x="1431" y="642"/>
                </a:lnTo>
                <a:lnTo>
                  <a:pt x="1428" y="638"/>
                </a:lnTo>
                <a:lnTo>
                  <a:pt x="1427" y="636"/>
                </a:lnTo>
                <a:lnTo>
                  <a:pt x="1427" y="633"/>
                </a:lnTo>
                <a:lnTo>
                  <a:pt x="1427" y="631"/>
                </a:lnTo>
                <a:lnTo>
                  <a:pt x="1428" y="629"/>
                </a:lnTo>
                <a:lnTo>
                  <a:pt x="1429" y="626"/>
                </a:lnTo>
                <a:lnTo>
                  <a:pt x="1430" y="624"/>
                </a:lnTo>
                <a:lnTo>
                  <a:pt x="1432" y="622"/>
                </a:lnTo>
                <a:lnTo>
                  <a:pt x="1434" y="621"/>
                </a:lnTo>
                <a:lnTo>
                  <a:pt x="1438" y="620"/>
                </a:lnTo>
                <a:close/>
                <a:moveTo>
                  <a:pt x="2079" y="506"/>
                </a:moveTo>
                <a:lnTo>
                  <a:pt x="2083" y="506"/>
                </a:lnTo>
                <a:lnTo>
                  <a:pt x="2085" y="507"/>
                </a:lnTo>
                <a:lnTo>
                  <a:pt x="2088" y="508"/>
                </a:lnTo>
                <a:lnTo>
                  <a:pt x="2090" y="509"/>
                </a:lnTo>
                <a:lnTo>
                  <a:pt x="2091" y="511"/>
                </a:lnTo>
                <a:lnTo>
                  <a:pt x="2093" y="513"/>
                </a:lnTo>
                <a:lnTo>
                  <a:pt x="2094" y="515"/>
                </a:lnTo>
                <a:lnTo>
                  <a:pt x="2094" y="518"/>
                </a:lnTo>
                <a:lnTo>
                  <a:pt x="2094" y="521"/>
                </a:lnTo>
                <a:lnTo>
                  <a:pt x="2093" y="525"/>
                </a:lnTo>
                <a:lnTo>
                  <a:pt x="2092" y="526"/>
                </a:lnTo>
                <a:lnTo>
                  <a:pt x="2090" y="528"/>
                </a:lnTo>
                <a:lnTo>
                  <a:pt x="2087" y="530"/>
                </a:lnTo>
                <a:lnTo>
                  <a:pt x="2085" y="531"/>
                </a:lnTo>
                <a:lnTo>
                  <a:pt x="2083" y="532"/>
                </a:lnTo>
                <a:lnTo>
                  <a:pt x="2079" y="532"/>
                </a:lnTo>
                <a:lnTo>
                  <a:pt x="2077" y="531"/>
                </a:lnTo>
                <a:lnTo>
                  <a:pt x="2074" y="530"/>
                </a:lnTo>
                <a:lnTo>
                  <a:pt x="2072" y="528"/>
                </a:lnTo>
                <a:lnTo>
                  <a:pt x="2071" y="527"/>
                </a:lnTo>
                <a:lnTo>
                  <a:pt x="2069" y="524"/>
                </a:lnTo>
                <a:lnTo>
                  <a:pt x="2068" y="522"/>
                </a:lnTo>
                <a:lnTo>
                  <a:pt x="2068" y="520"/>
                </a:lnTo>
                <a:lnTo>
                  <a:pt x="2068" y="517"/>
                </a:lnTo>
                <a:lnTo>
                  <a:pt x="2069" y="513"/>
                </a:lnTo>
                <a:lnTo>
                  <a:pt x="2070" y="511"/>
                </a:lnTo>
                <a:lnTo>
                  <a:pt x="2072" y="510"/>
                </a:lnTo>
                <a:lnTo>
                  <a:pt x="2075" y="507"/>
                </a:lnTo>
                <a:lnTo>
                  <a:pt x="2077" y="506"/>
                </a:lnTo>
                <a:lnTo>
                  <a:pt x="2079" y="506"/>
                </a:lnTo>
                <a:close/>
                <a:moveTo>
                  <a:pt x="1497" y="592"/>
                </a:moveTo>
                <a:lnTo>
                  <a:pt x="1502" y="591"/>
                </a:lnTo>
                <a:lnTo>
                  <a:pt x="1506" y="593"/>
                </a:lnTo>
                <a:lnTo>
                  <a:pt x="1509" y="595"/>
                </a:lnTo>
                <a:lnTo>
                  <a:pt x="1512" y="599"/>
                </a:lnTo>
                <a:lnTo>
                  <a:pt x="1512" y="602"/>
                </a:lnTo>
                <a:lnTo>
                  <a:pt x="1513" y="604"/>
                </a:lnTo>
                <a:lnTo>
                  <a:pt x="1513" y="607"/>
                </a:lnTo>
                <a:lnTo>
                  <a:pt x="1512" y="609"/>
                </a:lnTo>
                <a:lnTo>
                  <a:pt x="1511" y="611"/>
                </a:lnTo>
                <a:lnTo>
                  <a:pt x="1509" y="613"/>
                </a:lnTo>
                <a:lnTo>
                  <a:pt x="1507" y="615"/>
                </a:lnTo>
                <a:lnTo>
                  <a:pt x="1505" y="616"/>
                </a:lnTo>
                <a:lnTo>
                  <a:pt x="1502" y="617"/>
                </a:lnTo>
                <a:lnTo>
                  <a:pt x="1498" y="617"/>
                </a:lnTo>
                <a:lnTo>
                  <a:pt x="1494" y="616"/>
                </a:lnTo>
                <a:lnTo>
                  <a:pt x="1490" y="613"/>
                </a:lnTo>
                <a:lnTo>
                  <a:pt x="1488" y="610"/>
                </a:lnTo>
                <a:lnTo>
                  <a:pt x="1487" y="607"/>
                </a:lnTo>
                <a:lnTo>
                  <a:pt x="1487" y="605"/>
                </a:lnTo>
                <a:lnTo>
                  <a:pt x="1487" y="602"/>
                </a:lnTo>
                <a:lnTo>
                  <a:pt x="1488" y="600"/>
                </a:lnTo>
                <a:lnTo>
                  <a:pt x="1489" y="597"/>
                </a:lnTo>
                <a:lnTo>
                  <a:pt x="1490" y="595"/>
                </a:lnTo>
                <a:lnTo>
                  <a:pt x="1492" y="594"/>
                </a:lnTo>
                <a:lnTo>
                  <a:pt x="1494" y="592"/>
                </a:lnTo>
                <a:lnTo>
                  <a:pt x="1497" y="592"/>
                </a:lnTo>
                <a:close/>
                <a:moveTo>
                  <a:pt x="2013" y="499"/>
                </a:moveTo>
                <a:lnTo>
                  <a:pt x="2016" y="499"/>
                </a:lnTo>
                <a:lnTo>
                  <a:pt x="2019" y="499"/>
                </a:lnTo>
                <a:lnTo>
                  <a:pt x="2021" y="500"/>
                </a:lnTo>
                <a:lnTo>
                  <a:pt x="2023" y="501"/>
                </a:lnTo>
                <a:lnTo>
                  <a:pt x="2025" y="503"/>
                </a:lnTo>
                <a:lnTo>
                  <a:pt x="2027" y="505"/>
                </a:lnTo>
                <a:lnTo>
                  <a:pt x="2028" y="507"/>
                </a:lnTo>
                <a:lnTo>
                  <a:pt x="2028" y="510"/>
                </a:lnTo>
                <a:lnTo>
                  <a:pt x="2028" y="513"/>
                </a:lnTo>
                <a:lnTo>
                  <a:pt x="2028" y="515"/>
                </a:lnTo>
                <a:lnTo>
                  <a:pt x="2027" y="517"/>
                </a:lnTo>
                <a:lnTo>
                  <a:pt x="2026" y="519"/>
                </a:lnTo>
                <a:lnTo>
                  <a:pt x="2025" y="520"/>
                </a:lnTo>
                <a:lnTo>
                  <a:pt x="2023" y="522"/>
                </a:lnTo>
                <a:lnTo>
                  <a:pt x="2022" y="523"/>
                </a:lnTo>
                <a:lnTo>
                  <a:pt x="2020" y="524"/>
                </a:lnTo>
                <a:lnTo>
                  <a:pt x="2018" y="524"/>
                </a:lnTo>
                <a:lnTo>
                  <a:pt x="2014" y="525"/>
                </a:lnTo>
                <a:lnTo>
                  <a:pt x="2012" y="524"/>
                </a:lnTo>
                <a:lnTo>
                  <a:pt x="2009" y="523"/>
                </a:lnTo>
                <a:lnTo>
                  <a:pt x="2007" y="522"/>
                </a:lnTo>
                <a:lnTo>
                  <a:pt x="2005" y="520"/>
                </a:lnTo>
                <a:lnTo>
                  <a:pt x="2004" y="518"/>
                </a:lnTo>
                <a:lnTo>
                  <a:pt x="2003" y="516"/>
                </a:lnTo>
                <a:lnTo>
                  <a:pt x="2002" y="513"/>
                </a:lnTo>
                <a:lnTo>
                  <a:pt x="2002" y="511"/>
                </a:lnTo>
                <a:lnTo>
                  <a:pt x="2003" y="508"/>
                </a:lnTo>
                <a:lnTo>
                  <a:pt x="2003" y="506"/>
                </a:lnTo>
                <a:lnTo>
                  <a:pt x="2004" y="505"/>
                </a:lnTo>
                <a:lnTo>
                  <a:pt x="2006" y="503"/>
                </a:lnTo>
                <a:lnTo>
                  <a:pt x="2007" y="501"/>
                </a:lnTo>
                <a:lnTo>
                  <a:pt x="2009" y="500"/>
                </a:lnTo>
                <a:lnTo>
                  <a:pt x="2011" y="499"/>
                </a:lnTo>
                <a:lnTo>
                  <a:pt x="2013" y="499"/>
                </a:lnTo>
                <a:close/>
                <a:moveTo>
                  <a:pt x="1559" y="567"/>
                </a:moveTo>
                <a:lnTo>
                  <a:pt x="1563" y="567"/>
                </a:lnTo>
                <a:lnTo>
                  <a:pt x="1567" y="568"/>
                </a:lnTo>
                <a:lnTo>
                  <a:pt x="1571" y="571"/>
                </a:lnTo>
                <a:lnTo>
                  <a:pt x="1572" y="573"/>
                </a:lnTo>
                <a:lnTo>
                  <a:pt x="1573" y="575"/>
                </a:lnTo>
                <a:lnTo>
                  <a:pt x="1574" y="577"/>
                </a:lnTo>
                <a:lnTo>
                  <a:pt x="1574" y="580"/>
                </a:lnTo>
                <a:lnTo>
                  <a:pt x="1574" y="582"/>
                </a:lnTo>
                <a:lnTo>
                  <a:pt x="1573" y="585"/>
                </a:lnTo>
                <a:lnTo>
                  <a:pt x="1572" y="587"/>
                </a:lnTo>
                <a:lnTo>
                  <a:pt x="1570" y="589"/>
                </a:lnTo>
                <a:lnTo>
                  <a:pt x="1568" y="590"/>
                </a:lnTo>
                <a:lnTo>
                  <a:pt x="1565" y="592"/>
                </a:lnTo>
                <a:lnTo>
                  <a:pt x="1563" y="592"/>
                </a:lnTo>
                <a:lnTo>
                  <a:pt x="1559" y="592"/>
                </a:lnTo>
                <a:lnTo>
                  <a:pt x="1555" y="591"/>
                </a:lnTo>
                <a:lnTo>
                  <a:pt x="1551" y="588"/>
                </a:lnTo>
                <a:lnTo>
                  <a:pt x="1550" y="586"/>
                </a:lnTo>
                <a:lnTo>
                  <a:pt x="1549" y="584"/>
                </a:lnTo>
                <a:lnTo>
                  <a:pt x="1548" y="581"/>
                </a:lnTo>
                <a:lnTo>
                  <a:pt x="1548" y="579"/>
                </a:lnTo>
                <a:lnTo>
                  <a:pt x="1548" y="576"/>
                </a:lnTo>
                <a:lnTo>
                  <a:pt x="1549" y="574"/>
                </a:lnTo>
                <a:lnTo>
                  <a:pt x="1550" y="572"/>
                </a:lnTo>
                <a:lnTo>
                  <a:pt x="1552" y="570"/>
                </a:lnTo>
                <a:lnTo>
                  <a:pt x="1554" y="568"/>
                </a:lnTo>
                <a:lnTo>
                  <a:pt x="1556" y="567"/>
                </a:lnTo>
                <a:lnTo>
                  <a:pt x="1559" y="567"/>
                </a:lnTo>
                <a:close/>
                <a:moveTo>
                  <a:pt x="1947" y="496"/>
                </a:moveTo>
                <a:lnTo>
                  <a:pt x="1949" y="496"/>
                </a:lnTo>
                <a:lnTo>
                  <a:pt x="1952" y="496"/>
                </a:lnTo>
                <a:lnTo>
                  <a:pt x="1954" y="497"/>
                </a:lnTo>
                <a:lnTo>
                  <a:pt x="1958" y="500"/>
                </a:lnTo>
                <a:lnTo>
                  <a:pt x="1960" y="502"/>
                </a:lnTo>
                <a:lnTo>
                  <a:pt x="1961" y="504"/>
                </a:lnTo>
                <a:lnTo>
                  <a:pt x="1962" y="506"/>
                </a:lnTo>
                <a:lnTo>
                  <a:pt x="1962" y="509"/>
                </a:lnTo>
                <a:lnTo>
                  <a:pt x="1961" y="513"/>
                </a:lnTo>
                <a:lnTo>
                  <a:pt x="1960" y="515"/>
                </a:lnTo>
                <a:lnTo>
                  <a:pt x="1959" y="517"/>
                </a:lnTo>
                <a:lnTo>
                  <a:pt x="1957" y="519"/>
                </a:lnTo>
                <a:lnTo>
                  <a:pt x="1956" y="520"/>
                </a:lnTo>
                <a:lnTo>
                  <a:pt x="1954" y="521"/>
                </a:lnTo>
                <a:lnTo>
                  <a:pt x="1951" y="522"/>
                </a:lnTo>
                <a:lnTo>
                  <a:pt x="1949" y="522"/>
                </a:lnTo>
                <a:lnTo>
                  <a:pt x="1946" y="521"/>
                </a:lnTo>
                <a:lnTo>
                  <a:pt x="1944" y="521"/>
                </a:lnTo>
                <a:lnTo>
                  <a:pt x="1940" y="518"/>
                </a:lnTo>
                <a:lnTo>
                  <a:pt x="1938" y="516"/>
                </a:lnTo>
                <a:lnTo>
                  <a:pt x="1937" y="514"/>
                </a:lnTo>
                <a:lnTo>
                  <a:pt x="1936" y="511"/>
                </a:lnTo>
                <a:lnTo>
                  <a:pt x="1936" y="509"/>
                </a:lnTo>
                <a:lnTo>
                  <a:pt x="1937" y="504"/>
                </a:lnTo>
                <a:lnTo>
                  <a:pt x="1938" y="502"/>
                </a:lnTo>
                <a:lnTo>
                  <a:pt x="1939" y="500"/>
                </a:lnTo>
                <a:lnTo>
                  <a:pt x="1941" y="499"/>
                </a:lnTo>
                <a:lnTo>
                  <a:pt x="1943" y="497"/>
                </a:lnTo>
                <a:lnTo>
                  <a:pt x="1945" y="497"/>
                </a:lnTo>
                <a:lnTo>
                  <a:pt x="1947" y="496"/>
                </a:lnTo>
                <a:close/>
                <a:moveTo>
                  <a:pt x="1621" y="545"/>
                </a:moveTo>
                <a:lnTo>
                  <a:pt x="1626" y="545"/>
                </a:lnTo>
                <a:lnTo>
                  <a:pt x="1628" y="546"/>
                </a:lnTo>
                <a:lnTo>
                  <a:pt x="1630" y="547"/>
                </a:lnTo>
                <a:lnTo>
                  <a:pt x="1632" y="548"/>
                </a:lnTo>
                <a:lnTo>
                  <a:pt x="1634" y="550"/>
                </a:lnTo>
                <a:lnTo>
                  <a:pt x="1635" y="552"/>
                </a:lnTo>
                <a:lnTo>
                  <a:pt x="1636" y="554"/>
                </a:lnTo>
                <a:lnTo>
                  <a:pt x="1636" y="556"/>
                </a:lnTo>
                <a:lnTo>
                  <a:pt x="1636" y="559"/>
                </a:lnTo>
                <a:lnTo>
                  <a:pt x="1636" y="562"/>
                </a:lnTo>
                <a:lnTo>
                  <a:pt x="1635" y="564"/>
                </a:lnTo>
                <a:lnTo>
                  <a:pt x="1634" y="566"/>
                </a:lnTo>
                <a:lnTo>
                  <a:pt x="1632" y="568"/>
                </a:lnTo>
                <a:lnTo>
                  <a:pt x="1630" y="569"/>
                </a:lnTo>
                <a:lnTo>
                  <a:pt x="1627" y="570"/>
                </a:lnTo>
                <a:lnTo>
                  <a:pt x="1626" y="571"/>
                </a:lnTo>
                <a:lnTo>
                  <a:pt x="1621" y="571"/>
                </a:lnTo>
                <a:lnTo>
                  <a:pt x="1619" y="570"/>
                </a:lnTo>
                <a:lnTo>
                  <a:pt x="1617" y="569"/>
                </a:lnTo>
                <a:lnTo>
                  <a:pt x="1615" y="568"/>
                </a:lnTo>
                <a:lnTo>
                  <a:pt x="1613" y="566"/>
                </a:lnTo>
                <a:lnTo>
                  <a:pt x="1612" y="564"/>
                </a:lnTo>
                <a:lnTo>
                  <a:pt x="1611" y="562"/>
                </a:lnTo>
                <a:lnTo>
                  <a:pt x="1610" y="559"/>
                </a:lnTo>
                <a:lnTo>
                  <a:pt x="1610" y="557"/>
                </a:lnTo>
                <a:lnTo>
                  <a:pt x="1611" y="554"/>
                </a:lnTo>
                <a:lnTo>
                  <a:pt x="1612" y="552"/>
                </a:lnTo>
                <a:lnTo>
                  <a:pt x="1613" y="550"/>
                </a:lnTo>
                <a:lnTo>
                  <a:pt x="1615" y="548"/>
                </a:lnTo>
                <a:lnTo>
                  <a:pt x="1617" y="546"/>
                </a:lnTo>
                <a:lnTo>
                  <a:pt x="1620" y="545"/>
                </a:lnTo>
                <a:lnTo>
                  <a:pt x="1621" y="545"/>
                </a:lnTo>
                <a:close/>
                <a:moveTo>
                  <a:pt x="1881" y="497"/>
                </a:moveTo>
                <a:lnTo>
                  <a:pt x="1882" y="497"/>
                </a:lnTo>
                <a:lnTo>
                  <a:pt x="1887" y="498"/>
                </a:lnTo>
                <a:lnTo>
                  <a:pt x="1890" y="499"/>
                </a:lnTo>
                <a:lnTo>
                  <a:pt x="1892" y="501"/>
                </a:lnTo>
                <a:lnTo>
                  <a:pt x="1893" y="502"/>
                </a:lnTo>
                <a:lnTo>
                  <a:pt x="1895" y="505"/>
                </a:lnTo>
                <a:lnTo>
                  <a:pt x="1896" y="507"/>
                </a:lnTo>
                <a:lnTo>
                  <a:pt x="1896" y="510"/>
                </a:lnTo>
                <a:lnTo>
                  <a:pt x="1895" y="514"/>
                </a:lnTo>
                <a:lnTo>
                  <a:pt x="1894" y="516"/>
                </a:lnTo>
                <a:lnTo>
                  <a:pt x="1893" y="518"/>
                </a:lnTo>
                <a:lnTo>
                  <a:pt x="1892" y="520"/>
                </a:lnTo>
                <a:lnTo>
                  <a:pt x="1890" y="521"/>
                </a:lnTo>
                <a:lnTo>
                  <a:pt x="1885" y="523"/>
                </a:lnTo>
                <a:lnTo>
                  <a:pt x="1884" y="523"/>
                </a:lnTo>
                <a:lnTo>
                  <a:pt x="1879" y="522"/>
                </a:lnTo>
                <a:lnTo>
                  <a:pt x="1876" y="521"/>
                </a:lnTo>
                <a:lnTo>
                  <a:pt x="1874" y="520"/>
                </a:lnTo>
                <a:lnTo>
                  <a:pt x="1873" y="518"/>
                </a:lnTo>
                <a:lnTo>
                  <a:pt x="1871" y="516"/>
                </a:lnTo>
                <a:lnTo>
                  <a:pt x="1870" y="514"/>
                </a:lnTo>
                <a:lnTo>
                  <a:pt x="1870" y="511"/>
                </a:lnTo>
                <a:lnTo>
                  <a:pt x="1871" y="506"/>
                </a:lnTo>
                <a:lnTo>
                  <a:pt x="1872" y="504"/>
                </a:lnTo>
                <a:lnTo>
                  <a:pt x="1873" y="502"/>
                </a:lnTo>
                <a:lnTo>
                  <a:pt x="1874" y="500"/>
                </a:lnTo>
                <a:lnTo>
                  <a:pt x="1876" y="499"/>
                </a:lnTo>
                <a:lnTo>
                  <a:pt x="1881" y="497"/>
                </a:lnTo>
                <a:close/>
                <a:moveTo>
                  <a:pt x="1685" y="527"/>
                </a:moveTo>
                <a:lnTo>
                  <a:pt x="1690" y="527"/>
                </a:lnTo>
                <a:lnTo>
                  <a:pt x="1692" y="528"/>
                </a:lnTo>
                <a:lnTo>
                  <a:pt x="1694" y="529"/>
                </a:lnTo>
                <a:lnTo>
                  <a:pt x="1696" y="530"/>
                </a:lnTo>
                <a:lnTo>
                  <a:pt x="1698" y="532"/>
                </a:lnTo>
                <a:lnTo>
                  <a:pt x="1699" y="534"/>
                </a:lnTo>
                <a:lnTo>
                  <a:pt x="1699" y="536"/>
                </a:lnTo>
                <a:lnTo>
                  <a:pt x="1700" y="537"/>
                </a:lnTo>
                <a:lnTo>
                  <a:pt x="1700" y="539"/>
                </a:lnTo>
                <a:lnTo>
                  <a:pt x="1700" y="542"/>
                </a:lnTo>
                <a:lnTo>
                  <a:pt x="1699" y="544"/>
                </a:lnTo>
                <a:lnTo>
                  <a:pt x="1698" y="547"/>
                </a:lnTo>
                <a:lnTo>
                  <a:pt x="1697" y="549"/>
                </a:lnTo>
                <a:lnTo>
                  <a:pt x="1695" y="550"/>
                </a:lnTo>
                <a:lnTo>
                  <a:pt x="1693" y="552"/>
                </a:lnTo>
                <a:lnTo>
                  <a:pt x="1690" y="553"/>
                </a:lnTo>
                <a:lnTo>
                  <a:pt x="1685" y="553"/>
                </a:lnTo>
                <a:lnTo>
                  <a:pt x="1682" y="552"/>
                </a:lnTo>
                <a:lnTo>
                  <a:pt x="1680" y="551"/>
                </a:lnTo>
                <a:lnTo>
                  <a:pt x="1678" y="549"/>
                </a:lnTo>
                <a:lnTo>
                  <a:pt x="1677" y="548"/>
                </a:lnTo>
                <a:lnTo>
                  <a:pt x="1675" y="545"/>
                </a:lnTo>
                <a:lnTo>
                  <a:pt x="1675" y="544"/>
                </a:lnTo>
                <a:lnTo>
                  <a:pt x="1674" y="543"/>
                </a:lnTo>
                <a:lnTo>
                  <a:pt x="1674" y="540"/>
                </a:lnTo>
                <a:lnTo>
                  <a:pt x="1674" y="538"/>
                </a:lnTo>
                <a:lnTo>
                  <a:pt x="1675" y="535"/>
                </a:lnTo>
                <a:lnTo>
                  <a:pt x="1676" y="533"/>
                </a:lnTo>
                <a:lnTo>
                  <a:pt x="1677" y="531"/>
                </a:lnTo>
                <a:lnTo>
                  <a:pt x="1679" y="530"/>
                </a:lnTo>
                <a:lnTo>
                  <a:pt x="1681" y="528"/>
                </a:lnTo>
                <a:lnTo>
                  <a:pt x="1684" y="527"/>
                </a:lnTo>
                <a:lnTo>
                  <a:pt x="1685" y="527"/>
                </a:lnTo>
                <a:close/>
                <a:moveTo>
                  <a:pt x="1815" y="503"/>
                </a:moveTo>
                <a:lnTo>
                  <a:pt x="1818" y="503"/>
                </a:lnTo>
                <a:lnTo>
                  <a:pt x="1820" y="504"/>
                </a:lnTo>
                <a:lnTo>
                  <a:pt x="1823" y="504"/>
                </a:lnTo>
                <a:lnTo>
                  <a:pt x="1825" y="506"/>
                </a:lnTo>
                <a:lnTo>
                  <a:pt x="1827" y="507"/>
                </a:lnTo>
                <a:lnTo>
                  <a:pt x="1828" y="510"/>
                </a:lnTo>
                <a:lnTo>
                  <a:pt x="1829" y="512"/>
                </a:lnTo>
                <a:lnTo>
                  <a:pt x="1830" y="514"/>
                </a:lnTo>
                <a:lnTo>
                  <a:pt x="1830" y="517"/>
                </a:lnTo>
                <a:lnTo>
                  <a:pt x="1830" y="519"/>
                </a:lnTo>
                <a:lnTo>
                  <a:pt x="1828" y="524"/>
                </a:lnTo>
                <a:lnTo>
                  <a:pt x="1826" y="526"/>
                </a:lnTo>
                <a:lnTo>
                  <a:pt x="1824" y="527"/>
                </a:lnTo>
                <a:lnTo>
                  <a:pt x="1822" y="528"/>
                </a:lnTo>
                <a:lnTo>
                  <a:pt x="1819" y="529"/>
                </a:lnTo>
                <a:lnTo>
                  <a:pt x="1817" y="529"/>
                </a:lnTo>
                <a:lnTo>
                  <a:pt x="1814" y="528"/>
                </a:lnTo>
                <a:lnTo>
                  <a:pt x="1811" y="528"/>
                </a:lnTo>
                <a:lnTo>
                  <a:pt x="1809" y="526"/>
                </a:lnTo>
                <a:lnTo>
                  <a:pt x="1807" y="524"/>
                </a:lnTo>
                <a:lnTo>
                  <a:pt x="1806" y="522"/>
                </a:lnTo>
                <a:lnTo>
                  <a:pt x="1805" y="520"/>
                </a:lnTo>
                <a:lnTo>
                  <a:pt x="1804" y="518"/>
                </a:lnTo>
                <a:lnTo>
                  <a:pt x="1804" y="515"/>
                </a:lnTo>
                <a:lnTo>
                  <a:pt x="1805" y="513"/>
                </a:lnTo>
                <a:lnTo>
                  <a:pt x="1807" y="508"/>
                </a:lnTo>
                <a:lnTo>
                  <a:pt x="1808" y="506"/>
                </a:lnTo>
                <a:lnTo>
                  <a:pt x="1810" y="505"/>
                </a:lnTo>
                <a:lnTo>
                  <a:pt x="1812" y="504"/>
                </a:lnTo>
                <a:lnTo>
                  <a:pt x="1815" y="503"/>
                </a:lnTo>
                <a:close/>
                <a:moveTo>
                  <a:pt x="1749" y="513"/>
                </a:moveTo>
                <a:lnTo>
                  <a:pt x="1755" y="513"/>
                </a:lnTo>
                <a:lnTo>
                  <a:pt x="1757" y="514"/>
                </a:lnTo>
                <a:lnTo>
                  <a:pt x="1759" y="515"/>
                </a:lnTo>
                <a:lnTo>
                  <a:pt x="1763" y="519"/>
                </a:lnTo>
                <a:lnTo>
                  <a:pt x="1764" y="521"/>
                </a:lnTo>
                <a:lnTo>
                  <a:pt x="1765" y="524"/>
                </a:lnTo>
                <a:lnTo>
                  <a:pt x="1764" y="529"/>
                </a:lnTo>
                <a:lnTo>
                  <a:pt x="1764" y="531"/>
                </a:lnTo>
                <a:lnTo>
                  <a:pt x="1762" y="533"/>
                </a:lnTo>
                <a:lnTo>
                  <a:pt x="1759" y="537"/>
                </a:lnTo>
                <a:lnTo>
                  <a:pt x="1757" y="538"/>
                </a:lnTo>
                <a:lnTo>
                  <a:pt x="1754" y="539"/>
                </a:lnTo>
                <a:lnTo>
                  <a:pt x="1749" y="539"/>
                </a:lnTo>
                <a:lnTo>
                  <a:pt x="1746" y="538"/>
                </a:lnTo>
                <a:lnTo>
                  <a:pt x="1744" y="537"/>
                </a:lnTo>
                <a:lnTo>
                  <a:pt x="1741" y="533"/>
                </a:lnTo>
                <a:lnTo>
                  <a:pt x="1740" y="531"/>
                </a:lnTo>
                <a:lnTo>
                  <a:pt x="1739" y="528"/>
                </a:lnTo>
                <a:lnTo>
                  <a:pt x="1739" y="523"/>
                </a:lnTo>
                <a:lnTo>
                  <a:pt x="1740" y="521"/>
                </a:lnTo>
                <a:lnTo>
                  <a:pt x="1741" y="519"/>
                </a:lnTo>
                <a:lnTo>
                  <a:pt x="1745" y="515"/>
                </a:lnTo>
                <a:lnTo>
                  <a:pt x="1747" y="514"/>
                </a:lnTo>
                <a:lnTo>
                  <a:pt x="1749" y="513"/>
                </a:lnTo>
                <a:close/>
                <a:moveTo>
                  <a:pt x="160" y="2215"/>
                </a:moveTo>
                <a:lnTo>
                  <a:pt x="162" y="2215"/>
                </a:lnTo>
                <a:lnTo>
                  <a:pt x="165" y="2215"/>
                </a:lnTo>
                <a:lnTo>
                  <a:pt x="168" y="2216"/>
                </a:lnTo>
                <a:lnTo>
                  <a:pt x="170" y="2217"/>
                </a:lnTo>
                <a:lnTo>
                  <a:pt x="172" y="2219"/>
                </a:lnTo>
                <a:lnTo>
                  <a:pt x="173" y="2221"/>
                </a:lnTo>
                <a:lnTo>
                  <a:pt x="174" y="2223"/>
                </a:lnTo>
                <a:lnTo>
                  <a:pt x="175" y="2225"/>
                </a:lnTo>
                <a:lnTo>
                  <a:pt x="175" y="2231"/>
                </a:lnTo>
                <a:lnTo>
                  <a:pt x="173" y="2234"/>
                </a:lnTo>
                <a:lnTo>
                  <a:pt x="171" y="2237"/>
                </a:lnTo>
                <a:lnTo>
                  <a:pt x="168" y="2239"/>
                </a:lnTo>
                <a:lnTo>
                  <a:pt x="164" y="2241"/>
                </a:lnTo>
                <a:lnTo>
                  <a:pt x="162" y="2241"/>
                </a:lnTo>
                <a:lnTo>
                  <a:pt x="159" y="2240"/>
                </a:lnTo>
                <a:lnTo>
                  <a:pt x="157" y="2240"/>
                </a:lnTo>
                <a:lnTo>
                  <a:pt x="154" y="2238"/>
                </a:lnTo>
                <a:lnTo>
                  <a:pt x="153" y="2237"/>
                </a:lnTo>
                <a:lnTo>
                  <a:pt x="151" y="2235"/>
                </a:lnTo>
                <a:lnTo>
                  <a:pt x="150" y="2232"/>
                </a:lnTo>
                <a:lnTo>
                  <a:pt x="149" y="2230"/>
                </a:lnTo>
                <a:lnTo>
                  <a:pt x="149" y="2225"/>
                </a:lnTo>
                <a:lnTo>
                  <a:pt x="151" y="2221"/>
                </a:lnTo>
                <a:lnTo>
                  <a:pt x="153" y="2218"/>
                </a:lnTo>
                <a:lnTo>
                  <a:pt x="156" y="2216"/>
                </a:lnTo>
                <a:lnTo>
                  <a:pt x="160" y="2215"/>
                </a:lnTo>
                <a:close/>
                <a:moveTo>
                  <a:pt x="175" y="2150"/>
                </a:moveTo>
                <a:lnTo>
                  <a:pt x="177" y="2150"/>
                </a:lnTo>
                <a:lnTo>
                  <a:pt x="180" y="2150"/>
                </a:lnTo>
                <a:lnTo>
                  <a:pt x="183" y="2151"/>
                </a:lnTo>
                <a:lnTo>
                  <a:pt x="185" y="2153"/>
                </a:lnTo>
                <a:lnTo>
                  <a:pt x="187" y="2154"/>
                </a:lnTo>
                <a:lnTo>
                  <a:pt x="188" y="2156"/>
                </a:lnTo>
                <a:lnTo>
                  <a:pt x="189" y="2159"/>
                </a:lnTo>
                <a:lnTo>
                  <a:pt x="190" y="2161"/>
                </a:lnTo>
                <a:lnTo>
                  <a:pt x="190" y="2164"/>
                </a:lnTo>
                <a:lnTo>
                  <a:pt x="190" y="2166"/>
                </a:lnTo>
                <a:lnTo>
                  <a:pt x="188" y="2170"/>
                </a:lnTo>
                <a:lnTo>
                  <a:pt x="186" y="2173"/>
                </a:lnTo>
                <a:lnTo>
                  <a:pt x="183" y="2175"/>
                </a:lnTo>
                <a:lnTo>
                  <a:pt x="179" y="2176"/>
                </a:lnTo>
                <a:lnTo>
                  <a:pt x="177" y="2176"/>
                </a:lnTo>
                <a:lnTo>
                  <a:pt x="174" y="2176"/>
                </a:lnTo>
                <a:lnTo>
                  <a:pt x="172" y="2175"/>
                </a:lnTo>
                <a:lnTo>
                  <a:pt x="169" y="2174"/>
                </a:lnTo>
                <a:lnTo>
                  <a:pt x="167" y="2172"/>
                </a:lnTo>
                <a:lnTo>
                  <a:pt x="166" y="2170"/>
                </a:lnTo>
                <a:lnTo>
                  <a:pt x="165" y="2168"/>
                </a:lnTo>
                <a:lnTo>
                  <a:pt x="164" y="2165"/>
                </a:lnTo>
                <a:lnTo>
                  <a:pt x="164" y="2163"/>
                </a:lnTo>
                <a:lnTo>
                  <a:pt x="164" y="2160"/>
                </a:lnTo>
                <a:lnTo>
                  <a:pt x="166" y="2157"/>
                </a:lnTo>
                <a:lnTo>
                  <a:pt x="168" y="2154"/>
                </a:lnTo>
                <a:lnTo>
                  <a:pt x="171" y="2151"/>
                </a:lnTo>
                <a:lnTo>
                  <a:pt x="175" y="2150"/>
                </a:lnTo>
                <a:close/>
                <a:moveTo>
                  <a:pt x="191" y="2086"/>
                </a:moveTo>
                <a:lnTo>
                  <a:pt x="193" y="2086"/>
                </a:lnTo>
                <a:lnTo>
                  <a:pt x="196" y="2086"/>
                </a:lnTo>
                <a:lnTo>
                  <a:pt x="199" y="2087"/>
                </a:lnTo>
                <a:lnTo>
                  <a:pt x="201" y="2088"/>
                </a:lnTo>
                <a:lnTo>
                  <a:pt x="203" y="2090"/>
                </a:lnTo>
                <a:lnTo>
                  <a:pt x="204" y="2092"/>
                </a:lnTo>
                <a:lnTo>
                  <a:pt x="205" y="2094"/>
                </a:lnTo>
                <a:lnTo>
                  <a:pt x="206" y="2097"/>
                </a:lnTo>
                <a:lnTo>
                  <a:pt x="206" y="2100"/>
                </a:lnTo>
                <a:lnTo>
                  <a:pt x="206" y="2102"/>
                </a:lnTo>
                <a:lnTo>
                  <a:pt x="205" y="2104"/>
                </a:lnTo>
                <a:lnTo>
                  <a:pt x="204" y="2106"/>
                </a:lnTo>
                <a:lnTo>
                  <a:pt x="202" y="2109"/>
                </a:lnTo>
                <a:lnTo>
                  <a:pt x="199" y="2111"/>
                </a:lnTo>
                <a:lnTo>
                  <a:pt x="195" y="2112"/>
                </a:lnTo>
                <a:lnTo>
                  <a:pt x="192" y="2112"/>
                </a:lnTo>
                <a:lnTo>
                  <a:pt x="190" y="2112"/>
                </a:lnTo>
                <a:lnTo>
                  <a:pt x="187" y="2111"/>
                </a:lnTo>
                <a:lnTo>
                  <a:pt x="185" y="2109"/>
                </a:lnTo>
                <a:lnTo>
                  <a:pt x="183" y="2108"/>
                </a:lnTo>
                <a:lnTo>
                  <a:pt x="182" y="2106"/>
                </a:lnTo>
                <a:lnTo>
                  <a:pt x="181" y="2103"/>
                </a:lnTo>
                <a:lnTo>
                  <a:pt x="180" y="2101"/>
                </a:lnTo>
                <a:lnTo>
                  <a:pt x="180" y="2098"/>
                </a:lnTo>
                <a:lnTo>
                  <a:pt x="180" y="2096"/>
                </a:lnTo>
                <a:lnTo>
                  <a:pt x="181" y="2094"/>
                </a:lnTo>
                <a:lnTo>
                  <a:pt x="182" y="2092"/>
                </a:lnTo>
                <a:lnTo>
                  <a:pt x="184" y="2089"/>
                </a:lnTo>
                <a:lnTo>
                  <a:pt x="187" y="2087"/>
                </a:lnTo>
                <a:lnTo>
                  <a:pt x="191" y="2086"/>
                </a:lnTo>
                <a:close/>
                <a:moveTo>
                  <a:pt x="207" y="2022"/>
                </a:moveTo>
                <a:lnTo>
                  <a:pt x="210" y="2022"/>
                </a:lnTo>
                <a:lnTo>
                  <a:pt x="213" y="2022"/>
                </a:lnTo>
                <a:lnTo>
                  <a:pt x="215" y="2023"/>
                </a:lnTo>
                <a:lnTo>
                  <a:pt x="218" y="2025"/>
                </a:lnTo>
                <a:lnTo>
                  <a:pt x="219" y="2026"/>
                </a:lnTo>
                <a:lnTo>
                  <a:pt x="221" y="2028"/>
                </a:lnTo>
                <a:lnTo>
                  <a:pt x="222" y="2031"/>
                </a:lnTo>
                <a:lnTo>
                  <a:pt x="223" y="2033"/>
                </a:lnTo>
                <a:lnTo>
                  <a:pt x="223" y="2036"/>
                </a:lnTo>
                <a:lnTo>
                  <a:pt x="222" y="2038"/>
                </a:lnTo>
                <a:lnTo>
                  <a:pt x="222" y="2040"/>
                </a:lnTo>
                <a:lnTo>
                  <a:pt x="221" y="2042"/>
                </a:lnTo>
                <a:lnTo>
                  <a:pt x="218" y="2045"/>
                </a:lnTo>
                <a:lnTo>
                  <a:pt x="215" y="2047"/>
                </a:lnTo>
                <a:lnTo>
                  <a:pt x="212" y="2048"/>
                </a:lnTo>
                <a:lnTo>
                  <a:pt x="209" y="2048"/>
                </a:lnTo>
                <a:lnTo>
                  <a:pt x="206" y="2048"/>
                </a:lnTo>
                <a:lnTo>
                  <a:pt x="204" y="2047"/>
                </a:lnTo>
                <a:lnTo>
                  <a:pt x="201" y="2045"/>
                </a:lnTo>
                <a:lnTo>
                  <a:pt x="200" y="2044"/>
                </a:lnTo>
                <a:lnTo>
                  <a:pt x="198" y="2041"/>
                </a:lnTo>
                <a:lnTo>
                  <a:pt x="197" y="2039"/>
                </a:lnTo>
                <a:lnTo>
                  <a:pt x="197" y="2037"/>
                </a:lnTo>
                <a:lnTo>
                  <a:pt x="196" y="2034"/>
                </a:lnTo>
                <a:lnTo>
                  <a:pt x="197" y="2031"/>
                </a:lnTo>
                <a:lnTo>
                  <a:pt x="197" y="2030"/>
                </a:lnTo>
                <a:lnTo>
                  <a:pt x="198" y="2028"/>
                </a:lnTo>
                <a:lnTo>
                  <a:pt x="201" y="2025"/>
                </a:lnTo>
                <a:lnTo>
                  <a:pt x="204" y="2023"/>
                </a:lnTo>
                <a:lnTo>
                  <a:pt x="207" y="2022"/>
                </a:lnTo>
                <a:close/>
                <a:moveTo>
                  <a:pt x="225" y="1958"/>
                </a:moveTo>
                <a:lnTo>
                  <a:pt x="228" y="1958"/>
                </a:lnTo>
                <a:lnTo>
                  <a:pt x="231" y="1958"/>
                </a:lnTo>
                <a:lnTo>
                  <a:pt x="233" y="1959"/>
                </a:lnTo>
                <a:lnTo>
                  <a:pt x="235" y="1961"/>
                </a:lnTo>
                <a:lnTo>
                  <a:pt x="237" y="1963"/>
                </a:lnTo>
                <a:lnTo>
                  <a:pt x="238" y="1965"/>
                </a:lnTo>
                <a:lnTo>
                  <a:pt x="240" y="1967"/>
                </a:lnTo>
                <a:lnTo>
                  <a:pt x="240" y="1969"/>
                </a:lnTo>
                <a:lnTo>
                  <a:pt x="240" y="1972"/>
                </a:lnTo>
                <a:lnTo>
                  <a:pt x="240" y="1975"/>
                </a:lnTo>
                <a:lnTo>
                  <a:pt x="238" y="1978"/>
                </a:lnTo>
                <a:lnTo>
                  <a:pt x="236" y="1981"/>
                </a:lnTo>
                <a:lnTo>
                  <a:pt x="233" y="1983"/>
                </a:lnTo>
                <a:lnTo>
                  <a:pt x="231" y="1984"/>
                </a:lnTo>
                <a:lnTo>
                  <a:pt x="229" y="1984"/>
                </a:lnTo>
                <a:lnTo>
                  <a:pt x="226" y="1984"/>
                </a:lnTo>
                <a:lnTo>
                  <a:pt x="223" y="1984"/>
                </a:lnTo>
                <a:lnTo>
                  <a:pt x="221" y="1983"/>
                </a:lnTo>
                <a:lnTo>
                  <a:pt x="219" y="1981"/>
                </a:lnTo>
                <a:lnTo>
                  <a:pt x="217" y="1980"/>
                </a:lnTo>
                <a:lnTo>
                  <a:pt x="216" y="1977"/>
                </a:lnTo>
                <a:lnTo>
                  <a:pt x="215" y="1975"/>
                </a:lnTo>
                <a:lnTo>
                  <a:pt x="214" y="1973"/>
                </a:lnTo>
                <a:lnTo>
                  <a:pt x="214" y="1970"/>
                </a:lnTo>
                <a:lnTo>
                  <a:pt x="214" y="1968"/>
                </a:lnTo>
                <a:lnTo>
                  <a:pt x="216" y="1964"/>
                </a:lnTo>
                <a:lnTo>
                  <a:pt x="218" y="1961"/>
                </a:lnTo>
                <a:lnTo>
                  <a:pt x="221" y="1959"/>
                </a:lnTo>
                <a:lnTo>
                  <a:pt x="223" y="1959"/>
                </a:lnTo>
                <a:lnTo>
                  <a:pt x="225" y="1958"/>
                </a:lnTo>
                <a:close/>
                <a:moveTo>
                  <a:pt x="243" y="1895"/>
                </a:moveTo>
                <a:lnTo>
                  <a:pt x="246" y="1894"/>
                </a:lnTo>
                <a:lnTo>
                  <a:pt x="249" y="1895"/>
                </a:lnTo>
                <a:lnTo>
                  <a:pt x="252" y="1896"/>
                </a:lnTo>
                <a:lnTo>
                  <a:pt x="254" y="1897"/>
                </a:lnTo>
                <a:lnTo>
                  <a:pt x="256" y="1899"/>
                </a:lnTo>
                <a:lnTo>
                  <a:pt x="257" y="1901"/>
                </a:lnTo>
                <a:lnTo>
                  <a:pt x="258" y="1904"/>
                </a:lnTo>
                <a:lnTo>
                  <a:pt x="259" y="1906"/>
                </a:lnTo>
                <a:lnTo>
                  <a:pt x="259" y="1909"/>
                </a:lnTo>
                <a:lnTo>
                  <a:pt x="258" y="1911"/>
                </a:lnTo>
                <a:lnTo>
                  <a:pt x="256" y="1915"/>
                </a:lnTo>
                <a:lnTo>
                  <a:pt x="254" y="1917"/>
                </a:lnTo>
                <a:lnTo>
                  <a:pt x="251" y="1919"/>
                </a:lnTo>
                <a:lnTo>
                  <a:pt x="249" y="1920"/>
                </a:lnTo>
                <a:lnTo>
                  <a:pt x="248" y="1920"/>
                </a:lnTo>
                <a:lnTo>
                  <a:pt x="245" y="1921"/>
                </a:lnTo>
                <a:lnTo>
                  <a:pt x="242" y="1920"/>
                </a:lnTo>
                <a:lnTo>
                  <a:pt x="239" y="1919"/>
                </a:lnTo>
                <a:lnTo>
                  <a:pt x="237" y="1918"/>
                </a:lnTo>
                <a:lnTo>
                  <a:pt x="235" y="1916"/>
                </a:lnTo>
                <a:lnTo>
                  <a:pt x="234" y="1914"/>
                </a:lnTo>
                <a:lnTo>
                  <a:pt x="233" y="1911"/>
                </a:lnTo>
                <a:lnTo>
                  <a:pt x="232" y="1909"/>
                </a:lnTo>
                <a:lnTo>
                  <a:pt x="232" y="1906"/>
                </a:lnTo>
                <a:lnTo>
                  <a:pt x="233" y="1904"/>
                </a:lnTo>
                <a:lnTo>
                  <a:pt x="234" y="1900"/>
                </a:lnTo>
                <a:lnTo>
                  <a:pt x="237" y="1898"/>
                </a:lnTo>
                <a:lnTo>
                  <a:pt x="240" y="1896"/>
                </a:lnTo>
                <a:lnTo>
                  <a:pt x="241" y="1895"/>
                </a:lnTo>
                <a:lnTo>
                  <a:pt x="243" y="1895"/>
                </a:lnTo>
                <a:close/>
                <a:moveTo>
                  <a:pt x="263" y="1831"/>
                </a:moveTo>
                <a:lnTo>
                  <a:pt x="266" y="1831"/>
                </a:lnTo>
                <a:lnTo>
                  <a:pt x="269" y="1832"/>
                </a:lnTo>
                <a:lnTo>
                  <a:pt x="271" y="1833"/>
                </a:lnTo>
                <a:lnTo>
                  <a:pt x="273" y="1834"/>
                </a:lnTo>
                <a:lnTo>
                  <a:pt x="275" y="1836"/>
                </a:lnTo>
                <a:lnTo>
                  <a:pt x="277" y="1838"/>
                </a:lnTo>
                <a:lnTo>
                  <a:pt x="278" y="1843"/>
                </a:lnTo>
                <a:lnTo>
                  <a:pt x="278" y="1846"/>
                </a:lnTo>
                <a:lnTo>
                  <a:pt x="277" y="1848"/>
                </a:lnTo>
                <a:lnTo>
                  <a:pt x="276" y="1852"/>
                </a:lnTo>
                <a:lnTo>
                  <a:pt x="273" y="1854"/>
                </a:lnTo>
                <a:lnTo>
                  <a:pt x="271" y="1856"/>
                </a:lnTo>
                <a:lnTo>
                  <a:pt x="267" y="1857"/>
                </a:lnTo>
                <a:lnTo>
                  <a:pt x="264" y="1857"/>
                </a:lnTo>
                <a:lnTo>
                  <a:pt x="261" y="1857"/>
                </a:lnTo>
                <a:lnTo>
                  <a:pt x="259" y="1856"/>
                </a:lnTo>
                <a:lnTo>
                  <a:pt x="256" y="1854"/>
                </a:lnTo>
                <a:lnTo>
                  <a:pt x="255" y="1852"/>
                </a:lnTo>
                <a:lnTo>
                  <a:pt x="253" y="1850"/>
                </a:lnTo>
                <a:lnTo>
                  <a:pt x="252" y="1846"/>
                </a:lnTo>
                <a:lnTo>
                  <a:pt x="252" y="1843"/>
                </a:lnTo>
                <a:lnTo>
                  <a:pt x="252" y="1840"/>
                </a:lnTo>
                <a:lnTo>
                  <a:pt x="254" y="1837"/>
                </a:lnTo>
                <a:lnTo>
                  <a:pt x="256" y="1834"/>
                </a:lnTo>
                <a:lnTo>
                  <a:pt x="259" y="1832"/>
                </a:lnTo>
                <a:lnTo>
                  <a:pt x="263" y="1831"/>
                </a:lnTo>
                <a:close/>
                <a:moveTo>
                  <a:pt x="283" y="1768"/>
                </a:moveTo>
                <a:lnTo>
                  <a:pt x="286" y="1768"/>
                </a:lnTo>
                <a:lnTo>
                  <a:pt x="289" y="1769"/>
                </a:lnTo>
                <a:lnTo>
                  <a:pt x="292" y="1770"/>
                </a:lnTo>
                <a:lnTo>
                  <a:pt x="294" y="1771"/>
                </a:lnTo>
                <a:lnTo>
                  <a:pt x="296" y="1773"/>
                </a:lnTo>
                <a:lnTo>
                  <a:pt x="297" y="1775"/>
                </a:lnTo>
                <a:lnTo>
                  <a:pt x="298" y="1778"/>
                </a:lnTo>
                <a:lnTo>
                  <a:pt x="298" y="1780"/>
                </a:lnTo>
                <a:lnTo>
                  <a:pt x="298" y="1783"/>
                </a:lnTo>
                <a:lnTo>
                  <a:pt x="298" y="1786"/>
                </a:lnTo>
                <a:lnTo>
                  <a:pt x="296" y="1789"/>
                </a:lnTo>
                <a:lnTo>
                  <a:pt x="294" y="1791"/>
                </a:lnTo>
                <a:lnTo>
                  <a:pt x="292" y="1792"/>
                </a:lnTo>
                <a:lnTo>
                  <a:pt x="291" y="1793"/>
                </a:lnTo>
                <a:lnTo>
                  <a:pt x="288" y="1794"/>
                </a:lnTo>
                <a:lnTo>
                  <a:pt x="284" y="1794"/>
                </a:lnTo>
                <a:lnTo>
                  <a:pt x="281" y="1794"/>
                </a:lnTo>
                <a:lnTo>
                  <a:pt x="279" y="1793"/>
                </a:lnTo>
                <a:lnTo>
                  <a:pt x="277" y="1791"/>
                </a:lnTo>
                <a:lnTo>
                  <a:pt x="275" y="1789"/>
                </a:lnTo>
                <a:lnTo>
                  <a:pt x="274" y="1787"/>
                </a:lnTo>
                <a:lnTo>
                  <a:pt x="273" y="1785"/>
                </a:lnTo>
                <a:lnTo>
                  <a:pt x="272" y="1782"/>
                </a:lnTo>
                <a:lnTo>
                  <a:pt x="272" y="1780"/>
                </a:lnTo>
                <a:lnTo>
                  <a:pt x="273" y="1777"/>
                </a:lnTo>
                <a:lnTo>
                  <a:pt x="274" y="1774"/>
                </a:lnTo>
                <a:lnTo>
                  <a:pt x="277" y="1771"/>
                </a:lnTo>
                <a:lnTo>
                  <a:pt x="278" y="1770"/>
                </a:lnTo>
                <a:lnTo>
                  <a:pt x="280" y="1769"/>
                </a:lnTo>
                <a:lnTo>
                  <a:pt x="283" y="1768"/>
                </a:lnTo>
                <a:close/>
                <a:moveTo>
                  <a:pt x="304" y="1706"/>
                </a:moveTo>
                <a:lnTo>
                  <a:pt x="308" y="1706"/>
                </a:lnTo>
                <a:lnTo>
                  <a:pt x="311" y="1706"/>
                </a:lnTo>
                <a:lnTo>
                  <a:pt x="314" y="1708"/>
                </a:lnTo>
                <a:lnTo>
                  <a:pt x="316" y="1709"/>
                </a:lnTo>
                <a:lnTo>
                  <a:pt x="317" y="1711"/>
                </a:lnTo>
                <a:lnTo>
                  <a:pt x="319" y="1713"/>
                </a:lnTo>
                <a:lnTo>
                  <a:pt x="319" y="1715"/>
                </a:lnTo>
                <a:lnTo>
                  <a:pt x="320" y="1718"/>
                </a:lnTo>
                <a:lnTo>
                  <a:pt x="320" y="1721"/>
                </a:lnTo>
                <a:lnTo>
                  <a:pt x="319" y="1723"/>
                </a:lnTo>
                <a:lnTo>
                  <a:pt x="317" y="1726"/>
                </a:lnTo>
                <a:lnTo>
                  <a:pt x="315" y="1729"/>
                </a:lnTo>
                <a:lnTo>
                  <a:pt x="312" y="1731"/>
                </a:lnTo>
                <a:lnTo>
                  <a:pt x="309" y="1732"/>
                </a:lnTo>
                <a:lnTo>
                  <a:pt x="306" y="1732"/>
                </a:lnTo>
                <a:lnTo>
                  <a:pt x="302" y="1731"/>
                </a:lnTo>
                <a:lnTo>
                  <a:pt x="300" y="1730"/>
                </a:lnTo>
                <a:lnTo>
                  <a:pt x="298" y="1728"/>
                </a:lnTo>
                <a:lnTo>
                  <a:pt x="296" y="1727"/>
                </a:lnTo>
                <a:lnTo>
                  <a:pt x="295" y="1724"/>
                </a:lnTo>
                <a:lnTo>
                  <a:pt x="294" y="1722"/>
                </a:lnTo>
                <a:lnTo>
                  <a:pt x="294" y="1720"/>
                </a:lnTo>
                <a:lnTo>
                  <a:pt x="294" y="1717"/>
                </a:lnTo>
                <a:lnTo>
                  <a:pt x="294" y="1714"/>
                </a:lnTo>
                <a:lnTo>
                  <a:pt x="296" y="1711"/>
                </a:lnTo>
                <a:lnTo>
                  <a:pt x="298" y="1709"/>
                </a:lnTo>
                <a:lnTo>
                  <a:pt x="301" y="1707"/>
                </a:lnTo>
                <a:lnTo>
                  <a:pt x="304" y="1706"/>
                </a:lnTo>
                <a:close/>
                <a:moveTo>
                  <a:pt x="327" y="1644"/>
                </a:moveTo>
                <a:lnTo>
                  <a:pt x="330" y="1643"/>
                </a:lnTo>
                <a:lnTo>
                  <a:pt x="334" y="1644"/>
                </a:lnTo>
                <a:lnTo>
                  <a:pt x="336" y="1645"/>
                </a:lnTo>
                <a:lnTo>
                  <a:pt x="338" y="1647"/>
                </a:lnTo>
                <a:lnTo>
                  <a:pt x="340" y="1649"/>
                </a:lnTo>
                <a:lnTo>
                  <a:pt x="341" y="1651"/>
                </a:lnTo>
                <a:lnTo>
                  <a:pt x="342" y="1652"/>
                </a:lnTo>
                <a:lnTo>
                  <a:pt x="342" y="1653"/>
                </a:lnTo>
                <a:lnTo>
                  <a:pt x="342" y="1656"/>
                </a:lnTo>
                <a:lnTo>
                  <a:pt x="342" y="1661"/>
                </a:lnTo>
                <a:lnTo>
                  <a:pt x="340" y="1664"/>
                </a:lnTo>
                <a:lnTo>
                  <a:pt x="338" y="1667"/>
                </a:lnTo>
                <a:lnTo>
                  <a:pt x="335" y="1668"/>
                </a:lnTo>
                <a:lnTo>
                  <a:pt x="331" y="1669"/>
                </a:lnTo>
                <a:lnTo>
                  <a:pt x="328" y="1670"/>
                </a:lnTo>
                <a:lnTo>
                  <a:pt x="325" y="1669"/>
                </a:lnTo>
                <a:lnTo>
                  <a:pt x="322" y="1668"/>
                </a:lnTo>
                <a:lnTo>
                  <a:pt x="320" y="1666"/>
                </a:lnTo>
                <a:lnTo>
                  <a:pt x="319" y="1664"/>
                </a:lnTo>
                <a:lnTo>
                  <a:pt x="317" y="1662"/>
                </a:lnTo>
                <a:lnTo>
                  <a:pt x="317" y="1661"/>
                </a:lnTo>
                <a:lnTo>
                  <a:pt x="316" y="1660"/>
                </a:lnTo>
                <a:lnTo>
                  <a:pt x="316" y="1657"/>
                </a:lnTo>
                <a:lnTo>
                  <a:pt x="317" y="1652"/>
                </a:lnTo>
                <a:lnTo>
                  <a:pt x="319" y="1649"/>
                </a:lnTo>
                <a:lnTo>
                  <a:pt x="321" y="1646"/>
                </a:lnTo>
                <a:lnTo>
                  <a:pt x="324" y="1645"/>
                </a:lnTo>
                <a:lnTo>
                  <a:pt x="327" y="1644"/>
                </a:lnTo>
                <a:close/>
                <a:moveTo>
                  <a:pt x="350" y="1582"/>
                </a:moveTo>
                <a:lnTo>
                  <a:pt x="354" y="1582"/>
                </a:lnTo>
                <a:lnTo>
                  <a:pt x="358" y="1582"/>
                </a:lnTo>
                <a:lnTo>
                  <a:pt x="362" y="1585"/>
                </a:lnTo>
                <a:lnTo>
                  <a:pt x="364" y="1587"/>
                </a:lnTo>
                <a:lnTo>
                  <a:pt x="365" y="1589"/>
                </a:lnTo>
                <a:lnTo>
                  <a:pt x="366" y="1592"/>
                </a:lnTo>
                <a:lnTo>
                  <a:pt x="366" y="1594"/>
                </a:lnTo>
                <a:lnTo>
                  <a:pt x="366" y="1597"/>
                </a:lnTo>
                <a:lnTo>
                  <a:pt x="365" y="1599"/>
                </a:lnTo>
                <a:lnTo>
                  <a:pt x="363" y="1603"/>
                </a:lnTo>
                <a:lnTo>
                  <a:pt x="361" y="1605"/>
                </a:lnTo>
                <a:lnTo>
                  <a:pt x="358" y="1607"/>
                </a:lnTo>
                <a:lnTo>
                  <a:pt x="355" y="1608"/>
                </a:lnTo>
                <a:lnTo>
                  <a:pt x="352" y="1608"/>
                </a:lnTo>
                <a:lnTo>
                  <a:pt x="348" y="1607"/>
                </a:lnTo>
                <a:lnTo>
                  <a:pt x="344" y="1604"/>
                </a:lnTo>
                <a:lnTo>
                  <a:pt x="342" y="1602"/>
                </a:lnTo>
                <a:lnTo>
                  <a:pt x="341" y="1600"/>
                </a:lnTo>
                <a:lnTo>
                  <a:pt x="340" y="1598"/>
                </a:lnTo>
                <a:lnTo>
                  <a:pt x="340" y="1595"/>
                </a:lnTo>
                <a:lnTo>
                  <a:pt x="340" y="1592"/>
                </a:lnTo>
                <a:lnTo>
                  <a:pt x="341" y="1590"/>
                </a:lnTo>
                <a:lnTo>
                  <a:pt x="342" y="1587"/>
                </a:lnTo>
                <a:lnTo>
                  <a:pt x="345" y="1584"/>
                </a:lnTo>
                <a:lnTo>
                  <a:pt x="347" y="1583"/>
                </a:lnTo>
                <a:lnTo>
                  <a:pt x="350" y="1582"/>
                </a:lnTo>
                <a:close/>
                <a:moveTo>
                  <a:pt x="375" y="1520"/>
                </a:moveTo>
                <a:lnTo>
                  <a:pt x="379" y="1520"/>
                </a:lnTo>
                <a:lnTo>
                  <a:pt x="382" y="1521"/>
                </a:lnTo>
                <a:lnTo>
                  <a:pt x="385" y="1522"/>
                </a:lnTo>
                <a:lnTo>
                  <a:pt x="387" y="1524"/>
                </a:lnTo>
                <a:lnTo>
                  <a:pt x="388" y="1526"/>
                </a:lnTo>
                <a:lnTo>
                  <a:pt x="389" y="1528"/>
                </a:lnTo>
                <a:lnTo>
                  <a:pt x="390" y="1531"/>
                </a:lnTo>
                <a:lnTo>
                  <a:pt x="391" y="1533"/>
                </a:lnTo>
                <a:lnTo>
                  <a:pt x="390" y="1536"/>
                </a:lnTo>
                <a:lnTo>
                  <a:pt x="390" y="1538"/>
                </a:lnTo>
                <a:lnTo>
                  <a:pt x="388" y="1541"/>
                </a:lnTo>
                <a:lnTo>
                  <a:pt x="386" y="1544"/>
                </a:lnTo>
                <a:lnTo>
                  <a:pt x="383" y="1545"/>
                </a:lnTo>
                <a:lnTo>
                  <a:pt x="380" y="1546"/>
                </a:lnTo>
                <a:lnTo>
                  <a:pt x="376" y="1546"/>
                </a:lnTo>
                <a:lnTo>
                  <a:pt x="372" y="1545"/>
                </a:lnTo>
                <a:lnTo>
                  <a:pt x="370" y="1544"/>
                </a:lnTo>
                <a:lnTo>
                  <a:pt x="368" y="1543"/>
                </a:lnTo>
                <a:lnTo>
                  <a:pt x="366" y="1541"/>
                </a:lnTo>
                <a:lnTo>
                  <a:pt x="365" y="1538"/>
                </a:lnTo>
                <a:lnTo>
                  <a:pt x="365" y="1536"/>
                </a:lnTo>
                <a:lnTo>
                  <a:pt x="364" y="1533"/>
                </a:lnTo>
                <a:lnTo>
                  <a:pt x="364" y="1531"/>
                </a:lnTo>
                <a:lnTo>
                  <a:pt x="365" y="1528"/>
                </a:lnTo>
                <a:lnTo>
                  <a:pt x="367" y="1525"/>
                </a:lnTo>
                <a:lnTo>
                  <a:pt x="369" y="1523"/>
                </a:lnTo>
                <a:lnTo>
                  <a:pt x="372" y="1521"/>
                </a:lnTo>
                <a:lnTo>
                  <a:pt x="375" y="1520"/>
                </a:lnTo>
                <a:close/>
                <a:moveTo>
                  <a:pt x="401" y="1459"/>
                </a:moveTo>
                <a:lnTo>
                  <a:pt x="405" y="1459"/>
                </a:lnTo>
                <a:lnTo>
                  <a:pt x="408" y="1460"/>
                </a:lnTo>
                <a:lnTo>
                  <a:pt x="411" y="1462"/>
                </a:lnTo>
                <a:lnTo>
                  <a:pt x="413" y="1463"/>
                </a:lnTo>
                <a:lnTo>
                  <a:pt x="414" y="1465"/>
                </a:lnTo>
                <a:lnTo>
                  <a:pt x="415" y="1468"/>
                </a:lnTo>
                <a:lnTo>
                  <a:pt x="416" y="1470"/>
                </a:lnTo>
                <a:lnTo>
                  <a:pt x="416" y="1472"/>
                </a:lnTo>
                <a:lnTo>
                  <a:pt x="416" y="1475"/>
                </a:lnTo>
                <a:lnTo>
                  <a:pt x="415" y="1478"/>
                </a:lnTo>
                <a:lnTo>
                  <a:pt x="413" y="1480"/>
                </a:lnTo>
                <a:lnTo>
                  <a:pt x="411" y="1483"/>
                </a:lnTo>
                <a:lnTo>
                  <a:pt x="408" y="1484"/>
                </a:lnTo>
                <a:lnTo>
                  <a:pt x="405" y="1485"/>
                </a:lnTo>
                <a:lnTo>
                  <a:pt x="402" y="1485"/>
                </a:lnTo>
                <a:lnTo>
                  <a:pt x="398" y="1484"/>
                </a:lnTo>
                <a:lnTo>
                  <a:pt x="396" y="1483"/>
                </a:lnTo>
                <a:lnTo>
                  <a:pt x="394" y="1481"/>
                </a:lnTo>
                <a:lnTo>
                  <a:pt x="392" y="1479"/>
                </a:lnTo>
                <a:lnTo>
                  <a:pt x="391" y="1477"/>
                </a:lnTo>
                <a:lnTo>
                  <a:pt x="390" y="1475"/>
                </a:lnTo>
                <a:lnTo>
                  <a:pt x="390" y="1472"/>
                </a:lnTo>
                <a:lnTo>
                  <a:pt x="390" y="1470"/>
                </a:lnTo>
                <a:lnTo>
                  <a:pt x="391" y="1467"/>
                </a:lnTo>
                <a:lnTo>
                  <a:pt x="393" y="1464"/>
                </a:lnTo>
                <a:lnTo>
                  <a:pt x="395" y="1462"/>
                </a:lnTo>
                <a:lnTo>
                  <a:pt x="398" y="1460"/>
                </a:lnTo>
                <a:lnTo>
                  <a:pt x="401" y="1459"/>
                </a:lnTo>
                <a:close/>
                <a:moveTo>
                  <a:pt x="428" y="1399"/>
                </a:moveTo>
                <a:lnTo>
                  <a:pt x="432" y="1399"/>
                </a:lnTo>
                <a:lnTo>
                  <a:pt x="435" y="1400"/>
                </a:lnTo>
                <a:lnTo>
                  <a:pt x="438" y="1401"/>
                </a:lnTo>
                <a:lnTo>
                  <a:pt x="440" y="1403"/>
                </a:lnTo>
                <a:lnTo>
                  <a:pt x="441" y="1405"/>
                </a:lnTo>
                <a:lnTo>
                  <a:pt x="442" y="1407"/>
                </a:lnTo>
                <a:lnTo>
                  <a:pt x="443" y="1410"/>
                </a:lnTo>
                <a:lnTo>
                  <a:pt x="443" y="1412"/>
                </a:lnTo>
                <a:lnTo>
                  <a:pt x="443" y="1415"/>
                </a:lnTo>
                <a:lnTo>
                  <a:pt x="442" y="1417"/>
                </a:lnTo>
                <a:lnTo>
                  <a:pt x="440" y="1420"/>
                </a:lnTo>
                <a:lnTo>
                  <a:pt x="438" y="1422"/>
                </a:lnTo>
                <a:lnTo>
                  <a:pt x="437" y="1423"/>
                </a:lnTo>
                <a:lnTo>
                  <a:pt x="435" y="1424"/>
                </a:lnTo>
                <a:lnTo>
                  <a:pt x="432" y="1425"/>
                </a:lnTo>
                <a:lnTo>
                  <a:pt x="428" y="1425"/>
                </a:lnTo>
                <a:lnTo>
                  <a:pt x="425" y="1424"/>
                </a:lnTo>
                <a:lnTo>
                  <a:pt x="422" y="1422"/>
                </a:lnTo>
                <a:lnTo>
                  <a:pt x="420" y="1421"/>
                </a:lnTo>
                <a:lnTo>
                  <a:pt x="419" y="1419"/>
                </a:lnTo>
                <a:lnTo>
                  <a:pt x="418" y="1416"/>
                </a:lnTo>
                <a:lnTo>
                  <a:pt x="417" y="1414"/>
                </a:lnTo>
                <a:lnTo>
                  <a:pt x="417" y="1412"/>
                </a:lnTo>
                <a:lnTo>
                  <a:pt x="417" y="1409"/>
                </a:lnTo>
                <a:lnTo>
                  <a:pt x="418" y="1406"/>
                </a:lnTo>
                <a:lnTo>
                  <a:pt x="420" y="1404"/>
                </a:lnTo>
                <a:lnTo>
                  <a:pt x="422" y="1401"/>
                </a:lnTo>
                <a:lnTo>
                  <a:pt x="423" y="1401"/>
                </a:lnTo>
                <a:lnTo>
                  <a:pt x="425" y="1400"/>
                </a:lnTo>
                <a:lnTo>
                  <a:pt x="428" y="1399"/>
                </a:lnTo>
                <a:close/>
                <a:moveTo>
                  <a:pt x="456" y="1339"/>
                </a:moveTo>
                <a:lnTo>
                  <a:pt x="460" y="1339"/>
                </a:lnTo>
                <a:lnTo>
                  <a:pt x="462" y="1339"/>
                </a:lnTo>
                <a:lnTo>
                  <a:pt x="464" y="1340"/>
                </a:lnTo>
                <a:lnTo>
                  <a:pt x="466" y="1342"/>
                </a:lnTo>
                <a:lnTo>
                  <a:pt x="468" y="1343"/>
                </a:lnTo>
                <a:lnTo>
                  <a:pt x="469" y="1345"/>
                </a:lnTo>
                <a:lnTo>
                  <a:pt x="470" y="1348"/>
                </a:lnTo>
                <a:lnTo>
                  <a:pt x="471" y="1350"/>
                </a:lnTo>
                <a:lnTo>
                  <a:pt x="471" y="1353"/>
                </a:lnTo>
                <a:lnTo>
                  <a:pt x="471" y="1355"/>
                </a:lnTo>
                <a:lnTo>
                  <a:pt x="470" y="1358"/>
                </a:lnTo>
                <a:lnTo>
                  <a:pt x="468" y="1360"/>
                </a:lnTo>
                <a:lnTo>
                  <a:pt x="466" y="1362"/>
                </a:lnTo>
                <a:lnTo>
                  <a:pt x="463" y="1364"/>
                </a:lnTo>
                <a:lnTo>
                  <a:pt x="460" y="1365"/>
                </a:lnTo>
                <a:lnTo>
                  <a:pt x="456" y="1365"/>
                </a:lnTo>
                <a:lnTo>
                  <a:pt x="454" y="1365"/>
                </a:lnTo>
                <a:lnTo>
                  <a:pt x="452" y="1364"/>
                </a:lnTo>
                <a:lnTo>
                  <a:pt x="450" y="1362"/>
                </a:lnTo>
                <a:lnTo>
                  <a:pt x="448" y="1361"/>
                </a:lnTo>
                <a:lnTo>
                  <a:pt x="447" y="1359"/>
                </a:lnTo>
                <a:lnTo>
                  <a:pt x="446" y="1356"/>
                </a:lnTo>
                <a:lnTo>
                  <a:pt x="445" y="1354"/>
                </a:lnTo>
                <a:lnTo>
                  <a:pt x="445" y="1351"/>
                </a:lnTo>
                <a:lnTo>
                  <a:pt x="445" y="1349"/>
                </a:lnTo>
                <a:lnTo>
                  <a:pt x="446" y="1346"/>
                </a:lnTo>
                <a:lnTo>
                  <a:pt x="448" y="1344"/>
                </a:lnTo>
                <a:lnTo>
                  <a:pt x="450" y="1341"/>
                </a:lnTo>
                <a:lnTo>
                  <a:pt x="453" y="1340"/>
                </a:lnTo>
                <a:lnTo>
                  <a:pt x="456" y="1339"/>
                </a:lnTo>
                <a:close/>
                <a:moveTo>
                  <a:pt x="485" y="1280"/>
                </a:moveTo>
                <a:lnTo>
                  <a:pt x="489" y="1280"/>
                </a:lnTo>
                <a:lnTo>
                  <a:pt x="491" y="1280"/>
                </a:lnTo>
                <a:lnTo>
                  <a:pt x="493" y="1281"/>
                </a:lnTo>
                <a:lnTo>
                  <a:pt x="496" y="1282"/>
                </a:lnTo>
                <a:lnTo>
                  <a:pt x="497" y="1284"/>
                </a:lnTo>
                <a:lnTo>
                  <a:pt x="499" y="1286"/>
                </a:lnTo>
                <a:lnTo>
                  <a:pt x="500" y="1289"/>
                </a:lnTo>
                <a:lnTo>
                  <a:pt x="500" y="1291"/>
                </a:lnTo>
                <a:lnTo>
                  <a:pt x="500" y="1294"/>
                </a:lnTo>
                <a:lnTo>
                  <a:pt x="500" y="1296"/>
                </a:lnTo>
                <a:lnTo>
                  <a:pt x="499" y="1299"/>
                </a:lnTo>
                <a:lnTo>
                  <a:pt x="497" y="1301"/>
                </a:lnTo>
                <a:lnTo>
                  <a:pt x="495" y="1303"/>
                </a:lnTo>
                <a:lnTo>
                  <a:pt x="492" y="1305"/>
                </a:lnTo>
                <a:lnTo>
                  <a:pt x="490" y="1306"/>
                </a:lnTo>
                <a:lnTo>
                  <a:pt x="485" y="1306"/>
                </a:lnTo>
                <a:lnTo>
                  <a:pt x="483" y="1305"/>
                </a:lnTo>
                <a:lnTo>
                  <a:pt x="481" y="1304"/>
                </a:lnTo>
                <a:lnTo>
                  <a:pt x="479" y="1303"/>
                </a:lnTo>
                <a:lnTo>
                  <a:pt x="477" y="1301"/>
                </a:lnTo>
                <a:lnTo>
                  <a:pt x="476" y="1299"/>
                </a:lnTo>
                <a:lnTo>
                  <a:pt x="475" y="1297"/>
                </a:lnTo>
                <a:lnTo>
                  <a:pt x="474" y="1294"/>
                </a:lnTo>
                <a:lnTo>
                  <a:pt x="474" y="1292"/>
                </a:lnTo>
                <a:lnTo>
                  <a:pt x="475" y="1289"/>
                </a:lnTo>
                <a:lnTo>
                  <a:pt x="476" y="1287"/>
                </a:lnTo>
                <a:lnTo>
                  <a:pt x="477" y="1284"/>
                </a:lnTo>
                <a:lnTo>
                  <a:pt x="480" y="1282"/>
                </a:lnTo>
                <a:lnTo>
                  <a:pt x="482" y="1281"/>
                </a:lnTo>
                <a:lnTo>
                  <a:pt x="485" y="1280"/>
                </a:lnTo>
                <a:close/>
                <a:moveTo>
                  <a:pt x="516" y="1221"/>
                </a:moveTo>
                <a:lnTo>
                  <a:pt x="520" y="1221"/>
                </a:lnTo>
                <a:lnTo>
                  <a:pt x="524" y="1222"/>
                </a:lnTo>
                <a:lnTo>
                  <a:pt x="526" y="1224"/>
                </a:lnTo>
                <a:lnTo>
                  <a:pt x="528" y="1226"/>
                </a:lnTo>
                <a:lnTo>
                  <a:pt x="529" y="1228"/>
                </a:lnTo>
                <a:lnTo>
                  <a:pt x="530" y="1230"/>
                </a:lnTo>
                <a:lnTo>
                  <a:pt x="531" y="1233"/>
                </a:lnTo>
                <a:lnTo>
                  <a:pt x="531" y="1235"/>
                </a:lnTo>
                <a:lnTo>
                  <a:pt x="530" y="1238"/>
                </a:lnTo>
                <a:lnTo>
                  <a:pt x="529" y="1240"/>
                </a:lnTo>
                <a:lnTo>
                  <a:pt x="528" y="1243"/>
                </a:lnTo>
                <a:lnTo>
                  <a:pt x="525" y="1245"/>
                </a:lnTo>
                <a:lnTo>
                  <a:pt x="523" y="1246"/>
                </a:lnTo>
                <a:lnTo>
                  <a:pt x="520" y="1247"/>
                </a:lnTo>
                <a:lnTo>
                  <a:pt x="516" y="1247"/>
                </a:lnTo>
                <a:lnTo>
                  <a:pt x="512" y="1246"/>
                </a:lnTo>
                <a:lnTo>
                  <a:pt x="509" y="1244"/>
                </a:lnTo>
                <a:lnTo>
                  <a:pt x="508" y="1242"/>
                </a:lnTo>
                <a:lnTo>
                  <a:pt x="506" y="1240"/>
                </a:lnTo>
                <a:lnTo>
                  <a:pt x="505" y="1238"/>
                </a:lnTo>
                <a:lnTo>
                  <a:pt x="505" y="1235"/>
                </a:lnTo>
                <a:lnTo>
                  <a:pt x="505" y="1233"/>
                </a:lnTo>
                <a:lnTo>
                  <a:pt x="505" y="1230"/>
                </a:lnTo>
                <a:lnTo>
                  <a:pt x="506" y="1228"/>
                </a:lnTo>
                <a:lnTo>
                  <a:pt x="508" y="1225"/>
                </a:lnTo>
                <a:lnTo>
                  <a:pt x="510" y="1223"/>
                </a:lnTo>
                <a:lnTo>
                  <a:pt x="513" y="1222"/>
                </a:lnTo>
                <a:lnTo>
                  <a:pt x="516" y="1221"/>
                </a:lnTo>
                <a:close/>
                <a:moveTo>
                  <a:pt x="547" y="1163"/>
                </a:moveTo>
                <a:lnTo>
                  <a:pt x="552" y="1163"/>
                </a:lnTo>
                <a:lnTo>
                  <a:pt x="554" y="1164"/>
                </a:lnTo>
                <a:lnTo>
                  <a:pt x="556" y="1164"/>
                </a:lnTo>
                <a:lnTo>
                  <a:pt x="558" y="1166"/>
                </a:lnTo>
                <a:lnTo>
                  <a:pt x="560" y="1168"/>
                </a:lnTo>
                <a:lnTo>
                  <a:pt x="561" y="1170"/>
                </a:lnTo>
                <a:lnTo>
                  <a:pt x="562" y="1172"/>
                </a:lnTo>
                <a:lnTo>
                  <a:pt x="563" y="1175"/>
                </a:lnTo>
                <a:lnTo>
                  <a:pt x="563" y="1177"/>
                </a:lnTo>
                <a:lnTo>
                  <a:pt x="562" y="1180"/>
                </a:lnTo>
                <a:lnTo>
                  <a:pt x="561" y="1182"/>
                </a:lnTo>
                <a:lnTo>
                  <a:pt x="559" y="1185"/>
                </a:lnTo>
                <a:lnTo>
                  <a:pt x="557" y="1187"/>
                </a:lnTo>
                <a:lnTo>
                  <a:pt x="555" y="1188"/>
                </a:lnTo>
                <a:lnTo>
                  <a:pt x="552" y="1189"/>
                </a:lnTo>
                <a:lnTo>
                  <a:pt x="547" y="1189"/>
                </a:lnTo>
                <a:lnTo>
                  <a:pt x="545" y="1188"/>
                </a:lnTo>
                <a:lnTo>
                  <a:pt x="543" y="1187"/>
                </a:lnTo>
                <a:lnTo>
                  <a:pt x="541" y="1186"/>
                </a:lnTo>
                <a:lnTo>
                  <a:pt x="539" y="1184"/>
                </a:lnTo>
                <a:lnTo>
                  <a:pt x="538" y="1182"/>
                </a:lnTo>
                <a:lnTo>
                  <a:pt x="537" y="1179"/>
                </a:lnTo>
                <a:lnTo>
                  <a:pt x="537" y="1177"/>
                </a:lnTo>
                <a:lnTo>
                  <a:pt x="537" y="1174"/>
                </a:lnTo>
                <a:lnTo>
                  <a:pt x="537" y="1172"/>
                </a:lnTo>
                <a:lnTo>
                  <a:pt x="538" y="1169"/>
                </a:lnTo>
                <a:lnTo>
                  <a:pt x="540" y="1167"/>
                </a:lnTo>
                <a:lnTo>
                  <a:pt x="542" y="1165"/>
                </a:lnTo>
                <a:lnTo>
                  <a:pt x="545" y="1164"/>
                </a:lnTo>
                <a:lnTo>
                  <a:pt x="547" y="1163"/>
                </a:lnTo>
                <a:close/>
                <a:moveTo>
                  <a:pt x="580" y="1105"/>
                </a:moveTo>
                <a:lnTo>
                  <a:pt x="585" y="1105"/>
                </a:lnTo>
                <a:lnTo>
                  <a:pt x="587" y="1105"/>
                </a:lnTo>
                <a:lnTo>
                  <a:pt x="589" y="1106"/>
                </a:lnTo>
                <a:lnTo>
                  <a:pt x="592" y="1108"/>
                </a:lnTo>
                <a:lnTo>
                  <a:pt x="593" y="1110"/>
                </a:lnTo>
                <a:lnTo>
                  <a:pt x="595" y="1112"/>
                </a:lnTo>
                <a:lnTo>
                  <a:pt x="595" y="1114"/>
                </a:lnTo>
                <a:lnTo>
                  <a:pt x="596" y="1117"/>
                </a:lnTo>
                <a:lnTo>
                  <a:pt x="596" y="1119"/>
                </a:lnTo>
                <a:lnTo>
                  <a:pt x="595" y="1122"/>
                </a:lnTo>
                <a:lnTo>
                  <a:pt x="594" y="1124"/>
                </a:lnTo>
                <a:lnTo>
                  <a:pt x="593" y="1126"/>
                </a:lnTo>
                <a:lnTo>
                  <a:pt x="592" y="1127"/>
                </a:lnTo>
                <a:lnTo>
                  <a:pt x="590" y="1128"/>
                </a:lnTo>
                <a:lnTo>
                  <a:pt x="588" y="1130"/>
                </a:lnTo>
                <a:lnTo>
                  <a:pt x="585" y="1131"/>
                </a:lnTo>
                <a:lnTo>
                  <a:pt x="580" y="1131"/>
                </a:lnTo>
                <a:lnTo>
                  <a:pt x="578" y="1130"/>
                </a:lnTo>
                <a:lnTo>
                  <a:pt x="576" y="1129"/>
                </a:lnTo>
                <a:lnTo>
                  <a:pt x="574" y="1127"/>
                </a:lnTo>
                <a:lnTo>
                  <a:pt x="572" y="1125"/>
                </a:lnTo>
                <a:lnTo>
                  <a:pt x="571" y="1123"/>
                </a:lnTo>
                <a:lnTo>
                  <a:pt x="570" y="1121"/>
                </a:lnTo>
                <a:lnTo>
                  <a:pt x="570" y="1118"/>
                </a:lnTo>
                <a:lnTo>
                  <a:pt x="570" y="1116"/>
                </a:lnTo>
                <a:lnTo>
                  <a:pt x="570" y="1113"/>
                </a:lnTo>
                <a:lnTo>
                  <a:pt x="571" y="1111"/>
                </a:lnTo>
                <a:lnTo>
                  <a:pt x="572" y="1110"/>
                </a:lnTo>
                <a:lnTo>
                  <a:pt x="573" y="1109"/>
                </a:lnTo>
                <a:lnTo>
                  <a:pt x="575" y="1107"/>
                </a:lnTo>
                <a:lnTo>
                  <a:pt x="578" y="1105"/>
                </a:lnTo>
                <a:lnTo>
                  <a:pt x="580" y="1105"/>
                </a:lnTo>
                <a:close/>
                <a:moveTo>
                  <a:pt x="615" y="1048"/>
                </a:moveTo>
                <a:lnTo>
                  <a:pt x="620" y="1048"/>
                </a:lnTo>
                <a:lnTo>
                  <a:pt x="622" y="1049"/>
                </a:lnTo>
                <a:lnTo>
                  <a:pt x="624" y="1050"/>
                </a:lnTo>
                <a:lnTo>
                  <a:pt x="626" y="1052"/>
                </a:lnTo>
                <a:lnTo>
                  <a:pt x="628" y="1054"/>
                </a:lnTo>
                <a:lnTo>
                  <a:pt x="629" y="1056"/>
                </a:lnTo>
                <a:lnTo>
                  <a:pt x="630" y="1058"/>
                </a:lnTo>
                <a:lnTo>
                  <a:pt x="630" y="1061"/>
                </a:lnTo>
                <a:lnTo>
                  <a:pt x="630" y="1063"/>
                </a:lnTo>
                <a:lnTo>
                  <a:pt x="629" y="1066"/>
                </a:lnTo>
                <a:lnTo>
                  <a:pt x="628" y="1068"/>
                </a:lnTo>
                <a:lnTo>
                  <a:pt x="627" y="1070"/>
                </a:lnTo>
                <a:lnTo>
                  <a:pt x="624" y="1072"/>
                </a:lnTo>
                <a:lnTo>
                  <a:pt x="622" y="1073"/>
                </a:lnTo>
                <a:lnTo>
                  <a:pt x="619" y="1074"/>
                </a:lnTo>
                <a:lnTo>
                  <a:pt x="615" y="1074"/>
                </a:lnTo>
                <a:lnTo>
                  <a:pt x="612" y="1073"/>
                </a:lnTo>
                <a:lnTo>
                  <a:pt x="610" y="1072"/>
                </a:lnTo>
                <a:lnTo>
                  <a:pt x="608" y="1071"/>
                </a:lnTo>
                <a:lnTo>
                  <a:pt x="606" y="1069"/>
                </a:lnTo>
                <a:lnTo>
                  <a:pt x="605" y="1066"/>
                </a:lnTo>
                <a:lnTo>
                  <a:pt x="604" y="1064"/>
                </a:lnTo>
                <a:lnTo>
                  <a:pt x="604" y="1062"/>
                </a:lnTo>
                <a:lnTo>
                  <a:pt x="604" y="1059"/>
                </a:lnTo>
                <a:lnTo>
                  <a:pt x="605" y="1057"/>
                </a:lnTo>
                <a:lnTo>
                  <a:pt x="606" y="1054"/>
                </a:lnTo>
                <a:lnTo>
                  <a:pt x="608" y="1052"/>
                </a:lnTo>
                <a:lnTo>
                  <a:pt x="610" y="1050"/>
                </a:lnTo>
                <a:lnTo>
                  <a:pt x="612" y="1049"/>
                </a:lnTo>
                <a:lnTo>
                  <a:pt x="615" y="1048"/>
                </a:lnTo>
                <a:close/>
                <a:moveTo>
                  <a:pt x="651" y="993"/>
                </a:moveTo>
                <a:lnTo>
                  <a:pt x="656" y="993"/>
                </a:lnTo>
                <a:lnTo>
                  <a:pt x="658" y="993"/>
                </a:lnTo>
                <a:lnTo>
                  <a:pt x="660" y="995"/>
                </a:lnTo>
                <a:lnTo>
                  <a:pt x="662" y="996"/>
                </a:lnTo>
                <a:lnTo>
                  <a:pt x="664" y="998"/>
                </a:lnTo>
                <a:lnTo>
                  <a:pt x="665" y="1000"/>
                </a:lnTo>
                <a:lnTo>
                  <a:pt x="666" y="1003"/>
                </a:lnTo>
                <a:lnTo>
                  <a:pt x="666" y="1008"/>
                </a:lnTo>
                <a:lnTo>
                  <a:pt x="665" y="1010"/>
                </a:lnTo>
                <a:lnTo>
                  <a:pt x="664" y="1013"/>
                </a:lnTo>
                <a:lnTo>
                  <a:pt x="662" y="1015"/>
                </a:lnTo>
                <a:lnTo>
                  <a:pt x="660" y="1017"/>
                </a:lnTo>
                <a:lnTo>
                  <a:pt x="658" y="1018"/>
                </a:lnTo>
                <a:lnTo>
                  <a:pt x="655" y="1018"/>
                </a:lnTo>
                <a:lnTo>
                  <a:pt x="650" y="1018"/>
                </a:lnTo>
                <a:lnTo>
                  <a:pt x="648" y="1018"/>
                </a:lnTo>
                <a:lnTo>
                  <a:pt x="646" y="1016"/>
                </a:lnTo>
                <a:lnTo>
                  <a:pt x="644" y="1015"/>
                </a:lnTo>
                <a:lnTo>
                  <a:pt x="642" y="1013"/>
                </a:lnTo>
                <a:lnTo>
                  <a:pt x="641" y="1011"/>
                </a:lnTo>
                <a:lnTo>
                  <a:pt x="640" y="1008"/>
                </a:lnTo>
                <a:lnTo>
                  <a:pt x="640" y="1003"/>
                </a:lnTo>
                <a:lnTo>
                  <a:pt x="641" y="1001"/>
                </a:lnTo>
                <a:lnTo>
                  <a:pt x="642" y="998"/>
                </a:lnTo>
                <a:lnTo>
                  <a:pt x="644" y="996"/>
                </a:lnTo>
                <a:lnTo>
                  <a:pt x="646" y="994"/>
                </a:lnTo>
                <a:lnTo>
                  <a:pt x="648" y="993"/>
                </a:lnTo>
                <a:lnTo>
                  <a:pt x="651" y="993"/>
                </a:lnTo>
                <a:close/>
                <a:moveTo>
                  <a:pt x="688" y="938"/>
                </a:moveTo>
                <a:lnTo>
                  <a:pt x="693" y="938"/>
                </a:lnTo>
                <a:lnTo>
                  <a:pt x="695" y="939"/>
                </a:lnTo>
                <a:lnTo>
                  <a:pt x="698" y="940"/>
                </a:lnTo>
                <a:lnTo>
                  <a:pt x="700" y="942"/>
                </a:lnTo>
                <a:lnTo>
                  <a:pt x="701" y="944"/>
                </a:lnTo>
                <a:lnTo>
                  <a:pt x="702" y="946"/>
                </a:lnTo>
                <a:lnTo>
                  <a:pt x="703" y="949"/>
                </a:lnTo>
                <a:lnTo>
                  <a:pt x="703" y="954"/>
                </a:lnTo>
                <a:lnTo>
                  <a:pt x="702" y="956"/>
                </a:lnTo>
                <a:lnTo>
                  <a:pt x="701" y="958"/>
                </a:lnTo>
                <a:lnTo>
                  <a:pt x="699" y="960"/>
                </a:lnTo>
                <a:lnTo>
                  <a:pt x="697" y="962"/>
                </a:lnTo>
                <a:lnTo>
                  <a:pt x="695" y="963"/>
                </a:lnTo>
                <a:lnTo>
                  <a:pt x="692" y="964"/>
                </a:lnTo>
                <a:lnTo>
                  <a:pt x="687" y="964"/>
                </a:lnTo>
                <a:lnTo>
                  <a:pt x="685" y="963"/>
                </a:lnTo>
                <a:lnTo>
                  <a:pt x="683" y="962"/>
                </a:lnTo>
                <a:lnTo>
                  <a:pt x="681" y="960"/>
                </a:lnTo>
                <a:lnTo>
                  <a:pt x="679" y="958"/>
                </a:lnTo>
                <a:lnTo>
                  <a:pt x="678" y="956"/>
                </a:lnTo>
                <a:lnTo>
                  <a:pt x="677" y="953"/>
                </a:lnTo>
                <a:lnTo>
                  <a:pt x="677" y="948"/>
                </a:lnTo>
                <a:lnTo>
                  <a:pt x="678" y="946"/>
                </a:lnTo>
                <a:lnTo>
                  <a:pt x="679" y="943"/>
                </a:lnTo>
                <a:lnTo>
                  <a:pt x="681" y="941"/>
                </a:lnTo>
                <a:lnTo>
                  <a:pt x="683" y="940"/>
                </a:lnTo>
                <a:lnTo>
                  <a:pt x="685" y="939"/>
                </a:lnTo>
                <a:lnTo>
                  <a:pt x="688" y="938"/>
                </a:lnTo>
                <a:close/>
                <a:moveTo>
                  <a:pt x="2925" y="500"/>
                </a:moveTo>
                <a:lnTo>
                  <a:pt x="2927" y="499"/>
                </a:lnTo>
                <a:lnTo>
                  <a:pt x="2930" y="500"/>
                </a:lnTo>
                <a:lnTo>
                  <a:pt x="2933" y="501"/>
                </a:lnTo>
                <a:lnTo>
                  <a:pt x="2935" y="502"/>
                </a:lnTo>
                <a:lnTo>
                  <a:pt x="2937" y="504"/>
                </a:lnTo>
                <a:lnTo>
                  <a:pt x="2938" y="506"/>
                </a:lnTo>
                <a:lnTo>
                  <a:pt x="2939" y="508"/>
                </a:lnTo>
                <a:lnTo>
                  <a:pt x="2940" y="510"/>
                </a:lnTo>
                <a:lnTo>
                  <a:pt x="2940" y="513"/>
                </a:lnTo>
                <a:lnTo>
                  <a:pt x="2940" y="516"/>
                </a:lnTo>
                <a:lnTo>
                  <a:pt x="2938" y="519"/>
                </a:lnTo>
                <a:lnTo>
                  <a:pt x="2936" y="522"/>
                </a:lnTo>
                <a:lnTo>
                  <a:pt x="2933" y="524"/>
                </a:lnTo>
                <a:lnTo>
                  <a:pt x="2929" y="526"/>
                </a:lnTo>
                <a:lnTo>
                  <a:pt x="2927" y="526"/>
                </a:lnTo>
                <a:lnTo>
                  <a:pt x="2924" y="525"/>
                </a:lnTo>
                <a:lnTo>
                  <a:pt x="2921" y="524"/>
                </a:lnTo>
                <a:lnTo>
                  <a:pt x="2919" y="523"/>
                </a:lnTo>
                <a:lnTo>
                  <a:pt x="2917" y="521"/>
                </a:lnTo>
                <a:lnTo>
                  <a:pt x="2916" y="519"/>
                </a:lnTo>
                <a:lnTo>
                  <a:pt x="2915" y="517"/>
                </a:lnTo>
                <a:lnTo>
                  <a:pt x="2914" y="515"/>
                </a:lnTo>
                <a:lnTo>
                  <a:pt x="2914" y="512"/>
                </a:lnTo>
                <a:lnTo>
                  <a:pt x="2914" y="510"/>
                </a:lnTo>
                <a:lnTo>
                  <a:pt x="2916" y="506"/>
                </a:lnTo>
                <a:lnTo>
                  <a:pt x="2918" y="503"/>
                </a:lnTo>
                <a:lnTo>
                  <a:pt x="2921" y="501"/>
                </a:lnTo>
                <a:lnTo>
                  <a:pt x="2925" y="500"/>
                </a:lnTo>
                <a:close/>
                <a:moveTo>
                  <a:pt x="727" y="884"/>
                </a:moveTo>
                <a:lnTo>
                  <a:pt x="729" y="884"/>
                </a:lnTo>
                <a:lnTo>
                  <a:pt x="732" y="884"/>
                </a:lnTo>
                <a:lnTo>
                  <a:pt x="734" y="885"/>
                </a:lnTo>
                <a:lnTo>
                  <a:pt x="738" y="887"/>
                </a:lnTo>
                <a:lnTo>
                  <a:pt x="740" y="888"/>
                </a:lnTo>
                <a:lnTo>
                  <a:pt x="741" y="890"/>
                </a:lnTo>
                <a:lnTo>
                  <a:pt x="742" y="893"/>
                </a:lnTo>
                <a:lnTo>
                  <a:pt x="743" y="895"/>
                </a:lnTo>
                <a:lnTo>
                  <a:pt x="743" y="898"/>
                </a:lnTo>
                <a:lnTo>
                  <a:pt x="743" y="900"/>
                </a:lnTo>
                <a:lnTo>
                  <a:pt x="742" y="903"/>
                </a:lnTo>
                <a:lnTo>
                  <a:pt x="740" y="905"/>
                </a:lnTo>
                <a:lnTo>
                  <a:pt x="739" y="907"/>
                </a:lnTo>
                <a:lnTo>
                  <a:pt x="737" y="908"/>
                </a:lnTo>
                <a:lnTo>
                  <a:pt x="734" y="909"/>
                </a:lnTo>
                <a:lnTo>
                  <a:pt x="731" y="910"/>
                </a:lnTo>
                <a:lnTo>
                  <a:pt x="729" y="910"/>
                </a:lnTo>
                <a:lnTo>
                  <a:pt x="726" y="910"/>
                </a:lnTo>
                <a:lnTo>
                  <a:pt x="723" y="909"/>
                </a:lnTo>
                <a:lnTo>
                  <a:pt x="721" y="908"/>
                </a:lnTo>
                <a:lnTo>
                  <a:pt x="719" y="906"/>
                </a:lnTo>
                <a:lnTo>
                  <a:pt x="718" y="904"/>
                </a:lnTo>
                <a:lnTo>
                  <a:pt x="717" y="902"/>
                </a:lnTo>
                <a:lnTo>
                  <a:pt x="716" y="899"/>
                </a:lnTo>
                <a:lnTo>
                  <a:pt x="716" y="897"/>
                </a:lnTo>
                <a:lnTo>
                  <a:pt x="716" y="894"/>
                </a:lnTo>
                <a:lnTo>
                  <a:pt x="717" y="892"/>
                </a:lnTo>
                <a:lnTo>
                  <a:pt x="718" y="889"/>
                </a:lnTo>
                <a:lnTo>
                  <a:pt x="720" y="887"/>
                </a:lnTo>
                <a:lnTo>
                  <a:pt x="722" y="886"/>
                </a:lnTo>
                <a:lnTo>
                  <a:pt x="724" y="885"/>
                </a:lnTo>
                <a:lnTo>
                  <a:pt x="727" y="884"/>
                </a:lnTo>
                <a:close/>
                <a:moveTo>
                  <a:pt x="2860" y="484"/>
                </a:moveTo>
                <a:lnTo>
                  <a:pt x="2863" y="484"/>
                </a:lnTo>
                <a:lnTo>
                  <a:pt x="2866" y="484"/>
                </a:lnTo>
                <a:lnTo>
                  <a:pt x="2868" y="485"/>
                </a:lnTo>
                <a:lnTo>
                  <a:pt x="2871" y="487"/>
                </a:lnTo>
                <a:lnTo>
                  <a:pt x="2872" y="488"/>
                </a:lnTo>
                <a:lnTo>
                  <a:pt x="2874" y="490"/>
                </a:lnTo>
                <a:lnTo>
                  <a:pt x="2875" y="493"/>
                </a:lnTo>
                <a:lnTo>
                  <a:pt x="2876" y="495"/>
                </a:lnTo>
                <a:lnTo>
                  <a:pt x="2876" y="498"/>
                </a:lnTo>
                <a:lnTo>
                  <a:pt x="2875" y="500"/>
                </a:lnTo>
                <a:lnTo>
                  <a:pt x="2875" y="502"/>
                </a:lnTo>
                <a:lnTo>
                  <a:pt x="2874" y="504"/>
                </a:lnTo>
                <a:lnTo>
                  <a:pt x="2872" y="507"/>
                </a:lnTo>
                <a:lnTo>
                  <a:pt x="2869" y="509"/>
                </a:lnTo>
                <a:lnTo>
                  <a:pt x="2865" y="510"/>
                </a:lnTo>
                <a:lnTo>
                  <a:pt x="2862" y="510"/>
                </a:lnTo>
                <a:lnTo>
                  <a:pt x="2860" y="510"/>
                </a:lnTo>
                <a:lnTo>
                  <a:pt x="2857" y="509"/>
                </a:lnTo>
                <a:lnTo>
                  <a:pt x="2855" y="508"/>
                </a:lnTo>
                <a:lnTo>
                  <a:pt x="2853" y="506"/>
                </a:lnTo>
                <a:lnTo>
                  <a:pt x="2852" y="504"/>
                </a:lnTo>
                <a:lnTo>
                  <a:pt x="2850" y="502"/>
                </a:lnTo>
                <a:lnTo>
                  <a:pt x="2850" y="499"/>
                </a:lnTo>
                <a:lnTo>
                  <a:pt x="2850" y="497"/>
                </a:lnTo>
                <a:lnTo>
                  <a:pt x="2850" y="494"/>
                </a:lnTo>
                <a:lnTo>
                  <a:pt x="2851" y="492"/>
                </a:lnTo>
                <a:lnTo>
                  <a:pt x="2851" y="490"/>
                </a:lnTo>
                <a:lnTo>
                  <a:pt x="2854" y="487"/>
                </a:lnTo>
                <a:lnTo>
                  <a:pt x="2857" y="485"/>
                </a:lnTo>
                <a:lnTo>
                  <a:pt x="2860" y="484"/>
                </a:lnTo>
                <a:close/>
                <a:moveTo>
                  <a:pt x="768" y="832"/>
                </a:moveTo>
                <a:lnTo>
                  <a:pt x="770" y="831"/>
                </a:lnTo>
                <a:lnTo>
                  <a:pt x="773" y="832"/>
                </a:lnTo>
                <a:lnTo>
                  <a:pt x="776" y="833"/>
                </a:lnTo>
                <a:lnTo>
                  <a:pt x="778" y="834"/>
                </a:lnTo>
                <a:lnTo>
                  <a:pt x="780" y="836"/>
                </a:lnTo>
                <a:lnTo>
                  <a:pt x="782" y="838"/>
                </a:lnTo>
                <a:lnTo>
                  <a:pt x="783" y="841"/>
                </a:lnTo>
                <a:lnTo>
                  <a:pt x="783" y="843"/>
                </a:lnTo>
                <a:lnTo>
                  <a:pt x="783" y="846"/>
                </a:lnTo>
                <a:lnTo>
                  <a:pt x="783" y="848"/>
                </a:lnTo>
                <a:lnTo>
                  <a:pt x="782" y="850"/>
                </a:lnTo>
                <a:lnTo>
                  <a:pt x="780" y="853"/>
                </a:lnTo>
                <a:lnTo>
                  <a:pt x="779" y="855"/>
                </a:lnTo>
                <a:lnTo>
                  <a:pt x="777" y="856"/>
                </a:lnTo>
                <a:lnTo>
                  <a:pt x="775" y="857"/>
                </a:lnTo>
                <a:lnTo>
                  <a:pt x="772" y="858"/>
                </a:lnTo>
                <a:lnTo>
                  <a:pt x="770" y="858"/>
                </a:lnTo>
                <a:lnTo>
                  <a:pt x="767" y="857"/>
                </a:lnTo>
                <a:lnTo>
                  <a:pt x="764" y="856"/>
                </a:lnTo>
                <a:lnTo>
                  <a:pt x="762" y="855"/>
                </a:lnTo>
                <a:lnTo>
                  <a:pt x="760" y="853"/>
                </a:lnTo>
                <a:lnTo>
                  <a:pt x="759" y="851"/>
                </a:lnTo>
                <a:lnTo>
                  <a:pt x="758" y="849"/>
                </a:lnTo>
                <a:lnTo>
                  <a:pt x="757" y="846"/>
                </a:lnTo>
                <a:lnTo>
                  <a:pt x="757" y="844"/>
                </a:lnTo>
                <a:lnTo>
                  <a:pt x="757" y="841"/>
                </a:lnTo>
                <a:lnTo>
                  <a:pt x="758" y="839"/>
                </a:lnTo>
                <a:lnTo>
                  <a:pt x="760" y="836"/>
                </a:lnTo>
                <a:lnTo>
                  <a:pt x="761" y="835"/>
                </a:lnTo>
                <a:lnTo>
                  <a:pt x="763" y="833"/>
                </a:lnTo>
                <a:lnTo>
                  <a:pt x="766" y="832"/>
                </a:lnTo>
                <a:lnTo>
                  <a:pt x="768" y="832"/>
                </a:lnTo>
                <a:close/>
                <a:moveTo>
                  <a:pt x="2796" y="468"/>
                </a:moveTo>
                <a:lnTo>
                  <a:pt x="2799" y="468"/>
                </a:lnTo>
                <a:lnTo>
                  <a:pt x="2802" y="469"/>
                </a:lnTo>
                <a:lnTo>
                  <a:pt x="2804" y="469"/>
                </a:lnTo>
                <a:lnTo>
                  <a:pt x="2806" y="471"/>
                </a:lnTo>
                <a:lnTo>
                  <a:pt x="2808" y="473"/>
                </a:lnTo>
                <a:lnTo>
                  <a:pt x="2810" y="475"/>
                </a:lnTo>
                <a:lnTo>
                  <a:pt x="2811" y="477"/>
                </a:lnTo>
                <a:lnTo>
                  <a:pt x="2811" y="479"/>
                </a:lnTo>
                <a:lnTo>
                  <a:pt x="2812" y="482"/>
                </a:lnTo>
                <a:lnTo>
                  <a:pt x="2811" y="484"/>
                </a:lnTo>
                <a:lnTo>
                  <a:pt x="2811" y="486"/>
                </a:lnTo>
                <a:lnTo>
                  <a:pt x="2810" y="488"/>
                </a:lnTo>
                <a:lnTo>
                  <a:pt x="2807" y="491"/>
                </a:lnTo>
                <a:lnTo>
                  <a:pt x="2804" y="493"/>
                </a:lnTo>
                <a:lnTo>
                  <a:pt x="2801" y="494"/>
                </a:lnTo>
                <a:lnTo>
                  <a:pt x="2798" y="494"/>
                </a:lnTo>
                <a:lnTo>
                  <a:pt x="2795" y="494"/>
                </a:lnTo>
                <a:lnTo>
                  <a:pt x="2793" y="493"/>
                </a:lnTo>
                <a:lnTo>
                  <a:pt x="2791" y="492"/>
                </a:lnTo>
                <a:lnTo>
                  <a:pt x="2789" y="490"/>
                </a:lnTo>
                <a:lnTo>
                  <a:pt x="2787" y="488"/>
                </a:lnTo>
                <a:lnTo>
                  <a:pt x="2786" y="486"/>
                </a:lnTo>
                <a:lnTo>
                  <a:pt x="2786" y="483"/>
                </a:lnTo>
                <a:lnTo>
                  <a:pt x="2785" y="481"/>
                </a:lnTo>
                <a:lnTo>
                  <a:pt x="2786" y="478"/>
                </a:lnTo>
                <a:lnTo>
                  <a:pt x="2786" y="476"/>
                </a:lnTo>
                <a:lnTo>
                  <a:pt x="2787" y="475"/>
                </a:lnTo>
                <a:lnTo>
                  <a:pt x="2790" y="472"/>
                </a:lnTo>
                <a:lnTo>
                  <a:pt x="2793" y="470"/>
                </a:lnTo>
                <a:lnTo>
                  <a:pt x="2796" y="468"/>
                </a:lnTo>
                <a:close/>
                <a:moveTo>
                  <a:pt x="2732" y="452"/>
                </a:moveTo>
                <a:lnTo>
                  <a:pt x="2735" y="452"/>
                </a:lnTo>
                <a:lnTo>
                  <a:pt x="2737" y="453"/>
                </a:lnTo>
                <a:lnTo>
                  <a:pt x="2740" y="454"/>
                </a:lnTo>
                <a:lnTo>
                  <a:pt x="2742" y="455"/>
                </a:lnTo>
                <a:lnTo>
                  <a:pt x="2744" y="457"/>
                </a:lnTo>
                <a:lnTo>
                  <a:pt x="2746" y="459"/>
                </a:lnTo>
                <a:lnTo>
                  <a:pt x="2747" y="461"/>
                </a:lnTo>
                <a:lnTo>
                  <a:pt x="2747" y="463"/>
                </a:lnTo>
                <a:lnTo>
                  <a:pt x="2747" y="466"/>
                </a:lnTo>
                <a:lnTo>
                  <a:pt x="2747" y="469"/>
                </a:lnTo>
                <a:lnTo>
                  <a:pt x="2746" y="470"/>
                </a:lnTo>
                <a:lnTo>
                  <a:pt x="2746" y="472"/>
                </a:lnTo>
                <a:lnTo>
                  <a:pt x="2743" y="475"/>
                </a:lnTo>
                <a:lnTo>
                  <a:pt x="2740" y="477"/>
                </a:lnTo>
                <a:lnTo>
                  <a:pt x="2737" y="478"/>
                </a:lnTo>
                <a:lnTo>
                  <a:pt x="2734" y="478"/>
                </a:lnTo>
                <a:lnTo>
                  <a:pt x="2731" y="478"/>
                </a:lnTo>
                <a:lnTo>
                  <a:pt x="2729" y="477"/>
                </a:lnTo>
                <a:lnTo>
                  <a:pt x="2726" y="476"/>
                </a:lnTo>
                <a:lnTo>
                  <a:pt x="2725" y="474"/>
                </a:lnTo>
                <a:lnTo>
                  <a:pt x="2723" y="472"/>
                </a:lnTo>
                <a:lnTo>
                  <a:pt x="2722" y="470"/>
                </a:lnTo>
                <a:lnTo>
                  <a:pt x="2721" y="467"/>
                </a:lnTo>
                <a:lnTo>
                  <a:pt x="2721" y="465"/>
                </a:lnTo>
                <a:lnTo>
                  <a:pt x="2722" y="462"/>
                </a:lnTo>
                <a:lnTo>
                  <a:pt x="2722" y="460"/>
                </a:lnTo>
                <a:lnTo>
                  <a:pt x="2723" y="459"/>
                </a:lnTo>
                <a:lnTo>
                  <a:pt x="2725" y="456"/>
                </a:lnTo>
                <a:lnTo>
                  <a:pt x="2728" y="454"/>
                </a:lnTo>
                <a:lnTo>
                  <a:pt x="2732" y="452"/>
                </a:lnTo>
                <a:close/>
                <a:moveTo>
                  <a:pt x="810" y="780"/>
                </a:moveTo>
                <a:lnTo>
                  <a:pt x="812" y="780"/>
                </a:lnTo>
                <a:lnTo>
                  <a:pt x="815" y="781"/>
                </a:lnTo>
                <a:lnTo>
                  <a:pt x="818" y="782"/>
                </a:lnTo>
                <a:lnTo>
                  <a:pt x="820" y="783"/>
                </a:lnTo>
                <a:lnTo>
                  <a:pt x="822" y="785"/>
                </a:lnTo>
                <a:lnTo>
                  <a:pt x="823" y="787"/>
                </a:lnTo>
                <a:lnTo>
                  <a:pt x="825" y="792"/>
                </a:lnTo>
                <a:lnTo>
                  <a:pt x="825" y="795"/>
                </a:lnTo>
                <a:lnTo>
                  <a:pt x="824" y="797"/>
                </a:lnTo>
                <a:lnTo>
                  <a:pt x="823" y="800"/>
                </a:lnTo>
                <a:lnTo>
                  <a:pt x="822" y="802"/>
                </a:lnTo>
                <a:lnTo>
                  <a:pt x="820" y="803"/>
                </a:lnTo>
                <a:lnTo>
                  <a:pt x="818" y="805"/>
                </a:lnTo>
                <a:lnTo>
                  <a:pt x="816" y="806"/>
                </a:lnTo>
                <a:lnTo>
                  <a:pt x="814" y="806"/>
                </a:lnTo>
                <a:lnTo>
                  <a:pt x="811" y="806"/>
                </a:lnTo>
                <a:lnTo>
                  <a:pt x="808" y="806"/>
                </a:lnTo>
                <a:lnTo>
                  <a:pt x="806" y="805"/>
                </a:lnTo>
                <a:lnTo>
                  <a:pt x="803" y="803"/>
                </a:lnTo>
                <a:lnTo>
                  <a:pt x="802" y="801"/>
                </a:lnTo>
                <a:lnTo>
                  <a:pt x="800" y="799"/>
                </a:lnTo>
                <a:lnTo>
                  <a:pt x="799" y="794"/>
                </a:lnTo>
                <a:lnTo>
                  <a:pt x="799" y="792"/>
                </a:lnTo>
                <a:lnTo>
                  <a:pt x="799" y="789"/>
                </a:lnTo>
                <a:lnTo>
                  <a:pt x="800" y="787"/>
                </a:lnTo>
                <a:lnTo>
                  <a:pt x="802" y="785"/>
                </a:lnTo>
                <a:lnTo>
                  <a:pt x="803" y="783"/>
                </a:lnTo>
                <a:lnTo>
                  <a:pt x="805" y="782"/>
                </a:lnTo>
                <a:lnTo>
                  <a:pt x="807" y="781"/>
                </a:lnTo>
                <a:lnTo>
                  <a:pt x="810" y="780"/>
                </a:lnTo>
                <a:close/>
                <a:moveTo>
                  <a:pt x="2668" y="436"/>
                </a:moveTo>
                <a:lnTo>
                  <a:pt x="2671" y="436"/>
                </a:lnTo>
                <a:lnTo>
                  <a:pt x="2673" y="437"/>
                </a:lnTo>
                <a:lnTo>
                  <a:pt x="2676" y="437"/>
                </a:lnTo>
                <a:lnTo>
                  <a:pt x="2678" y="439"/>
                </a:lnTo>
                <a:lnTo>
                  <a:pt x="2680" y="441"/>
                </a:lnTo>
                <a:lnTo>
                  <a:pt x="2681" y="443"/>
                </a:lnTo>
                <a:lnTo>
                  <a:pt x="2682" y="445"/>
                </a:lnTo>
                <a:lnTo>
                  <a:pt x="2683" y="447"/>
                </a:lnTo>
                <a:lnTo>
                  <a:pt x="2683" y="450"/>
                </a:lnTo>
                <a:lnTo>
                  <a:pt x="2683" y="452"/>
                </a:lnTo>
                <a:lnTo>
                  <a:pt x="2682" y="454"/>
                </a:lnTo>
                <a:lnTo>
                  <a:pt x="2681" y="456"/>
                </a:lnTo>
                <a:lnTo>
                  <a:pt x="2679" y="459"/>
                </a:lnTo>
                <a:lnTo>
                  <a:pt x="2676" y="461"/>
                </a:lnTo>
                <a:lnTo>
                  <a:pt x="2672" y="462"/>
                </a:lnTo>
                <a:lnTo>
                  <a:pt x="2670" y="462"/>
                </a:lnTo>
                <a:lnTo>
                  <a:pt x="2667" y="462"/>
                </a:lnTo>
                <a:lnTo>
                  <a:pt x="2664" y="461"/>
                </a:lnTo>
                <a:lnTo>
                  <a:pt x="2662" y="460"/>
                </a:lnTo>
                <a:lnTo>
                  <a:pt x="2660" y="458"/>
                </a:lnTo>
                <a:lnTo>
                  <a:pt x="2659" y="456"/>
                </a:lnTo>
                <a:lnTo>
                  <a:pt x="2658" y="454"/>
                </a:lnTo>
                <a:lnTo>
                  <a:pt x="2657" y="451"/>
                </a:lnTo>
                <a:lnTo>
                  <a:pt x="2657" y="449"/>
                </a:lnTo>
                <a:lnTo>
                  <a:pt x="2657" y="446"/>
                </a:lnTo>
                <a:lnTo>
                  <a:pt x="2658" y="444"/>
                </a:lnTo>
                <a:lnTo>
                  <a:pt x="2659" y="442"/>
                </a:lnTo>
                <a:lnTo>
                  <a:pt x="2661" y="440"/>
                </a:lnTo>
                <a:lnTo>
                  <a:pt x="2664" y="438"/>
                </a:lnTo>
                <a:lnTo>
                  <a:pt x="2668" y="436"/>
                </a:lnTo>
                <a:close/>
                <a:moveTo>
                  <a:pt x="853" y="730"/>
                </a:moveTo>
                <a:lnTo>
                  <a:pt x="856" y="730"/>
                </a:lnTo>
                <a:lnTo>
                  <a:pt x="859" y="731"/>
                </a:lnTo>
                <a:lnTo>
                  <a:pt x="861" y="732"/>
                </a:lnTo>
                <a:lnTo>
                  <a:pt x="864" y="733"/>
                </a:lnTo>
                <a:lnTo>
                  <a:pt x="866" y="735"/>
                </a:lnTo>
                <a:lnTo>
                  <a:pt x="867" y="738"/>
                </a:lnTo>
                <a:lnTo>
                  <a:pt x="867" y="739"/>
                </a:lnTo>
                <a:lnTo>
                  <a:pt x="868" y="740"/>
                </a:lnTo>
                <a:lnTo>
                  <a:pt x="868" y="743"/>
                </a:lnTo>
                <a:lnTo>
                  <a:pt x="868" y="748"/>
                </a:lnTo>
                <a:lnTo>
                  <a:pt x="866" y="750"/>
                </a:lnTo>
                <a:lnTo>
                  <a:pt x="865" y="752"/>
                </a:lnTo>
                <a:lnTo>
                  <a:pt x="863" y="754"/>
                </a:lnTo>
                <a:lnTo>
                  <a:pt x="861" y="755"/>
                </a:lnTo>
                <a:lnTo>
                  <a:pt x="857" y="756"/>
                </a:lnTo>
                <a:lnTo>
                  <a:pt x="854" y="756"/>
                </a:lnTo>
                <a:lnTo>
                  <a:pt x="852" y="756"/>
                </a:lnTo>
                <a:lnTo>
                  <a:pt x="849" y="755"/>
                </a:lnTo>
                <a:lnTo>
                  <a:pt x="846" y="753"/>
                </a:lnTo>
                <a:lnTo>
                  <a:pt x="845" y="751"/>
                </a:lnTo>
                <a:lnTo>
                  <a:pt x="843" y="749"/>
                </a:lnTo>
                <a:lnTo>
                  <a:pt x="843" y="748"/>
                </a:lnTo>
                <a:lnTo>
                  <a:pt x="842" y="746"/>
                </a:lnTo>
                <a:lnTo>
                  <a:pt x="842" y="744"/>
                </a:lnTo>
                <a:lnTo>
                  <a:pt x="843" y="739"/>
                </a:lnTo>
                <a:lnTo>
                  <a:pt x="844" y="737"/>
                </a:lnTo>
                <a:lnTo>
                  <a:pt x="845" y="735"/>
                </a:lnTo>
                <a:lnTo>
                  <a:pt x="847" y="733"/>
                </a:lnTo>
                <a:lnTo>
                  <a:pt x="849" y="732"/>
                </a:lnTo>
                <a:lnTo>
                  <a:pt x="853" y="730"/>
                </a:lnTo>
                <a:close/>
                <a:moveTo>
                  <a:pt x="2604" y="420"/>
                </a:moveTo>
                <a:lnTo>
                  <a:pt x="2606" y="420"/>
                </a:lnTo>
                <a:lnTo>
                  <a:pt x="2609" y="420"/>
                </a:lnTo>
                <a:lnTo>
                  <a:pt x="2612" y="421"/>
                </a:lnTo>
                <a:lnTo>
                  <a:pt x="2614" y="423"/>
                </a:lnTo>
                <a:lnTo>
                  <a:pt x="2616" y="424"/>
                </a:lnTo>
                <a:lnTo>
                  <a:pt x="2617" y="426"/>
                </a:lnTo>
                <a:lnTo>
                  <a:pt x="2618" y="429"/>
                </a:lnTo>
                <a:lnTo>
                  <a:pt x="2619" y="431"/>
                </a:lnTo>
                <a:lnTo>
                  <a:pt x="2619" y="434"/>
                </a:lnTo>
                <a:lnTo>
                  <a:pt x="2619" y="436"/>
                </a:lnTo>
                <a:lnTo>
                  <a:pt x="2618" y="438"/>
                </a:lnTo>
                <a:lnTo>
                  <a:pt x="2617" y="440"/>
                </a:lnTo>
                <a:lnTo>
                  <a:pt x="2615" y="443"/>
                </a:lnTo>
                <a:lnTo>
                  <a:pt x="2612" y="445"/>
                </a:lnTo>
                <a:lnTo>
                  <a:pt x="2608" y="446"/>
                </a:lnTo>
                <a:lnTo>
                  <a:pt x="2606" y="446"/>
                </a:lnTo>
                <a:lnTo>
                  <a:pt x="2603" y="446"/>
                </a:lnTo>
                <a:lnTo>
                  <a:pt x="2600" y="445"/>
                </a:lnTo>
                <a:lnTo>
                  <a:pt x="2598" y="444"/>
                </a:lnTo>
                <a:lnTo>
                  <a:pt x="2596" y="442"/>
                </a:lnTo>
                <a:lnTo>
                  <a:pt x="2595" y="440"/>
                </a:lnTo>
                <a:lnTo>
                  <a:pt x="2594" y="438"/>
                </a:lnTo>
                <a:lnTo>
                  <a:pt x="2593" y="435"/>
                </a:lnTo>
                <a:lnTo>
                  <a:pt x="2593" y="433"/>
                </a:lnTo>
                <a:lnTo>
                  <a:pt x="2593" y="430"/>
                </a:lnTo>
                <a:lnTo>
                  <a:pt x="2594" y="428"/>
                </a:lnTo>
                <a:lnTo>
                  <a:pt x="2595" y="426"/>
                </a:lnTo>
                <a:lnTo>
                  <a:pt x="2597" y="423"/>
                </a:lnTo>
                <a:lnTo>
                  <a:pt x="2600" y="421"/>
                </a:lnTo>
                <a:lnTo>
                  <a:pt x="2604" y="420"/>
                </a:lnTo>
                <a:close/>
                <a:moveTo>
                  <a:pt x="2540" y="404"/>
                </a:moveTo>
                <a:lnTo>
                  <a:pt x="2542" y="404"/>
                </a:lnTo>
                <a:lnTo>
                  <a:pt x="2545" y="404"/>
                </a:lnTo>
                <a:lnTo>
                  <a:pt x="2548" y="405"/>
                </a:lnTo>
                <a:lnTo>
                  <a:pt x="2550" y="406"/>
                </a:lnTo>
                <a:lnTo>
                  <a:pt x="2552" y="408"/>
                </a:lnTo>
                <a:lnTo>
                  <a:pt x="2553" y="410"/>
                </a:lnTo>
                <a:lnTo>
                  <a:pt x="2554" y="412"/>
                </a:lnTo>
                <a:lnTo>
                  <a:pt x="2555" y="415"/>
                </a:lnTo>
                <a:lnTo>
                  <a:pt x="2555" y="417"/>
                </a:lnTo>
                <a:lnTo>
                  <a:pt x="2555" y="420"/>
                </a:lnTo>
                <a:lnTo>
                  <a:pt x="2554" y="422"/>
                </a:lnTo>
                <a:lnTo>
                  <a:pt x="2553" y="424"/>
                </a:lnTo>
                <a:lnTo>
                  <a:pt x="2551" y="427"/>
                </a:lnTo>
                <a:lnTo>
                  <a:pt x="2548" y="429"/>
                </a:lnTo>
                <a:lnTo>
                  <a:pt x="2544" y="430"/>
                </a:lnTo>
                <a:lnTo>
                  <a:pt x="2541" y="430"/>
                </a:lnTo>
                <a:lnTo>
                  <a:pt x="2539" y="430"/>
                </a:lnTo>
                <a:lnTo>
                  <a:pt x="2536" y="429"/>
                </a:lnTo>
                <a:lnTo>
                  <a:pt x="2534" y="427"/>
                </a:lnTo>
                <a:lnTo>
                  <a:pt x="2532" y="426"/>
                </a:lnTo>
                <a:lnTo>
                  <a:pt x="2531" y="424"/>
                </a:lnTo>
                <a:lnTo>
                  <a:pt x="2529" y="421"/>
                </a:lnTo>
                <a:lnTo>
                  <a:pt x="2529" y="419"/>
                </a:lnTo>
                <a:lnTo>
                  <a:pt x="2529" y="416"/>
                </a:lnTo>
                <a:lnTo>
                  <a:pt x="2529" y="414"/>
                </a:lnTo>
                <a:lnTo>
                  <a:pt x="2530" y="412"/>
                </a:lnTo>
                <a:lnTo>
                  <a:pt x="2531" y="410"/>
                </a:lnTo>
                <a:lnTo>
                  <a:pt x="2533" y="407"/>
                </a:lnTo>
                <a:lnTo>
                  <a:pt x="2536" y="405"/>
                </a:lnTo>
                <a:lnTo>
                  <a:pt x="2540" y="404"/>
                </a:lnTo>
                <a:close/>
                <a:moveTo>
                  <a:pt x="898" y="682"/>
                </a:moveTo>
                <a:lnTo>
                  <a:pt x="901" y="682"/>
                </a:lnTo>
                <a:lnTo>
                  <a:pt x="904" y="682"/>
                </a:lnTo>
                <a:lnTo>
                  <a:pt x="907" y="683"/>
                </a:lnTo>
                <a:lnTo>
                  <a:pt x="909" y="685"/>
                </a:lnTo>
                <a:lnTo>
                  <a:pt x="911" y="687"/>
                </a:lnTo>
                <a:lnTo>
                  <a:pt x="912" y="689"/>
                </a:lnTo>
                <a:lnTo>
                  <a:pt x="913" y="692"/>
                </a:lnTo>
                <a:lnTo>
                  <a:pt x="913" y="694"/>
                </a:lnTo>
                <a:lnTo>
                  <a:pt x="912" y="699"/>
                </a:lnTo>
                <a:lnTo>
                  <a:pt x="911" y="702"/>
                </a:lnTo>
                <a:lnTo>
                  <a:pt x="909" y="704"/>
                </a:lnTo>
                <a:lnTo>
                  <a:pt x="906" y="706"/>
                </a:lnTo>
                <a:lnTo>
                  <a:pt x="904" y="707"/>
                </a:lnTo>
                <a:lnTo>
                  <a:pt x="902" y="708"/>
                </a:lnTo>
                <a:lnTo>
                  <a:pt x="899" y="708"/>
                </a:lnTo>
                <a:lnTo>
                  <a:pt x="896" y="707"/>
                </a:lnTo>
                <a:lnTo>
                  <a:pt x="893" y="706"/>
                </a:lnTo>
                <a:lnTo>
                  <a:pt x="891" y="704"/>
                </a:lnTo>
                <a:lnTo>
                  <a:pt x="889" y="702"/>
                </a:lnTo>
                <a:lnTo>
                  <a:pt x="888" y="700"/>
                </a:lnTo>
                <a:lnTo>
                  <a:pt x="887" y="697"/>
                </a:lnTo>
                <a:lnTo>
                  <a:pt x="887" y="695"/>
                </a:lnTo>
                <a:lnTo>
                  <a:pt x="888" y="690"/>
                </a:lnTo>
                <a:lnTo>
                  <a:pt x="889" y="688"/>
                </a:lnTo>
                <a:lnTo>
                  <a:pt x="891" y="686"/>
                </a:lnTo>
                <a:lnTo>
                  <a:pt x="894" y="683"/>
                </a:lnTo>
                <a:lnTo>
                  <a:pt x="896" y="682"/>
                </a:lnTo>
                <a:lnTo>
                  <a:pt x="898" y="682"/>
                </a:lnTo>
                <a:close/>
                <a:moveTo>
                  <a:pt x="2475" y="388"/>
                </a:moveTo>
                <a:lnTo>
                  <a:pt x="2478" y="388"/>
                </a:lnTo>
                <a:lnTo>
                  <a:pt x="2481" y="388"/>
                </a:lnTo>
                <a:lnTo>
                  <a:pt x="2483" y="389"/>
                </a:lnTo>
                <a:lnTo>
                  <a:pt x="2486" y="390"/>
                </a:lnTo>
                <a:lnTo>
                  <a:pt x="2487" y="392"/>
                </a:lnTo>
                <a:lnTo>
                  <a:pt x="2489" y="394"/>
                </a:lnTo>
                <a:lnTo>
                  <a:pt x="2490" y="396"/>
                </a:lnTo>
                <a:lnTo>
                  <a:pt x="2491" y="399"/>
                </a:lnTo>
                <a:lnTo>
                  <a:pt x="2491" y="401"/>
                </a:lnTo>
                <a:lnTo>
                  <a:pt x="2490" y="404"/>
                </a:lnTo>
                <a:lnTo>
                  <a:pt x="2490" y="406"/>
                </a:lnTo>
                <a:lnTo>
                  <a:pt x="2489" y="408"/>
                </a:lnTo>
                <a:lnTo>
                  <a:pt x="2487" y="410"/>
                </a:lnTo>
                <a:lnTo>
                  <a:pt x="2483" y="413"/>
                </a:lnTo>
                <a:lnTo>
                  <a:pt x="2480" y="414"/>
                </a:lnTo>
                <a:lnTo>
                  <a:pt x="2477" y="414"/>
                </a:lnTo>
                <a:lnTo>
                  <a:pt x="2474" y="413"/>
                </a:lnTo>
                <a:lnTo>
                  <a:pt x="2472" y="413"/>
                </a:lnTo>
                <a:lnTo>
                  <a:pt x="2470" y="411"/>
                </a:lnTo>
                <a:lnTo>
                  <a:pt x="2468" y="409"/>
                </a:lnTo>
                <a:lnTo>
                  <a:pt x="2466" y="407"/>
                </a:lnTo>
                <a:lnTo>
                  <a:pt x="2465" y="405"/>
                </a:lnTo>
                <a:lnTo>
                  <a:pt x="2465" y="403"/>
                </a:lnTo>
                <a:lnTo>
                  <a:pt x="2465" y="400"/>
                </a:lnTo>
                <a:lnTo>
                  <a:pt x="2465" y="398"/>
                </a:lnTo>
                <a:lnTo>
                  <a:pt x="2466" y="396"/>
                </a:lnTo>
                <a:lnTo>
                  <a:pt x="2466" y="394"/>
                </a:lnTo>
                <a:lnTo>
                  <a:pt x="2469" y="391"/>
                </a:lnTo>
                <a:lnTo>
                  <a:pt x="2472" y="389"/>
                </a:lnTo>
                <a:lnTo>
                  <a:pt x="2475" y="388"/>
                </a:lnTo>
                <a:close/>
                <a:moveTo>
                  <a:pt x="944" y="635"/>
                </a:moveTo>
                <a:lnTo>
                  <a:pt x="947" y="635"/>
                </a:lnTo>
                <a:lnTo>
                  <a:pt x="950" y="635"/>
                </a:lnTo>
                <a:lnTo>
                  <a:pt x="953" y="637"/>
                </a:lnTo>
                <a:lnTo>
                  <a:pt x="956" y="639"/>
                </a:lnTo>
                <a:lnTo>
                  <a:pt x="958" y="641"/>
                </a:lnTo>
                <a:lnTo>
                  <a:pt x="959" y="643"/>
                </a:lnTo>
                <a:lnTo>
                  <a:pt x="959" y="645"/>
                </a:lnTo>
                <a:lnTo>
                  <a:pt x="960" y="648"/>
                </a:lnTo>
                <a:lnTo>
                  <a:pt x="959" y="650"/>
                </a:lnTo>
                <a:lnTo>
                  <a:pt x="959" y="653"/>
                </a:lnTo>
                <a:lnTo>
                  <a:pt x="957" y="655"/>
                </a:lnTo>
                <a:lnTo>
                  <a:pt x="956" y="657"/>
                </a:lnTo>
                <a:lnTo>
                  <a:pt x="954" y="658"/>
                </a:lnTo>
                <a:lnTo>
                  <a:pt x="952" y="659"/>
                </a:lnTo>
                <a:lnTo>
                  <a:pt x="949" y="661"/>
                </a:lnTo>
                <a:lnTo>
                  <a:pt x="946" y="661"/>
                </a:lnTo>
                <a:lnTo>
                  <a:pt x="943" y="660"/>
                </a:lnTo>
                <a:lnTo>
                  <a:pt x="940" y="659"/>
                </a:lnTo>
                <a:lnTo>
                  <a:pt x="937" y="657"/>
                </a:lnTo>
                <a:lnTo>
                  <a:pt x="936" y="655"/>
                </a:lnTo>
                <a:lnTo>
                  <a:pt x="934" y="652"/>
                </a:lnTo>
                <a:lnTo>
                  <a:pt x="934" y="650"/>
                </a:lnTo>
                <a:lnTo>
                  <a:pt x="933" y="648"/>
                </a:lnTo>
                <a:lnTo>
                  <a:pt x="934" y="645"/>
                </a:lnTo>
                <a:lnTo>
                  <a:pt x="934" y="643"/>
                </a:lnTo>
                <a:lnTo>
                  <a:pt x="936" y="640"/>
                </a:lnTo>
                <a:lnTo>
                  <a:pt x="937" y="638"/>
                </a:lnTo>
                <a:lnTo>
                  <a:pt x="939" y="637"/>
                </a:lnTo>
                <a:lnTo>
                  <a:pt x="941" y="636"/>
                </a:lnTo>
                <a:lnTo>
                  <a:pt x="944" y="635"/>
                </a:lnTo>
                <a:close/>
                <a:moveTo>
                  <a:pt x="2411" y="372"/>
                </a:moveTo>
                <a:lnTo>
                  <a:pt x="2414" y="371"/>
                </a:lnTo>
                <a:lnTo>
                  <a:pt x="2417" y="372"/>
                </a:lnTo>
                <a:lnTo>
                  <a:pt x="2419" y="373"/>
                </a:lnTo>
                <a:lnTo>
                  <a:pt x="2421" y="374"/>
                </a:lnTo>
                <a:lnTo>
                  <a:pt x="2423" y="376"/>
                </a:lnTo>
                <a:lnTo>
                  <a:pt x="2425" y="378"/>
                </a:lnTo>
                <a:lnTo>
                  <a:pt x="2426" y="380"/>
                </a:lnTo>
                <a:lnTo>
                  <a:pt x="2426" y="383"/>
                </a:lnTo>
                <a:lnTo>
                  <a:pt x="2427" y="385"/>
                </a:lnTo>
                <a:lnTo>
                  <a:pt x="2426" y="388"/>
                </a:lnTo>
                <a:lnTo>
                  <a:pt x="2426" y="390"/>
                </a:lnTo>
                <a:lnTo>
                  <a:pt x="2425" y="391"/>
                </a:lnTo>
                <a:lnTo>
                  <a:pt x="2422" y="394"/>
                </a:lnTo>
                <a:lnTo>
                  <a:pt x="2419" y="396"/>
                </a:lnTo>
                <a:lnTo>
                  <a:pt x="2416" y="398"/>
                </a:lnTo>
                <a:lnTo>
                  <a:pt x="2413" y="398"/>
                </a:lnTo>
                <a:lnTo>
                  <a:pt x="2410" y="397"/>
                </a:lnTo>
                <a:lnTo>
                  <a:pt x="2408" y="396"/>
                </a:lnTo>
                <a:lnTo>
                  <a:pt x="2406" y="395"/>
                </a:lnTo>
                <a:lnTo>
                  <a:pt x="2404" y="393"/>
                </a:lnTo>
                <a:lnTo>
                  <a:pt x="2402" y="391"/>
                </a:lnTo>
                <a:lnTo>
                  <a:pt x="2401" y="389"/>
                </a:lnTo>
                <a:lnTo>
                  <a:pt x="2401" y="387"/>
                </a:lnTo>
                <a:lnTo>
                  <a:pt x="2400" y="384"/>
                </a:lnTo>
                <a:lnTo>
                  <a:pt x="2401" y="381"/>
                </a:lnTo>
                <a:lnTo>
                  <a:pt x="2401" y="380"/>
                </a:lnTo>
                <a:lnTo>
                  <a:pt x="2402" y="378"/>
                </a:lnTo>
                <a:lnTo>
                  <a:pt x="2405" y="375"/>
                </a:lnTo>
                <a:lnTo>
                  <a:pt x="2408" y="373"/>
                </a:lnTo>
                <a:lnTo>
                  <a:pt x="2411" y="372"/>
                </a:lnTo>
                <a:close/>
                <a:moveTo>
                  <a:pt x="2347" y="356"/>
                </a:moveTo>
                <a:lnTo>
                  <a:pt x="2350" y="355"/>
                </a:lnTo>
                <a:lnTo>
                  <a:pt x="2352" y="356"/>
                </a:lnTo>
                <a:lnTo>
                  <a:pt x="2355" y="357"/>
                </a:lnTo>
                <a:lnTo>
                  <a:pt x="2357" y="358"/>
                </a:lnTo>
                <a:lnTo>
                  <a:pt x="2359" y="360"/>
                </a:lnTo>
                <a:lnTo>
                  <a:pt x="2361" y="362"/>
                </a:lnTo>
                <a:lnTo>
                  <a:pt x="2362" y="364"/>
                </a:lnTo>
                <a:lnTo>
                  <a:pt x="2362" y="367"/>
                </a:lnTo>
                <a:lnTo>
                  <a:pt x="2362" y="369"/>
                </a:lnTo>
                <a:lnTo>
                  <a:pt x="2362" y="372"/>
                </a:lnTo>
                <a:lnTo>
                  <a:pt x="2361" y="374"/>
                </a:lnTo>
                <a:lnTo>
                  <a:pt x="2361" y="375"/>
                </a:lnTo>
                <a:lnTo>
                  <a:pt x="2358" y="378"/>
                </a:lnTo>
                <a:lnTo>
                  <a:pt x="2355" y="380"/>
                </a:lnTo>
                <a:lnTo>
                  <a:pt x="2352" y="381"/>
                </a:lnTo>
                <a:lnTo>
                  <a:pt x="2349" y="382"/>
                </a:lnTo>
                <a:lnTo>
                  <a:pt x="2346" y="381"/>
                </a:lnTo>
                <a:lnTo>
                  <a:pt x="2344" y="380"/>
                </a:lnTo>
                <a:lnTo>
                  <a:pt x="2341" y="379"/>
                </a:lnTo>
                <a:lnTo>
                  <a:pt x="2340" y="377"/>
                </a:lnTo>
                <a:lnTo>
                  <a:pt x="2338" y="375"/>
                </a:lnTo>
                <a:lnTo>
                  <a:pt x="2337" y="373"/>
                </a:lnTo>
                <a:lnTo>
                  <a:pt x="2336" y="371"/>
                </a:lnTo>
                <a:lnTo>
                  <a:pt x="2336" y="368"/>
                </a:lnTo>
                <a:lnTo>
                  <a:pt x="2337" y="365"/>
                </a:lnTo>
                <a:lnTo>
                  <a:pt x="2337" y="363"/>
                </a:lnTo>
                <a:lnTo>
                  <a:pt x="2338" y="362"/>
                </a:lnTo>
                <a:lnTo>
                  <a:pt x="2340" y="359"/>
                </a:lnTo>
                <a:lnTo>
                  <a:pt x="2343" y="357"/>
                </a:lnTo>
                <a:lnTo>
                  <a:pt x="2347" y="356"/>
                </a:lnTo>
                <a:close/>
                <a:moveTo>
                  <a:pt x="993" y="590"/>
                </a:moveTo>
                <a:lnTo>
                  <a:pt x="996" y="589"/>
                </a:lnTo>
                <a:lnTo>
                  <a:pt x="999" y="590"/>
                </a:lnTo>
                <a:lnTo>
                  <a:pt x="1002" y="591"/>
                </a:lnTo>
                <a:lnTo>
                  <a:pt x="1003" y="592"/>
                </a:lnTo>
                <a:lnTo>
                  <a:pt x="1005" y="594"/>
                </a:lnTo>
                <a:lnTo>
                  <a:pt x="1006" y="596"/>
                </a:lnTo>
                <a:lnTo>
                  <a:pt x="1007" y="598"/>
                </a:lnTo>
                <a:lnTo>
                  <a:pt x="1008" y="601"/>
                </a:lnTo>
                <a:lnTo>
                  <a:pt x="1008" y="603"/>
                </a:lnTo>
                <a:lnTo>
                  <a:pt x="1008" y="606"/>
                </a:lnTo>
                <a:lnTo>
                  <a:pt x="1007" y="608"/>
                </a:lnTo>
                <a:lnTo>
                  <a:pt x="1005" y="610"/>
                </a:lnTo>
                <a:lnTo>
                  <a:pt x="1004" y="612"/>
                </a:lnTo>
                <a:lnTo>
                  <a:pt x="1001" y="614"/>
                </a:lnTo>
                <a:lnTo>
                  <a:pt x="999" y="615"/>
                </a:lnTo>
                <a:lnTo>
                  <a:pt x="997" y="615"/>
                </a:lnTo>
                <a:lnTo>
                  <a:pt x="994" y="616"/>
                </a:lnTo>
                <a:lnTo>
                  <a:pt x="991" y="615"/>
                </a:lnTo>
                <a:lnTo>
                  <a:pt x="988" y="613"/>
                </a:lnTo>
                <a:lnTo>
                  <a:pt x="986" y="612"/>
                </a:lnTo>
                <a:lnTo>
                  <a:pt x="985" y="611"/>
                </a:lnTo>
                <a:lnTo>
                  <a:pt x="983" y="609"/>
                </a:lnTo>
                <a:lnTo>
                  <a:pt x="982" y="607"/>
                </a:lnTo>
                <a:lnTo>
                  <a:pt x="982" y="604"/>
                </a:lnTo>
                <a:lnTo>
                  <a:pt x="982" y="602"/>
                </a:lnTo>
                <a:lnTo>
                  <a:pt x="982" y="599"/>
                </a:lnTo>
                <a:lnTo>
                  <a:pt x="983" y="597"/>
                </a:lnTo>
                <a:lnTo>
                  <a:pt x="984" y="595"/>
                </a:lnTo>
                <a:lnTo>
                  <a:pt x="986" y="593"/>
                </a:lnTo>
                <a:lnTo>
                  <a:pt x="989" y="591"/>
                </a:lnTo>
                <a:lnTo>
                  <a:pt x="991" y="590"/>
                </a:lnTo>
                <a:lnTo>
                  <a:pt x="993" y="590"/>
                </a:lnTo>
                <a:close/>
                <a:moveTo>
                  <a:pt x="2283" y="340"/>
                </a:moveTo>
                <a:lnTo>
                  <a:pt x="2286" y="339"/>
                </a:lnTo>
                <a:lnTo>
                  <a:pt x="2288" y="340"/>
                </a:lnTo>
                <a:lnTo>
                  <a:pt x="2291" y="341"/>
                </a:lnTo>
                <a:lnTo>
                  <a:pt x="2293" y="342"/>
                </a:lnTo>
                <a:lnTo>
                  <a:pt x="2295" y="344"/>
                </a:lnTo>
                <a:lnTo>
                  <a:pt x="2296" y="346"/>
                </a:lnTo>
                <a:lnTo>
                  <a:pt x="2297" y="348"/>
                </a:lnTo>
                <a:lnTo>
                  <a:pt x="2298" y="350"/>
                </a:lnTo>
                <a:lnTo>
                  <a:pt x="2298" y="353"/>
                </a:lnTo>
                <a:lnTo>
                  <a:pt x="2298" y="356"/>
                </a:lnTo>
                <a:lnTo>
                  <a:pt x="2297" y="358"/>
                </a:lnTo>
                <a:lnTo>
                  <a:pt x="2296" y="359"/>
                </a:lnTo>
                <a:lnTo>
                  <a:pt x="2294" y="362"/>
                </a:lnTo>
                <a:lnTo>
                  <a:pt x="2291" y="364"/>
                </a:lnTo>
                <a:lnTo>
                  <a:pt x="2287" y="365"/>
                </a:lnTo>
                <a:lnTo>
                  <a:pt x="2285" y="366"/>
                </a:lnTo>
                <a:lnTo>
                  <a:pt x="2282" y="365"/>
                </a:lnTo>
                <a:lnTo>
                  <a:pt x="2279" y="364"/>
                </a:lnTo>
                <a:lnTo>
                  <a:pt x="2277" y="363"/>
                </a:lnTo>
                <a:lnTo>
                  <a:pt x="2275" y="361"/>
                </a:lnTo>
                <a:lnTo>
                  <a:pt x="2274" y="359"/>
                </a:lnTo>
                <a:lnTo>
                  <a:pt x="2273" y="357"/>
                </a:lnTo>
                <a:lnTo>
                  <a:pt x="2272" y="355"/>
                </a:lnTo>
                <a:lnTo>
                  <a:pt x="2272" y="352"/>
                </a:lnTo>
                <a:lnTo>
                  <a:pt x="2272" y="349"/>
                </a:lnTo>
                <a:lnTo>
                  <a:pt x="2273" y="347"/>
                </a:lnTo>
                <a:lnTo>
                  <a:pt x="2274" y="346"/>
                </a:lnTo>
                <a:lnTo>
                  <a:pt x="2276" y="343"/>
                </a:lnTo>
                <a:lnTo>
                  <a:pt x="2279" y="341"/>
                </a:lnTo>
                <a:lnTo>
                  <a:pt x="2283" y="340"/>
                </a:lnTo>
                <a:close/>
                <a:moveTo>
                  <a:pt x="1042" y="546"/>
                </a:moveTo>
                <a:lnTo>
                  <a:pt x="1046" y="546"/>
                </a:lnTo>
                <a:lnTo>
                  <a:pt x="1049" y="547"/>
                </a:lnTo>
                <a:lnTo>
                  <a:pt x="1052" y="548"/>
                </a:lnTo>
                <a:lnTo>
                  <a:pt x="1055" y="551"/>
                </a:lnTo>
                <a:lnTo>
                  <a:pt x="1056" y="553"/>
                </a:lnTo>
                <a:lnTo>
                  <a:pt x="1057" y="555"/>
                </a:lnTo>
                <a:lnTo>
                  <a:pt x="1058" y="558"/>
                </a:lnTo>
                <a:lnTo>
                  <a:pt x="1058" y="560"/>
                </a:lnTo>
                <a:lnTo>
                  <a:pt x="1057" y="563"/>
                </a:lnTo>
                <a:lnTo>
                  <a:pt x="1056" y="565"/>
                </a:lnTo>
                <a:lnTo>
                  <a:pt x="1055" y="567"/>
                </a:lnTo>
                <a:lnTo>
                  <a:pt x="1053" y="569"/>
                </a:lnTo>
                <a:lnTo>
                  <a:pt x="1050" y="571"/>
                </a:lnTo>
                <a:lnTo>
                  <a:pt x="1047" y="572"/>
                </a:lnTo>
                <a:lnTo>
                  <a:pt x="1044" y="572"/>
                </a:lnTo>
                <a:lnTo>
                  <a:pt x="1040" y="571"/>
                </a:lnTo>
                <a:lnTo>
                  <a:pt x="1037" y="570"/>
                </a:lnTo>
                <a:lnTo>
                  <a:pt x="1035" y="567"/>
                </a:lnTo>
                <a:lnTo>
                  <a:pt x="1033" y="565"/>
                </a:lnTo>
                <a:lnTo>
                  <a:pt x="1032" y="563"/>
                </a:lnTo>
                <a:lnTo>
                  <a:pt x="1032" y="560"/>
                </a:lnTo>
                <a:lnTo>
                  <a:pt x="1032" y="558"/>
                </a:lnTo>
                <a:lnTo>
                  <a:pt x="1032" y="555"/>
                </a:lnTo>
                <a:lnTo>
                  <a:pt x="1033" y="553"/>
                </a:lnTo>
                <a:lnTo>
                  <a:pt x="1034" y="551"/>
                </a:lnTo>
                <a:lnTo>
                  <a:pt x="1036" y="549"/>
                </a:lnTo>
                <a:lnTo>
                  <a:pt x="1039" y="547"/>
                </a:lnTo>
                <a:lnTo>
                  <a:pt x="1042" y="546"/>
                </a:lnTo>
                <a:close/>
                <a:moveTo>
                  <a:pt x="2219" y="324"/>
                </a:moveTo>
                <a:lnTo>
                  <a:pt x="2221" y="323"/>
                </a:lnTo>
                <a:lnTo>
                  <a:pt x="2224" y="324"/>
                </a:lnTo>
                <a:lnTo>
                  <a:pt x="2227" y="325"/>
                </a:lnTo>
                <a:lnTo>
                  <a:pt x="2229" y="326"/>
                </a:lnTo>
                <a:lnTo>
                  <a:pt x="2231" y="328"/>
                </a:lnTo>
                <a:lnTo>
                  <a:pt x="2232" y="330"/>
                </a:lnTo>
                <a:lnTo>
                  <a:pt x="2233" y="332"/>
                </a:lnTo>
                <a:lnTo>
                  <a:pt x="2234" y="335"/>
                </a:lnTo>
                <a:lnTo>
                  <a:pt x="2234" y="337"/>
                </a:lnTo>
                <a:lnTo>
                  <a:pt x="2234" y="340"/>
                </a:lnTo>
                <a:lnTo>
                  <a:pt x="2233" y="342"/>
                </a:lnTo>
                <a:lnTo>
                  <a:pt x="2232" y="343"/>
                </a:lnTo>
                <a:lnTo>
                  <a:pt x="2230" y="346"/>
                </a:lnTo>
                <a:lnTo>
                  <a:pt x="2227" y="348"/>
                </a:lnTo>
                <a:lnTo>
                  <a:pt x="2223" y="350"/>
                </a:lnTo>
                <a:lnTo>
                  <a:pt x="2220" y="350"/>
                </a:lnTo>
                <a:lnTo>
                  <a:pt x="2218" y="349"/>
                </a:lnTo>
                <a:lnTo>
                  <a:pt x="2215" y="348"/>
                </a:lnTo>
                <a:lnTo>
                  <a:pt x="2213" y="347"/>
                </a:lnTo>
                <a:lnTo>
                  <a:pt x="2211" y="345"/>
                </a:lnTo>
                <a:lnTo>
                  <a:pt x="2210" y="343"/>
                </a:lnTo>
                <a:lnTo>
                  <a:pt x="2208" y="341"/>
                </a:lnTo>
                <a:lnTo>
                  <a:pt x="2207" y="339"/>
                </a:lnTo>
                <a:lnTo>
                  <a:pt x="2207" y="336"/>
                </a:lnTo>
                <a:lnTo>
                  <a:pt x="2207" y="333"/>
                </a:lnTo>
                <a:lnTo>
                  <a:pt x="2208" y="332"/>
                </a:lnTo>
                <a:lnTo>
                  <a:pt x="2210" y="330"/>
                </a:lnTo>
                <a:lnTo>
                  <a:pt x="2212" y="327"/>
                </a:lnTo>
                <a:lnTo>
                  <a:pt x="2215" y="325"/>
                </a:lnTo>
                <a:lnTo>
                  <a:pt x="2219" y="324"/>
                </a:lnTo>
                <a:close/>
                <a:moveTo>
                  <a:pt x="1094" y="505"/>
                </a:moveTo>
                <a:lnTo>
                  <a:pt x="1098" y="505"/>
                </a:lnTo>
                <a:lnTo>
                  <a:pt x="1101" y="506"/>
                </a:lnTo>
                <a:lnTo>
                  <a:pt x="1104" y="507"/>
                </a:lnTo>
                <a:lnTo>
                  <a:pt x="1107" y="510"/>
                </a:lnTo>
                <a:lnTo>
                  <a:pt x="1108" y="512"/>
                </a:lnTo>
                <a:lnTo>
                  <a:pt x="1109" y="514"/>
                </a:lnTo>
                <a:lnTo>
                  <a:pt x="1110" y="517"/>
                </a:lnTo>
                <a:lnTo>
                  <a:pt x="1109" y="520"/>
                </a:lnTo>
                <a:lnTo>
                  <a:pt x="1109" y="522"/>
                </a:lnTo>
                <a:lnTo>
                  <a:pt x="1108" y="524"/>
                </a:lnTo>
                <a:lnTo>
                  <a:pt x="1106" y="526"/>
                </a:lnTo>
                <a:lnTo>
                  <a:pt x="1104" y="528"/>
                </a:lnTo>
                <a:lnTo>
                  <a:pt x="1103" y="529"/>
                </a:lnTo>
                <a:lnTo>
                  <a:pt x="1102" y="530"/>
                </a:lnTo>
                <a:lnTo>
                  <a:pt x="1099" y="531"/>
                </a:lnTo>
                <a:lnTo>
                  <a:pt x="1095" y="531"/>
                </a:lnTo>
                <a:lnTo>
                  <a:pt x="1092" y="530"/>
                </a:lnTo>
                <a:lnTo>
                  <a:pt x="1089" y="528"/>
                </a:lnTo>
                <a:lnTo>
                  <a:pt x="1086" y="526"/>
                </a:lnTo>
                <a:lnTo>
                  <a:pt x="1085" y="523"/>
                </a:lnTo>
                <a:lnTo>
                  <a:pt x="1084" y="521"/>
                </a:lnTo>
                <a:lnTo>
                  <a:pt x="1083" y="519"/>
                </a:lnTo>
                <a:lnTo>
                  <a:pt x="1083" y="516"/>
                </a:lnTo>
                <a:lnTo>
                  <a:pt x="1084" y="514"/>
                </a:lnTo>
                <a:lnTo>
                  <a:pt x="1085" y="511"/>
                </a:lnTo>
                <a:lnTo>
                  <a:pt x="1086" y="509"/>
                </a:lnTo>
                <a:lnTo>
                  <a:pt x="1088" y="507"/>
                </a:lnTo>
                <a:lnTo>
                  <a:pt x="1090" y="506"/>
                </a:lnTo>
                <a:lnTo>
                  <a:pt x="1091" y="506"/>
                </a:lnTo>
                <a:lnTo>
                  <a:pt x="1094" y="505"/>
                </a:lnTo>
                <a:close/>
                <a:moveTo>
                  <a:pt x="2153" y="308"/>
                </a:moveTo>
                <a:lnTo>
                  <a:pt x="2156" y="308"/>
                </a:lnTo>
                <a:lnTo>
                  <a:pt x="2159" y="308"/>
                </a:lnTo>
                <a:lnTo>
                  <a:pt x="2161" y="309"/>
                </a:lnTo>
                <a:lnTo>
                  <a:pt x="2164" y="310"/>
                </a:lnTo>
                <a:lnTo>
                  <a:pt x="2165" y="312"/>
                </a:lnTo>
                <a:lnTo>
                  <a:pt x="2167" y="314"/>
                </a:lnTo>
                <a:lnTo>
                  <a:pt x="2168" y="316"/>
                </a:lnTo>
                <a:lnTo>
                  <a:pt x="2169" y="319"/>
                </a:lnTo>
                <a:lnTo>
                  <a:pt x="2169" y="321"/>
                </a:lnTo>
                <a:lnTo>
                  <a:pt x="2168" y="324"/>
                </a:lnTo>
                <a:lnTo>
                  <a:pt x="2168" y="326"/>
                </a:lnTo>
                <a:lnTo>
                  <a:pt x="2167" y="327"/>
                </a:lnTo>
                <a:lnTo>
                  <a:pt x="2165" y="330"/>
                </a:lnTo>
                <a:lnTo>
                  <a:pt x="2161" y="332"/>
                </a:lnTo>
                <a:lnTo>
                  <a:pt x="2158" y="334"/>
                </a:lnTo>
                <a:lnTo>
                  <a:pt x="2155" y="334"/>
                </a:lnTo>
                <a:lnTo>
                  <a:pt x="2153" y="333"/>
                </a:lnTo>
                <a:lnTo>
                  <a:pt x="2150" y="333"/>
                </a:lnTo>
                <a:lnTo>
                  <a:pt x="2148" y="331"/>
                </a:lnTo>
                <a:lnTo>
                  <a:pt x="2146" y="330"/>
                </a:lnTo>
                <a:lnTo>
                  <a:pt x="2144" y="327"/>
                </a:lnTo>
                <a:lnTo>
                  <a:pt x="2143" y="325"/>
                </a:lnTo>
                <a:lnTo>
                  <a:pt x="2143" y="323"/>
                </a:lnTo>
                <a:lnTo>
                  <a:pt x="2143" y="320"/>
                </a:lnTo>
                <a:lnTo>
                  <a:pt x="2143" y="318"/>
                </a:lnTo>
                <a:lnTo>
                  <a:pt x="2144" y="316"/>
                </a:lnTo>
                <a:lnTo>
                  <a:pt x="2144" y="314"/>
                </a:lnTo>
                <a:lnTo>
                  <a:pt x="2147" y="311"/>
                </a:lnTo>
                <a:lnTo>
                  <a:pt x="2150" y="309"/>
                </a:lnTo>
                <a:lnTo>
                  <a:pt x="2153" y="308"/>
                </a:lnTo>
                <a:close/>
                <a:moveTo>
                  <a:pt x="1147" y="466"/>
                </a:moveTo>
                <a:lnTo>
                  <a:pt x="1151" y="466"/>
                </a:lnTo>
                <a:lnTo>
                  <a:pt x="1155" y="467"/>
                </a:lnTo>
                <a:lnTo>
                  <a:pt x="1158" y="468"/>
                </a:lnTo>
                <a:lnTo>
                  <a:pt x="1161" y="471"/>
                </a:lnTo>
                <a:lnTo>
                  <a:pt x="1162" y="474"/>
                </a:lnTo>
                <a:lnTo>
                  <a:pt x="1163" y="476"/>
                </a:lnTo>
                <a:lnTo>
                  <a:pt x="1163" y="481"/>
                </a:lnTo>
                <a:lnTo>
                  <a:pt x="1162" y="483"/>
                </a:lnTo>
                <a:lnTo>
                  <a:pt x="1161" y="486"/>
                </a:lnTo>
                <a:lnTo>
                  <a:pt x="1159" y="488"/>
                </a:lnTo>
                <a:lnTo>
                  <a:pt x="1157" y="490"/>
                </a:lnTo>
                <a:lnTo>
                  <a:pt x="1155" y="491"/>
                </a:lnTo>
                <a:lnTo>
                  <a:pt x="1152" y="492"/>
                </a:lnTo>
                <a:lnTo>
                  <a:pt x="1148" y="492"/>
                </a:lnTo>
                <a:lnTo>
                  <a:pt x="1145" y="491"/>
                </a:lnTo>
                <a:lnTo>
                  <a:pt x="1142" y="489"/>
                </a:lnTo>
                <a:lnTo>
                  <a:pt x="1139" y="486"/>
                </a:lnTo>
                <a:lnTo>
                  <a:pt x="1138" y="484"/>
                </a:lnTo>
                <a:lnTo>
                  <a:pt x="1137" y="481"/>
                </a:lnTo>
                <a:lnTo>
                  <a:pt x="1137" y="476"/>
                </a:lnTo>
                <a:lnTo>
                  <a:pt x="1138" y="474"/>
                </a:lnTo>
                <a:lnTo>
                  <a:pt x="1139" y="472"/>
                </a:lnTo>
                <a:lnTo>
                  <a:pt x="1140" y="470"/>
                </a:lnTo>
                <a:lnTo>
                  <a:pt x="1142" y="468"/>
                </a:lnTo>
                <a:lnTo>
                  <a:pt x="1145" y="467"/>
                </a:lnTo>
                <a:lnTo>
                  <a:pt x="1147" y="466"/>
                </a:lnTo>
                <a:close/>
                <a:moveTo>
                  <a:pt x="2089" y="292"/>
                </a:moveTo>
                <a:lnTo>
                  <a:pt x="2092" y="292"/>
                </a:lnTo>
                <a:lnTo>
                  <a:pt x="2095" y="292"/>
                </a:lnTo>
                <a:lnTo>
                  <a:pt x="2097" y="293"/>
                </a:lnTo>
                <a:lnTo>
                  <a:pt x="2099" y="294"/>
                </a:lnTo>
                <a:lnTo>
                  <a:pt x="2101" y="296"/>
                </a:lnTo>
                <a:lnTo>
                  <a:pt x="2103" y="298"/>
                </a:lnTo>
                <a:lnTo>
                  <a:pt x="2104" y="300"/>
                </a:lnTo>
                <a:lnTo>
                  <a:pt x="2104" y="303"/>
                </a:lnTo>
                <a:lnTo>
                  <a:pt x="2105" y="305"/>
                </a:lnTo>
                <a:lnTo>
                  <a:pt x="2104" y="308"/>
                </a:lnTo>
                <a:lnTo>
                  <a:pt x="2104" y="310"/>
                </a:lnTo>
                <a:lnTo>
                  <a:pt x="2103" y="312"/>
                </a:lnTo>
                <a:lnTo>
                  <a:pt x="2100" y="315"/>
                </a:lnTo>
                <a:lnTo>
                  <a:pt x="2097" y="317"/>
                </a:lnTo>
                <a:lnTo>
                  <a:pt x="2094" y="318"/>
                </a:lnTo>
                <a:lnTo>
                  <a:pt x="2091" y="318"/>
                </a:lnTo>
                <a:lnTo>
                  <a:pt x="2088" y="318"/>
                </a:lnTo>
                <a:lnTo>
                  <a:pt x="2086" y="317"/>
                </a:lnTo>
                <a:lnTo>
                  <a:pt x="2084" y="315"/>
                </a:lnTo>
                <a:lnTo>
                  <a:pt x="2082" y="314"/>
                </a:lnTo>
                <a:lnTo>
                  <a:pt x="2080" y="312"/>
                </a:lnTo>
                <a:lnTo>
                  <a:pt x="2079" y="309"/>
                </a:lnTo>
                <a:lnTo>
                  <a:pt x="2078" y="307"/>
                </a:lnTo>
                <a:lnTo>
                  <a:pt x="2078" y="304"/>
                </a:lnTo>
                <a:lnTo>
                  <a:pt x="2079" y="302"/>
                </a:lnTo>
                <a:lnTo>
                  <a:pt x="2079" y="300"/>
                </a:lnTo>
                <a:lnTo>
                  <a:pt x="2080" y="298"/>
                </a:lnTo>
                <a:lnTo>
                  <a:pt x="2083" y="295"/>
                </a:lnTo>
                <a:lnTo>
                  <a:pt x="2086" y="293"/>
                </a:lnTo>
                <a:lnTo>
                  <a:pt x="2089" y="292"/>
                </a:lnTo>
                <a:close/>
                <a:moveTo>
                  <a:pt x="1203" y="429"/>
                </a:moveTo>
                <a:lnTo>
                  <a:pt x="1206" y="429"/>
                </a:lnTo>
                <a:lnTo>
                  <a:pt x="1210" y="430"/>
                </a:lnTo>
                <a:lnTo>
                  <a:pt x="1213" y="432"/>
                </a:lnTo>
                <a:lnTo>
                  <a:pt x="1215" y="434"/>
                </a:lnTo>
                <a:lnTo>
                  <a:pt x="1216" y="435"/>
                </a:lnTo>
                <a:lnTo>
                  <a:pt x="1217" y="438"/>
                </a:lnTo>
                <a:lnTo>
                  <a:pt x="1218" y="440"/>
                </a:lnTo>
                <a:lnTo>
                  <a:pt x="1218" y="443"/>
                </a:lnTo>
                <a:lnTo>
                  <a:pt x="1218" y="445"/>
                </a:lnTo>
                <a:lnTo>
                  <a:pt x="1217" y="447"/>
                </a:lnTo>
                <a:lnTo>
                  <a:pt x="1216" y="450"/>
                </a:lnTo>
                <a:lnTo>
                  <a:pt x="1214" y="452"/>
                </a:lnTo>
                <a:lnTo>
                  <a:pt x="1212" y="453"/>
                </a:lnTo>
                <a:lnTo>
                  <a:pt x="1210" y="454"/>
                </a:lnTo>
                <a:lnTo>
                  <a:pt x="1207" y="455"/>
                </a:lnTo>
                <a:lnTo>
                  <a:pt x="1203" y="455"/>
                </a:lnTo>
                <a:lnTo>
                  <a:pt x="1200" y="454"/>
                </a:lnTo>
                <a:lnTo>
                  <a:pt x="1196" y="452"/>
                </a:lnTo>
                <a:lnTo>
                  <a:pt x="1195" y="451"/>
                </a:lnTo>
                <a:lnTo>
                  <a:pt x="1194" y="449"/>
                </a:lnTo>
                <a:lnTo>
                  <a:pt x="1193" y="447"/>
                </a:lnTo>
                <a:lnTo>
                  <a:pt x="1192" y="444"/>
                </a:lnTo>
                <a:lnTo>
                  <a:pt x="1192" y="442"/>
                </a:lnTo>
                <a:lnTo>
                  <a:pt x="1192" y="439"/>
                </a:lnTo>
                <a:lnTo>
                  <a:pt x="1193" y="437"/>
                </a:lnTo>
                <a:lnTo>
                  <a:pt x="1194" y="435"/>
                </a:lnTo>
                <a:lnTo>
                  <a:pt x="1196" y="433"/>
                </a:lnTo>
                <a:lnTo>
                  <a:pt x="1198" y="431"/>
                </a:lnTo>
                <a:lnTo>
                  <a:pt x="1200" y="430"/>
                </a:lnTo>
                <a:lnTo>
                  <a:pt x="1203" y="429"/>
                </a:lnTo>
                <a:close/>
                <a:moveTo>
                  <a:pt x="2025" y="276"/>
                </a:moveTo>
                <a:lnTo>
                  <a:pt x="2028" y="276"/>
                </a:lnTo>
                <a:lnTo>
                  <a:pt x="2030" y="276"/>
                </a:lnTo>
                <a:lnTo>
                  <a:pt x="2033" y="277"/>
                </a:lnTo>
                <a:lnTo>
                  <a:pt x="2035" y="279"/>
                </a:lnTo>
                <a:lnTo>
                  <a:pt x="2037" y="280"/>
                </a:lnTo>
                <a:lnTo>
                  <a:pt x="2038" y="282"/>
                </a:lnTo>
                <a:lnTo>
                  <a:pt x="2039" y="285"/>
                </a:lnTo>
                <a:lnTo>
                  <a:pt x="2040" y="287"/>
                </a:lnTo>
                <a:lnTo>
                  <a:pt x="2040" y="290"/>
                </a:lnTo>
                <a:lnTo>
                  <a:pt x="2040" y="292"/>
                </a:lnTo>
                <a:lnTo>
                  <a:pt x="2038" y="296"/>
                </a:lnTo>
                <a:lnTo>
                  <a:pt x="2036" y="299"/>
                </a:lnTo>
                <a:lnTo>
                  <a:pt x="2033" y="301"/>
                </a:lnTo>
                <a:lnTo>
                  <a:pt x="2029" y="302"/>
                </a:lnTo>
                <a:lnTo>
                  <a:pt x="2027" y="302"/>
                </a:lnTo>
                <a:lnTo>
                  <a:pt x="2024" y="302"/>
                </a:lnTo>
                <a:lnTo>
                  <a:pt x="2022" y="301"/>
                </a:lnTo>
                <a:lnTo>
                  <a:pt x="2019" y="300"/>
                </a:lnTo>
                <a:lnTo>
                  <a:pt x="2017" y="298"/>
                </a:lnTo>
                <a:lnTo>
                  <a:pt x="2016" y="296"/>
                </a:lnTo>
                <a:lnTo>
                  <a:pt x="2015" y="294"/>
                </a:lnTo>
                <a:lnTo>
                  <a:pt x="2014" y="291"/>
                </a:lnTo>
                <a:lnTo>
                  <a:pt x="2014" y="289"/>
                </a:lnTo>
                <a:lnTo>
                  <a:pt x="2014" y="286"/>
                </a:lnTo>
                <a:lnTo>
                  <a:pt x="2016" y="282"/>
                </a:lnTo>
                <a:lnTo>
                  <a:pt x="2018" y="280"/>
                </a:lnTo>
                <a:lnTo>
                  <a:pt x="2021" y="277"/>
                </a:lnTo>
                <a:lnTo>
                  <a:pt x="2025" y="276"/>
                </a:lnTo>
                <a:close/>
                <a:moveTo>
                  <a:pt x="1259" y="395"/>
                </a:moveTo>
                <a:lnTo>
                  <a:pt x="1263" y="395"/>
                </a:lnTo>
                <a:lnTo>
                  <a:pt x="1267" y="396"/>
                </a:lnTo>
                <a:lnTo>
                  <a:pt x="1269" y="397"/>
                </a:lnTo>
                <a:lnTo>
                  <a:pt x="1271" y="399"/>
                </a:lnTo>
                <a:lnTo>
                  <a:pt x="1272" y="400"/>
                </a:lnTo>
                <a:lnTo>
                  <a:pt x="1273" y="402"/>
                </a:lnTo>
                <a:lnTo>
                  <a:pt x="1274" y="404"/>
                </a:lnTo>
                <a:lnTo>
                  <a:pt x="1275" y="407"/>
                </a:lnTo>
                <a:lnTo>
                  <a:pt x="1275" y="409"/>
                </a:lnTo>
                <a:lnTo>
                  <a:pt x="1274" y="412"/>
                </a:lnTo>
                <a:lnTo>
                  <a:pt x="1273" y="414"/>
                </a:lnTo>
                <a:lnTo>
                  <a:pt x="1272" y="416"/>
                </a:lnTo>
                <a:lnTo>
                  <a:pt x="1270" y="418"/>
                </a:lnTo>
                <a:lnTo>
                  <a:pt x="1268" y="420"/>
                </a:lnTo>
                <a:lnTo>
                  <a:pt x="1266" y="421"/>
                </a:lnTo>
                <a:lnTo>
                  <a:pt x="1264" y="421"/>
                </a:lnTo>
                <a:lnTo>
                  <a:pt x="1260" y="421"/>
                </a:lnTo>
                <a:lnTo>
                  <a:pt x="1256" y="420"/>
                </a:lnTo>
                <a:lnTo>
                  <a:pt x="1254" y="419"/>
                </a:lnTo>
                <a:lnTo>
                  <a:pt x="1253" y="418"/>
                </a:lnTo>
                <a:lnTo>
                  <a:pt x="1251" y="416"/>
                </a:lnTo>
                <a:lnTo>
                  <a:pt x="1250" y="415"/>
                </a:lnTo>
                <a:lnTo>
                  <a:pt x="1249" y="412"/>
                </a:lnTo>
                <a:lnTo>
                  <a:pt x="1249" y="410"/>
                </a:lnTo>
                <a:lnTo>
                  <a:pt x="1249" y="407"/>
                </a:lnTo>
                <a:lnTo>
                  <a:pt x="1249" y="405"/>
                </a:lnTo>
                <a:lnTo>
                  <a:pt x="1250" y="402"/>
                </a:lnTo>
                <a:lnTo>
                  <a:pt x="1251" y="400"/>
                </a:lnTo>
                <a:lnTo>
                  <a:pt x="1253" y="398"/>
                </a:lnTo>
                <a:lnTo>
                  <a:pt x="1255" y="397"/>
                </a:lnTo>
                <a:lnTo>
                  <a:pt x="1257" y="396"/>
                </a:lnTo>
                <a:lnTo>
                  <a:pt x="1259" y="395"/>
                </a:lnTo>
                <a:close/>
                <a:moveTo>
                  <a:pt x="1960" y="263"/>
                </a:moveTo>
                <a:lnTo>
                  <a:pt x="1965" y="263"/>
                </a:lnTo>
                <a:lnTo>
                  <a:pt x="1967" y="264"/>
                </a:lnTo>
                <a:lnTo>
                  <a:pt x="1969" y="265"/>
                </a:lnTo>
                <a:lnTo>
                  <a:pt x="1971" y="266"/>
                </a:lnTo>
                <a:lnTo>
                  <a:pt x="1973" y="268"/>
                </a:lnTo>
                <a:lnTo>
                  <a:pt x="1974" y="270"/>
                </a:lnTo>
                <a:lnTo>
                  <a:pt x="1975" y="273"/>
                </a:lnTo>
                <a:lnTo>
                  <a:pt x="1975" y="275"/>
                </a:lnTo>
                <a:lnTo>
                  <a:pt x="1975" y="278"/>
                </a:lnTo>
                <a:lnTo>
                  <a:pt x="1974" y="282"/>
                </a:lnTo>
                <a:lnTo>
                  <a:pt x="1972" y="285"/>
                </a:lnTo>
                <a:lnTo>
                  <a:pt x="1970" y="286"/>
                </a:lnTo>
                <a:lnTo>
                  <a:pt x="1968" y="288"/>
                </a:lnTo>
                <a:lnTo>
                  <a:pt x="1965" y="289"/>
                </a:lnTo>
                <a:lnTo>
                  <a:pt x="1960" y="289"/>
                </a:lnTo>
                <a:lnTo>
                  <a:pt x="1958" y="288"/>
                </a:lnTo>
                <a:lnTo>
                  <a:pt x="1955" y="287"/>
                </a:lnTo>
                <a:lnTo>
                  <a:pt x="1953" y="285"/>
                </a:lnTo>
                <a:lnTo>
                  <a:pt x="1952" y="283"/>
                </a:lnTo>
                <a:lnTo>
                  <a:pt x="1950" y="281"/>
                </a:lnTo>
                <a:lnTo>
                  <a:pt x="1950" y="279"/>
                </a:lnTo>
                <a:lnTo>
                  <a:pt x="1949" y="276"/>
                </a:lnTo>
                <a:lnTo>
                  <a:pt x="1949" y="274"/>
                </a:lnTo>
                <a:lnTo>
                  <a:pt x="1951" y="270"/>
                </a:lnTo>
                <a:lnTo>
                  <a:pt x="1953" y="267"/>
                </a:lnTo>
                <a:lnTo>
                  <a:pt x="1955" y="265"/>
                </a:lnTo>
                <a:lnTo>
                  <a:pt x="1956" y="264"/>
                </a:lnTo>
                <a:lnTo>
                  <a:pt x="1960" y="263"/>
                </a:lnTo>
                <a:close/>
                <a:moveTo>
                  <a:pt x="1318" y="364"/>
                </a:moveTo>
                <a:lnTo>
                  <a:pt x="1322" y="364"/>
                </a:lnTo>
                <a:lnTo>
                  <a:pt x="1324" y="365"/>
                </a:lnTo>
                <a:lnTo>
                  <a:pt x="1326" y="366"/>
                </a:lnTo>
                <a:lnTo>
                  <a:pt x="1328" y="367"/>
                </a:lnTo>
                <a:lnTo>
                  <a:pt x="1329" y="368"/>
                </a:lnTo>
                <a:lnTo>
                  <a:pt x="1332" y="371"/>
                </a:lnTo>
                <a:lnTo>
                  <a:pt x="1333" y="374"/>
                </a:lnTo>
                <a:lnTo>
                  <a:pt x="1333" y="376"/>
                </a:lnTo>
                <a:lnTo>
                  <a:pt x="1333" y="379"/>
                </a:lnTo>
                <a:lnTo>
                  <a:pt x="1333" y="381"/>
                </a:lnTo>
                <a:lnTo>
                  <a:pt x="1331" y="384"/>
                </a:lnTo>
                <a:lnTo>
                  <a:pt x="1330" y="386"/>
                </a:lnTo>
                <a:lnTo>
                  <a:pt x="1328" y="388"/>
                </a:lnTo>
                <a:lnTo>
                  <a:pt x="1326" y="389"/>
                </a:lnTo>
                <a:lnTo>
                  <a:pt x="1322" y="390"/>
                </a:lnTo>
                <a:lnTo>
                  <a:pt x="1318" y="390"/>
                </a:lnTo>
                <a:lnTo>
                  <a:pt x="1316" y="390"/>
                </a:lnTo>
                <a:lnTo>
                  <a:pt x="1314" y="389"/>
                </a:lnTo>
                <a:lnTo>
                  <a:pt x="1312" y="388"/>
                </a:lnTo>
                <a:lnTo>
                  <a:pt x="1311" y="387"/>
                </a:lnTo>
                <a:lnTo>
                  <a:pt x="1308" y="383"/>
                </a:lnTo>
                <a:lnTo>
                  <a:pt x="1307" y="381"/>
                </a:lnTo>
                <a:lnTo>
                  <a:pt x="1307" y="378"/>
                </a:lnTo>
                <a:lnTo>
                  <a:pt x="1307" y="376"/>
                </a:lnTo>
                <a:lnTo>
                  <a:pt x="1308" y="373"/>
                </a:lnTo>
                <a:lnTo>
                  <a:pt x="1309" y="371"/>
                </a:lnTo>
                <a:lnTo>
                  <a:pt x="1310" y="369"/>
                </a:lnTo>
                <a:lnTo>
                  <a:pt x="1312" y="367"/>
                </a:lnTo>
                <a:lnTo>
                  <a:pt x="1314" y="366"/>
                </a:lnTo>
                <a:lnTo>
                  <a:pt x="1318" y="364"/>
                </a:lnTo>
                <a:close/>
                <a:moveTo>
                  <a:pt x="1895" y="254"/>
                </a:moveTo>
                <a:lnTo>
                  <a:pt x="1898" y="254"/>
                </a:lnTo>
                <a:lnTo>
                  <a:pt x="1901" y="254"/>
                </a:lnTo>
                <a:lnTo>
                  <a:pt x="1903" y="255"/>
                </a:lnTo>
                <a:lnTo>
                  <a:pt x="1905" y="257"/>
                </a:lnTo>
                <a:lnTo>
                  <a:pt x="1907" y="259"/>
                </a:lnTo>
                <a:lnTo>
                  <a:pt x="1908" y="261"/>
                </a:lnTo>
                <a:lnTo>
                  <a:pt x="1909" y="263"/>
                </a:lnTo>
                <a:lnTo>
                  <a:pt x="1910" y="266"/>
                </a:lnTo>
                <a:lnTo>
                  <a:pt x="1910" y="268"/>
                </a:lnTo>
                <a:lnTo>
                  <a:pt x="1909" y="270"/>
                </a:lnTo>
                <a:lnTo>
                  <a:pt x="1909" y="272"/>
                </a:lnTo>
                <a:lnTo>
                  <a:pt x="1906" y="276"/>
                </a:lnTo>
                <a:lnTo>
                  <a:pt x="1903" y="278"/>
                </a:lnTo>
                <a:lnTo>
                  <a:pt x="1901" y="279"/>
                </a:lnTo>
                <a:lnTo>
                  <a:pt x="1899" y="280"/>
                </a:lnTo>
                <a:lnTo>
                  <a:pt x="1895" y="280"/>
                </a:lnTo>
                <a:lnTo>
                  <a:pt x="1893" y="279"/>
                </a:lnTo>
                <a:lnTo>
                  <a:pt x="1891" y="278"/>
                </a:lnTo>
                <a:lnTo>
                  <a:pt x="1888" y="277"/>
                </a:lnTo>
                <a:lnTo>
                  <a:pt x="1887" y="275"/>
                </a:lnTo>
                <a:lnTo>
                  <a:pt x="1885" y="273"/>
                </a:lnTo>
                <a:lnTo>
                  <a:pt x="1884" y="271"/>
                </a:lnTo>
                <a:lnTo>
                  <a:pt x="1884" y="268"/>
                </a:lnTo>
                <a:lnTo>
                  <a:pt x="1884" y="265"/>
                </a:lnTo>
                <a:lnTo>
                  <a:pt x="1884" y="263"/>
                </a:lnTo>
                <a:lnTo>
                  <a:pt x="1885" y="261"/>
                </a:lnTo>
                <a:lnTo>
                  <a:pt x="1887" y="258"/>
                </a:lnTo>
                <a:lnTo>
                  <a:pt x="1891" y="255"/>
                </a:lnTo>
                <a:lnTo>
                  <a:pt x="1893" y="254"/>
                </a:lnTo>
                <a:lnTo>
                  <a:pt x="1895" y="254"/>
                </a:lnTo>
                <a:close/>
                <a:moveTo>
                  <a:pt x="1378" y="337"/>
                </a:moveTo>
                <a:lnTo>
                  <a:pt x="1382" y="337"/>
                </a:lnTo>
                <a:lnTo>
                  <a:pt x="1386" y="338"/>
                </a:lnTo>
                <a:lnTo>
                  <a:pt x="1388" y="339"/>
                </a:lnTo>
                <a:lnTo>
                  <a:pt x="1390" y="341"/>
                </a:lnTo>
                <a:lnTo>
                  <a:pt x="1392" y="344"/>
                </a:lnTo>
                <a:lnTo>
                  <a:pt x="1393" y="347"/>
                </a:lnTo>
                <a:lnTo>
                  <a:pt x="1393" y="349"/>
                </a:lnTo>
                <a:lnTo>
                  <a:pt x="1393" y="352"/>
                </a:lnTo>
                <a:lnTo>
                  <a:pt x="1392" y="354"/>
                </a:lnTo>
                <a:lnTo>
                  <a:pt x="1391" y="357"/>
                </a:lnTo>
                <a:lnTo>
                  <a:pt x="1390" y="359"/>
                </a:lnTo>
                <a:lnTo>
                  <a:pt x="1388" y="360"/>
                </a:lnTo>
                <a:lnTo>
                  <a:pt x="1385" y="362"/>
                </a:lnTo>
                <a:lnTo>
                  <a:pt x="1382" y="362"/>
                </a:lnTo>
                <a:lnTo>
                  <a:pt x="1378" y="362"/>
                </a:lnTo>
                <a:lnTo>
                  <a:pt x="1374" y="361"/>
                </a:lnTo>
                <a:lnTo>
                  <a:pt x="1372" y="360"/>
                </a:lnTo>
                <a:lnTo>
                  <a:pt x="1370" y="358"/>
                </a:lnTo>
                <a:lnTo>
                  <a:pt x="1368" y="355"/>
                </a:lnTo>
                <a:lnTo>
                  <a:pt x="1367" y="352"/>
                </a:lnTo>
                <a:lnTo>
                  <a:pt x="1367" y="350"/>
                </a:lnTo>
                <a:lnTo>
                  <a:pt x="1367" y="347"/>
                </a:lnTo>
                <a:lnTo>
                  <a:pt x="1368" y="345"/>
                </a:lnTo>
                <a:lnTo>
                  <a:pt x="1369" y="342"/>
                </a:lnTo>
                <a:lnTo>
                  <a:pt x="1371" y="340"/>
                </a:lnTo>
                <a:lnTo>
                  <a:pt x="1373" y="339"/>
                </a:lnTo>
                <a:lnTo>
                  <a:pt x="1375" y="337"/>
                </a:lnTo>
                <a:lnTo>
                  <a:pt x="1378" y="337"/>
                </a:lnTo>
                <a:close/>
                <a:moveTo>
                  <a:pt x="1829" y="249"/>
                </a:moveTo>
                <a:lnTo>
                  <a:pt x="1831" y="249"/>
                </a:lnTo>
                <a:lnTo>
                  <a:pt x="1834" y="249"/>
                </a:lnTo>
                <a:lnTo>
                  <a:pt x="1836" y="250"/>
                </a:lnTo>
                <a:lnTo>
                  <a:pt x="1839" y="252"/>
                </a:lnTo>
                <a:lnTo>
                  <a:pt x="1840" y="253"/>
                </a:lnTo>
                <a:lnTo>
                  <a:pt x="1842" y="255"/>
                </a:lnTo>
                <a:lnTo>
                  <a:pt x="1843" y="257"/>
                </a:lnTo>
                <a:lnTo>
                  <a:pt x="1844" y="260"/>
                </a:lnTo>
                <a:lnTo>
                  <a:pt x="1844" y="263"/>
                </a:lnTo>
                <a:lnTo>
                  <a:pt x="1844" y="265"/>
                </a:lnTo>
                <a:lnTo>
                  <a:pt x="1843" y="267"/>
                </a:lnTo>
                <a:lnTo>
                  <a:pt x="1842" y="269"/>
                </a:lnTo>
                <a:lnTo>
                  <a:pt x="1841" y="271"/>
                </a:lnTo>
                <a:lnTo>
                  <a:pt x="1839" y="272"/>
                </a:lnTo>
                <a:lnTo>
                  <a:pt x="1837" y="274"/>
                </a:lnTo>
                <a:lnTo>
                  <a:pt x="1835" y="274"/>
                </a:lnTo>
                <a:lnTo>
                  <a:pt x="1833" y="275"/>
                </a:lnTo>
                <a:lnTo>
                  <a:pt x="1830" y="275"/>
                </a:lnTo>
                <a:lnTo>
                  <a:pt x="1828" y="275"/>
                </a:lnTo>
                <a:lnTo>
                  <a:pt x="1825" y="274"/>
                </a:lnTo>
                <a:lnTo>
                  <a:pt x="1823" y="273"/>
                </a:lnTo>
                <a:lnTo>
                  <a:pt x="1821" y="271"/>
                </a:lnTo>
                <a:lnTo>
                  <a:pt x="1820" y="269"/>
                </a:lnTo>
                <a:lnTo>
                  <a:pt x="1819" y="267"/>
                </a:lnTo>
                <a:lnTo>
                  <a:pt x="1818" y="264"/>
                </a:lnTo>
                <a:lnTo>
                  <a:pt x="1818" y="262"/>
                </a:lnTo>
                <a:lnTo>
                  <a:pt x="1818" y="259"/>
                </a:lnTo>
                <a:lnTo>
                  <a:pt x="1819" y="257"/>
                </a:lnTo>
                <a:lnTo>
                  <a:pt x="1820" y="255"/>
                </a:lnTo>
                <a:lnTo>
                  <a:pt x="1821" y="253"/>
                </a:lnTo>
                <a:lnTo>
                  <a:pt x="1823" y="252"/>
                </a:lnTo>
                <a:lnTo>
                  <a:pt x="1824" y="251"/>
                </a:lnTo>
                <a:lnTo>
                  <a:pt x="1826" y="250"/>
                </a:lnTo>
                <a:lnTo>
                  <a:pt x="1829" y="249"/>
                </a:lnTo>
                <a:close/>
                <a:moveTo>
                  <a:pt x="1439" y="312"/>
                </a:moveTo>
                <a:lnTo>
                  <a:pt x="1444" y="312"/>
                </a:lnTo>
                <a:lnTo>
                  <a:pt x="1446" y="313"/>
                </a:lnTo>
                <a:lnTo>
                  <a:pt x="1448" y="314"/>
                </a:lnTo>
                <a:lnTo>
                  <a:pt x="1452" y="317"/>
                </a:lnTo>
                <a:lnTo>
                  <a:pt x="1453" y="318"/>
                </a:lnTo>
                <a:lnTo>
                  <a:pt x="1454" y="321"/>
                </a:lnTo>
                <a:lnTo>
                  <a:pt x="1455" y="326"/>
                </a:lnTo>
                <a:lnTo>
                  <a:pt x="1454" y="328"/>
                </a:lnTo>
                <a:lnTo>
                  <a:pt x="1453" y="331"/>
                </a:lnTo>
                <a:lnTo>
                  <a:pt x="1452" y="333"/>
                </a:lnTo>
                <a:lnTo>
                  <a:pt x="1450" y="335"/>
                </a:lnTo>
                <a:lnTo>
                  <a:pt x="1448" y="336"/>
                </a:lnTo>
                <a:lnTo>
                  <a:pt x="1446" y="337"/>
                </a:lnTo>
                <a:lnTo>
                  <a:pt x="1444" y="338"/>
                </a:lnTo>
                <a:lnTo>
                  <a:pt x="1439" y="338"/>
                </a:lnTo>
                <a:lnTo>
                  <a:pt x="1437" y="337"/>
                </a:lnTo>
                <a:lnTo>
                  <a:pt x="1435" y="336"/>
                </a:lnTo>
                <a:lnTo>
                  <a:pt x="1432" y="334"/>
                </a:lnTo>
                <a:lnTo>
                  <a:pt x="1430" y="332"/>
                </a:lnTo>
                <a:lnTo>
                  <a:pt x="1429" y="330"/>
                </a:lnTo>
                <a:lnTo>
                  <a:pt x="1428" y="324"/>
                </a:lnTo>
                <a:lnTo>
                  <a:pt x="1429" y="322"/>
                </a:lnTo>
                <a:lnTo>
                  <a:pt x="1430" y="320"/>
                </a:lnTo>
                <a:lnTo>
                  <a:pt x="1431" y="317"/>
                </a:lnTo>
                <a:lnTo>
                  <a:pt x="1433" y="315"/>
                </a:lnTo>
                <a:lnTo>
                  <a:pt x="1435" y="314"/>
                </a:lnTo>
                <a:lnTo>
                  <a:pt x="1437" y="313"/>
                </a:lnTo>
                <a:lnTo>
                  <a:pt x="1439" y="312"/>
                </a:lnTo>
                <a:close/>
                <a:moveTo>
                  <a:pt x="1762" y="249"/>
                </a:moveTo>
                <a:lnTo>
                  <a:pt x="1764" y="249"/>
                </a:lnTo>
                <a:lnTo>
                  <a:pt x="1767" y="249"/>
                </a:lnTo>
                <a:lnTo>
                  <a:pt x="1769" y="250"/>
                </a:lnTo>
                <a:lnTo>
                  <a:pt x="1772" y="251"/>
                </a:lnTo>
                <a:lnTo>
                  <a:pt x="1774" y="252"/>
                </a:lnTo>
                <a:lnTo>
                  <a:pt x="1775" y="254"/>
                </a:lnTo>
                <a:lnTo>
                  <a:pt x="1777" y="256"/>
                </a:lnTo>
                <a:lnTo>
                  <a:pt x="1777" y="258"/>
                </a:lnTo>
                <a:lnTo>
                  <a:pt x="1777" y="259"/>
                </a:lnTo>
                <a:lnTo>
                  <a:pt x="1778" y="262"/>
                </a:lnTo>
                <a:lnTo>
                  <a:pt x="1778" y="264"/>
                </a:lnTo>
                <a:lnTo>
                  <a:pt x="1777" y="266"/>
                </a:lnTo>
                <a:lnTo>
                  <a:pt x="1776" y="268"/>
                </a:lnTo>
                <a:lnTo>
                  <a:pt x="1775" y="270"/>
                </a:lnTo>
                <a:lnTo>
                  <a:pt x="1773" y="272"/>
                </a:lnTo>
                <a:lnTo>
                  <a:pt x="1771" y="273"/>
                </a:lnTo>
                <a:lnTo>
                  <a:pt x="1769" y="274"/>
                </a:lnTo>
                <a:lnTo>
                  <a:pt x="1767" y="275"/>
                </a:lnTo>
                <a:lnTo>
                  <a:pt x="1765" y="275"/>
                </a:lnTo>
                <a:lnTo>
                  <a:pt x="1762" y="275"/>
                </a:lnTo>
                <a:lnTo>
                  <a:pt x="1760" y="274"/>
                </a:lnTo>
                <a:lnTo>
                  <a:pt x="1758" y="273"/>
                </a:lnTo>
                <a:lnTo>
                  <a:pt x="1756" y="271"/>
                </a:lnTo>
                <a:lnTo>
                  <a:pt x="1754" y="270"/>
                </a:lnTo>
                <a:lnTo>
                  <a:pt x="1753" y="267"/>
                </a:lnTo>
                <a:lnTo>
                  <a:pt x="1752" y="266"/>
                </a:lnTo>
                <a:lnTo>
                  <a:pt x="1752" y="265"/>
                </a:lnTo>
                <a:lnTo>
                  <a:pt x="1752" y="262"/>
                </a:lnTo>
                <a:lnTo>
                  <a:pt x="1752" y="260"/>
                </a:lnTo>
                <a:lnTo>
                  <a:pt x="1752" y="258"/>
                </a:lnTo>
                <a:lnTo>
                  <a:pt x="1753" y="255"/>
                </a:lnTo>
                <a:lnTo>
                  <a:pt x="1755" y="254"/>
                </a:lnTo>
                <a:lnTo>
                  <a:pt x="1756" y="252"/>
                </a:lnTo>
                <a:lnTo>
                  <a:pt x="1758" y="251"/>
                </a:lnTo>
                <a:lnTo>
                  <a:pt x="1760" y="250"/>
                </a:lnTo>
                <a:lnTo>
                  <a:pt x="1762" y="249"/>
                </a:lnTo>
                <a:close/>
                <a:moveTo>
                  <a:pt x="1502" y="291"/>
                </a:moveTo>
                <a:lnTo>
                  <a:pt x="1507" y="291"/>
                </a:lnTo>
                <a:lnTo>
                  <a:pt x="1509" y="292"/>
                </a:lnTo>
                <a:lnTo>
                  <a:pt x="1511" y="293"/>
                </a:lnTo>
                <a:lnTo>
                  <a:pt x="1513" y="295"/>
                </a:lnTo>
                <a:lnTo>
                  <a:pt x="1514" y="295"/>
                </a:lnTo>
                <a:lnTo>
                  <a:pt x="1515" y="296"/>
                </a:lnTo>
                <a:lnTo>
                  <a:pt x="1516" y="298"/>
                </a:lnTo>
                <a:lnTo>
                  <a:pt x="1517" y="301"/>
                </a:lnTo>
                <a:lnTo>
                  <a:pt x="1517" y="303"/>
                </a:lnTo>
                <a:lnTo>
                  <a:pt x="1517" y="306"/>
                </a:lnTo>
                <a:lnTo>
                  <a:pt x="1517" y="308"/>
                </a:lnTo>
                <a:lnTo>
                  <a:pt x="1516" y="311"/>
                </a:lnTo>
                <a:lnTo>
                  <a:pt x="1515" y="312"/>
                </a:lnTo>
                <a:lnTo>
                  <a:pt x="1514" y="313"/>
                </a:lnTo>
                <a:lnTo>
                  <a:pt x="1513" y="314"/>
                </a:lnTo>
                <a:lnTo>
                  <a:pt x="1510" y="316"/>
                </a:lnTo>
                <a:lnTo>
                  <a:pt x="1508" y="317"/>
                </a:lnTo>
                <a:lnTo>
                  <a:pt x="1507" y="317"/>
                </a:lnTo>
                <a:lnTo>
                  <a:pt x="1502" y="317"/>
                </a:lnTo>
                <a:lnTo>
                  <a:pt x="1500" y="317"/>
                </a:lnTo>
                <a:lnTo>
                  <a:pt x="1497" y="316"/>
                </a:lnTo>
                <a:lnTo>
                  <a:pt x="1496" y="314"/>
                </a:lnTo>
                <a:lnTo>
                  <a:pt x="1495" y="313"/>
                </a:lnTo>
                <a:lnTo>
                  <a:pt x="1494" y="312"/>
                </a:lnTo>
                <a:lnTo>
                  <a:pt x="1493" y="310"/>
                </a:lnTo>
                <a:lnTo>
                  <a:pt x="1492" y="308"/>
                </a:lnTo>
                <a:lnTo>
                  <a:pt x="1491" y="305"/>
                </a:lnTo>
                <a:lnTo>
                  <a:pt x="1491" y="303"/>
                </a:lnTo>
                <a:lnTo>
                  <a:pt x="1492" y="300"/>
                </a:lnTo>
                <a:lnTo>
                  <a:pt x="1493" y="298"/>
                </a:lnTo>
                <a:lnTo>
                  <a:pt x="1493" y="297"/>
                </a:lnTo>
                <a:lnTo>
                  <a:pt x="1494" y="296"/>
                </a:lnTo>
                <a:lnTo>
                  <a:pt x="1496" y="294"/>
                </a:lnTo>
                <a:lnTo>
                  <a:pt x="1498" y="293"/>
                </a:lnTo>
                <a:lnTo>
                  <a:pt x="1501" y="292"/>
                </a:lnTo>
                <a:lnTo>
                  <a:pt x="1502" y="291"/>
                </a:lnTo>
                <a:close/>
                <a:moveTo>
                  <a:pt x="1696" y="253"/>
                </a:moveTo>
                <a:lnTo>
                  <a:pt x="1699" y="253"/>
                </a:lnTo>
                <a:lnTo>
                  <a:pt x="1702" y="254"/>
                </a:lnTo>
                <a:lnTo>
                  <a:pt x="1705" y="255"/>
                </a:lnTo>
                <a:lnTo>
                  <a:pt x="1707" y="256"/>
                </a:lnTo>
                <a:lnTo>
                  <a:pt x="1709" y="258"/>
                </a:lnTo>
                <a:lnTo>
                  <a:pt x="1710" y="260"/>
                </a:lnTo>
                <a:lnTo>
                  <a:pt x="1711" y="262"/>
                </a:lnTo>
                <a:lnTo>
                  <a:pt x="1712" y="265"/>
                </a:lnTo>
                <a:lnTo>
                  <a:pt x="1712" y="267"/>
                </a:lnTo>
                <a:lnTo>
                  <a:pt x="1711" y="270"/>
                </a:lnTo>
                <a:lnTo>
                  <a:pt x="1710" y="272"/>
                </a:lnTo>
                <a:lnTo>
                  <a:pt x="1709" y="274"/>
                </a:lnTo>
                <a:lnTo>
                  <a:pt x="1706" y="277"/>
                </a:lnTo>
                <a:lnTo>
                  <a:pt x="1703" y="278"/>
                </a:lnTo>
                <a:lnTo>
                  <a:pt x="1701" y="279"/>
                </a:lnTo>
                <a:lnTo>
                  <a:pt x="1698" y="279"/>
                </a:lnTo>
                <a:lnTo>
                  <a:pt x="1695" y="279"/>
                </a:lnTo>
                <a:lnTo>
                  <a:pt x="1693" y="278"/>
                </a:lnTo>
                <a:lnTo>
                  <a:pt x="1690" y="276"/>
                </a:lnTo>
                <a:lnTo>
                  <a:pt x="1689" y="274"/>
                </a:lnTo>
                <a:lnTo>
                  <a:pt x="1687" y="272"/>
                </a:lnTo>
                <a:lnTo>
                  <a:pt x="1686" y="270"/>
                </a:lnTo>
                <a:lnTo>
                  <a:pt x="1686" y="267"/>
                </a:lnTo>
                <a:lnTo>
                  <a:pt x="1686" y="265"/>
                </a:lnTo>
                <a:lnTo>
                  <a:pt x="1686" y="262"/>
                </a:lnTo>
                <a:lnTo>
                  <a:pt x="1687" y="260"/>
                </a:lnTo>
                <a:lnTo>
                  <a:pt x="1688" y="258"/>
                </a:lnTo>
                <a:lnTo>
                  <a:pt x="1692" y="255"/>
                </a:lnTo>
                <a:lnTo>
                  <a:pt x="1694" y="254"/>
                </a:lnTo>
                <a:lnTo>
                  <a:pt x="1696" y="253"/>
                </a:lnTo>
                <a:close/>
                <a:moveTo>
                  <a:pt x="1566" y="275"/>
                </a:moveTo>
                <a:lnTo>
                  <a:pt x="1571" y="275"/>
                </a:lnTo>
                <a:lnTo>
                  <a:pt x="1573" y="275"/>
                </a:lnTo>
                <a:lnTo>
                  <a:pt x="1575" y="277"/>
                </a:lnTo>
                <a:lnTo>
                  <a:pt x="1577" y="278"/>
                </a:lnTo>
                <a:lnTo>
                  <a:pt x="1579" y="280"/>
                </a:lnTo>
                <a:lnTo>
                  <a:pt x="1580" y="282"/>
                </a:lnTo>
                <a:lnTo>
                  <a:pt x="1581" y="285"/>
                </a:lnTo>
                <a:lnTo>
                  <a:pt x="1581" y="287"/>
                </a:lnTo>
                <a:lnTo>
                  <a:pt x="1581" y="290"/>
                </a:lnTo>
                <a:lnTo>
                  <a:pt x="1580" y="292"/>
                </a:lnTo>
                <a:lnTo>
                  <a:pt x="1579" y="294"/>
                </a:lnTo>
                <a:lnTo>
                  <a:pt x="1578" y="296"/>
                </a:lnTo>
                <a:lnTo>
                  <a:pt x="1576" y="298"/>
                </a:lnTo>
                <a:lnTo>
                  <a:pt x="1574" y="299"/>
                </a:lnTo>
                <a:lnTo>
                  <a:pt x="1571" y="300"/>
                </a:lnTo>
                <a:lnTo>
                  <a:pt x="1566" y="300"/>
                </a:lnTo>
                <a:lnTo>
                  <a:pt x="1563" y="300"/>
                </a:lnTo>
                <a:lnTo>
                  <a:pt x="1561" y="298"/>
                </a:lnTo>
                <a:lnTo>
                  <a:pt x="1559" y="297"/>
                </a:lnTo>
                <a:lnTo>
                  <a:pt x="1557" y="295"/>
                </a:lnTo>
                <a:lnTo>
                  <a:pt x="1556" y="293"/>
                </a:lnTo>
                <a:lnTo>
                  <a:pt x="1555" y="290"/>
                </a:lnTo>
                <a:lnTo>
                  <a:pt x="1555" y="288"/>
                </a:lnTo>
                <a:lnTo>
                  <a:pt x="1555" y="285"/>
                </a:lnTo>
                <a:lnTo>
                  <a:pt x="1556" y="283"/>
                </a:lnTo>
                <a:lnTo>
                  <a:pt x="1557" y="281"/>
                </a:lnTo>
                <a:lnTo>
                  <a:pt x="1559" y="279"/>
                </a:lnTo>
                <a:lnTo>
                  <a:pt x="1561" y="277"/>
                </a:lnTo>
                <a:lnTo>
                  <a:pt x="1563" y="276"/>
                </a:lnTo>
                <a:lnTo>
                  <a:pt x="1565" y="275"/>
                </a:lnTo>
                <a:lnTo>
                  <a:pt x="1566" y="275"/>
                </a:lnTo>
                <a:close/>
                <a:moveTo>
                  <a:pt x="1631" y="262"/>
                </a:moveTo>
                <a:lnTo>
                  <a:pt x="1634" y="262"/>
                </a:lnTo>
                <a:lnTo>
                  <a:pt x="1636" y="262"/>
                </a:lnTo>
                <a:lnTo>
                  <a:pt x="1639" y="263"/>
                </a:lnTo>
                <a:lnTo>
                  <a:pt x="1641" y="264"/>
                </a:lnTo>
                <a:lnTo>
                  <a:pt x="1643" y="266"/>
                </a:lnTo>
                <a:lnTo>
                  <a:pt x="1644" y="268"/>
                </a:lnTo>
                <a:lnTo>
                  <a:pt x="1645" y="270"/>
                </a:lnTo>
                <a:lnTo>
                  <a:pt x="1646" y="273"/>
                </a:lnTo>
                <a:lnTo>
                  <a:pt x="1646" y="275"/>
                </a:lnTo>
                <a:lnTo>
                  <a:pt x="1646" y="278"/>
                </a:lnTo>
                <a:lnTo>
                  <a:pt x="1645" y="280"/>
                </a:lnTo>
                <a:lnTo>
                  <a:pt x="1644" y="282"/>
                </a:lnTo>
                <a:lnTo>
                  <a:pt x="1640" y="286"/>
                </a:lnTo>
                <a:lnTo>
                  <a:pt x="1638" y="287"/>
                </a:lnTo>
                <a:lnTo>
                  <a:pt x="1635" y="288"/>
                </a:lnTo>
                <a:lnTo>
                  <a:pt x="1633" y="288"/>
                </a:lnTo>
                <a:lnTo>
                  <a:pt x="1630" y="287"/>
                </a:lnTo>
                <a:lnTo>
                  <a:pt x="1628" y="287"/>
                </a:lnTo>
                <a:lnTo>
                  <a:pt x="1625" y="285"/>
                </a:lnTo>
                <a:lnTo>
                  <a:pt x="1624" y="284"/>
                </a:lnTo>
                <a:lnTo>
                  <a:pt x="1622" y="282"/>
                </a:lnTo>
                <a:lnTo>
                  <a:pt x="1621" y="279"/>
                </a:lnTo>
                <a:lnTo>
                  <a:pt x="1620" y="277"/>
                </a:lnTo>
                <a:lnTo>
                  <a:pt x="1620" y="274"/>
                </a:lnTo>
                <a:lnTo>
                  <a:pt x="1620" y="272"/>
                </a:lnTo>
                <a:lnTo>
                  <a:pt x="1621" y="269"/>
                </a:lnTo>
                <a:lnTo>
                  <a:pt x="1622" y="267"/>
                </a:lnTo>
                <a:lnTo>
                  <a:pt x="1626" y="264"/>
                </a:lnTo>
                <a:lnTo>
                  <a:pt x="1628" y="262"/>
                </a:lnTo>
                <a:lnTo>
                  <a:pt x="1631" y="262"/>
                </a:lnTo>
                <a:close/>
              </a:path>
            </a:pathLst>
          </a:custGeom>
          <a:solidFill>
            <a:srgbClr val="2C495A">
              <a:alpha val="49804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reeform 6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81152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Content Green" type="obj" preserve="1">
  <p:cSld name="Title and Cont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"/>
          <p:cNvSpPr>
            <a:spLocks noEditPoints="1"/>
          </p:cNvSpPr>
          <p:nvPr userDrawn="1"/>
        </p:nvSpPr>
        <p:spPr bwMode="auto">
          <a:xfrm>
            <a:off x="7608168" y="4587521"/>
            <a:ext cx="4583832" cy="2270479"/>
          </a:xfrm>
          <a:custGeom>
            <a:avLst/>
            <a:gdLst>
              <a:gd name="T0" fmla="*/ 3697 w 4811"/>
              <a:gd name="T1" fmla="*/ 2229 h 2383"/>
              <a:gd name="T2" fmla="*/ 4135 w 4811"/>
              <a:gd name="T3" fmla="*/ 2292 h 2383"/>
              <a:gd name="T4" fmla="*/ 4664 w 4811"/>
              <a:gd name="T5" fmla="*/ 925 h 2383"/>
              <a:gd name="T6" fmla="*/ 4243 w 4811"/>
              <a:gd name="T7" fmla="*/ 833 h 2383"/>
              <a:gd name="T8" fmla="*/ 3838 w 4811"/>
              <a:gd name="T9" fmla="*/ 694 h 2383"/>
              <a:gd name="T10" fmla="*/ 3455 w 4811"/>
              <a:gd name="T11" fmla="*/ 502 h 2383"/>
              <a:gd name="T12" fmla="*/ 3177 w 4811"/>
              <a:gd name="T13" fmla="*/ 365 h 2383"/>
              <a:gd name="T14" fmla="*/ 3047 w 4811"/>
              <a:gd name="T15" fmla="*/ 284 h 2383"/>
              <a:gd name="T16" fmla="*/ 444 w 4811"/>
              <a:gd name="T17" fmla="*/ 1728 h 2383"/>
              <a:gd name="T18" fmla="*/ 569 w 4811"/>
              <a:gd name="T19" fmla="*/ 1649 h 2383"/>
              <a:gd name="T20" fmla="*/ 2935 w 4811"/>
              <a:gd name="T21" fmla="*/ 245 h 2383"/>
              <a:gd name="T22" fmla="*/ 1360 w 4811"/>
              <a:gd name="T23" fmla="*/ 1024 h 2383"/>
              <a:gd name="T24" fmla="*/ 2672 w 4811"/>
              <a:gd name="T25" fmla="*/ 135 h 2383"/>
              <a:gd name="T26" fmla="*/ 1444 w 4811"/>
              <a:gd name="T27" fmla="*/ 614 h 2383"/>
              <a:gd name="T28" fmla="*/ 1457 w 4811"/>
              <a:gd name="T29" fmla="*/ 469 h 2383"/>
              <a:gd name="T30" fmla="*/ 1962 w 4811"/>
              <a:gd name="T31" fmla="*/ 44 h 2383"/>
              <a:gd name="T32" fmla="*/ 1697 w 4811"/>
              <a:gd name="T33" fmla="*/ 121 h 2383"/>
              <a:gd name="T34" fmla="*/ 4512 w 4811"/>
              <a:gd name="T35" fmla="*/ 1220 h 2383"/>
              <a:gd name="T36" fmla="*/ 4105 w 4811"/>
              <a:gd name="T37" fmla="*/ 1077 h 2383"/>
              <a:gd name="T38" fmla="*/ 3709 w 4811"/>
              <a:gd name="T39" fmla="*/ 878 h 2383"/>
              <a:gd name="T40" fmla="*/ 3339 w 4811"/>
              <a:gd name="T41" fmla="*/ 673 h 2383"/>
              <a:gd name="T42" fmla="*/ 733 w 4811"/>
              <a:gd name="T43" fmla="*/ 2077 h 2383"/>
              <a:gd name="T44" fmla="*/ 835 w 4811"/>
              <a:gd name="T45" fmla="*/ 1990 h 2383"/>
              <a:gd name="T46" fmla="*/ 1324 w 4811"/>
              <a:gd name="T47" fmla="*/ 1694 h 2383"/>
              <a:gd name="T48" fmla="*/ 1522 w 4811"/>
              <a:gd name="T49" fmla="*/ 1503 h 2383"/>
              <a:gd name="T50" fmla="*/ 1660 w 4811"/>
              <a:gd name="T51" fmla="*/ 1239 h 2383"/>
              <a:gd name="T52" fmla="*/ 2781 w 4811"/>
              <a:gd name="T53" fmla="*/ 439 h 2383"/>
              <a:gd name="T54" fmla="*/ 1718 w 4811"/>
              <a:gd name="T55" fmla="*/ 811 h 2383"/>
              <a:gd name="T56" fmla="*/ 2218 w 4811"/>
              <a:gd name="T57" fmla="*/ 385 h 2383"/>
              <a:gd name="T58" fmla="*/ 1945 w 4811"/>
              <a:gd name="T59" fmla="*/ 469 h 2383"/>
              <a:gd name="T60" fmla="*/ 4617 w 4811"/>
              <a:gd name="T61" fmla="*/ 1533 h 2383"/>
              <a:gd name="T62" fmla="*/ 4100 w 4811"/>
              <a:gd name="T63" fmla="*/ 1288 h 2383"/>
              <a:gd name="T64" fmla="*/ 3735 w 4811"/>
              <a:gd name="T65" fmla="*/ 1088 h 2383"/>
              <a:gd name="T66" fmla="*/ 1488 w 4811"/>
              <a:gd name="T67" fmla="*/ 2147 h 2383"/>
              <a:gd name="T68" fmla="*/ 1615 w 4811"/>
              <a:gd name="T69" fmla="*/ 2081 h 2383"/>
              <a:gd name="T70" fmla="*/ 1818 w 4811"/>
              <a:gd name="T71" fmla="*/ 1874 h 2383"/>
              <a:gd name="T72" fmla="*/ 1949 w 4811"/>
              <a:gd name="T73" fmla="*/ 1628 h 2383"/>
              <a:gd name="T74" fmla="*/ 3075 w 4811"/>
              <a:gd name="T75" fmla="*/ 825 h 2383"/>
              <a:gd name="T76" fmla="*/ 2789 w 4811"/>
              <a:gd name="T77" fmla="*/ 776 h 2383"/>
              <a:gd name="T78" fmla="*/ 2035 w 4811"/>
              <a:gd name="T79" fmla="*/ 1065 h 2383"/>
              <a:gd name="T80" fmla="*/ 2114 w 4811"/>
              <a:gd name="T81" fmla="*/ 937 h 2383"/>
              <a:gd name="T82" fmla="*/ 4637 w 4811"/>
              <a:gd name="T83" fmla="*/ 1805 h 2383"/>
              <a:gd name="T84" fmla="*/ 4260 w 4811"/>
              <a:gd name="T85" fmla="*/ 1606 h 2383"/>
              <a:gd name="T86" fmla="*/ 3874 w 4811"/>
              <a:gd name="T87" fmla="*/ 1413 h 2383"/>
              <a:gd name="T88" fmla="*/ 2085 w 4811"/>
              <a:gd name="T89" fmla="*/ 2254 h 2383"/>
              <a:gd name="T90" fmla="*/ 2215 w 4811"/>
              <a:gd name="T91" fmla="*/ 2003 h 2383"/>
              <a:gd name="T92" fmla="*/ 3342 w 4811"/>
              <a:gd name="T93" fmla="*/ 1195 h 2383"/>
              <a:gd name="T94" fmla="*/ 3056 w 4811"/>
              <a:gd name="T95" fmla="*/ 1147 h 2383"/>
              <a:gd name="T96" fmla="*/ 2302 w 4811"/>
              <a:gd name="T97" fmla="*/ 1435 h 2383"/>
              <a:gd name="T98" fmla="*/ 2381 w 4811"/>
              <a:gd name="T99" fmla="*/ 1308 h 2383"/>
              <a:gd name="T100" fmla="*/ 4653 w 4811"/>
              <a:gd name="T101" fmla="*/ 2048 h 2383"/>
              <a:gd name="T102" fmla="*/ 4272 w 4811"/>
              <a:gd name="T103" fmla="*/ 1845 h 2383"/>
              <a:gd name="T104" fmla="*/ 3878 w 4811"/>
              <a:gd name="T105" fmla="*/ 1665 h 2383"/>
              <a:gd name="T106" fmla="*/ 2513 w 4811"/>
              <a:gd name="T107" fmla="*/ 2232 h 2383"/>
              <a:gd name="T108" fmla="*/ 3462 w 4811"/>
              <a:gd name="T109" fmla="*/ 1541 h 2383"/>
              <a:gd name="T110" fmla="*/ 3181 w 4811"/>
              <a:gd name="T111" fmla="*/ 1508 h 2383"/>
              <a:gd name="T112" fmla="*/ 2893 w 4811"/>
              <a:gd name="T113" fmla="*/ 1559 h 2383"/>
              <a:gd name="T114" fmla="*/ 4793 w 4811"/>
              <a:gd name="T115" fmla="*/ 2346 h 2383"/>
              <a:gd name="T116" fmla="*/ 4402 w 4811"/>
              <a:gd name="T117" fmla="*/ 2133 h 2383"/>
              <a:gd name="T118" fmla="*/ 4008 w 4811"/>
              <a:gd name="T119" fmla="*/ 1967 h 2383"/>
              <a:gd name="T120" fmla="*/ 3592 w 4811"/>
              <a:gd name="T121" fmla="*/ 1871 h 2383"/>
              <a:gd name="T122" fmla="*/ 2838 w 4811"/>
              <a:gd name="T123" fmla="*/ 2167 h 2383"/>
              <a:gd name="T124" fmla="*/ 2915 w 4811"/>
              <a:gd name="T125" fmla="*/ 2051 h 2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11" h="2383">
                <a:moveTo>
                  <a:pt x="3277" y="2328"/>
                </a:moveTo>
                <a:lnTo>
                  <a:pt x="3280" y="2327"/>
                </a:lnTo>
                <a:lnTo>
                  <a:pt x="3283" y="2326"/>
                </a:lnTo>
                <a:lnTo>
                  <a:pt x="3286" y="2326"/>
                </a:lnTo>
                <a:lnTo>
                  <a:pt x="3289" y="2327"/>
                </a:lnTo>
                <a:lnTo>
                  <a:pt x="3292" y="2328"/>
                </a:lnTo>
                <a:lnTo>
                  <a:pt x="3294" y="2330"/>
                </a:lnTo>
                <a:lnTo>
                  <a:pt x="3295" y="2331"/>
                </a:lnTo>
                <a:lnTo>
                  <a:pt x="3296" y="2332"/>
                </a:lnTo>
                <a:lnTo>
                  <a:pt x="3298" y="2334"/>
                </a:lnTo>
                <a:lnTo>
                  <a:pt x="3299" y="2340"/>
                </a:lnTo>
                <a:lnTo>
                  <a:pt x="3299" y="2343"/>
                </a:lnTo>
                <a:lnTo>
                  <a:pt x="3299" y="2345"/>
                </a:lnTo>
                <a:lnTo>
                  <a:pt x="3298" y="2348"/>
                </a:lnTo>
                <a:lnTo>
                  <a:pt x="3296" y="2350"/>
                </a:lnTo>
                <a:lnTo>
                  <a:pt x="3294" y="2352"/>
                </a:lnTo>
                <a:lnTo>
                  <a:pt x="3292" y="2354"/>
                </a:lnTo>
                <a:lnTo>
                  <a:pt x="3289" y="2355"/>
                </a:lnTo>
                <a:lnTo>
                  <a:pt x="3286" y="2356"/>
                </a:lnTo>
                <a:lnTo>
                  <a:pt x="3282" y="2356"/>
                </a:lnTo>
                <a:lnTo>
                  <a:pt x="3280" y="2355"/>
                </a:lnTo>
                <a:lnTo>
                  <a:pt x="3277" y="2354"/>
                </a:lnTo>
                <a:lnTo>
                  <a:pt x="3274" y="2352"/>
                </a:lnTo>
                <a:lnTo>
                  <a:pt x="3273" y="2351"/>
                </a:lnTo>
                <a:lnTo>
                  <a:pt x="3272" y="2350"/>
                </a:lnTo>
                <a:lnTo>
                  <a:pt x="3271" y="2347"/>
                </a:lnTo>
                <a:lnTo>
                  <a:pt x="3269" y="2342"/>
                </a:lnTo>
                <a:lnTo>
                  <a:pt x="3269" y="2339"/>
                </a:lnTo>
                <a:lnTo>
                  <a:pt x="3270" y="2336"/>
                </a:lnTo>
                <a:lnTo>
                  <a:pt x="3271" y="2334"/>
                </a:lnTo>
                <a:lnTo>
                  <a:pt x="3273" y="2332"/>
                </a:lnTo>
                <a:lnTo>
                  <a:pt x="3274" y="2329"/>
                </a:lnTo>
                <a:lnTo>
                  <a:pt x="3277" y="2328"/>
                </a:lnTo>
                <a:close/>
                <a:moveTo>
                  <a:pt x="3411" y="2276"/>
                </a:moveTo>
                <a:lnTo>
                  <a:pt x="3414" y="2274"/>
                </a:lnTo>
                <a:lnTo>
                  <a:pt x="3417" y="2274"/>
                </a:lnTo>
                <a:lnTo>
                  <a:pt x="3420" y="2274"/>
                </a:lnTo>
                <a:lnTo>
                  <a:pt x="3423" y="2274"/>
                </a:lnTo>
                <a:lnTo>
                  <a:pt x="3425" y="2275"/>
                </a:lnTo>
                <a:lnTo>
                  <a:pt x="3428" y="2277"/>
                </a:lnTo>
                <a:lnTo>
                  <a:pt x="3430" y="2279"/>
                </a:lnTo>
                <a:lnTo>
                  <a:pt x="3431" y="2281"/>
                </a:lnTo>
                <a:lnTo>
                  <a:pt x="3433" y="2284"/>
                </a:lnTo>
                <a:lnTo>
                  <a:pt x="3433" y="2289"/>
                </a:lnTo>
                <a:lnTo>
                  <a:pt x="3433" y="2292"/>
                </a:lnTo>
                <a:lnTo>
                  <a:pt x="3432" y="2294"/>
                </a:lnTo>
                <a:lnTo>
                  <a:pt x="3431" y="2296"/>
                </a:lnTo>
                <a:lnTo>
                  <a:pt x="3430" y="2298"/>
                </a:lnTo>
                <a:lnTo>
                  <a:pt x="3428" y="2300"/>
                </a:lnTo>
                <a:lnTo>
                  <a:pt x="3426" y="2302"/>
                </a:lnTo>
                <a:lnTo>
                  <a:pt x="3423" y="2303"/>
                </a:lnTo>
                <a:lnTo>
                  <a:pt x="3420" y="2304"/>
                </a:lnTo>
                <a:lnTo>
                  <a:pt x="3417" y="2304"/>
                </a:lnTo>
                <a:lnTo>
                  <a:pt x="3414" y="2303"/>
                </a:lnTo>
                <a:lnTo>
                  <a:pt x="3411" y="2302"/>
                </a:lnTo>
                <a:lnTo>
                  <a:pt x="3409" y="2300"/>
                </a:lnTo>
                <a:lnTo>
                  <a:pt x="3407" y="2298"/>
                </a:lnTo>
                <a:lnTo>
                  <a:pt x="3405" y="2296"/>
                </a:lnTo>
                <a:lnTo>
                  <a:pt x="3404" y="2293"/>
                </a:lnTo>
                <a:lnTo>
                  <a:pt x="3403" y="2288"/>
                </a:lnTo>
                <a:lnTo>
                  <a:pt x="3404" y="2285"/>
                </a:lnTo>
                <a:lnTo>
                  <a:pt x="3404" y="2283"/>
                </a:lnTo>
                <a:lnTo>
                  <a:pt x="3405" y="2281"/>
                </a:lnTo>
                <a:lnTo>
                  <a:pt x="3407" y="2279"/>
                </a:lnTo>
                <a:lnTo>
                  <a:pt x="3409" y="2277"/>
                </a:lnTo>
                <a:lnTo>
                  <a:pt x="3411" y="2276"/>
                </a:lnTo>
                <a:close/>
                <a:moveTo>
                  <a:pt x="3551" y="2243"/>
                </a:moveTo>
                <a:lnTo>
                  <a:pt x="3553" y="2242"/>
                </a:lnTo>
                <a:lnTo>
                  <a:pt x="3556" y="2241"/>
                </a:lnTo>
                <a:lnTo>
                  <a:pt x="3559" y="2241"/>
                </a:lnTo>
                <a:lnTo>
                  <a:pt x="3562" y="2241"/>
                </a:lnTo>
                <a:lnTo>
                  <a:pt x="3565" y="2242"/>
                </a:lnTo>
                <a:lnTo>
                  <a:pt x="3567" y="2244"/>
                </a:lnTo>
                <a:lnTo>
                  <a:pt x="3569" y="2246"/>
                </a:lnTo>
                <a:lnTo>
                  <a:pt x="3571" y="2248"/>
                </a:lnTo>
                <a:lnTo>
                  <a:pt x="3572" y="2251"/>
                </a:lnTo>
                <a:lnTo>
                  <a:pt x="3573" y="2254"/>
                </a:lnTo>
                <a:lnTo>
                  <a:pt x="3573" y="2258"/>
                </a:lnTo>
                <a:lnTo>
                  <a:pt x="3572" y="2263"/>
                </a:lnTo>
                <a:lnTo>
                  <a:pt x="3569" y="2266"/>
                </a:lnTo>
                <a:lnTo>
                  <a:pt x="3566" y="2269"/>
                </a:lnTo>
                <a:lnTo>
                  <a:pt x="3563" y="2270"/>
                </a:lnTo>
                <a:lnTo>
                  <a:pt x="3561" y="2271"/>
                </a:lnTo>
                <a:lnTo>
                  <a:pt x="3557" y="2271"/>
                </a:lnTo>
                <a:lnTo>
                  <a:pt x="3555" y="2271"/>
                </a:lnTo>
                <a:lnTo>
                  <a:pt x="3552" y="2270"/>
                </a:lnTo>
                <a:lnTo>
                  <a:pt x="3549" y="2268"/>
                </a:lnTo>
                <a:lnTo>
                  <a:pt x="3547" y="2266"/>
                </a:lnTo>
                <a:lnTo>
                  <a:pt x="3545" y="2264"/>
                </a:lnTo>
                <a:lnTo>
                  <a:pt x="3544" y="2261"/>
                </a:lnTo>
                <a:lnTo>
                  <a:pt x="3543" y="2258"/>
                </a:lnTo>
                <a:lnTo>
                  <a:pt x="3543" y="2254"/>
                </a:lnTo>
                <a:lnTo>
                  <a:pt x="3545" y="2249"/>
                </a:lnTo>
                <a:lnTo>
                  <a:pt x="3547" y="2246"/>
                </a:lnTo>
                <a:lnTo>
                  <a:pt x="3551" y="2243"/>
                </a:lnTo>
                <a:close/>
                <a:moveTo>
                  <a:pt x="3694" y="2230"/>
                </a:moveTo>
                <a:lnTo>
                  <a:pt x="3697" y="2229"/>
                </a:lnTo>
                <a:lnTo>
                  <a:pt x="3701" y="2228"/>
                </a:lnTo>
                <a:lnTo>
                  <a:pt x="3704" y="2229"/>
                </a:lnTo>
                <a:lnTo>
                  <a:pt x="3707" y="2229"/>
                </a:lnTo>
                <a:lnTo>
                  <a:pt x="3710" y="2231"/>
                </a:lnTo>
                <a:lnTo>
                  <a:pt x="3712" y="2233"/>
                </a:lnTo>
                <a:lnTo>
                  <a:pt x="3714" y="2235"/>
                </a:lnTo>
                <a:lnTo>
                  <a:pt x="3715" y="2237"/>
                </a:lnTo>
                <a:lnTo>
                  <a:pt x="3716" y="2240"/>
                </a:lnTo>
                <a:lnTo>
                  <a:pt x="3716" y="2243"/>
                </a:lnTo>
                <a:lnTo>
                  <a:pt x="3716" y="2247"/>
                </a:lnTo>
                <a:lnTo>
                  <a:pt x="3714" y="2251"/>
                </a:lnTo>
                <a:lnTo>
                  <a:pt x="3712" y="2254"/>
                </a:lnTo>
                <a:lnTo>
                  <a:pt x="3709" y="2256"/>
                </a:lnTo>
                <a:lnTo>
                  <a:pt x="3705" y="2258"/>
                </a:lnTo>
                <a:lnTo>
                  <a:pt x="3702" y="2258"/>
                </a:lnTo>
                <a:lnTo>
                  <a:pt x="3699" y="2258"/>
                </a:lnTo>
                <a:lnTo>
                  <a:pt x="3696" y="2257"/>
                </a:lnTo>
                <a:lnTo>
                  <a:pt x="3693" y="2256"/>
                </a:lnTo>
                <a:lnTo>
                  <a:pt x="3691" y="2254"/>
                </a:lnTo>
                <a:lnTo>
                  <a:pt x="3689" y="2252"/>
                </a:lnTo>
                <a:lnTo>
                  <a:pt x="3688" y="2250"/>
                </a:lnTo>
                <a:lnTo>
                  <a:pt x="3687" y="2247"/>
                </a:lnTo>
                <a:lnTo>
                  <a:pt x="3686" y="2244"/>
                </a:lnTo>
                <a:lnTo>
                  <a:pt x="3687" y="2240"/>
                </a:lnTo>
                <a:lnTo>
                  <a:pt x="3688" y="2236"/>
                </a:lnTo>
                <a:lnTo>
                  <a:pt x="3691" y="2233"/>
                </a:lnTo>
                <a:lnTo>
                  <a:pt x="3694" y="2230"/>
                </a:lnTo>
                <a:close/>
                <a:moveTo>
                  <a:pt x="3838" y="2236"/>
                </a:moveTo>
                <a:lnTo>
                  <a:pt x="3842" y="2235"/>
                </a:lnTo>
                <a:lnTo>
                  <a:pt x="3844" y="2234"/>
                </a:lnTo>
                <a:lnTo>
                  <a:pt x="3847" y="2234"/>
                </a:lnTo>
                <a:lnTo>
                  <a:pt x="3850" y="2235"/>
                </a:lnTo>
                <a:lnTo>
                  <a:pt x="3852" y="2236"/>
                </a:lnTo>
                <a:lnTo>
                  <a:pt x="3855" y="2238"/>
                </a:lnTo>
                <a:lnTo>
                  <a:pt x="3857" y="2240"/>
                </a:lnTo>
                <a:lnTo>
                  <a:pt x="3858" y="2241"/>
                </a:lnTo>
                <a:lnTo>
                  <a:pt x="3858" y="2242"/>
                </a:lnTo>
                <a:lnTo>
                  <a:pt x="3859" y="2245"/>
                </a:lnTo>
                <a:lnTo>
                  <a:pt x="3860" y="2248"/>
                </a:lnTo>
                <a:lnTo>
                  <a:pt x="3860" y="2251"/>
                </a:lnTo>
                <a:lnTo>
                  <a:pt x="3859" y="2254"/>
                </a:lnTo>
                <a:lnTo>
                  <a:pt x="3858" y="2258"/>
                </a:lnTo>
                <a:lnTo>
                  <a:pt x="3855" y="2260"/>
                </a:lnTo>
                <a:lnTo>
                  <a:pt x="3853" y="2262"/>
                </a:lnTo>
                <a:lnTo>
                  <a:pt x="3848" y="2264"/>
                </a:lnTo>
                <a:lnTo>
                  <a:pt x="3846" y="2264"/>
                </a:lnTo>
                <a:lnTo>
                  <a:pt x="3844" y="2264"/>
                </a:lnTo>
                <a:lnTo>
                  <a:pt x="3841" y="2264"/>
                </a:lnTo>
                <a:lnTo>
                  <a:pt x="3838" y="2263"/>
                </a:lnTo>
                <a:lnTo>
                  <a:pt x="3835" y="2261"/>
                </a:lnTo>
                <a:lnTo>
                  <a:pt x="3833" y="2259"/>
                </a:lnTo>
                <a:lnTo>
                  <a:pt x="3833" y="2258"/>
                </a:lnTo>
                <a:lnTo>
                  <a:pt x="3832" y="2256"/>
                </a:lnTo>
                <a:lnTo>
                  <a:pt x="3831" y="2254"/>
                </a:lnTo>
                <a:lnTo>
                  <a:pt x="3830" y="2251"/>
                </a:lnTo>
                <a:lnTo>
                  <a:pt x="3830" y="2248"/>
                </a:lnTo>
                <a:lnTo>
                  <a:pt x="3831" y="2244"/>
                </a:lnTo>
                <a:lnTo>
                  <a:pt x="3832" y="2241"/>
                </a:lnTo>
                <a:lnTo>
                  <a:pt x="3835" y="2238"/>
                </a:lnTo>
                <a:lnTo>
                  <a:pt x="3838" y="2236"/>
                </a:lnTo>
                <a:close/>
                <a:moveTo>
                  <a:pt x="3980" y="2258"/>
                </a:moveTo>
                <a:lnTo>
                  <a:pt x="3982" y="2257"/>
                </a:lnTo>
                <a:lnTo>
                  <a:pt x="3985" y="2256"/>
                </a:lnTo>
                <a:lnTo>
                  <a:pt x="3990" y="2256"/>
                </a:lnTo>
                <a:lnTo>
                  <a:pt x="3993" y="2257"/>
                </a:lnTo>
                <a:lnTo>
                  <a:pt x="3996" y="2258"/>
                </a:lnTo>
                <a:lnTo>
                  <a:pt x="3998" y="2260"/>
                </a:lnTo>
                <a:lnTo>
                  <a:pt x="4000" y="2263"/>
                </a:lnTo>
                <a:lnTo>
                  <a:pt x="4001" y="2265"/>
                </a:lnTo>
                <a:lnTo>
                  <a:pt x="4002" y="2268"/>
                </a:lnTo>
                <a:lnTo>
                  <a:pt x="4002" y="2271"/>
                </a:lnTo>
                <a:lnTo>
                  <a:pt x="4002" y="2274"/>
                </a:lnTo>
                <a:lnTo>
                  <a:pt x="4001" y="2277"/>
                </a:lnTo>
                <a:lnTo>
                  <a:pt x="3999" y="2280"/>
                </a:lnTo>
                <a:lnTo>
                  <a:pt x="3997" y="2282"/>
                </a:lnTo>
                <a:lnTo>
                  <a:pt x="3995" y="2284"/>
                </a:lnTo>
                <a:lnTo>
                  <a:pt x="3992" y="2285"/>
                </a:lnTo>
                <a:lnTo>
                  <a:pt x="3990" y="2286"/>
                </a:lnTo>
                <a:lnTo>
                  <a:pt x="3984" y="2286"/>
                </a:lnTo>
                <a:lnTo>
                  <a:pt x="3981" y="2285"/>
                </a:lnTo>
                <a:lnTo>
                  <a:pt x="3979" y="2283"/>
                </a:lnTo>
                <a:lnTo>
                  <a:pt x="3977" y="2281"/>
                </a:lnTo>
                <a:lnTo>
                  <a:pt x="3975" y="2279"/>
                </a:lnTo>
                <a:lnTo>
                  <a:pt x="3973" y="2277"/>
                </a:lnTo>
                <a:lnTo>
                  <a:pt x="3972" y="2274"/>
                </a:lnTo>
                <a:lnTo>
                  <a:pt x="3972" y="2271"/>
                </a:lnTo>
                <a:lnTo>
                  <a:pt x="3972" y="2268"/>
                </a:lnTo>
                <a:lnTo>
                  <a:pt x="3973" y="2265"/>
                </a:lnTo>
                <a:lnTo>
                  <a:pt x="3975" y="2262"/>
                </a:lnTo>
                <a:lnTo>
                  <a:pt x="3977" y="2260"/>
                </a:lnTo>
                <a:lnTo>
                  <a:pt x="3980" y="2258"/>
                </a:lnTo>
                <a:close/>
                <a:moveTo>
                  <a:pt x="4121" y="2292"/>
                </a:moveTo>
                <a:lnTo>
                  <a:pt x="4123" y="2291"/>
                </a:lnTo>
                <a:lnTo>
                  <a:pt x="4126" y="2290"/>
                </a:lnTo>
                <a:lnTo>
                  <a:pt x="4129" y="2290"/>
                </a:lnTo>
                <a:lnTo>
                  <a:pt x="4132" y="2290"/>
                </a:lnTo>
                <a:lnTo>
                  <a:pt x="4135" y="2292"/>
                </a:lnTo>
                <a:lnTo>
                  <a:pt x="4137" y="2293"/>
                </a:lnTo>
                <a:lnTo>
                  <a:pt x="4140" y="2295"/>
                </a:lnTo>
                <a:lnTo>
                  <a:pt x="4141" y="2298"/>
                </a:lnTo>
                <a:lnTo>
                  <a:pt x="4142" y="2300"/>
                </a:lnTo>
                <a:lnTo>
                  <a:pt x="4143" y="2303"/>
                </a:lnTo>
                <a:lnTo>
                  <a:pt x="4143" y="2306"/>
                </a:lnTo>
                <a:lnTo>
                  <a:pt x="4143" y="2309"/>
                </a:lnTo>
                <a:lnTo>
                  <a:pt x="4141" y="2312"/>
                </a:lnTo>
                <a:lnTo>
                  <a:pt x="4140" y="2314"/>
                </a:lnTo>
                <a:lnTo>
                  <a:pt x="4138" y="2316"/>
                </a:lnTo>
                <a:lnTo>
                  <a:pt x="4136" y="2318"/>
                </a:lnTo>
                <a:lnTo>
                  <a:pt x="4133" y="2319"/>
                </a:lnTo>
                <a:lnTo>
                  <a:pt x="4130" y="2320"/>
                </a:lnTo>
                <a:lnTo>
                  <a:pt x="4127" y="2320"/>
                </a:lnTo>
                <a:lnTo>
                  <a:pt x="4124" y="2319"/>
                </a:lnTo>
                <a:lnTo>
                  <a:pt x="4121" y="2318"/>
                </a:lnTo>
                <a:lnTo>
                  <a:pt x="4119" y="2317"/>
                </a:lnTo>
                <a:lnTo>
                  <a:pt x="4117" y="2315"/>
                </a:lnTo>
                <a:lnTo>
                  <a:pt x="4115" y="2312"/>
                </a:lnTo>
                <a:lnTo>
                  <a:pt x="4114" y="2310"/>
                </a:lnTo>
                <a:lnTo>
                  <a:pt x="4113" y="2307"/>
                </a:lnTo>
                <a:lnTo>
                  <a:pt x="4113" y="2304"/>
                </a:lnTo>
                <a:lnTo>
                  <a:pt x="4114" y="2301"/>
                </a:lnTo>
                <a:lnTo>
                  <a:pt x="4115" y="2298"/>
                </a:lnTo>
                <a:lnTo>
                  <a:pt x="4116" y="2296"/>
                </a:lnTo>
                <a:lnTo>
                  <a:pt x="4118" y="2294"/>
                </a:lnTo>
                <a:lnTo>
                  <a:pt x="4121" y="2292"/>
                </a:lnTo>
                <a:close/>
                <a:moveTo>
                  <a:pt x="4258" y="2336"/>
                </a:moveTo>
                <a:lnTo>
                  <a:pt x="4261" y="2334"/>
                </a:lnTo>
                <a:lnTo>
                  <a:pt x="4264" y="2334"/>
                </a:lnTo>
                <a:lnTo>
                  <a:pt x="4267" y="2334"/>
                </a:lnTo>
                <a:lnTo>
                  <a:pt x="4270" y="2334"/>
                </a:lnTo>
                <a:lnTo>
                  <a:pt x="4273" y="2336"/>
                </a:lnTo>
                <a:lnTo>
                  <a:pt x="4275" y="2338"/>
                </a:lnTo>
                <a:lnTo>
                  <a:pt x="4277" y="2340"/>
                </a:lnTo>
                <a:lnTo>
                  <a:pt x="4279" y="2342"/>
                </a:lnTo>
                <a:lnTo>
                  <a:pt x="4280" y="2348"/>
                </a:lnTo>
                <a:lnTo>
                  <a:pt x="4279" y="2354"/>
                </a:lnTo>
                <a:lnTo>
                  <a:pt x="4278" y="2356"/>
                </a:lnTo>
                <a:lnTo>
                  <a:pt x="4277" y="2358"/>
                </a:lnTo>
                <a:lnTo>
                  <a:pt x="4275" y="2360"/>
                </a:lnTo>
                <a:lnTo>
                  <a:pt x="4273" y="2362"/>
                </a:lnTo>
                <a:lnTo>
                  <a:pt x="4270" y="2363"/>
                </a:lnTo>
                <a:lnTo>
                  <a:pt x="4267" y="2364"/>
                </a:lnTo>
                <a:lnTo>
                  <a:pt x="4263" y="2364"/>
                </a:lnTo>
                <a:lnTo>
                  <a:pt x="4260" y="2363"/>
                </a:lnTo>
                <a:lnTo>
                  <a:pt x="4257" y="2362"/>
                </a:lnTo>
                <a:lnTo>
                  <a:pt x="4255" y="2360"/>
                </a:lnTo>
                <a:lnTo>
                  <a:pt x="4253" y="2358"/>
                </a:lnTo>
                <a:lnTo>
                  <a:pt x="4252" y="2355"/>
                </a:lnTo>
                <a:lnTo>
                  <a:pt x="4250" y="2350"/>
                </a:lnTo>
                <a:lnTo>
                  <a:pt x="4251" y="2344"/>
                </a:lnTo>
                <a:lnTo>
                  <a:pt x="4252" y="2341"/>
                </a:lnTo>
                <a:lnTo>
                  <a:pt x="4254" y="2339"/>
                </a:lnTo>
                <a:lnTo>
                  <a:pt x="4255" y="2337"/>
                </a:lnTo>
                <a:lnTo>
                  <a:pt x="4258" y="2336"/>
                </a:lnTo>
                <a:close/>
                <a:moveTo>
                  <a:pt x="4787" y="946"/>
                </a:moveTo>
                <a:lnTo>
                  <a:pt x="4790" y="945"/>
                </a:lnTo>
                <a:lnTo>
                  <a:pt x="4792" y="944"/>
                </a:lnTo>
                <a:lnTo>
                  <a:pt x="4795" y="944"/>
                </a:lnTo>
                <a:lnTo>
                  <a:pt x="4798" y="944"/>
                </a:lnTo>
                <a:lnTo>
                  <a:pt x="4801" y="945"/>
                </a:lnTo>
                <a:lnTo>
                  <a:pt x="4804" y="946"/>
                </a:lnTo>
                <a:lnTo>
                  <a:pt x="4806" y="948"/>
                </a:lnTo>
                <a:lnTo>
                  <a:pt x="4808" y="950"/>
                </a:lnTo>
                <a:lnTo>
                  <a:pt x="4810" y="953"/>
                </a:lnTo>
                <a:lnTo>
                  <a:pt x="4811" y="956"/>
                </a:lnTo>
                <a:lnTo>
                  <a:pt x="4811" y="959"/>
                </a:lnTo>
                <a:lnTo>
                  <a:pt x="4811" y="962"/>
                </a:lnTo>
                <a:lnTo>
                  <a:pt x="4810" y="966"/>
                </a:lnTo>
                <a:lnTo>
                  <a:pt x="4808" y="969"/>
                </a:lnTo>
                <a:lnTo>
                  <a:pt x="4806" y="972"/>
                </a:lnTo>
                <a:lnTo>
                  <a:pt x="4803" y="974"/>
                </a:lnTo>
                <a:lnTo>
                  <a:pt x="4801" y="975"/>
                </a:lnTo>
                <a:lnTo>
                  <a:pt x="4798" y="976"/>
                </a:lnTo>
                <a:lnTo>
                  <a:pt x="4796" y="976"/>
                </a:lnTo>
                <a:lnTo>
                  <a:pt x="4793" y="976"/>
                </a:lnTo>
                <a:lnTo>
                  <a:pt x="4790" y="975"/>
                </a:lnTo>
                <a:lnTo>
                  <a:pt x="4787" y="974"/>
                </a:lnTo>
                <a:lnTo>
                  <a:pt x="4785" y="972"/>
                </a:lnTo>
                <a:lnTo>
                  <a:pt x="4782" y="969"/>
                </a:lnTo>
                <a:lnTo>
                  <a:pt x="4781" y="967"/>
                </a:lnTo>
                <a:lnTo>
                  <a:pt x="4780" y="964"/>
                </a:lnTo>
                <a:lnTo>
                  <a:pt x="4779" y="961"/>
                </a:lnTo>
                <a:lnTo>
                  <a:pt x="4780" y="958"/>
                </a:lnTo>
                <a:lnTo>
                  <a:pt x="4780" y="954"/>
                </a:lnTo>
                <a:lnTo>
                  <a:pt x="4782" y="951"/>
                </a:lnTo>
                <a:lnTo>
                  <a:pt x="4785" y="948"/>
                </a:lnTo>
                <a:lnTo>
                  <a:pt x="4787" y="946"/>
                </a:lnTo>
                <a:close/>
                <a:moveTo>
                  <a:pt x="4645" y="923"/>
                </a:moveTo>
                <a:lnTo>
                  <a:pt x="4648" y="922"/>
                </a:lnTo>
                <a:lnTo>
                  <a:pt x="4650" y="921"/>
                </a:lnTo>
                <a:lnTo>
                  <a:pt x="4656" y="921"/>
                </a:lnTo>
                <a:lnTo>
                  <a:pt x="4659" y="922"/>
                </a:lnTo>
                <a:lnTo>
                  <a:pt x="4660" y="923"/>
                </a:lnTo>
                <a:lnTo>
                  <a:pt x="4662" y="923"/>
                </a:lnTo>
                <a:lnTo>
                  <a:pt x="4664" y="925"/>
                </a:lnTo>
                <a:lnTo>
                  <a:pt x="4666" y="928"/>
                </a:lnTo>
                <a:lnTo>
                  <a:pt x="4668" y="930"/>
                </a:lnTo>
                <a:lnTo>
                  <a:pt x="4669" y="933"/>
                </a:lnTo>
                <a:lnTo>
                  <a:pt x="4669" y="936"/>
                </a:lnTo>
                <a:lnTo>
                  <a:pt x="4669" y="940"/>
                </a:lnTo>
                <a:lnTo>
                  <a:pt x="4668" y="943"/>
                </a:lnTo>
                <a:lnTo>
                  <a:pt x="4666" y="946"/>
                </a:lnTo>
                <a:lnTo>
                  <a:pt x="4664" y="949"/>
                </a:lnTo>
                <a:lnTo>
                  <a:pt x="4661" y="951"/>
                </a:lnTo>
                <a:lnTo>
                  <a:pt x="4659" y="952"/>
                </a:lnTo>
                <a:lnTo>
                  <a:pt x="4656" y="953"/>
                </a:lnTo>
                <a:lnTo>
                  <a:pt x="4650" y="953"/>
                </a:lnTo>
                <a:lnTo>
                  <a:pt x="4647" y="952"/>
                </a:lnTo>
                <a:lnTo>
                  <a:pt x="4646" y="951"/>
                </a:lnTo>
                <a:lnTo>
                  <a:pt x="4644" y="950"/>
                </a:lnTo>
                <a:lnTo>
                  <a:pt x="4642" y="948"/>
                </a:lnTo>
                <a:lnTo>
                  <a:pt x="4640" y="946"/>
                </a:lnTo>
                <a:lnTo>
                  <a:pt x="4638" y="943"/>
                </a:lnTo>
                <a:lnTo>
                  <a:pt x="4637" y="940"/>
                </a:lnTo>
                <a:lnTo>
                  <a:pt x="4637" y="937"/>
                </a:lnTo>
                <a:lnTo>
                  <a:pt x="4637" y="934"/>
                </a:lnTo>
                <a:lnTo>
                  <a:pt x="4638" y="931"/>
                </a:lnTo>
                <a:lnTo>
                  <a:pt x="4640" y="928"/>
                </a:lnTo>
                <a:lnTo>
                  <a:pt x="4642" y="925"/>
                </a:lnTo>
                <a:lnTo>
                  <a:pt x="4645" y="923"/>
                </a:lnTo>
                <a:close/>
                <a:moveTo>
                  <a:pt x="4503" y="896"/>
                </a:moveTo>
                <a:lnTo>
                  <a:pt x="4506" y="895"/>
                </a:lnTo>
                <a:lnTo>
                  <a:pt x="4509" y="894"/>
                </a:lnTo>
                <a:lnTo>
                  <a:pt x="4515" y="894"/>
                </a:lnTo>
                <a:lnTo>
                  <a:pt x="4518" y="895"/>
                </a:lnTo>
                <a:lnTo>
                  <a:pt x="4521" y="897"/>
                </a:lnTo>
                <a:lnTo>
                  <a:pt x="4523" y="899"/>
                </a:lnTo>
                <a:lnTo>
                  <a:pt x="4525" y="901"/>
                </a:lnTo>
                <a:lnTo>
                  <a:pt x="4526" y="904"/>
                </a:lnTo>
                <a:lnTo>
                  <a:pt x="4527" y="907"/>
                </a:lnTo>
                <a:lnTo>
                  <a:pt x="4527" y="910"/>
                </a:lnTo>
                <a:lnTo>
                  <a:pt x="4527" y="913"/>
                </a:lnTo>
                <a:lnTo>
                  <a:pt x="4526" y="916"/>
                </a:lnTo>
                <a:lnTo>
                  <a:pt x="4524" y="919"/>
                </a:lnTo>
                <a:lnTo>
                  <a:pt x="4522" y="922"/>
                </a:lnTo>
                <a:lnTo>
                  <a:pt x="4519" y="924"/>
                </a:lnTo>
                <a:lnTo>
                  <a:pt x="4517" y="925"/>
                </a:lnTo>
                <a:lnTo>
                  <a:pt x="4514" y="926"/>
                </a:lnTo>
                <a:lnTo>
                  <a:pt x="4508" y="926"/>
                </a:lnTo>
                <a:lnTo>
                  <a:pt x="4505" y="925"/>
                </a:lnTo>
                <a:lnTo>
                  <a:pt x="4502" y="923"/>
                </a:lnTo>
                <a:lnTo>
                  <a:pt x="4500" y="921"/>
                </a:lnTo>
                <a:lnTo>
                  <a:pt x="4498" y="919"/>
                </a:lnTo>
                <a:lnTo>
                  <a:pt x="4497" y="916"/>
                </a:lnTo>
                <a:lnTo>
                  <a:pt x="4496" y="913"/>
                </a:lnTo>
                <a:lnTo>
                  <a:pt x="4495" y="910"/>
                </a:lnTo>
                <a:lnTo>
                  <a:pt x="4496" y="907"/>
                </a:lnTo>
                <a:lnTo>
                  <a:pt x="4497" y="903"/>
                </a:lnTo>
                <a:lnTo>
                  <a:pt x="4499" y="900"/>
                </a:lnTo>
                <a:lnTo>
                  <a:pt x="4501" y="898"/>
                </a:lnTo>
                <a:lnTo>
                  <a:pt x="4503" y="896"/>
                </a:lnTo>
                <a:close/>
                <a:moveTo>
                  <a:pt x="4363" y="865"/>
                </a:moveTo>
                <a:lnTo>
                  <a:pt x="4365" y="864"/>
                </a:lnTo>
                <a:lnTo>
                  <a:pt x="4368" y="863"/>
                </a:lnTo>
                <a:lnTo>
                  <a:pt x="4371" y="863"/>
                </a:lnTo>
                <a:lnTo>
                  <a:pt x="4374" y="863"/>
                </a:lnTo>
                <a:lnTo>
                  <a:pt x="4377" y="864"/>
                </a:lnTo>
                <a:lnTo>
                  <a:pt x="4380" y="866"/>
                </a:lnTo>
                <a:lnTo>
                  <a:pt x="4382" y="868"/>
                </a:lnTo>
                <a:lnTo>
                  <a:pt x="4384" y="870"/>
                </a:lnTo>
                <a:lnTo>
                  <a:pt x="4386" y="873"/>
                </a:lnTo>
                <a:lnTo>
                  <a:pt x="4386" y="876"/>
                </a:lnTo>
                <a:lnTo>
                  <a:pt x="4387" y="879"/>
                </a:lnTo>
                <a:lnTo>
                  <a:pt x="4386" y="882"/>
                </a:lnTo>
                <a:lnTo>
                  <a:pt x="4385" y="886"/>
                </a:lnTo>
                <a:lnTo>
                  <a:pt x="4383" y="888"/>
                </a:lnTo>
                <a:lnTo>
                  <a:pt x="4381" y="891"/>
                </a:lnTo>
                <a:lnTo>
                  <a:pt x="4379" y="893"/>
                </a:lnTo>
                <a:lnTo>
                  <a:pt x="4376" y="894"/>
                </a:lnTo>
                <a:lnTo>
                  <a:pt x="4373" y="895"/>
                </a:lnTo>
                <a:lnTo>
                  <a:pt x="4370" y="895"/>
                </a:lnTo>
                <a:lnTo>
                  <a:pt x="4367" y="894"/>
                </a:lnTo>
                <a:lnTo>
                  <a:pt x="4364" y="893"/>
                </a:lnTo>
                <a:lnTo>
                  <a:pt x="4361" y="892"/>
                </a:lnTo>
                <a:lnTo>
                  <a:pt x="4359" y="890"/>
                </a:lnTo>
                <a:lnTo>
                  <a:pt x="4357" y="887"/>
                </a:lnTo>
                <a:lnTo>
                  <a:pt x="4356" y="884"/>
                </a:lnTo>
                <a:lnTo>
                  <a:pt x="4355" y="881"/>
                </a:lnTo>
                <a:lnTo>
                  <a:pt x="4355" y="878"/>
                </a:lnTo>
                <a:lnTo>
                  <a:pt x="4355" y="875"/>
                </a:lnTo>
                <a:lnTo>
                  <a:pt x="4356" y="872"/>
                </a:lnTo>
                <a:lnTo>
                  <a:pt x="4358" y="869"/>
                </a:lnTo>
                <a:lnTo>
                  <a:pt x="4360" y="867"/>
                </a:lnTo>
                <a:lnTo>
                  <a:pt x="4363" y="865"/>
                </a:lnTo>
                <a:close/>
                <a:moveTo>
                  <a:pt x="4223" y="829"/>
                </a:moveTo>
                <a:lnTo>
                  <a:pt x="4226" y="828"/>
                </a:lnTo>
                <a:lnTo>
                  <a:pt x="4229" y="827"/>
                </a:lnTo>
                <a:lnTo>
                  <a:pt x="4232" y="827"/>
                </a:lnTo>
                <a:lnTo>
                  <a:pt x="4235" y="828"/>
                </a:lnTo>
                <a:lnTo>
                  <a:pt x="4238" y="829"/>
                </a:lnTo>
                <a:lnTo>
                  <a:pt x="4241" y="831"/>
                </a:lnTo>
                <a:lnTo>
                  <a:pt x="4243" y="833"/>
                </a:lnTo>
                <a:lnTo>
                  <a:pt x="4245" y="835"/>
                </a:lnTo>
                <a:lnTo>
                  <a:pt x="4246" y="838"/>
                </a:lnTo>
                <a:lnTo>
                  <a:pt x="4247" y="841"/>
                </a:lnTo>
                <a:lnTo>
                  <a:pt x="4247" y="844"/>
                </a:lnTo>
                <a:lnTo>
                  <a:pt x="4246" y="847"/>
                </a:lnTo>
                <a:lnTo>
                  <a:pt x="4245" y="850"/>
                </a:lnTo>
                <a:lnTo>
                  <a:pt x="4244" y="853"/>
                </a:lnTo>
                <a:lnTo>
                  <a:pt x="4241" y="855"/>
                </a:lnTo>
                <a:lnTo>
                  <a:pt x="4239" y="857"/>
                </a:lnTo>
                <a:lnTo>
                  <a:pt x="4236" y="858"/>
                </a:lnTo>
                <a:lnTo>
                  <a:pt x="4233" y="859"/>
                </a:lnTo>
                <a:lnTo>
                  <a:pt x="4230" y="859"/>
                </a:lnTo>
                <a:lnTo>
                  <a:pt x="4227" y="859"/>
                </a:lnTo>
                <a:lnTo>
                  <a:pt x="4224" y="857"/>
                </a:lnTo>
                <a:lnTo>
                  <a:pt x="4221" y="856"/>
                </a:lnTo>
                <a:lnTo>
                  <a:pt x="4219" y="854"/>
                </a:lnTo>
                <a:lnTo>
                  <a:pt x="4217" y="851"/>
                </a:lnTo>
                <a:lnTo>
                  <a:pt x="4216" y="848"/>
                </a:lnTo>
                <a:lnTo>
                  <a:pt x="4215" y="845"/>
                </a:lnTo>
                <a:lnTo>
                  <a:pt x="4215" y="842"/>
                </a:lnTo>
                <a:lnTo>
                  <a:pt x="4216" y="839"/>
                </a:lnTo>
                <a:lnTo>
                  <a:pt x="4217" y="836"/>
                </a:lnTo>
                <a:lnTo>
                  <a:pt x="4218" y="833"/>
                </a:lnTo>
                <a:lnTo>
                  <a:pt x="4221" y="831"/>
                </a:lnTo>
                <a:lnTo>
                  <a:pt x="4223" y="829"/>
                </a:lnTo>
                <a:close/>
                <a:moveTo>
                  <a:pt x="4085" y="788"/>
                </a:moveTo>
                <a:lnTo>
                  <a:pt x="4088" y="787"/>
                </a:lnTo>
                <a:lnTo>
                  <a:pt x="4091" y="786"/>
                </a:lnTo>
                <a:lnTo>
                  <a:pt x="4094" y="786"/>
                </a:lnTo>
                <a:lnTo>
                  <a:pt x="4098" y="787"/>
                </a:lnTo>
                <a:lnTo>
                  <a:pt x="4101" y="788"/>
                </a:lnTo>
                <a:lnTo>
                  <a:pt x="4103" y="790"/>
                </a:lnTo>
                <a:lnTo>
                  <a:pt x="4105" y="792"/>
                </a:lnTo>
                <a:lnTo>
                  <a:pt x="4107" y="795"/>
                </a:lnTo>
                <a:lnTo>
                  <a:pt x="4108" y="798"/>
                </a:lnTo>
                <a:lnTo>
                  <a:pt x="4109" y="801"/>
                </a:lnTo>
                <a:lnTo>
                  <a:pt x="4109" y="804"/>
                </a:lnTo>
                <a:lnTo>
                  <a:pt x="4108" y="807"/>
                </a:lnTo>
                <a:lnTo>
                  <a:pt x="4107" y="810"/>
                </a:lnTo>
                <a:lnTo>
                  <a:pt x="4105" y="812"/>
                </a:lnTo>
                <a:lnTo>
                  <a:pt x="4103" y="814"/>
                </a:lnTo>
                <a:lnTo>
                  <a:pt x="4101" y="816"/>
                </a:lnTo>
                <a:lnTo>
                  <a:pt x="4098" y="817"/>
                </a:lnTo>
                <a:lnTo>
                  <a:pt x="4095" y="818"/>
                </a:lnTo>
                <a:lnTo>
                  <a:pt x="4091" y="818"/>
                </a:lnTo>
                <a:lnTo>
                  <a:pt x="4088" y="817"/>
                </a:lnTo>
                <a:lnTo>
                  <a:pt x="4085" y="816"/>
                </a:lnTo>
                <a:lnTo>
                  <a:pt x="4082" y="814"/>
                </a:lnTo>
                <a:lnTo>
                  <a:pt x="4080" y="812"/>
                </a:lnTo>
                <a:lnTo>
                  <a:pt x="4079" y="809"/>
                </a:lnTo>
                <a:lnTo>
                  <a:pt x="4077" y="807"/>
                </a:lnTo>
                <a:lnTo>
                  <a:pt x="4077" y="804"/>
                </a:lnTo>
                <a:lnTo>
                  <a:pt x="4077" y="800"/>
                </a:lnTo>
                <a:lnTo>
                  <a:pt x="4078" y="797"/>
                </a:lnTo>
                <a:lnTo>
                  <a:pt x="4079" y="794"/>
                </a:lnTo>
                <a:lnTo>
                  <a:pt x="4080" y="792"/>
                </a:lnTo>
                <a:lnTo>
                  <a:pt x="4082" y="790"/>
                </a:lnTo>
                <a:lnTo>
                  <a:pt x="4085" y="788"/>
                </a:lnTo>
                <a:close/>
                <a:moveTo>
                  <a:pt x="3948" y="741"/>
                </a:moveTo>
                <a:lnTo>
                  <a:pt x="3951" y="739"/>
                </a:lnTo>
                <a:lnTo>
                  <a:pt x="3954" y="739"/>
                </a:lnTo>
                <a:lnTo>
                  <a:pt x="3958" y="739"/>
                </a:lnTo>
                <a:lnTo>
                  <a:pt x="3961" y="740"/>
                </a:lnTo>
                <a:lnTo>
                  <a:pt x="3964" y="741"/>
                </a:lnTo>
                <a:lnTo>
                  <a:pt x="3967" y="743"/>
                </a:lnTo>
                <a:lnTo>
                  <a:pt x="3969" y="745"/>
                </a:lnTo>
                <a:lnTo>
                  <a:pt x="3970" y="748"/>
                </a:lnTo>
                <a:lnTo>
                  <a:pt x="3971" y="751"/>
                </a:lnTo>
                <a:lnTo>
                  <a:pt x="3972" y="754"/>
                </a:lnTo>
                <a:lnTo>
                  <a:pt x="3971" y="757"/>
                </a:lnTo>
                <a:lnTo>
                  <a:pt x="3971" y="760"/>
                </a:lnTo>
                <a:lnTo>
                  <a:pt x="3968" y="765"/>
                </a:lnTo>
                <a:lnTo>
                  <a:pt x="3964" y="769"/>
                </a:lnTo>
                <a:lnTo>
                  <a:pt x="3960" y="770"/>
                </a:lnTo>
                <a:lnTo>
                  <a:pt x="3957" y="771"/>
                </a:lnTo>
                <a:lnTo>
                  <a:pt x="3954" y="771"/>
                </a:lnTo>
                <a:lnTo>
                  <a:pt x="3950" y="770"/>
                </a:lnTo>
                <a:lnTo>
                  <a:pt x="3947" y="768"/>
                </a:lnTo>
                <a:lnTo>
                  <a:pt x="3945" y="766"/>
                </a:lnTo>
                <a:lnTo>
                  <a:pt x="3943" y="764"/>
                </a:lnTo>
                <a:lnTo>
                  <a:pt x="3941" y="761"/>
                </a:lnTo>
                <a:lnTo>
                  <a:pt x="3940" y="758"/>
                </a:lnTo>
                <a:lnTo>
                  <a:pt x="3940" y="755"/>
                </a:lnTo>
                <a:lnTo>
                  <a:pt x="3940" y="752"/>
                </a:lnTo>
                <a:lnTo>
                  <a:pt x="3941" y="749"/>
                </a:lnTo>
                <a:lnTo>
                  <a:pt x="3944" y="744"/>
                </a:lnTo>
                <a:lnTo>
                  <a:pt x="3948" y="741"/>
                </a:lnTo>
                <a:close/>
                <a:moveTo>
                  <a:pt x="3815" y="685"/>
                </a:moveTo>
                <a:lnTo>
                  <a:pt x="3816" y="684"/>
                </a:lnTo>
                <a:lnTo>
                  <a:pt x="3818" y="684"/>
                </a:lnTo>
                <a:lnTo>
                  <a:pt x="3822" y="683"/>
                </a:lnTo>
                <a:lnTo>
                  <a:pt x="3826" y="683"/>
                </a:lnTo>
                <a:lnTo>
                  <a:pt x="3829" y="685"/>
                </a:lnTo>
                <a:lnTo>
                  <a:pt x="3832" y="686"/>
                </a:lnTo>
                <a:lnTo>
                  <a:pt x="3834" y="688"/>
                </a:lnTo>
                <a:lnTo>
                  <a:pt x="3836" y="691"/>
                </a:lnTo>
                <a:lnTo>
                  <a:pt x="3838" y="694"/>
                </a:lnTo>
                <a:lnTo>
                  <a:pt x="3838" y="697"/>
                </a:lnTo>
                <a:lnTo>
                  <a:pt x="3839" y="700"/>
                </a:lnTo>
                <a:lnTo>
                  <a:pt x="3838" y="703"/>
                </a:lnTo>
                <a:lnTo>
                  <a:pt x="3837" y="706"/>
                </a:lnTo>
                <a:lnTo>
                  <a:pt x="3834" y="710"/>
                </a:lnTo>
                <a:lnTo>
                  <a:pt x="3833" y="712"/>
                </a:lnTo>
                <a:lnTo>
                  <a:pt x="3831" y="713"/>
                </a:lnTo>
                <a:lnTo>
                  <a:pt x="3829" y="714"/>
                </a:lnTo>
                <a:lnTo>
                  <a:pt x="3827" y="715"/>
                </a:lnTo>
                <a:lnTo>
                  <a:pt x="3823" y="715"/>
                </a:lnTo>
                <a:lnTo>
                  <a:pt x="3820" y="715"/>
                </a:lnTo>
                <a:lnTo>
                  <a:pt x="3816" y="714"/>
                </a:lnTo>
                <a:lnTo>
                  <a:pt x="3813" y="712"/>
                </a:lnTo>
                <a:lnTo>
                  <a:pt x="3811" y="710"/>
                </a:lnTo>
                <a:lnTo>
                  <a:pt x="3809" y="707"/>
                </a:lnTo>
                <a:lnTo>
                  <a:pt x="3808" y="705"/>
                </a:lnTo>
                <a:lnTo>
                  <a:pt x="3807" y="702"/>
                </a:lnTo>
                <a:lnTo>
                  <a:pt x="3807" y="699"/>
                </a:lnTo>
                <a:lnTo>
                  <a:pt x="3807" y="696"/>
                </a:lnTo>
                <a:lnTo>
                  <a:pt x="3808" y="692"/>
                </a:lnTo>
                <a:lnTo>
                  <a:pt x="3811" y="688"/>
                </a:lnTo>
                <a:lnTo>
                  <a:pt x="3813" y="687"/>
                </a:lnTo>
                <a:lnTo>
                  <a:pt x="3815" y="685"/>
                </a:lnTo>
                <a:close/>
                <a:moveTo>
                  <a:pt x="3687" y="619"/>
                </a:moveTo>
                <a:lnTo>
                  <a:pt x="3691" y="617"/>
                </a:lnTo>
                <a:lnTo>
                  <a:pt x="3695" y="617"/>
                </a:lnTo>
                <a:lnTo>
                  <a:pt x="3699" y="617"/>
                </a:lnTo>
                <a:lnTo>
                  <a:pt x="3703" y="619"/>
                </a:lnTo>
                <a:lnTo>
                  <a:pt x="3705" y="621"/>
                </a:lnTo>
                <a:lnTo>
                  <a:pt x="3707" y="623"/>
                </a:lnTo>
                <a:lnTo>
                  <a:pt x="3709" y="626"/>
                </a:lnTo>
                <a:lnTo>
                  <a:pt x="3710" y="629"/>
                </a:lnTo>
                <a:lnTo>
                  <a:pt x="3711" y="632"/>
                </a:lnTo>
                <a:lnTo>
                  <a:pt x="3711" y="635"/>
                </a:lnTo>
                <a:lnTo>
                  <a:pt x="3710" y="638"/>
                </a:lnTo>
                <a:lnTo>
                  <a:pt x="3709" y="641"/>
                </a:lnTo>
                <a:lnTo>
                  <a:pt x="3706" y="644"/>
                </a:lnTo>
                <a:lnTo>
                  <a:pt x="3703" y="647"/>
                </a:lnTo>
                <a:lnTo>
                  <a:pt x="3699" y="648"/>
                </a:lnTo>
                <a:lnTo>
                  <a:pt x="3695" y="649"/>
                </a:lnTo>
                <a:lnTo>
                  <a:pt x="3691" y="648"/>
                </a:lnTo>
                <a:lnTo>
                  <a:pt x="3687" y="647"/>
                </a:lnTo>
                <a:lnTo>
                  <a:pt x="3684" y="645"/>
                </a:lnTo>
                <a:lnTo>
                  <a:pt x="3682" y="643"/>
                </a:lnTo>
                <a:lnTo>
                  <a:pt x="3680" y="640"/>
                </a:lnTo>
                <a:lnTo>
                  <a:pt x="3679" y="637"/>
                </a:lnTo>
                <a:lnTo>
                  <a:pt x="3679" y="634"/>
                </a:lnTo>
                <a:lnTo>
                  <a:pt x="3679" y="631"/>
                </a:lnTo>
                <a:lnTo>
                  <a:pt x="3680" y="628"/>
                </a:lnTo>
                <a:lnTo>
                  <a:pt x="3681" y="625"/>
                </a:lnTo>
                <a:lnTo>
                  <a:pt x="3683" y="621"/>
                </a:lnTo>
                <a:lnTo>
                  <a:pt x="3687" y="619"/>
                </a:lnTo>
                <a:close/>
                <a:moveTo>
                  <a:pt x="3561" y="547"/>
                </a:moveTo>
                <a:lnTo>
                  <a:pt x="3565" y="545"/>
                </a:lnTo>
                <a:lnTo>
                  <a:pt x="3569" y="545"/>
                </a:lnTo>
                <a:lnTo>
                  <a:pt x="3573" y="545"/>
                </a:lnTo>
                <a:lnTo>
                  <a:pt x="3577" y="547"/>
                </a:lnTo>
                <a:lnTo>
                  <a:pt x="3580" y="549"/>
                </a:lnTo>
                <a:lnTo>
                  <a:pt x="3582" y="551"/>
                </a:lnTo>
                <a:lnTo>
                  <a:pt x="3584" y="554"/>
                </a:lnTo>
                <a:lnTo>
                  <a:pt x="3585" y="556"/>
                </a:lnTo>
                <a:lnTo>
                  <a:pt x="3585" y="560"/>
                </a:lnTo>
                <a:lnTo>
                  <a:pt x="3585" y="563"/>
                </a:lnTo>
                <a:lnTo>
                  <a:pt x="3585" y="566"/>
                </a:lnTo>
                <a:lnTo>
                  <a:pt x="3583" y="569"/>
                </a:lnTo>
                <a:lnTo>
                  <a:pt x="3581" y="572"/>
                </a:lnTo>
                <a:lnTo>
                  <a:pt x="3578" y="575"/>
                </a:lnTo>
                <a:lnTo>
                  <a:pt x="3574" y="576"/>
                </a:lnTo>
                <a:lnTo>
                  <a:pt x="3570" y="577"/>
                </a:lnTo>
                <a:lnTo>
                  <a:pt x="3566" y="576"/>
                </a:lnTo>
                <a:lnTo>
                  <a:pt x="3562" y="575"/>
                </a:lnTo>
                <a:lnTo>
                  <a:pt x="3559" y="573"/>
                </a:lnTo>
                <a:lnTo>
                  <a:pt x="3557" y="571"/>
                </a:lnTo>
                <a:lnTo>
                  <a:pt x="3555" y="568"/>
                </a:lnTo>
                <a:lnTo>
                  <a:pt x="3554" y="565"/>
                </a:lnTo>
                <a:lnTo>
                  <a:pt x="3554" y="562"/>
                </a:lnTo>
                <a:lnTo>
                  <a:pt x="3554" y="559"/>
                </a:lnTo>
                <a:lnTo>
                  <a:pt x="3554" y="556"/>
                </a:lnTo>
                <a:lnTo>
                  <a:pt x="3556" y="553"/>
                </a:lnTo>
                <a:lnTo>
                  <a:pt x="3558" y="550"/>
                </a:lnTo>
                <a:lnTo>
                  <a:pt x="3561" y="547"/>
                </a:lnTo>
                <a:close/>
                <a:moveTo>
                  <a:pt x="3436" y="477"/>
                </a:moveTo>
                <a:lnTo>
                  <a:pt x="3439" y="475"/>
                </a:lnTo>
                <a:lnTo>
                  <a:pt x="3443" y="475"/>
                </a:lnTo>
                <a:lnTo>
                  <a:pt x="3445" y="475"/>
                </a:lnTo>
                <a:lnTo>
                  <a:pt x="3447" y="475"/>
                </a:lnTo>
                <a:lnTo>
                  <a:pt x="3451" y="477"/>
                </a:lnTo>
                <a:lnTo>
                  <a:pt x="3454" y="479"/>
                </a:lnTo>
                <a:lnTo>
                  <a:pt x="3456" y="481"/>
                </a:lnTo>
                <a:lnTo>
                  <a:pt x="3458" y="483"/>
                </a:lnTo>
                <a:lnTo>
                  <a:pt x="3459" y="486"/>
                </a:lnTo>
                <a:lnTo>
                  <a:pt x="3460" y="489"/>
                </a:lnTo>
                <a:lnTo>
                  <a:pt x="3460" y="492"/>
                </a:lnTo>
                <a:lnTo>
                  <a:pt x="3459" y="495"/>
                </a:lnTo>
                <a:lnTo>
                  <a:pt x="3458" y="498"/>
                </a:lnTo>
                <a:lnTo>
                  <a:pt x="3457" y="500"/>
                </a:lnTo>
                <a:lnTo>
                  <a:pt x="3455" y="502"/>
                </a:lnTo>
                <a:lnTo>
                  <a:pt x="3452" y="505"/>
                </a:lnTo>
                <a:lnTo>
                  <a:pt x="3448" y="506"/>
                </a:lnTo>
                <a:lnTo>
                  <a:pt x="3444" y="507"/>
                </a:lnTo>
                <a:lnTo>
                  <a:pt x="3442" y="507"/>
                </a:lnTo>
                <a:lnTo>
                  <a:pt x="3440" y="506"/>
                </a:lnTo>
                <a:lnTo>
                  <a:pt x="3436" y="505"/>
                </a:lnTo>
                <a:lnTo>
                  <a:pt x="3433" y="503"/>
                </a:lnTo>
                <a:lnTo>
                  <a:pt x="3431" y="501"/>
                </a:lnTo>
                <a:lnTo>
                  <a:pt x="3429" y="498"/>
                </a:lnTo>
                <a:lnTo>
                  <a:pt x="3428" y="495"/>
                </a:lnTo>
                <a:lnTo>
                  <a:pt x="3428" y="492"/>
                </a:lnTo>
                <a:lnTo>
                  <a:pt x="3428" y="489"/>
                </a:lnTo>
                <a:lnTo>
                  <a:pt x="3428" y="486"/>
                </a:lnTo>
                <a:lnTo>
                  <a:pt x="3430" y="483"/>
                </a:lnTo>
                <a:lnTo>
                  <a:pt x="3431" y="481"/>
                </a:lnTo>
                <a:lnTo>
                  <a:pt x="3432" y="479"/>
                </a:lnTo>
                <a:lnTo>
                  <a:pt x="3436" y="477"/>
                </a:lnTo>
                <a:close/>
                <a:moveTo>
                  <a:pt x="3309" y="408"/>
                </a:moveTo>
                <a:lnTo>
                  <a:pt x="3313" y="407"/>
                </a:lnTo>
                <a:lnTo>
                  <a:pt x="3317" y="406"/>
                </a:lnTo>
                <a:lnTo>
                  <a:pt x="3319" y="406"/>
                </a:lnTo>
                <a:lnTo>
                  <a:pt x="3321" y="406"/>
                </a:lnTo>
                <a:lnTo>
                  <a:pt x="3325" y="408"/>
                </a:lnTo>
                <a:lnTo>
                  <a:pt x="3327" y="410"/>
                </a:lnTo>
                <a:lnTo>
                  <a:pt x="3330" y="412"/>
                </a:lnTo>
                <a:lnTo>
                  <a:pt x="3331" y="415"/>
                </a:lnTo>
                <a:lnTo>
                  <a:pt x="3332" y="417"/>
                </a:lnTo>
                <a:lnTo>
                  <a:pt x="3333" y="423"/>
                </a:lnTo>
                <a:lnTo>
                  <a:pt x="3333" y="427"/>
                </a:lnTo>
                <a:lnTo>
                  <a:pt x="3331" y="430"/>
                </a:lnTo>
                <a:lnTo>
                  <a:pt x="3329" y="433"/>
                </a:lnTo>
                <a:lnTo>
                  <a:pt x="3325" y="436"/>
                </a:lnTo>
                <a:lnTo>
                  <a:pt x="3322" y="437"/>
                </a:lnTo>
                <a:lnTo>
                  <a:pt x="3318" y="438"/>
                </a:lnTo>
                <a:lnTo>
                  <a:pt x="3316" y="438"/>
                </a:lnTo>
                <a:lnTo>
                  <a:pt x="3314" y="438"/>
                </a:lnTo>
                <a:lnTo>
                  <a:pt x="3310" y="436"/>
                </a:lnTo>
                <a:lnTo>
                  <a:pt x="3307" y="434"/>
                </a:lnTo>
                <a:lnTo>
                  <a:pt x="3305" y="432"/>
                </a:lnTo>
                <a:lnTo>
                  <a:pt x="3303" y="429"/>
                </a:lnTo>
                <a:lnTo>
                  <a:pt x="3302" y="427"/>
                </a:lnTo>
                <a:lnTo>
                  <a:pt x="3301" y="421"/>
                </a:lnTo>
                <a:lnTo>
                  <a:pt x="3302" y="417"/>
                </a:lnTo>
                <a:lnTo>
                  <a:pt x="3303" y="414"/>
                </a:lnTo>
                <a:lnTo>
                  <a:pt x="3306" y="411"/>
                </a:lnTo>
                <a:lnTo>
                  <a:pt x="3309" y="408"/>
                </a:lnTo>
                <a:close/>
                <a:moveTo>
                  <a:pt x="8" y="2264"/>
                </a:moveTo>
                <a:lnTo>
                  <a:pt x="11" y="2262"/>
                </a:lnTo>
                <a:lnTo>
                  <a:pt x="15" y="2262"/>
                </a:lnTo>
                <a:lnTo>
                  <a:pt x="19" y="2262"/>
                </a:lnTo>
                <a:lnTo>
                  <a:pt x="22" y="2263"/>
                </a:lnTo>
                <a:lnTo>
                  <a:pt x="25" y="2264"/>
                </a:lnTo>
                <a:lnTo>
                  <a:pt x="28" y="2266"/>
                </a:lnTo>
                <a:lnTo>
                  <a:pt x="30" y="2269"/>
                </a:lnTo>
                <a:lnTo>
                  <a:pt x="31" y="2272"/>
                </a:lnTo>
                <a:lnTo>
                  <a:pt x="32" y="2275"/>
                </a:lnTo>
                <a:lnTo>
                  <a:pt x="32" y="2278"/>
                </a:lnTo>
                <a:lnTo>
                  <a:pt x="32" y="2281"/>
                </a:lnTo>
                <a:lnTo>
                  <a:pt x="31" y="2284"/>
                </a:lnTo>
                <a:lnTo>
                  <a:pt x="28" y="2288"/>
                </a:lnTo>
                <a:lnTo>
                  <a:pt x="24" y="2291"/>
                </a:lnTo>
                <a:lnTo>
                  <a:pt x="21" y="2293"/>
                </a:lnTo>
                <a:lnTo>
                  <a:pt x="17" y="2293"/>
                </a:lnTo>
                <a:lnTo>
                  <a:pt x="14" y="2293"/>
                </a:lnTo>
                <a:lnTo>
                  <a:pt x="10" y="2292"/>
                </a:lnTo>
                <a:lnTo>
                  <a:pt x="7" y="2291"/>
                </a:lnTo>
                <a:lnTo>
                  <a:pt x="5" y="2289"/>
                </a:lnTo>
                <a:lnTo>
                  <a:pt x="3" y="2286"/>
                </a:lnTo>
                <a:lnTo>
                  <a:pt x="1" y="2283"/>
                </a:lnTo>
                <a:lnTo>
                  <a:pt x="0" y="2280"/>
                </a:lnTo>
                <a:lnTo>
                  <a:pt x="0" y="2277"/>
                </a:lnTo>
                <a:lnTo>
                  <a:pt x="0" y="2274"/>
                </a:lnTo>
                <a:lnTo>
                  <a:pt x="1" y="2271"/>
                </a:lnTo>
                <a:lnTo>
                  <a:pt x="4" y="2267"/>
                </a:lnTo>
                <a:lnTo>
                  <a:pt x="8" y="2264"/>
                </a:lnTo>
                <a:close/>
                <a:moveTo>
                  <a:pt x="3182" y="341"/>
                </a:moveTo>
                <a:lnTo>
                  <a:pt x="3185" y="340"/>
                </a:lnTo>
                <a:lnTo>
                  <a:pt x="3189" y="339"/>
                </a:lnTo>
                <a:lnTo>
                  <a:pt x="3193" y="339"/>
                </a:lnTo>
                <a:lnTo>
                  <a:pt x="3197" y="341"/>
                </a:lnTo>
                <a:lnTo>
                  <a:pt x="3200" y="343"/>
                </a:lnTo>
                <a:lnTo>
                  <a:pt x="3202" y="345"/>
                </a:lnTo>
                <a:lnTo>
                  <a:pt x="3204" y="347"/>
                </a:lnTo>
                <a:lnTo>
                  <a:pt x="3205" y="350"/>
                </a:lnTo>
                <a:lnTo>
                  <a:pt x="3206" y="353"/>
                </a:lnTo>
                <a:lnTo>
                  <a:pt x="3206" y="356"/>
                </a:lnTo>
                <a:lnTo>
                  <a:pt x="3205" y="359"/>
                </a:lnTo>
                <a:lnTo>
                  <a:pt x="3204" y="362"/>
                </a:lnTo>
                <a:lnTo>
                  <a:pt x="3203" y="364"/>
                </a:lnTo>
                <a:lnTo>
                  <a:pt x="3201" y="366"/>
                </a:lnTo>
                <a:lnTo>
                  <a:pt x="3198" y="369"/>
                </a:lnTo>
                <a:lnTo>
                  <a:pt x="3194" y="370"/>
                </a:lnTo>
                <a:lnTo>
                  <a:pt x="3190" y="371"/>
                </a:lnTo>
                <a:lnTo>
                  <a:pt x="3186" y="371"/>
                </a:lnTo>
                <a:lnTo>
                  <a:pt x="3182" y="369"/>
                </a:lnTo>
                <a:lnTo>
                  <a:pt x="3180" y="368"/>
                </a:lnTo>
                <a:lnTo>
                  <a:pt x="3177" y="365"/>
                </a:lnTo>
                <a:lnTo>
                  <a:pt x="3176" y="363"/>
                </a:lnTo>
                <a:lnTo>
                  <a:pt x="3174" y="360"/>
                </a:lnTo>
                <a:lnTo>
                  <a:pt x="3174" y="357"/>
                </a:lnTo>
                <a:lnTo>
                  <a:pt x="3174" y="354"/>
                </a:lnTo>
                <a:lnTo>
                  <a:pt x="3174" y="351"/>
                </a:lnTo>
                <a:lnTo>
                  <a:pt x="3175" y="348"/>
                </a:lnTo>
                <a:lnTo>
                  <a:pt x="3177" y="346"/>
                </a:lnTo>
                <a:lnTo>
                  <a:pt x="3178" y="344"/>
                </a:lnTo>
                <a:lnTo>
                  <a:pt x="3182" y="341"/>
                </a:lnTo>
                <a:close/>
                <a:moveTo>
                  <a:pt x="72" y="2135"/>
                </a:moveTo>
                <a:lnTo>
                  <a:pt x="76" y="2133"/>
                </a:lnTo>
                <a:lnTo>
                  <a:pt x="80" y="2133"/>
                </a:lnTo>
                <a:lnTo>
                  <a:pt x="84" y="2133"/>
                </a:lnTo>
                <a:lnTo>
                  <a:pt x="88" y="2135"/>
                </a:lnTo>
                <a:lnTo>
                  <a:pt x="90" y="2136"/>
                </a:lnTo>
                <a:lnTo>
                  <a:pt x="92" y="2139"/>
                </a:lnTo>
                <a:lnTo>
                  <a:pt x="94" y="2141"/>
                </a:lnTo>
                <a:lnTo>
                  <a:pt x="95" y="2144"/>
                </a:lnTo>
                <a:lnTo>
                  <a:pt x="96" y="2147"/>
                </a:lnTo>
                <a:lnTo>
                  <a:pt x="96" y="2150"/>
                </a:lnTo>
                <a:lnTo>
                  <a:pt x="95" y="2153"/>
                </a:lnTo>
                <a:lnTo>
                  <a:pt x="94" y="2156"/>
                </a:lnTo>
                <a:lnTo>
                  <a:pt x="91" y="2160"/>
                </a:lnTo>
                <a:lnTo>
                  <a:pt x="88" y="2162"/>
                </a:lnTo>
                <a:lnTo>
                  <a:pt x="84" y="2164"/>
                </a:lnTo>
                <a:lnTo>
                  <a:pt x="80" y="2165"/>
                </a:lnTo>
                <a:lnTo>
                  <a:pt x="76" y="2164"/>
                </a:lnTo>
                <a:lnTo>
                  <a:pt x="72" y="2162"/>
                </a:lnTo>
                <a:lnTo>
                  <a:pt x="69" y="2161"/>
                </a:lnTo>
                <a:lnTo>
                  <a:pt x="67" y="2158"/>
                </a:lnTo>
                <a:lnTo>
                  <a:pt x="66" y="2156"/>
                </a:lnTo>
                <a:lnTo>
                  <a:pt x="64" y="2153"/>
                </a:lnTo>
                <a:lnTo>
                  <a:pt x="64" y="2150"/>
                </a:lnTo>
                <a:lnTo>
                  <a:pt x="64" y="2147"/>
                </a:lnTo>
                <a:lnTo>
                  <a:pt x="65" y="2144"/>
                </a:lnTo>
                <a:lnTo>
                  <a:pt x="66" y="2141"/>
                </a:lnTo>
                <a:lnTo>
                  <a:pt x="68" y="2137"/>
                </a:lnTo>
                <a:lnTo>
                  <a:pt x="72" y="2135"/>
                </a:lnTo>
                <a:close/>
                <a:moveTo>
                  <a:pt x="149" y="2013"/>
                </a:moveTo>
                <a:lnTo>
                  <a:pt x="153" y="2012"/>
                </a:lnTo>
                <a:lnTo>
                  <a:pt x="157" y="2011"/>
                </a:lnTo>
                <a:lnTo>
                  <a:pt x="162" y="2012"/>
                </a:lnTo>
                <a:lnTo>
                  <a:pt x="166" y="2014"/>
                </a:lnTo>
                <a:lnTo>
                  <a:pt x="169" y="2016"/>
                </a:lnTo>
                <a:lnTo>
                  <a:pt x="170" y="2019"/>
                </a:lnTo>
                <a:lnTo>
                  <a:pt x="172" y="2022"/>
                </a:lnTo>
                <a:lnTo>
                  <a:pt x="173" y="2024"/>
                </a:lnTo>
                <a:lnTo>
                  <a:pt x="173" y="2028"/>
                </a:lnTo>
                <a:lnTo>
                  <a:pt x="172" y="2031"/>
                </a:lnTo>
                <a:lnTo>
                  <a:pt x="172" y="2034"/>
                </a:lnTo>
                <a:lnTo>
                  <a:pt x="170" y="2036"/>
                </a:lnTo>
                <a:lnTo>
                  <a:pt x="168" y="2039"/>
                </a:lnTo>
                <a:lnTo>
                  <a:pt x="165" y="2041"/>
                </a:lnTo>
                <a:lnTo>
                  <a:pt x="161" y="2043"/>
                </a:lnTo>
                <a:lnTo>
                  <a:pt x="156" y="2043"/>
                </a:lnTo>
                <a:lnTo>
                  <a:pt x="152" y="2042"/>
                </a:lnTo>
                <a:lnTo>
                  <a:pt x="148" y="2040"/>
                </a:lnTo>
                <a:lnTo>
                  <a:pt x="145" y="2038"/>
                </a:lnTo>
                <a:lnTo>
                  <a:pt x="143" y="2036"/>
                </a:lnTo>
                <a:lnTo>
                  <a:pt x="142" y="2033"/>
                </a:lnTo>
                <a:lnTo>
                  <a:pt x="141" y="2030"/>
                </a:lnTo>
                <a:lnTo>
                  <a:pt x="141" y="2027"/>
                </a:lnTo>
                <a:lnTo>
                  <a:pt x="141" y="2024"/>
                </a:lnTo>
                <a:lnTo>
                  <a:pt x="142" y="2021"/>
                </a:lnTo>
                <a:lnTo>
                  <a:pt x="144" y="2018"/>
                </a:lnTo>
                <a:lnTo>
                  <a:pt x="146" y="2015"/>
                </a:lnTo>
                <a:lnTo>
                  <a:pt x="149" y="2013"/>
                </a:lnTo>
                <a:close/>
                <a:moveTo>
                  <a:pt x="3053" y="277"/>
                </a:moveTo>
                <a:lnTo>
                  <a:pt x="3055" y="276"/>
                </a:lnTo>
                <a:lnTo>
                  <a:pt x="3056" y="275"/>
                </a:lnTo>
                <a:lnTo>
                  <a:pt x="3060" y="275"/>
                </a:lnTo>
                <a:lnTo>
                  <a:pt x="3064" y="275"/>
                </a:lnTo>
                <a:lnTo>
                  <a:pt x="3068" y="276"/>
                </a:lnTo>
                <a:lnTo>
                  <a:pt x="3071" y="278"/>
                </a:lnTo>
                <a:lnTo>
                  <a:pt x="3073" y="280"/>
                </a:lnTo>
                <a:lnTo>
                  <a:pt x="3075" y="283"/>
                </a:lnTo>
                <a:lnTo>
                  <a:pt x="3076" y="285"/>
                </a:lnTo>
                <a:lnTo>
                  <a:pt x="3077" y="288"/>
                </a:lnTo>
                <a:lnTo>
                  <a:pt x="3077" y="291"/>
                </a:lnTo>
                <a:lnTo>
                  <a:pt x="3076" y="295"/>
                </a:lnTo>
                <a:lnTo>
                  <a:pt x="3075" y="298"/>
                </a:lnTo>
                <a:lnTo>
                  <a:pt x="3073" y="302"/>
                </a:lnTo>
                <a:lnTo>
                  <a:pt x="3071" y="303"/>
                </a:lnTo>
                <a:lnTo>
                  <a:pt x="3069" y="304"/>
                </a:lnTo>
                <a:lnTo>
                  <a:pt x="3067" y="305"/>
                </a:lnTo>
                <a:lnTo>
                  <a:pt x="3065" y="306"/>
                </a:lnTo>
                <a:lnTo>
                  <a:pt x="3062" y="307"/>
                </a:lnTo>
                <a:lnTo>
                  <a:pt x="3058" y="306"/>
                </a:lnTo>
                <a:lnTo>
                  <a:pt x="3054" y="305"/>
                </a:lnTo>
                <a:lnTo>
                  <a:pt x="3051" y="303"/>
                </a:lnTo>
                <a:lnTo>
                  <a:pt x="3049" y="301"/>
                </a:lnTo>
                <a:lnTo>
                  <a:pt x="3047" y="299"/>
                </a:lnTo>
                <a:lnTo>
                  <a:pt x="3046" y="296"/>
                </a:lnTo>
                <a:lnTo>
                  <a:pt x="3045" y="293"/>
                </a:lnTo>
                <a:lnTo>
                  <a:pt x="3045" y="290"/>
                </a:lnTo>
                <a:lnTo>
                  <a:pt x="3045" y="287"/>
                </a:lnTo>
                <a:lnTo>
                  <a:pt x="3047" y="284"/>
                </a:lnTo>
                <a:lnTo>
                  <a:pt x="3049" y="280"/>
                </a:lnTo>
                <a:lnTo>
                  <a:pt x="3051" y="278"/>
                </a:lnTo>
                <a:lnTo>
                  <a:pt x="3053" y="277"/>
                </a:lnTo>
                <a:close/>
                <a:moveTo>
                  <a:pt x="238" y="1901"/>
                </a:moveTo>
                <a:lnTo>
                  <a:pt x="240" y="1900"/>
                </a:lnTo>
                <a:lnTo>
                  <a:pt x="243" y="1899"/>
                </a:lnTo>
                <a:lnTo>
                  <a:pt x="245" y="1899"/>
                </a:lnTo>
                <a:lnTo>
                  <a:pt x="248" y="1899"/>
                </a:lnTo>
                <a:lnTo>
                  <a:pt x="250" y="1899"/>
                </a:lnTo>
                <a:lnTo>
                  <a:pt x="252" y="1900"/>
                </a:lnTo>
                <a:lnTo>
                  <a:pt x="255" y="1901"/>
                </a:lnTo>
                <a:lnTo>
                  <a:pt x="257" y="1902"/>
                </a:lnTo>
                <a:lnTo>
                  <a:pt x="259" y="1905"/>
                </a:lnTo>
                <a:lnTo>
                  <a:pt x="261" y="1908"/>
                </a:lnTo>
                <a:lnTo>
                  <a:pt x="262" y="1910"/>
                </a:lnTo>
                <a:lnTo>
                  <a:pt x="262" y="1913"/>
                </a:lnTo>
                <a:lnTo>
                  <a:pt x="262" y="1917"/>
                </a:lnTo>
                <a:lnTo>
                  <a:pt x="261" y="1920"/>
                </a:lnTo>
                <a:lnTo>
                  <a:pt x="260" y="1922"/>
                </a:lnTo>
                <a:lnTo>
                  <a:pt x="258" y="1925"/>
                </a:lnTo>
                <a:lnTo>
                  <a:pt x="256" y="1927"/>
                </a:lnTo>
                <a:lnTo>
                  <a:pt x="254" y="1928"/>
                </a:lnTo>
                <a:lnTo>
                  <a:pt x="252" y="1929"/>
                </a:lnTo>
                <a:lnTo>
                  <a:pt x="250" y="1930"/>
                </a:lnTo>
                <a:lnTo>
                  <a:pt x="247" y="1930"/>
                </a:lnTo>
                <a:lnTo>
                  <a:pt x="245" y="1930"/>
                </a:lnTo>
                <a:lnTo>
                  <a:pt x="242" y="1930"/>
                </a:lnTo>
                <a:lnTo>
                  <a:pt x="240" y="1929"/>
                </a:lnTo>
                <a:lnTo>
                  <a:pt x="238" y="1928"/>
                </a:lnTo>
                <a:lnTo>
                  <a:pt x="236" y="1927"/>
                </a:lnTo>
                <a:lnTo>
                  <a:pt x="233" y="1924"/>
                </a:lnTo>
                <a:lnTo>
                  <a:pt x="232" y="1921"/>
                </a:lnTo>
                <a:lnTo>
                  <a:pt x="231" y="1919"/>
                </a:lnTo>
                <a:lnTo>
                  <a:pt x="230" y="1916"/>
                </a:lnTo>
                <a:lnTo>
                  <a:pt x="230" y="1912"/>
                </a:lnTo>
                <a:lnTo>
                  <a:pt x="231" y="1909"/>
                </a:lnTo>
                <a:lnTo>
                  <a:pt x="232" y="1907"/>
                </a:lnTo>
                <a:lnTo>
                  <a:pt x="234" y="1904"/>
                </a:lnTo>
                <a:lnTo>
                  <a:pt x="236" y="1902"/>
                </a:lnTo>
                <a:lnTo>
                  <a:pt x="238" y="1901"/>
                </a:lnTo>
                <a:close/>
                <a:moveTo>
                  <a:pt x="338" y="1797"/>
                </a:moveTo>
                <a:lnTo>
                  <a:pt x="341" y="1796"/>
                </a:lnTo>
                <a:lnTo>
                  <a:pt x="343" y="1796"/>
                </a:lnTo>
                <a:lnTo>
                  <a:pt x="349" y="1796"/>
                </a:lnTo>
                <a:lnTo>
                  <a:pt x="351" y="1796"/>
                </a:lnTo>
                <a:lnTo>
                  <a:pt x="354" y="1797"/>
                </a:lnTo>
                <a:lnTo>
                  <a:pt x="358" y="1800"/>
                </a:lnTo>
                <a:lnTo>
                  <a:pt x="360" y="1803"/>
                </a:lnTo>
                <a:lnTo>
                  <a:pt x="361" y="1806"/>
                </a:lnTo>
                <a:lnTo>
                  <a:pt x="362" y="1809"/>
                </a:lnTo>
                <a:lnTo>
                  <a:pt x="362" y="1812"/>
                </a:lnTo>
                <a:lnTo>
                  <a:pt x="362" y="1815"/>
                </a:lnTo>
                <a:lnTo>
                  <a:pt x="361" y="1818"/>
                </a:lnTo>
                <a:lnTo>
                  <a:pt x="359" y="1821"/>
                </a:lnTo>
                <a:lnTo>
                  <a:pt x="357" y="1823"/>
                </a:lnTo>
                <a:lnTo>
                  <a:pt x="354" y="1825"/>
                </a:lnTo>
                <a:lnTo>
                  <a:pt x="352" y="1826"/>
                </a:lnTo>
                <a:lnTo>
                  <a:pt x="349" y="1827"/>
                </a:lnTo>
                <a:lnTo>
                  <a:pt x="344" y="1827"/>
                </a:lnTo>
                <a:lnTo>
                  <a:pt x="341" y="1827"/>
                </a:lnTo>
                <a:lnTo>
                  <a:pt x="339" y="1826"/>
                </a:lnTo>
                <a:lnTo>
                  <a:pt x="337" y="1824"/>
                </a:lnTo>
                <a:lnTo>
                  <a:pt x="335" y="1822"/>
                </a:lnTo>
                <a:lnTo>
                  <a:pt x="333" y="1820"/>
                </a:lnTo>
                <a:lnTo>
                  <a:pt x="331" y="1817"/>
                </a:lnTo>
                <a:lnTo>
                  <a:pt x="331" y="1814"/>
                </a:lnTo>
                <a:lnTo>
                  <a:pt x="330" y="1811"/>
                </a:lnTo>
                <a:lnTo>
                  <a:pt x="331" y="1808"/>
                </a:lnTo>
                <a:lnTo>
                  <a:pt x="332" y="1805"/>
                </a:lnTo>
                <a:lnTo>
                  <a:pt x="333" y="1802"/>
                </a:lnTo>
                <a:lnTo>
                  <a:pt x="335" y="1800"/>
                </a:lnTo>
                <a:lnTo>
                  <a:pt x="338" y="1797"/>
                </a:lnTo>
                <a:close/>
                <a:moveTo>
                  <a:pt x="448" y="1703"/>
                </a:moveTo>
                <a:lnTo>
                  <a:pt x="450" y="1702"/>
                </a:lnTo>
                <a:lnTo>
                  <a:pt x="453" y="1701"/>
                </a:lnTo>
                <a:lnTo>
                  <a:pt x="459" y="1701"/>
                </a:lnTo>
                <a:lnTo>
                  <a:pt x="461" y="1702"/>
                </a:lnTo>
                <a:lnTo>
                  <a:pt x="464" y="1703"/>
                </a:lnTo>
                <a:lnTo>
                  <a:pt x="466" y="1705"/>
                </a:lnTo>
                <a:lnTo>
                  <a:pt x="467" y="1706"/>
                </a:lnTo>
                <a:lnTo>
                  <a:pt x="468" y="1707"/>
                </a:lnTo>
                <a:lnTo>
                  <a:pt x="470" y="1710"/>
                </a:lnTo>
                <a:lnTo>
                  <a:pt x="471" y="1713"/>
                </a:lnTo>
                <a:lnTo>
                  <a:pt x="472" y="1716"/>
                </a:lnTo>
                <a:lnTo>
                  <a:pt x="471" y="1719"/>
                </a:lnTo>
                <a:lnTo>
                  <a:pt x="471" y="1722"/>
                </a:lnTo>
                <a:lnTo>
                  <a:pt x="470" y="1725"/>
                </a:lnTo>
                <a:lnTo>
                  <a:pt x="468" y="1727"/>
                </a:lnTo>
                <a:lnTo>
                  <a:pt x="465" y="1730"/>
                </a:lnTo>
                <a:lnTo>
                  <a:pt x="464" y="1731"/>
                </a:lnTo>
                <a:lnTo>
                  <a:pt x="461" y="1732"/>
                </a:lnTo>
                <a:lnTo>
                  <a:pt x="458" y="1733"/>
                </a:lnTo>
                <a:lnTo>
                  <a:pt x="453" y="1733"/>
                </a:lnTo>
                <a:lnTo>
                  <a:pt x="450" y="1732"/>
                </a:lnTo>
                <a:lnTo>
                  <a:pt x="447" y="1731"/>
                </a:lnTo>
                <a:lnTo>
                  <a:pt x="445" y="1729"/>
                </a:lnTo>
                <a:lnTo>
                  <a:pt x="444" y="1728"/>
                </a:lnTo>
                <a:lnTo>
                  <a:pt x="443" y="1727"/>
                </a:lnTo>
                <a:lnTo>
                  <a:pt x="441" y="1724"/>
                </a:lnTo>
                <a:lnTo>
                  <a:pt x="440" y="1721"/>
                </a:lnTo>
                <a:lnTo>
                  <a:pt x="440" y="1718"/>
                </a:lnTo>
                <a:lnTo>
                  <a:pt x="440" y="1715"/>
                </a:lnTo>
                <a:lnTo>
                  <a:pt x="440" y="1712"/>
                </a:lnTo>
                <a:lnTo>
                  <a:pt x="442" y="1709"/>
                </a:lnTo>
                <a:lnTo>
                  <a:pt x="443" y="1707"/>
                </a:lnTo>
                <a:lnTo>
                  <a:pt x="446" y="1704"/>
                </a:lnTo>
                <a:lnTo>
                  <a:pt x="448" y="1703"/>
                </a:lnTo>
                <a:close/>
                <a:moveTo>
                  <a:pt x="816" y="1477"/>
                </a:moveTo>
                <a:lnTo>
                  <a:pt x="819" y="1476"/>
                </a:lnTo>
                <a:lnTo>
                  <a:pt x="822" y="1475"/>
                </a:lnTo>
                <a:lnTo>
                  <a:pt x="825" y="1475"/>
                </a:lnTo>
                <a:lnTo>
                  <a:pt x="828" y="1476"/>
                </a:lnTo>
                <a:lnTo>
                  <a:pt x="831" y="1477"/>
                </a:lnTo>
                <a:lnTo>
                  <a:pt x="834" y="1479"/>
                </a:lnTo>
                <a:lnTo>
                  <a:pt x="836" y="1481"/>
                </a:lnTo>
                <a:lnTo>
                  <a:pt x="838" y="1483"/>
                </a:lnTo>
                <a:lnTo>
                  <a:pt x="839" y="1486"/>
                </a:lnTo>
                <a:lnTo>
                  <a:pt x="840" y="1489"/>
                </a:lnTo>
                <a:lnTo>
                  <a:pt x="840" y="1492"/>
                </a:lnTo>
                <a:lnTo>
                  <a:pt x="839" y="1495"/>
                </a:lnTo>
                <a:lnTo>
                  <a:pt x="838" y="1498"/>
                </a:lnTo>
                <a:lnTo>
                  <a:pt x="836" y="1501"/>
                </a:lnTo>
                <a:lnTo>
                  <a:pt x="834" y="1503"/>
                </a:lnTo>
                <a:lnTo>
                  <a:pt x="832" y="1505"/>
                </a:lnTo>
                <a:lnTo>
                  <a:pt x="829" y="1506"/>
                </a:lnTo>
                <a:lnTo>
                  <a:pt x="825" y="1507"/>
                </a:lnTo>
                <a:lnTo>
                  <a:pt x="822" y="1507"/>
                </a:lnTo>
                <a:lnTo>
                  <a:pt x="819" y="1506"/>
                </a:lnTo>
                <a:lnTo>
                  <a:pt x="816" y="1505"/>
                </a:lnTo>
                <a:lnTo>
                  <a:pt x="814" y="1504"/>
                </a:lnTo>
                <a:lnTo>
                  <a:pt x="811" y="1501"/>
                </a:lnTo>
                <a:lnTo>
                  <a:pt x="810" y="1499"/>
                </a:lnTo>
                <a:lnTo>
                  <a:pt x="808" y="1496"/>
                </a:lnTo>
                <a:lnTo>
                  <a:pt x="808" y="1493"/>
                </a:lnTo>
                <a:lnTo>
                  <a:pt x="808" y="1490"/>
                </a:lnTo>
                <a:lnTo>
                  <a:pt x="808" y="1487"/>
                </a:lnTo>
                <a:lnTo>
                  <a:pt x="809" y="1484"/>
                </a:lnTo>
                <a:lnTo>
                  <a:pt x="811" y="1481"/>
                </a:lnTo>
                <a:lnTo>
                  <a:pt x="813" y="1479"/>
                </a:lnTo>
                <a:lnTo>
                  <a:pt x="816" y="1477"/>
                </a:lnTo>
                <a:close/>
                <a:moveTo>
                  <a:pt x="940" y="1405"/>
                </a:moveTo>
                <a:lnTo>
                  <a:pt x="943" y="1403"/>
                </a:lnTo>
                <a:lnTo>
                  <a:pt x="946" y="1403"/>
                </a:lnTo>
                <a:lnTo>
                  <a:pt x="949" y="1402"/>
                </a:lnTo>
                <a:lnTo>
                  <a:pt x="952" y="1403"/>
                </a:lnTo>
                <a:lnTo>
                  <a:pt x="954" y="1404"/>
                </a:lnTo>
                <a:lnTo>
                  <a:pt x="957" y="1405"/>
                </a:lnTo>
                <a:lnTo>
                  <a:pt x="959" y="1407"/>
                </a:lnTo>
                <a:lnTo>
                  <a:pt x="961" y="1410"/>
                </a:lnTo>
                <a:lnTo>
                  <a:pt x="963" y="1413"/>
                </a:lnTo>
                <a:lnTo>
                  <a:pt x="964" y="1416"/>
                </a:lnTo>
                <a:lnTo>
                  <a:pt x="964" y="1419"/>
                </a:lnTo>
                <a:lnTo>
                  <a:pt x="963" y="1422"/>
                </a:lnTo>
                <a:lnTo>
                  <a:pt x="962" y="1425"/>
                </a:lnTo>
                <a:lnTo>
                  <a:pt x="961" y="1428"/>
                </a:lnTo>
                <a:lnTo>
                  <a:pt x="959" y="1430"/>
                </a:lnTo>
                <a:lnTo>
                  <a:pt x="956" y="1432"/>
                </a:lnTo>
                <a:lnTo>
                  <a:pt x="953" y="1433"/>
                </a:lnTo>
                <a:lnTo>
                  <a:pt x="950" y="1434"/>
                </a:lnTo>
                <a:lnTo>
                  <a:pt x="947" y="1434"/>
                </a:lnTo>
                <a:lnTo>
                  <a:pt x="944" y="1434"/>
                </a:lnTo>
                <a:lnTo>
                  <a:pt x="941" y="1433"/>
                </a:lnTo>
                <a:lnTo>
                  <a:pt x="939" y="1431"/>
                </a:lnTo>
                <a:lnTo>
                  <a:pt x="936" y="1429"/>
                </a:lnTo>
                <a:lnTo>
                  <a:pt x="934" y="1427"/>
                </a:lnTo>
                <a:lnTo>
                  <a:pt x="933" y="1424"/>
                </a:lnTo>
                <a:lnTo>
                  <a:pt x="932" y="1421"/>
                </a:lnTo>
                <a:lnTo>
                  <a:pt x="932" y="1418"/>
                </a:lnTo>
                <a:lnTo>
                  <a:pt x="932" y="1415"/>
                </a:lnTo>
                <a:lnTo>
                  <a:pt x="933" y="1412"/>
                </a:lnTo>
                <a:lnTo>
                  <a:pt x="935" y="1409"/>
                </a:lnTo>
                <a:lnTo>
                  <a:pt x="937" y="1407"/>
                </a:lnTo>
                <a:lnTo>
                  <a:pt x="939" y="1405"/>
                </a:lnTo>
                <a:lnTo>
                  <a:pt x="940" y="1405"/>
                </a:lnTo>
                <a:close/>
                <a:moveTo>
                  <a:pt x="564" y="1619"/>
                </a:moveTo>
                <a:lnTo>
                  <a:pt x="567" y="1618"/>
                </a:lnTo>
                <a:lnTo>
                  <a:pt x="570" y="1617"/>
                </a:lnTo>
                <a:lnTo>
                  <a:pt x="573" y="1617"/>
                </a:lnTo>
                <a:lnTo>
                  <a:pt x="576" y="1618"/>
                </a:lnTo>
                <a:lnTo>
                  <a:pt x="579" y="1619"/>
                </a:lnTo>
                <a:lnTo>
                  <a:pt x="581" y="1620"/>
                </a:lnTo>
                <a:lnTo>
                  <a:pt x="584" y="1622"/>
                </a:lnTo>
                <a:lnTo>
                  <a:pt x="586" y="1624"/>
                </a:lnTo>
                <a:lnTo>
                  <a:pt x="587" y="1627"/>
                </a:lnTo>
                <a:lnTo>
                  <a:pt x="588" y="1630"/>
                </a:lnTo>
                <a:lnTo>
                  <a:pt x="588" y="1633"/>
                </a:lnTo>
                <a:lnTo>
                  <a:pt x="588" y="1636"/>
                </a:lnTo>
                <a:lnTo>
                  <a:pt x="587" y="1639"/>
                </a:lnTo>
                <a:lnTo>
                  <a:pt x="586" y="1642"/>
                </a:lnTo>
                <a:lnTo>
                  <a:pt x="584" y="1645"/>
                </a:lnTo>
                <a:lnTo>
                  <a:pt x="581" y="1647"/>
                </a:lnTo>
                <a:lnTo>
                  <a:pt x="578" y="1648"/>
                </a:lnTo>
                <a:lnTo>
                  <a:pt x="575" y="1649"/>
                </a:lnTo>
                <a:lnTo>
                  <a:pt x="569" y="1649"/>
                </a:lnTo>
                <a:lnTo>
                  <a:pt x="566" y="1648"/>
                </a:lnTo>
                <a:lnTo>
                  <a:pt x="563" y="1646"/>
                </a:lnTo>
                <a:lnTo>
                  <a:pt x="561" y="1644"/>
                </a:lnTo>
                <a:lnTo>
                  <a:pt x="559" y="1642"/>
                </a:lnTo>
                <a:lnTo>
                  <a:pt x="558" y="1639"/>
                </a:lnTo>
                <a:lnTo>
                  <a:pt x="557" y="1636"/>
                </a:lnTo>
                <a:lnTo>
                  <a:pt x="556" y="1633"/>
                </a:lnTo>
                <a:lnTo>
                  <a:pt x="557" y="1630"/>
                </a:lnTo>
                <a:lnTo>
                  <a:pt x="558" y="1627"/>
                </a:lnTo>
                <a:lnTo>
                  <a:pt x="559" y="1624"/>
                </a:lnTo>
                <a:lnTo>
                  <a:pt x="561" y="1622"/>
                </a:lnTo>
                <a:lnTo>
                  <a:pt x="564" y="1620"/>
                </a:lnTo>
                <a:lnTo>
                  <a:pt x="564" y="1619"/>
                </a:lnTo>
                <a:close/>
                <a:moveTo>
                  <a:pt x="687" y="1545"/>
                </a:moveTo>
                <a:lnTo>
                  <a:pt x="690" y="1543"/>
                </a:lnTo>
                <a:lnTo>
                  <a:pt x="694" y="1543"/>
                </a:lnTo>
                <a:lnTo>
                  <a:pt x="697" y="1543"/>
                </a:lnTo>
                <a:lnTo>
                  <a:pt x="700" y="1543"/>
                </a:lnTo>
                <a:lnTo>
                  <a:pt x="703" y="1544"/>
                </a:lnTo>
                <a:lnTo>
                  <a:pt x="705" y="1546"/>
                </a:lnTo>
                <a:lnTo>
                  <a:pt x="708" y="1548"/>
                </a:lnTo>
                <a:lnTo>
                  <a:pt x="709" y="1551"/>
                </a:lnTo>
                <a:lnTo>
                  <a:pt x="711" y="1554"/>
                </a:lnTo>
                <a:lnTo>
                  <a:pt x="711" y="1557"/>
                </a:lnTo>
                <a:lnTo>
                  <a:pt x="711" y="1560"/>
                </a:lnTo>
                <a:lnTo>
                  <a:pt x="711" y="1563"/>
                </a:lnTo>
                <a:lnTo>
                  <a:pt x="710" y="1566"/>
                </a:lnTo>
                <a:lnTo>
                  <a:pt x="708" y="1568"/>
                </a:lnTo>
                <a:lnTo>
                  <a:pt x="706" y="1571"/>
                </a:lnTo>
                <a:lnTo>
                  <a:pt x="703" y="1572"/>
                </a:lnTo>
                <a:lnTo>
                  <a:pt x="700" y="1574"/>
                </a:lnTo>
                <a:lnTo>
                  <a:pt x="697" y="1574"/>
                </a:lnTo>
                <a:lnTo>
                  <a:pt x="694" y="1574"/>
                </a:lnTo>
                <a:lnTo>
                  <a:pt x="691" y="1574"/>
                </a:lnTo>
                <a:lnTo>
                  <a:pt x="688" y="1573"/>
                </a:lnTo>
                <a:lnTo>
                  <a:pt x="686" y="1571"/>
                </a:lnTo>
                <a:lnTo>
                  <a:pt x="683" y="1569"/>
                </a:lnTo>
                <a:lnTo>
                  <a:pt x="681" y="1566"/>
                </a:lnTo>
                <a:lnTo>
                  <a:pt x="680" y="1563"/>
                </a:lnTo>
                <a:lnTo>
                  <a:pt x="680" y="1560"/>
                </a:lnTo>
                <a:lnTo>
                  <a:pt x="679" y="1557"/>
                </a:lnTo>
                <a:lnTo>
                  <a:pt x="680" y="1554"/>
                </a:lnTo>
                <a:lnTo>
                  <a:pt x="681" y="1551"/>
                </a:lnTo>
                <a:lnTo>
                  <a:pt x="683" y="1549"/>
                </a:lnTo>
                <a:lnTo>
                  <a:pt x="685" y="1547"/>
                </a:lnTo>
                <a:lnTo>
                  <a:pt x="687" y="1545"/>
                </a:lnTo>
                <a:close/>
                <a:moveTo>
                  <a:pt x="1058" y="1323"/>
                </a:moveTo>
                <a:lnTo>
                  <a:pt x="1060" y="1321"/>
                </a:lnTo>
                <a:lnTo>
                  <a:pt x="1063" y="1321"/>
                </a:lnTo>
                <a:lnTo>
                  <a:pt x="1069" y="1321"/>
                </a:lnTo>
                <a:lnTo>
                  <a:pt x="1071" y="1321"/>
                </a:lnTo>
                <a:lnTo>
                  <a:pt x="1074" y="1323"/>
                </a:lnTo>
                <a:lnTo>
                  <a:pt x="1076" y="1324"/>
                </a:lnTo>
                <a:lnTo>
                  <a:pt x="1078" y="1327"/>
                </a:lnTo>
                <a:lnTo>
                  <a:pt x="1080" y="1329"/>
                </a:lnTo>
                <a:lnTo>
                  <a:pt x="1081" y="1332"/>
                </a:lnTo>
                <a:lnTo>
                  <a:pt x="1082" y="1335"/>
                </a:lnTo>
                <a:lnTo>
                  <a:pt x="1081" y="1338"/>
                </a:lnTo>
                <a:lnTo>
                  <a:pt x="1081" y="1341"/>
                </a:lnTo>
                <a:lnTo>
                  <a:pt x="1080" y="1344"/>
                </a:lnTo>
                <a:lnTo>
                  <a:pt x="1078" y="1347"/>
                </a:lnTo>
                <a:lnTo>
                  <a:pt x="1075" y="1349"/>
                </a:lnTo>
                <a:lnTo>
                  <a:pt x="1074" y="1350"/>
                </a:lnTo>
                <a:lnTo>
                  <a:pt x="1071" y="1351"/>
                </a:lnTo>
                <a:lnTo>
                  <a:pt x="1068" y="1352"/>
                </a:lnTo>
                <a:lnTo>
                  <a:pt x="1063" y="1352"/>
                </a:lnTo>
                <a:lnTo>
                  <a:pt x="1060" y="1351"/>
                </a:lnTo>
                <a:lnTo>
                  <a:pt x="1057" y="1350"/>
                </a:lnTo>
                <a:lnTo>
                  <a:pt x="1055" y="1348"/>
                </a:lnTo>
                <a:lnTo>
                  <a:pt x="1053" y="1346"/>
                </a:lnTo>
                <a:lnTo>
                  <a:pt x="1051" y="1343"/>
                </a:lnTo>
                <a:lnTo>
                  <a:pt x="1050" y="1340"/>
                </a:lnTo>
                <a:lnTo>
                  <a:pt x="1050" y="1337"/>
                </a:lnTo>
                <a:lnTo>
                  <a:pt x="1050" y="1334"/>
                </a:lnTo>
                <a:lnTo>
                  <a:pt x="1050" y="1331"/>
                </a:lnTo>
                <a:lnTo>
                  <a:pt x="1052" y="1328"/>
                </a:lnTo>
                <a:lnTo>
                  <a:pt x="1054" y="1326"/>
                </a:lnTo>
                <a:lnTo>
                  <a:pt x="1056" y="1324"/>
                </a:lnTo>
                <a:lnTo>
                  <a:pt x="1058" y="1323"/>
                </a:lnTo>
                <a:close/>
                <a:moveTo>
                  <a:pt x="2923" y="216"/>
                </a:moveTo>
                <a:lnTo>
                  <a:pt x="2926" y="214"/>
                </a:lnTo>
                <a:lnTo>
                  <a:pt x="2930" y="213"/>
                </a:lnTo>
                <a:lnTo>
                  <a:pt x="2933" y="214"/>
                </a:lnTo>
                <a:lnTo>
                  <a:pt x="2935" y="214"/>
                </a:lnTo>
                <a:lnTo>
                  <a:pt x="2937" y="215"/>
                </a:lnTo>
                <a:lnTo>
                  <a:pt x="2940" y="216"/>
                </a:lnTo>
                <a:lnTo>
                  <a:pt x="2942" y="219"/>
                </a:lnTo>
                <a:lnTo>
                  <a:pt x="2944" y="221"/>
                </a:lnTo>
                <a:lnTo>
                  <a:pt x="2946" y="224"/>
                </a:lnTo>
                <a:lnTo>
                  <a:pt x="2946" y="227"/>
                </a:lnTo>
                <a:lnTo>
                  <a:pt x="2947" y="230"/>
                </a:lnTo>
                <a:lnTo>
                  <a:pt x="2946" y="233"/>
                </a:lnTo>
                <a:lnTo>
                  <a:pt x="2945" y="236"/>
                </a:lnTo>
                <a:lnTo>
                  <a:pt x="2942" y="240"/>
                </a:lnTo>
                <a:lnTo>
                  <a:pt x="2941" y="242"/>
                </a:lnTo>
                <a:lnTo>
                  <a:pt x="2939" y="243"/>
                </a:lnTo>
                <a:lnTo>
                  <a:pt x="2935" y="245"/>
                </a:lnTo>
                <a:lnTo>
                  <a:pt x="2932" y="245"/>
                </a:lnTo>
                <a:lnTo>
                  <a:pt x="2928" y="245"/>
                </a:lnTo>
                <a:lnTo>
                  <a:pt x="2926" y="245"/>
                </a:lnTo>
                <a:lnTo>
                  <a:pt x="2924" y="244"/>
                </a:lnTo>
                <a:lnTo>
                  <a:pt x="2921" y="242"/>
                </a:lnTo>
                <a:lnTo>
                  <a:pt x="2919" y="240"/>
                </a:lnTo>
                <a:lnTo>
                  <a:pt x="2917" y="238"/>
                </a:lnTo>
                <a:lnTo>
                  <a:pt x="2916" y="235"/>
                </a:lnTo>
                <a:lnTo>
                  <a:pt x="2915" y="232"/>
                </a:lnTo>
                <a:lnTo>
                  <a:pt x="2915" y="229"/>
                </a:lnTo>
                <a:lnTo>
                  <a:pt x="2915" y="226"/>
                </a:lnTo>
                <a:lnTo>
                  <a:pt x="2916" y="223"/>
                </a:lnTo>
                <a:lnTo>
                  <a:pt x="2919" y="219"/>
                </a:lnTo>
                <a:lnTo>
                  <a:pt x="2921" y="217"/>
                </a:lnTo>
                <a:lnTo>
                  <a:pt x="2923" y="216"/>
                </a:lnTo>
                <a:close/>
                <a:moveTo>
                  <a:pt x="1167" y="1229"/>
                </a:moveTo>
                <a:lnTo>
                  <a:pt x="1169" y="1228"/>
                </a:lnTo>
                <a:lnTo>
                  <a:pt x="1171" y="1227"/>
                </a:lnTo>
                <a:lnTo>
                  <a:pt x="1174" y="1227"/>
                </a:lnTo>
                <a:lnTo>
                  <a:pt x="1177" y="1227"/>
                </a:lnTo>
                <a:lnTo>
                  <a:pt x="1179" y="1228"/>
                </a:lnTo>
                <a:lnTo>
                  <a:pt x="1182" y="1229"/>
                </a:lnTo>
                <a:lnTo>
                  <a:pt x="1184" y="1230"/>
                </a:lnTo>
                <a:lnTo>
                  <a:pt x="1186" y="1232"/>
                </a:lnTo>
                <a:lnTo>
                  <a:pt x="1188" y="1234"/>
                </a:lnTo>
                <a:lnTo>
                  <a:pt x="1189" y="1237"/>
                </a:lnTo>
                <a:lnTo>
                  <a:pt x="1190" y="1240"/>
                </a:lnTo>
                <a:lnTo>
                  <a:pt x="1191" y="1243"/>
                </a:lnTo>
                <a:lnTo>
                  <a:pt x="1190" y="1246"/>
                </a:lnTo>
                <a:lnTo>
                  <a:pt x="1189" y="1249"/>
                </a:lnTo>
                <a:lnTo>
                  <a:pt x="1188" y="1252"/>
                </a:lnTo>
                <a:lnTo>
                  <a:pt x="1186" y="1254"/>
                </a:lnTo>
                <a:lnTo>
                  <a:pt x="1182" y="1257"/>
                </a:lnTo>
                <a:lnTo>
                  <a:pt x="1180" y="1258"/>
                </a:lnTo>
                <a:lnTo>
                  <a:pt x="1178" y="1259"/>
                </a:lnTo>
                <a:lnTo>
                  <a:pt x="1175" y="1259"/>
                </a:lnTo>
                <a:lnTo>
                  <a:pt x="1172" y="1259"/>
                </a:lnTo>
                <a:lnTo>
                  <a:pt x="1170" y="1258"/>
                </a:lnTo>
                <a:lnTo>
                  <a:pt x="1167" y="1257"/>
                </a:lnTo>
                <a:lnTo>
                  <a:pt x="1165" y="1256"/>
                </a:lnTo>
                <a:lnTo>
                  <a:pt x="1163" y="1254"/>
                </a:lnTo>
                <a:lnTo>
                  <a:pt x="1161" y="1251"/>
                </a:lnTo>
                <a:lnTo>
                  <a:pt x="1160" y="1249"/>
                </a:lnTo>
                <a:lnTo>
                  <a:pt x="1159" y="1246"/>
                </a:lnTo>
                <a:lnTo>
                  <a:pt x="1159" y="1243"/>
                </a:lnTo>
                <a:lnTo>
                  <a:pt x="1159" y="1240"/>
                </a:lnTo>
                <a:lnTo>
                  <a:pt x="1160" y="1237"/>
                </a:lnTo>
                <a:lnTo>
                  <a:pt x="1161" y="1234"/>
                </a:lnTo>
                <a:lnTo>
                  <a:pt x="1163" y="1231"/>
                </a:lnTo>
                <a:lnTo>
                  <a:pt x="1167" y="1229"/>
                </a:lnTo>
                <a:close/>
                <a:moveTo>
                  <a:pt x="1262" y="1122"/>
                </a:moveTo>
                <a:lnTo>
                  <a:pt x="1266" y="1120"/>
                </a:lnTo>
                <a:lnTo>
                  <a:pt x="1271" y="1120"/>
                </a:lnTo>
                <a:lnTo>
                  <a:pt x="1273" y="1120"/>
                </a:lnTo>
                <a:lnTo>
                  <a:pt x="1276" y="1121"/>
                </a:lnTo>
                <a:lnTo>
                  <a:pt x="1278" y="1122"/>
                </a:lnTo>
                <a:lnTo>
                  <a:pt x="1280" y="1123"/>
                </a:lnTo>
                <a:lnTo>
                  <a:pt x="1282" y="1125"/>
                </a:lnTo>
                <a:lnTo>
                  <a:pt x="1284" y="1128"/>
                </a:lnTo>
                <a:lnTo>
                  <a:pt x="1285" y="1131"/>
                </a:lnTo>
                <a:lnTo>
                  <a:pt x="1286" y="1134"/>
                </a:lnTo>
                <a:lnTo>
                  <a:pt x="1286" y="1137"/>
                </a:lnTo>
                <a:lnTo>
                  <a:pt x="1286" y="1140"/>
                </a:lnTo>
                <a:lnTo>
                  <a:pt x="1285" y="1143"/>
                </a:lnTo>
                <a:lnTo>
                  <a:pt x="1283" y="1146"/>
                </a:lnTo>
                <a:lnTo>
                  <a:pt x="1281" y="1148"/>
                </a:lnTo>
                <a:lnTo>
                  <a:pt x="1278" y="1150"/>
                </a:lnTo>
                <a:lnTo>
                  <a:pt x="1274" y="1151"/>
                </a:lnTo>
                <a:lnTo>
                  <a:pt x="1269" y="1152"/>
                </a:lnTo>
                <a:lnTo>
                  <a:pt x="1267" y="1152"/>
                </a:lnTo>
                <a:lnTo>
                  <a:pt x="1265" y="1151"/>
                </a:lnTo>
                <a:lnTo>
                  <a:pt x="1263" y="1150"/>
                </a:lnTo>
                <a:lnTo>
                  <a:pt x="1260" y="1149"/>
                </a:lnTo>
                <a:lnTo>
                  <a:pt x="1258" y="1146"/>
                </a:lnTo>
                <a:lnTo>
                  <a:pt x="1256" y="1144"/>
                </a:lnTo>
                <a:lnTo>
                  <a:pt x="1255" y="1141"/>
                </a:lnTo>
                <a:lnTo>
                  <a:pt x="1254" y="1138"/>
                </a:lnTo>
                <a:lnTo>
                  <a:pt x="1254" y="1135"/>
                </a:lnTo>
                <a:lnTo>
                  <a:pt x="1255" y="1132"/>
                </a:lnTo>
                <a:lnTo>
                  <a:pt x="1256" y="1129"/>
                </a:lnTo>
                <a:lnTo>
                  <a:pt x="1257" y="1126"/>
                </a:lnTo>
                <a:lnTo>
                  <a:pt x="1260" y="1124"/>
                </a:lnTo>
                <a:lnTo>
                  <a:pt x="1262" y="1122"/>
                </a:lnTo>
                <a:close/>
                <a:moveTo>
                  <a:pt x="1339" y="1001"/>
                </a:moveTo>
                <a:lnTo>
                  <a:pt x="1343" y="999"/>
                </a:lnTo>
                <a:lnTo>
                  <a:pt x="1347" y="999"/>
                </a:lnTo>
                <a:lnTo>
                  <a:pt x="1351" y="999"/>
                </a:lnTo>
                <a:lnTo>
                  <a:pt x="1354" y="1001"/>
                </a:lnTo>
                <a:lnTo>
                  <a:pt x="1357" y="1002"/>
                </a:lnTo>
                <a:lnTo>
                  <a:pt x="1359" y="1005"/>
                </a:lnTo>
                <a:lnTo>
                  <a:pt x="1361" y="1007"/>
                </a:lnTo>
                <a:lnTo>
                  <a:pt x="1362" y="1010"/>
                </a:lnTo>
                <a:lnTo>
                  <a:pt x="1363" y="1013"/>
                </a:lnTo>
                <a:lnTo>
                  <a:pt x="1363" y="1016"/>
                </a:lnTo>
                <a:lnTo>
                  <a:pt x="1363" y="1019"/>
                </a:lnTo>
                <a:lnTo>
                  <a:pt x="1361" y="1022"/>
                </a:lnTo>
                <a:lnTo>
                  <a:pt x="1360" y="1024"/>
                </a:lnTo>
                <a:lnTo>
                  <a:pt x="1359" y="1026"/>
                </a:lnTo>
                <a:lnTo>
                  <a:pt x="1355" y="1029"/>
                </a:lnTo>
                <a:lnTo>
                  <a:pt x="1352" y="1030"/>
                </a:lnTo>
                <a:lnTo>
                  <a:pt x="1348" y="1031"/>
                </a:lnTo>
                <a:lnTo>
                  <a:pt x="1344" y="1030"/>
                </a:lnTo>
                <a:lnTo>
                  <a:pt x="1340" y="1029"/>
                </a:lnTo>
                <a:lnTo>
                  <a:pt x="1337" y="1027"/>
                </a:lnTo>
                <a:lnTo>
                  <a:pt x="1335" y="1025"/>
                </a:lnTo>
                <a:lnTo>
                  <a:pt x="1333" y="1023"/>
                </a:lnTo>
                <a:lnTo>
                  <a:pt x="1332" y="1020"/>
                </a:lnTo>
                <a:lnTo>
                  <a:pt x="1331" y="1014"/>
                </a:lnTo>
                <a:lnTo>
                  <a:pt x="1332" y="1011"/>
                </a:lnTo>
                <a:lnTo>
                  <a:pt x="1333" y="1008"/>
                </a:lnTo>
                <a:lnTo>
                  <a:pt x="1334" y="1006"/>
                </a:lnTo>
                <a:lnTo>
                  <a:pt x="1336" y="1004"/>
                </a:lnTo>
                <a:lnTo>
                  <a:pt x="1339" y="1001"/>
                </a:lnTo>
                <a:close/>
                <a:moveTo>
                  <a:pt x="2790" y="159"/>
                </a:moveTo>
                <a:lnTo>
                  <a:pt x="2794" y="157"/>
                </a:lnTo>
                <a:lnTo>
                  <a:pt x="2797" y="157"/>
                </a:lnTo>
                <a:lnTo>
                  <a:pt x="2801" y="157"/>
                </a:lnTo>
                <a:lnTo>
                  <a:pt x="2804" y="158"/>
                </a:lnTo>
                <a:lnTo>
                  <a:pt x="2807" y="159"/>
                </a:lnTo>
                <a:lnTo>
                  <a:pt x="2810" y="161"/>
                </a:lnTo>
                <a:lnTo>
                  <a:pt x="2812" y="164"/>
                </a:lnTo>
                <a:lnTo>
                  <a:pt x="2813" y="166"/>
                </a:lnTo>
                <a:lnTo>
                  <a:pt x="2814" y="169"/>
                </a:lnTo>
                <a:lnTo>
                  <a:pt x="2814" y="172"/>
                </a:lnTo>
                <a:lnTo>
                  <a:pt x="2814" y="175"/>
                </a:lnTo>
                <a:lnTo>
                  <a:pt x="2813" y="179"/>
                </a:lnTo>
                <a:lnTo>
                  <a:pt x="2810" y="183"/>
                </a:lnTo>
                <a:lnTo>
                  <a:pt x="2808" y="185"/>
                </a:lnTo>
                <a:lnTo>
                  <a:pt x="2806" y="186"/>
                </a:lnTo>
                <a:lnTo>
                  <a:pt x="2803" y="188"/>
                </a:lnTo>
                <a:lnTo>
                  <a:pt x="2800" y="189"/>
                </a:lnTo>
                <a:lnTo>
                  <a:pt x="2796" y="188"/>
                </a:lnTo>
                <a:lnTo>
                  <a:pt x="2792" y="187"/>
                </a:lnTo>
                <a:lnTo>
                  <a:pt x="2789" y="186"/>
                </a:lnTo>
                <a:lnTo>
                  <a:pt x="2787" y="184"/>
                </a:lnTo>
                <a:lnTo>
                  <a:pt x="2785" y="181"/>
                </a:lnTo>
                <a:lnTo>
                  <a:pt x="2784" y="179"/>
                </a:lnTo>
                <a:lnTo>
                  <a:pt x="2783" y="176"/>
                </a:lnTo>
                <a:lnTo>
                  <a:pt x="2782" y="173"/>
                </a:lnTo>
                <a:lnTo>
                  <a:pt x="2783" y="170"/>
                </a:lnTo>
                <a:lnTo>
                  <a:pt x="2784" y="167"/>
                </a:lnTo>
                <a:lnTo>
                  <a:pt x="2786" y="162"/>
                </a:lnTo>
                <a:lnTo>
                  <a:pt x="2788" y="160"/>
                </a:lnTo>
                <a:lnTo>
                  <a:pt x="2790" y="159"/>
                </a:lnTo>
                <a:close/>
                <a:moveTo>
                  <a:pt x="1393" y="868"/>
                </a:moveTo>
                <a:lnTo>
                  <a:pt x="1396" y="867"/>
                </a:lnTo>
                <a:lnTo>
                  <a:pt x="1399" y="866"/>
                </a:lnTo>
                <a:lnTo>
                  <a:pt x="1402" y="866"/>
                </a:lnTo>
                <a:lnTo>
                  <a:pt x="1405" y="866"/>
                </a:lnTo>
                <a:lnTo>
                  <a:pt x="1408" y="868"/>
                </a:lnTo>
                <a:lnTo>
                  <a:pt x="1411" y="869"/>
                </a:lnTo>
                <a:lnTo>
                  <a:pt x="1413" y="872"/>
                </a:lnTo>
                <a:lnTo>
                  <a:pt x="1415" y="874"/>
                </a:lnTo>
                <a:lnTo>
                  <a:pt x="1416" y="877"/>
                </a:lnTo>
                <a:lnTo>
                  <a:pt x="1417" y="880"/>
                </a:lnTo>
                <a:lnTo>
                  <a:pt x="1417" y="883"/>
                </a:lnTo>
                <a:lnTo>
                  <a:pt x="1416" y="886"/>
                </a:lnTo>
                <a:lnTo>
                  <a:pt x="1415" y="889"/>
                </a:lnTo>
                <a:lnTo>
                  <a:pt x="1413" y="892"/>
                </a:lnTo>
                <a:lnTo>
                  <a:pt x="1411" y="894"/>
                </a:lnTo>
                <a:lnTo>
                  <a:pt x="1409" y="896"/>
                </a:lnTo>
                <a:lnTo>
                  <a:pt x="1406" y="897"/>
                </a:lnTo>
                <a:lnTo>
                  <a:pt x="1403" y="898"/>
                </a:lnTo>
                <a:lnTo>
                  <a:pt x="1399" y="898"/>
                </a:lnTo>
                <a:lnTo>
                  <a:pt x="1396" y="897"/>
                </a:lnTo>
                <a:lnTo>
                  <a:pt x="1393" y="896"/>
                </a:lnTo>
                <a:lnTo>
                  <a:pt x="1391" y="894"/>
                </a:lnTo>
                <a:lnTo>
                  <a:pt x="1388" y="892"/>
                </a:lnTo>
                <a:lnTo>
                  <a:pt x="1387" y="889"/>
                </a:lnTo>
                <a:lnTo>
                  <a:pt x="1385" y="886"/>
                </a:lnTo>
                <a:lnTo>
                  <a:pt x="1385" y="883"/>
                </a:lnTo>
                <a:lnTo>
                  <a:pt x="1385" y="880"/>
                </a:lnTo>
                <a:lnTo>
                  <a:pt x="1385" y="877"/>
                </a:lnTo>
                <a:lnTo>
                  <a:pt x="1387" y="874"/>
                </a:lnTo>
                <a:lnTo>
                  <a:pt x="1388" y="872"/>
                </a:lnTo>
                <a:lnTo>
                  <a:pt x="1390" y="870"/>
                </a:lnTo>
                <a:lnTo>
                  <a:pt x="1393" y="868"/>
                </a:lnTo>
                <a:close/>
                <a:moveTo>
                  <a:pt x="2656" y="107"/>
                </a:moveTo>
                <a:lnTo>
                  <a:pt x="2659" y="106"/>
                </a:lnTo>
                <a:lnTo>
                  <a:pt x="2662" y="105"/>
                </a:lnTo>
                <a:lnTo>
                  <a:pt x="2666" y="105"/>
                </a:lnTo>
                <a:lnTo>
                  <a:pt x="2669" y="106"/>
                </a:lnTo>
                <a:lnTo>
                  <a:pt x="2672" y="108"/>
                </a:lnTo>
                <a:lnTo>
                  <a:pt x="2675" y="109"/>
                </a:lnTo>
                <a:lnTo>
                  <a:pt x="2677" y="112"/>
                </a:lnTo>
                <a:lnTo>
                  <a:pt x="2678" y="114"/>
                </a:lnTo>
                <a:lnTo>
                  <a:pt x="2679" y="117"/>
                </a:lnTo>
                <a:lnTo>
                  <a:pt x="2680" y="120"/>
                </a:lnTo>
                <a:lnTo>
                  <a:pt x="2680" y="123"/>
                </a:lnTo>
                <a:lnTo>
                  <a:pt x="2679" y="127"/>
                </a:lnTo>
                <a:lnTo>
                  <a:pt x="2678" y="129"/>
                </a:lnTo>
                <a:lnTo>
                  <a:pt x="2676" y="132"/>
                </a:lnTo>
                <a:lnTo>
                  <a:pt x="2674" y="134"/>
                </a:lnTo>
                <a:lnTo>
                  <a:pt x="2672" y="135"/>
                </a:lnTo>
                <a:lnTo>
                  <a:pt x="2669" y="137"/>
                </a:lnTo>
                <a:lnTo>
                  <a:pt x="2665" y="137"/>
                </a:lnTo>
                <a:lnTo>
                  <a:pt x="2662" y="137"/>
                </a:lnTo>
                <a:lnTo>
                  <a:pt x="2659" y="136"/>
                </a:lnTo>
                <a:lnTo>
                  <a:pt x="2656" y="135"/>
                </a:lnTo>
                <a:lnTo>
                  <a:pt x="2653" y="133"/>
                </a:lnTo>
                <a:lnTo>
                  <a:pt x="2651" y="131"/>
                </a:lnTo>
                <a:lnTo>
                  <a:pt x="2649" y="128"/>
                </a:lnTo>
                <a:lnTo>
                  <a:pt x="2648" y="125"/>
                </a:lnTo>
                <a:lnTo>
                  <a:pt x="2648" y="122"/>
                </a:lnTo>
                <a:lnTo>
                  <a:pt x="2648" y="119"/>
                </a:lnTo>
                <a:lnTo>
                  <a:pt x="2649" y="116"/>
                </a:lnTo>
                <a:lnTo>
                  <a:pt x="2652" y="111"/>
                </a:lnTo>
                <a:lnTo>
                  <a:pt x="2654" y="109"/>
                </a:lnTo>
                <a:lnTo>
                  <a:pt x="2656" y="107"/>
                </a:lnTo>
                <a:close/>
                <a:moveTo>
                  <a:pt x="1423" y="727"/>
                </a:moveTo>
                <a:lnTo>
                  <a:pt x="1428" y="726"/>
                </a:lnTo>
                <a:lnTo>
                  <a:pt x="1431" y="725"/>
                </a:lnTo>
                <a:lnTo>
                  <a:pt x="1433" y="725"/>
                </a:lnTo>
                <a:lnTo>
                  <a:pt x="1436" y="726"/>
                </a:lnTo>
                <a:lnTo>
                  <a:pt x="1439" y="728"/>
                </a:lnTo>
                <a:lnTo>
                  <a:pt x="1442" y="729"/>
                </a:lnTo>
                <a:lnTo>
                  <a:pt x="1444" y="732"/>
                </a:lnTo>
                <a:lnTo>
                  <a:pt x="1445" y="734"/>
                </a:lnTo>
                <a:lnTo>
                  <a:pt x="1446" y="737"/>
                </a:lnTo>
                <a:lnTo>
                  <a:pt x="1447" y="740"/>
                </a:lnTo>
                <a:lnTo>
                  <a:pt x="1447" y="744"/>
                </a:lnTo>
                <a:lnTo>
                  <a:pt x="1446" y="747"/>
                </a:lnTo>
                <a:lnTo>
                  <a:pt x="1444" y="750"/>
                </a:lnTo>
                <a:lnTo>
                  <a:pt x="1442" y="753"/>
                </a:lnTo>
                <a:lnTo>
                  <a:pt x="1439" y="755"/>
                </a:lnTo>
                <a:lnTo>
                  <a:pt x="1434" y="757"/>
                </a:lnTo>
                <a:lnTo>
                  <a:pt x="1431" y="757"/>
                </a:lnTo>
                <a:lnTo>
                  <a:pt x="1429" y="757"/>
                </a:lnTo>
                <a:lnTo>
                  <a:pt x="1426" y="756"/>
                </a:lnTo>
                <a:lnTo>
                  <a:pt x="1423" y="755"/>
                </a:lnTo>
                <a:lnTo>
                  <a:pt x="1420" y="753"/>
                </a:lnTo>
                <a:lnTo>
                  <a:pt x="1418" y="751"/>
                </a:lnTo>
                <a:lnTo>
                  <a:pt x="1417" y="748"/>
                </a:lnTo>
                <a:lnTo>
                  <a:pt x="1416" y="745"/>
                </a:lnTo>
                <a:lnTo>
                  <a:pt x="1415" y="742"/>
                </a:lnTo>
                <a:lnTo>
                  <a:pt x="1415" y="739"/>
                </a:lnTo>
                <a:lnTo>
                  <a:pt x="1416" y="735"/>
                </a:lnTo>
                <a:lnTo>
                  <a:pt x="1418" y="732"/>
                </a:lnTo>
                <a:lnTo>
                  <a:pt x="1420" y="729"/>
                </a:lnTo>
                <a:lnTo>
                  <a:pt x="1423" y="727"/>
                </a:lnTo>
                <a:close/>
                <a:moveTo>
                  <a:pt x="2519" y="64"/>
                </a:moveTo>
                <a:lnTo>
                  <a:pt x="2522" y="62"/>
                </a:lnTo>
                <a:lnTo>
                  <a:pt x="2525" y="62"/>
                </a:lnTo>
                <a:lnTo>
                  <a:pt x="2528" y="62"/>
                </a:lnTo>
                <a:lnTo>
                  <a:pt x="2531" y="62"/>
                </a:lnTo>
                <a:lnTo>
                  <a:pt x="2534" y="63"/>
                </a:lnTo>
                <a:lnTo>
                  <a:pt x="2537" y="65"/>
                </a:lnTo>
                <a:lnTo>
                  <a:pt x="2539" y="67"/>
                </a:lnTo>
                <a:lnTo>
                  <a:pt x="2541" y="70"/>
                </a:lnTo>
                <a:lnTo>
                  <a:pt x="2542" y="73"/>
                </a:lnTo>
                <a:lnTo>
                  <a:pt x="2543" y="76"/>
                </a:lnTo>
                <a:lnTo>
                  <a:pt x="2543" y="79"/>
                </a:lnTo>
                <a:lnTo>
                  <a:pt x="2542" y="82"/>
                </a:lnTo>
                <a:lnTo>
                  <a:pt x="2541" y="85"/>
                </a:lnTo>
                <a:lnTo>
                  <a:pt x="2539" y="87"/>
                </a:lnTo>
                <a:lnTo>
                  <a:pt x="2537" y="90"/>
                </a:lnTo>
                <a:lnTo>
                  <a:pt x="2535" y="91"/>
                </a:lnTo>
                <a:lnTo>
                  <a:pt x="2532" y="93"/>
                </a:lnTo>
                <a:lnTo>
                  <a:pt x="2529" y="93"/>
                </a:lnTo>
                <a:lnTo>
                  <a:pt x="2526" y="93"/>
                </a:lnTo>
                <a:lnTo>
                  <a:pt x="2522" y="93"/>
                </a:lnTo>
                <a:lnTo>
                  <a:pt x="2519" y="92"/>
                </a:lnTo>
                <a:lnTo>
                  <a:pt x="2517" y="90"/>
                </a:lnTo>
                <a:lnTo>
                  <a:pt x="2514" y="88"/>
                </a:lnTo>
                <a:lnTo>
                  <a:pt x="2513" y="85"/>
                </a:lnTo>
                <a:lnTo>
                  <a:pt x="2512" y="83"/>
                </a:lnTo>
                <a:lnTo>
                  <a:pt x="2511" y="79"/>
                </a:lnTo>
                <a:lnTo>
                  <a:pt x="2511" y="76"/>
                </a:lnTo>
                <a:lnTo>
                  <a:pt x="2511" y="73"/>
                </a:lnTo>
                <a:lnTo>
                  <a:pt x="2513" y="70"/>
                </a:lnTo>
                <a:lnTo>
                  <a:pt x="2514" y="68"/>
                </a:lnTo>
                <a:lnTo>
                  <a:pt x="2516" y="65"/>
                </a:lnTo>
                <a:lnTo>
                  <a:pt x="2519" y="64"/>
                </a:lnTo>
                <a:close/>
                <a:moveTo>
                  <a:pt x="1437" y="583"/>
                </a:moveTo>
                <a:lnTo>
                  <a:pt x="1441" y="581"/>
                </a:lnTo>
                <a:lnTo>
                  <a:pt x="1446" y="581"/>
                </a:lnTo>
                <a:lnTo>
                  <a:pt x="1449" y="582"/>
                </a:lnTo>
                <a:lnTo>
                  <a:pt x="1452" y="583"/>
                </a:lnTo>
                <a:lnTo>
                  <a:pt x="1455" y="584"/>
                </a:lnTo>
                <a:lnTo>
                  <a:pt x="1457" y="586"/>
                </a:lnTo>
                <a:lnTo>
                  <a:pt x="1459" y="589"/>
                </a:lnTo>
                <a:lnTo>
                  <a:pt x="1460" y="592"/>
                </a:lnTo>
                <a:lnTo>
                  <a:pt x="1461" y="596"/>
                </a:lnTo>
                <a:lnTo>
                  <a:pt x="1461" y="599"/>
                </a:lnTo>
                <a:lnTo>
                  <a:pt x="1461" y="601"/>
                </a:lnTo>
                <a:lnTo>
                  <a:pt x="1460" y="603"/>
                </a:lnTo>
                <a:lnTo>
                  <a:pt x="1458" y="607"/>
                </a:lnTo>
                <a:lnTo>
                  <a:pt x="1456" y="610"/>
                </a:lnTo>
                <a:lnTo>
                  <a:pt x="1453" y="612"/>
                </a:lnTo>
                <a:lnTo>
                  <a:pt x="1449" y="614"/>
                </a:lnTo>
                <a:lnTo>
                  <a:pt x="1444" y="614"/>
                </a:lnTo>
                <a:lnTo>
                  <a:pt x="1441" y="613"/>
                </a:lnTo>
                <a:lnTo>
                  <a:pt x="1438" y="612"/>
                </a:lnTo>
                <a:lnTo>
                  <a:pt x="1435" y="611"/>
                </a:lnTo>
                <a:lnTo>
                  <a:pt x="1433" y="608"/>
                </a:lnTo>
                <a:lnTo>
                  <a:pt x="1431" y="606"/>
                </a:lnTo>
                <a:lnTo>
                  <a:pt x="1430" y="603"/>
                </a:lnTo>
                <a:lnTo>
                  <a:pt x="1429" y="600"/>
                </a:lnTo>
                <a:lnTo>
                  <a:pt x="1429" y="597"/>
                </a:lnTo>
                <a:lnTo>
                  <a:pt x="1429" y="595"/>
                </a:lnTo>
                <a:lnTo>
                  <a:pt x="1430" y="592"/>
                </a:lnTo>
                <a:lnTo>
                  <a:pt x="1431" y="588"/>
                </a:lnTo>
                <a:lnTo>
                  <a:pt x="1434" y="585"/>
                </a:lnTo>
                <a:lnTo>
                  <a:pt x="1437" y="583"/>
                </a:lnTo>
                <a:close/>
                <a:moveTo>
                  <a:pt x="2378" y="30"/>
                </a:moveTo>
                <a:lnTo>
                  <a:pt x="2380" y="28"/>
                </a:lnTo>
                <a:lnTo>
                  <a:pt x="2383" y="28"/>
                </a:lnTo>
                <a:lnTo>
                  <a:pt x="2389" y="28"/>
                </a:lnTo>
                <a:lnTo>
                  <a:pt x="2392" y="29"/>
                </a:lnTo>
                <a:lnTo>
                  <a:pt x="2395" y="30"/>
                </a:lnTo>
                <a:lnTo>
                  <a:pt x="2397" y="32"/>
                </a:lnTo>
                <a:lnTo>
                  <a:pt x="2399" y="35"/>
                </a:lnTo>
                <a:lnTo>
                  <a:pt x="2401" y="37"/>
                </a:lnTo>
                <a:lnTo>
                  <a:pt x="2402" y="40"/>
                </a:lnTo>
                <a:lnTo>
                  <a:pt x="2402" y="43"/>
                </a:lnTo>
                <a:lnTo>
                  <a:pt x="2402" y="47"/>
                </a:lnTo>
                <a:lnTo>
                  <a:pt x="2401" y="50"/>
                </a:lnTo>
                <a:lnTo>
                  <a:pt x="2399" y="53"/>
                </a:lnTo>
                <a:lnTo>
                  <a:pt x="2397" y="55"/>
                </a:lnTo>
                <a:lnTo>
                  <a:pt x="2394" y="57"/>
                </a:lnTo>
                <a:lnTo>
                  <a:pt x="2391" y="58"/>
                </a:lnTo>
                <a:lnTo>
                  <a:pt x="2389" y="59"/>
                </a:lnTo>
                <a:lnTo>
                  <a:pt x="2383" y="59"/>
                </a:lnTo>
                <a:lnTo>
                  <a:pt x="2380" y="58"/>
                </a:lnTo>
                <a:lnTo>
                  <a:pt x="2377" y="57"/>
                </a:lnTo>
                <a:lnTo>
                  <a:pt x="2375" y="55"/>
                </a:lnTo>
                <a:lnTo>
                  <a:pt x="2373" y="52"/>
                </a:lnTo>
                <a:lnTo>
                  <a:pt x="2371" y="50"/>
                </a:lnTo>
                <a:lnTo>
                  <a:pt x="2370" y="47"/>
                </a:lnTo>
                <a:lnTo>
                  <a:pt x="2370" y="44"/>
                </a:lnTo>
                <a:lnTo>
                  <a:pt x="2370" y="40"/>
                </a:lnTo>
                <a:lnTo>
                  <a:pt x="2371" y="37"/>
                </a:lnTo>
                <a:lnTo>
                  <a:pt x="2373" y="34"/>
                </a:lnTo>
                <a:lnTo>
                  <a:pt x="2375" y="32"/>
                </a:lnTo>
                <a:lnTo>
                  <a:pt x="2378" y="30"/>
                </a:lnTo>
                <a:close/>
                <a:moveTo>
                  <a:pt x="2236" y="8"/>
                </a:moveTo>
                <a:lnTo>
                  <a:pt x="2238" y="7"/>
                </a:lnTo>
                <a:lnTo>
                  <a:pt x="2240" y="6"/>
                </a:lnTo>
                <a:lnTo>
                  <a:pt x="2243" y="6"/>
                </a:lnTo>
                <a:lnTo>
                  <a:pt x="2245" y="6"/>
                </a:lnTo>
                <a:lnTo>
                  <a:pt x="2248" y="7"/>
                </a:lnTo>
                <a:lnTo>
                  <a:pt x="2251" y="8"/>
                </a:lnTo>
                <a:lnTo>
                  <a:pt x="2254" y="10"/>
                </a:lnTo>
                <a:lnTo>
                  <a:pt x="2256" y="12"/>
                </a:lnTo>
                <a:lnTo>
                  <a:pt x="2258" y="14"/>
                </a:lnTo>
                <a:lnTo>
                  <a:pt x="2259" y="17"/>
                </a:lnTo>
                <a:lnTo>
                  <a:pt x="2260" y="20"/>
                </a:lnTo>
                <a:lnTo>
                  <a:pt x="2260" y="23"/>
                </a:lnTo>
                <a:lnTo>
                  <a:pt x="2259" y="27"/>
                </a:lnTo>
                <a:lnTo>
                  <a:pt x="2257" y="31"/>
                </a:lnTo>
                <a:lnTo>
                  <a:pt x="2255" y="34"/>
                </a:lnTo>
                <a:lnTo>
                  <a:pt x="2252" y="36"/>
                </a:lnTo>
                <a:lnTo>
                  <a:pt x="2250" y="37"/>
                </a:lnTo>
                <a:lnTo>
                  <a:pt x="2247" y="38"/>
                </a:lnTo>
                <a:lnTo>
                  <a:pt x="2245" y="38"/>
                </a:lnTo>
                <a:lnTo>
                  <a:pt x="2242" y="38"/>
                </a:lnTo>
                <a:lnTo>
                  <a:pt x="2239" y="37"/>
                </a:lnTo>
                <a:lnTo>
                  <a:pt x="2236" y="36"/>
                </a:lnTo>
                <a:lnTo>
                  <a:pt x="2233" y="34"/>
                </a:lnTo>
                <a:lnTo>
                  <a:pt x="2231" y="32"/>
                </a:lnTo>
                <a:lnTo>
                  <a:pt x="2230" y="30"/>
                </a:lnTo>
                <a:lnTo>
                  <a:pt x="2228" y="27"/>
                </a:lnTo>
                <a:lnTo>
                  <a:pt x="2228" y="24"/>
                </a:lnTo>
                <a:lnTo>
                  <a:pt x="2228" y="20"/>
                </a:lnTo>
                <a:lnTo>
                  <a:pt x="2229" y="17"/>
                </a:lnTo>
                <a:lnTo>
                  <a:pt x="2230" y="13"/>
                </a:lnTo>
                <a:lnTo>
                  <a:pt x="2233" y="10"/>
                </a:lnTo>
                <a:lnTo>
                  <a:pt x="2236" y="8"/>
                </a:lnTo>
                <a:close/>
                <a:moveTo>
                  <a:pt x="1449" y="440"/>
                </a:moveTo>
                <a:lnTo>
                  <a:pt x="1451" y="439"/>
                </a:lnTo>
                <a:lnTo>
                  <a:pt x="1453" y="438"/>
                </a:lnTo>
                <a:lnTo>
                  <a:pt x="1456" y="437"/>
                </a:lnTo>
                <a:lnTo>
                  <a:pt x="1459" y="438"/>
                </a:lnTo>
                <a:lnTo>
                  <a:pt x="1462" y="438"/>
                </a:lnTo>
                <a:lnTo>
                  <a:pt x="1465" y="440"/>
                </a:lnTo>
                <a:lnTo>
                  <a:pt x="1467" y="441"/>
                </a:lnTo>
                <a:lnTo>
                  <a:pt x="1469" y="444"/>
                </a:lnTo>
                <a:lnTo>
                  <a:pt x="1471" y="446"/>
                </a:lnTo>
                <a:lnTo>
                  <a:pt x="1472" y="449"/>
                </a:lnTo>
                <a:lnTo>
                  <a:pt x="1473" y="452"/>
                </a:lnTo>
                <a:lnTo>
                  <a:pt x="1473" y="455"/>
                </a:lnTo>
                <a:lnTo>
                  <a:pt x="1472" y="459"/>
                </a:lnTo>
                <a:lnTo>
                  <a:pt x="1470" y="462"/>
                </a:lnTo>
                <a:lnTo>
                  <a:pt x="1468" y="465"/>
                </a:lnTo>
                <a:lnTo>
                  <a:pt x="1465" y="467"/>
                </a:lnTo>
                <a:lnTo>
                  <a:pt x="1462" y="468"/>
                </a:lnTo>
                <a:lnTo>
                  <a:pt x="1460" y="469"/>
                </a:lnTo>
                <a:lnTo>
                  <a:pt x="1457" y="469"/>
                </a:lnTo>
                <a:lnTo>
                  <a:pt x="1455" y="469"/>
                </a:lnTo>
                <a:lnTo>
                  <a:pt x="1452" y="469"/>
                </a:lnTo>
                <a:lnTo>
                  <a:pt x="1449" y="467"/>
                </a:lnTo>
                <a:lnTo>
                  <a:pt x="1446" y="466"/>
                </a:lnTo>
                <a:lnTo>
                  <a:pt x="1444" y="463"/>
                </a:lnTo>
                <a:lnTo>
                  <a:pt x="1442" y="461"/>
                </a:lnTo>
                <a:lnTo>
                  <a:pt x="1441" y="458"/>
                </a:lnTo>
                <a:lnTo>
                  <a:pt x="1441" y="455"/>
                </a:lnTo>
                <a:lnTo>
                  <a:pt x="1441" y="452"/>
                </a:lnTo>
                <a:lnTo>
                  <a:pt x="1442" y="448"/>
                </a:lnTo>
                <a:lnTo>
                  <a:pt x="1443" y="445"/>
                </a:lnTo>
                <a:lnTo>
                  <a:pt x="1446" y="442"/>
                </a:lnTo>
                <a:lnTo>
                  <a:pt x="1449" y="440"/>
                </a:lnTo>
                <a:close/>
                <a:moveTo>
                  <a:pt x="2092" y="2"/>
                </a:moveTo>
                <a:lnTo>
                  <a:pt x="2094" y="1"/>
                </a:lnTo>
                <a:lnTo>
                  <a:pt x="2096" y="1"/>
                </a:lnTo>
                <a:lnTo>
                  <a:pt x="2100" y="0"/>
                </a:lnTo>
                <a:lnTo>
                  <a:pt x="2103" y="0"/>
                </a:lnTo>
                <a:lnTo>
                  <a:pt x="2106" y="1"/>
                </a:lnTo>
                <a:lnTo>
                  <a:pt x="2107" y="2"/>
                </a:lnTo>
                <a:lnTo>
                  <a:pt x="2109" y="3"/>
                </a:lnTo>
                <a:lnTo>
                  <a:pt x="2111" y="4"/>
                </a:lnTo>
                <a:lnTo>
                  <a:pt x="2113" y="7"/>
                </a:lnTo>
                <a:lnTo>
                  <a:pt x="2115" y="9"/>
                </a:lnTo>
                <a:lnTo>
                  <a:pt x="2116" y="12"/>
                </a:lnTo>
                <a:lnTo>
                  <a:pt x="2116" y="16"/>
                </a:lnTo>
                <a:lnTo>
                  <a:pt x="2116" y="20"/>
                </a:lnTo>
                <a:lnTo>
                  <a:pt x="2115" y="22"/>
                </a:lnTo>
                <a:lnTo>
                  <a:pt x="2114" y="24"/>
                </a:lnTo>
                <a:lnTo>
                  <a:pt x="2111" y="27"/>
                </a:lnTo>
                <a:lnTo>
                  <a:pt x="2108" y="30"/>
                </a:lnTo>
                <a:lnTo>
                  <a:pt x="2106" y="31"/>
                </a:lnTo>
                <a:lnTo>
                  <a:pt x="2104" y="31"/>
                </a:lnTo>
                <a:lnTo>
                  <a:pt x="2100" y="32"/>
                </a:lnTo>
                <a:lnTo>
                  <a:pt x="2097" y="32"/>
                </a:lnTo>
                <a:lnTo>
                  <a:pt x="2094" y="31"/>
                </a:lnTo>
                <a:lnTo>
                  <a:pt x="2093" y="30"/>
                </a:lnTo>
                <a:lnTo>
                  <a:pt x="2091" y="29"/>
                </a:lnTo>
                <a:lnTo>
                  <a:pt x="2089" y="28"/>
                </a:lnTo>
                <a:lnTo>
                  <a:pt x="2087" y="25"/>
                </a:lnTo>
                <a:lnTo>
                  <a:pt x="2085" y="23"/>
                </a:lnTo>
                <a:lnTo>
                  <a:pt x="2084" y="20"/>
                </a:lnTo>
                <a:lnTo>
                  <a:pt x="2084" y="16"/>
                </a:lnTo>
                <a:lnTo>
                  <a:pt x="2085" y="12"/>
                </a:lnTo>
                <a:lnTo>
                  <a:pt x="2085" y="10"/>
                </a:lnTo>
                <a:lnTo>
                  <a:pt x="2086" y="8"/>
                </a:lnTo>
                <a:lnTo>
                  <a:pt x="2089" y="5"/>
                </a:lnTo>
                <a:lnTo>
                  <a:pt x="2092" y="2"/>
                </a:lnTo>
                <a:close/>
                <a:moveTo>
                  <a:pt x="1480" y="300"/>
                </a:moveTo>
                <a:lnTo>
                  <a:pt x="1483" y="298"/>
                </a:lnTo>
                <a:lnTo>
                  <a:pt x="1487" y="298"/>
                </a:lnTo>
                <a:lnTo>
                  <a:pt x="1490" y="298"/>
                </a:lnTo>
                <a:lnTo>
                  <a:pt x="1494" y="299"/>
                </a:lnTo>
                <a:lnTo>
                  <a:pt x="1497" y="300"/>
                </a:lnTo>
                <a:lnTo>
                  <a:pt x="1499" y="302"/>
                </a:lnTo>
                <a:lnTo>
                  <a:pt x="1501" y="304"/>
                </a:lnTo>
                <a:lnTo>
                  <a:pt x="1503" y="307"/>
                </a:lnTo>
                <a:lnTo>
                  <a:pt x="1504" y="310"/>
                </a:lnTo>
                <a:lnTo>
                  <a:pt x="1504" y="313"/>
                </a:lnTo>
                <a:lnTo>
                  <a:pt x="1504" y="316"/>
                </a:lnTo>
                <a:lnTo>
                  <a:pt x="1503" y="319"/>
                </a:lnTo>
                <a:lnTo>
                  <a:pt x="1500" y="324"/>
                </a:lnTo>
                <a:lnTo>
                  <a:pt x="1496" y="327"/>
                </a:lnTo>
                <a:lnTo>
                  <a:pt x="1493" y="329"/>
                </a:lnTo>
                <a:lnTo>
                  <a:pt x="1490" y="330"/>
                </a:lnTo>
                <a:lnTo>
                  <a:pt x="1486" y="329"/>
                </a:lnTo>
                <a:lnTo>
                  <a:pt x="1483" y="329"/>
                </a:lnTo>
                <a:lnTo>
                  <a:pt x="1480" y="327"/>
                </a:lnTo>
                <a:lnTo>
                  <a:pt x="1477" y="325"/>
                </a:lnTo>
                <a:lnTo>
                  <a:pt x="1475" y="323"/>
                </a:lnTo>
                <a:lnTo>
                  <a:pt x="1474" y="320"/>
                </a:lnTo>
                <a:lnTo>
                  <a:pt x="1473" y="317"/>
                </a:lnTo>
                <a:lnTo>
                  <a:pt x="1472" y="314"/>
                </a:lnTo>
                <a:lnTo>
                  <a:pt x="1472" y="311"/>
                </a:lnTo>
                <a:lnTo>
                  <a:pt x="1473" y="308"/>
                </a:lnTo>
                <a:lnTo>
                  <a:pt x="1476" y="303"/>
                </a:lnTo>
                <a:lnTo>
                  <a:pt x="1480" y="300"/>
                </a:lnTo>
                <a:close/>
                <a:moveTo>
                  <a:pt x="1949" y="15"/>
                </a:moveTo>
                <a:lnTo>
                  <a:pt x="1951" y="14"/>
                </a:lnTo>
                <a:lnTo>
                  <a:pt x="1954" y="13"/>
                </a:lnTo>
                <a:lnTo>
                  <a:pt x="1958" y="13"/>
                </a:lnTo>
                <a:lnTo>
                  <a:pt x="1961" y="13"/>
                </a:lnTo>
                <a:lnTo>
                  <a:pt x="1964" y="14"/>
                </a:lnTo>
                <a:lnTo>
                  <a:pt x="1966" y="16"/>
                </a:lnTo>
                <a:lnTo>
                  <a:pt x="1969" y="18"/>
                </a:lnTo>
                <a:lnTo>
                  <a:pt x="1970" y="20"/>
                </a:lnTo>
                <a:lnTo>
                  <a:pt x="1972" y="23"/>
                </a:lnTo>
                <a:lnTo>
                  <a:pt x="1972" y="25"/>
                </a:lnTo>
                <a:lnTo>
                  <a:pt x="1973" y="26"/>
                </a:lnTo>
                <a:lnTo>
                  <a:pt x="1973" y="31"/>
                </a:lnTo>
                <a:lnTo>
                  <a:pt x="1972" y="33"/>
                </a:lnTo>
                <a:lnTo>
                  <a:pt x="1971" y="36"/>
                </a:lnTo>
                <a:lnTo>
                  <a:pt x="1970" y="38"/>
                </a:lnTo>
                <a:lnTo>
                  <a:pt x="1969" y="40"/>
                </a:lnTo>
                <a:lnTo>
                  <a:pt x="1967" y="41"/>
                </a:lnTo>
                <a:lnTo>
                  <a:pt x="1965" y="42"/>
                </a:lnTo>
                <a:lnTo>
                  <a:pt x="1962" y="44"/>
                </a:lnTo>
                <a:lnTo>
                  <a:pt x="1959" y="44"/>
                </a:lnTo>
                <a:lnTo>
                  <a:pt x="1956" y="45"/>
                </a:lnTo>
                <a:lnTo>
                  <a:pt x="1953" y="44"/>
                </a:lnTo>
                <a:lnTo>
                  <a:pt x="1950" y="43"/>
                </a:lnTo>
                <a:lnTo>
                  <a:pt x="1947" y="42"/>
                </a:lnTo>
                <a:lnTo>
                  <a:pt x="1945" y="40"/>
                </a:lnTo>
                <a:lnTo>
                  <a:pt x="1943" y="37"/>
                </a:lnTo>
                <a:lnTo>
                  <a:pt x="1942" y="34"/>
                </a:lnTo>
                <a:lnTo>
                  <a:pt x="1941" y="33"/>
                </a:lnTo>
                <a:lnTo>
                  <a:pt x="1941" y="31"/>
                </a:lnTo>
                <a:lnTo>
                  <a:pt x="1941" y="26"/>
                </a:lnTo>
                <a:lnTo>
                  <a:pt x="1942" y="24"/>
                </a:lnTo>
                <a:lnTo>
                  <a:pt x="1942" y="22"/>
                </a:lnTo>
                <a:lnTo>
                  <a:pt x="1944" y="20"/>
                </a:lnTo>
                <a:lnTo>
                  <a:pt x="1945" y="18"/>
                </a:lnTo>
                <a:lnTo>
                  <a:pt x="1947" y="16"/>
                </a:lnTo>
                <a:lnTo>
                  <a:pt x="1949" y="15"/>
                </a:lnTo>
                <a:close/>
                <a:moveTo>
                  <a:pt x="1809" y="47"/>
                </a:moveTo>
                <a:lnTo>
                  <a:pt x="1812" y="46"/>
                </a:lnTo>
                <a:lnTo>
                  <a:pt x="1815" y="45"/>
                </a:lnTo>
                <a:lnTo>
                  <a:pt x="1819" y="45"/>
                </a:lnTo>
                <a:lnTo>
                  <a:pt x="1822" y="46"/>
                </a:lnTo>
                <a:lnTo>
                  <a:pt x="1824" y="47"/>
                </a:lnTo>
                <a:lnTo>
                  <a:pt x="1827" y="49"/>
                </a:lnTo>
                <a:lnTo>
                  <a:pt x="1829" y="51"/>
                </a:lnTo>
                <a:lnTo>
                  <a:pt x="1831" y="53"/>
                </a:lnTo>
                <a:lnTo>
                  <a:pt x="1832" y="56"/>
                </a:lnTo>
                <a:lnTo>
                  <a:pt x="1833" y="62"/>
                </a:lnTo>
                <a:lnTo>
                  <a:pt x="1833" y="65"/>
                </a:lnTo>
                <a:lnTo>
                  <a:pt x="1832" y="67"/>
                </a:lnTo>
                <a:lnTo>
                  <a:pt x="1831" y="69"/>
                </a:lnTo>
                <a:lnTo>
                  <a:pt x="1829" y="72"/>
                </a:lnTo>
                <a:lnTo>
                  <a:pt x="1825" y="75"/>
                </a:lnTo>
                <a:lnTo>
                  <a:pt x="1822" y="76"/>
                </a:lnTo>
                <a:lnTo>
                  <a:pt x="1819" y="77"/>
                </a:lnTo>
                <a:lnTo>
                  <a:pt x="1815" y="77"/>
                </a:lnTo>
                <a:lnTo>
                  <a:pt x="1812" y="77"/>
                </a:lnTo>
                <a:lnTo>
                  <a:pt x="1810" y="75"/>
                </a:lnTo>
                <a:lnTo>
                  <a:pt x="1807" y="74"/>
                </a:lnTo>
                <a:lnTo>
                  <a:pt x="1805" y="72"/>
                </a:lnTo>
                <a:lnTo>
                  <a:pt x="1803" y="69"/>
                </a:lnTo>
                <a:lnTo>
                  <a:pt x="1802" y="66"/>
                </a:lnTo>
                <a:lnTo>
                  <a:pt x="1801" y="60"/>
                </a:lnTo>
                <a:lnTo>
                  <a:pt x="1801" y="58"/>
                </a:lnTo>
                <a:lnTo>
                  <a:pt x="1802" y="55"/>
                </a:lnTo>
                <a:lnTo>
                  <a:pt x="1803" y="53"/>
                </a:lnTo>
                <a:lnTo>
                  <a:pt x="1805" y="51"/>
                </a:lnTo>
                <a:lnTo>
                  <a:pt x="1809" y="47"/>
                </a:lnTo>
                <a:close/>
                <a:moveTo>
                  <a:pt x="1557" y="180"/>
                </a:moveTo>
                <a:lnTo>
                  <a:pt x="1560" y="179"/>
                </a:lnTo>
                <a:lnTo>
                  <a:pt x="1562" y="179"/>
                </a:lnTo>
                <a:lnTo>
                  <a:pt x="1565" y="178"/>
                </a:lnTo>
                <a:lnTo>
                  <a:pt x="1567" y="178"/>
                </a:lnTo>
                <a:lnTo>
                  <a:pt x="1570" y="179"/>
                </a:lnTo>
                <a:lnTo>
                  <a:pt x="1572" y="180"/>
                </a:lnTo>
                <a:lnTo>
                  <a:pt x="1575" y="181"/>
                </a:lnTo>
                <a:lnTo>
                  <a:pt x="1577" y="183"/>
                </a:lnTo>
                <a:lnTo>
                  <a:pt x="1579" y="186"/>
                </a:lnTo>
                <a:lnTo>
                  <a:pt x="1580" y="188"/>
                </a:lnTo>
                <a:lnTo>
                  <a:pt x="1581" y="191"/>
                </a:lnTo>
                <a:lnTo>
                  <a:pt x="1581" y="194"/>
                </a:lnTo>
                <a:lnTo>
                  <a:pt x="1581" y="197"/>
                </a:lnTo>
                <a:lnTo>
                  <a:pt x="1580" y="200"/>
                </a:lnTo>
                <a:lnTo>
                  <a:pt x="1579" y="203"/>
                </a:lnTo>
                <a:lnTo>
                  <a:pt x="1577" y="206"/>
                </a:lnTo>
                <a:lnTo>
                  <a:pt x="1573" y="208"/>
                </a:lnTo>
                <a:lnTo>
                  <a:pt x="1571" y="209"/>
                </a:lnTo>
                <a:lnTo>
                  <a:pt x="1568" y="210"/>
                </a:lnTo>
                <a:lnTo>
                  <a:pt x="1566" y="210"/>
                </a:lnTo>
                <a:lnTo>
                  <a:pt x="1563" y="210"/>
                </a:lnTo>
                <a:lnTo>
                  <a:pt x="1561" y="210"/>
                </a:lnTo>
                <a:lnTo>
                  <a:pt x="1558" y="209"/>
                </a:lnTo>
                <a:lnTo>
                  <a:pt x="1556" y="207"/>
                </a:lnTo>
                <a:lnTo>
                  <a:pt x="1554" y="206"/>
                </a:lnTo>
                <a:lnTo>
                  <a:pt x="1552" y="203"/>
                </a:lnTo>
                <a:lnTo>
                  <a:pt x="1550" y="200"/>
                </a:lnTo>
                <a:lnTo>
                  <a:pt x="1550" y="197"/>
                </a:lnTo>
                <a:lnTo>
                  <a:pt x="1549" y="194"/>
                </a:lnTo>
                <a:lnTo>
                  <a:pt x="1550" y="191"/>
                </a:lnTo>
                <a:lnTo>
                  <a:pt x="1551" y="188"/>
                </a:lnTo>
                <a:lnTo>
                  <a:pt x="1552" y="185"/>
                </a:lnTo>
                <a:lnTo>
                  <a:pt x="1554" y="183"/>
                </a:lnTo>
                <a:lnTo>
                  <a:pt x="1557" y="180"/>
                </a:lnTo>
                <a:close/>
                <a:moveTo>
                  <a:pt x="1675" y="100"/>
                </a:moveTo>
                <a:lnTo>
                  <a:pt x="1678" y="98"/>
                </a:lnTo>
                <a:lnTo>
                  <a:pt x="1682" y="98"/>
                </a:lnTo>
                <a:lnTo>
                  <a:pt x="1685" y="98"/>
                </a:lnTo>
                <a:lnTo>
                  <a:pt x="1688" y="98"/>
                </a:lnTo>
                <a:lnTo>
                  <a:pt x="1691" y="100"/>
                </a:lnTo>
                <a:lnTo>
                  <a:pt x="1694" y="101"/>
                </a:lnTo>
                <a:lnTo>
                  <a:pt x="1696" y="104"/>
                </a:lnTo>
                <a:lnTo>
                  <a:pt x="1697" y="106"/>
                </a:lnTo>
                <a:lnTo>
                  <a:pt x="1699" y="109"/>
                </a:lnTo>
                <a:lnTo>
                  <a:pt x="1699" y="112"/>
                </a:lnTo>
                <a:lnTo>
                  <a:pt x="1699" y="115"/>
                </a:lnTo>
                <a:lnTo>
                  <a:pt x="1698" y="118"/>
                </a:lnTo>
                <a:lnTo>
                  <a:pt x="1697" y="121"/>
                </a:lnTo>
                <a:lnTo>
                  <a:pt x="1696" y="123"/>
                </a:lnTo>
                <a:lnTo>
                  <a:pt x="1694" y="126"/>
                </a:lnTo>
                <a:lnTo>
                  <a:pt x="1691" y="127"/>
                </a:lnTo>
                <a:lnTo>
                  <a:pt x="1688" y="129"/>
                </a:lnTo>
                <a:lnTo>
                  <a:pt x="1684" y="129"/>
                </a:lnTo>
                <a:lnTo>
                  <a:pt x="1681" y="129"/>
                </a:lnTo>
                <a:lnTo>
                  <a:pt x="1678" y="129"/>
                </a:lnTo>
                <a:lnTo>
                  <a:pt x="1675" y="127"/>
                </a:lnTo>
                <a:lnTo>
                  <a:pt x="1673" y="125"/>
                </a:lnTo>
                <a:lnTo>
                  <a:pt x="1670" y="123"/>
                </a:lnTo>
                <a:lnTo>
                  <a:pt x="1669" y="120"/>
                </a:lnTo>
                <a:lnTo>
                  <a:pt x="1668" y="118"/>
                </a:lnTo>
                <a:lnTo>
                  <a:pt x="1667" y="115"/>
                </a:lnTo>
                <a:lnTo>
                  <a:pt x="1667" y="112"/>
                </a:lnTo>
                <a:lnTo>
                  <a:pt x="1668" y="109"/>
                </a:lnTo>
                <a:lnTo>
                  <a:pt x="1669" y="106"/>
                </a:lnTo>
                <a:lnTo>
                  <a:pt x="1670" y="104"/>
                </a:lnTo>
                <a:lnTo>
                  <a:pt x="1673" y="101"/>
                </a:lnTo>
                <a:lnTo>
                  <a:pt x="1675" y="100"/>
                </a:lnTo>
                <a:close/>
                <a:moveTo>
                  <a:pt x="4769" y="1270"/>
                </a:moveTo>
                <a:lnTo>
                  <a:pt x="4772" y="1269"/>
                </a:lnTo>
                <a:lnTo>
                  <a:pt x="4775" y="1268"/>
                </a:lnTo>
                <a:lnTo>
                  <a:pt x="4780" y="1268"/>
                </a:lnTo>
                <a:lnTo>
                  <a:pt x="4783" y="1269"/>
                </a:lnTo>
                <a:lnTo>
                  <a:pt x="4786" y="1271"/>
                </a:lnTo>
                <a:lnTo>
                  <a:pt x="4789" y="1273"/>
                </a:lnTo>
                <a:lnTo>
                  <a:pt x="4790" y="1275"/>
                </a:lnTo>
                <a:lnTo>
                  <a:pt x="4792" y="1278"/>
                </a:lnTo>
                <a:lnTo>
                  <a:pt x="4793" y="1281"/>
                </a:lnTo>
                <a:lnTo>
                  <a:pt x="4793" y="1284"/>
                </a:lnTo>
                <a:lnTo>
                  <a:pt x="4793" y="1287"/>
                </a:lnTo>
                <a:lnTo>
                  <a:pt x="4792" y="1290"/>
                </a:lnTo>
                <a:lnTo>
                  <a:pt x="4790" y="1293"/>
                </a:lnTo>
                <a:lnTo>
                  <a:pt x="4788" y="1296"/>
                </a:lnTo>
                <a:lnTo>
                  <a:pt x="4785" y="1298"/>
                </a:lnTo>
                <a:lnTo>
                  <a:pt x="4783" y="1299"/>
                </a:lnTo>
                <a:lnTo>
                  <a:pt x="4780" y="1300"/>
                </a:lnTo>
                <a:lnTo>
                  <a:pt x="4777" y="1300"/>
                </a:lnTo>
                <a:lnTo>
                  <a:pt x="4774" y="1299"/>
                </a:lnTo>
                <a:lnTo>
                  <a:pt x="4771" y="1298"/>
                </a:lnTo>
                <a:lnTo>
                  <a:pt x="4768" y="1297"/>
                </a:lnTo>
                <a:lnTo>
                  <a:pt x="4766" y="1295"/>
                </a:lnTo>
                <a:lnTo>
                  <a:pt x="4764" y="1293"/>
                </a:lnTo>
                <a:lnTo>
                  <a:pt x="4762" y="1290"/>
                </a:lnTo>
                <a:lnTo>
                  <a:pt x="4762" y="1287"/>
                </a:lnTo>
                <a:lnTo>
                  <a:pt x="4761" y="1284"/>
                </a:lnTo>
                <a:lnTo>
                  <a:pt x="4762" y="1281"/>
                </a:lnTo>
                <a:lnTo>
                  <a:pt x="4763" y="1277"/>
                </a:lnTo>
                <a:lnTo>
                  <a:pt x="4764" y="1275"/>
                </a:lnTo>
                <a:lnTo>
                  <a:pt x="4767" y="1272"/>
                </a:lnTo>
                <a:lnTo>
                  <a:pt x="4769" y="1270"/>
                </a:lnTo>
                <a:close/>
                <a:moveTo>
                  <a:pt x="4629" y="1238"/>
                </a:moveTo>
                <a:lnTo>
                  <a:pt x="4631" y="1237"/>
                </a:lnTo>
                <a:lnTo>
                  <a:pt x="4634" y="1237"/>
                </a:lnTo>
                <a:lnTo>
                  <a:pt x="4637" y="1236"/>
                </a:lnTo>
                <a:lnTo>
                  <a:pt x="4640" y="1237"/>
                </a:lnTo>
                <a:lnTo>
                  <a:pt x="4643" y="1238"/>
                </a:lnTo>
                <a:lnTo>
                  <a:pt x="4646" y="1239"/>
                </a:lnTo>
                <a:lnTo>
                  <a:pt x="4648" y="1242"/>
                </a:lnTo>
                <a:lnTo>
                  <a:pt x="4650" y="1244"/>
                </a:lnTo>
                <a:lnTo>
                  <a:pt x="4651" y="1247"/>
                </a:lnTo>
                <a:lnTo>
                  <a:pt x="4652" y="1250"/>
                </a:lnTo>
                <a:lnTo>
                  <a:pt x="4652" y="1253"/>
                </a:lnTo>
                <a:lnTo>
                  <a:pt x="4652" y="1256"/>
                </a:lnTo>
                <a:lnTo>
                  <a:pt x="4651" y="1259"/>
                </a:lnTo>
                <a:lnTo>
                  <a:pt x="4649" y="1262"/>
                </a:lnTo>
                <a:lnTo>
                  <a:pt x="4647" y="1264"/>
                </a:lnTo>
                <a:lnTo>
                  <a:pt x="4644" y="1266"/>
                </a:lnTo>
                <a:lnTo>
                  <a:pt x="4642" y="1267"/>
                </a:lnTo>
                <a:lnTo>
                  <a:pt x="4639" y="1268"/>
                </a:lnTo>
                <a:lnTo>
                  <a:pt x="4636" y="1268"/>
                </a:lnTo>
                <a:lnTo>
                  <a:pt x="4633" y="1268"/>
                </a:lnTo>
                <a:lnTo>
                  <a:pt x="4630" y="1267"/>
                </a:lnTo>
                <a:lnTo>
                  <a:pt x="4627" y="1265"/>
                </a:lnTo>
                <a:lnTo>
                  <a:pt x="4625" y="1263"/>
                </a:lnTo>
                <a:lnTo>
                  <a:pt x="4623" y="1260"/>
                </a:lnTo>
                <a:lnTo>
                  <a:pt x="4622" y="1258"/>
                </a:lnTo>
                <a:lnTo>
                  <a:pt x="4621" y="1255"/>
                </a:lnTo>
                <a:lnTo>
                  <a:pt x="4621" y="1252"/>
                </a:lnTo>
                <a:lnTo>
                  <a:pt x="4621" y="1248"/>
                </a:lnTo>
                <a:lnTo>
                  <a:pt x="4622" y="1245"/>
                </a:lnTo>
                <a:lnTo>
                  <a:pt x="4624" y="1243"/>
                </a:lnTo>
                <a:lnTo>
                  <a:pt x="4626" y="1240"/>
                </a:lnTo>
                <a:lnTo>
                  <a:pt x="4629" y="1238"/>
                </a:lnTo>
                <a:close/>
                <a:moveTo>
                  <a:pt x="4489" y="1202"/>
                </a:moveTo>
                <a:lnTo>
                  <a:pt x="4492" y="1201"/>
                </a:lnTo>
                <a:lnTo>
                  <a:pt x="4495" y="1200"/>
                </a:lnTo>
                <a:lnTo>
                  <a:pt x="4498" y="1200"/>
                </a:lnTo>
                <a:lnTo>
                  <a:pt x="4501" y="1201"/>
                </a:lnTo>
                <a:lnTo>
                  <a:pt x="4504" y="1202"/>
                </a:lnTo>
                <a:lnTo>
                  <a:pt x="4507" y="1203"/>
                </a:lnTo>
                <a:lnTo>
                  <a:pt x="4509" y="1206"/>
                </a:lnTo>
                <a:lnTo>
                  <a:pt x="4511" y="1208"/>
                </a:lnTo>
                <a:lnTo>
                  <a:pt x="4512" y="1211"/>
                </a:lnTo>
                <a:lnTo>
                  <a:pt x="4513" y="1214"/>
                </a:lnTo>
                <a:lnTo>
                  <a:pt x="4513" y="1217"/>
                </a:lnTo>
                <a:lnTo>
                  <a:pt x="4512" y="1220"/>
                </a:lnTo>
                <a:lnTo>
                  <a:pt x="4511" y="1223"/>
                </a:lnTo>
                <a:lnTo>
                  <a:pt x="4509" y="1226"/>
                </a:lnTo>
                <a:lnTo>
                  <a:pt x="4507" y="1228"/>
                </a:lnTo>
                <a:lnTo>
                  <a:pt x="4505" y="1230"/>
                </a:lnTo>
                <a:lnTo>
                  <a:pt x="4502" y="1231"/>
                </a:lnTo>
                <a:lnTo>
                  <a:pt x="4499" y="1232"/>
                </a:lnTo>
                <a:lnTo>
                  <a:pt x="4496" y="1232"/>
                </a:lnTo>
                <a:lnTo>
                  <a:pt x="4493" y="1231"/>
                </a:lnTo>
                <a:lnTo>
                  <a:pt x="4490" y="1230"/>
                </a:lnTo>
                <a:lnTo>
                  <a:pt x="4487" y="1228"/>
                </a:lnTo>
                <a:lnTo>
                  <a:pt x="4485" y="1226"/>
                </a:lnTo>
                <a:lnTo>
                  <a:pt x="4483" y="1224"/>
                </a:lnTo>
                <a:lnTo>
                  <a:pt x="4482" y="1221"/>
                </a:lnTo>
                <a:lnTo>
                  <a:pt x="4481" y="1218"/>
                </a:lnTo>
                <a:lnTo>
                  <a:pt x="4481" y="1215"/>
                </a:lnTo>
                <a:lnTo>
                  <a:pt x="4482" y="1212"/>
                </a:lnTo>
                <a:lnTo>
                  <a:pt x="4483" y="1209"/>
                </a:lnTo>
                <a:lnTo>
                  <a:pt x="4485" y="1206"/>
                </a:lnTo>
                <a:lnTo>
                  <a:pt x="4487" y="1204"/>
                </a:lnTo>
                <a:lnTo>
                  <a:pt x="4489" y="1202"/>
                </a:lnTo>
                <a:close/>
                <a:moveTo>
                  <a:pt x="4351" y="1161"/>
                </a:moveTo>
                <a:lnTo>
                  <a:pt x="4354" y="1159"/>
                </a:lnTo>
                <a:lnTo>
                  <a:pt x="4357" y="1158"/>
                </a:lnTo>
                <a:lnTo>
                  <a:pt x="4361" y="1158"/>
                </a:lnTo>
                <a:lnTo>
                  <a:pt x="4364" y="1159"/>
                </a:lnTo>
                <a:lnTo>
                  <a:pt x="4367" y="1160"/>
                </a:lnTo>
                <a:lnTo>
                  <a:pt x="4369" y="1162"/>
                </a:lnTo>
                <a:lnTo>
                  <a:pt x="4372" y="1164"/>
                </a:lnTo>
                <a:lnTo>
                  <a:pt x="4373" y="1167"/>
                </a:lnTo>
                <a:lnTo>
                  <a:pt x="4374" y="1170"/>
                </a:lnTo>
                <a:lnTo>
                  <a:pt x="4375" y="1173"/>
                </a:lnTo>
                <a:lnTo>
                  <a:pt x="4375" y="1176"/>
                </a:lnTo>
                <a:lnTo>
                  <a:pt x="4374" y="1179"/>
                </a:lnTo>
                <a:lnTo>
                  <a:pt x="4373" y="1182"/>
                </a:lnTo>
                <a:lnTo>
                  <a:pt x="4371" y="1184"/>
                </a:lnTo>
                <a:lnTo>
                  <a:pt x="4369" y="1186"/>
                </a:lnTo>
                <a:lnTo>
                  <a:pt x="4367" y="1188"/>
                </a:lnTo>
                <a:lnTo>
                  <a:pt x="4364" y="1189"/>
                </a:lnTo>
                <a:lnTo>
                  <a:pt x="4361" y="1190"/>
                </a:lnTo>
                <a:lnTo>
                  <a:pt x="4357" y="1190"/>
                </a:lnTo>
                <a:lnTo>
                  <a:pt x="4354" y="1189"/>
                </a:lnTo>
                <a:lnTo>
                  <a:pt x="4351" y="1188"/>
                </a:lnTo>
                <a:lnTo>
                  <a:pt x="4349" y="1186"/>
                </a:lnTo>
                <a:lnTo>
                  <a:pt x="4347" y="1184"/>
                </a:lnTo>
                <a:lnTo>
                  <a:pt x="4345" y="1181"/>
                </a:lnTo>
                <a:lnTo>
                  <a:pt x="4344" y="1179"/>
                </a:lnTo>
                <a:lnTo>
                  <a:pt x="4343" y="1176"/>
                </a:lnTo>
                <a:lnTo>
                  <a:pt x="4343" y="1172"/>
                </a:lnTo>
                <a:lnTo>
                  <a:pt x="4344" y="1169"/>
                </a:lnTo>
                <a:lnTo>
                  <a:pt x="4345" y="1167"/>
                </a:lnTo>
                <a:lnTo>
                  <a:pt x="4347" y="1164"/>
                </a:lnTo>
                <a:lnTo>
                  <a:pt x="4349" y="1162"/>
                </a:lnTo>
                <a:lnTo>
                  <a:pt x="4351" y="1161"/>
                </a:lnTo>
                <a:close/>
                <a:moveTo>
                  <a:pt x="4215" y="1112"/>
                </a:moveTo>
                <a:lnTo>
                  <a:pt x="4218" y="1111"/>
                </a:lnTo>
                <a:lnTo>
                  <a:pt x="4222" y="1110"/>
                </a:lnTo>
                <a:lnTo>
                  <a:pt x="4225" y="1111"/>
                </a:lnTo>
                <a:lnTo>
                  <a:pt x="4229" y="1111"/>
                </a:lnTo>
                <a:lnTo>
                  <a:pt x="4232" y="1113"/>
                </a:lnTo>
                <a:lnTo>
                  <a:pt x="4234" y="1115"/>
                </a:lnTo>
                <a:lnTo>
                  <a:pt x="4236" y="1117"/>
                </a:lnTo>
                <a:lnTo>
                  <a:pt x="4238" y="1120"/>
                </a:lnTo>
                <a:lnTo>
                  <a:pt x="4239" y="1123"/>
                </a:lnTo>
                <a:lnTo>
                  <a:pt x="4239" y="1126"/>
                </a:lnTo>
                <a:lnTo>
                  <a:pt x="4239" y="1129"/>
                </a:lnTo>
                <a:lnTo>
                  <a:pt x="4238" y="1132"/>
                </a:lnTo>
                <a:lnTo>
                  <a:pt x="4235" y="1137"/>
                </a:lnTo>
                <a:lnTo>
                  <a:pt x="4233" y="1138"/>
                </a:lnTo>
                <a:lnTo>
                  <a:pt x="4231" y="1140"/>
                </a:lnTo>
                <a:lnTo>
                  <a:pt x="4228" y="1141"/>
                </a:lnTo>
                <a:lnTo>
                  <a:pt x="4224" y="1142"/>
                </a:lnTo>
                <a:lnTo>
                  <a:pt x="4221" y="1142"/>
                </a:lnTo>
                <a:lnTo>
                  <a:pt x="4217" y="1141"/>
                </a:lnTo>
                <a:lnTo>
                  <a:pt x="4215" y="1140"/>
                </a:lnTo>
                <a:lnTo>
                  <a:pt x="4212" y="1138"/>
                </a:lnTo>
                <a:lnTo>
                  <a:pt x="4210" y="1135"/>
                </a:lnTo>
                <a:lnTo>
                  <a:pt x="4209" y="1133"/>
                </a:lnTo>
                <a:lnTo>
                  <a:pt x="4208" y="1130"/>
                </a:lnTo>
                <a:lnTo>
                  <a:pt x="4207" y="1127"/>
                </a:lnTo>
                <a:lnTo>
                  <a:pt x="4207" y="1124"/>
                </a:lnTo>
                <a:lnTo>
                  <a:pt x="4208" y="1121"/>
                </a:lnTo>
                <a:lnTo>
                  <a:pt x="4211" y="1116"/>
                </a:lnTo>
                <a:lnTo>
                  <a:pt x="4213" y="1114"/>
                </a:lnTo>
                <a:lnTo>
                  <a:pt x="4215" y="1112"/>
                </a:lnTo>
                <a:close/>
                <a:moveTo>
                  <a:pt x="4082" y="1057"/>
                </a:moveTo>
                <a:lnTo>
                  <a:pt x="4086" y="1055"/>
                </a:lnTo>
                <a:lnTo>
                  <a:pt x="4089" y="1054"/>
                </a:lnTo>
                <a:lnTo>
                  <a:pt x="4093" y="1055"/>
                </a:lnTo>
                <a:lnTo>
                  <a:pt x="4097" y="1056"/>
                </a:lnTo>
                <a:lnTo>
                  <a:pt x="4100" y="1058"/>
                </a:lnTo>
                <a:lnTo>
                  <a:pt x="4102" y="1060"/>
                </a:lnTo>
                <a:lnTo>
                  <a:pt x="4104" y="1062"/>
                </a:lnTo>
                <a:lnTo>
                  <a:pt x="4105" y="1065"/>
                </a:lnTo>
                <a:lnTo>
                  <a:pt x="4106" y="1068"/>
                </a:lnTo>
                <a:lnTo>
                  <a:pt x="4106" y="1071"/>
                </a:lnTo>
                <a:lnTo>
                  <a:pt x="4106" y="1074"/>
                </a:lnTo>
                <a:lnTo>
                  <a:pt x="4105" y="1077"/>
                </a:lnTo>
                <a:lnTo>
                  <a:pt x="4102" y="1081"/>
                </a:lnTo>
                <a:lnTo>
                  <a:pt x="4100" y="1083"/>
                </a:lnTo>
                <a:lnTo>
                  <a:pt x="4098" y="1084"/>
                </a:lnTo>
                <a:lnTo>
                  <a:pt x="4095" y="1085"/>
                </a:lnTo>
                <a:lnTo>
                  <a:pt x="4091" y="1086"/>
                </a:lnTo>
                <a:lnTo>
                  <a:pt x="4087" y="1086"/>
                </a:lnTo>
                <a:lnTo>
                  <a:pt x="4084" y="1085"/>
                </a:lnTo>
                <a:lnTo>
                  <a:pt x="4081" y="1083"/>
                </a:lnTo>
                <a:lnTo>
                  <a:pt x="4079" y="1081"/>
                </a:lnTo>
                <a:lnTo>
                  <a:pt x="4077" y="1078"/>
                </a:lnTo>
                <a:lnTo>
                  <a:pt x="4075" y="1076"/>
                </a:lnTo>
                <a:lnTo>
                  <a:pt x="4075" y="1073"/>
                </a:lnTo>
                <a:lnTo>
                  <a:pt x="4074" y="1070"/>
                </a:lnTo>
                <a:lnTo>
                  <a:pt x="4075" y="1067"/>
                </a:lnTo>
                <a:lnTo>
                  <a:pt x="4076" y="1064"/>
                </a:lnTo>
                <a:lnTo>
                  <a:pt x="4079" y="1059"/>
                </a:lnTo>
                <a:lnTo>
                  <a:pt x="4080" y="1058"/>
                </a:lnTo>
                <a:lnTo>
                  <a:pt x="4082" y="1057"/>
                </a:lnTo>
                <a:close/>
                <a:moveTo>
                  <a:pt x="3954" y="990"/>
                </a:moveTo>
                <a:lnTo>
                  <a:pt x="3957" y="988"/>
                </a:lnTo>
                <a:lnTo>
                  <a:pt x="3961" y="988"/>
                </a:lnTo>
                <a:lnTo>
                  <a:pt x="3965" y="988"/>
                </a:lnTo>
                <a:lnTo>
                  <a:pt x="3969" y="990"/>
                </a:lnTo>
                <a:lnTo>
                  <a:pt x="3972" y="992"/>
                </a:lnTo>
                <a:lnTo>
                  <a:pt x="3974" y="994"/>
                </a:lnTo>
                <a:lnTo>
                  <a:pt x="3976" y="997"/>
                </a:lnTo>
                <a:lnTo>
                  <a:pt x="3977" y="1000"/>
                </a:lnTo>
                <a:lnTo>
                  <a:pt x="3977" y="1003"/>
                </a:lnTo>
                <a:lnTo>
                  <a:pt x="3977" y="1006"/>
                </a:lnTo>
                <a:lnTo>
                  <a:pt x="3977" y="1009"/>
                </a:lnTo>
                <a:lnTo>
                  <a:pt x="3975" y="1012"/>
                </a:lnTo>
                <a:lnTo>
                  <a:pt x="3974" y="1013"/>
                </a:lnTo>
                <a:lnTo>
                  <a:pt x="3973" y="1015"/>
                </a:lnTo>
                <a:lnTo>
                  <a:pt x="3969" y="1017"/>
                </a:lnTo>
                <a:lnTo>
                  <a:pt x="3966" y="1019"/>
                </a:lnTo>
                <a:lnTo>
                  <a:pt x="3962" y="1020"/>
                </a:lnTo>
                <a:lnTo>
                  <a:pt x="3958" y="1019"/>
                </a:lnTo>
                <a:lnTo>
                  <a:pt x="3954" y="1017"/>
                </a:lnTo>
                <a:lnTo>
                  <a:pt x="3951" y="1016"/>
                </a:lnTo>
                <a:lnTo>
                  <a:pt x="3949" y="1013"/>
                </a:lnTo>
                <a:lnTo>
                  <a:pt x="3947" y="1011"/>
                </a:lnTo>
                <a:lnTo>
                  <a:pt x="3946" y="1008"/>
                </a:lnTo>
                <a:lnTo>
                  <a:pt x="3946" y="1005"/>
                </a:lnTo>
                <a:lnTo>
                  <a:pt x="3946" y="1002"/>
                </a:lnTo>
                <a:lnTo>
                  <a:pt x="3946" y="999"/>
                </a:lnTo>
                <a:lnTo>
                  <a:pt x="3948" y="996"/>
                </a:lnTo>
                <a:lnTo>
                  <a:pt x="3949" y="994"/>
                </a:lnTo>
                <a:lnTo>
                  <a:pt x="3950" y="992"/>
                </a:lnTo>
                <a:lnTo>
                  <a:pt x="3954" y="990"/>
                </a:lnTo>
                <a:close/>
                <a:moveTo>
                  <a:pt x="3828" y="919"/>
                </a:moveTo>
                <a:lnTo>
                  <a:pt x="3832" y="917"/>
                </a:lnTo>
                <a:lnTo>
                  <a:pt x="3836" y="917"/>
                </a:lnTo>
                <a:lnTo>
                  <a:pt x="3840" y="917"/>
                </a:lnTo>
                <a:lnTo>
                  <a:pt x="3844" y="919"/>
                </a:lnTo>
                <a:lnTo>
                  <a:pt x="3847" y="921"/>
                </a:lnTo>
                <a:lnTo>
                  <a:pt x="3849" y="923"/>
                </a:lnTo>
                <a:lnTo>
                  <a:pt x="3850" y="926"/>
                </a:lnTo>
                <a:lnTo>
                  <a:pt x="3851" y="928"/>
                </a:lnTo>
                <a:lnTo>
                  <a:pt x="3852" y="931"/>
                </a:lnTo>
                <a:lnTo>
                  <a:pt x="3852" y="934"/>
                </a:lnTo>
                <a:lnTo>
                  <a:pt x="3851" y="938"/>
                </a:lnTo>
                <a:lnTo>
                  <a:pt x="3850" y="940"/>
                </a:lnTo>
                <a:lnTo>
                  <a:pt x="3847" y="944"/>
                </a:lnTo>
                <a:lnTo>
                  <a:pt x="3844" y="946"/>
                </a:lnTo>
                <a:lnTo>
                  <a:pt x="3840" y="948"/>
                </a:lnTo>
                <a:lnTo>
                  <a:pt x="3836" y="949"/>
                </a:lnTo>
                <a:lnTo>
                  <a:pt x="3832" y="948"/>
                </a:lnTo>
                <a:lnTo>
                  <a:pt x="3828" y="947"/>
                </a:lnTo>
                <a:lnTo>
                  <a:pt x="3826" y="945"/>
                </a:lnTo>
                <a:lnTo>
                  <a:pt x="3824" y="942"/>
                </a:lnTo>
                <a:lnTo>
                  <a:pt x="3822" y="940"/>
                </a:lnTo>
                <a:lnTo>
                  <a:pt x="3821" y="937"/>
                </a:lnTo>
                <a:lnTo>
                  <a:pt x="3820" y="934"/>
                </a:lnTo>
                <a:lnTo>
                  <a:pt x="3820" y="931"/>
                </a:lnTo>
                <a:lnTo>
                  <a:pt x="3821" y="928"/>
                </a:lnTo>
                <a:lnTo>
                  <a:pt x="3822" y="925"/>
                </a:lnTo>
                <a:lnTo>
                  <a:pt x="3825" y="922"/>
                </a:lnTo>
                <a:lnTo>
                  <a:pt x="3828" y="919"/>
                </a:lnTo>
                <a:close/>
                <a:moveTo>
                  <a:pt x="3702" y="849"/>
                </a:moveTo>
                <a:lnTo>
                  <a:pt x="3706" y="847"/>
                </a:lnTo>
                <a:lnTo>
                  <a:pt x="3710" y="847"/>
                </a:lnTo>
                <a:lnTo>
                  <a:pt x="3712" y="847"/>
                </a:lnTo>
                <a:lnTo>
                  <a:pt x="3714" y="847"/>
                </a:lnTo>
                <a:lnTo>
                  <a:pt x="3718" y="849"/>
                </a:lnTo>
                <a:lnTo>
                  <a:pt x="3721" y="851"/>
                </a:lnTo>
                <a:lnTo>
                  <a:pt x="3723" y="853"/>
                </a:lnTo>
                <a:lnTo>
                  <a:pt x="3725" y="855"/>
                </a:lnTo>
                <a:lnTo>
                  <a:pt x="3726" y="858"/>
                </a:lnTo>
                <a:lnTo>
                  <a:pt x="3726" y="861"/>
                </a:lnTo>
                <a:lnTo>
                  <a:pt x="3726" y="864"/>
                </a:lnTo>
                <a:lnTo>
                  <a:pt x="3726" y="867"/>
                </a:lnTo>
                <a:lnTo>
                  <a:pt x="3724" y="870"/>
                </a:lnTo>
                <a:lnTo>
                  <a:pt x="3722" y="874"/>
                </a:lnTo>
                <a:lnTo>
                  <a:pt x="3718" y="876"/>
                </a:lnTo>
                <a:lnTo>
                  <a:pt x="3715" y="878"/>
                </a:lnTo>
                <a:lnTo>
                  <a:pt x="3711" y="878"/>
                </a:lnTo>
                <a:lnTo>
                  <a:pt x="3709" y="878"/>
                </a:lnTo>
                <a:lnTo>
                  <a:pt x="3707" y="878"/>
                </a:lnTo>
                <a:lnTo>
                  <a:pt x="3703" y="877"/>
                </a:lnTo>
                <a:lnTo>
                  <a:pt x="3700" y="875"/>
                </a:lnTo>
                <a:lnTo>
                  <a:pt x="3698" y="872"/>
                </a:lnTo>
                <a:lnTo>
                  <a:pt x="3696" y="870"/>
                </a:lnTo>
                <a:lnTo>
                  <a:pt x="3695" y="867"/>
                </a:lnTo>
                <a:lnTo>
                  <a:pt x="3695" y="864"/>
                </a:lnTo>
                <a:lnTo>
                  <a:pt x="3695" y="861"/>
                </a:lnTo>
                <a:lnTo>
                  <a:pt x="3695" y="858"/>
                </a:lnTo>
                <a:lnTo>
                  <a:pt x="3697" y="855"/>
                </a:lnTo>
                <a:lnTo>
                  <a:pt x="3699" y="851"/>
                </a:lnTo>
                <a:lnTo>
                  <a:pt x="3702" y="849"/>
                </a:lnTo>
                <a:close/>
                <a:moveTo>
                  <a:pt x="3576" y="780"/>
                </a:moveTo>
                <a:lnTo>
                  <a:pt x="3578" y="779"/>
                </a:lnTo>
                <a:lnTo>
                  <a:pt x="3580" y="779"/>
                </a:lnTo>
                <a:lnTo>
                  <a:pt x="3584" y="778"/>
                </a:lnTo>
                <a:lnTo>
                  <a:pt x="3586" y="778"/>
                </a:lnTo>
                <a:lnTo>
                  <a:pt x="3588" y="778"/>
                </a:lnTo>
                <a:lnTo>
                  <a:pt x="3591" y="780"/>
                </a:lnTo>
                <a:lnTo>
                  <a:pt x="3594" y="782"/>
                </a:lnTo>
                <a:lnTo>
                  <a:pt x="3596" y="784"/>
                </a:lnTo>
                <a:lnTo>
                  <a:pt x="3598" y="786"/>
                </a:lnTo>
                <a:lnTo>
                  <a:pt x="3599" y="789"/>
                </a:lnTo>
                <a:lnTo>
                  <a:pt x="3600" y="792"/>
                </a:lnTo>
                <a:lnTo>
                  <a:pt x="3600" y="795"/>
                </a:lnTo>
                <a:lnTo>
                  <a:pt x="3599" y="798"/>
                </a:lnTo>
                <a:lnTo>
                  <a:pt x="3598" y="801"/>
                </a:lnTo>
                <a:lnTo>
                  <a:pt x="3597" y="803"/>
                </a:lnTo>
                <a:lnTo>
                  <a:pt x="3595" y="805"/>
                </a:lnTo>
                <a:lnTo>
                  <a:pt x="3592" y="808"/>
                </a:lnTo>
                <a:lnTo>
                  <a:pt x="3590" y="808"/>
                </a:lnTo>
                <a:lnTo>
                  <a:pt x="3588" y="809"/>
                </a:lnTo>
                <a:lnTo>
                  <a:pt x="3584" y="810"/>
                </a:lnTo>
                <a:lnTo>
                  <a:pt x="3582" y="810"/>
                </a:lnTo>
                <a:lnTo>
                  <a:pt x="3580" y="809"/>
                </a:lnTo>
                <a:lnTo>
                  <a:pt x="3576" y="808"/>
                </a:lnTo>
                <a:lnTo>
                  <a:pt x="3574" y="806"/>
                </a:lnTo>
                <a:lnTo>
                  <a:pt x="3572" y="804"/>
                </a:lnTo>
                <a:lnTo>
                  <a:pt x="3570" y="801"/>
                </a:lnTo>
                <a:lnTo>
                  <a:pt x="3569" y="798"/>
                </a:lnTo>
                <a:lnTo>
                  <a:pt x="3568" y="796"/>
                </a:lnTo>
                <a:lnTo>
                  <a:pt x="3568" y="792"/>
                </a:lnTo>
                <a:lnTo>
                  <a:pt x="3569" y="789"/>
                </a:lnTo>
                <a:lnTo>
                  <a:pt x="3570" y="786"/>
                </a:lnTo>
                <a:lnTo>
                  <a:pt x="3571" y="785"/>
                </a:lnTo>
                <a:lnTo>
                  <a:pt x="3573" y="783"/>
                </a:lnTo>
                <a:lnTo>
                  <a:pt x="3576" y="780"/>
                </a:lnTo>
                <a:close/>
                <a:moveTo>
                  <a:pt x="3448" y="713"/>
                </a:moveTo>
                <a:lnTo>
                  <a:pt x="3452" y="712"/>
                </a:lnTo>
                <a:lnTo>
                  <a:pt x="3456" y="711"/>
                </a:lnTo>
                <a:lnTo>
                  <a:pt x="3460" y="712"/>
                </a:lnTo>
                <a:lnTo>
                  <a:pt x="3464" y="713"/>
                </a:lnTo>
                <a:lnTo>
                  <a:pt x="3466" y="715"/>
                </a:lnTo>
                <a:lnTo>
                  <a:pt x="3469" y="717"/>
                </a:lnTo>
                <a:lnTo>
                  <a:pt x="3470" y="719"/>
                </a:lnTo>
                <a:lnTo>
                  <a:pt x="3472" y="722"/>
                </a:lnTo>
                <a:lnTo>
                  <a:pt x="3472" y="728"/>
                </a:lnTo>
                <a:lnTo>
                  <a:pt x="3472" y="731"/>
                </a:lnTo>
                <a:lnTo>
                  <a:pt x="3471" y="734"/>
                </a:lnTo>
                <a:lnTo>
                  <a:pt x="3469" y="736"/>
                </a:lnTo>
                <a:lnTo>
                  <a:pt x="3468" y="738"/>
                </a:lnTo>
                <a:lnTo>
                  <a:pt x="3464" y="741"/>
                </a:lnTo>
                <a:lnTo>
                  <a:pt x="3461" y="742"/>
                </a:lnTo>
                <a:lnTo>
                  <a:pt x="3457" y="743"/>
                </a:lnTo>
                <a:lnTo>
                  <a:pt x="3453" y="742"/>
                </a:lnTo>
                <a:lnTo>
                  <a:pt x="3449" y="741"/>
                </a:lnTo>
                <a:lnTo>
                  <a:pt x="3446" y="739"/>
                </a:lnTo>
                <a:lnTo>
                  <a:pt x="3444" y="737"/>
                </a:lnTo>
                <a:lnTo>
                  <a:pt x="3443" y="735"/>
                </a:lnTo>
                <a:lnTo>
                  <a:pt x="3441" y="732"/>
                </a:lnTo>
                <a:lnTo>
                  <a:pt x="3441" y="726"/>
                </a:lnTo>
                <a:lnTo>
                  <a:pt x="3441" y="723"/>
                </a:lnTo>
                <a:lnTo>
                  <a:pt x="3442" y="720"/>
                </a:lnTo>
                <a:lnTo>
                  <a:pt x="3444" y="718"/>
                </a:lnTo>
                <a:lnTo>
                  <a:pt x="3445" y="716"/>
                </a:lnTo>
                <a:lnTo>
                  <a:pt x="3448" y="713"/>
                </a:lnTo>
                <a:close/>
                <a:moveTo>
                  <a:pt x="418" y="2383"/>
                </a:moveTo>
                <a:lnTo>
                  <a:pt x="421" y="2382"/>
                </a:lnTo>
                <a:lnTo>
                  <a:pt x="424" y="2382"/>
                </a:lnTo>
                <a:lnTo>
                  <a:pt x="426" y="2382"/>
                </a:lnTo>
                <a:lnTo>
                  <a:pt x="429" y="2383"/>
                </a:lnTo>
                <a:lnTo>
                  <a:pt x="418" y="2383"/>
                </a:lnTo>
                <a:close/>
                <a:moveTo>
                  <a:pt x="3320" y="649"/>
                </a:moveTo>
                <a:lnTo>
                  <a:pt x="3321" y="648"/>
                </a:lnTo>
                <a:lnTo>
                  <a:pt x="3323" y="647"/>
                </a:lnTo>
                <a:lnTo>
                  <a:pt x="3327" y="647"/>
                </a:lnTo>
                <a:lnTo>
                  <a:pt x="3331" y="647"/>
                </a:lnTo>
                <a:lnTo>
                  <a:pt x="3335" y="648"/>
                </a:lnTo>
                <a:lnTo>
                  <a:pt x="3337" y="650"/>
                </a:lnTo>
                <a:lnTo>
                  <a:pt x="3340" y="652"/>
                </a:lnTo>
                <a:lnTo>
                  <a:pt x="3341" y="655"/>
                </a:lnTo>
                <a:lnTo>
                  <a:pt x="3343" y="657"/>
                </a:lnTo>
                <a:lnTo>
                  <a:pt x="3343" y="660"/>
                </a:lnTo>
                <a:lnTo>
                  <a:pt x="3343" y="663"/>
                </a:lnTo>
                <a:lnTo>
                  <a:pt x="3343" y="666"/>
                </a:lnTo>
                <a:lnTo>
                  <a:pt x="3342" y="669"/>
                </a:lnTo>
                <a:lnTo>
                  <a:pt x="3339" y="673"/>
                </a:lnTo>
                <a:lnTo>
                  <a:pt x="3338" y="675"/>
                </a:lnTo>
                <a:lnTo>
                  <a:pt x="3336" y="676"/>
                </a:lnTo>
                <a:lnTo>
                  <a:pt x="3334" y="677"/>
                </a:lnTo>
                <a:lnTo>
                  <a:pt x="3332" y="678"/>
                </a:lnTo>
                <a:lnTo>
                  <a:pt x="3328" y="678"/>
                </a:lnTo>
                <a:lnTo>
                  <a:pt x="3325" y="678"/>
                </a:lnTo>
                <a:lnTo>
                  <a:pt x="3321" y="677"/>
                </a:lnTo>
                <a:lnTo>
                  <a:pt x="3318" y="675"/>
                </a:lnTo>
                <a:lnTo>
                  <a:pt x="3316" y="673"/>
                </a:lnTo>
                <a:lnTo>
                  <a:pt x="3314" y="670"/>
                </a:lnTo>
                <a:lnTo>
                  <a:pt x="3313" y="668"/>
                </a:lnTo>
                <a:lnTo>
                  <a:pt x="3312" y="665"/>
                </a:lnTo>
                <a:lnTo>
                  <a:pt x="3312" y="662"/>
                </a:lnTo>
                <a:lnTo>
                  <a:pt x="3312" y="659"/>
                </a:lnTo>
                <a:lnTo>
                  <a:pt x="3313" y="656"/>
                </a:lnTo>
                <a:lnTo>
                  <a:pt x="3316" y="652"/>
                </a:lnTo>
                <a:lnTo>
                  <a:pt x="3318" y="650"/>
                </a:lnTo>
                <a:lnTo>
                  <a:pt x="3320" y="649"/>
                </a:lnTo>
                <a:close/>
                <a:moveTo>
                  <a:pt x="505" y="2272"/>
                </a:moveTo>
                <a:lnTo>
                  <a:pt x="507" y="2271"/>
                </a:lnTo>
                <a:lnTo>
                  <a:pt x="510" y="2270"/>
                </a:lnTo>
                <a:lnTo>
                  <a:pt x="512" y="2270"/>
                </a:lnTo>
                <a:lnTo>
                  <a:pt x="514" y="2270"/>
                </a:lnTo>
                <a:lnTo>
                  <a:pt x="517" y="2270"/>
                </a:lnTo>
                <a:lnTo>
                  <a:pt x="519" y="2271"/>
                </a:lnTo>
                <a:lnTo>
                  <a:pt x="521" y="2272"/>
                </a:lnTo>
                <a:lnTo>
                  <a:pt x="523" y="2273"/>
                </a:lnTo>
                <a:lnTo>
                  <a:pt x="526" y="2276"/>
                </a:lnTo>
                <a:lnTo>
                  <a:pt x="526" y="2277"/>
                </a:lnTo>
                <a:lnTo>
                  <a:pt x="527" y="2279"/>
                </a:lnTo>
                <a:lnTo>
                  <a:pt x="528" y="2281"/>
                </a:lnTo>
                <a:lnTo>
                  <a:pt x="529" y="2284"/>
                </a:lnTo>
                <a:lnTo>
                  <a:pt x="529" y="2287"/>
                </a:lnTo>
                <a:lnTo>
                  <a:pt x="528" y="2290"/>
                </a:lnTo>
                <a:lnTo>
                  <a:pt x="527" y="2293"/>
                </a:lnTo>
                <a:lnTo>
                  <a:pt x="525" y="2296"/>
                </a:lnTo>
                <a:lnTo>
                  <a:pt x="523" y="2298"/>
                </a:lnTo>
                <a:lnTo>
                  <a:pt x="521" y="2299"/>
                </a:lnTo>
                <a:lnTo>
                  <a:pt x="519" y="2300"/>
                </a:lnTo>
                <a:lnTo>
                  <a:pt x="516" y="2301"/>
                </a:lnTo>
                <a:lnTo>
                  <a:pt x="514" y="2301"/>
                </a:lnTo>
                <a:lnTo>
                  <a:pt x="511" y="2301"/>
                </a:lnTo>
                <a:lnTo>
                  <a:pt x="509" y="2301"/>
                </a:lnTo>
                <a:lnTo>
                  <a:pt x="507" y="2300"/>
                </a:lnTo>
                <a:lnTo>
                  <a:pt x="505" y="2299"/>
                </a:lnTo>
                <a:lnTo>
                  <a:pt x="502" y="2297"/>
                </a:lnTo>
                <a:lnTo>
                  <a:pt x="500" y="2295"/>
                </a:lnTo>
                <a:lnTo>
                  <a:pt x="499" y="2294"/>
                </a:lnTo>
                <a:lnTo>
                  <a:pt x="499" y="2292"/>
                </a:lnTo>
                <a:lnTo>
                  <a:pt x="498" y="2289"/>
                </a:lnTo>
                <a:lnTo>
                  <a:pt x="497" y="2286"/>
                </a:lnTo>
                <a:lnTo>
                  <a:pt x="497" y="2283"/>
                </a:lnTo>
                <a:lnTo>
                  <a:pt x="498" y="2280"/>
                </a:lnTo>
                <a:lnTo>
                  <a:pt x="499" y="2278"/>
                </a:lnTo>
                <a:lnTo>
                  <a:pt x="501" y="2275"/>
                </a:lnTo>
                <a:lnTo>
                  <a:pt x="503" y="2273"/>
                </a:lnTo>
                <a:lnTo>
                  <a:pt x="505" y="2272"/>
                </a:lnTo>
                <a:close/>
                <a:moveTo>
                  <a:pt x="605" y="2169"/>
                </a:moveTo>
                <a:lnTo>
                  <a:pt x="608" y="2167"/>
                </a:lnTo>
                <a:lnTo>
                  <a:pt x="610" y="2167"/>
                </a:lnTo>
                <a:lnTo>
                  <a:pt x="615" y="2167"/>
                </a:lnTo>
                <a:lnTo>
                  <a:pt x="618" y="2167"/>
                </a:lnTo>
                <a:lnTo>
                  <a:pt x="620" y="2168"/>
                </a:lnTo>
                <a:lnTo>
                  <a:pt x="623" y="2170"/>
                </a:lnTo>
                <a:lnTo>
                  <a:pt x="625" y="2171"/>
                </a:lnTo>
                <a:lnTo>
                  <a:pt x="627" y="2174"/>
                </a:lnTo>
                <a:lnTo>
                  <a:pt x="628" y="2177"/>
                </a:lnTo>
                <a:lnTo>
                  <a:pt x="629" y="2180"/>
                </a:lnTo>
                <a:lnTo>
                  <a:pt x="629" y="2183"/>
                </a:lnTo>
                <a:lnTo>
                  <a:pt x="628" y="2186"/>
                </a:lnTo>
                <a:lnTo>
                  <a:pt x="628" y="2189"/>
                </a:lnTo>
                <a:lnTo>
                  <a:pt x="626" y="2191"/>
                </a:lnTo>
                <a:lnTo>
                  <a:pt x="624" y="2194"/>
                </a:lnTo>
                <a:lnTo>
                  <a:pt x="621" y="2196"/>
                </a:lnTo>
                <a:lnTo>
                  <a:pt x="619" y="2197"/>
                </a:lnTo>
                <a:lnTo>
                  <a:pt x="616" y="2198"/>
                </a:lnTo>
                <a:lnTo>
                  <a:pt x="611" y="2198"/>
                </a:lnTo>
                <a:lnTo>
                  <a:pt x="608" y="2197"/>
                </a:lnTo>
                <a:lnTo>
                  <a:pt x="606" y="2196"/>
                </a:lnTo>
                <a:lnTo>
                  <a:pt x="604" y="2195"/>
                </a:lnTo>
                <a:lnTo>
                  <a:pt x="601" y="2193"/>
                </a:lnTo>
                <a:lnTo>
                  <a:pt x="600" y="2191"/>
                </a:lnTo>
                <a:lnTo>
                  <a:pt x="598" y="2188"/>
                </a:lnTo>
                <a:lnTo>
                  <a:pt x="597" y="2185"/>
                </a:lnTo>
                <a:lnTo>
                  <a:pt x="597" y="2182"/>
                </a:lnTo>
                <a:lnTo>
                  <a:pt x="598" y="2179"/>
                </a:lnTo>
                <a:lnTo>
                  <a:pt x="599" y="2176"/>
                </a:lnTo>
                <a:lnTo>
                  <a:pt x="600" y="2173"/>
                </a:lnTo>
                <a:lnTo>
                  <a:pt x="602" y="2171"/>
                </a:lnTo>
                <a:lnTo>
                  <a:pt x="605" y="2169"/>
                </a:lnTo>
                <a:close/>
                <a:moveTo>
                  <a:pt x="714" y="2075"/>
                </a:moveTo>
                <a:lnTo>
                  <a:pt x="717" y="2074"/>
                </a:lnTo>
                <a:lnTo>
                  <a:pt x="720" y="2073"/>
                </a:lnTo>
                <a:lnTo>
                  <a:pt x="725" y="2073"/>
                </a:lnTo>
                <a:lnTo>
                  <a:pt x="728" y="2074"/>
                </a:lnTo>
                <a:lnTo>
                  <a:pt x="730" y="2075"/>
                </a:lnTo>
                <a:lnTo>
                  <a:pt x="733" y="2077"/>
                </a:lnTo>
                <a:lnTo>
                  <a:pt x="734" y="2078"/>
                </a:lnTo>
                <a:lnTo>
                  <a:pt x="735" y="2079"/>
                </a:lnTo>
                <a:lnTo>
                  <a:pt x="737" y="2082"/>
                </a:lnTo>
                <a:lnTo>
                  <a:pt x="738" y="2085"/>
                </a:lnTo>
                <a:lnTo>
                  <a:pt x="738" y="2088"/>
                </a:lnTo>
                <a:lnTo>
                  <a:pt x="738" y="2091"/>
                </a:lnTo>
                <a:lnTo>
                  <a:pt x="737" y="2094"/>
                </a:lnTo>
                <a:lnTo>
                  <a:pt x="736" y="2097"/>
                </a:lnTo>
                <a:lnTo>
                  <a:pt x="734" y="2099"/>
                </a:lnTo>
                <a:lnTo>
                  <a:pt x="732" y="2101"/>
                </a:lnTo>
                <a:lnTo>
                  <a:pt x="730" y="2103"/>
                </a:lnTo>
                <a:lnTo>
                  <a:pt x="728" y="2104"/>
                </a:lnTo>
                <a:lnTo>
                  <a:pt x="725" y="2105"/>
                </a:lnTo>
                <a:lnTo>
                  <a:pt x="719" y="2104"/>
                </a:lnTo>
                <a:lnTo>
                  <a:pt x="717" y="2104"/>
                </a:lnTo>
                <a:lnTo>
                  <a:pt x="714" y="2102"/>
                </a:lnTo>
                <a:lnTo>
                  <a:pt x="712" y="2101"/>
                </a:lnTo>
                <a:lnTo>
                  <a:pt x="711" y="2100"/>
                </a:lnTo>
                <a:lnTo>
                  <a:pt x="710" y="2099"/>
                </a:lnTo>
                <a:lnTo>
                  <a:pt x="708" y="2096"/>
                </a:lnTo>
                <a:lnTo>
                  <a:pt x="707" y="2093"/>
                </a:lnTo>
                <a:lnTo>
                  <a:pt x="707" y="2090"/>
                </a:lnTo>
                <a:lnTo>
                  <a:pt x="707" y="2087"/>
                </a:lnTo>
                <a:lnTo>
                  <a:pt x="707" y="2084"/>
                </a:lnTo>
                <a:lnTo>
                  <a:pt x="708" y="2081"/>
                </a:lnTo>
                <a:lnTo>
                  <a:pt x="710" y="2079"/>
                </a:lnTo>
                <a:lnTo>
                  <a:pt x="713" y="2076"/>
                </a:lnTo>
                <a:lnTo>
                  <a:pt x="714" y="2075"/>
                </a:lnTo>
                <a:close/>
                <a:moveTo>
                  <a:pt x="1082" y="1849"/>
                </a:moveTo>
                <a:lnTo>
                  <a:pt x="1086" y="1848"/>
                </a:lnTo>
                <a:lnTo>
                  <a:pt x="1089" y="1847"/>
                </a:lnTo>
                <a:lnTo>
                  <a:pt x="1092" y="1847"/>
                </a:lnTo>
                <a:lnTo>
                  <a:pt x="1095" y="1848"/>
                </a:lnTo>
                <a:lnTo>
                  <a:pt x="1098" y="1849"/>
                </a:lnTo>
                <a:lnTo>
                  <a:pt x="1100" y="1851"/>
                </a:lnTo>
                <a:lnTo>
                  <a:pt x="1102" y="1853"/>
                </a:lnTo>
                <a:lnTo>
                  <a:pt x="1104" y="1855"/>
                </a:lnTo>
                <a:lnTo>
                  <a:pt x="1106" y="1858"/>
                </a:lnTo>
                <a:lnTo>
                  <a:pt x="1106" y="1861"/>
                </a:lnTo>
                <a:lnTo>
                  <a:pt x="1106" y="1864"/>
                </a:lnTo>
                <a:lnTo>
                  <a:pt x="1106" y="1867"/>
                </a:lnTo>
                <a:lnTo>
                  <a:pt x="1105" y="1870"/>
                </a:lnTo>
                <a:lnTo>
                  <a:pt x="1103" y="1873"/>
                </a:lnTo>
                <a:lnTo>
                  <a:pt x="1101" y="1875"/>
                </a:lnTo>
                <a:lnTo>
                  <a:pt x="1098" y="1877"/>
                </a:lnTo>
                <a:lnTo>
                  <a:pt x="1095" y="1878"/>
                </a:lnTo>
                <a:lnTo>
                  <a:pt x="1092" y="1879"/>
                </a:lnTo>
                <a:lnTo>
                  <a:pt x="1089" y="1879"/>
                </a:lnTo>
                <a:lnTo>
                  <a:pt x="1086" y="1878"/>
                </a:lnTo>
                <a:lnTo>
                  <a:pt x="1083" y="1877"/>
                </a:lnTo>
                <a:lnTo>
                  <a:pt x="1080" y="1875"/>
                </a:lnTo>
                <a:lnTo>
                  <a:pt x="1078" y="1873"/>
                </a:lnTo>
                <a:lnTo>
                  <a:pt x="1076" y="1870"/>
                </a:lnTo>
                <a:lnTo>
                  <a:pt x="1075" y="1868"/>
                </a:lnTo>
                <a:lnTo>
                  <a:pt x="1075" y="1865"/>
                </a:lnTo>
                <a:lnTo>
                  <a:pt x="1075" y="1862"/>
                </a:lnTo>
                <a:lnTo>
                  <a:pt x="1075" y="1859"/>
                </a:lnTo>
                <a:lnTo>
                  <a:pt x="1076" y="1856"/>
                </a:lnTo>
                <a:lnTo>
                  <a:pt x="1078" y="1853"/>
                </a:lnTo>
                <a:lnTo>
                  <a:pt x="1080" y="1851"/>
                </a:lnTo>
                <a:lnTo>
                  <a:pt x="1082" y="1849"/>
                </a:lnTo>
                <a:close/>
                <a:moveTo>
                  <a:pt x="1207" y="1776"/>
                </a:moveTo>
                <a:lnTo>
                  <a:pt x="1209" y="1774"/>
                </a:lnTo>
                <a:lnTo>
                  <a:pt x="1212" y="1774"/>
                </a:lnTo>
                <a:lnTo>
                  <a:pt x="1215" y="1773"/>
                </a:lnTo>
                <a:lnTo>
                  <a:pt x="1218" y="1774"/>
                </a:lnTo>
                <a:lnTo>
                  <a:pt x="1221" y="1775"/>
                </a:lnTo>
                <a:lnTo>
                  <a:pt x="1224" y="1776"/>
                </a:lnTo>
                <a:lnTo>
                  <a:pt x="1226" y="1778"/>
                </a:lnTo>
                <a:lnTo>
                  <a:pt x="1228" y="1781"/>
                </a:lnTo>
                <a:lnTo>
                  <a:pt x="1229" y="1784"/>
                </a:lnTo>
                <a:lnTo>
                  <a:pt x="1230" y="1788"/>
                </a:lnTo>
                <a:lnTo>
                  <a:pt x="1230" y="1791"/>
                </a:lnTo>
                <a:lnTo>
                  <a:pt x="1230" y="1794"/>
                </a:lnTo>
                <a:lnTo>
                  <a:pt x="1229" y="1797"/>
                </a:lnTo>
                <a:lnTo>
                  <a:pt x="1228" y="1799"/>
                </a:lnTo>
                <a:lnTo>
                  <a:pt x="1226" y="1802"/>
                </a:lnTo>
                <a:lnTo>
                  <a:pt x="1223" y="1804"/>
                </a:lnTo>
                <a:lnTo>
                  <a:pt x="1220" y="1805"/>
                </a:lnTo>
                <a:lnTo>
                  <a:pt x="1217" y="1806"/>
                </a:lnTo>
                <a:lnTo>
                  <a:pt x="1214" y="1806"/>
                </a:lnTo>
                <a:lnTo>
                  <a:pt x="1211" y="1806"/>
                </a:lnTo>
                <a:lnTo>
                  <a:pt x="1208" y="1805"/>
                </a:lnTo>
                <a:lnTo>
                  <a:pt x="1205" y="1803"/>
                </a:lnTo>
                <a:lnTo>
                  <a:pt x="1203" y="1801"/>
                </a:lnTo>
                <a:lnTo>
                  <a:pt x="1201" y="1799"/>
                </a:lnTo>
                <a:lnTo>
                  <a:pt x="1200" y="1796"/>
                </a:lnTo>
                <a:lnTo>
                  <a:pt x="1199" y="1793"/>
                </a:lnTo>
                <a:lnTo>
                  <a:pt x="1199" y="1790"/>
                </a:lnTo>
                <a:lnTo>
                  <a:pt x="1199" y="1787"/>
                </a:lnTo>
                <a:lnTo>
                  <a:pt x="1200" y="1783"/>
                </a:lnTo>
                <a:lnTo>
                  <a:pt x="1201" y="1780"/>
                </a:lnTo>
                <a:lnTo>
                  <a:pt x="1203" y="1778"/>
                </a:lnTo>
                <a:lnTo>
                  <a:pt x="1206" y="1776"/>
                </a:lnTo>
                <a:lnTo>
                  <a:pt x="1207" y="1776"/>
                </a:lnTo>
                <a:close/>
                <a:moveTo>
                  <a:pt x="832" y="1991"/>
                </a:moveTo>
                <a:lnTo>
                  <a:pt x="835" y="1990"/>
                </a:lnTo>
                <a:lnTo>
                  <a:pt x="838" y="1989"/>
                </a:lnTo>
                <a:lnTo>
                  <a:pt x="841" y="1989"/>
                </a:lnTo>
                <a:lnTo>
                  <a:pt x="844" y="1990"/>
                </a:lnTo>
                <a:lnTo>
                  <a:pt x="847" y="1991"/>
                </a:lnTo>
                <a:lnTo>
                  <a:pt x="849" y="1992"/>
                </a:lnTo>
                <a:lnTo>
                  <a:pt x="851" y="1994"/>
                </a:lnTo>
                <a:lnTo>
                  <a:pt x="853" y="1996"/>
                </a:lnTo>
                <a:lnTo>
                  <a:pt x="855" y="1999"/>
                </a:lnTo>
                <a:lnTo>
                  <a:pt x="856" y="2002"/>
                </a:lnTo>
                <a:lnTo>
                  <a:pt x="856" y="2008"/>
                </a:lnTo>
                <a:lnTo>
                  <a:pt x="855" y="2011"/>
                </a:lnTo>
                <a:lnTo>
                  <a:pt x="853" y="2014"/>
                </a:lnTo>
                <a:lnTo>
                  <a:pt x="851" y="2016"/>
                </a:lnTo>
                <a:lnTo>
                  <a:pt x="849" y="2018"/>
                </a:lnTo>
                <a:lnTo>
                  <a:pt x="846" y="2020"/>
                </a:lnTo>
                <a:lnTo>
                  <a:pt x="843" y="2021"/>
                </a:lnTo>
                <a:lnTo>
                  <a:pt x="837" y="2020"/>
                </a:lnTo>
                <a:lnTo>
                  <a:pt x="834" y="2020"/>
                </a:lnTo>
                <a:lnTo>
                  <a:pt x="831" y="2018"/>
                </a:lnTo>
                <a:lnTo>
                  <a:pt x="829" y="2016"/>
                </a:lnTo>
                <a:lnTo>
                  <a:pt x="827" y="2014"/>
                </a:lnTo>
                <a:lnTo>
                  <a:pt x="825" y="2011"/>
                </a:lnTo>
                <a:lnTo>
                  <a:pt x="825" y="2008"/>
                </a:lnTo>
                <a:lnTo>
                  <a:pt x="825" y="2002"/>
                </a:lnTo>
                <a:lnTo>
                  <a:pt x="826" y="1999"/>
                </a:lnTo>
                <a:lnTo>
                  <a:pt x="827" y="1996"/>
                </a:lnTo>
                <a:lnTo>
                  <a:pt x="829" y="1994"/>
                </a:lnTo>
                <a:lnTo>
                  <a:pt x="831" y="1992"/>
                </a:lnTo>
                <a:lnTo>
                  <a:pt x="832" y="1991"/>
                </a:lnTo>
                <a:close/>
                <a:moveTo>
                  <a:pt x="955" y="1917"/>
                </a:moveTo>
                <a:lnTo>
                  <a:pt x="958" y="1915"/>
                </a:lnTo>
                <a:lnTo>
                  <a:pt x="961" y="1915"/>
                </a:lnTo>
                <a:lnTo>
                  <a:pt x="964" y="1915"/>
                </a:lnTo>
                <a:lnTo>
                  <a:pt x="967" y="1915"/>
                </a:lnTo>
                <a:lnTo>
                  <a:pt x="970" y="1916"/>
                </a:lnTo>
                <a:lnTo>
                  <a:pt x="973" y="1918"/>
                </a:lnTo>
                <a:lnTo>
                  <a:pt x="975" y="1920"/>
                </a:lnTo>
                <a:lnTo>
                  <a:pt x="977" y="1923"/>
                </a:lnTo>
                <a:lnTo>
                  <a:pt x="978" y="1926"/>
                </a:lnTo>
                <a:lnTo>
                  <a:pt x="979" y="1929"/>
                </a:lnTo>
                <a:lnTo>
                  <a:pt x="979" y="1932"/>
                </a:lnTo>
                <a:lnTo>
                  <a:pt x="978" y="1935"/>
                </a:lnTo>
                <a:lnTo>
                  <a:pt x="977" y="1937"/>
                </a:lnTo>
                <a:lnTo>
                  <a:pt x="976" y="1940"/>
                </a:lnTo>
                <a:lnTo>
                  <a:pt x="974" y="1942"/>
                </a:lnTo>
                <a:lnTo>
                  <a:pt x="971" y="1944"/>
                </a:lnTo>
                <a:lnTo>
                  <a:pt x="968" y="1945"/>
                </a:lnTo>
                <a:lnTo>
                  <a:pt x="965" y="1946"/>
                </a:lnTo>
                <a:lnTo>
                  <a:pt x="962" y="1946"/>
                </a:lnTo>
                <a:lnTo>
                  <a:pt x="959" y="1946"/>
                </a:lnTo>
                <a:lnTo>
                  <a:pt x="956" y="1945"/>
                </a:lnTo>
                <a:lnTo>
                  <a:pt x="953" y="1943"/>
                </a:lnTo>
                <a:lnTo>
                  <a:pt x="951" y="1941"/>
                </a:lnTo>
                <a:lnTo>
                  <a:pt x="949" y="1938"/>
                </a:lnTo>
                <a:lnTo>
                  <a:pt x="948" y="1935"/>
                </a:lnTo>
                <a:lnTo>
                  <a:pt x="947" y="1932"/>
                </a:lnTo>
                <a:lnTo>
                  <a:pt x="947" y="1929"/>
                </a:lnTo>
                <a:lnTo>
                  <a:pt x="948" y="1926"/>
                </a:lnTo>
                <a:lnTo>
                  <a:pt x="949" y="1923"/>
                </a:lnTo>
                <a:lnTo>
                  <a:pt x="951" y="1921"/>
                </a:lnTo>
                <a:lnTo>
                  <a:pt x="953" y="1919"/>
                </a:lnTo>
                <a:lnTo>
                  <a:pt x="955" y="1917"/>
                </a:lnTo>
                <a:close/>
                <a:moveTo>
                  <a:pt x="1324" y="1694"/>
                </a:moveTo>
                <a:lnTo>
                  <a:pt x="1327" y="1692"/>
                </a:lnTo>
                <a:lnTo>
                  <a:pt x="1330" y="1692"/>
                </a:lnTo>
                <a:lnTo>
                  <a:pt x="1335" y="1692"/>
                </a:lnTo>
                <a:lnTo>
                  <a:pt x="1338" y="1693"/>
                </a:lnTo>
                <a:lnTo>
                  <a:pt x="1341" y="1694"/>
                </a:lnTo>
                <a:lnTo>
                  <a:pt x="1343" y="1695"/>
                </a:lnTo>
                <a:lnTo>
                  <a:pt x="1344" y="1696"/>
                </a:lnTo>
                <a:lnTo>
                  <a:pt x="1345" y="1698"/>
                </a:lnTo>
                <a:lnTo>
                  <a:pt x="1347" y="1700"/>
                </a:lnTo>
                <a:lnTo>
                  <a:pt x="1348" y="1703"/>
                </a:lnTo>
                <a:lnTo>
                  <a:pt x="1348" y="1706"/>
                </a:lnTo>
                <a:lnTo>
                  <a:pt x="1348" y="1709"/>
                </a:lnTo>
                <a:lnTo>
                  <a:pt x="1347" y="1712"/>
                </a:lnTo>
                <a:lnTo>
                  <a:pt x="1346" y="1715"/>
                </a:lnTo>
                <a:lnTo>
                  <a:pt x="1344" y="1718"/>
                </a:lnTo>
                <a:lnTo>
                  <a:pt x="1342" y="1720"/>
                </a:lnTo>
                <a:lnTo>
                  <a:pt x="1340" y="1721"/>
                </a:lnTo>
                <a:lnTo>
                  <a:pt x="1338" y="1722"/>
                </a:lnTo>
                <a:lnTo>
                  <a:pt x="1335" y="1723"/>
                </a:lnTo>
                <a:lnTo>
                  <a:pt x="1329" y="1723"/>
                </a:lnTo>
                <a:lnTo>
                  <a:pt x="1327" y="1722"/>
                </a:lnTo>
                <a:lnTo>
                  <a:pt x="1324" y="1721"/>
                </a:lnTo>
                <a:lnTo>
                  <a:pt x="1322" y="1719"/>
                </a:lnTo>
                <a:lnTo>
                  <a:pt x="1321" y="1718"/>
                </a:lnTo>
                <a:lnTo>
                  <a:pt x="1320" y="1717"/>
                </a:lnTo>
                <a:lnTo>
                  <a:pt x="1318" y="1714"/>
                </a:lnTo>
                <a:lnTo>
                  <a:pt x="1317" y="1711"/>
                </a:lnTo>
                <a:lnTo>
                  <a:pt x="1317" y="1708"/>
                </a:lnTo>
                <a:lnTo>
                  <a:pt x="1317" y="1705"/>
                </a:lnTo>
                <a:lnTo>
                  <a:pt x="1317" y="1702"/>
                </a:lnTo>
                <a:lnTo>
                  <a:pt x="1319" y="1699"/>
                </a:lnTo>
                <a:lnTo>
                  <a:pt x="1320" y="1697"/>
                </a:lnTo>
                <a:lnTo>
                  <a:pt x="1323" y="1695"/>
                </a:lnTo>
                <a:lnTo>
                  <a:pt x="1324" y="1694"/>
                </a:lnTo>
                <a:close/>
                <a:moveTo>
                  <a:pt x="3189" y="587"/>
                </a:moveTo>
                <a:lnTo>
                  <a:pt x="3193" y="585"/>
                </a:lnTo>
                <a:lnTo>
                  <a:pt x="3196" y="585"/>
                </a:lnTo>
                <a:lnTo>
                  <a:pt x="3200" y="585"/>
                </a:lnTo>
                <a:lnTo>
                  <a:pt x="3202" y="585"/>
                </a:lnTo>
                <a:lnTo>
                  <a:pt x="3204" y="586"/>
                </a:lnTo>
                <a:lnTo>
                  <a:pt x="3207" y="588"/>
                </a:lnTo>
                <a:lnTo>
                  <a:pt x="3209" y="590"/>
                </a:lnTo>
                <a:lnTo>
                  <a:pt x="3211" y="592"/>
                </a:lnTo>
                <a:lnTo>
                  <a:pt x="3212" y="596"/>
                </a:lnTo>
                <a:lnTo>
                  <a:pt x="3213" y="599"/>
                </a:lnTo>
                <a:lnTo>
                  <a:pt x="3213" y="602"/>
                </a:lnTo>
                <a:lnTo>
                  <a:pt x="3213" y="605"/>
                </a:lnTo>
                <a:lnTo>
                  <a:pt x="3212" y="608"/>
                </a:lnTo>
                <a:lnTo>
                  <a:pt x="3209" y="612"/>
                </a:lnTo>
                <a:lnTo>
                  <a:pt x="3207" y="614"/>
                </a:lnTo>
                <a:lnTo>
                  <a:pt x="3205" y="615"/>
                </a:lnTo>
                <a:lnTo>
                  <a:pt x="3202" y="617"/>
                </a:lnTo>
                <a:lnTo>
                  <a:pt x="3198" y="617"/>
                </a:lnTo>
                <a:lnTo>
                  <a:pt x="3195" y="617"/>
                </a:lnTo>
                <a:lnTo>
                  <a:pt x="3193" y="616"/>
                </a:lnTo>
                <a:lnTo>
                  <a:pt x="3191" y="616"/>
                </a:lnTo>
                <a:lnTo>
                  <a:pt x="3188" y="614"/>
                </a:lnTo>
                <a:lnTo>
                  <a:pt x="3186" y="612"/>
                </a:lnTo>
                <a:lnTo>
                  <a:pt x="3184" y="610"/>
                </a:lnTo>
                <a:lnTo>
                  <a:pt x="3183" y="607"/>
                </a:lnTo>
                <a:lnTo>
                  <a:pt x="3182" y="604"/>
                </a:lnTo>
                <a:lnTo>
                  <a:pt x="3181" y="601"/>
                </a:lnTo>
                <a:lnTo>
                  <a:pt x="3182" y="598"/>
                </a:lnTo>
                <a:lnTo>
                  <a:pt x="3183" y="595"/>
                </a:lnTo>
                <a:lnTo>
                  <a:pt x="3186" y="590"/>
                </a:lnTo>
                <a:lnTo>
                  <a:pt x="3187" y="588"/>
                </a:lnTo>
                <a:lnTo>
                  <a:pt x="3189" y="587"/>
                </a:lnTo>
                <a:close/>
                <a:moveTo>
                  <a:pt x="1433" y="1600"/>
                </a:moveTo>
                <a:lnTo>
                  <a:pt x="1436" y="1599"/>
                </a:lnTo>
                <a:lnTo>
                  <a:pt x="1438" y="1598"/>
                </a:lnTo>
                <a:lnTo>
                  <a:pt x="1441" y="1598"/>
                </a:lnTo>
                <a:lnTo>
                  <a:pt x="1443" y="1598"/>
                </a:lnTo>
                <a:lnTo>
                  <a:pt x="1446" y="1599"/>
                </a:lnTo>
                <a:lnTo>
                  <a:pt x="1448" y="1600"/>
                </a:lnTo>
                <a:lnTo>
                  <a:pt x="1451" y="1601"/>
                </a:lnTo>
                <a:lnTo>
                  <a:pt x="1453" y="1603"/>
                </a:lnTo>
                <a:lnTo>
                  <a:pt x="1455" y="1605"/>
                </a:lnTo>
                <a:lnTo>
                  <a:pt x="1456" y="1608"/>
                </a:lnTo>
                <a:lnTo>
                  <a:pt x="1457" y="1611"/>
                </a:lnTo>
                <a:lnTo>
                  <a:pt x="1457" y="1614"/>
                </a:lnTo>
                <a:lnTo>
                  <a:pt x="1457" y="1617"/>
                </a:lnTo>
                <a:lnTo>
                  <a:pt x="1456" y="1620"/>
                </a:lnTo>
                <a:lnTo>
                  <a:pt x="1454" y="1623"/>
                </a:lnTo>
                <a:lnTo>
                  <a:pt x="1452" y="1625"/>
                </a:lnTo>
                <a:lnTo>
                  <a:pt x="1449" y="1627"/>
                </a:lnTo>
                <a:lnTo>
                  <a:pt x="1447" y="1629"/>
                </a:lnTo>
                <a:lnTo>
                  <a:pt x="1444" y="1629"/>
                </a:lnTo>
                <a:lnTo>
                  <a:pt x="1442" y="1630"/>
                </a:lnTo>
                <a:lnTo>
                  <a:pt x="1439" y="1629"/>
                </a:lnTo>
                <a:lnTo>
                  <a:pt x="1437" y="1629"/>
                </a:lnTo>
                <a:lnTo>
                  <a:pt x="1434" y="1628"/>
                </a:lnTo>
                <a:lnTo>
                  <a:pt x="1432" y="1627"/>
                </a:lnTo>
                <a:lnTo>
                  <a:pt x="1430" y="1625"/>
                </a:lnTo>
                <a:lnTo>
                  <a:pt x="1428" y="1622"/>
                </a:lnTo>
                <a:lnTo>
                  <a:pt x="1426" y="1619"/>
                </a:lnTo>
                <a:lnTo>
                  <a:pt x="1426" y="1617"/>
                </a:lnTo>
                <a:lnTo>
                  <a:pt x="1425" y="1614"/>
                </a:lnTo>
                <a:lnTo>
                  <a:pt x="1426" y="1610"/>
                </a:lnTo>
                <a:lnTo>
                  <a:pt x="1427" y="1608"/>
                </a:lnTo>
                <a:lnTo>
                  <a:pt x="1428" y="1605"/>
                </a:lnTo>
                <a:lnTo>
                  <a:pt x="1430" y="1602"/>
                </a:lnTo>
                <a:lnTo>
                  <a:pt x="1433" y="1600"/>
                </a:lnTo>
                <a:close/>
                <a:moveTo>
                  <a:pt x="1529" y="1493"/>
                </a:moveTo>
                <a:lnTo>
                  <a:pt x="1533" y="1491"/>
                </a:lnTo>
                <a:lnTo>
                  <a:pt x="1538" y="1491"/>
                </a:lnTo>
                <a:lnTo>
                  <a:pt x="1540" y="1491"/>
                </a:lnTo>
                <a:lnTo>
                  <a:pt x="1542" y="1492"/>
                </a:lnTo>
                <a:lnTo>
                  <a:pt x="1544" y="1493"/>
                </a:lnTo>
                <a:lnTo>
                  <a:pt x="1547" y="1494"/>
                </a:lnTo>
                <a:lnTo>
                  <a:pt x="1549" y="1496"/>
                </a:lnTo>
                <a:lnTo>
                  <a:pt x="1551" y="1499"/>
                </a:lnTo>
                <a:lnTo>
                  <a:pt x="1552" y="1502"/>
                </a:lnTo>
                <a:lnTo>
                  <a:pt x="1553" y="1505"/>
                </a:lnTo>
                <a:lnTo>
                  <a:pt x="1553" y="1508"/>
                </a:lnTo>
                <a:lnTo>
                  <a:pt x="1552" y="1511"/>
                </a:lnTo>
                <a:lnTo>
                  <a:pt x="1551" y="1514"/>
                </a:lnTo>
                <a:lnTo>
                  <a:pt x="1549" y="1516"/>
                </a:lnTo>
                <a:lnTo>
                  <a:pt x="1547" y="1519"/>
                </a:lnTo>
                <a:lnTo>
                  <a:pt x="1545" y="1521"/>
                </a:lnTo>
                <a:lnTo>
                  <a:pt x="1541" y="1522"/>
                </a:lnTo>
                <a:lnTo>
                  <a:pt x="1536" y="1523"/>
                </a:lnTo>
                <a:lnTo>
                  <a:pt x="1534" y="1522"/>
                </a:lnTo>
                <a:lnTo>
                  <a:pt x="1531" y="1522"/>
                </a:lnTo>
                <a:lnTo>
                  <a:pt x="1529" y="1521"/>
                </a:lnTo>
                <a:lnTo>
                  <a:pt x="1527" y="1519"/>
                </a:lnTo>
                <a:lnTo>
                  <a:pt x="1525" y="1517"/>
                </a:lnTo>
                <a:lnTo>
                  <a:pt x="1523" y="1515"/>
                </a:lnTo>
                <a:lnTo>
                  <a:pt x="1522" y="1512"/>
                </a:lnTo>
                <a:lnTo>
                  <a:pt x="1521" y="1509"/>
                </a:lnTo>
                <a:lnTo>
                  <a:pt x="1521" y="1506"/>
                </a:lnTo>
                <a:lnTo>
                  <a:pt x="1522" y="1503"/>
                </a:lnTo>
                <a:lnTo>
                  <a:pt x="1523" y="1500"/>
                </a:lnTo>
                <a:lnTo>
                  <a:pt x="1524" y="1497"/>
                </a:lnTo>
                <a:lnTo>
                  <a:pt x="1526" y="1495"/>
                </a:lnTo>
                <a:lnTo>
                  <a:pt x="1529" y="1493"/>
                </a:lnTo>
                <a:close/>
                <a:moveTo>
                  <a:pt x="1606" y="1372"/>
                </a:moveTo>
                <a:lnTo>
                  <a:pt x="1609" y="1371"/>
                </a:lnTo>
                <a:lnTo>
                  <a:pt x="1613" y="1370"/>
                </a:lnTo>
                <a:lnTo>
                  <a:pt x="1617" y="1370"/>
                </a:lnTo>
                <a:lnTo>
                  <a:pt x="1621" y="1372"/>
                </a:lnTo>
                <a:lnTo>
                  <a:pt x="1624" y="1373"/>
                </a:lnTo>
                <a:lnTo>
                  <a:pt x="1626" y="1376"/>
                </a:lnTo>
                <a:lnTo>
                  <a:pt x="1628" y="1378"/>
                </a:lnTo>
                <a:lnTo>
                  <a:pt x="1629" y="1381"/>
                </a:lnTo>
                <a:lnTo>
                  <a:pt x="1630" y="1387"/>
                </a:lnTo>
                <a:lnTo>
                  <a:pt x="1629" y="1390"/>
                </a:lnTo>
                <a:lnTo>
                  <a:pt x="1628" y="1393"/>
                </a:lnTo>
                <a:lnTo>
                  <a:pt x="1627" y="1395"/>
                </a:lnTo>
                <a:lnTo>
                  <a:pt x="1625" y="1397"/>
                </a:lnTo>
                <a:lnTo>
                  <a:pt x="1622" y="1399"/>
                </a:lnTo>
                <a:lnTo>
                  <a:pt x="1618" y="1401"/>
                </a:lnTo>
                <a:lnTo>
                  <a:pt x="1614" y="1402"/>
                </a:lnTo>
                <a:lnTo>
                  <a:pt x="1610" y="1401"/>
                </a:lnTo>
                <a:lnTo>
                  <a:pt x="1607" y="1400"/>
                </a:lnTo>
                <a:lnTo>
                  <a:pt x="1604" y="1398"/>
                </a:lnTo>
                <a:lnTo>
                  <a:pt x="1602" y="1396"/>
                </a:lnTo>
                <a:lnTo>
                  <a:pt x="1600" y="1393"/>
                </a:lnTo>
                <a:lnTo>
                  <a:pt x="1599" y="1391"/>
                </a:lnTo>
                <a:lnTo>
                  <a:pt x="1598" y="1385"/>
                </a:lnTo>
                <a:lnTo>
                  <a:pt x="1599" y="1381"/>
                </a:lnTo>
                <a:lnTo>
                  <a:pt x="1600" y="1378"/>
                </a:lnTo>
                <a:lnTo>
                  <a:pt x="1601" y="1377"/>
                </a:lnTo>
                <a:lnTo>
                  <a:pt x="1602" y="1375"/>
                </a:lnTo>
                <a:lnTo>
                  <a:pt x="1606" y="1372"/>
                </a:lnTo>
                <a:close/>
                <a:moveTo>
                  <a:pt x="3057" y="530"/>
                </a:moveTo>
                <a:lnTo>
                  <a:pt x="3060" y="528"/>
                </a:lnTo>
                <a:lnTo>
                  <a:pt x="3064" y="528"/>
                </a:lnTo>
                <a:lnTo>
                  <a:pt x="3067" y="528"/>
                </a:lnTo>
                <a:lnTo>
                  <a:pt x="3071" y="529"/>
                </a:lnTo>
                <a:lnTo>
                  <a:pt x="3074" y="530"/>
                </a:lnTo>
                <a:lnTo>
                  <a:pt x="3076" y="532"/>
                </a:lnTo>
                <a:lnTo>
                  <a:pt x="3078" y="535"/>
                </a:lnTo>
                <a:lnTo>
                  <a:pt x="3080" y="537"/>
                </a:lnTo>
                <a:lnTo>
                  <a:pt x="3081" y="540"/>
                </a:lnTo>
                <a:lnTo>
                  <a:pt x="3081" y="543"/>
                </a:lnTo>
                <a:lnTo>
                  <a:pt x="3081" y="546"/>
                </a:lnTo>
                <a:lnTo>
                  <a:pt x="3080" y="549"/>
                </a:lnTo>
                <a:lnTo>
                  <a:pt x="3077" y="554"/>
                </a:lnTo>
                <a:lnTo>
                  <a:pt x="3075" y="556"/>
                </a:lnTo>
                <a:lnTo>
                  <a:pt x="3073" y="557"/>
                </a:lnTo>
                <a:lnTo>
                  <a:pt x="3070" y="559"/>
                </a:lnTo>
                <a:lnTo>
                  <a:pt x="3066" y="559"/>
                </a:lnTo>
                <a:lnTo>
                  <a:pt x="3063" y="559"/>
                </a:lnTo>
                <a:lnTo>
                  <a:pt x="3059" y="558"/>
                </a:lnTo>
                <a:lnTo>
                  <a:pt x="3056" y="557"/>
                </a:lnTo>
                <a:lnTo>
                  <a:pt x="3054" y="555"/>
                </a:lnTo>
                <a:lnTo>
                  <a:pt x="3052" y="552"/>
                </a:lnTo>
                <a:lnTo>
                  <a:pt x="3050" y="550"/>
                </a:lnTo>
                <a:lnTo>
                  <a:pt x="3050" y="547"/>
                </a:lnTo>
                <a:lnTo>
                  <a:pt x="3049" y="544"/>
                </a:lnTo>
                <a:lnTo>
                  <a:pt x="3050" y="541"/>
                </a:lnTo>
                <a:lnTo>
                  <a:pt x="3050" y="537"/>
                </a:lnTo>
                <a:lnTo>
                  <a:pt x="3053" y="533"/>
                </a:lnTo>
                <a:lnTo>
                  <a:pt x="3055" y="531"/>
                </a:lnTo>
                <a:lnTo>
                  <a:pt x="3057" y="530"/>
                </a:lnTo>
                <a:close/>
                <a:moveTo>
                  <a:pt x="1660" y="1239"/>
                </a:moveTo>
                <a:lnTo>
                  <a:pt x="1662" y="1238"/>
                </a:lnTo>
                <a:lnTo>
                  <a:pt x="1666" y="1237"/>
                </a:lnTo>
                <a:lnTo>
                  <a:pt x="1669" y="1237"/>
                </a:lnTo>
                <a:lnTo>
                  <a:pt x="1672" y="1237"/>
                </a:lnTo>
                <a:lnTo>
                  <a:pt x="1675" y="1239"/>
                </a:lnTo>
                <a:lnTo>
                  <a:pt x="1678" y="1240"/>
                </a:lnTo>
                <a:lnTo>
                  <a:pt x="1680" y="1243"/>
                </a:lnTo>
                <a:lnTo>
                  <a:pt x="1681" y="1245"/>
                </a:lnTo>
                <a:lnTo>
                  <a:pt x="1683" y="1248"/>
                </a:lnTo>
                <a:lnTo>
                  <a:pt x="1683" y="1251"/>
                </a:lnTo>
                <a:lnTo>
                  <a:pt x="1683" y="1254"/>
                </a:lnTo>
                <a:lnTo>
                  <a:pt x="1683" y="1257"/>
                </a:lnTo>
                <a:lnTo>
                  <a:pt x="1681" y="1260"/>
                </a:lnTo>
                <a:lnTo>
                  <a:pt x="1680" y="1263"/>
                </a:lnTo>
                <a:lnTo>
                  <a:pt x="1678" y="1265"/>
                </a:lnTo>
                <a:lnTo>
                  <a:pt x="1675" y="1266"/>
                </a:lnTo>
                <a:lnTo>
                  <a:pt x="1673" y="1268"/>
                </a:lnTo>
                <a:lnTo>
                  <a:pt x="1669" y="1268"/>
                </a:lnTo>
                <a:lnTo>
                  <a:pt x="1666" y="1268"/>
                </a:lnTo>
                <a:lnTo>
                  <a:pt x="1663" y="1268"/>
                </a:lnTo>
                <a:lnTo>
                  <a:pt x="1660" y="1267"/>
                </a:lnTo>
                <a:lnTo>
                  <a:pt x="1657" y="1265"/>
                </a:lnTo>
                <a:lnTo>
                  <a:pt x="1655" y="1263"/>
                </a:lnTo>
                <a:lnTo>
                  <a:pt x="1654" y="1260"/>
                </a:lnTo>
                <a:lnTo>
                  <a:pt x="1652" y="1257"/>
                </a:lnTo>
                <a:lnTo>
                  <a:pt x="1652" y="1254"/>
                </a:lnTo>
                <a:lnTo>
                  <a:pt x="1652" y="1251"/>
                </a:lnTo>
                <a:lnTo>
                  <a:pt x="1652" y="1248"/>
                </a:lnTo>
                <a:lnTo>
                  <a:pt x="1653" y="1245"/>
                </a:lnTo>
                <a:lnTo>
                  <a:pt x="1655" y="1243"/>
                </a:lnTo>
                <a:lnTo>
                  <a:pt x="1657" y="1241"/>
                </a:lnTo>
                <a:lnTo>
                  <a:pt x="1660" y="1239"/>
                </a:lnTo>
                <a:close/>
                <a:moveTo>
                  <a:pt x="2923" y="479"/>
                </a:moveTo>
                <a:lnTo>
                  <a:pt x="2926" y="477"/>
                </a:lnTo>
                <a:lnTo>
                  <a:pt x="2929" y="476"/>
                </a:lnTo>
                <a:lnTo>
                  <a:pt x="2932" y="476"/>
                </a:lnTo>
                <a:lnTo>
                  <a:pt x="2936" y="477"/>
                </a:lnTo>
                <a:lnTo>
                  <a:pt x="2939" y="479"/>
                </a:lnTo>
                <a:lnTo>
                  <a:pt x="2941" y="481"/>
                </a:lnTo>
                <a:lnTo>
                  <a:pt x="2943" y="483"/>
                </a:lnTo>
                <a:lnTo>
                  <a:pt x="2945" y="485"/>
                </a:lnTo>
                <a:lnTo>
                  <a:pt x="2946" y="488"/>
                </a:lnTo>
                <a:lnTo>
                  <a:pt x="2946" y="491"/>
                </a:lnTo>
                <a:lnTo>
                  <a:pt x="2946" y="494"/>
                </a:lnTo>
                <a:lnTo>
                  <a:pt x="2946" y="497"/>
                </a:lnTo>
                <a:lnTo>
                  <a:pt x="2944" y="500"/>
                </a:lnTo>
                <a:lnTo>
                  <a:pt x="2943" y="502"/>
                </a:lnTo>
                <a:lnTo>
                  <a:pt x="2941" y="504"/>
                </a:lnTo>
                <a:lnTo>
                  <a:pt x="2938" y="506"/>
                </a:lnTo>
                <a:lnTo>
                  <a:pt x="2935" y="507"/>
                </a:lnTo>
                <a:lnTo>
                  <a:pt x="2932" y="508"/>
                </a:lnTo>
                <a:lnTo>
                  <a:pt x="2929" y="508"/>
                </a:lnTo>
                <a:lnTo>
                  <a:pt x="2925" y="507"/>
                </a:lnTo>
                <a:lnTo>
                  <a:pt x="2922" y="506"/>
                </a:lnTo>
                <a:lnTo>
                  <a:pt x="2920" y="504"/>
                </a:lnTo>
                <a:lnTo>
                  <a:pt x="2918" y="502"/>
                </a:lnTo>
                <a:lnTo>
                  <a:pt x="2916" y="499"/>
                </a:lnTo>
                <a:lnTo>
                  <a:pt x="2915" y="496"/>
                </a:lnTo>
                <a:lnTo>
                  <a:pt x="2915" y="493"/>
                </a:lnTo>
                <a:lnTo>
                  <a:pt x="2915" y="490"/>
                </a:lnTo>
                <a:lnTo>
                  <a:pt x="2916" y="487"/>
                </a:lnTo>
                <a:lnTo>
                  <a:pt x="2917" y="484"/>
                </a:lnTo>
                <a:lnTo>
                  <a:pt x="2918" y="482"/>
                </a:lnTo>
                <a:lnTo>
                  <a:pt x="2920" y="480"/>
                </a:lnTo>
                <a:lnTo>
                  <a:pt x="2923" y="479"/>
                </a:lnTo>
                <a:close/>
                <a:moveTo>
                  <a:pt x="1690" y="1098"/>
                </a:moveTo>
                <a:lnTo>
                  <a:pt x="1692" y="1097"/>
                </a:lnTo>
                <a:lnTo>
                  <a:pt x="1695" y="1097"/>
                </a:lnTo>
                <a:lnTo>
                  <a:pt x="1697" y="1096"/>
                </a:lnTo>
                <a:lnTo>
                  <a:pt x="1700" y="1096"/>
                </a:lnTo>
                <a:lnTo>
                  <a:pt x="1703" y="1097"/>
                </a:lnTo>
                <a:lnTo>
                  <a:pt x="1706" y="1099"/>
                </a:lnTo>
                <a:lnTo>
                  <a:pt x="1708" y="1100"/>
                </a:lnTo>
                <a:lnTo>
                  <a:pt x="1710" y="1103"/>
                </a:lnTo>
                <a:lnTo>
                  <a:pt x="1712" y="1105"/>
                </a:lnTo>
                <a:lnTo>
                  <a:pt x="1713" y="1108"/>
                </a:lnTo>
                <a:lnTo>
                  <a:pt x="1714" y="1111"/>
                </a:lnTo>
                <a:lnTo>
                  <a:pt x="1713" y="1114"/>
                </a:lnTo>
                <a:lnTo>
                  <a:pt x="1712" y="1118"/>
                </a:lnTo>
                <a:lnTo>
                  <a:pt x="1711" y="1121"/>
                </a:lnTo>
                <a:lnTo>
                  <a:pt x="1708" y="1124"/>
                </a:lnTo>
                <a:lnTo>
                  <a:pt x="1706" y="1126"/>
                </a:lnTo>
                <a:lnTo>
                  <a:pt x="1703" y="1127"/>
                </a:lnTo>
                <a:lnTo>
                  <a:pt x="1701" y="1128"/>
                </a:lnTo>
                <a:lnTo>
                  <a:pt x="1698" y="1128"/>
                </a:lnTo>
                <a:lnTo>
                  <a:pt x="1695" y="1128"/>
                </a:lnTo>
                <a:lnTo>
                  <a:pt x="1692" y="1127"/>
                </a:lnTo>
                <a:lnTo>
                  <a:pt x="1690" y="1126"/>
                </a:lnTo>
                <a:lnTo>
                  <a:pt x="1687" y="1124"/>
                </a:lnTo>
                <a:lnTo>
                  <a:pt x="1685" y="1122"/>
                </a:lnTo>
                <a:lnTo>
                  <a:pt x="1683" y="1119"/>
                </a:lnTo>
                <a:lnTo>
                  <a:pt x="1682" y="1116"/>
                </a:lnTo>
                <a:lnTo>
                  <a:pt x="1682" y="1113"/>
                </a:lnTo>
                <a:lnTo>
                  <a:pt x="1682" y="1110"/>
                </a:lnTo>
                <a:lnTo>
                  <a:pt x="1683" y="1106"/>
                </a:lnTo>
                <a:lnTo>
                  <a:pt x="1685" y="1103"/>
                </a:lnTo>
                <a:lnTo>
                  <a:pt x="1687" y="1100"/>
                </a:lnTo>
                <a:lnTo>
                  <a:pt x="1690" y="1098"/>
                </a:lnTo>
                <a:close/>
                <a:moveTo>
                  <a:pt x="2786" y="435"/>
                </a:moveTo>
                <a:lnTo>
                  <a:pt x="2788" y="433"/>
                </a:lnTo>
                <a:lnTo>
                  <a:pt x="2791" y="433"/>
                </a:lnTo>
                <a:lnTo>
                  <a:pt x="2795" y="433"/>
                </a:lnTo>
                <a:lnTo>
                  <a:pt x="2798" y="433"/>
                </a:lnTo>
                <a:lnTo>
                  <a:pt x="2801" y="434"/>
                </a:lnTo>
                <a:lnTo>
                  <a:pt x="2803" y="436"/>
                </a:lnTo>
                <a:lnTo>
                  <a:pt x="2806" y="438"/>
                </a:lnTo>
                <a:lnTo>
                  <a:pt x="2807" y="441"/>
                </a:lnTo>
                <a:lnTo>
                  <a:pt x="2809" y="443"/>
                </a:lnTo>
                <a:lnTo>
                  <a:pt x="2809" y="446"/>
                </a:lnTo>
                <a:lnTo>
                  <a:pt x="2809" y="450"/>
                </a:lnTo>
                <a:lnTo>
                  <a:pt x="2809" y="453"/>
                </a:lnTo>
                <a:lnTo>
                  <a:pt x="2808" y="456"/>
                </a:lnTo>
                <a:lnTo>
                  <a:pt x="2806" y="458"/>
                </a:lnTo>
                <a:lnTo>
                  <a:pt x="2804" y="460"/>
                </a:lnTo>
                <a:lnTo>
                  <a:pt x="2801" y="462"/>
                </a:lnTo>
                <a:lnTo>
                  <a:pt x="2799" y="463"/>
                </a:lnTo>
                <a:lnTo>
                  <a:pt x="2796" y="464"/>
                </a:lnTo>
                <a:lnTo>
                  <a:pt x="2792" y="464"/>
                </a:lnTo>
                <a:lnTo>
                  <a:pt x="2789" y="464"/>
                </a:lnTo>
                <a:lnTo>
                  <a:pt x="2786" y="462"/>
                </a:lnTo>
                <a:lnTo>
                  <a:pt x="2784" y="461"/>
                </a:lnTo>
                <a:lnTo>
                  <a:pt x="2781" y="459"/>
                </a:lnTo>
                <a:lnTo>
                  <a:pt x="2780" y="456"/>
                </a:lnTo>
                <a:lnTo>
                  <a:pt x="2778" y="453"/>
                </a:lnTo>
                <a:lnTo>
                  <a:pt x="2778" y="450"/>
                </a:lnTo>
                <a:lnTo>
                  <a:pt x="2778" y="447"/>
                </a:lnTo>
                <a:lnTo>
                  <a:pt x="2778" y="444"/>
                </a:lnTo>
                <a:lnTo>
                  <a:pt x="2779" y="441"/>
                </a:lnTo>
                <a:lnTo>
                  <a:pt x="2781" y="439"/>
                </a:lnTo>
                <a:lnTo>
                  <a:pt x="2783" y="436"/>
                </a:lnTo>
                <a:lnTo>
                  <a:pt x="2786" y="435"/>
                </a:lnTo>
                <a:close/>
                <a:moveTo>
                  <a:pt x="1704" y="955"/>
                </a:moveTo>
                <a:lnTo>
                  <a:pt x="1708" y="953"/>
                </a:lnTo>
                <a:lnTo>
                  <a:pt x="1713" y="953"/>
                </a:lnTo>
                <a:lnTo>
                  <a:pt x="1716" y="954"/>
                </a:lnTo>
                <a:lnTo>
                  <a:pt x="1719" y="955"/>
                </a:lnTo>
                <a:lnTo>
                  <a:pt x="1721" y="956"/>
                </a:lnTo>
                <a:lnTo>
                  <a:pt x="1724" y="958"/>
                </a:lnTo>
                <a:lnTo>
                  <a:pt x="1725" y="961"/>
                </a:lnTo>
                <a:lnTo>
                  <a:pt x="1727" y="964"/>
                </a:lnTo>
                <a:lnTo>
                  <a:pt x="1727" y="967"/>
                </a:lnTo>
                <a:lnTo>
                  <a:pt x="1728" y="970"/>
                </a:lnTo>
                <a:lnTo>
                  <a:pt x="1727" y="974"/>
                </a:lnTo>
                <a:lnTo>
                  <a:pt x="1725" y="977"/>
                </a:lnTo>
                <a:lnTo>
                  <a:pt x="1723" y="980"/>
                </a:lnTo>
                <a:lnTo>
                  <a:pt x="1720" y="983"/>
                </a:lnTo>
                <a:lnTo>
                  <a:pt x="1715" y="984"/>
                </a:lnTo>
                <a:lnTo>
                  <a:pt x="1711" y="985"/>
                </a:lnTo>
                <a:lnTo>
                  <a:pt x="1707" y="984"/>
                </a:lnTo>
                <a:lnTo>
                  <a:pt x="1705" y="983"/>
                </a:lnTo>
                <a:lnTo>
                  <a:pt x="1702" y="981"/>
                </a:lnTo>
                <a:lnTo>
                  <a:pt x="1700" y="979"/>
                </a:lnTo>
                <a:lnTo>
                  <a:pt x="1698" y="977"/>
                </a:lnTo>
                <a:lnTo>
                  <a:pt x="1697" y="974"/>
                </a:lnTo>
                <a:lnTo>
                  <a:pt x="1696" y="971"/>
                </a:lnTo>
                <a:lnTo>
                  <a:pt x="1696" y="968"/>
                </a:lnTo>
                <a:lnTo>
                  <a:pt x="1697" y="964"/>
                </a:lnTo>
                <a:lnTo>
                  <a:pt x="1698" y="960"/>
                </a:lnTo>
                <a:lnTo>
                  <a:pt x="1701" y="957"/>
                </a:lnTo>
                <a:lnTo>
                  <a:pt x="1704" y="955"/>
                </a:lnTo>
                <a:close/>
                <a:moveTo>
                  <a:pt x="2646" y="401"/>
                </a:moveTo>
                <a:lnTo>
                  <a:pt x="2648" y="399"/>
                </a:lnTo>
                <a:lnTo>
                  <a:pt x="2651" y="399"/>
                </a:lnTo>
                <a:lnTo>
                  <a:pt x="2657" y="399"/>
                </a:lnTo>
                <a:lnTo>
                  <a:pt x="2660" y="400"/>
                </a:lnTo>
                <a:lnTo>
                  <a:pt x="2663" y="401"/>
                </a:lnTo>
                <a:lnTo>
                  <a:pt x="2665" y="403"/>
                </a:lnTo>
                <a:lnTo>
                  <a:pt x="2667" y="406"/>
                </a:lnTo>
                <a:lnTo>
                  <a:pt x="2668" y="408"/>
                </a:lnTo>
                <a:lnTo>
                  <a:pt x="2669" y="411"/>
                </a:lnTo>
                <a:lnTo>
                  <a:pt x="2670" y="414"/>
                </a:lnTo>
                <a:lnTo>
                  <a:pt x="2669" y="417"/>
                </a:lnTo>
                <a:lnTo>
                  <a:pt x="2668" y="421"/>
                </a:lnTo>
                <a:lnTo>
                  <a:pt x="2666" y="424"/>
                </a:lnTo>
                <a:lnTo>
                  <a:pt x="2664" y="426"/>
                </a:lnTo>
                <a:lnTo>
                  <a:pt x="2662" y="428"/>
                </a:lnTo>
                <a:lnTo>
                  <a:pt x="2659" y="429"/>
                </a:lnTo>
                <a:lnTo>
                  <a:pt x="2656" y="430"/>
                </a:lnTo>
                <a:lnTo>
                  <a:pt x="2651" y="430"/>
                </a:lnTo>
                <a:lnTo>
                  <a:pt x="2647" y="429"/>
                </a:lnTo>
                <a:lnTo>
                  <a:pt x="2645" y="427"/>
                </a:lnTo>
                <a:lnTo>
                  <a:pt x="2642" y="425"/>
                </a:lnTo>
                <a:lnTo>
                  <a:pt x="2640" y="423"/>
                </a:lnTo>
                <a:lnTo>
                  <a:pt x="2639" y="420"/>
                </a:lnTo>
                <a:lnTo>
                  <a:pt x="2638" y="418"/>
                </a:lnTo>
                <a:lnTo>
                  <a:pt x="2638" y="414"/>
                </a:lnTo>
                <a:lnTo>
                  <a:pt x="2638" y="411"/>
                </a:lnTo>
                <a:lnTo>
                  <a:pt x="2639" y="408"/>
                </a:lnTo>
                <a:lnTo>
                  <a:pt x="2641" y="405"/>
                </a:lnTo>
                <a:lnTo>
                  <a:pt x="2643" y="403"/>
                </a:lnTo>
                <a:lnTo>
                  <a:pt x="2646" y="401"/>
                </a:lnTo>
                <a:close/>
                <a:moveTo>
                  <a:pt x="2504" y="379"/>
                </a:moveTo>
                <a:lnTo>
                  <a:pt x="2506" y="378"/>
                </a:lnTo>
                <a:lnTo>
                  <a:pt x="2508" y="377"/>
                </a:lnTo>
                <a:lnTo>
                  <a:pt x="2510" y="377"/>
                </a:lnTo>
                <a:lnTo>
                  <a:pt x="2513" y="377"/>
                </a:lnTo>
                <a:lnTo>
                  <a:pt x="2516" y="378"/>
                </a:lnTo>
                <a:lnTo>
                  <a:pt x="2519" y="379"/>
                </a:lnTo>
                <a:lnTo>
                  <a:pt x="2522" y="381"/>
                </a:lnTo>
                <a:lnTo>
                  <a:pt x="2524" y="383"/>
                </a:lnTo>
                <a:lnTo>
                  <a:pt x="2525" y="385"/>
                </a:lnTo>
                <a:lnTo>
                  <a:pt x="2527" y="388"/>
                </a:lnTo>
                <a:lnTo>
                  <a:pt x="2527" y="391"/>
                </a:lnTo>
                <a:lnTo>
                  <a:pt x="2527" y="394"/>
                </a:lnTo>
                <a:lnTo>
                  <a:pt x="2526" y="398"/>
                </a:lnTo>
                <a:lnTo>
                  <a:pt x="2525" y="402"/>
                </a:lnTo>
                <a:lnTo>
                  <a:pt x="2522" y="404"/>
                </a:lnTo>
                <a:lnTo>
                  <a:pt x="2519" y="407"/>
                </a:lnTo>
                <a:lnTo>
                  <a:pt x="2517" y="408"/>
                </a:lnTo>
                <a:lnTo>
                  <a:pt x="2515" y="408"/>
                </a:lnTo>
                <a:lnTo>
                  <a:pt x="2512" y="409"/>
                </a:lnTo>
                <a:lnTo>
                  <a:pt x="2510" y="409"/>
                </a:lnTo>
                <a:lnTo>
                  <a:pt x="2507" y="408"/>
                </a:lnTo>
                <a:lnTo>
                  <a:pt x="2504" y="407"/>
                </a:lnTo>
                <a:lnTo>
                  <a:pt x="2501" y="405"/>
                </a:lnTo>
                <a:lnTo>
                  <a:pt x="2499" y="403"/>
                </a:lnTo>
                <a:lnTo>
                  <a:pt x="2497" y="400"/>
                </a:lnTo>
                <a:lnTo>
                  <a:pt x="2496" y="398"/>
                </a:lnTo>
                <a:lnTo>
                  <a:pt x="2496" y="394"/>
                </a:lnTo>
                <a:lnTo>
                  <a:pt x="2496" y="391"/>
                </a:lnTo>
                <a:lnTo>
                  <a:pt x="2497" y="387"/>
                </a:lnTo>
                <a:lnTo>
                  <a:pt x="2498" y="384"/>
                </a:lnTo>
                <a:lnTo>
                  <a:pt x="2501" y="381"/>
                </a:lnTo>
                <a:lnTo>
                  <a:pt x="2504" y="379"/>
                </a:lnTo>
                <a:close/>
                <a:moveTo>
                  <a:pt x="1715" y="812"/>
                </a:moveTo>
                <a:lnTo>
                  <a:pt x="1718" y="811"/>
                </a:lnTo>
                <a:lnTo>
                  <a:pt x="1720" y="810"/>
                </a:lnTo>
                <a:lnTo>
                  <a:pt x="1723" y="810"/>
                </a:lnTo>
                <a:lnTo>
                  <a:pt x="1725" y="810"/>
                </a:lnTo>
                <a:lnTo>
                  <a:pt x="1728" y="810"/>
                </a:lnTo>
                <a:lnTo>
                  <a:pt x="1731" y="812"/>
                </a:lnTo>
                <a:lnTo>
                  <a:pt x="1734" y="813"/>
                </a:lnTo>
                <a:lnTo>
                  <a:pt x="1736" y="816"/>
                </a:lnTo>
                <a:lnTo>
                  <a:pt x="1737" y="818"/>
                </a:lnTo>
                <a:lnTo>
                  <a:pt x="1739" y="821"/>
                </a:lnTo>
                <a:lnTo>
                  <a:pt x="1739" y="824"/>
                </a:lnTo>
                <a:lnTo>
                  <a:pt x="1739" y="827"/>
                </a:lnTo>
                <a:lnTo>
                  <a:pt x="1738" y="831"/>
                </a:lnTo>
                <a:lnTo>
                  <a:pt x="1737" y="834"/>
                </a:lnTo>
                <a:lnTo>
                  <a:pt x="1734" y="837"/>
                </a:lnTo>
                <a:lnTo>
                  <a:pt x="1731" y="839"/>
                </a:lnTo>
                <a:lnTo>
                  <a:pt x="1729" y="840"/>
                </a:lnTo>
                <a:lnTo>
                  <a:pt x="1727" y="841"/>
                </a:lnTo>
                <a:lnTo>
                  <a:pt x="1724" y="841"/>
                </a:lnTo>
                <a:lnTo>
                  <a:pt x="1721" y="841"/>
                </a:lnTo>
                <a:lnTo>
                  <a:pt x="1718" y="840"/>
                </a:lnTo>
                <a:lnTo>
                  <a:pt x="1716" y="839"/>
                </a:lnTo>
                <a:lnTo>
                  <a:pt x="1713" y="837"/>
                </a:lnTo>
                <a:lnTo>
                  <a:pt x="1711" y="835"/>
                </a:lnTo>
                <a:lnTo>
                  <a:pt x="1709" y="833"/>
                </a:lnTo>
                <a:lnTo>
                  <a:pt x="1708" y="830"/>
                </a:lnTo>
                <a:lnTo>
                  <a:pt x="1708" y="827"/>
                </a:lnTo>
                <a:lnTo>
                  <a:pt x="1708" y="823"/>
                </a:lnTo>
                <a:lnTo>
                  <a:pt x="1709" y="820"/>
                </a:lnTo>
                <a:lnTo>
                  <a:pt x="1710" y="817"/>
                </a:lnTo>
                <a:lnTo>
                  <a:pt x="1713" y="814"/>
                </a:lnTo>
                <a:lnTo>
                  <a:pt x="1715" y="812"/>
                </a:lnTo>
                <a:close/>
                <a:moveTo>
                  <a:pt x="2359" y="373"/>
                </a:moveTo>
                <a:lnTo>
                  <a:pt x="2361" y="372"/>
                </a:lnTo>
                <a:lnTo>
                  <a:pt x="2362" y="372"/>
                </a:lnTo>
                <a:lnTo>
                  <a:pt x="2366" y="371"/>
                </a:lnTo>
                <a:lnTo>
                  <a:pt x="2370" y="371"/>
                </a:lnTo>
                <a:lnTo>
                  <a:pt x="2373" y="372"/>
                </a:lnTo>
                <a:lnTo>
                  <a:pt x="2375" y="374"/>
                </a:lnTo>
                <a:lnTo>
                  <a:pt x="2378" y="375"/>
                </a:lnTo>
                <a:lnTo>
                  <a:pt x="2380" y="378"/>
                </a:lnTo>
                <a:lnTo>
                  <a:pt x="2381" y="380"/>
                </a:lnTo>
                <a:lnTo>
                  <a:pt x="2382" y="383"/>
                </a:lnTo>
                <a:lnTo>
                  <a:pt x="2383" y="387"/>
                </a:lnTo>
                <a:lnTo>
                  <a:pt x="2382" y="391"/>
                </a:lnTo>
                <a:lnTo>
                  <a:pt x="2381" y="393"/>
                </a:lnTo>
                <a:lnTo>
                  <a:pt x="2381" y="395"/>
                </a:lnTo>
                <a:lnTo>
                  <a:pt x="2378" y="398"/>
                </a:lnTo>
                <a:lnTo>
                  <a:pt x="2375" y="401"/>
                </a:lnTo>
                <a:lnTo>
                  <a:pt x="2373" y="402"/>
                </a:lnTo>
                <a:lnTo>
                  <a:pt x="2371" y="402"/>
                </a:lnTo>
                <a:lnTo>
                  <a:pt x="2367" y="403"/>
                </a:lnTo>
                <a:lnTo>
                  <a:pt x="2364" y="403"/>
                </a:lnTo>
                <a:lnTo>
                  <a:pt x="2361" y="402"/>
                </a:lnTo>
                <a:lnTo>
                  <a:pt x="2358" y="400"/>
                </a:lnTo>
                <a:lnTo>
                  <a:pt x="2356" y="398"/>
                </a:lnTo>
                <a:lnTo>
                  <a:pt x="2354" y="396"/>
                </a:lnTo>
                <a:lnTo>
                  <a:pt x="2352" y="393"/>
                </a:lnTo>
                <a:lnTo>
                  <a:pt x="2351" y="390"/>
                </a:lnTo>
                <a:lnTo>
                  <a:pt x="2351" y="387"/>
                </a:lnTo>
                <a:lnTo>
                  <a:pt x="2351" y="383"/>
                </a:lnTo>
                <a:lnTo>
                  <a:pt x="2352" y="381"/>
                </a:lnTo>
                <a:lnTo>
                  <a:pt x="2353" y="379"/>
                </a:lnTo>
                <a:lnTo>
                  <a:pt x="2356" y="376"/>
                </a:lnTo>
                <a:lnTo>
                  <a:pt x="2359" y="373"/>
                </a:lnTo>
                <a:close/>
                <a:moveTo>
                  <a:pt x="1747" y="672"/>
                </a:moveTo>
                <a:lnTo>
                  <a:pt x="1750" y="670"/>
                </a:lnTo>
                <a:lnTo>
                  <a:pt x="1754" y="670"/>
                </a:lnTo>
                <a:lnTo>
                  <a:pt x="1757" y="670"/>
                </a:lnTo>
                <a:lnTo>
                  <a:pt x="1761" y="671"/>
                </a:lnTo>
                <a:lnTo>
                  <a:pt x="1764" y="672"/>
                </a:lnTo>
                <a:lnTo>
                  <a:pt x="1766" y="674"/>
                </a:lnTo>
                <a:lnTo>
                  <a:pt x="1768" y="676"/>
                </a:lnTo>
                <a:lnTo>
                  <a:pt x="1769" y="679"/>
                </a:lnTo>
                <a:lnTo>
                  <a:pt x="1770" y="682"/>
                </a:lnTo>
                <a:lnTo>
                  <a:pt x="1771" y="685"/>
                </a:lnTo>
                <a:lnTo>
                  <a:pt x="1771" y="688"/>
                </a:lnTo>
                <a:lnTo>
                  <a:pt x="1770" y="691"/>
                </a:lnTo>
                <a:lnTo>
                  <a:pt x="1767" y="696"/>
                </a:lnTo>
                <a:lnTo>
                  <a:pt x="1765" y="698"/>
                </a:lnTo>
                <a:lnTo>
                  <a:pt x="1763" y="699"/>
                </a:lnTo>
                <a:lnTo>
                  <a:pt x="1760" y="701"/>
                </a:lnTo>
                <a:lnTo>
                  <a:pt x="1756" y="701"/>
                </a:lnTo>
                <a:lnTo>
                  <a:pt x="1753" y="701"/>
                </a:lnTo>
                <a:lnTo>
                  <a:pt x="1749" y="700"/>
                </a:lnTo>
                <a:lnTo>
                  <a:pt x="1746" y="699"/>
                </a:lnTo>
                <a:lnTo>
                  <a:pt x="1744" y="697"/>
                </a:lnTo>
                <a:lnTo>
                  <a:pt x="1742" y="695"/>
                </a:lnTo>
                <a:lnTo>
                  <a:pt x="1741" y="692"/>
                </a:lnTo>
                <a:lnTo>
                  <a:pt x="1740" y="689"/>
                </a:lnTo>
                <a:lnTo>
                  <a:pt x="1739" y="686"/>
                </a:lnTo>
                <a:lnTo>
                  <a:pt x="1739" y="683"/>
                </a:lnTo>
                <a:lnTo>
                  <a:pt x="1740" y="680"/>
                </a:lnTo>
                <a:lnTo>
                  <a:pt x="1743" y="675"/>
                </a:lnTo>
                <a:lnTo>
                  <a:pt x="1745" y="673"/>
                </a:lnTo>
                <a:lnTo>
                  <a:pt x="1747" y="672"/>
                </a:lnTo>
                <a:close/>
                <a:moveTo>
                  <a:pt x="2216" y="386"/>
                </a:moveTo>
                <a:lnTo>
                  <a:pt x="2218" y="385"/>
                </a:lnTo>
                <a:lnTo>
                  <a:pt x="2221" y="384"/>
                </a:lnTo>
                <a:lnTo>
                  <a:pt x="2224" y="384"/>
                </a:lnTo>
                <a:lnTo>
                  <a:pt x="2227" y="384"/>
                </a:lnTo>
                <a:lnTo>
                  <a:pt x="2230" y="385"/>
                </a:lnTo>
                <a:lnTo>
                  <a:pt x="2233" y="387"/>
                </a:lnTo>
                <a:lnTo>
                  <a:pt x="2235" y="389"/>
                </a:lnTo>
                <a:lnTo>
                  <a:pt x="2237" y="391"/>
                </a:lnTo>
                <a:lnTo>
                  <a:pt x="2238" y="394"/>
                </a:lnTo>
                <a:lnTo>
                  <a:pt x="2239" y="397"/>
                </a:lnTo>
                <a:lnTo>
                  <a:pt x="2239" y="402"/>
                </a:lnTo>
                <a:lnTo>
                  <a:pt x="2238" y="406"/>
                </a:lnTo>
                <a:lnTo>
                  <a:pt x="2237" y="408"/>
                </a:lnTo>
                <a:lnTo>
                  <a:pt x="2235" y="410"/>
                </a:lnTo>
                <a:lnTo>
                  <a:pt x="2233" y="412"/>
                </a:lnTo>
                <a:lnTo>
                  <a:pt x="2232" y="413"/>
                </a:lnTo>
                <a:lnTo>
                  <a:pt x="2229" y="414"/>
                </a:lnTo>
                <a:lnTo>
                  <a:pt x="2226" y="415"/>
                </a:lnTo>
                <a:lnTo>
                  <a:pt x="2223" y="415"/>
                </a:lnTo>
                <a:lnTo>
                  <a:pt x="2220" y="415"/>
                </a:lnTo>
                <a:lnTo>
                  <a:pt x="2217" y="414"/>
                </a:lnTo>
                <a:lnTo>
                  <a:pt x="2214" y="412"/>
                </a:lnTo>
                <a:lnTo>
                  <a:pt x="2212" y="410"/>
                </a:lnTo>
                <a:lnTo>
                  <a:pt x="2210" y="408"/>
                </a:lnTo>
                <a:lnTo>
                  <a:pt x="2209" y="405"/>
                </a:lnTo>
                <a:lnTo>
                  <a:pt x="2208" y="402"/>
                </a:lnTo>
                <a:lnTo>
                  <a:pt x="2208" y="397"/>
                </a:lnTo>
                <a:lnTo>
                  <a:pt x="2209" y="393"/>
                </a:lnTo>
                <a:lnTo>
                  <a:pt x="2211" y="391"/>
                </a:lnTo>
                <a:lnTo>
                  <a:pt x="2212" y="389"/>
                </a:lnTo>
                <a:lnTo>
                  <a:pt x="2214" y="387"/>
                </a:lnTo>
                <a:lnTo>
                  <a:pt x="2216" y="386"/>
                </a:lnTo>
                <a:close/>
                <a:moveTo>
                  <a:pt x="2076" y="418"/>
                </a:moveTo>
                <a:lnTo>
                  <a:pt x="2079" y="417"/>
                </a:lnTo>
                <a:lnTo>
                  <a:pt x="2082" y="416"/>
                </a:lnTo>
                <a:lnTo>
                  <a:pt x="2085" y="416"/>
                </a:lnTo>
                <a:lnTo>
                  <a:pt x="2088" y="417"/>
                </a:lnTo>
                <a:lnTo>
                  <a:pt x="2091" y="418"/>
                </a:lnTo>
                <a:lnTo>
                  <a:pt x="2094" y="420"/>
                </a:lnTo>
                <a:lnTo>
                  <a:pt x="2096" y="422"/>
                </a:lnTo>
                <a:lnTo>
                  <a:pt x="2098" y="424"/>
                </a:lnTo>
                <a:lnTo>
                  <a:pt x="2099" y="427"/>
                </a:lnTo>
                <a:lnTo>
                  <a:pt x="2100" y="433"/>
                </a:lnTo>
                <a:lnTo>
                  <a:pt x="2099" y="435"/>
                </a:lnTo>
                <a:lnTo>
                  <a:pt x="2098" y="438"/>
                </a:lnTo>
                <a:lnTo>
                  <a:pt x="2097" y="440"/>
                </a:lnTo>
                <a:lnTo>
                  <a:pt x="2096" y="442"/>
                </a:lnTo>
                <a:lnTo>
                  <a:pt x="2092" y="446"/>
                </a:lnTo>
                <a:lnTo>
                  <a:pt x="2088" y="447"/>
                </a:lnTo>
                <a:lnTo>
                  <a:pt x="2085" y="448"/>
                </a:lnTo>
                <a:lnTo>
                  <a:pt x="2082" y="448"/>
                </a:lnTo>
                <a:lnTo>
                  <a:pt x="2079" y="447"/>
                </a:lnTo>
                <a:lnTo>
                  <a:pt x="2076" y="446"/>
                </a:lnTo>
                <a:lnTo>
                  <a:pt x="2074" y="444"/>
                </a:lnTo>
                <a:lnTo>
                  <a:pt x="2072" y="442"/>
                </a:lnTo>
                <a:lnTo>
                  <a:pt x="2070" y="440"/>
                </a:lnTo>
                <a:lnTo>
                  <a:pt x="2069" y="437"/>
                </a:lnTo>
                <a:lnTo>
                  <a:pt x="2068" y="431"/>
                </a:lnTo>
                <a:lnTo>
                  <a:pt x="2068" y="429"/>
                </a:lnTo>
                <a:lnTo>
                  <a:pt x="2069" y="426"/>
                </a:lnTo>
                <a:lnTo>
                  <a:pt x="2070" y="424"/>
                </a:lnTo>
                <a:lnTo>
                  <a:pt x="2072" y="422"/>
                </a:lnTo>
                <a:lnTo>
                  <a:pt x="2076" y="418"/>
                </a:lnTo>
                <a:close/>
                <a:moveTo>
                  <a:pt x="1824" y="551"/>
                </a:moveTo>
                <a:lnTo>
                  <a:pt x="1827" y="550"/>
                </a:lnTo>
                <a:lnTo>
                  <a:pt x="1829" y="550"/>
                </a:lnTo>
                <a:lnTo>
                  <a:pt x="1832" y="549"/>
                </a:lnTo>
                <a:lnTo>
                  <a:pt x="1834" y="549"/>
                </a:lnTo>
                <a:lnTo>
                  <a:pt x="1839" y="551"/>
                </a:lnTo>
                <a:lnTo>
                  <a:pt x="1841" y="552"/>
                </a:lnTo>
                <a:lnTo>
                  <a:pt x="1843" y="554"/>
                </a:lnTo>
                <a:lnTo>
                  <a:pt x="1845" y="557"/>
                </a:lnTo>
                <a:lnTo>
                  <a:pt x="1847" y="559"/>
                </a:lnTo>
                <a:lnTo>
                  <a:pt x="1848" y="562"/>
                </a:lnTo>
                <a:lnTo>
                  <a:pt x="1848" y="565"/>
                </a:lnTo>
                <a:lnTo>
                  <a:pt x="1848" y="568"/>
                </a:lnTo>
                <a:lnTo>
                  <a:pt x="1847" y="571"/>
                </a:lnTo>
                <a:lnTo>
                  <a:pt x="1845" y="574"/>
                </a:lnTo>
                <a:lnTo>
                  <a:pt x="1843" y="576"/>
                </a:lnTo>
                <a:lnTo>
                  <a:pt x="1840" y="579"/>
                </a:lnTo>
                <a:lnTo>
                  <a:pt x="1838" y="580"/>
                </a:lnTo>
                <a:lnTo>
                  <a:pt x="1835" y="581"/>
                </a:lnTo>
                <a:lnTo>
                  <a:pt x="1833" y="581"/>
                </a:lnTo>
                <a:lnTo>
                  <a:pt x="1830" y="581"/>
                </a:lnTo>
                <a:lnTo>
                  <a:pt x="1825" y="579"/>
                </a:lnTo>
                <a:lnTo>
                  <a:pt x="1823" y="578"/>
                </a:lnTo>
                <a:lnTo>
                  <a:pt x="1821" y="576"/>
                </a:lnTo>
                <a:lnTo>
                  <a:pt x="1819" y="574"/>
                </a:lnTo>
                <a:lnTo>
                  <a:pt x="1817" y="571"/>
                </a:lnTo>
                <a:lnTo>
                  <a:pt x="1817" y="568"/>
                </a:lnTo>
                <a:lnTo>
                  <a:pt x="1816" y="565"/>
                </a:lnTo>
                <a:lnTo>
                  <a:pt x="1817" y="562"/>
                </a:lnTo>
                <a:lnTo>
                  <a:pt x="1817" y="559"/>
                </a:lnTo>
                <a:lnTo>
                  <a:pt x="1819" y="556"/>
                </a:lnTo>
                <a:lnTo>
                  <a:pt x="1821" y="554"/>
                </a:lnTo>
                <a:lnTo>
                  <a:pt x="1824" y="551"/>
                </a:lnTo>
                <a:close/>
                <a:moveTo>
                  <a:pt x="1942" y="471"/>
                </a:moveTo>
                <a:lnTo>
                  <a:pt x="1945" y="469"/>
                </a:lnTo>
                <a:lnTo>
                  <a:pt x="1949" y="469"/>
                </a:lnTo>
                <a:lnTo>
                  <a:pt x="1952" y="469"/>
                </a:lnTo>
                <a:lnTo>
                  <a:pt x="1955" y="469"/>
                </a:lnTo>
                <a:lnTo>
                  <a:pt x="1958" y="471"/>
                </a:lnTo>
                <a:lnTo>
                  <a:pt x="1960" y="472"/>
                </a:lnTo>
                <a:lnTo>
                  <a:pt x="1962" y="475"/>
                </a:lnTo>
                <a:lnTo>
                  <a:pt x="1964" y="477"/>
                </a:lnTo>
                <a:lnTo>
                  <a:pt x="1965" y="480"/>
                </a:lnTo>
                <a:lnTo>
                  <a:pt x="1966" y="483"/>
                </a:lnTo>
                <a:lnTo>
                  <a:pt x="1966" y="486"/>
                </a:lnTo>
                <a:lnTo>
                  <a:pt x="1965" y="489"/>
                </a:lnTo>
                <a:lnTo>
                  <a:pt x="1964" y="492"/>
                </a:lnTo>
                <a:lnTo>
                  <a:pt x="1962" y="494"/>
                </a:lnTo>
                <a:lnTo>
                  <a:pt x="1960" y="496"/>
                </a:lnTo>
                <a:lnTo>
                  <a:pt x="1958" y="498"/>
                </a:lnTo>
                <a:lnTo>
                  <a:pt x="1954" y="499"/>
                </a:lnTo>
                <a:lnTo>
                  <a:pt x="1951" y="500"/>
                </a:lnTo>
                <a:lnTo>
                  <a:pt x="1948" y="500"/>
                </a:lnTo>
                <a:lnTo>
                  <a:pt x="1945" y="499"/>
                </a:lnTo>
                <a:lnTo>
                  <a:pt x="1942" y="498"/>
                </a:lnTo>
                <a:lnTo>
                  <a:pt x="1939" y="496"/>
                </a:lnTo>
                <a:lnTo>
                  <a:pt x="1937" y="494"/>
                </a:lnTo>
                <a:lnTo>
                  <a:pt x="1936" y="491"/>
                </a:lnTo>
                <a:lnTo>
                  <a:pt x="1934" y="488"/>
                </a:lnTo>
                <a:lnTo>
                  <a:pt x="1934" y="485"/>
                </a:lnTo>
                <a:lnTo>
                  <a:pt x="1934" y="483"/>
                </a:lnTo>
                <a:lnTo>
                  <a:pt x="1935" y="480"/>
                </a:lnTo>
                <a:lnTo>
                  <a:pt x="1936" y="477"/>
                </a:lnTo>
                <a:lnTo>
                  <a:pt x="1937" y="475"/>
                </a:lnTo>
                <a:lnTo>
                  <a:pt x="1939" y="472"/>
                </a:lnTo>
                <a:lnTo>
                  <a:pt x="1942" y="471"/>
                </a:lnTo>
                <a:close/>
                <a:moveTo>
                  <a:pt x="4755" y="1575"/>
                </a:moveTo>
                <a:lnTo>
                  <a:pt x="4758" y="1574"/>
                </a:lnTo>
                <a:lnTo>
                  <a:pt x="4761" y="1573"/>
                </a:lnTo>
                <a:lnTo>
                  <a:pt x="4764" y="1573"/>
                </a:lnTo>
                <a:lnTo>
                  <a:pt x="4767" y="1574"/>
                </a:lnTo>
                <a:lnTo>
                  <a:pt x="4770" y="1575"/>
                </a:lnTo>
                <a:lnTo>
                  <a:pt x="4773" y="1576"/>
                </a:lnTo>
                <a:lnTo>
                  <a:pt x="4775" y="1579"/>
                </a:lnTo>
                <a:lnTo>
                  <a:pt x="4777" y="1581"/>
                </a:lnTo>
                <a:lnTo>
                  <a:pt x="4778" y="1584"/>
                </a:lnTo>
                <a:lnTo>
                  <a:pt x="4779" y="1587"/>
                </a:lnTo>
                <a:lnTo>
                  <a:pt x="4779" y="1590"/>
                </a:lnTo>
                <a:lnTo>
                  <a:pt x="4778" y="1593"/>
                </a:lnTo>
                <a:lnTo>
                  <a:pt x="4777" y="1596"/>
                </a:lnTo>
                <a:lnTo>
                  <a:pt x="4775" y="1598"/>
                </a:lnTo>
                <a:lnTo>
                  <a:pt x="4773" y="1601"/>
                </a:lnTo>
                <a:lnTo>
                  <a:pt x="4771" y="1602"/>
                </a:lnTo>
                <a:lnTo>
                  <a:pt x="4768" y="1604"/>
                </a:lnTo>
                <a:lnTo>
                  <a:pt x="4765" y="1604"/>
                </a:lnTo>
                <a:lnTo>
                  <a:pt x="4762" y="1604"/>
                </a:lnTo>
                <a:lnTo>
                  <a:pt x="4759" y="1604"/>
                </a:lnTo>
                <a:lnTo>
                  <a:pt x="4756" y="1603"/>
                </a:lnTo>
                <a:lnTo>
                  <a:pt x="4753" y="1601"/>
                </a:lnTo>
                <a:lnTo>
                  <a:pt x="4751" y="1599"/>
                </a:lnTo>
                <a:lnTo>
                  <a:pt x="4749" y="1596"/>
                </a:lnTo>
                <a:lnTo>
                  <a:pt x="4748" y="1594"/>
                </a:lnTo>
                <a:lnTo>
                  <a:pt x="4747" y="1591"/>
                </a:lnTo>
                <a:lnTo>
                  <a:pt x="4747" y="1588"/>
                </a:lnTo>
                <a:lnTo>
                  <a:pt x="4748" y="1584"/>
                </a:lnTo>
                <a:lnTo>
                  <a:pt x="4749" y="1581"/>
                </a:lnTo>
                <a:lnTo>
                  <a:pt x="4751" y="1579"/>
                </a:lnTo>
                <a:lnTo>
                  <a:pt x="4753" y="1577"/>
                </a:lnTo>
                <a:lnTo>
                  <a:pt x="4755" y="1575"/>
                </a:lnTo>
                <a:close/>
                <a:moveTo>
                  <a:pt x="4617" y="1533"/>
                </a:moveTo>
                <a:lnTo>
                  <a:pt x="4620" y="1531"/>
                </a:lnTo>
                <a:lnTo>
                  <a:pt x="4624" y="1531"/>
                </a:lnTo>
                <a:lnTo>
                  <a:pt x="4627" y="1531"/>
                </a:lnTo>
                <a:lnTo>
                  <a:pt x="4630" y="1531"/>
                </a:lnTo>
                <a:lnTo>
                  <a:pt x="4633" y="1533"/>
                </a:lnTo>
                <a:lnTo>
                  <a:pt x="4636" y="1535"/>
                </a:lnTo>
                <a:lnTo>
                  <a:pt x="4638" y="1537"/>
                </a:lnTo>
                <a:lnTo>
                  <a:pt x="4639" y="1539"/>
                </a:lnTo>
                <a:lnTo>
                  <a:pt x="4640" y="1542"/>
                </a:lnTo>
                <a:lnTo>
                  <a:pt x="4641" y="1545"/>
                </a:lnTo>
                <a:lnTo>
                  <a:pt x="4641" y="1548"/>
                </a:lnTo>
                <a:lnTo>
                  <a:pt x="4640" y="1551"/>
                </a:lnTo>
                <a:lnTo>
                  <a:pt x="4639" y="1554"/>
                </a:lnTo>
                <a:lnTo>
                  <a:pt x="4637" y="1556"/>
                </a:lnTo>
                <a:lnTo>
                  <a:pt x="4635" y="1558"/>
                </a:lnTo>
                <a:lnTo>
                  <a:pt x="4633" y="1560"/>
                </a:lnTo>
                <a:lnTo>
                  <a:pt x="4630" y="1561"/>
                </a:lnTo>
                <a:lnTo>
                  <a:pt x="4627" y="1562"/>
                </a:lnTo>
                <a:lnTo>
                  <a:pt x="4624" y="1562"/>
                </a:lnTo>
                <a:lnTo>
                  <a:pt x="4620" y="1561"/>
                </a:lnTo>
                <a:lnTo>
                  <a:pt x="4617" y="1560"/>
                </a:lnTo>
                <a:lnTo>
                  <a:pt x="4615" y="1558"/>
                </a:lnTo>
                <a:lnTo>
                  <a:pt x="4613" y="1556"/>
                </a:lnTo>
                <a:lnTo>
                  <a:pt x="4611" y="1553"/>
                </a:lnTo>
                <a:lnTo>
                  <a:pt x="4610" y="1551"/>
                </a:lnTo>
                <a:lnTo>
                  <a:pt x="4610" y="1548"/>
                </a:lnTo>
                <a:lnTo>
                  <a:pt x="4610" y="1545"/>
                </a:lnTo>
                <a:lnTo>
                  <a:pt x="4610" y="1541"/>
                </a:lnTo>
                <a:lnTo>
                  <a:pt x="4612" y="1539"/>
                </a:lnTo>
                <a:lnTo>
                  <a:pt x="4613" y="1536"/>
                </a:lnTo>
                <a:lnTo>
                  <a:pt x="4615" y="1534"/>
                </a:lnTo>
                <a:lnTo>
                  <a:pt x="4617" y="1533"/>
                </a:lnTo>
                <a:close/>
                <a:moveTo>
                  <a:pt x="4482" y="1484"/>
                </a:moveTo>
                <a:lnTo>
                  <a:pt x="4485" y="1483"/>
                </a:lnTo>
                <a:lnTo>
                  <a:pt x="4488" y="1482"/>
                </a:lnTo>
                <a:lnTo>
                  <a:pt x="4492" y="1482"/>
                </a:lnTo>
                <a:lnTo>
                  <a:pt x="4495" y="1483"/>
                </a:lnTo>
                <a:lnTo>
                  <a:pt x="4498" y="1485"/>
                </a:lnTo>
                <a:lnTo>
                  <a:pt x="4500" y="1486"/>
                </a:lnTo>
                <a:lnTo>
                  <a:pt x="4502" y="1489"/>
                </a:lnTo>
                <a:lnTo>
                  <a:pt x="4504" y="1491"/>
                </a:lnTo>
                <a:lnTo>
                  <a:pt x="4505" y="1494"/>
                </a:lnTo>
                <a:lnTo>
                  <a:pt x="4505" y="1497"/>
                </a:lnTo>
                <a:lnTo>
                  <a:pt x="4505" y="1500"/>
                </a:lnTo>
                <a:lnTo>
                  <a:pt x="4504" y="1503"/>
                </a:lnTo>
                <a:lnTo>
                  <a:pt x="4503" y="1506"/>
                </a:lnTo>
                <a:lnTo>
                  <a:pt x="4501" y="1508"/>
                </a:lnTo>
                <a:lnTo>
                  <a:pt x="4500" y="1510"/>
                </a:lnTo>
                <a:lnTo>
                  <a:pt x="4497" y="1511"/>
                </a:lnTo>
                <a:lnTo>
                  <a:pt x="4494" y="1513"/>
                </a:lnTo>
                <a:lnTo>
                  <a:pt x="4491" y="1513"/>
                </a:lnTo>
                <a:lnTo>
                  <a:pt x="4487" y="1513"/>
                </a:lnTo>
                <a:lnTo>
                  <a:pt x="4484" y="1512"/>
                </a:lnTo>
                <a:lnTo>
                  <a:pt x="4481" y="1511"/>
                </a:lnTo>
                <a:lnTo>
                  <a:pt x="4479" y="1509"/>
                </a:lnTo>
                <a:lnTo>
                  <a:pt x="4477" y="1507"/>
                </a:lnTo>
                <a:lnTo>
                  <a:pt x="4475" y="1504"/>
                </a:lnTo>
                <a:lnTo>
                  <a:pt x="4474" y="1501"/>
                </a:lnTo>
                <a:lnTo>
                  <a:pt x="4474" y="1498"/>
                </a:lnTo>
                <a:lnTo>
                  <a:pt x="4474" y="1495"/>
                </a:lnTo>
                <a:lnTo>
                  <a:pt x="4475" y="1492"/>
                </a:lnTo>
                <a:lnTo>
                  <a:pt x="4476" y="1490"/>
                </a:lnTo>
                <a:lnTo>
                  <a:pt x="4478" y="1487"/>
                </a:lnTo>
                <a:lnTo>
                  <a:pt x="4480" y="1486"/>
                </a:lnTo>
                <a:lnTo>
                  <a:pt x="4482" y="1484"/>
                </a:lnTo>
                <a:close/>
                <a:moveTo>
                  <a:pt x="4349" y="1428"/>
                </a:moveTo>
                <a:lnTo>
                  <a:pt x="4352" y="1426"/>
                </a:lnTo>
                <a:lnTo>
                  <a:pt x="4356" y="1426"/>
                </a:lnTo>
                <a:lnTo>
                  <a:pt x="4360" y="1426"/>
                </a:lnTo>
                <a:lnTo>
                  <a:pt x="4364" y="1427"/>
                </a:lnTo>
                <a:lnTo>
                  <a:pt x="4366" y="1429"/>
                </a:lnTo>
                <a:lnTo>
                  <a:pt x="4369" y="1431"/>
                </a:lnTo>
                <a:lnTo>
                  <a:pt x="4370" y="1433"/>
                </a:lnTo>
                <a:lnTo>
                  <a:pt x="4372" y="1436"/>
                </a:lnTo>
                <a:lnTo>
                  <a:pt x="4372" y="1439"/>
                </a:lnTo>
                <a:lnTo>
                  <a:pt x="4373" y="1442"/>
                </a:lnTo>
                <a:lnTo>
                  <a:pt x="4372" y="1445"/>
                </a:lnTo>
                <a:lnTo>
                  <a:pt x="4371" y="1448"/>
                </a:lnTo>
                <a:lnTo>
                  <a:pt x="4370" y="1450"/>
                </a:lnTo>
                <a:lnTo>
                  <a:pt x="4368" y="1452"/>
                </a:lnTo>
                <a:lnTo>
                  <a:pt x="4367" y="1454"/>
                </a:lnTo>
                <a:lnTo>
                  <a:pt x="4365" y="1455"/>
                </a:lnTo>
                <a:lnTo>
                  <a:pt x="4361" y="1456"/>
                </a:lnTo>
                <a:lnTo>
                  <a:pt x="4358" y="1457"/>
                </a:lnTo>
                <a:lnTo>
                  <a:pt x="4354" y="1457"/>
                </a:lnTo>
                <a:lnTo>
                  <a:pt x="4350" y="1456"/>
                </a:lnTo>
                <a:lnTo>
                  <a:pt x="4348" y="1454"/>
                </a:lnTo>
                <a:lnTo>
                  <a:pt x="4345" y="1452"/>
                </a:lnTo>
                <a:lnTo>
                  <a:pt x="4343" y="1449"/>
                </a:lnTo>
                <a:lnTo>
                  <a:pt x="4342" y="1447"/>
                </a:lnTo>
                <a:lnTo>
                  <a:pt x="4341" y="1444"/>
                </a:lnTo>
                <a:lnTo>
                  <a:pt x="4341" y="1441"/>
                </a:lnTo>
                <a:lnTo>
                  <a:pt x="4342" y="1438"/>
                </a:lnTo>
                <a:lnTo>
                  <a:pt x="4343" y="1435"/>
                </a:lnTo>
                <a:lnTo>
                  <a:pt x="4344" y="1433"/>
                </a:lnTo>
                <a:lnTo>
                  <a:pt x="4345" y="1431"/>
                </a:lnTo>
                <a:lnTo>
                  <a:pt x="4347" y="1429"/>
                </a:lnTo>
                <a:lnTo>
                  <a:pt x="4349" y="1428"/>
                </a:lnTo>
                <a:close/>
                <a:moveTo>
                  <a:pt x="4221" y="1361"/>
                </a:moveTo>
                <a:lnTo>
                  <a:pt x="4225" y="1359"/>
                </a:lnTo>
                <a:lnTo>
                  <a:pt x="4229" y="1359"/>
                </a:lnTo>
                <a:lnTo>
                  <a:pt x="4233" y="1359"/>
                </a:lnTo>
                <a:lnTo>
                  <a:pt x="4237" y="1361"/>
                </a:lnTo>
                <a:lnTo>
                  <a:pt x="4240" y="1363"/>
                </a:lnTo>
                <a:lnTo>
                  <a:pt x="4242" y="1365"/>
                </a:lnTo>
                <a:lnTo>
                  <a:pt x="4243" y="1368"/>
                </a:lnTo>
                <a:lnTo>
                  <a:pt x="4244" y="1370"/>
                </a:lnTo>
                <a:lnTo>
                  <a:pt x="4245" y="1373"/>
                </a:lnTo>
                <a:lnTo>
                  <a:pt x="4245" y="1376"/>
                </a:lnTo>
                <a:lnTo>
                  <a:pt x="4244" y="1379"/>
                </a:lnTo>
                <a:lnTo>
                  <a:pt x="4243" y="1382"/>
                </a:lnTo>
                <a:lnTo>
                  <a:pt x="4240" y="1386"/>
                </a:lnTo>
                <a:lnTo>
                  <a:pt x="4237" y="1388"/>
                </a:lnTo>
                <a:lnTo>
                  <a:pt x="4233" y="1390"/>
                </a:lnTo>
                <a:lnTo>
                  <a:pt x="4229" y="1390"/>
                </a:lnTo>
                <a:lnTo>
                  <a:pt x="4225" y="1390"/>
                </a:lnTo>
                <a:lnTo>
                  <a:pt x="4221" y="1388"/>
                </a:lnTo>
                <a:lnTo>
                  <a:pt x="4219" y="1386"/>
                </a:lnTo>
                <a:lnTo>
                  <a:pt x="4217" y="1384"/>
                </a:lnTo>
                <a:lnTo>
                  <a:pt x="4215" y="1382"/>
                </a:lnTo>
                <a:lnTo>
                  <a:pt x="4214" y="1379"/>
                </a:lnTo>
                <a:lnTo>
                  <a:pt x="4214" y="1376"/>
                </a:lnTo>
                <a:lnTo>
                  <a:pt x="4214" y="1373"/>
                </a:lnTo>
                <a:lnTo>
                  <a:pt x="4214" y="1370"/>
                </a:lnTo>
                <a:lnTo>
                  <a:pt x="4216" y="1367"/>
                </a:lnTo>
                <a:lnTo>
                  <a:pt x="4218" y="1363"/>
                </a:lnTo>
                <a:lnTo>
                  <a:pt x="4221" y="1361"/>
                </a:lnTo>
                <a:close/>
                <a:moveTo>
                  <a:pt x="4096" y="1290"/>
                </a:moveTo>
                <a:lnTo>
                  <a:pt x="4100" y="1288"/>
                </a:lnTo>
                <a:lnTo>
                  <a:pt x="4104" y="1288"/>
                </a:lnTo>
                <a:lnTo>
                  <a:pt x="4108" y="1288"/>
                </a:lnTo>
                <a:lnTo>
                  <a:pt x="4112" y="1290"/>
                </a:lnTo>
                <a:lnTo>
                  <a:pt x="4114" y="1292"/>
                </a:lnTo>
                <a:lnTo>
                  <a:pt x="4116" y="1294"/>
                </a:lnTo>
                <a:lnTo>
                  <a:pt x="4118" y="1297"/>
                </a:lnTo>
                <a:lnTo>
                  <a:pt x="4119" y="1299"/>
                </a:lnTo>
                <a:lnTo>
                  <a:pt x="4120" y="1302"/>
                </a:lnTo>
                <a:lnTo>
                  <a:pt x="4120" y="1305"/>
                </a:lnTo>
                <a:lnTo>
                  <a:pt x="4119" y="1308"/>
                </a:lnTo>
                <a:lnTo>
                  <a:pt x="4118" y="1311"/>
                </a:lnTo>
                <a:lnTo>
                  <a:pt x="4115" y="1315"/>
                </a:lnTo>
                <a:lnTo>
                  <a:pt x="4112" y="1317"/>
                </a:lnTo>
                <a:lnTo>
                  <a:pt x="4108" y="1319"/>
                </a:lnTo>
                <a:lnTo>
                  <a:pt x="4104" y="1319"/>
                </a:lnTo>
                <a:lnTo>
                  <a:pt x="4100" y="1319"/>
                </a:lnTo>
                <a:lnTo>
                  <a:pt x="4096" y="1317"/>
                </a:lnTo>
                <a:lnTo>
                  <a:pt x="4094" y="1315"/>
                </a:lnTo>
                <a:lnTo>
                  <a:pt x="4092" y="1313"/>
                </a:lnTo>
                <a:lnTo>
                  <a:pt x="4090" y="1311"/>
                </a:lnTo>
                <a:lnTo>
                  <a:pt x="4089" y="1308"/>
                </a:lnTo>
                <a:lnTo>
                  <a:pt x="4088" y="1305"/>
                </a:lnTo>
                <a:lnTo>
                  <a:pt x="4088" y="1302"/>
                </a:lnTo>
                <a:lnTo>
                  <a:pt x="4089" y="1299"/>
                </a:lnTo>
                <a:lnTo>
                  <a:pt x="4090" y="1296"/>
                </a:lnTo>
                <a:lnTo>
                  <a:pt x="4093" y="1293"/>
                </a:lnTo>
                <a:lnTo>
                  <a:pt x="4096" y="1290"/>
                </a:lnTo>
                <a:close/>
                <a:moveTo>
                  <a:pt x="3969" y="1220"/>
                </a:moveTo>
                <a:lnTo>
                  <a:pt x="3973" y="1218"/>
                </a:lnTo>
                <a:lnTo>
                  <a:pt x="3977" y="1218"/>
                </a:lnTo>
                <a:lnTo>
                  <a:pt x="3979" y="1218"/>
                </a:lnTo>
                <a:lnTo>
                  <a:pt x="3981" y="1218"/>
                </a:lnTo>
                <a:lnTo>
                  <a:pt x="3985" y="1220"/>
                </a:lnTo>
                <a:lnTo>
                  <a:pt x="3987" y="1222"/>
                </a:lnTo>
                <a:lnTo>
                  <a:pt x="3989" y="1224"/>
                </a:lnTo>
                <a:lnTo>
                  <a:pt x="3991" y="1226"/>
                </a:lnTo>
                <a:lnTo>
                  <a:pt x="3992" y="1229"/>
                </a:lnTo>
                <a:lnTo>
                  <a:pt x="3993" y="1232"/>
                </a:lnTo>
                <a:lnTo>
                  <a:pt x="3993" y="1235"/>
                </a:lnTo>
                <a:lnTo>
                  <a:pt x="3992" y="1238"/>
                </a:lnTo>
                <a:lnTo>
                  <a:pt x="3991" y="1241"/>
                </a:lnTo>
                <a:lnTo>
                  <a:pt x="3988" y="1245"/>
                </a:lnTo>
                <a:lnTo>
                  <a:pt x="3985" y="1247"/>
                </a:lnTo>
                <a:lnTo>
                  <a:pt x="3981" y="1249"/>
                </a:lnTo>
                <a:lnTo>
                  <a:pt x="3977" y="1249"/>
                </a:lnTo>
                <a:lnTo>
                  <a:pt x="3975" y="1249"/>
                </a:lnTo>
                <a:lnTo>
                  <a:pt x="3973" y="1249"/>
                </a:lnTo>
                <a:lnTo>
                  <a:pt x="3970" y="1247"/>
                </a:lnTo>
                <a:lnTo>
                  <a:pt x="3967" y="1245"/>
                </a:lnTo>
                <a:lnTo>
                  <a:pt x="3965" y="1243"/>
                </a:lnTo>
                <a:lnTo>
                  <a:pt x="3963" y="1241"/>
                </a:lnTo>
                <a:lnTo>
                  <a:pt x="3962" y="1238"/>
                </a:lnTo>
                <a:lnTo>
                  <a:pt x="3962" y="1235"/>
                </a:lnTo>
                <a:lnTo>
                  <a:pt x="3962" y="1232"/>
                </a:lnTo>
                <a:lnTo>
                  <a:pt x="3962" y="1229"/>
                </a:lnTo>
                <a:lnTo>
                  <a:pt x="3963" y="1226"/>
                </a:lnTo>
                <a:lnTo>
                  <a:pt x="3966" y="1223"/>
                </a:lnTo>
                <a:lnTo>
                  <a:pt x="3969" y="1220"/>
                </a:lnTo>
                <a:close/>
                <a:moveTo>
                  <a:pt x="3843" y="1151"/>
                </a:moveTo>
                <a:lnTo>
                  <a:pt x="3846" y="1150"/>
                </a:lnTo>
                <a:lnTo>
                  <a:pt x="3850" y="1149"/>
                </a:lnTo>
                <a:lnTo>
                  <a:pt x="3852" y="1149"/>
                </a:lnTo>
                <a:lnTo>
                  <a:pt x="3854" y="1150"/>
                </a:lnTo>
                <a:lnTo>
                  <a:pt x="3858" y="1151"/>
                </a:lnTo>
                <a:lnTo>
                  <a:pt x="3861" y="1153"/>
                </a:lnTo>
                <a:lnTo>
                  <a:pt x="3863" y="1155"/>
                </a:lnTo>
                <a:lnTo>
                  <a:pt x="3864" y="1157"/>
                </a:lnTo>
                <a:lnTo>
                  <a:pt x="3866" y="1160"/>
                </a:lnTo>
                <a:lnTo>
                  <a:pt x="3866" y="1163"/>
                </a:lnTo>
                <a:lnTo>
                  <a:pt x="3866" y="1166"/>
                </a:lnTo>
                <a:lnTo>
                  <a:pt x="3866" y="1169"/>
                </a:lnTo>
                <a:lnTo>
                  <a:pt x="3864" y="1172"/>
                </a:lnTo>
                <a:lnTo>
                  <a:pt x="3862" y="1176"/>
                </a:lnTo>
                <a:lnTo>
                  <a:pt x="3858" y="1178"/>
                </a:lnTo>
                <a:lnTo>
                  <a:pt x="3855" y="1180"/>
                </a:lnTo>
                <a:lnTo>
                  <a:pt x="3851" y="1180"/>
                </a:lnTo>
                <a:lnTo>
                  <a:pt x="3849" y="1180"/>
                </a:lnTo>
                <a:lnTo>
                  <a:pt x="3847" y="1180"/>
                </a:lnTo>
                <a:lnTo>
                  <a:pt x="3843" y="1179"/>
                </a:lnTo>
                <a:lnTo>
                  <a:pt x="3841" y="1177"/>
                </a:lnTo>
                <a:lnTo>
                  <a:pt x="3838" y="1175"/>
                </a:lnTo>
                <a:lnTo>
                  <a:pt x="3837" y="1172"/>
                </a:lnTo>
                <a:lnTo>
                  <a:pt x="3836" y="1169"/>
                </a:lnTo>
                <a:lnTo>
                  <a:pt x="3835" y="1166"/>
                </a:lnTo>
                <a:lnTo>
                  <a:pt x="3835" y="1163"/>
                </a:lnTo>
                <a:lnTo>
                  <a:pt x="3836" y="1160"/>
                </a:lnTo>
                <a:lnTo>
                  <a:pt x="3837" y="1157"/>
                </a:lnTo>
                <a:lnTo>
                  <a:pt x="3839" y="1154"/>
                </a:lnTo>
                <a:lnTo>
                  <a:pt x="3843" y="1151"/>
                </a:lnTo>
                <a:close/>
                <a:moveTo>
                  <a:pt x="3715" y="1084"/>
                </a:moveTo>
                <a:lnTo>
                  <a:pt x="3717" y="1083"/>
                </a:lnTo>
                <a:lnTo>
                  <a:pt x="3719" y="1083"/>
                </a:lnTo>
                <a:lnTo>
                  <a:pt x="3723" y="1082"/>
                </a:lnTo>
                <a:lnTo>
                  <a:pt x="3726" y="1083"/>
                </a:lnTo>
                <a:lnTo>
                  <a:pt x="3730" y="1084"/>
                </a:lnTo>
                <a:lnTo>
                  <a:pt x="3733" y="1086"/>
                </a:lnTo>
                <a:lnTo>
                  <a:pt x="3735" y="1088"/>
                </a:lnTo>
                <a:lnTo>
                  <a:pt x="3737" y="1090"/>
                </a:lnTo>
                <a:lnTo>
                  <a:pt x="3738" y="1093"/>
                </a:lnTo>
                <a:lnTo>
                  <a:pt x="3739" y="1099"/>
                </a:lnTo>
                <a:lnTo>
                  <a:pt x="3738" y="1102"/>
                </a:lnTo>
                <a:lnTo>
                  <a:pt x="3737" y="1105"/>
                </a:lnTo>
                <a:lnTo>
                  <a:pt x="3736" y="1107"/>
                </a:lnTo>
                <a:lnTo>
                  <a:pt x="3734" y="1109"/>
                </a:lnTo>
                <a:lnTo>
                  <a:pt x="3731" y="1111"/>
                </a:lnTo>
                <a:lnTo>
                  <a:pt x="3729" y="1112"/>
                </a:lnTo>
                <a:lnTo>
                  <a:pt x="3727" y="1113"/>
                </a:lnTo>
                <a:lnTo>
                  <a:pt x="3724" y="1114"/>
                </a:lnTo>
                <a:lnTo>
                  <a:pt x="3720" y="1113"/>
                </a:lnTo>
                <a:lnTo>
                  <a:pt x="3716" y="1112"/>
                </a:lnTo>
                <a:lnTo>
                  <a:pt x="3713" y="1110"/>
                </a:lnTo>
                <a:lnTo>
                  <a:pt x="3711" y="1108"/>
                </a:lnTo>
                <a:lnTo>
                  <a:pt x="3709" y="1105"/>
                </a:lnTo>
                <a:lnTo>
                  <a:pt x="3708" y="1103"/>
                </a:lnTo>
                <a:lnTo>
                  <a:pt x="3707" y="1097"/>
                </a:lnTo>
                <a:lnTo>
                  <a:pt x="3708" y="1094"/>
                </a:lnTo>
                <a:lnTo>
                  <a:pt x="3709" y="1091"/>
                </a:lnTo>
                <a:lnTo>
                  <a:pt x="3710" y="1089"/>
                </a:lnTo>
                <a:lnTo>
                  <a:pt x="3712" y="1087"/>
                </a:lnTo>
                <a:lnTo>
                  <a:pt x="3715" y="1084"/>
                </a:lnTo>
                <a:close/>
                <a:moveTo>
                  <a:pt x="3587" y="1020"/>
                </a:moveTo>
                <a:lnTo>
                  <a:pt x="3588" y="1019"/>
                </a:lnTo>
                <a:lnTo>
                  <a:pt x="3590" y="1018"/>
                </a:lnTo>
                <a:lnTo>
                  <a:pt x="3594" y="1018"/>
                </a:lnTo>
                <a:lnTo>
                  <a:pt x="3597" y="1018"/>
                </a:lnTo>
                <a:lnTo>
                  <a:pt x="3601" y="1019"/>
                </a:lnTo>
                <a:lnTo>
                  <a:pt x="3604" y="1021"/>
                </a:lnTo>
                <a:lnTo>
                  <a:pt x="3606" y="1023"/>
                </a:lnTo>
                <a:lnTo>
                  <a:pt x="3608" y="1026"/>
                </a:lnTo>
                <a:lnTo>
                  <a:pt x="3609" y="1028"/>
                </a:lnTo>
                <a:lnTo>
                  <a:pt x="3610" y="1031"/>
                </a:lnTo>
                <a:lnTo>
                  <a:pt x="3610" y="1034"/>
                </a:lnTo>
                <a:lnTo>
                  <a:pt x="3610" y="1037"/>
                </a:lnTo>
                <a:lnTo>
                  <a:pt x="3608" y="1040"/>
                </a:lnTo>
                <a:lnTo>
                  <a:pt x="3607" y="1042"/>
                </a:lnTo>
                <a:lnTo>
                  <a:pt x="3606" y="1044"/>
                </a:lnTo>
                <a:lnTo>
                  <a:pt x="3604" y="1046"/>
                </a:lnTo>
                <a:lnTo>
                  <a:pt x="3602" y="1047"/>
                </a:lnTo>
                <a:lnTo>
                  <a:pt x="3601" y="1048"/>
                </a:lnTo>
                <a:lnTo>
                  <a:pt x="3599" y="1049"/>
                </a:lnTo>
                <a:lnTo>
                  <a:pt x="3595" y="1049"/>
                </a:lnTo>
                <a:lnTo>
                  <a:pt x="3591" y="1049"/>
                </a:lnTo>
                <a:lnTo>
                  <a:pt x="3588" y="1048"/>
                </a:lnTo>
                <a:lnTo>
                  <a:pt x="3585" y="1046"/>
                </a:lnTo>
                <a:lnTo>
                  <a:pt x="3583" y="1044"/>
                </a:lnTo>
                <a:lnTo>
                  <a:pt x="3581" y="1041"/>
                </a:lnTo>
                <a:lnTo>
                  <a:pt x="3580" y="1039"/>
                </a:lnTo>
                <a:lnTo>
                  <a:pt x="3579" y="1036"/>
                </a:lnTo>
                <a:lnTo>
                  <a:pt x="3579" y="1033"/>
                </a:lnTo>
                <a:lnTo>
                  <a:pt x="3579" y="1030"/>
                </a:lnTo>
                <a:lnTo>
                  <a:pt x="3580" y="1027"/>
                </a:lnTo>
                <a:lnTo>
                  <a:pt x="3581" y="1025"/>
                </a:lnTo>
                <a:lnTo>
                  <a:pt x="3583" y="1023"/>
                </a:lnTo>
                <a:lnTo>
                  <a:pt x="3585" y="1021"/>
                </a:lnTo>
                <a:lnTo>
                  <a:pt x="3587" y="1020"/>
                </a:lnTo>
                <a:close/>
                <a:moveTo>
                  <a:pt x="1349" y="2220"/>
                </a:moveTo>
                <a:lnTo>
                  <a:pt x="1352" y="2219"/>
                </a:lnTo>
                <a:lnTo>
                  <a:pt x="1355" y="2218"/>
                </a:lnTo>
                <a:lnTo>
                  <a:pt x="1359" y="2218"/>
                </a:lnTo>
                <a:lnTo>
                  <a:pt x="1362" y="2219"/>
                </a:lnTo>
                <a:lnTo>
                  <a:pt x="1364" y="2220"/>
                </a:lnTo>
                <a:lnTo>
                  <a:pt x="1367" y="2222"/>
                </a:lnTo>
                <a:lnTo>
                  <a:pt x="1369" y="2224"/>
                </a:lnTo>
                <a:lnTo>
                  <a:pt x="1371" y="2226"/>
                </a:lnTo>
                <a:lnTo>
                  <a:pt x="1372" y="2229"/>
                </a:lnTo>
                <a:lnTo>
                  <a:pt x="1373" y="2232"/>
                </a:lnTo>
                <a:lnTo>
                  <a:pt x="1373" y="2235"/>
                </a:lnTo>
                <a:lnTo>
                  <a:pt x="1372" y="2238"/>
                </a:lnTo>
                <a:lnTo>
                  <a:pt x="1371" y="2241"/>
                </a:lnTo>
                <a:lnTo>
                  <a:pt x="1370" y="2243"/>
                </a:lnTo>
                <a:lnTo>
                  <a:pt x="1367" y="2246"/>
                </a:lnTo>
                <a:lnTo>
                  <a:pt x="1365" y="2247"/>
                </a:lnTo>
                <a:lnTo>
                  <a:pt x="1362" y="2249"/>
                </a:lnTo>
                <a:lnTo>
                  <a:pt x="1359" y="2249"/>
                </a:lnTo>
                <a:lnTo>
                  <a:pt x="1356" y="2249"/>
                </a:lnTo>
                <a:lnTo>
                  <a:pt x="1353" y="2249"/>
                </a:lnTo>
                <a:lnTo>
                  <a:pt x="1350" y="2248"/>
                </a:lnTo>
                <a:lnTo>
                  <a:pt x="1347" y="2246"/>
                </a:lnTo>
                <a:lnTo>
                  <a:pt x="1345" y="2244"/>
                </a:lnTo>
                <a:lnTo>
                  <a:pt x="1343" y="2241"/>
                </a:lnTo>
                <a:lnTo>
                  <a:pt x="1342" y="2238"/>
                </a:lnTo>
                <a:lnTo>
                  <a:pt x="1341" y="2235"/>
                </a:lnTo>
                <a:lnTo>
                  <a:pt x="1341" y="2232"/>
                </a:lnTo>
                <a:lnTo>
                  <a:pt x="1342" y="2230"/>
                </a:lnTo>
                <a:lnTo>
                  <a:pt x="1343" y="2227"/>
                </a:lnTo>
                <a:lnTo>
                  <a:pt x="1345" y="2224"/>
                </a:lnTo>
                <a:lnTo>
                  <a:pt x="1347" y="2222"/>
                </a:lnTo>
                <a:lnTo>
                  <a:pt x="1349" y="2220"/>
                </a:lnTo>
                <a:close/>
                <a:moveTo>
                  <a:pt x="1473" y="2148"/>
                </a:moveTo>
                <a:lnTo>
                  <a:pt x="1476" y="2146"/>
                </a:lnTo>
                <a:lnTo>
                  <a:pt x="1479" y="2146"/>
                </a:lnTo>
                <a:lnTo>
                  <a:pt x="1482" y="2146"/>
                </a:lnTo>
                <a:lnTo>
                  <a:pt x="1485" y="2146"/>
                </a:lnTo>
                <a:lnTo>
                  <a:pt x="1488" y="2147"/>
                </a:lnTo>
                <a:lnTo>
                  <a:pt x="1490" y="2148"/>
                </a:lnTo>
                <a:lnTo>
                  <a:pt x="1493" y="2150"/>
                </a:lnTo>
                <a:lnTo>
                  <a:pt x="1494" y="2153"/>
                </a:lnTo>
                <a:lnTo>
                  <a:pt x="1496" y="2156"/>
                </a:lnTo>
                <a:lnTo>
                  <a:pt x="1497" y="2159"/>
                </a:lnTo>
                <a:lnTo>
                  <a:pt x="1497" y="2162"/>
                </a:lnTo>
                <a:lnTo>
                  <a:pt x="1497" y="2165"/>
                </a:lnTo>
                <a:lnTo>
                  <a:pt x="1496" y="2168"/>
                </a:lnTo>
                <a:lnTo>
                  <a:pt x="1494" y="2170"/>
                </a:lnTo>
                <a:lnTo>
                  <a:pt x="1492" y="2173"/>
                </a:lnTo>
                <a:lnTo>
                  <a:pt x="1490" y="2174"/>
                </a:lnTo>
                <a:lnTo>
                  <a:pt x="1487" y="2176"/>
                </a:lnTo>
                <a:lnTo>
                  <a:pt x="1484" y="2177"/>
                </a:lnTo>
                <a:lnTo>
                  <a:pt x="1481" y="2177"/>
                </a:lnTo>
                <a:lnTo>
                  <a:pt x="1478" y="2176"/>
                </a:lnTo>
                <a:lnTo>
                  <a:pt x="1475" y="2175"/>
                </a:lnTo>
                <a:lnTo>
                  <a:pt x="1472" y="2174"/>
                </a:lnTo>
                <a:lnTo>
                  <a:pt x="1470" y="2172"/>
                </a:lnTo>
                <a:lnTo>
                  <a:pt x="1468" y="2170"/>
                </a:lnTo>
                <a:lnTo>
                  <a:pt x="1467" y="2167"/>
                </a:lnTo>
                <a:lnTo>
                  <a:pt x="1466" y="2164"/>
                </a:lnTo>
                <a:lnTo>
                  <a:pt x="1466" y="2161"/>
                </a:lnTo>
                <a:lnTo>
                  <a:pt x="1466" y="2158"/>
                </a:lnTo>
                <a:lnTo>
                  <a:pt x="1467" y="2155"/>
                </a:lnTo>
                <a:lnTo>
                  <a:pt x="1468" y="2152"/>
                </a:lnTo>
                <a:lnTo>
                  <a:pt x="1470" y="2150"/>
                </a:lnTo>
                <a:lnTo>
                  <a:pt x="1473" y="2148"/>
                </a:lnTo>
                <a:close/>
                <a:moveTo>
                  <a:pt x="1099" y="2362"/>
                </a:moveTo>
                <a:lnTo>
                  <a:pt x="1102" y="2361"/>
                </a:lnTo>
                <a:lnTo>
                  <a:pt x="1105" y="2360"/>
                </a:lnTo>
                <a:lnTo>
                  <a:pt x="1108" y="2360"/>
                </a:lnTo>
                <a:lnTo>
                  <a:pt x="1110" y="2361"/>
                </a:lnTo>
                <a:lnTo>
                  <a:pt x="1113" y="2362"/>
                </a:lnTo>
                <a:lnTo>
                  <a:pt x="1116" y="2363"/>
                </a:lnTo>
                <a:lnTo>
                  <a:pt x="1118" y="2365"/>
                </a:lnTo>
                <a:lnTo>
                  <a:pt x="1120" y="2367"/>
                </a:lnTo>
                <a:lnTo>
                  <a:pt x="1121" y="2369"/>
                </a:lnTo>
                <a:lnTo>
                  <a:pt x="1122" y="2371"/>
                </a:lnTo>
                <a:lnTo>
                  <a:pt x="1123" y="2375"/>
                </a:lnTo>
                <a:lnTo>
                  <a:pt x="1122" y="2379"/>
                </a:lnTo>
                <a:lnTo>
                  <a:pt x="1121" y="2383"/>
                </a:lnTo>
                <a:lnTo>
                  <a:pt x="1093" y="2383"/>
                </a:lnTo>
                <a:lnTo>
                  <a:pt x="1092" y="2380"/>
                </a:lnTo>
                <a:lnTo>
                  <a:pt x="1091" y="2378"/>
                </a:lnTo>
                <a:lnTo>
                  <a:pt x="1091" y="2375"/>
                </a:lnTo>
                <a:lnTo>
                  <a:pt x="1092" y="2372"/>
                </a:lnTo>
                <a:lnTo>
                  <a:pt x="1093" y="2369"/>
                </a:lnTo>
                <a:lnTo>
                  <a:pt x="1094" y="2367"/>
                </a:lnTo>
                <a:lnTo>
                  <a:pt x="1096" y="2365"/>
                </a:lnTo>
                <a:lnTo>
                  <a:pt x="1098" y="2363"/>
                </a:lnTo>
                <a:lnTo>
                  <a:pt x="1099" y="2362"/>
                </a:lnTo>
                <a:close/>
                <a:moveTo>
                  <a:pt x="1222" y="2288"/>
                </a:moveTo>
                <a:lnTo>
                  <a:pt x="1225" y="2286"/>
                </a:lnTo>
                <a:lnTo>
                  <a:pt x="1228" y="2286"/>
                </a:lnTo>
                <a:lnTo>
                  <a:pt x="1231" y="2286"/>
                </a:lnTo>
                <a:lnTo>
                  <a:pt x="1234" y="2286"/>
                </a:lnTo>
                <a:lnTo>
                  <a:pt x="1237" y="2287"/>
                </a:lnTo>
                <a:lnTo>
                  <a:pt x="1240" y="2289"/>
                </a:lnTo>
                <a:lnTo>
                  <a:pt x="1242" y="2291"/>
                </a:lnTo>
                <a:lnTo>
                  <a:pt x="1244" y="2294"/>
                </a:lnTo>
                <a:lnTo>
                  <a:pt x="1245" y="2297"/>
                </a:lnTo>
                <a:lnTo>
                  <a:pt x="1245" y="2300"/>
                </a:lnTo>
                <a:lnTo>
                  <a:pt x="1246" y="2303"/>
                </a:lnTo>
                <a:lnTo>
                  <a:pt x="1245" y="2305"/>
                </a:lnTo>
                <a:lnTo>
                  <a:pt x="1244" y="2308"/>
                </a:lnTo>
                <a:lnTo>
                  <a:pt x="1242" y="2311"/>
                </a:lnTo>
                <a:lnTo>
                  <a:pt x="1240" y="2313"/>
                </a:lnTo>
                <a:lnTo>
                  <a:pt x="1238" y="2315"/>
                </a:lnTo>
                <a:lnTo>
                  <a:pt x="1235" y="2316"/>
                </a:lnTo>
                <a:lnTo>
                  <a:pt x="1232" y="2317"/>
                </a:lnTo>
                <a:lnTo>
                  <a:pt x="1229" y="2317"/>
                </a:lnTo>
                <a:lnTo>
                  <a:pt x="1226" y="2316"/>
                </a:lnTo>
                <a:lnTo>
                  <a:pt x="1223" y="2315"/>
                </a:lnTo>
                <a:lnTo>
                  <a:pt x="1220" y="2314"/>
                </a:lnTo>
                <a:lnTo>
                  <a:pt x="1218" y="2312"/>
                </a:lnTo>
                <a:lnTo>
                  <a:pt x="1216" y="2309"/>
                </a:lnTo>
                <a:lnTo>
                  <a:pt x="1215" y="2306"/>
                </a:lnTo>
                <a:lnTo>
                  <a:pt x="1214" y="2303"/>
                </a:lnTo>
                <a:lnTo>
                  <a:pt x="1214" y="2300"/>
                </a:lnTo>
                <a:lnTo>
                  <a:pt x="1215" y="2297"/>
                </a:lnTo>
                <a:lnTo>
                  <a:pt x="1216" y="2294"/>
                </a:lnTo>
                <a:lnTo>
                  <a:pt x="1217" y="2292"/>
                </a:lnTo>
                <a:lnTo>
                  <a:pt x="1219" y="2290"/>
                </a:lnTo>
                <a:lnTo>
                  <a:pt x="1222" y="2288"/>
                </a:lnTo>
                <a:close/>
                <a:moveTo>
                  <a:pt x="1591" y="2066"/>
                </a:moveTo>
                <a:lnTo>
                  <a:pt x="1594" y="2064"/>
                </a:lnTo>
                <a:lnTo>
                  <a:pt x="1597" y="2064"/>
                </a:lnTo>
                <a:lnTo>
                  <a:pt x="1602" y="2064"/>
                </a:lnTo>
                <a:lnTo>
                  <a:pt x="1605" y="2065"/>
                </a:lnTo>
                <a:lnTo>
                  <a:pt x="1607" y="2066"/>
                </a:lnTo>
                <a:lnTo>
                  <a:pt x="1610" y="2067"/>
                </a:lnTo>
                <a:lnTo>
                  <a:pt x="1611" y="2069"/>
                </a:lnTo>
                <a:lnTo>
                  <a:pt x="1612" y="2070"/>
                </a:lnTo>
                <a:lnTo>
                  <a:pt x="1613" y="2072"/>
                </a:lnTo>
                <a:lnTo>
                  <a:pt x="1614" y="2075"/>
                </a:lnTo>
                <a:lnTo>
                  <a:pt x="1615" y="2078"/>
                </a:lnTo>
                <a:lnTo>
                  <a:pt x="1615" y="2081"/>
                </a:lnTo>
                <a:lnTo>
                  <a:pt x="1614" y="2084"/>
                </a:lnTo>
                <a:lnTo>
                  <a:pt x="1613" y="2087"/>
                </a:lnTo>
                <a:lnTo>
                  <a:pt x="1611" y="2089"/>
                </a:lnTo>
                <a:lnTo>
                  <a:pt x="1609" y="2092"/>
                </a:lnTo>
                <a:lnTo>
                  <a:pt x="1607" y="2093"/>
                </a:lnTo>
                <a:lnTo>
                  <a:pt x="1604" y="2094"/>
                </a:lnTo>
                <a:lnTo>
                  <a:pt x="1602" y="2095"/>
                </a:lnTo>
                <a:lnTo>
                  <a:pt x="1596" y="2095"/>
                </a:lnTo>
                <a:lnTo>
                  <a:pt x="1593" y="2094"/>
                </a:lnTo>
                <a:lnTo>
                  <a:pt x="1591" y="2093"/>
                </a:lnTo>
                <a:lnTo>
                  <a:pt x="1589" y="2091"/>
                </a:lnTo>
                <a:lnTo>
                  <a:pt x="1588" y="2090"/>
                </a:lnTo>
                <a:lnTo>
                  <a:pt x="1587" y="2089"/>
                </a:lnTo>
                <a:lnTo>
                  <a:pt x="1585" y="2086"/>
                </a:lnTo>
                <a:lnTo>
                  <a:pt x="1584" y="2083"/>
                </a:lnTo>
                <a:lnTo>
                  <a:pt x="1583" y="2080"/>
                </a:lnTo>
                <a:lnTo>
                  <a:pt x="1584" y="2077"/>
                </a:lnTo>
                <a:lnTo>
                  <a:pt x="1584" y="2074"/>
                </a:lnTo>
                <a:lnTo>
                  <a:pt x="1585" y="2071"/>
                </a:lnTo>
                <a:lnTo>
                  <a:pt x="1587" y="2069"/>
                </a:lnTo>
                <a:lnTo>
                  <a:pt x="1590" y="2067"/>
                </a:lnTo>
                <a:lnTo>
                  <a:pt x="1591" y="2066"/>
                </a:lnTo>
                <a:close/>
                <a:moveTo>
                  <a:pt x="3456" y="959"/>
                </a:moveTo>
                <a:lnTo>
                  <a:pt x="3460" y="957"/>
                </a:lnTo>
                <a:lnTo>
                  <a:pt x="3463" y="957"/>
                </a:lnTo>
                <a:lnTo>
                  <a:pt x="3467" y="957"/>
                </a:lnTo>
                <a:lnTo>
                  <a:pt x="3469" y="957"/>
                </a:lnTo>
                <a:lnTo>
                  <a:pt x="3471" y="958"/>
                </a:lnTo>
                <a:lnTo>
                  <a:pt x="3473" y="960"/>
                </a:lnTo>
                <a:lnTo>
                  <a:pt x="3476" y="962"/>
                </a:lnTo>
                <a:lnTo>
                  <a:pt x="3477" y="964"/>
                </a:lnTo>
                <a:lnTo>
                  <a:pt x="3479" y="967"/>
                </a:lnTo>
                <a:lnTo>
                  <a:pt x="3480" y="970"/>
                </a:lnTo>
                <a:lnTo>
                  <a:pt x="3480" y="973"/>
                </a:lnTo>
                <a:lnTo>
                  <a:pt x="3479" y="976"/>
                </a:lnTo>
                <a:lnTo>
                  <a:pt x="3478" y="979"/>
                </a:lnTo>
                <a:lnTo>
                  <a:pt x="3476" y="983"/>
                </a:lnTo>
                <a:lnTo>
                  <a:pt x="3474" y="984"/>
                </a:lnTo>
                <a:lnTo>
                  <a:pt x="3472" y="986"/>
                </a:lnTo>
                <a:lnTo>
                  <a:pt x="3469" y="987"/>
                </a:lnTo>
                <a:lnTo>
                  <a:pt x="3465" y="988"/>
                </a:lnTo>
                <a:lnTo>
                  <a:pt x="3461" y="988"/>
                </a:lnTo>
                <a:lnTo>
                  <a:pt x="3459" y="987"/>
                </a:lnTo>
                <a:lnTo>
                  <a:pt x="3458" y="987"/>
                </a:lnTo>
                <a:lnTo>
                  <a:pt x="3455" y="985"/>
                </a:lnTo>
                <a:lnTo>
                  <a:pt x="3453" y="983"/>
                </a:lnTo>
                <a:lnTo>
                  <a:pt x="3451" y="980"/>
                </a:lnTo>
                <a:lnTo>
                  <a:pt x="3449" y="978"/>
                </a:lnTo>
                <a:lnTo>
                  <a:pt x="3449" y="975"/>
                </a:lnTo>
                <a:lnTo>
                  <a:pt x="3448" y="972"/>
                </a:lnTo>
                <a:lnTo>
                  <a:pt x="3449" y="969"/>
                </a:lnTo>
                <a:lnTo>
                  <a:pt x="3450" y="966"/>
                </a:lnTo>
                <a:lnTo>
                  <a:pt x="3452" y="962"/>
                </a:lnTo>
                <a:lnTo>
                  <a:pt x="3454" y="960"/>
                </a:lnTo>
                <a:lnTo>
                  <a:pt x="3456" y="959"/>
                </a:lnTo>
                <a:close/>
                <a:moveTo>
                  <a:pt x="1700" y="1972"/>
                </a:moveTo>
                <a:lnTo>
                  <a:pt x="1702" y="1971"/>
                </a:lnTo>
                <a:lnTo>
                  <a:pt x="1705" y="1970"/>
                </a:lnTo>
                <a:lnTo>
                  <a:pt x="1707" y="1970"/>
                </a:lnTo>
                <a:lnTo>
                  <a:pt x="1710" y="1970"/>
                </a:lnTo>
                <a:lnTo>
                  <a:pt x="1715" y="1972"/>
                </a:lnTo>
                <a:lnTo>
                  <a:pt x="1717" y="1973"/>
                </a:lnTo>
                <a:lnTo>
                  <a:pt x="1719" y="1975"/>
                </a:lnTo>
                <a:lnTo>
                  <a:pt x="1721" y="1977"/>
                </a:lnTo>
                <a:lnTo>
                  <a:pt x="1723" y="1980"/>
                </a:lnTo>
                <a:lnTo>
                  <a:pt x="1723" y="1983"/>
                </a:lnTo>
                <a:lnTo>
                  <a:pt x="1724" y="1986"/>
                </a:lnTo>
                <a:lnTo>
                  <a:pt x="1723" y="1989"/>
                </a:lnTo>
                <a:lnTo>
                  <a:pt x="1722" y="1992"/>
                </a:lnTo>
                <a:lnTo>
                  <a:pt x="1721" y="1994"/>
                </a:lnTo>
                <a:lnTo>
                  <a:pt x="1719" y="1997"/>
                </a:lnTo>
                <a:lnTo>
                  <a:pt x="1716" y="1999"/>
                </a:lnTo>
                <a:lnTo>
                  <a:pt x="1713" y="2000"/>
                </a:lnTo>
                <a:lnTo>
                  <a:pt x="1711" y="2001"/>
                </a:lnTo>
                <a:lnTo>
                  <a:pt x="1708" y="2001"/>
                </a:lnTo>
                <a:lnTo>
                  <a:pt x="1706" y="2001"/>
                </a:lnTo>
                <a:lnTo>
                  <a:pt x="1701" y="2000"/>
                </a:lnTo>
                <a:lnTo>
                  <a:pt x="1699" y="1998"/>
                </a:lnTo>
                <a:lnTo>
                  <a:pt x="1697" y="1997"/>
                </a:lnTo>
                <a:lnTo>
                  <a:pt x="1695" y="1994"/>
                </a:lnTo>
                <a:lnTo>
                  <a:pt x="1693" y="1991"/>
                </a:lnTo>
                <a:lnTo>
                  <a:pt x="1692" y="1988"/>
                </a:lnTo>
                <a:lnTo>
                  <a:pt x="1692" y="1985"/>
                </a:lnTo>
                <a:lnTo>
                  <a:pt x="1693" y="1982"/>
                </a:lnTo>
                <a:lnTo>
                  <a:pt x="1694" y="1980"/>
                </a:lnTo>
                <a:lnTo>
                  <a:pt x="1695" y="1977"/>
                </a:lnTo>
                <a:lnTo>
                  <a:pt x="1697" y="1974"/>
                </a:lnTo>
                <a:lnTo>
                  <a:pt x="1700" y="1972"/>
                </a:lnTo>
                <a:close/>
                <a:moveTo>
                  <a:pt x="1796" y="1865"/>
                </a:moveTo>
                <a:lnTo>
                  <a:pt x="1800" y="1863"/>
                </a:lnTo>
                <a:lnTo>
                  <a:pt x="1805" y="1863"/>
                </a:lnTo>
                <a:lnTo>
                  <a:pt x="1807" y="1863"/>
                </a:lnTo>
                <a:lnTo>
                  <a:pt x="1809" y="1864"/>
                </a:lnTo>
                <a:lnTo>
                  <a:pt x="1813" y="1866"/>
                </a:lnTo>
                <a:lnTo>
                  <a:pt x="1815" y="1868"/>
                </a:lnTo>
                <a:lnTo>
                  <a:pt x="1817" y="1871"/>
                </a:lnTo>
                <a:lnTo>
                  <a:pt x="1818" y="1874"/>
                </a:lnTo>
                <a:lnTo>
                  <a:pt x="1819" y="1877"/>
                </a:lnTo>
                <a:lnTo>
                  <a:pt x="1819" y="1880"/>
                </a:lnTo>
                <a:lnTo>
                  <a:pt x="1819" y="1883"/>
                </a:lnTo>
                <a:lnTo>
                  <a:pt x="1818" y="1886"/>
                </a:lnTo>
                <a:lnTo>
                  <a:pt x="1816" y="1888"/>
                </a:lnTo>
                <a:lnTo>
                  <a:pt x="1814" y="1891"/>
                </a:lnTo>
                <a:lnTo>
                  <a:pt x="1811" y="1892"/>
                </a:lnTo>
                <a:lnTo>
                  <a:pt x="1807" y="1894"/>
                </a:lnTo>
                <a:lnTo>
                  <a:pt x="1803" y="1894"/>
                </a:lnTo>
                <a:lnTo>
                  <a:pt x="1800" y="1894"/>
                </a:lnTo>
                <a:lnTo>
                  <a:pt x="1798" y="1893"/>
                </a:lnTo>
                <a:lnTo>
                  <a:pt x="1794" y="1891"/>
                </a:lnTo>
                <a:lnTo>
                  <a:pt x="1792" y="1889"/>
                </a:lnTo>
                <a:lnTo>
                  <a:pt x="1790" y="1886"/>
                </a:lnTo>
                <a:lnTo>
                  <a:pt x="1789" y="1884"/>
                </a:lnTo>
                <a:lnTo>
                  <a:pt x="1788" y="1881"/>
                </a:lnTo>
                <a:lnTo>
                  <a:pt x="1788" y="1878"/>
                </a:lnTo>
                <a:lnTo>
                  <a:pt x="1788" y="1875"/>
                </a:lnTo>
                <a:lnTo>
                  <a:pt x="1789" y="1872"/>
                </a:lnTo>
                <a:lnTo>
                  <a:pt x="1791" y="1869"/>
                </a:lnTo>
                <a:lnTo>
                  <a:pt x="1793" y="1867"/>
                </a:lnTo>
                <a:lnTo>
                  <a:pt x="1796" y="1865"/>
                </a:lnTo>
                <a:close/>
                <a:moveTo>
                  <a:pt x="1873" y="1743"/>
                </a:moveTo>
                <a:lnTo>
                  <a:pt x="1874" y="1742"/>
                </a:lnTo>
                <a:lnTo>
                  <a:pt x="1876" y="1742"/>
                </a:lnTo>
                <a:lnTo>
                  <a:pt x="1880" y="1741"/>
                </a:lnTo>
                <a:lnTo>
                  <a:pt x="1884" y="1741"/>
                </a:lnTo>
                <a:lnTo>
                  <a:pt x="1888" y="1743"/>
                </a:lnTo>
                <a:lnTo>
                  <a:pt x="1890" y="1744"/>
                </a:lnTo>
                <a:lnTo>
                  <a:pt x="1893" y="1747"/>
                </a:lnTo>
                <a:lnTo>
                  <a:pt x="1894" y="1749"/>
                </a:lnTo>
                <a:lnTo>
                  <a:pt x="1896" y="1752"/>
                </a:lnTo>
                <a:lnTo>
                  <a:pt x="1896" y="1758"/>
                </a:lnTo>
                <a:lnTo>
                  <a:pt x="1896" y="1761"/>
                </a:lnTo>
                <a:lnTo>
                  <a:pt x="1895" y="1764"/>
                </a:lnTo>
                <a:lnTo>
                  <a:pt x="1893" y="1766"/>
                </a:lnTo>
                <a:lnTo>
                  <a:pt x="1892" y="1768"/>
                </a:lnTo>
                <a:lnTo>
                  <a:pt x="1888" y="1770"/>
                </a:lnTo>
                <a:lnTo>
                  <a:pt x="1887" y="1771"/>
                </a:lnTo>
                <a:lnTo>
                  <a:pt x="1885" y="1772"/>
                </a:lnTo>
                <a:lnTo>
                  <a:pt x="1881" y="1772"/>
                </a:lnTo>
                <a:lnTo>
                  <a:pt x="1877" y="1772"/>
                </a:lnTo>
                <a:lnTo>
                  <a:pt x="1873" y="1771"/>
                </a:lnTo>
                <a:lnTo>
                  <a:pt x="1871" y="1769"/>
                </a:lnTo>
                <a:lnTo>
                  <a:pt x="1869" y="1767"/>
                </a:lnTo>
                <a:lnTo>
                  <a:pt x="1867" y="1764"/>
                </a:lnTo>
                <a:lnTo>
                  <a:pt x="1866" y="1761"/>
                </a:lnTo>
                <a:lnTo>
                  <a:pt x="1865" y="1755"/>
                </a:lnTo>
                <a:lnTo>
                  <a:pt x="1865" y="1752"/>
                </a:lnTo>
                <a:lnTo>
                  <a:pt x="1867" y="1749"/>
                </a:lnTo>
                <a:lnTo>
                  <a:pt x="1868" y="1748"/>
                </a:lnTo>
                <a:lnTo>
                  <a:pt x="1869" y="1746"/>
                </a:lnTo>
                <a:lnTo>
                  <a:pt x="1873" y="1743"/>
                </a:lnTo>
                <a:close/>
                <a:moveTo>
                  <a:pt x="3324" y="902"/>
                </a:moveTo>
                <a:lnTo>
                  <a:pt x="3327" y="900"/>
                </a:lnTo>
                <a:lnTo>
                  <a:pt x="3331" y="900"/>
                </a:lnTo>
                <a:lnTo>
                  <a:pt x="3334" y="900"/>
                </a:lnTo>
                <a:lnTo>
                  <a:pt x="3338" y="901"/>
                </a:lnTo>
                <a:lnTo>
                  <a:pt x="3341" y="902"/>
                </a:lnTo>
                <a:lnTo>
                  <a:pt x="3343" y="904"/>
                </a:lnTo>
                <a:lnTo>
                  <a:pt x="3345" y="907"/>
                </a:lnTo>
                <a:lnTo>
                  <a:pt x="3346" y="909"/>
                </a:lnTo>
                <a:lnTo>
                  <a:pt x="3347" y="912"/>
                </a:lnTo>
                <a:lnTo>
                  <a:pt x="3347" y="915"/>
                </a:lnTo>
                <a:lnTo>
                  <a:pt x="3347" y="918"/>
                </a:lnTo>
                <a:lnTo>
                  <a:pt x="3346" y="921"/>
                </a:lnTo>
                <a:lnTo>
                  <a:pt x="3345" y="924"/>
                </a:lnTo>
                <a:lnTo>
                  <a:pt x="3344" y="926"/>
                </a:lnTo>
                <a:lnTo>
                  <a:pt x="3340" y="929"/>
                </a:lnTo>
                <a:lnTo>
                  <a:pt x="3336" y="930"/>
                </a:lnTo>
                <a:lnTo>
                  <a:pt x="3333" y="931"/>
                </a:lnTo>
                <a:lnTo>
                  <a:pt x="3329" y="931"/>
                </a:lnTo>
                <a:lnTo>
                  <a:pt x="3326" y="930"/>
                </a:lnTo>
                <a:lnTo>
                  <a:pt x="3323" y="928"/>
                </a:lnTo>
                <a:lnTo>
                  <a:pt x="3321" y="926"/>
                </a:lnTo>
                <a:lnTo>
                  <a:pt x="3319" y="924"/>
                </a:lnTo>
                <a:lnTo>
                  <a:pt x="3317" y="921"/>
                </a:lnTo>
                <a:lnTo>
                  <a:pt x="3316" y="919"/>
                </a:lnTo>
                <a:lnTo>
                  <a:pt x="3316" y="916"/>
                </a:lnTo>
                <a:lnTo>
                  <a:pt x="3316" y="912"/>
                </a:lnTo>
                <a:lnTo>
                  <a:pt x="3317" y="909"/>
                </a:lnTo>
                <a:lnTo>
                  <a:pt x="3318" y="907"/>
                </a:lnTo>
                <a:lnTo>
                  <a:pt x="3320" y="905"/>
                </a:lnTo>
                <a:lnTo>
                  <a:pt x="3324" y="902"/>
                </a:lnTo>
                <a:close/>
                <a:moveTo>
                  <a:pt x="1926" y="1610"/>
                </a:moveTo>
                <a:lnTo>
                  <a:pt x="1929" y="1609"/>
                </a:lnTo>
                <a:lnTo>
                  <a:pt x="1932" y="1608"/>
                </a:lnTo>
                <a:lnTo>
                  <a:pt x="1935" y="1608"/>
                </a:lnTo>
                <a:lnTo>
                  <a:pt x="1939" y="1609"/>
                </a:lnTo>
                <a:lnTo>
                  <a:pt x="1942" y="1610"/>
                </a:lnTo>
                <a:lnTo>
                  <a:pt x="1944" y="1611"/>
                </a:lnTo>
                <a:lnTo>
                  <a:pt x="1946" y="1614"/>
                </a:lnTo>
                <a:lnTo>
                  <a:pt x="1948" y="1616"/>
                </a:lnTo>
                <a:lnTo>
                  <a:pt x="1949" y="1619"/>
                </a:lnTo>
                <a:lnTo>
                  <a:pt x="1950" y="1622"/>
                </a:lnTo>
                <a:lnTo>
                  <a:pt x="1950" y="1625"/>
                </a:lnTo>
                <a:lnTo>
                  <a:pt x="1949" y="1628"/>
                </a:lnTo>
                <a:lnTo>
                  <a:pt x="1948" y="1631"/>
                </a:lnTo>
                <a:lnTo>
                  <a:pt x="1946" y="1633"/>
                </a:lnTo>
                <a:lnTo>
                  <a:pt x="1944" y="1635"/>
                </a:lnTo>
                <a:lnTo>
                  <a:pt x="1942" y="1637"/>
                </a:lnTo>
                <a:lnTo>
                  <a:pt x="1939" y="1638"/>
                </a:lnTo>
                <a:lnTo>
                  <a:pt x="1936" y="1639"/>
                </a:lnTo>
                <a:lnTo>
                  <a:pt x="1933" y="1639"/>
                </a:lnTo>
                <a:lnTo>
                  <a:pt x="1930" y="1639"/>
                </a:lnTo>
                <a:lnTo>
                  <a:pt x="1927" y="1637"/>
                </a:lnTo>
                <a:lnTo>
                  <a:pt x="1924" y="1636"/>
                </a:lnTo>
                <a:lnTo>
                  <a:pt x="1922" y="1633"/>
                </a:lnTo>
                <a:lnTo>
                  <a:pt x="1920" y="1631"/>
                </a:lnTo>
                <a:lnTo>
                  <a:pt x="1919" y="1628"/>
                </a:lnTo>
                <a:lnTo>
                  <a:pt x="1919" y="1625"/>
                </a:lnTo>
                <a:lnTo>
                  <a:pt x="1919" y="1622"/>
                </a:lnTo>
                <a:lnTo>
                  <a:pt x="1919" y="1619"/>
                </a:lnTo>
                <a:lnTo>
                  <a:pt x="1920" y="1616"/>
                </a:lnTo>
                <a:lnTo>
                  <a:pt x="1922" y="1614"/>
                </a:lnTo>
                <a:lnTo>
                  <a:pt x="1924" y="1612"/>
                </a:lnTo>
                <a:lnTo>
                  <a:pt x="1926" y="1610"/>
                </a:lnTo>
                <a:close/>
                <a:moveTo>
                  <a:pt x="3189" y="851"/>
                </a:moveTo>
                <a:lnTo>
                  <a:pt x="3192" y="849"/>
                </a:lnTo>
                <a:lnTo>
                  <a:pt x="3196" y="849"/>
                </a:lnTo>
                <a:lnTo>
                  <a:pt x="3199" y="849"/>
                </a:lnTo>
                <a:lnTo>
                  <a:pt x="3202" y="849"/>
                </a:lnTo>
                <a:lnTo>
                  <a:pt x="3205" y="851"/>
                </a:lnTo>
                <a:lnTo>
                  <a:pt x="3208" y="853"/>
                </a:lnTo>
                <a:lnTo>
                  <a:pt x="3210" y="855"/>
                </a:lnTo>
                <a:lnTo>
                  <a:pt x="3211" y="857"/>
                </a:lnTo>
                <a:lnTo>
                  <a:pt x="3212" y="860"/>
                </a:lnTo>
                <a:lnTo>
                  <a:pt x="3213" y="863"/>
                </a:lnTo>
                <a:lnTo>
                  <a:pt x="3212" y="869"/>
                </a:lnTo>
                <a:lnTo>
                  <a:pt x="3211" y="872"/>
                </a:lnTo>
                <a:lnTo>
                  <a:pt x="3209" y="874"/>
                </a:lnTo>
                <a:lnTo>
                  <a:pt x="3207" y="876"/>
                </a:lnTo>
                <a:lnTo>
                  <a:pt x="3205" y="878"/>
                </a:lnTo>
                <a:lnTo>
                  <a:pt x="3202" y="879"/>
                </a:lnTo>
                <a:lnTo>
                  <a:pt x="3199" y="880"/>
                </a:lnTo>
                <a:lnTo>
                  <a:pt x="3195" y="880"/>
                </a:lnTo>
                <a:lnTo>
                  <a:pt x="3192" y="879"/>
                </a:lnTo>
                <a:lnTo>
                  <a:pt x="3189" y="878"/>
                </a:lnTo>
                <a:lnTo>
                  <a:pt x="3187" y="876"/>
                </a:lnTo>
                <a:lnTo>
                  <a:pt x="3185" y="873"/>
                </a:lnTo>
                <a:lnTo>
                  <a:pt x="3183" y="871"/>
                </a:lnTo>
                <a:lnTo>
                  <a:pt x="3182" y="868"/>
                </a:lnTo>
                <a:lnTo>
                  <a:pt x="3182" y="865"/>
                </a:lnTo>
                <a:lnTo>
                  <a:pt x="3182" y="859"/>
                </a:lnTo>
                <a:lnTo>
                  <a:pt x="3184" y="856"/>
                </a:lnTo>
                <a:lnTo>
                  <a:pt x="3185" y="854"/>
                </a:lnTo>
                <a:lnTo>
                  <a:pt x="3187" y="852"/>
                </a:lnTo>
                <a:lnTo>
                  <a:pt x="3189" y="851"/>
                </a:lnTo>
                <a:close/>
                <a:moveTo>
                  <a:pt x="1957" y="1469"/>
                </a:moveTo>
                <a:lnTo>
                  <a:pt x="1959" y="1468"/>
                </a:lnTo>
                <a:lnTo>
                  <a:pt x="1961" y="1468"/>
                </a:lnTo>
                <a:lnTo>
                  <a:pt x="1964" y="1467"/>
                </a:lnTo>
                <a:lnTo>
                  <a:pt x="1967" y="1468"/>
                </a:lnTo>
                <a:lnTo>
                  <a:pt x="1970" y="1468"/>
                </a:lnTo>
                <a:lnTo>
                  <a:pt x="1973" y="1470"/>
                </a:lnTo>
                <a:lnTo>
                  <a:pt x="1975" y="1471"/>
                </a:lnTo>
                <a:lnTo>
                  <a:pt x="1977" y="1474"/>
                </a:lnTo>
                <a:lnTo>
                  <a:pt x="1979" y="1476"/>
                </a:lnTo>
                <a:lnTo>
                  <a:pt x="1980" y="1479"/>
                </a:lnTo>
                <a:lnTo>
                  <a:pt x="1980" y="1482"/>
                </a:lnTo>
                <a:lnTo>
                  <a:pt x="1980" y="1485"/>
                </a:lnTo>
                <a:lnTo>
                  <a:pt x="1979" y="1489"/>
                </a:lnTo>
                <a:lnTo>
                  <a:pt x="1977" y="1492"/>
                </a:lnTo>
                <a:lnTo>
                  <a:pt x="1975" y="1495"/>
                </a:lnTo>
                <a:lnTo>
                  <a:pt x="1972" y="1497"/>
                </a:lnTo>
                <a:lnTo>
                  <a:pt x="1970" y="1498"/>
                </a:lnTo>
                <a:lnTo>
                  <a:pt x="1967" y="1498"/>
                </a:lnTo>
                <a:lnTo>
                  <a:pt x="1965" y="1499"/>
                </a:lnTo>
                <a:lnTo>
                  <a:pt x="1962" y="1499"/>
                </a:lnTo>
                <a:lnTo>
                  <a:pt x="1959" y="1498"/>
                </a:lnTo>
                <a:lnTo>
                  <a:pt x="1956" y="1496"/>
                </a:lnTo>
                <a:lnTo>
                  <a:pt x="1954" y="1495"/>
                </a:lnTo>
                <a:lnTo>
                  <a:pt x="1952" y="1492"/>
                </a:lnTo>
                <a:lnTo>
                  <a:pt x="1950" y="1490"/>
                </a:lnTo>
                <a:lnTo>
                  <a:pt x="1949" y="1487"/>
                </a:lnTo>
                <a:lnTo>
                  <a:pt x="1949" y="1484"/>
                </a:lnTo>
                <a:lnTo>
                  <a:pt x="1949" y="1481"/>
                </a:lnTo>
                <a:lnTo>
                  <a:pt x="1950" y="1477"/>
                </a:lnTo>
                <a:lnTo>
                  <a:pt x="1952" y="1474"/>
                </a:lnTo>
                <a:lnTo>
                  <a:pt x="1954" y="1472"/>
                </a:lnTo>
                <a:lnTo>
                  <a:pt x="1957" y="1469"/>
                </a:lnTo>
                <a:close/>
                <a:moveTo>
                  <a:pt x="3052" y="807"/>
                </a:moveTo>
                <a:lnTo>
                  <a:pt x="3055" y="805"/>
                </a:lnTo>
                <a:lnTo>
                  <a:pt x="3058" y="805"/>
                </a:lnTo>
                <a:lnTo>
                  <a:pt x="3061" y="805"/>
                </a:lnTo>
                <a:lnTo>
                  <a:pt x="3064" y="805"/>
                </a:lnTo>
                <a:lnTo>
                  <a:pt x="3067" y="806"/>
                </a:lnTo>
                <a:lnTo>
                  <a:pt x="3070" y="808"/>
                </a:lnTo>
                <a:lnTo>
                  <a:pt x="3072" y="810"/>
                </a:lnTo>
                <a:lnTo>
                  <a:pt x="3074" y="813"/>
                </a:lnTo>
                <a:lnTo>
                  <a:pt x="3075" y="815"/>
                </a:lnTo>
                <a:lnTo>
                  <a:pt x="3076" y="818"/>
                </a:lnTo>
                <a:lnTo>
                  <a:pt x="3076" y="821"/>
                </a:lnTo>
                <a:lnTo>
                  <a:pt x="3075" y="825"/>
                </a:lnTo>
                <a:lnTo>
                  <a:pt x="3074" y="828"/>
                </a:lnTo>
                <a:lnTo>
                  <a:pt x="3072" y="830"/>
                </a:lnTo>
                <a:lnTo>
                  <a:pt x="3070" y="832"/>
                </a:lnTo>
                <a:lnTo>
                  <a:pt x="3068" y="834"/>
                </a:lnTo>
                <a:lnTo>
                  <a:pt x="3065" y="835"/>
                </a:lnTo>
                <a:lnTo>
                  <a:pt x="3062" y="836"/>
                </a:lnTo>
                <a:lnTo>
                  <a:pt x="3059" y="836"/>
                </a:lnTo>
                <a:lnTo>
                  <a:pt x="3056" y="835"/>
                </a:lnTo>
                <a:lnTo>
                  <a:pt x="3053" y="834"/>
                </a:lnTo>
                <a:lnTo>
                  <a:pt x="3050" y="833"/>
                </a:lnTo>
                <a:lnTo>
                  <a:pt x="3048" y="830"/>
                </a:lnTo>
                <a:lnTo>
                  <a:pt x="3046" y="828"/>
                </a:lnTo>
                <a:lnTo>
                  <a:pt x="3045" y="825"/>
                </a:lnTo>
                <a:lnTo>
                  <a:pt x="3045" y="822"/>
                </a:lnTo>
                <a:lnTo>
                  <a:pt x="3045" y="819"/>
                </a:lnTo>
                <a:lnTo>
                  <a:pt x="3045" y="816"/>
                </a:lnTo>
                <a:lnTo>
                  <a:pt x="3046" y="813"/>
                </a:lnTo>
                <a:lnTo>
                  <a:pt x="3048" y="811"/>
                </a:lnTo>
                <a:lnTo>
                  <a:pt x="3050" y="808"/>
                </a:lnTo>
                <a:lnTo>
                  <a:pt x="3052" y="807"/>
                </a:lnTo>
                <a:close/>
                <a:moveTo>
                  <a:pt x="1971" y="1326"/>
                </a:moveTo>
                <a:lnTo>
                  <a:pt x="1975" y="1324"/>
                </a:lnTo>
                <a:lnTo>
                  <a:pt x="1980" y="1324"/>
                </a:lnTo>
                <a:lnTo>
                  <a:pt x="1983" y="1325"/>
                </a:lnTo>
                <a:lnTo>
                  <a:pt x="1986" y="1326"/>
                </a:lnTo>
                <a:lnTo>
                  <a:pt x="1988" y="1327"/>
                </a:lnTo>
                <a:lnTo>
                  <a:pt x="1990" y="1329"/>
                </a:lnTo>
                <a:lnTo>
                  <a:pt x="1992" y="1332"/>
                </a:lnTo>
                <a:lnTo>
                  <a:pt x="1993" y="1335"/>
                </a:lnTo>
                <a:lnTo>
                  <a:pt x="1994" y="1338"/>
                </a:lnTo>
                <a:lnTo>
                  <a:pt x="1994" y="1341"/>
                </a:lnTo>
                <a:lnTo>
                  <a:pt x="1993" y="1345"/>
                </a:lnTo>
                <a:lnTo>
                  <a:pt x="1992" y="1348"/>
                </a:lnTo>
                <a:lnTo>
                  <a:pt x="1989" y="1351"/>
                </a:lnTo>
                <a:lnTo>
                  <a:pt x="1986" y="1353"/>
                </a:lnTo>
                <a:lnTo>
                  <a:pt x="1982" y="1355"/>
                </a:lnTo>
                <a:lnTo>
                  <a:pt x="1977" y="1355"/>
                </a:lnTo>
                <a:lnTo>
                  <a:pt x="1974" y="1355"/>
                </a:lnTo>
                <a:lnTo>
                  <a:pt x="1971" y="1354"/>
                </a:lnTo>
                <a:lnTo>
                  <a:pt x="1969" y="1352"/>
                </a:lnTo>
                <a:lnTo>
                  <a:pt x="1967" y="1350"/>
                </a:lnTo>
                <a:lnTo>
                  <a:pt x="1965" y="1348"/>
                </a:lnTo>
                <a:lnTo>
                  <a:pt x="1964" y="1345"/>
                </a:lnTo>
                <a:lnTo>
                  <a:pt x="1963" y="1342"/>
                </a:lnTo>
                <a:lnTo>
                  <a:pt x="1963" y="1339"/>
                </a:lnTo>
                <a:lnTo>
                  <a:pt x="1964" y="1335"/>
                </a:lnTo>
                <a:lnTo>
                  <a:pt x="1965" y="1331"/>
                </a:lnTo>
                <a:lnTo>
                  <a:pt x="1968" y="1328"/>
                </a:lnTo>
                <a:lnTo>
                  <a:pt x="1971" y="1326"/>
                </a:lnTo>
                <a:close/>
                <a:moveTo>
                  <a:pt x="2913" y="773"/>
                </a:moveTo>
                <a:lnTo>
                  <a:pt x="2915" y="771"/>
                </a:lnTo>
                <a:lnTo>
                  <a:pt x="2918" y="771"/>
                </a:lnTo>
                <a:lnTo>
                  <a:pt x="2923" y="771"/>
                </a:lnTo>
                <a:lnTo>
                  <a:pt x="2926" y="772"/>
                </a:lnTo>
                <a:lnTo>
                  <a:pt x="2929" y="773"/>
                </a:lnTo>
                <a:lnTo>
                  <a:pt x="2932" y="775"/>
                </a:lnTo>
                <a:lnTo>
                  <a:pt x="2933" y="778"/>
                </a:lnTo>
                <a:lnTo>
                  <a:pt x="2935" y="780"/>
                </a:lnTo>
                <a:lnTo>
                  <a:pt x="2936" y="783"/>
                </a:lnTo>
                <a:lnTo>
                  <a:pt x="2936" y="786"/>
                </a:lnTo>
                <a:lnTo>
                  <a:pt x="2936" y="789"/>
                </a:lnTo>
                <a:lnTo>
                  <a:pt x="2935" y="793"/>
                </a:lnTo>
                <a:lnTo>
                  <a:pt x="2933" y="795"/>
                </a:lnTo>
                <a:lnTo>
                  <a:pt x="2931" y="798"/>
                </a:lnTo>
                <a:lnTo>
                  <a:pt x="2928" y="800"/>
                </a:lnTo>
                <a:lnTo>
                  <a:pt x="2926" y="801"/>
                </a:lnTo>
                <a:lnTo>
                  <a:pt x="2923" y="802"/>
                </a:lnTo>
                <a:lnTo>
                  <a:pt x="2917" y="802"/>
                </a:lnTo>
                <a:lnTo>
                  <a:pt x="2914" y="801"/>
                </a:lnTo>
                <a:lnTo>
                  <a:pt x="2912" y="799"/>
                </a:lnTo>
                <a:lnTo>
                  <a:pt x="2909" y="797"/>
                </a:lnTo>
                <a:lnTo>
                  <a:pt x="2907" y="795"/>
                </a:lnTo>
                <a:lnTo>
                  <a:pt x="2906" y="792"/>
                </a:lnTo>
                <a:lnTo>
                  <a:pt x="2905" y="789"/>
                </a:lnTo>
                <a:lnTo>
                  <a:pt x="2905" y="786"/>
                </a:lnTo>
                <a:lnTo>
                  <a:pt x="2905" y="783"/>
                </a:lnTo>
                <a:lnTo>
                  <a:pt x="2906" y="780"/>
                </a:lnTo>
                <a:lnTo>
                  <a:pt x="2908" y="777"/>
                </a:lnTo>
                <a:lnTo>
                  <a:pt x="2910" y="775"/>
                </a:lnTo>
                <a:lnTo>
                  <a:pt x="2913" y="773"/>
                </a:lnTo>
                <a:close/>
                <a:moveTo>
                  <a:pt x="2770" y="751"/>
                </a:moveTo>
                <a:lnTo>
                  <a:pt x="2772" y="750"/>
                </a:lnTo>
                <a:lnTo>
                  <a:pt x="2775" y="749"/>
                </a:lnTo>
                <a:lnTo>
                  <a:pt x="2777" y="749"/>
                </a:lnTo>
                <a:lnTo>
                  <a:pt x="2780" y="749"/>
                </a:lnTo>
                <a:lnTo>
                  <a:pt x="2783" y="750"/>
                </a:lnTo>
                <a:lnTo>
                  <a:pt x="2786" y="751"/>
                </a:lnTo>
                <a:lnTo>
                  <a:pt x="2788" y="753"/>
                </a:lnTo>
                <a:lnTo>
                  <a:pt x="2789" y="754"/>
                </a:lnTo>
                <a:lnTo>
                  <a:pt x="2790" y="755"/>
                </a:lnTo>
                <a:lnTo>
                  <a:pt x="2792" y="757"/>
                </a:lnTo>
                <a:lnTo>
                  <a:pt x="2793" y="760"/>
                </a:lnTo>
                <a:lnTo>
                  <a:pt x="2794" y="763"/>
                </a:lnTo>
                <a:lnTo>
                  <a:pt x="2794" y="766"/>
                </a:lnTo>
                <a:lnTo>
                  <a:pt x="2793" y="770"/>
                </a:lnTo>
                <a:lnTo>
                  <a:pt x="2791" y="773"/>
                </a:lnTo>
                <a:lnTo>
                  <a:pt x="2789" y="776"/>
                </a:lnTo>
                <a:lnTo>
                  <a:pt x="2786" y="778"/>
                </a:lnTo>
                <a:lnTo>
                  <a:pt x="2784" y="779"/>
                </a:lnTo>
                <a:lnTo>
                  <a:pt x="2782" y="780"/>
                </a:lnTo>
                <a:lnTo>
                  <a:pt x="2779" y="780"/>
                </a:lnTo>
                <a:lnTo>
                  <a:pt x="2777" y="780"/>
                </a:lnTo>
                <a:lnTo>
                  <a:pt x="2773" y="780"/>
                </a:lnTo>
                <a:lnTo>
                  <a:pt x="2771" y="778"/>
                </a:lnTo>
                <a:lnTo>
                  <a:pt x="2768" y="777"/>
                </a:lnTo>
                <a:lnTo>
                  <a:pt x="2767" y="776"/>
                </a:lnTo>
                <a:lnTo>
                  <a:pt x="2766" y="775"/>
                </a:lnTo>
                <a:lnTo>
                  <a:pt x="2764" y="772"/>
                </a:lnTo>
                <a:lnTo>
                  <a:pt x="2763" y="769"/>
                </a:lnTo>
                <a:lnTo>
                  <a:pt x="2763" y="766"/>
                </a:lnTo>
                <a:lnTo>
                  <a:pt x="2763" y="763"/>
                </a:lnTo>
                <a:lnTo>
                  <a:pt x="2763" y="759"/>
                </a:lnTo>
                <a:lnTo>
                  <a:pt x="2765" y="756"/>
                </a:lnTo>
                <a:lnTo>
                  <a:pt x="2767" y="753"/>
                </a:lnTo>
                <a:lnTo>
                  <a:pt x="2770" y="751"/>
                </a:lnTo>
                <a:close/>
                <a:moveTo>
                  <a:pt x="1982" y="1183"/>
                </a:moveTo>
                <a:lnTo>
                  <a:pt x="1984" y="1182"/>
                </a:lnTo>
                <a:lnTo>
                  <a:pt x="1987" y="1181"/>
                </a:lnTo>
                <a:lnTo>
                  <a:pt x="1989" y="1181"/>
                </a:lnTo>
                <a:lnTo>
                  <a:pt x="1992" y="1181"/>
                </a:lnTo>
                <a:lnTo>
                  <a:pt x="1995" y="1181"/>
                </a:lnTo>
                <a:lnTo>
                  <a:pt x="1998" y="1183"/>
                </a:lnTo>
                <a:lnTo>
                  <a:pt x="2000" y="1184"/>
                </a:lnTo>
                <a:lnTo>
                  <a:pt x="2002" y="1187"/>
                </a:lnTo>
                <a:lnTo>
                  <a:pt x="2004" y="1189"/>
                </a:lnTo>
                <a:lnTo>
                  <a:pt x="2005" y="1192"/>
                </a:lnTo>
                <a:lnTo>
                  <a:pt x="2006" y="1195"/>
                </a:lnTo>
                <a:lnTo>
                  <a:pt x="2006" y="1198"/>
                </a:lnTo>
                <a:lnTo>
                  <a:pt x="2005" y="1202"/>
                </a:lnTo>
                <a:lnTo>
                  <a:pt x="2003" y="1205"/>
                </a:lnTo>
                <a:lnTo>
                  <a:pt x="2001" y="1208"/>
                </a:lnTo>
                <a:lnTo>
                  <a:pt x="1998" y="1210"/>
                </a:lnTo>
                <a:lnTo>
                  <a:pt x="1996" y="1211"/>
                </a:lnTo>
                <a:lnTo>
                  <a:pt x="1993" y="1212"/>
                </a:lnTo>
                <a:lnTo>
                  <a:pt x="1991" y="1212"/>
                </a:lnTo>
                <a:lnTo>
                  <a:pt x="1988" y="1212"/>
                </a:lnTo>
                <a:lnTo>
                  <a:pt x="1985" y="1211"/>
                </a:lnTo>
                <a:lnTo>
                  <a:pt x="1982" y="1210"/>
                </a:lnTo>
                <a:lnTo>
                  <a:pt x="1980" y="1208"/>
                </a:lnTo>
                <a:lnTo>
                  <a:pt x="1978" y="1206"/>
                </a:lnTo>
                <a:lnTo>
                  <a:pt x="1976" y="1203"/>
                </a:lnTo>
                <a:lnTo>
                  <a:pt x="1975" y="1201"/>
                </a:lnTo>
                <a:lnTo>
                  <a:pt x="1974" y="1198"/>
                </a:lnTo>
                <a:lnTo>
                  <a:pt x="1975" y="1194"/>
                </a:lnTo>
                <a:lnTo>
                  <a:pt x="1975" y="1191"/>
                </a:lnTo>
                <a:lnTo>
                  <a:pt x="1977" y="1188"/>
                </a:lnTo>
                <a:lnTo>
                  <a:pt x="1979" y="1185"/>
                </a:lnTo>
                <a:lnTo>
                  <a:pt x="1982" y="1183"/>
                </a:lnTo>
                <a:close/>
                <a:moveTo>
                  <a:pt x="2627" y="745"/>
                </a:moveTo>
                <a:lnTo>
                  <a:pt x="2628" y="744"/>
                </a:lnTo>
                <a:lnTo>
                  <a:pt x="2630" y="744"/>
                </a:lnTo>
                <a:lnTo>
                  <a:pt x="2634" y="743"/>
                </a:lnTo>
                <a:lnTo>
                  <a:pt x="2637" y="743"/>
                </a:lnTo>
                <a:lnTo>
                  <a:pt x="2640" y="744"/>
                </a:lnTo>
                <a:lnTo>
                  <a:pt x="2643" y="746"/>
                </a:lnTo>
                <a:lnTo>
                  <a:pt x="2645" y="748"/>
                </a:lnTo>
                <a:lnTo>
                  <a:pt x="2647" y="750"/>
                </a:lnTo>
                <a:lnTo>
                  <a:pt x="2649" y="752"/>
                </a:lnTo>
                <a:lnTo>
                  <a:pt x="2650" y="755"/>
                </a:lnTo>
                <a:lnTo>
                  <a:pt x="2650" y="758"/>
                </a:lnTo>
                <a:lnTo>
                  <a:pt x="2650" y="763"/>
                </a:lnTo>
                <a:lnTo>
                  <a:pt x="2648" y="767"/>
                </a:lnTo>
                <a:lnTo>
                  <a:pt x="2646" y="770"/>
                </a:lnTo>
                <a:lnTo>
                  <a:pt x="2642" y="772"/>
                </a:lnTo>
                <a:lnTo>
                  <a:pt x="2641" y="773"/>
                </a:lnTo>
                <a:lnTo>
                  <a:pt x="2639" y="774"/>
                </a:lnTo>
                <a:lnTo>
                  <a:pt x="2635" y="775"/>
                </a:lnTo>
                <a:lnTo>
                  <a:pt x="2632" y="774"/>
                </a:lnTo>
                <a:lnTo>
                  <a:pt x="2629" y="773"/>
                </a:lnTo>
                <a:lnTo>
                  <a:pt x="2626" y="772"/>
                </a:lnTo>
                <a:lnTo>
                  <a:pt x="2624" y="770"/>
                </a:lnTo>
                <a:lnTo>
                  <a:pt x="2622" y="768"/>
                </a:lnTo>
                <a:lnTo>
                  <a:pt x="2620" y="765"/>
                </a:lnTo>
                <a:lnTo>
                  <a:pt x="2619" y="762"/>
                </a:lnTo>
                <a:lnTo>
                  <a:pt x="2619" y="759"/>
                </a:lnTo>
                <a:lnTo>
                  <a:pt x="2619" y="755"/>
                </a:lnTo>
                <a:lnTo>
                  <a:pt x="2621" y="751"/>
                </a:lnTo>
                <a:lnTo>
                  <a:pt x="2623" y="748"/>
                </a:lnTo>
                <a:lnTo>
                  <a:pt x="2627" y="745"/>
                </a:lnTo>
                <a:close/>
                <a:moveTo>
                  <a:pt x="2014" y="1043"/>
                </a:moveTo>
                <a:lnTo>
                  <a:pt x="2017" y="1041"/>
                </a:lnTo>
                <a:lnTo>
                  <a:pt x="2020" y="1041"/>
                </a:lnTo>
                <a:lnTo>
                  <a:pt x="2024" y="1041"/>
                </a:lnTo>
                <a:lnTo>
                  <a:pt x="2027" y="1042"/>
                </a:lnTo>
                <a:lnTo>
                  <a:pt x="2029" y="1042"/>
                </a:lnTo>
                <a:lnTo>
                  <a:pt x="2030" y="1043"/>
                </a:lnTo>
                <a:lnTo>
                  <a:pt x="2033" y="1045"/>
                </a:lnTo>
                <a:lnTo>
                  <a:pt x="2035" y="1047"/>
                </a:lnTo>
                <a:lnTo>
                  <a:pt x="2036" y="1050"/>
                </a:lnTo>
                <a:lnTo>
                  <a:pt x="2037" y="1053"/>
                </a:lnTo>
                <a:lnTo>
                  <a:pt x="2037" y="1056"/>
                </a:lnTo>
                <a:lnTo>
                  <a:pt x="2037" y="1059"/>
                </a:lnTo>
                <a:lnTo>
                  <a:pt x="2036" y="1062"/>
                </a:lnTo>
                <a:lnTo>
                  <a:pt x="2035" y="1065"/>
                </a:lnTo>
                <a:lnTo>
                  <a:pt x="2034" y="1067"/>
                </a:lnTo>
                <a:lnTo>
                  <a:pt x="2032" y="1069"/>
                </a:lnTo>
                <a:lnTo>
                  <a:pt x="2030" y="1070"/>
                </a:lnTo>
                <a:lnTo>
                  <a:pt x="2026" y="1071"/>
                </a:lnTo>
                <a:lnTo>
                  <a:pt x="2023" y="1072"/>
                </a:lnTo>
                <a:lnTo>
                  <a:pt x="2020" y="1072"/>
                </a:lnTo>
                <a:lnTo>
                  <a:pt x="2016" y="1071"/>
                </a:lnTo>
                <a:lnTo>
                  <a:pt x="2015" y="1070"/>
                </a:lnTo>
                <a:lnTo>
                  <a:pt x="2013" y="1070"/>
                </a:lnTo>
                <a:lnTo>
                  <a:pt x="2011" y="1068"/>
                </a:lnTo>
                <a:lnTo>
                  <a:pt x="2009" y="1065"/>
                </a:lnTo>
                <a:lnTo>
                  <a:pt x="2007" y="1063"/>
                </a:lnTo>
                <a:lnTo>
                  <a:pt x="2006" y="1060"/>
                </a:lnTo>
                <a:lnTo>
                  <a:pt x="2006" y="1057"/>
                </a:lnTo>
                <a:lnTo>
                  <a:pt x="2006" y="1054"/>
                </a:lnTo>
                <a:lnTo>
                  <a:pt x="2007" y="1051"/>
                </a:lnTo>
                <a:lnTo>
                  <a:pt x="2008" y="1048"/>
                </a:lnTo>
                <a:lnTo>
                  <a:pt x="2010" y="1046"/>
                </a:lnTo>
                <a:lnTo>
                  <a:pt x="2012" y="1044"/>
                </a:lnTo>
                <a:lnTo>
                  <a:pt x="2014" y="1043"/>
                </a:lnTo>
                <a:close/>
                <a:moveTo>
                  <a:pt x="2483" y="758"/>
                </a:moveTo>
                <a:lnTo>
                  <a:pt x="2486" y="757"/>
                </a:lnTo>
                <a:lnTo>
                  <a:pt x="2489" y="756"/>
                </a:lnTo>
                <a:lnTo>
                  <a:pt x="2492" y="756"/>
                </a:lnTo>
                <a:lnTo>
                  <a:pt x="2495" y="756"/>
                </a:lnTo>
                <a:lnTo>
                  <a:pt x="2498" y="757"/>
                </a:lnTo>
                <a:lnTo>
                  <a:pt x="2501" y="759"/>
                </a:lnTo>
                <a:lnTo>
                  <a:pt x="2503" y="761"/>
                </a:lnTo>
                <a:lnTo>
                  <a:pt x="2505" y="763"/>
                </a:lnTo>
                <a:lnTo>
                  <a:pt x="2506" y="766"/>
                </a:lnTo>
                <a:lnTo>
                  <a:pt x="2507" y="769"/>
                </a:lnTo>
                <a:lnTo>
                  <a:pt x="2507" y="774"/>
                </a:lnTo>
                <a:lnTo>
                  <a:pt x="2505" y="778"/>
                </a:lnTo>
                <a:lnTo>
                  <a:pt x="2503" y="782"/>
                </a:lnTo>
                <a:lnTo>
                  <a:pt x="2501" y="784"/>
                </a:lnTo>
                <a:lnTo>
                  <a:pt x="2499" y="785"/>
                </a:lnTo>
                <a:lnTo>
                  <a:pt x="2497" y="786"/>
                </a:lnTo>
                <a:lnTo>
                  <a:pt x="2494" y="787"/>
                </a:lnTo>
                <a:lnTo>
                  <a:pt x="2491" y="787"/>
                </a:lnTo>
                <a:lnTo>
                  <a:pt x="2488" y="787"/>
                </a:lnTo>
                <a:lnTo>
                  <a:pt x="2485" y="786"/>
                </a:lnTo>
                <a:lnTo>
                  <a:pt x="2482" y="784"/>
                </a:lnTo>
                <a:lnTo>
                  <a:pt x="2480" y="782"/>
                </a:lnTo>
                <a:lnTo>
                  <a:pt x="2478" y="780"/>
                </a:lnTo>
                <a:lnTo>
                  <a:pt x="2477" y="777"/>
                </a:lnTo>
                <a:lnTo>
                  <a:pt x="2476" y="774"/>
                </a:lnTo>
                <a:lnTo>
                  <a:pt x="2476" y="769"/>
                </a:lnTo>
                <a:lnTo>
                  <a:pt x="2477" y="765"/>
                </a:lnTo>
                <a:lnTo>
                  <a:pt x="2480" y="761"/>
                </a:lnTo>
                <a:lnTo>
                  <a:pt x="2482" y="759"/>
                </a:lnTo>
                <a:lnTo>
                  <a:pt x="2483" y="758"/>
                </a:lnTo>
                <a:close/>
                <a:moveTo>
                  <a:pt x="2343" y="790"/>
                </a:moveTo>
                <a:lnTo>
                  <a:pt x="2346" y="789"/>
                </a:lnTo>
                <a:lnTo>
                  <a:pt x="2349" y="788"/>
                </a:lnTo>
                <a:lnTo>
                  <a:pt x="2352" y="788"/>
                </a:lnTo>
                <a:lnTo>
                  <a:pt x="2355" y="789"/>
                </a:lnTo>
                <a:lnTo>
                  <a:pt x="2358" y="790"/>
                </a:lnTo>
                <a:lnTo>
                  <a:pt x="2360" y="792"/>
                </a:lnTo>
                <a:lnTo>
                  <a:pt x="2362" y="794"/>
                </a:lnTo>
                <a:lnTo>
                  <a:pt x="2364" y="796"/>
                </a:lnTo>
                <a:lnTo>
                  <a:pt x="2365" y="799"/>
                </a:lnTo>
                <a:lnTo>
                  <a:pt x="2366" y="805"/>
                </a:lnTo>
                <a:lnTo>
                  <a:pt x="2366" y="807"/>
                </a:lnTo>
                <a:lnTo>
                  <a:pt x="2365" y="810"/>
                </a:lnTo>
                <a:lnTo>
                  <a:pt x="2364" y="812"/>
                </a:lnTo>
                <a:lnTo>
                  <a:pt x="2362" y="814"/>
                </a:lnTo>
                <a:lnTo>
                  <a:pt x="2360" y="816"/>
                </a:lnTo>
                <a:lnTo>
                  <a:pt x="2358" y="818"/>
                </a:lnTo>
                <a:lnTo>
                  <a:pt x="2355" y="819"/>
                </a:lnTo>
                <a:lnTo>
                  <a:pt x="2352" y="820"/>
                </a:lnTo>
                <a:lnTo>
                  <a:pt x="2349" y="820"/>
                </a:lnTo>
                <a:lnTo>
                  <a:pt x="2346" y="819"/>
                </a:lnTo>
                <a:lnTo>
                  <a:pt x="2343" y="818"/>
                </a:lnTo>
                <a:lnTo>
                  <a:pt x="2341" y="816"/>
                </a:lnTo>
                <a:lnTo>
                  <a:pt x="2338" y="814"/>
                </a:lnTo>
                <a:lnTo>
                  <a:pt x="2337" y="812"/>
                </a:lnTo>
                <a:lnTo>
                  <a:pt x="2335" y="809"/>
                </a:lnTo>
                <a:lnTo>
                  <a:pt x="2335" y="803"/>
                </a:lnTo>
                <a:lnTo>
                  <a:pt x="2335" y="801"/>
                </a:lnTo>
                <a:lnTo>
                  <a:pt x="2336" y="798"/>
                </a:lnTo>
                <a:lnTo>
                  <a:pt x="2337" y="796"/>
                </a:lnTo>
                <a:lnTo>
                  <a:pt x="2338" y="794"/>
                </a:lnTo>
                <a:lnTo>
                  <a:pt x="2340" y="792"/>
                </a:lnTo>
                <a:lnTo>
                  <a:pt x="2343" y="790"/>
                </a:lnTo>
                <a:close/>
                <a:moveTo>
                  <a:pt x="2091" y="923"/>
                </a:moveTo>
                <a:lnTo>
                  <a:pt x="2093" y="922"/>
                </a:lnTo>
                <a:lnTo>
                  <a:pt x="2096" y="922"/>
                </a:lnTo>
                <a:lnTo>
                  <a:pt x="2098" y="921"/>
                </a:lnTo>
                <a:lnTo>
                  <a:pt x="2101" y="922"/>
                </a:lnTo>
                <a:lnTo>
                  <a:pt x="2103" y="922"/>
                </a:lnTo>
                <a:lnTo>
                  <a:pt x="2106" y="923"/>
                </a:lnTo>
                <a:lnTo>
                  <a:pt x="2108" y="924"/>
                </a:lnTo>
                <a:lnTo>
                  <a:pt x="2110" y="926"/>
                </a:lnTo>
                <a:lnTo>
                  <a:pt x="2112" y="928"/>
                </a:lnTo>
                <a:lnTo>
                  <a:pt x="2113" y="931"/>
                </a:lnTo>
                <a:lnTo>
                  <a:pt x="2114" y="934"/>
                </a:lnTo>
                <a:lnTo>
                  <a:pt x="2114" y="937"/>
                </a:lnTo>
                <a:lnTo>
                  <a:pt x="2114" y="940"/>
                </a:lnTo>
                <a:lnTo>
                  <a:pt x="2113" y="943"/>
                </a:lnTo>
                <a:lnTo>
                  <a:pt x="2112" y="946"/>
                </a:lnTo>
                <a:lnTo>
                  <a:pt x="2110" y="948"/>
                </a:lnTo>
                <a:lnTo>
                  <a:pt x="2107" y="951"/>
                </a:lnTo>
                <a:lnTo>
                  <a:pt x="2104" y="952"/>
                </a:lnTo>
                <a:lnTo>
                  <a:pt x="2102" y="952"/>
                </a:lnTo>
                <a:lnTo>
                  <a:pt x="2099" y="953"/>
                </a:lnTo>
                <a:lnTo>
                  <a:pt x="2097" y="953"/>
                </a:lnTo>
                <a:lnTo>
                  <a:pt x="2094" y="952"/>
                </a:lnTo>
                <a:lnTo>
                  <a:pt x="2092" y="951"/>
                </a:lnTo>
                <a:lnTo>
                  <a:pt x="2090" y="950"/>
                </a:lnTo>
                <a:lnTo>
                  <a:pt x="2088" y="948"/>
                </a:lnTo>
                <a:lnTo>
                  <a:pt x="2086" y="946"/>
                </a:lnTo>
                <a:lnTo>
                  <a:pt x="2084" y="943"/>
                </a:lnTo>
                <a:lnTo>
                  <a:pt x="2083" y="940"/>
                </a:lnTo>
                <a:lnTo>
                  <a:pt x="2083" y="937"/>
                </a:lnTo>
                <a:lnTo>
                  <a:pt x="2083" y="934"/>
                </a:lnTo>
                <a:lnTo>
                  <a:pt x="2084" y="931"/>
                </a:lnTo>
                <a:lnTo>
                  <a:pt x="2086" y="928"/>
                </a:lnTo>
                <a:lnTo>
                  <a:pt x="2088" y="926"/>
                </a:lnTo>
                <a:lnTo>
                  <a:pt x="2091" y="923"/>
                </a:lnTo>
                <a:close/>
                <a:moveTo>
                  <a:pt x="2209" y="843"/>
                </a:moveTo>
                <a:lnTo>
                  <a:pt x="2212" y="841"/>
                </a:lnTo>
                <a:lnTo>
                  <a:pt x="2215" y="841"/>
                </a:lnTo>
                <a:lnTo>
                  <a:pt x="2218" y="841"/>
                </a:lnTo>
                <a:lnTo>
                  <a:pt x="2222" y="841"/>
                </a:lnTo>
                <a:lnTo>
                  <a:pt x="2224" y="843"/>
                </a:lnTo>
                <a:lnTo>
                  <a:pt x="2227" y="844"/>
                </a:lnTo>
                <a:lnTo>
                  <a:pt x="2229" y="847"/>
                </a:lnTo>
                <a:lnTo>
                  <a:pt x="2231" y="849"/>
                </a:lnTo>
                <a:lnTo>
                  <a:pt x="2232" y="852"/>
                </a:lnTo>
                <a:lnTo>
                  <a:pt x="2232" y="855"/>
                </a:lnTo>
                <a:lnTo>
                  <a:pt x="2232" y="858"/>
                </a:lnTo>
                <a:lnTo>
                  <a:pt x="2231" y="861"/>
                </a:lnTo>
                <a:lnTo>
                  <a:pt x="2230" y="864"/>
                </a:lnTo>
                <a:lnTo>
                  <a:pt x="2229" y="866"/>
                </a:lnTo>
                <a:lnTo>
                  <a:pt x="2227" y="868"/>
                </a:lnTo>
                <a:lnTo>
                  <a:pt x="2224" y="870"/>
                </a:lnTo>
                <a:lnTo>
                  <a:pt x="2221" y="871"/>
                </a:lnTo>
                <a:lnTo>
                  <a:pt x="2218" y="872"/>
                </a:lnTo>
                <a:lnTo>
                  <a:pt x="2215" y="872"/>
                </a:lnTo>
                <a:lnTo>
                  <a:pt x="2211" y="871"/>
                </a:lnTo>
                <a:lnTo>
                  <a:pt x="2209" y="870"/>
                </a:lnTo>
                <a:lnTo>
                  <a:pt x="2206" y="868"/>
                </a:lnTo>
                <a:lnTo>
                  <a:pt x="2204" y="866"/>
                </a:lnTo>
                <a:lnTo>
                  <a:pt x="2202" y="863"/>
                </a:lnTo>
                <a:lnTo>
                  <a:pt x="2201" y="860"/>
                </a:lnTo>
                <a:lnTo>
                  <a:pt x="2201" y="857"/>
                </a:lnTo>
                <a:lnTo>
                  <a:pt x="2201" y="854"/>
                </a:lnTo>
                <a:lnTo>
                  <a:pt x="2202" y="852"/>
                </a:lnTo>
                <a:lnTo>
                  <a:pt x="2203" y="849"/>
                </a:lnTo>
                <a:lnTo>
                  <a:pt x="2204" y="847"/>
                </a:lnTo>
                <a:lnTo>
                  <a:pt x="2206" y="844"/>
                </a:lnTo>
                <a:lnTo>
                  <a:pt x="2209" y="843"/>
                </a:lnTo>
                <a:close/>
                <a:moveTo>
                  <a:pt x="4748" y="1857"/>
                </a:moveTo>
                <a:lnTo>
                  <a:pt x="4751" y="1855"/>
                </a:lnTo>
                <a:lnTo>
                  <a:pt x="4755" y="1855"/>
                </a:lnTo>
                <a:lnTo>
                  <a:pt x="4758" y="1855"/>
                </a:lnTo>
                <a:lnTo>
                  <a:pt x="4762" y="1856"/>
                </a:lnTo>
                <a:lnTo>
                  <a:pt x="4764" y="1857"/>
                </a:lnTo>
                <a:lnTo>
                  <a:pt x="4767" y="1859"/>
                </a:lnTo>
                <a:lnTo>
                  <a:pt x="4769" y="1861"/>
                </a:lnTo>
                <a:lnTo>
                  <a:pt x="4770" y="1864"/>
                </a:lnTo>
                <a:lnTo>
                  <a:pt x="4771" y="1867"/>
                </a:lnTo>
                <a:lnTo>
                  <a:pt x="4772" y="1870"/>
                </a:lnTo>
                <a:lnTo>
                  <a:pt x="4771" y="1873"/>
                </a:lnTo>
                <a:lnTo>
                  <a:pt x="4770" y="1876"/>
                </a:lnTo>
                <a:lnTo>
                  <a:pt x="4769" y="1878"/>
                </a:lnTo>
                <a:lnTo>
                  <a:pt x="4768" y="1880"/>
                </a:lnTo>
                <a:lnTo>
                  <a:pt x="4766" y="1882"/>
                </a:lnTo>
                <a:lnTo>
                  <a:pt x="4764" y="1884"/>
                </a:lnTo>
                <a:lnTo>
                  <a:pt x="4761" y="1885"/>
                </a:lnTo>
                <a:lnTo>
                  <a:pt x="4757" y="1886"/>
                </a:lnTo>
                <a:lnTo>
                  <a:pt x="4754" y="1886"/>
                </a:lnTo>
                <a:lnTo>
                  <a:pt x="4750" y="1885"/>
                </a:lnTo>
                <a:lnTo>
                  <a:pt x="4749" y="1884"/>
                </a:lnTo>
                <a:lnTo>
                  <a:pt x="4747" y="1883"/>
                </a:lnTo>
                <a:lnTo>
                  <a:pt x="4745" y="1881"/>
                </a:lnTo>
                <a:lnTo>
                  <a:pt x="4743" y="1879"/>
                </a:lnTo>
                <a:lnTo>
                  <a:pt x="4742" y="1876"/>
                </a:lnTo>
                <a:lnTo>
                  <a:pt x="4741" y="1874"/>
                </a:lnTo>
                <a:lnTo>
                  <a:pt x="4740" y="1871"/>
                </a:lnTo>
                <a:lnTo>
                  <a:pt x="4741" y="1868"/>
                </a:lnTo>
                <a:lnTo>
                  <a:pt x="4742" y="1865"/>
                </a:lnTo>
                <a:lnTo>
                  <a:pt x="4743" y="1862"/>
                </a:lnTo>
                <a:lnTo>
                  <a:pt x="4744" y="1860"/>
                </a:lnTo>
                <a:lnTo>
                  <a:pt x="4746" y="1858"/>
                </a:lnTo>
                <a:lnTo>
                  <a:pt x="4748" y="1857"/>
                </a:lnTo>
                <a:close/>
                <a:moveTo>
                  <a:pt x="4616" y="1800"/>
                </a:moveTo>
                <a:lnTo>
                  <a:pt x="4619" y="1798"/>
                </a:lnTo>
                <a:lnTo>
                  <a:pt x="4623" y="1798"/>
                </a:lnTo>
                <a:lnTo>
                  <a:pt x="4627" y="1798"/>
                </a:lnTo>
                <a:lnTo>
                  <a:pt x="4630" y="1799"/>
                </a:lnTo>
                <a:lnTo>
                  <a:pt x="4633" y="1801"/>
                </a:lnTo>
                <a:lnTo>
                  <a:pt x="4635" y="1803"/>
                </a:lnTo>
                <a:lnTo>
                  <a:pt x="4637" y="1805"/>
                </a:lnTo>
                <a:lnTo>
                  <a:pt x="4638" y="1808"/>
                </a:lnTo>
                <a:lnTo>
                  <a:pt x="4639" y="1811"/>
                </a:lnTo>
                <a:lnTo>
                  <a:pt x="4639" y="1814"/>
                </a:lnTo>
                <a:lnTo>
                  <a:pt x="4639" y="1817"/>
                </a:lnTo>
                <a:lnTo>
                  <a:pt x="4638" y="1820"/>
                </a:lnTo>
                <a:lnTo>
                  <a:pt x="4636" y="1822"/>
                </a:lnTo>
                <a:lnTo>
                  <a:pt x="4635" y="1824"/>
                </a:lnTo>
                <a:lnTo>
                  <a:pt x="4633" y="1826"/>
                </a:lnTo>
                <a:lnTo>
                  <a:pt x="4631" y="1827"/>
                </a:lnTo>
                <a:lnTo>
                  <a:pt x="4628" y="1828"/>
                </a:lnTo>
                <a:lnTo>
                  <a:pt x="4624" y="1829"/>
                </a:lnTo>
                <a:lnTo>
                  <a:pt x="4621" y="1829"/>
                </a:lnTo>
                <a:lnTo>
                  <a:pt x="4617" y="1827"/>
                </a:lnTo>
                <a:lnTo>
                  <a:pt x="4614" y="1826"/>
                </a:lnTo>
                <a:lnTo>
                  <a:pt x="4612" y="1824"/>
                </a:lnTo>
                <a:lnTo>
                  <a:pt x="4610" y="1821"/>
                </a:lnTo>
                <a:lnTo>
                  <a:pt x="4609" y="1819"/>
                </a:lnTo>
                <a:lnTo>
                  <a:pt x="4608" y="1816"/>
                </a:lnTo>
                <a:lnTo>
                  <a:pt x="4608" y="1813"/>
                </a:lnTo>
                <a:lnTo>
                  <a:pt x="4608" y="1810"/>
                </a:lnTo>
                <a:lnTo>
                  <a:pt x="4609" y="1807"/>
                </a:lnTo>
                <a:lnTo>
                  <a:pt x="4611" y="1805"/>
                </a:lnTo>
                <a:lnTo>
                  <a:pt x="4612" y="1803"/>
                </a:lnTo>
                <a:lnTo>
                  <a:pt x="4614" y="1801"/>
                </a:lnTo>
                <a:lnTo>
                  <a:pt x="4616" y="1800"/>
                </a:lnTo>
                <a:close/>
                <a:moveTo>
                  <a:pt x="4488" y="1732"/>
                </a:moveTo>
                <a:lnTo>
                  <a:pt x="4492" y="1731"/>
                </a:lnTo>
                <a:lnTo>
                  <a:pt x="4496" y="1730"/>
                </a:lnTo>
                <a:lnTo>
                  <a:pt x="4500" y="1730"/>
                </a:lnTo>
                <a:lnTo>
                  <a:pt x="4504" y="1732"/>
                </a:lnTo>
                <a:lnTo>
                  <a:pt x="4506" y="1734"/>
                </a:lnTo>
                <a:lnTo>
                  <a:pt x="4508" y="1736"/>
                </a:lnTo>
                <a:lnTo>
                  <a:pt x="4510" y="1739"/>
                </a:lnTo>
                <a:lnTo>
                  <a:pt x="4511" y="1741"/>
                </a:lnTo>
                <a:lnTo>
                  <a:pt x="4511" y="1744"/>
                </a:lnTo>
                <a:lnTo>
                  <a:pt x="4511" y="1747"/>
                </a:lnTo>
                <a:lnTo>
                  <a:pt x="4511" y="1750"/>
                </a:lnTo>
                <a:lnTo>
                  <a:pt x="4509" y="1753"/>
                </a:lnTo>
                <a:lnTo>
                  <a:pt x="4507" y="1757"/>
                </a:lnTo>
                <a:lnTo>
                  <a:pt x="4504" y="1759"/>
                </a:lnTo>
                <a:lnTo>
                  <a:pt x="4500" y="1760"/>
                </a:lnTo>
                <a:lnTo>
                  <a:pt x="4496" y="1761"/>
                </a:lnTo>
                <a:lnTo>
                  <a:pt x="4492" y="1761"/>
                </a:lnTo>
                <a:lnTo>
                  <a:pt x="4488" y="1759"/>
                </a:lnTo>
                <a:lnTo>
                  <a:pt x="4486" y="1757"/>
                </a:lnTo>
                <a:lnTo>
                  <a:pt x="4484" y="1755"/>
                </a:lnTo>
                <a:lnTo>
                  <a:pt x="4482" y="1752"/>
                </a:lnTo>
                <a:lnTo>
                  <a:pt x="4481" y="1750"/>
                </a:lnTo>
                <a:lnTo>
                  <a:pt x="4480" y="1747"/>
                </a:lnTo>
                <a:lnTo>
                  <a:pt x="4481" y="1744"/>
                </a:lnTo>
                <a:lnTo>
                  <a:pt x="4481" y="1741"/>
                </a:lnTo>
                <a:lnTo>
                  <a:pt x="4482" y="1738"/>
                </a:lnTo>
                <a:lnTo>
                  <a:pt x="4485" y="1735"/>
                </a:lnTo>
                <a:lnTo>
                  <a:pt x="4488" y="1732"/>
                </a:lnTo>
                <a:close/>
                <a:moveTo>
                  <a:pt x="4363" y="1661"/>
                </a:moveTo>
                <a:lnTo>
                  <a:pt x="4367" y="1660"/>
                </a:lnTo>
                <a:lnTo>
                  <a:pt x="4370" y="1659"/>
                </a:lnTo>
                <a:lnTo>
                  <a:pt x="4374" y="1659"/>
                </a:lnTo>
                <a:lnTo>
                  <a:pt x="4378" y="1661"/>
                </a:lnTo>
                <a:lnTo>
                  <a:pt x="4381" y="1663"/>
                </a:lnTo>
                <a:lnTo>
                  <a:pt x="4383" y="1665"/>
                </a:lnTo>
                <a:lnTo>
                  <a:pt x="4385" y="1668"/>
                </a:lnTo>
                <a:lnTo>
                  <a:pt x="4386" y="1670"/>
                </a:lnTo>
                <a:lnTo>
                  <a:pt x="4386" y="1673"/>
                </a:lnTo>
                <a:lnTo>
                  <a:pt x="4386" y="1676"/>
                </a:lnTo>
                <a:lnTo>
                  <a:pt x="4385" y="1679"/>
                </a:lnTo>
                <a:lnTo>
                  <a:pt x="4384" y="1682"/>
                </a:lnTo>
                <a:lnTo>
                  <a:pt x="4383" y="1684"/>
                </a:lnTo>
                <a:lnTo>
                  <a:pt x="4382" y="1685"/>
                </a:lnTo>
                <a:lnTo>
                  <a:pt x="4378" y="1688"/>
                </a:lnTo>
                <a:lnTo>
                  <a:pt x="4375" y="1689"/>
                </a:lnTo>
                <a:lnTo>
                  <a:pt x="4371" y="1690"/>
                </a:lnTo>
                <a:lnTo>
                  <a:pt x="4367" y="1690"/>
                </a:lnTo>
                <a:lnTo>
                  <a:pt x="4363" y="1688"/>
                </a:lnTo>
                <a:lnTo>
                  <a:pt x="4360" y="1686"/>
                </a:lnTo>
                <a:lnTo>
                  <a:pt x="4358" y="1684"/>
                </a:lnTo>
                <a:lnTo>
                  <a:pt x="4357" y="1681"/>
                </a:lnTo>
                <a:lnTo>
                  <a:pt x="4356" y="1679"/>
                </a:lnTo>
                <a:lnTo>
                  <a:pt x="4355" y="1676"/>
                </a:lnTo>
                <a:lnTo>
                  <a:pt x="4355" y="1673"/>
                </a:lnTo>
                <a:lnTo>
                  <a:pt x="4356" y="1670"/>
                </a:lnTo>
                <a:lnTo>
                  <a:pt x="4357" y="1667"/>
                </a:lnTo>
                <a:lnTo>
                  <a:pt x="4358" y="1665"/>
                </a:lnTo>
                <a:lnTo>
                  <a:pt x="4360" y="1664"/>
                </a:lnTo>
                <a:lnTo>
                  <a:pt x="4363" y="1661"/>
                </a:lnTo>
                <a:close/>
                <a:moveTo>
                  <a:pt x="4237" y="1591"/>
                </a:moveTo>
                <a:lnTo>
                  <a:pt x="4241" y="1589"/>
                </a:lnTo>
                <a:lnTo>
                  <a:pt x="4245" y="1589"/>
                </a:lnTo>
                <a:lnTo>
                  <a:pt x="4247" y="1589"/>
                </a:lnTo>
                <a:lnTo>
                  <a:pt x="4249" y="1589"/>
                </a:lnTo>
                <a:lnTo>
                  <a:pt x="4252" y="1591"/>
                </a:lnTo>
                <a:lnTo>
                  <a:pt x="4255" y="1593"/>
                </a:lnTo>
                <a:lnTo>
                  <a:pt x="4257" y="1595"/>
                </a:lnTo>
                <a:lnTo>
                  <a:pt x="4259" y="1597"/>
                </a:lnTo>
                <a:lnTo>
                  <a:pt x="4260" y="1600"/>
                </a:lnTo>
                <a:lnTo>
                  <a:pt x="4260" y="1603"/>
                </a:lnTo>
                <a:lnTo>
                  <a:pt x="4260" y="1606"/>
                </a:lnTo>
                <a:lnTo>
                  <a:pt x="4260" y="1609"/>
                </a:lnTo>
                <a:lnTo>
                  <a:pt x="4258" y="1612"/>
                </a:lnTo>
                <a:lnTo>
                  <a:pt x="4256" y="1615"/>
                </a:lnTo>
                <a:lnTo>
                  <a:pt x="4253" y="1618"/>
                </a:lnTo>
                <a:lnTo>
                  <a:pt x="4249" y="1619"/>
                </a:lnTo>
                <a:lnTo>
                  <a:pt x="4245" y="1620"/>
                </a:lnTo>
                <a:lnTo>
                  <a:pt x="4243" y="1620"/>
                </a:lnTo>
                <a:lnTo>
                  <a:pt x="4241" y="1620"/>
                </a:lnTo>
                <a:lnTo>
                  <a:pt x="4237" y="1618"/>
                </a:lnTo>
                <a:lnTo>
                  <a:pt x="4235" y="1616"/>
                </a:lnTo>
                <a:lnTo>
                  <a:pt x="4233" y="1614"/>
                </a:lnTo>
                <a:lnTo>
                  <a:pt x="4231" y="1612"/>
                </a:lnTo>
                <a:lnTo>
                  <a:pt x="4230" y="1609"/>
                </a:lnTo>
                <a:lnTo>
                  <a:pt x="4229" y="1606"/>
                </a:lnTo>
                <a:lnTo>
                  <a:pt x="4229" y="1603"/>
                </a:lnTo>
                <a:lnTo>
                  <a:pt x="4230" y="1600"/>
                </a:lnTo>
                <a:lnTo>
                  <a:pt x="4231" y="1597"/>
                </a:lnTo>
                <a:lnTo>
                  <a:pt x="4234" y="1594"/>
                </a:lnTo>
                <a:lnTo>
                  <a:pt x="4237" y="1591"/>
                </a:lnTo>
                <a:close/>
                <a:moveTo>
                  <a:pt x="4111" y="1522"/>
                </a:moveTo>
                <a:lnTo>
                  <a:pt x="4112" y="1521"/>
                </a:lnTo>
                <a:lnTo>
                  <a:pt x="4114" y="1521"/>
                </a:lnTo>
                <a:lnTo>
                  <a:pt x="4118" y="1520"/>
                </a:lnTo>
                <a:lnTo>
                  <a:pt x="4120" y="1520"/>
                </a:lnTo>
                <a:lnTo>
                  <a:pt x="4122" y="1521"/>
                </a:lnTo>
                <a:lnTo>
                  <a:pt x="4126" y="1522"/>
                </a:lnTo>
                <a:lnTo>
                  <a:pt x="4128" y="1524"/>
                </a:lnTo>
                <a:lnTo>
                  <a:pt x="4130" y="1526"/>
                </a:lnTo>
                <a:lnTo>
                  <a:pt x="4132" y="1528"/>
                </a:lnTo>
                <a:lnTo>
                  <a:pt x="4133" y="1531"/>
                </a:lnTo>
                <a:lnTo>
                  <a:pt x="4134" y="1534"/>
                </a:lnTo>
                <a:lnTo>
                  <a:pt x="4134" y="1537"/>
                </a:lnTo>
                <a:lnTo>
                  <a:pt x="4133" y="1540"/>
                </a:lnTo>
                <a:lnTo>
                  <a:pt x="4132" y="1543"/>
                </a:lnTo>
                <a:lnTo>
                  <a:pt x="4129" y="1547"/>
                </a:lnTo>
                <a:lnTo>
                  <a:pt x="4128" y="1548"/>
                </a:lnTo>
                <a:lnTo>
                  <a:pt x="4126" y="1549"/>
                </a:lnTo>
                <a:lnTo>
                  <a:pt x="4124" y="1550"/>
                </a:lnTo>
                <a:lnTo>
                  <a:pt x="4123" y="1551"/>
                </a:lnTo>
                <a:lnTo>
                  <a:pt x="4119" y="1551"/>
                </a:lnTo>
                <a:lnTo>
                  <a:pt x="4117" y="1551"/>
                </a:lnTo>
                <a:lnTo>
                  <a:pt x="4115" y="1551"/>
                </a:lnTo>
                <a:lnTo>
                  <a:pt x="4111" y="1549"/>
                </a:lnTo>
                <a:lnTo>
                  <a:pt x="4108" y="1548"/>
                </a:lnTo>
                <a:lnTo>
                  <a:pt x="4106" y="1545"/>
                </a:lnTo>
                <a:lnTo>
                  <a:pt x="4105" y="1543"/>
                </a:lnTo>
                <a:lnTo>
                  <a:pt x="4103" y="1540"/>
                </a:lnTo>
                <a:lnTo>
                  <a:pt x="4103" y="1537"/>
                </a:lnTo>
                <a:lnTo>
                  <a:pt x="4103" y="1534"/>
                </a:lnTo>
                <a:lnTo>
                  <a:pt x="4103" y="1531"/>
                </a:lnTo>
                <a:lnTo>
                  <a:pt x="4105" y="1528"/>
                </a:lnTo>
                <a:lnTo>
                  <a:pt x="4107" y="1525"/>
                </a:lnTo>
                <a:lnTo>
                  <a:pt x="4109" y="1523"/>
                </a:lnTo>
                <a:lnTo>
                  <a:pt x="4111" y="1522"/>
                </a:lnTo>
                <a:close/>
                <a:moveTo>
                  <a:pt x="3982" y="1455"/>
                </a:moveTo>
                <a:lnTo>
                  <a:pt x="3984" y="1454"/>
                </a:lnTo>
                <a:lnTo>
                  <a:pt x="3986" y="1454"/>
                </a:lnTo>
                <a:lnTo>
                  <a:pt x="3989" y="1453"/>
                </a:lnTo>
                <a:lnTo>
                  <a:pt x="3993" y="1454"/>
                </a:lnTo>
                <a:lnTo>
                  <a:pt x="3997" y="1455"/>
                </a:lnTo>
                <a:lnTo>
                  <a:pt x="4000" y="1457"/>
                </a:lnTo>
                <a:lnTo>
                  <a:pt x="4002" y="1459"/>
                </a:lnTo>
                <a:lnTo>
                  <a:pt x="4003" y="1461"/>
                </a:lnTo>
                <a:lnTo>
                  <a:pt x="4005" y="1464"/>
                </a:lnTo>
                <a:lnTo>
                  <a:pt x="4005" y="1470"/>
                </a:lnTo>
                <a:lnTo>
                  <a:pt x="4005" y="1473"/>
                </a:lnTo>
                <a:lnTo>
                  <a:pt x="4004" y="1476"/>
                </a:lnTo>
                <a:lnTo>
                  <a:pt x="4001" y="1480"/>
                </a:lnTo>
                <a:lnTo>
                  <a:pt x="3998" y="1482"/>
                </a:lnTo>
                <a:lnTo>
                  <a:pt x="3996" y="1483"/>
                </a:lnTo>
                <a:lnTo>
                  <a:pt x="3994" y="1484"/>
                </a:lnTo>
                <a:lnTo>
                  <a:pt x="3990" y="1484"/>
                </a:lnTo>
                <a:lnTo>
                  <a:pt x="3987" y="1484"/>
                </a:lnTo>
                <a:lnTo>
                  <a:pt x="3983" y="1483"/>
                </a:lnTo>
                <a:lnTo>
                  <a:pt x="3980" y="1481"/>
                </a:lnTo>
                <a:lnTo>
                  <a:pt x="3978" y="1479"/>
                </a:lnTo>
                <a:lnTo>
                  <a:pt x="3976" y="1476"/>
                </a:lnTo>
                <a:lnTo>
                  <a:pt x="3975" y="1474"/>
                </a:lnTo>
                <a:lnTo>
                  <a:pt x="3974" y="1468"/>
                </a:lnTo>
                <a:lnTo>
                  <a:pt x="3975" y="1465"/>
                </a:lnTo>
                <a:lnTo>
                  <a:pt x="3976" y="1462"/>
                </a:lnTo>
                <a:lnTo>
                  <a:pt x="3979" y="1458"/>
                </a:lnTo>
                <a:lnTo>
                  <a:pt x="3982" y="1455"/>
                </a:lnTo>
                <a:close/>
                <a:moveTo>
                  <a:pt x="3853" y="1391"/>
                </a:moveTo>
                <a:lnTo>
                  <a:pt x="3857" y="1389"/>
                </a:lnTo>
                <a:lnTo>
                  <a:pt x="3860" y="1389"/>
                </a:lnTo>
                <a:lnTo>
                  <a:pt x="3864" y="1389"/>
                </a:lnTo>
                <a:lnTo>
                  <a:pt x="3868" y="1390"/>
                </a:lnTo>
                <a:lnTo>
                  <a:pt x="3871" y="1392"/>
                </a:lnTo>
                <a:lnTo>
                  <a:pt x="3873" y="1394"/>
                </a:lnTo>
                <a:lnTo>
                  <a:pt x="3875" y="1397"/>
                </a:lnTo>
                <a:lnTo>
                  <a:pt x="3876" y="1399"/>
                </a:lnTo>
                <a:lnTo>
                  <a:pt x="3876" y="1402"/>
                </a:lnTo>
                <a:lnTo>
                  <a:pt x="3877" y="1405"/>
                </a:lnTo>
                <a:lnTo>
                  <a:pt x="3876" y="1408"/>
                </a:lnTo>
                <a:lnTo>
                  <a:pt x="3875" y="1411"/>
                </a:lnTo>
                <a:lnTo>
                  <a:pt x="3874" y="1413"/>
                </a:lnTo>
                <a:lnTo>
                  <a:pt x="3872" y="1415"/>
                </a:lnTo>
                <a:lnTo>
                  <a:pt x="3869" y="1418"/>
                </a:lnTo>
                <a:lnTo>
                  <a:pt x="3865" y="1419"/>
                </a:lnTo>
                <a:lnTo>
                  <a:pt x="3862" y="1420"/>
                </a:lnTo>
                <a:lnTo>
                  <a:pt x="3858" y="1420"/>
                </a:lnTo>
                <a:lnTo>
                  <a:pt x="3854" y="1418"/>
                </a:lnTo>
                <a:lnTo>
                  <a:pt x="3852" y="1417"/>
                </a:lnTo>
                <a:lnTo>
                  <a:pt x="3849" y="1415"/>
                </a:lnTo>
                <a:lnTo>
                  <a:pt x="3848" y="1412"/>
                </a:lnTo>
                <a:lnTo>
                  <a:pt x="3846" y="1409"/>
                </a:lnTo>
                <a:lnTo>
                  <a:pt x="3846" y="1407"/>
                </a:lnTo>
                <a:lnTo>
                  <a:pt x="3846" y="1404"/>
                </a:lnTo>
                <a:lnTo>
                  <a:pt x="3846" y="1400"/>
                </a:lnTo>
                <a:lnTo>
                  <a:pt x="3847" y="1398"/>
                </a:lnTo>
                <a:lnTo>
                  <a:pt x="3848" y="1395"/>
                </a:lnTo>
                <a:lnTo>
                  <a:pt x="3850" y="1394"/>
                </a:lnTo>
                <a:lnTo>
                  <a:pt x="3853" y="1391"/>
                </a:lnTo>
                <a:close/>
                <a:moveTo>
                  <a:pt x="3723" y="1330"/>
                </a:moveTo>
                <a:lnTo>
                  <a:pt x="3726" y="1328"/>
                </a:lnTo>
                <a:lnTo>
                  <a:pt x="3730" y="1328"/>
                </a:lnTo>
                <a:lnTo>
                  <a:pt x="3734" y="1328"/>
                </a:lnTo>
                <a:lnTo>
                  <a:pt x="3735" y="1328"/>
                </a:lnTo>
                <a:lnTo>
                  <a:pt x="3737" y="1329"/>
                </a:lnTo>
                <a:lnTo>
                  <a:pt x="3740" y="1331"/>
                </a:lnTo>
                <a:lnTo>
                  <a:pt x="3742" y="1333"/>
                </a:lnTo>
                <a:lnTo>
                  <a:pt x="3744" y="1335"/>
                </a:lnTo>
                <a:lnTo>
                  <a:pt x="3745" y="1338"/>
                </a:lnTo>
                <a:lnTo>
                  <a:pt x="3746" y="1341"/>
                </a:lnTo>
                <a:lnTo>
                  <a:pt x="3746" y="1344"/>
                </a:lnTo>
                <a:lnTo>
                  <a:pt x="3746" y="1347"/>
                </a:lnTo>
                <a:lnTo>
                  <a:pt x="3745" y="1350"/>
                </a:lnTo>
                <a:lnTo>
                  <a:pt x="3744" y="1352"/>
                </a:lnTo>
                <a:lnTo>
                  <a:pt x="3742" y="1354"/>
                </a:lnTo>
                <a:lnTo>
                  <a:pt x="3741" y="1355"/>
                </a:lnTo>
                <a:lnTo>
                  <a:pt x="3739" y="1357"/>
                </a:lnTo>
                <a:lnTo>
                  <a:pt x="3735" y="1358"/>
                </a:lnTo>
                <a:lnTo>
                  <a:pt x="3732" y="1359"/>
                </a:lnTo>
                <a:lnTo>
                  <a:pt x="3728" y="1358"/>
                </a:lnTo>
                <a:lnTo>
                  <a:pt x="3726" y="1358"/>
                </a:lnTo>
                <a:lnTo>
                  <a:pt x="3724" y="1357"/>
                </a:lnTo>
                <a:lnTo>
                  <a:pt x="3722" y="1356"/>
                </a:lnTo>
                <a:lnTo>
                  <a:pt x="3719" y="1354"/>
                </a:lnTo>
                <a:lnTo>
                  <a:pt x="3718" y="1351"/>
                </a:lnTo>
                <a:lnTo>
                  <a:pt x="3716" y="1349"/>
                </a:lnTo>
                <a:lnTo>
                  <a:pt x="3715" y="1346"/>
                </a:lnTo>
                <a:lnTo>
                  <a:pt x="3715" y="1343"/>
                </a:lnTo>
                <a:lnTo>
                  <a:pt x="3716" y="1340"/>
                </a:lnTo>
                <a:lnTo>
                  <a:pt x="3717" y="1337"/>
                </a:lnTo>
                <a:lnTo>
                  <a:pt x="3718" y="1335"/>
                </a:lnTo>
                <a:lnTo>
                  <a:pt x="3719" y="1333"/>
                </a:lnTo>
                <a:lnTo>
                  <a:pt x="3721" y="1331"/>
                </a:lnTo>
                <a:lnTo>
                  <a:pt x="3723" y="1330"/>
                </a:lnTo>
                <a:close/>
                <a:moveTo>
                  <a:pt x="1967" y="2343"/>
                </a:moveTo>
                <a:lnTo>
                  <a:pt x="1969" y="2342"/>
                </a:lnTo>
                <a:lnTo>
                  <a:pt x="1972" y="2341"/>
                </a:lnTo>
                <a:lnTo>
                  <a:pt x="1977" y="2341"/>
                </a:lnTo>
                <a:lnTo>
                  <a:pt x="1979" y="2342"/>
                </a:lnTo>
                <a:lnTo>
                  <a:pt x="1982" y="2343"/>
                </a:lnTo>
                <a:lnTo>
                  <a:pt x="1984" y="2344"/>
                </a:lnTo>
                <a:lnTo>
                  <a:pt x="1986" y="2346"/>
                </a:lnTo>
                <a:lnTo>
                  <a:pt x="1988" y="2348"/>
                </a:lnTo>
                <a:lnTo>
                  <a:pt x="1989" y="2351"/>
                </a:lnTo>
                <a:lnTo>
                  <a:pt x="1990" y="2354"/>
                </a:lnTo>
                <a:lnTo>
                  <a:pt x="1990" y="2357"/>
                </a:lnTo>
                <a:lnTo>
                  <a:pt x="1990" y="2360"/>
                </a:lnTo>
                <a:lnTo>
                  <a:pt x="1989" y="2363"/>
                </a:lnTo>
                <a:lnTo>
                  <a:pt x="1988" y="2365"/>
                </a:lnTo>
                <a:lnTo>
                  <a:pt x="1986" y="2368"/>
                </a:lnTo>
                <a:lnTo>
                  <a:pt x="1982" y="2370"/>
                </a:lnTo>
                <a:lnTo>
                  <a:pt x="1978" y="2372"/>
                </a:lnTo>
                <a:lnTo>
                  <a:pt x="1973" y="2372"/>
                </a:lnTo>
                <a:lnTo>
                  <a:pt x="1970" y="2371"/>
                </a:lnTo>
                <a:lnTo>
                  <a:pt x="1968" y="2370"/>
                </a:lnTo>
                <a:lnTo>
                  <a:pt x="1966" y="2369"/>
                </a:lnTo>
                <a:lnTo>
                  <a:pt x="1964" y="2367"/>
                </a:lnTo>
                <a:lnTo>
                  <a:pt x="1962" y="2365"/>
                </a:lnTo>
                <a:lnTo>
                  <a:pt x="1960" y="2362"/>
                </a:lnTo>
                <a:lnTo>
                  <a:pt x="1959" y="2359"/>
                </a:lnTo>
                <a:lnTo>
                  <a:pt x="1959" y="2356"/>
                </a:lnTo>
                <a:lnTo>
                  <a:pt x="1959" y="2353"/>
                </a:lnTo>
                <a:lnTo>
                  <a:pt x="1960" y="2350"/>
                </a:lnTo>
                <a:lnTo>
                  <a:pt x="1962" y="2348"/>
                </a:lnTo>
                <a:lnTo>
                  <a:pt x="1964" y="2345"/>
                </a:lnTo>
                <a:lnTo>
                  <a:pt x="1967" y="2343"/>
                </a:lnTo>
                <a:close/>
                <a:moveTo>
                  <a:pt x="2063" y="2236"/>
                </a:moveTo>
                <a:lnTo>
                  <a:pt x="2067" y="2234"/>
                </a:lnTo>
                <a:lnTo>
                  <a:pt x="2071" y="2234"/>
                </a:lnTo>
                <a:lnTo>
                  <a:pt x="2073" y="2234"/>
                </a:lnTo>
                <a:lnTo>
                  <a:pt x="2076" y="2235"/>
                </a:lnTo>
                <a:lnTo>
                  <a:pt x="2078" y="2236"/>
                </a:lnTo>
                <a:lnTo>
                  <a:pt x="2080" y="2237"/>
                </a:lnTo>
                <a:lnTo>
                  <a:pt x="2082" y="2239"/>
                </a:lnTo>
                <a:lnTo>
                  <a:pt x="2084" y="2242"/>
                </a:lnTo>
                <a:lnTo>
                  <a:pt x="2085" y="2245"/>
                </a:lnTo>
                <a:lnTo>
                  <a:pt x="2086" y="2248"/>
                </a:lnTo>
                <a:lnTo>
                  <a:pt x="2086" y="2251"/>
                </a:lnTo>
                <a:lnTo>
                  <a:pt x="2085" y="2254"/>
                </a:lnTo>
                <a:lnTo>
                  <a:pt x="2084" y="2256"/>
                </a:lnTo>
                <a:lnTo>
                  <a:pt x="2083" y="2259"/>
                </a:lnTo>
                <a:lnTo>
                  <a:pt x="2081" y="2261"/>
                </a:lnTo>
                <a:lnTo>
                  <a:pt x="2078" y="2263"/>
                </a:lnTo>
                <a:lnTo>
                  <a:pt x="2074" y="2265"/>
                </a:lnTo>
                <a:lnTo>
                  <a:pt x="2069" y="2265"/>
                </a:lnTo>
                <a:lnTo>
                  <a:pt x="2067" y="2265"/>
                </a:lnTo>
                <a:lnTo>
                  <a:pt x="2065" y="2264"/>
                </a:lnTo>
                <a:lnTo>
                  <a:pt x="2063" y="2263"/>
                </a:lnTo>
                <a:lnTo>
                  <a:pt x="2061" y="2262"/>
                </a:lnTo>
                <a:lnTo>
                  <a:pt x="2059" y="2260"/>
                </a:lnTo>
                <a:lnTo>
                  <a:pt x="2057" y="2257"/>
                </a:lnTo>
                <a:lnTo>
                  <a:pt x="2056" y="2255"/>
                </a:lnTo>
                <a:lnTo>
                  <a:pt x="2055" y="2252"/>
                </a:lnTo>
                <a:lnTo>
                  <a:pt x="2055" y="2249"/>
                </a:lnTo>
                <a:lnTo>
                  <a:pt x="2055" y="2246"/>
                </a:lnTo>
                <a:lnTo>
                  <a:pt x="2056" y="2243"/>
                </a:lnTo>
                <a:lnTo>
                  <a:pt x="2058" y="2240"/>
                </a:lnTo>
                <a:lnTo>
                  <a:pt x="2060" y="2238"/>
                </a:lnTo>
                <a:lnTo>
                  <a:pt x="2063" y="2236"/>
                </a:lnTo>
                <a:close/>
                <a:moveTo>
                  <a:pt x="2140" y="2115"/>
                </a:moveTo>
                <a:lnTo>
                  <a:pt x="2141" y="2114"/>
                </a:lnTo>
                <a:lnTo>
                  <a:pt x="2143" y="2114"/>
                </a:lnTo>
                <a:lnTo>
                  <a:pt x="2147" y="2113"/>
                </a:lnTo>
                <a:lnTo>
                  <a:pt x="2151" y="2113"/>
                </a:lnTo>
                <a:lnTo>
                  <a:pt x="2154" y="2115"/>
                </a:lnTo>
                <a:lnTo>
                  <a:pt x="2157" y="2116"/>
                </a:lnTo>
                <a:lnTo>
                  <a:pt x="2159" y="2119"/>
                </a:lnTo>
                <a:lnTo>
                  <a:pt x="2161" y="2121"/>
                </a:lnTo>
                <a:lnTo>
                  <a:pt x="2162" y="2124"/>
                </a:lnTo>
                <a:lnTo>
                  <a:pt x="2163" y="2130"/>
                </a:lnTo>
                <a:lnTo>
                  <a:pt x="2162" y="2133"/>
                </a:lnTo>
                <a:lnTo>
                  <a:pt x="2161" y="2136"/>
                </a:lnTo>
                <a:lnTo>
                  <a:pt x="2159" y="2139"/>
                </a:lnTo>
                <a:lnTo>
                  <a:pt x="2155" y="2142"/>
                </a:lnTo>
                <a:lnTo>
                  <a:pt x="2153" y="2143"/>
                </a:lnTo>
                <a:lnTo>
                  <a:pt x="2152" y="2143"/>
                </a:lnTo>
                <a:lnTo>
                  <a:pt x="2148" y="2144"/>
                </a:lnTo>
                <a:lnTo>
                  <a:pt x="2144" y="2144"/>
                </a:lnTo>
                <a:lnTo>
                  <a:pt x="2140" y="2142"/>
                </a:lnTo>
                <a:lnTo>
                  <a:pt x="2138" y="2141"/>
                </a:lnTo>
                <a:lnTo>
                  <a:pt x="2135" y="2139"/>
                </a:lnTo>
                <a:lnTo>
                  <a:pt x="2134" y="2136"/>
                </a:lnTo>
                <a:lnTo>
                  <a:pt x="2133" y="2133"/>
                </a:lnTo>
                <a:lnTo>
                  <a:pt x="2132" y="2127"/>
                </a:lnTo>
                <a:lnTo>
                  <a:pt x="2132" y="2124"/>
                </a:lnTo>
                <a:lnTo>
                  <a:pt x="2133" y="2121"/>
                </a:lnTo>
                <a:lnTo>
                  <a:pt x="2136" y="2118"/>
                </a:lnTo>
                <a:lnTo>
                  <a:pt x="2140" y="2115"/>
                </a:lnTo>
                <a:close/>
                <a:moveTo>
                  <a:pt x="3591" y="1273"/>
                </a:moveTo>
                <a:lnTo>
                  <a:pt x="3594" y="1271"/>
                </a:lnTo>
                <a:lnTo>
                  <a:pt x="3597" y="1271"/>
                </a:lnTo>
                <a:lnTo>
                  <a:pt x="3601" y="1271"/>
                </a:lnTo>
                <a:lnTo>
                  <a:pt x="3604" y="1272"/>
                </a:lnTo>
                <a:lnTo>
                  <a:pt x="3607" y="1273"/>
                </a:lnTo>
                <a:lnTo>
                  <a:pt x="3610" y="1275"/>
                </a:lnTo>
                <a:lnTo>
                  <a:pt x="3611" y="1278"/>
                </a:lnTo>
                <a:lnTo>
                  <a:pt x="3613" y="1280"/>
                </a:lnTo>
                <a:lnTo>
                  <a:pt x="3614" y="1283"/>
                </a:lnTo>
                <a:lnTo>
                  <a:pt x="3614" y="1286"/>
                </a:lnTo>
                <a:lnTo>
                  <a:pt x="3614" y="1289"/>
                </a:lnTo>
                <a:lnTo>
                  <a:pt x="3613" y="1292"/>
                </a:lnTo>
                <a:lnTo>
                  <a:pt x="3612" y="1294"/>
                </a:lnTo>
                <a:lnTo>
                  <a:pt x="3610" y="1297"/>
                </a:lnTo>
                <a:lnTo>
                  <a:pt x="3608" y="1298"/>
                </a:lnTo>
                <a:lnTo>
                  <a:pt x="3606" y="1300"/>
                </a:lnTo>
                <a:lnTo>
                  <a:pt x="3603" y="1301"/>
                </a:lnTo>
                <a:lnTo>
                  <a:pt x="3600" y="1302"/>
                </a:lnTo>
                <a:lnTo>
                  <a:pt x="3596" y="1302"/>
                </a:lnTo>
                <a:lnTo>
                  <a:pt x="3593" y="1301"/>
                </a:lnTo>
                <a:lnTo>
                  <a:pt x="3590" y="1299"/>
                </a:lnTo>
                <a:lnTo>
                  <a:pt x="3588" y="1297"/>
                </a:lnTo>
                <a:lnTo>
                  <a:pt x="3586" y="1295"/>
                </a:lnTo>
                <a:lnTo>
                  <a:pt x="3584" y="1292"/>
                </a:lnTo>
                <a:lnTo>
                  <a:pt x="3583" y="1289"/>
                </a:lnTo>
                <a:lnTo>
                  <a:pt x="3583" y="1286"/>
                </a:lnTo>
                <a:lnTo>
                  <a:pt x="3583" y="1283"/>
                </a:lnTo>
                <a:lnTo>
                  <a:pt x="3584" y="1280"/>
                </a:lnTo>
                <a:lnTo>
                  <a:pt x="3585" y="1278"/>
                </a:lnTo>
                <a:lnTo>
                  <a:pt x="3587" y="1276"/>
                </a:lnTo>
                <a:lnTo>
                  <a:pt x="3589" y="1274"/>
                </a:lnTo>
                <a:lnTo>
                  <a:pt x="3591" y="1273"/>
                </a:lnTo>
                <a:close/>
                <a:moveTo>
                  <a:pt x="2193" y="1982"/>
                </a:moveTo>
                <a:lnTo>
                  <a:pt x="2196" y="1981"/>
                </a:lnTo>
                <a:lnTo>
                  <a:pt x="2199" y="1980"/>
                </a:lnTo>
                <a:lnTo>
                  <a:pt x="2202" y="1980"/>
                </a:lnTo>
                <a:lnTo>
                  <a:pt x="2205" y="1981"/>
                </a:lnTo>
                <a:lnTo>
                  <a:pt x="2208" y="1982"/>
                </a:lnTo>
                <a:lnTo>
                  <a:pt x="2211" y="1983"/>
                </a:lnTo>
                <a:lnTo>
                  <a:pt x="2212" y="1984"/>
                </a:lnTo>
                <a:lnTo>
                  <a:pt x="2213" y="1986"/>
                </a:lnTo>
                <a:lnTo>
                  <a:pt x="2215" y="1988"/>
                </a:lnTo>
                <a:lnTo>
                  <a:pt x="2216" y="1991"/>
                </a:lnTo>
                <a:lnTo>
                  <a:pt x="2216" y="1994"/>
                </a:lnTo>
                <a:lnTo>
                  <a:pt x="2216" y="1997"/>
                </a:lnTo>
                <a:lnTo>
                  <a:pt x="2216" y="2000"/>
                </a:lnTo>
                <a:lnTo>
                  <a:pt x="2215" y="2003"/>
                </a:lnTo>
                <a:lnTo>
                  <a:pt x="2213" y="2005"/>
                </a:lnTo>
                <a:lnTo>
                  <a:pt x="2211" y="2007"/>
                </a:lnTo>
                <a:lnTo>
                  <a:pt x="2209" y="2009"/>
                </a:lnTo>
                <a:lnTo>
                  <a:pt x="2206" y="2010"/>
                </a:lnTo>
                <a:lnTo>
                  <a:pt x="2203" y="2011"/>
                </a:lnTo>
                <a:lnTo>
                  <a:pt x="2200" y="2011"/>
                </a:lnTo>
                <a:lnTo>
                  <a:pt x="2196" y="2010"/>
                </a:lnTo>
                <a:lnTo>
                  <a:pt x="2194" y="2009"/>
                </a:lnTo>
                <a:lnTo>
                  <a:pt x="2191" y="2007"/>
                </a:lnTo>
                <a:lnTo>
                  <a:pt x="2190" y="2006"/>
                </a:lnTo>
                <a:lnTo>
                  <a:pt x="2189" y="2005"/>
                </a:lnTo>
                <a:lnTo>
                  <a:pt x="2187" y="2003"/>
                </a:lnTo>
                <a:lnTo>
                  <a:pt x="2186" y="2000"/>
                </a:lnTo>
                <a:lnTo>
                  <a:pt x="2185" y="1997"/>
                </a:lnTo>
                <a:lnTo>
                  <a:pt x="2185" y="1994"/>
                </a:lnTo>
                <a:lnTo>
                  <a:pt x="2186" y="1991"/>
                </a:lnTo>
                <a:lnTo>
                  <a:pt x="2187" y="1988"/>
                </a:lnTo>
                <a:lnTo>
                  <a:pt x="2189" y="1986"/>
                </a:lnTo>
                <a:lnTo>
                  <a:pt x="2191" y="1984"/>
                </a:lnTo>
                <a:lnTo>
                  <a:pt x="2193" y="1982"/>
                </a:lnTo>
                <a:close/>
                <a:moveTo>
                  <a:pt x="3456" y="1222"/>
                </a:moveTo>
                <a:lnTo>
                  <a:pt x="3459" y="1220"/>
                </a:lnTo>
                <a:lnTo>
                  <a:pt x="3462" y="1220"/>
                </a:lnTo>
                <a:lnTo>
                  <a:pt x="3466" y="1220"/>
                </a:lnTo>
                <a:lnTo>
                  <a:pt x="3469" y="1220"/>
                </a:lnTo>
                <a:lnTo>
                  <a:pt x="3472" y="1222"/>
                </a:lnTo>
                <a:lnTo>
                  <a:pt x="3474" y="1224"/>
                </a:lnTo>
                <a:lnTo>
                  <a:pt x="3476" y="1226"/>
                </a:lnTo>
                <a:lnTo>
                  <a:pt x="3478" y="1228"/>
                </a:lnTo>
                <a:lnTo>
                  <a:pt x="3479" y="1231"/>
                </a:lnTo>
                <a:lnTo>
                  <a:pt x="3480" y="1234"/>
                </a:lnTo>
                <a:lnTo>
                  <a:pt x="3479" y="1240"/>
                </a:lnTo>
                <a:lnTo>
                  <a:pt x="3477" y="1243"/>
                </a:lnTo>
                <a:lnTo>
                  <a:pt x="3476" y="1245"/>
                </a:lnTo>
                <a:lnTo>
                  <a:pt x="3474" y="1247"/>
                </a:lnTo>
                <a:lnTo>
                  <a:pt x="3472" y="1248"/>
                </a:lnTo>
                <a:lnTo>
                  <a:pt x="3469" y="1250"/>
                </a:lnTo>
                <a:lnTo>
                  <a:pt x="3466" y="1250"/>
                </a:lnTo>
                <a:lnTo>
                  <a:pt x="3462" y="1250"/>
                </a:lnTo>
                <a:lnTo>
                  <a:pt x="3459" y="1250"/>
                </a:lnTo>
                <a:lnTo>
                  <a:pt x="3456" y="1248"/>
                </a:lnTo>
                <a:lnTo>
                  <a:pt x="3454" y="1247"/>
                </a:lnTo>
                <a:lnTo>
                  <a:pt x="3452" y="1244"/>
                </a:lnTo>
                <a:lnTo>
                  <a:pt x="3450" y="1242"/>
                </a:lnTo>
                <a:lnTo>
                  <a:pt x="3449" y="1239"/>
                </a:lnTo>
                <a:lnTo>
                  <a:pt x="3448" y="1236"/>
                </a:lnTo>
                <a:lnTo>
                  <a:pt x="3449" y="1230"/>
                </a:lnTo>
                <a:lnTo>
                  <a:pt x="3451" y="1227"/>
                </a:lnTo>
                <a:lnTo>
                  <a:pt x="3452" y="1225"/>
                </a:lnTo>
                <a:lnTo>
                  <a:pt x="3454" y="1223"/>
                </a:lnTo>
                <a:lnTo>
                  <a:pt x="3456" y="1222"/>
                </a:lnTo>
                <a:close/>
                <a:moveTo>
                  <a:pt x="2223" y="1841"/>
                </a:moveTo>
                <a:lnTo>
                  <a:pt x="2226" y="1840"/>
                </a:lnTo>
                <a:lnTo>
                  <a:pt x="2228" y="1840"/>
                </a:lnTo>
                <a:lnTo>
                  <a:pt x="2231" y="1839"/>
                </a:lnTo>
                <a:lnTo>
                  <a:pt x="2233" y="1840"/>
                </a:lnTo>
                <a:lnTo>
                  <a:pt x="2236" y="1840"/>
                </a:lnTo>
                <a:lnTo>
                  <a:pt x="2239" y="1842"/>
                </a:lnTo>
                <a:lnTo>
                  <a:pt x="2242" y="1843"/>
                </a:lnTo>
                <a:lnTo>
                  <a:pt x="2244" y="1846"/>
                </a:lnTo>
                <a:lnTo>
                  <a:pt x="2245" y="1848"/>
                </a:lnTo>
                <a:lnTo>
                  <a:pt x="2246" y="1851"/>
                </a:lnTo>
                <a:lnTo>
                  <a:pt x="2247" y="1854"/>
                </a:lnTo>
                <a:lnTo>
                  <a:pt x="2247" y="1857"/>
                </a:lnTo>
                <a:lnTo>
                  <a:pt x="2246" y="1861"/>
                </a:lnTo>
                <a:lnTo>
                  <a:pt x="2244" y="1864"/>
                </a:lnTo>
                <a:lnTo>
                  <a:pt x="2242" y="1866"/>
                </a:lnTo>
                <a:lnTo>
                  <a:pt x="2239" y="1868"/>
                </a:lnTo>
                <a:lnTo>
                  <a:pt x="2237" y="1869"/>
                </a:lnTo>
                <a:lnTo>
                  <a:pt x="2234" y="1870"/>
                </a:lnTo>
                <a:lnTo>
                  <a:pt x="2232" y="1870"/>
                </a:lnTo>
                <a:lnTo>
                  <a:pt x="2229" y="1870"/>
                </a:lnTo>
                <a:lnTo>
                  <a:pt x="2226" y="1870"/>
                </a:lnTo>
                <a:lnTo>
                  <a:pt x="2223" y="1868"/>
                </a:lnTo>
                <a:lnTo>
                  <a:pt x="2221" y="1866"/>
                </a:lnTo>
                <a:lnTo>
                  <a:pt x="2219" y="1864"/>
                </a:lnTo>
                <a:lnTo>
                  <a:pt x="2217" y="1862"/>
                </a:lnTo>
                <a:lnTo>
                  <a:pt x="2216" y="1859"/>
                </a:lnTo>
                <a:lnTo>
                  <a:pt x="2216" y="1856"/>
                </a:lnTo>
                <a:lnTo>
                  <a:pt x="2216" y="1853"/>
                </a:lnTo>
                <a:lnTo>
                  <a:pt x="2217" y="1849"/>
                </a:lnTo>
                <a:lnTo>
                  <a:pt x="2218" y="1846"/>
                </a:lnTo>
                <a:lnTo>
                  <a:pt x="2221" y="1844"/>
                </a:lnTo>
                <a:lnTo>
                  <a:pt x="2223" y="1841"/>
                </a:lnTo>
                <a:close/>
                <a:moveTo>
                  <a:pt x="3319" y="1178"/>
                </a:moveTo>
                <a:lnTo>
                  <a:pt x="3322" y="1177"/>
                </a:lnTo>
                <a:lnTo>
                  <a:pt x="3325" y="1176"/>
                </a:lnTo>
                <a:lnTo>
                  <a:pt x="3328" y="1176"/>
                </a:lnTo>
                <a:lnTo>
                  <a:pt x="3331" y="1176"/>
                </a:lnTo>
                <a:lnTo>
                  <a:pt x="3334" y="1177"/>
                </a:lnTo>
                <a:lnTo>
                  <a:pt x="3337" y="1179"/>
                </a:lnTo>
                <a:lnTo>
                  <a:pt x="3339" y="1181"/>
                </a:lnTo>
                <a:lnTo>
                  <a:pt x="3340" y="1184"/>
                </a:lnTo>
                <a:lnTo>
                  <a:pt x="3342" y="1186"/>
                </a:lnTo>
                <a:lnTo>
                  <a:pt x="3342" y="1189"/>
                </a:lnTo>
                <a:lnTo>
                  <a:pt x="3342" y="1192"/>
                </a:lnTo>
                <a:lnTo>
                  <a:pt x="3342" y="1195"/>
                </a:lnTo>
                <a:lnTo>
                  <a:pt x="3341" y="1198"/>
                </a:lnTo>
                <a:lnTo>
                  <a:pt x="3339" y="1201"/>
                </a:lnTo>
                <a:lnTo>
                  <a:pt x="3337" y="1203"/>
                </a:lnTo>
                <a:lnTo>
                  <a:pt x="3335" y="1205"/>
                </a:lnTo>
                <a:lnTo>
                  <a:pt x="3332" y="1206"/>
                </a:lnTo>
                <a:lnTo>
                  <a:pt x="3329" y="1207"/>
                </a:lnTo>
                <a:lnTo>
                  <a:pt x="3326" y="1207"/>
                </a:lnTo>
                <a:lnTo>
                  <a:pt x="3323" y="1206"/>
                </a:lnTo>
                <a:lnTo>
                  <a:pt x="3320" y="1205"/>
                </a:lnTo>
                <a:lnTo>
                  <a:pt x="3317" y="1203"/>
                </a:lnTo>
                <a:lnTo>
                  <a:pt x="3315" y="1201"/>
                </a:lnTo>
                <a:lnTo>
                  <a:pt x="3313" y="1199"/>
                </a:lnTo>
                <a:lnTo>
                  <a:pt x="3312" y="1196"/>
                </a:lnTo>
                <a:lnTo>
                  <a:pt x="3311" y="1193"/>
                </a:lnTo>
                <a:lnTo>
                  <a:pt x="3311" y="1190"/>
                </a:lnTo>
                <a:lnTo>
                  <a:pt x="3312" y="1187"/>
                </a:lnTo>
                <a:lnTo>
                  <a:pt x="3313" y="1184"/>
                </a:lnTo>
                <a:lnTo>
                  <a:pt x="3315" y="1182"/>
                </a:lnTo>
                <a:lnTo>
                  <a:pt x="3317" y="1179"/>
                </a:lnTo>
                <a:lnTo>
                  <a:pt x="3319" y="1178"/>
                </a:lnTo>
                <a:close/>
                <a:moveTo>
                  <a:pt x="2237" y="1697"/>
                </a:moveTo>
                <a:lnTo>
                  <a:pt x="2242" y="1696"/>
                </a:lnTo>
                <a:lnTo>
                  <a:pt x="2246" y="1695"/>
                </a:lnTo>
                <a:lnTo>
                  <a:pt x="2249" y="1696"/>
                </a:lnTo>
                <a:lnTo>
                  <a:pt x="2252" y="1697"/>
                </a:lnTo>
                <a:lnTo>
                  <a:pt x="2255" y="1698"/>
                </a:lnTo>
                <a:lnTo>
                  <a:pt x="2257" y="1700"/>
                </a:lnTo>
                <a:lnTo>
                  <a:pt x="2259" y="1703"/>
                </a:lnTo>
                <a:lnTo>
                  <a:pt x="2260" y="1706"/>
                </a:lnTo>
                <a:lnTo>
                  <a:pt x="2261" y="1709"/>
                </a:lnTo>
                <a:lnTo>
                  <a:pt x="2261" y="1712"/>
                </a:lnTo>
                <a:lnTo>
                  <a:pt x="2260" y="1714"/>
                </a:lnTo>
                <a:lnTo>
                  <a:pt x="2260" y="1716"/>
                </a:lnTo>
                <a:lnTo>
                  <a:pt x="2258" y="1719"/>
                </a:lnTo>
                <a:lnTo>
                  <a:pt x="2256" y="1722"/>
                </a:lnTo>
                <a:lnTo>
                  <a:pt x="2253" y="1724"/>
                </a:lnTo>
                <a:lnTo>
                  <a:pt x="2249" y="1726"/>
                </a:lnTo>
                <a:lnTo>
                  <a:pt x="2244" y="1726"/>
                </a:lnTo>
                <a:lnTo>
                  <a:pt x="2241" y="1726"/>
                </a:lnTo>
                <a:lnTo>
                  <a:pt x="2238" y="1725"/>
                </a:lnTo>
                <a:lnTo>
                  <a:pt x="2236" y="1723"/>
                </a:lnTo>
                <a:lnTo>
                  <a:pt x="2233" y="1721"/>
                </a:lnTo>
                <a:lnTo>
                  <a:pt x="2232" y="1718"/>
                </a:lnTo>
                <a:lnTo>
                  <a:pt x="2230" y="1716"/>
                </a:lnTo>
                <a:lnTo>
                  <a:pt x="2230" y="1713"/>
                </a:lnTo>
                <a:lnTo>
                  <a:pt x="2230" y="1710"/>
                </a:lnTo>
                <a:lnTo>
                  <a:pt x="2230" y="1708"/>
                </a:lnTo>
                <a:lnTo>
                  <a:pt x="2230" y="1706"/>
                </a:lnTo>
                <a:lnTo>
                  <a:pt x="2232" y="1702"/>
                </a:lnTo>
                <a:lnTo>
                  <a:pt x="2234" y="1699"/>
                </a:lnTo>
                <a:lnTo>
                  <a:pt x="2237" y="1697"/>
                </a:lnTo>
                <a:close/>
                <a:moveTo>
                  <a:pt x="3179" y="1144"/>
                </a:moveTo>
                <a:lnTo>
                  <a:pt x="3182" y="1143"/>
                </a:lnTo>
                <a:lnTo>
                  <a:pt x="3184" y="1142"/>
                </a:lnTo>
                <a:lnTo>
                  <a:pt x="3190" y="1142"/>
                </a:lnTo>
                <a:lnTo>
                  <a:pt x="3193" y="1143"/>
                </a:lnTo>
                <a:lnTo>
                  <a:pt x="3196" y="1144"/>
                </a:lnTo>
                <a:lnTo>
                  <a:pt x="3198" y="1146"/>
                </a:lnTo>
                <a:lnTo>
                  <a:pt x="3200" y="1149"/>
                </a:lnTo>
                <a:lnTo>
                  <a:pt x="3201" y="1151"/>
                </a:lnTo>
                <a:lnTo>
                  <a:pt x="3202" y="1154"/>
                </a:lnTo>
                <a:lnTo>
                  <a:pt x="3203" y="1157"/>
                </a:lnTo>
                <a:lnTo>
                  <a:pt x="3202" y="1160"/>
                </a:lnTo>
                <a:lnTo>
                  <a:pt x="3201" y="1163"/>
                </a:lnTo>
                <a:lnTo>
                  <a:pt x="3200" y="1166"/>
                </a:lnTo>
                <a:lnTo>
                  <a:pt x="3197" y="1169"/>
                </a:lnTo>
                <a:lnTo>
                  <a:pt x="3195" y="1171"/>
                </a:lnTo>
                <a:lnTo>
                  <a:pt x="3192" y="1172"/>
                </a:lnTo>
                <a:lnTo>
                  <a:pt x="3190" y="1172"/>
                </a:lnTo>
                <a:lnTo>
                  <a:pt x="3184" y="1172"/>
                </a:lnTo>
                <a:lnTo>
                  <a:pt x="3181" y="1171"/>
                </a:lnTo>
                <a:lnTo>
                  <a:pt x="3178" y="1170"/>
                </a:lnTo>
                <a:lnTo>
                  <a:pt x="3176" y="1168"/>
                </a:lnTo>
                <a:lnTo>
                  <a:pt x="3174" y="1166"/>
                </a:lnTo>
                <a:lnTo>
                  <a:pt x="3173" y="1163"/>
                </a:lnTo>
                <a:lnTo>
                  <a:pt x="3172" y="1160"/>
                </a:lnTo>
                <a:lnTo>
                  <a:pt x="3172" y="1157"/>
                </a:lnTo>
                <a:lnTo>
                  <a:pt x="3172" y="1154"/>
                </a:lnTo>
                <a:lnTo>
                  <a:pt x="3173" y="1151"/>
                </a:lnTo>
                <a:lnTo>
                  <a:pt x="3175" y="1148"/>
                </a:lnTo>
                <a:lnTo>
                  <a:pt x="3177" y="1146"/>
                </a:lnTo>
                <a:lnTo>
                  <a:pt x="3179" y="1144"/>
                </a:lnTo>
                <a:close/>
                <a:moveTo>
                  <a:pt x="3037" y="1122"/>
                </a:moveTo>
                <a:lnTo>
                  <a:pt x="3042" y="1120"/>
                </a:lnTo>
                <a:lnTo>
                  <a:pt x="3044" y="1120"/>
                </a:lnTo>
                <a:lnTo>
                  <a:pt x="3046" y="1120"/>
                </a:lnTo>
                <a:lnTo>
                  <a:pt x="3050" y="1121"/>
                </a:lnTo>
                <a:lnTo>
                  <a:pt x="3052" y="1122"/>
                </a:lnTo>
                <a:lnTo>
                  <a:pt x="3055" y="1124"/>
                </a:lnTo>
                <a:lnTo>
                  <a:pt x="3057" y="1126"/>
                </a:lnTo>
                <a:lnTo>
                  <a:pt x="3059" y="1128"/>
                </a:lnTo>
                <a:lnTo>
                  <a:pt x="3060" y="1131"/>
                </a:lnTo>
                <a:lnTo>
                  <a:pt x="3060" y="1134"/>
                </a:lnTo>
                <a:lnTo>
                  <a:pt x="3060" y="1137"/>
                </a:lnTo>
                <a:lnTo>
                  <a:pt x="3060" y="1141"/>
                </a:lnTo>
                <a:lnTo>
                  <a:pt x="3058" y="1144"/>
                </a:lnTo>
                <a:lnTo>
                  <a:pt x="3056" y="1147"/>
                </a:lnTo>
                <a:lnTo>
                  <a:pt x="3053" y="1149"/>
                </a:lnTo>
                <a:lnTo>
                  <a:pt x="3048" y="1151"/>
                </a:lnTo>
                <a:lnTo>
                  <a:pt x="3046" y="1151"/>
                </a:lnTo>
                <a:lnTo>
                  <a:pt x="3043" y="1151"/>
                </a:lnTo>
                <a:lnTo>
                  <a:pt x="3040" y="1150"/>
                </a:lnTo>
                <a:lnTo>
                  <a:pt x="3037" y="1149"/>
                </a:lnTo>
                <a:lnTo>
                  <a:pt x="3035" y="1148"/>
                </a:lnTo>
                <a:lnTo>
                  <a:pt x="3033" y="1145"/>
                </a:lnTo>
                <a:lnTo>
                  <a:pt x="3031" y="1143"/>
                </a:lnTo>
                <a:lnTo>
                  <a:pt x="3030" y="1140"/>
                </a:lnTo>
                <a:lnTo>
                  <a:pt x="3029" y="1137"/>
                </a:lnTo>
                <a:lnTo>
                  <a:pt x="3029" y="1134"/>
                </a:lnTo>
                <a:lnTo>
                  <a:pt x="3030" y="1130"/>
                </a:lnTo>
                <a:lnTo>
                  <a:pt x="3032" y="1127"/>
                </a:lnTo>
                <a:lnTo>
                  <a:pt x="3034" y="1124"/>
                </a:lnTo>
                <a:lnTo>
                  <a:pt x="3037" y="1122"/>
                </a:lnTo>
                <a:close/>
                <a:moveTo>
                  <a:pt x="2249" y="1554"/>
                </a:moveTo>
                <a:lnTo>
                  <a:pt x="2251" y="1553"/>
                </a:lnTo>
                <a:lnTo>
                  <a:pt x="2254" y="1552"/>
                </a:lnTo>
                <a:lnTo>
                  <a:pt x="2256" y="1552"/>
                </a:lnTo>
                <a:lnTo>
                  <a:pt x="2259" y="1552"/>
                </a:lnTo>
                <a:lnTo>
                  <a:pt x="2262" y="1552"/>
                </a:lnTo>
                <a:lnTo>
                  <a:pt x="2265" y="1554"/>
                </a:lnTo>
                <a:lnTo>
                  <a:pt x="2267" y="1555"/>
                </a:lnTo>
                <a:lnTo>
                  <a:pt x="2269" y="1558"/>
                </a:lnTo>
                <a:lnTo>
                  <a:pt x="2270" y="1559"/>
                </a:lnTo>
                <a:lnTo>
                  <a:pt x="2271" y="1560"/>
                </a:lnTo>
                <a:lnTo>
                  <a:pt x="2272" y="1563"/>
                </a:lnTo>
                <a:lnTo>
                  <a:pt x="2272" y="1566"/>
                </a:lnTo>
                <a:lnTo>
                  <a:pt x="2272" y="1569"/>
                </a:lnTo>
                <a:lnTo>
                  <a:pt x="2271" y="1573"/>
                </a:lnTo>
                <a:lnTo>
                  <a:pt x="2270" y="1576"/>
                </a:lnTo>
                <a:lnTo>
                  <a:pt x="2267" y="1579"/>
                </a:lnTo>
                <a:lnTo>
                  <a:pt x="2265" y="1581"/>
                </a:lnTo>
                <a:lnTo>
                  <a:pt x="2262" y="1582"/>
                </a:lnTo>
                <a:lnTo>
                  <a:pt x="2260" y="1582"/>
                </a:lnTo>
                <a:lnTo>
                  <a:pt x="2258" y="1583"/>
                </a:lnTo>
                <a:lnTo>
                  <a:pt x="2255" y="1583"/>
                </a:lnTo>
                <a:lnTo>
                  <a:pt x="2252" y="1582"/>
                </a:lnTo>
                <a:lnTo>
                  <a:pt x="2249" y="1581"/>
                </a:lnTo>
                <a:lnTo>
                  <a:pt x="2247" y="1579"/>
                </a:lnTo>
                <a:lnTo>
                  <a:pt x="2245" y="1577"/>
                </a:lnTo>
                <a:lnTo>
                  <a:pt x="2244" y="1576"/>
                </a:lnTo>
                <a:lnTo>
                  <a:pt x="2243" y="1574"/>
                </a:lnTo>
                <a:lnTo>
                  <a:pt x="2242" y="1571"/>
                </a:lnTo>
                <a:lnTo>
                  <a:pt x="2241" y="1568"/>
                </a:lnTo>
                <a:lnTo>
                  <a:pt x="2241" y="1565"/>
                </a:lnTo>
                <a:lnTo>
                  <a:pt x="2242" y="1562"/>
                </a:lnTo>
                <a:lnTo>
                  <a:pt x="2244" y="1558"/>
                </a:lnTo>
                <a:lnTo>
                  <a:pt x="2246" y="1556"/>
                </a:lnTo>
                <a:lnTo>
                  <a:pt x="2249" y="1554"/>
                </a:lnTo>
                <a:close/>
                <a:moveTo>
                  <a:pt x="2893" y="1116"/>
                </a:moveTo>
                <a:lnTo>
                  <a:pt x="2895" y="1115"/>
                </a:lnTo>
                <a:lnTo>
                  <a:pt x="2897" y="1115"/>
                </a:lnTo>
                <a:lnTo>
                  <a:pt x="2901" y="1114"/>
                </a:lnTo>
                <a:lnTo>
                  <a:pt x="2904" y="1114"/>
                </a:lnTo>
                <a:lnTo>
                  <a:pt x="2907" y="1115"/>
                </a:lnTo>
                <a:lnTo>
                  <a:pt x="2910" y="1117"/>
                </a:lnTo>
                <a:lnTo>
                  <a:pt x="2912" y="1119"/>
                </a:lnTo>
                <a:lnTo>
                  <a:pt x="2914" y="1121"/>
                </a:lnTo>
                <a:lnTo>
                  <a:pt x="2915" y="1123"/>
                </a:lnTo>
                <a:lnTo>
                  <a:pt x="2916" y="1126"/>
                </a:lnTo>
                <a:lnTo>
                  <a:pt x="2917" y="1129"/>
                </a:lnTo>
                <a:lnTo>
                  <a:pt x="2916" y="1134"/>
                </a:lnTo>
                <a:lnTo>
                  <a:pt x="2915" y="1137"/>
                </a:lnTo>
                <a:lnTo>
                  <a:pt x="2912" y="1141"/>
                </a:lnTo>
                <a:lnTo>
                  <a:pt x="2909" y="1143"/>
                </a:lnTo>
                <a:lnTo>
                  <a:pt x="2907" y="1144"/>
                </a:lnTo>
                <a:lnTo>
                  <a:pt x="2905" y="1145"/>
                </a:lnTo>
                <a:lnTo>
                  <a:pt x="2902" y="1145"/>
                </a:lnTo>
                <a:lnTo>
                  <a:pt x="2898" y="1145"/>
                </a:lnTo>
                <a:lnTo>
                  <a:pt x="2895" y="1144"/>
                </a:lnTo>
                <a:lnTo>
                  <a:pt x="2893" y="1143"/>
                </a:lnTo>
                <a:lnTo>
                  <a:pt x="2890" y="1141"/>
                </a:lnTo>
                <a:lnTo>
                  <a:pt x="2888" y="1139"/>
                </a:lnTo>
                <a:lnTo>
                  <a:pt x="2887" y="1136"/>
                </a:lnTo>
                <a:lnTo>
                  <a:pt x="2886" y="1133"/>
                </a:lnTo>
                <a:lnTo>
                  <a:pt x="2886" y="1130"/>
                </a:lnTo>
                <a:lnTo>
                  <a:pt x="2886" y="1126"/>
                </a:lnTo>
                <a:lnTo>
                  <a:pt x="2888" y="1122"/>
                </a:lnTo>
                <a:lnTo>
                  <a:pt x="2890" y="1119"/>
                </a:lnTo>
                <a:lnTo>
                  <a:pt x="2893" y="1116"/>
                </a:lnTo>
                <a:close/>
                <a:moveTo>
                  <a:pt x="2281" y="1414"/>
                </a:moveTo>
                <a:lnTo>
                  <a:pt x="2284" y="1412"/>
                </a:lnTo>
                <a:lnTo>
                  <a:pt x="2287" y="1412"/>
                </a:lnTo>
                <a:lnTo>
                  <a:pt x="2291" y="1412"/>
                </a:lnTo>
                <a:lnTo>
                  <a:pt x="2294" y="1413"/>
                </a:lnTo>
                <a:lnTo>
                  <a:pt x="2295" y="1413"/>
                </a:lnTo>
                <a:lnTo>
                  <a:pt x="2297" y="1414"/>
                </a:lnTo>
                <a:lnTo>
                  <a:pt x="2299" y="1416"/>
                </a:lnTo>
                <a:lnTo>
                  <a:pt x="2301" y="1418"/>
                </a:lnTo>
                <a:lnTo>
                  <a:pt x="2303" y="1421"/>
                </a:lnTo>
                <a:lnTo>
                  <a:pt x="2304" y="1424"/>
                </a:lnTo>
                <a:lnTo>
                  <a:pt x="2304" y="1427"/>
                </a:lnTo>
                <a:lnTo>
                  <a:pt x="2304" y="1430"/>
                </a:lnTo>
                <a:lnTo>
                  <a:pt x="2303" y="1433"/>
                </a:lnTo>
                <a:lnTo>
                  <a:pt x="2302" y="1435"/>
                </a:lnTo>
                <a:lnTo>
                  <a:pt x="2300" y="1437"/>
                </a:lnTo>
                <a:lnTo>
                  <a:pt x="2298" y="1439"/>
                </a:lnTo>
                <a:lnTo>
                  <a:pt x="2296" y="1441"/>
                </a:lnTo>
                <a:lnTo>
                  <a:pt x="2293" y="1442"/>
                </a:lnTo>
                <a:lnTo>
                  <a:pt x="2290" y="1443"/>
                </a:lnTo>
                <a:lnTo>
                  <a:pt x="2286" y="1443"/>
                </a:lnTo>
                <a:lnTo>
                  <a:pt x="2283" y="1442"/>
                </a:lnTo>
                <a:lnTo>
                  <a:pt x="2281" y="1441"/>
                </a:lnTo>
                <a:lnTo>
                  <a:pt x="2280" y="1440"/>
                </a:lnTo>
                <a:lnTo>
                  <a:pt x="2278" y="1439"/>
                </a:lnTo>
                <a:lnTo>
                  <a:pt x="2276" y="1436"/>
                </a:lnTo>
                <a:lnTo>
                  <a:pt x="2274" y="1434"/>
                </a:lnTo>
                <a:lnTo>
                  <a:pt x="2273" y="1431"/>
                </a:lnTo>
                <a:lnTo>
                  <a:pt x="2273" y="1428"/>
                </a:lnTo>
                <a:lnTo>
                  <a:pt x="2273" y="1425"/>
                </a:lnTo>
                <a:lnTo>
                  <a:pt x="2274" y="1422"/>
                </a:lnTo>
                <a:lnTo>
                  <a:pt x="2275" y="1419"/>
                </a:lnTo>
                <a:lnTo>
                  <a:pt x="2277" y="1417"/>
                </a:lnTo>
                <a:lnTo>
                  <a:pt x="2279" y="1415"/>
                </a:lnTo>
                <a:lnTo>
                  <a:pt x="2281" y="1414"/>
                </a:lnTo>
                <a:close/>
                <a:moveTo>
                  <a:pt x="2750" y="1129"/>
                </a:moveTo>
                <a:lnTo>
                  <a:pt x="2753" y="1128"/>
                </a:lnTo>
                <a:lnTo>
                  <a:pt x="2756" y="1127"/>
                </a:lnTo>
                <a:lnTo>
                  <a:pt x="2759" y="1127"/>
                </a:lnTo>
                <a:lnTo>
                  <a:pt x="2762" y="1127"/>
                </a:lnTo>
                <a:lnTo>
                  <a:pt x="2765" y="1128"/>
                </a:lnTo>
                <a:lnTo>
                  <a:pt x="2767" y="1130"/>
                </a:lnTo>
                <a:lnTo>
                  <a:pt x="2769" y="1132"/>
                </a:lnTo>
                <a:lnTo>
                  <a:pt x="2771" y="1134"/>
                </a:lnTo>
                <a:lnTo>
                  <a:pt x="2773" y="1137"/>
                </a:lnTo>
                <a:lnTo>
                  <a:pt x="2773" y="1140"/>
                </a:lnTo>
                <a:lnTo>
                  <a:pt x="2773" y="1145"/>
                </a:lnTo>
                <a:lnTo>
                  <a:pt x="2772" y="1149"/>
                </a:lnTo>
                <a:lnTo>
                  <a:pt x="2769" y="1153"/>
                </a:lnTo>
                <a:lnTo>
                  <a:pt x="2768" y="1154"/>
                </a:lnTo>
                <a:lnTo>
                  <a:pt x="2766" y="1156"/>
                </a:lnTo>
                <a:lnTo>
                  <a:pt x="2763" y="1157"/>
                </a:lnTo>
                <a:lnTo>
                  <a:pt x="2760" y="1158"/>
                </a:lnTo>
                <a:lnTo>
                  <a:pt x="2757" y="1158"/>
                </a:lnTo>
                <a:lnTo>
                  <a:pt x="2754" y="1157"/>
                </a:lnTo>
                <a:lnTo>
                  <a:pt x="2751" y="1156"/>
                </a:lnTo>
                <a:lnTo>
                  <a:pt x="2749" y="1155"/>
                </a:lnTo>
                <a:lnTo>
                  <a:pt x="2747" y="1153"/>
                </a:lnTo>
                <a:lnTo>
                  <a:pt x="2745" y="1151"/>
                </a:lnTo>
                <a:lnTo>
                  <a:pt x="2743" y="1148"/>
                </a:lnTo>
                <a:lnTo>
                  <a:pt x="2743" y="1145"/>
                </a:lnTo>
                <a:lnTo>
                  <a:pt x="2743" y="1140"/>
                </a:lnTo>
                <a:lnTo>
                  <a:pt x="2744" y="1136"/>
                </a:lnTo>
                <a:lnTo>
                  <a:pt x="2747" y="1132"/>
                </a:lnTo>
                <a:lnTo>
                  <a:pt x="2748" y="1130"/>
                </a:lnTo>
                <a:lnTo>
                  <a:pt x="2750" y="1129"/>
                </a:lnTo>
                <a:close/>
                <a:moveTo>
                  <a:pt x="2610" y="1161"/>
                </a:moveTo>
                <a:lnTo>
                  <a:pt x="2614" y="1160"/>
                </a:lnTo>
                <a:lnTo>
                  <a:pt x="2617" y="1159"/>
                </a:lnTo>
                <a:lnTo>
                  <a:pt x="2620" y="1159"/>
                </a:lnTo>
                <a:lnTo>
                  <a:pt x="2623" y="1160"/>
                </a:lnTo>
                <a:lnTo>
                  <a:pt x="2625" y="1161"/>
                </a:lnTo>
                <a:lnTo>
                  <a:pt x="2628" y="1163"/>
                </a:lnTo>
                <a:lnTo>
                  <a:pt x="2630" y="1165"/>
                </a:lnTo>
                <a:lnTo>
                  <a:pt x="2632" y="1167"/>
                </a:lnTo>
                <a:lnTo>
                  <a:pt x="2633" y="1170"/>
                </a:lnTo>
                <a:lnTo>
                  <a:pt x="2634" y="1176"/>
                </a:lnTo>
                <a:lnTo>
                  <a:pt x="2633" y="1178"/>
                </a:lnTo>
                <a:lnTo>
                  <a:pt x="2633" y="1181"/>
                </a:lnTo>
                <a:lnTo>
                  <a:pt x="2631" y="1183"/>
                </a:lnTo>
                <a:lnTo>
                  <a:pt x="2630" y="1185"/>
                </a:lnTo>
                <a:lnTo>
                  <a:pt x="2628" y="1187"/>
                </a:lnTo>
                <a:lnTo>
                  <a:pt x="2626" y="1188"/>
                </a:lnTo>
                <a:lnTo>
                  <a:pt x="2623" y="1190"/>
                </a:lnTo>
                <a:lnTo>
                  <a:pt x="2620" y="1190"/>
                </a:lnTo>
                <a:lnTo>
                  <a:pt x="2617" y="1190"/>
                </a:lnTo>
                <a:lnTo>
                  <a:pt x="2614" y="1190"/>
                </a:lnTo>
                <a:lnTo>
                  <a:pt x="2611" y="1189"/>
                </a:lnTo>
                <a:lnTo>
                  <a:pt x="2608" y="1187"/>
                </a:lnTo>
                <a:lnTo>
                  <a:pt x="2606" y="1185"/>
                </a:lnTo>
                <a:lnTo>
                  <a:pt x="2605" y="1182"/>
                </a:lnTo>
                <a:lnTo>
                  <a:pt x="2603" y="1180"/>
                </a:lnTo>
                <a:lnTo>
                  <a:pt x="2603" y="1174"/>
                </a:lnTo>
                <a:lnTo>
                  <a:pt x="2603" y="1172"/>
                </a:lnTo>
                <a:lnTo>
                  <a:pt x="2604" y="1169"/>
                </a:lnTo>
                <a:lnTo>
                  <a:pt x="2605" y="1167"/>
                </a:lnTo>
                <a:lnTo>
                  <a:pt x="2606" y="1165"/>
                </a:lnTo>
                <a:lnTo>
                  <a:pt x="2608" y="1163"/>
                </a:lnTo>
                <a:lnTo>
                  <a:pt x="2610" y="1161"/>
                </a:lnTo>
                <a:close/>
                <a:moveTo>
                  <a:pt x="2358" y="1295"/>
                </a:moveTo>
                <a:lnTo>
                  <a:pt x="2360" y="1293"/>
                </a:lnTo>
                <a:lnTo>
                  <a:pt x="2362" y="1293"/>
                </a:lnTo>
                <a:lnTo>
                  <a:pt x="2365" y="1292"/>
                </a:lnTo>
                <a:lnTo>
                  <a:pt x="2367" y="1293"/>
                </a:lnTo>
                <a:lnTo>
                  <a:pt x="2370" y="1293"/>
                </a:lnTo>
                <a:lnTo>
                  <a:pt x="2372" y="1294"/>
                </a:lnTo>
                <a:lnTo>
                  <a:pt x="2375" y="1295"/>
                </a:lnTo>
                <a:lnTo>
                  <a:pt x="2377" y="1297"/>
                </a:lnTo>
                <a:lnTo>
                  <a:pt x="2379" y="1299"/>
                </a:lnTo>
                <a:lnTo>
                  <a:pt x="2380" y="1302"/>
                </a:lnTo>
                <a:lnTo>
                  <a:pt x="2381" y="1305"/>
                </a:lnTo>
                <a:lnTo>
                  <a:pt x="2381" y="1308"/>
                </a:lnTo>
                <a:lnTo>
                  <a:pt x="2381" y="1311"/>
                </a:lnTo>
                <a:lnTo>
                  <a:pt x="2380" y="1314"/>
                </a:lnTo>
                <a:lnTo>
                  <a:pt x="2378" y="1317"/>
                </a:lnTo>
                <a:lnTo>
                  <a:pt x="2376" y="1319"/>
                </a:lnTo>
                <a:lnTo>
                  <a:pt x="2373" y="1321"/>
                </a:lnTo>
                <a:lnTo>
                  <a:pt x="2371" y="1323"/>
                </a:lnTo>
                <a:lnTo>
                  <a:pt x="2369" y="1323"/>
                </a:lnTo>
                <a:lnTo>
                  <a:pt x="2366" y="1324"/>
                </a:lnTo>
                <a:lnTo>
                  <a:pt x="2364" y="1323"/>
                </a:lnTo>
                <a:lnTo>
                  <a:pt x="2361" y="1323"/>
                </a:lnTo>
                <a:lnTo>
                  <a:pt x="2359" y="1322"/>
                </a:lnTo>
                <a:lnTo>
                  <a:pt x="2357" y="1321"/>
                </a:lnTo>
                <a:lnTo>
                  <a:pt x="2354" y="1319"/>
                </a:lnTo>
                <a:lnTo>
                  <a:pt x="2352" y="1316"/>
                </a:lnTo>
                <a:lnTo>
                  <a:pt x="2351" y="1314"/>
                </a:lnTo>
                <a:lnTo>
                  <a:pt x="2350" y="1311"/>
                </a:lnTo>
                <a:lnTo>
                  <a:pt x="2350" y="1308"/>
                </a:lnTo>
                <a:lnTo>
                  <a:pt x="2350" y="1305"/>
                </a:lnTo>
                <a:lnTo>
                  <a:pt x="2351" y="1302"/>
                </a:lnTo>
                <a:lnTo>
                  <a:pt x="2353" y="1299"/>
                </a:lnTo>
                <a:lnTo>
                  <a:pt x="2355" y="1297"/>
                </a:lnTo>
                <a:lnTo>
                  <a:pt x="2358" y="1295"/>
                </a:lnTo>
                <a:close/>
                <a:moveTo>
                  <a:pt x="2476" y="1214"/>
                </a:moveTo>
                <a:lnTo>
                  <a:pt x="2480" y="1212"/>
                </a:lnTo>
                <a:lnTo>
                  <a:pt x="2483" y="1212"/>
                </a:lnTo>
                <a:lnTo>
                  <a:pt x="2486" y="1212"/>
                </a:lnTo>
                <a:lnTo>
                  <a:pt x="2489" y="1213"/>
                </a:lnTo>
                <a:lnTo>
                  <a:pt x="2492" y="1214"/>
                </a:lnTo>
                <a:lnTo>
                  <a:pt x="2494" y="1215"/>
                </a:lnTo>
                <a:lnTo>
                  <a:pt x="2497" y="1218"/>
                </a:lnTo>
                <a:lnTo>
                  <a:pt x="2498" y="1220"/>
                </a:lnTo>
                <a:lnTo>
                  <a:pt x="2499" y="1223"/>
                </a:lnTo>
                <a:lnTo>
                  <a:pt x="2500" y="1226"/>
                </a:lnTo>
                <a:lnTo>
                  <a:pt x="2500" y="1229"/>
                </a:lnTo>
                <a:lnTo>
                  <a:pt x="2499" y="1232"/>
                </a:lnTo>
                <a:lnTo>
                  <a:pt x="2498" y="1234"/>
                </a:lnTo>
                <a:lnTo>
                  <a:pt x="2496" y="1237"/>
                </a:lnTo>
                <a:lnTo>
                  <a:pt x="2494" y="1239"/>
                </a:lnTo>
                <a:lnTo>
                  <a:pt x="2492" y="1241"/>
                </a:lnTo>
                <a:lnTo>
                  <a:pt x="2489" y="1242"/>
                </a:lnTo>
                <a:lnTo>
                  <a:pt x="2485" y="1242"/>
                </a:lnTo>
                <a:lnTo>
                  <a:pt x="2482" y="1242"/>
                </a:lnTo>
                <a:lnTo>
                  <a:pt x="2479" y="1242"/>
                </a:lnTo>
                <a:lnTo>
                  <a:pt x="2476" y="1241"/>
                </a:lnTo>
                <a:lnTo>
                  <a:pt x="2474" y="1239"/>
                </a:lnTo>
                <a:lnTo>
                  <a:pt x="2472" y="1237"/>
                </a:lnTo>
                <a:lnTo>
                  <a:pt x="2470" y="1234"/>
                </a:lnTo>
                <a:lnTo>
                  <a:pt x="2469" y="1231"/>
                </a:lnTo>
                <a:lnTo>
                  <a:pt x="2469" y="1228"/>
                </a:lnTo>
                <a:lnTo>
                  <a:pt x="2469" y="1225"/>
                </a:lnTo>
                <a:lnTo>
                  <a:pt x="2469" y="1223"/>
                </a:lnTo>
                <a:lnTo>
                  <a:pt x="2470" y="1220"/>
                </a:lnTo>
                <a:lnTo>
                  <a:pt x="2472" y="1218"/>
                </a:lnTo>
                <a:lnTo>
                  <a:pt x="2474" y="1215"/>
                </a:lnTo>
                <a:lnTo>
                  <a:pt x="2476" y="1214"/>
                </a:lnTo>
                <a:close/>
                <a:moveTo>
                  <a:pt x="4755" y="2104"/>
                </a:moveTo>
                <a:lnTo>
                  <a:pt x="4757" y="2103"/>
                </a:lnTo>
                <a:lnTo>
                  <a:pt x="4759" y="2103"/>
                </a:lnTo>
                <a:lnTo>
                  <a:pt x="4762" y="2102"/>
                </a:lnTo>
                <a:lnTo>
                  <a:pt x="4766" y="2102"/>
                </a:lnTo>
                <a:lnTo>
                  <a:pt x="4770" y="2104"/>
                </a:lnTo>
                <a:lnTo>
                  <a:pt x="4773" y="2106"/>
                </a:lnTo>
                <a:lnTo>
                  <a:pt x="4775" y="2108"/>
                </a:lnTo>
                <a:lnTo>
                  <a:pt x="4776" y="2111"/>
                </a:lnTo>
                <a:lnTo>
                  <a:pt x="4778" y="2113"/>
                </a:lnTo>
                <a:lnTo>
                  <a:pt x="4778" y="2116"/>
                </a:lnTo>
                <a:lnTo>
                  <a:pt x="4778" y="2119"/>
                </a:lnTo>
                <a:lnTo>
                  <a:pt x="4777" y="2122"/>
                </a:lnTo>
                <a:lnTo>
                  <a:pt x="4776" y="2125"/>
                </a:lnTo>
                <a:lnTo>
                  <a:pt x="4774" y="2128"/>
                </a:lnTo>
                <a:lnTo>
                  <a:pt x="4770" y="2131"/>
                </a:lnTo>
                <a:lnTo>
                  <a:pt x="4769" y="2132"/>
                </a:lnTo>
                <a:lnTo>
                  <a:pt x="4767" y="2132"/>
                </a:lnTo>
                <a:lnTo>
                  <a:pt x="4763" y="2133"/>
                </a:lnTo>
                <a:lnTo>
                  <a:pt x="4759" y="2132"/>
                </a:lnTo>
                <a:lnTo>
                  <a:pt x="4755" y="2131"/>
                </a:lnTo>
                <a:lnTo>
                  <a:pt x="4752" y="2129"/>
                </a:lnTo>
                <a:lnTo>
                  <a:pt x="4750" y="2127"/>
                </a:lnTo>
                <a:lnTo>
                  <a:pt x="4749" y="2124"/>
                </a:lnTo>
                <a:lnTo>
                  <a:pt x="4748" y="2121"/>
                </a:lnTo>
                <a:lnTo>
                  <a:pt x="4747" y="2119"/>
                </a:lnTo>
                <a:lnTo>
                  <a:pt x="4747" y="2116"/>
                </a:lnTo>
                <a:lnTo>
                  <a:pt x="4748" y="2113"/>
                </a:lnTo>
                <a:lnTo>
                  <a:pt x="4749" y="2110"/>
                </a:lnTo>
                <a:lnTo>
                  <a:pt x="4752" y="2107"/>
                </a:lnTo>
                <a:lnTo>
                  <a:pt x="4755" y="2104"/>
                </a:lnTo>
                <a:close/>
                <a:moveTo>
                  <a:pt x="4630" y="2033"/>
                </a:moveTo>
                <a:lnTo>
                  <a:pt x="4633" y="2032"/>
                </a:lnTo>
                <a:lnTo>
                  <a:pt x="4637" y="2031"/>
                </a:lnTo>
                <a:lnTo>
                  <a:pt x="4641" y="2031"/>
                </a:lnTo>
                <a:lnTo>
                  <a:pt x="4645" y="2033"/>
                </a:lnTo>
                <a:lnTo>
                  <a:pt x="4647" y="2035"/>
                </a:lnTo>
                <a:lnTo>
                  <a:pt x="4650" y="2037"/>
                </a:lnTo>
                <a:lnTo>
                  <a:pt x="4651" y="2040"/>
                </a:lnTo>
                <a:lnTo>
                  <a:pt x="4652" y="2042"/>
                </a:lnTo>
                <a:lnTo>
                  <a:pt x="4653" y="2045"/>
                </a:lnTo>
                <a:lnTo>
                  <a:pt x="4653" y="2048"/>
                </a:lnTo>
                <a:lnTo>
                  <a:pt x="4652" y="2051"/>
                </a:lnTo>
                <a:lnTo>
                  <a:pt x="4651" y="2054"/>
                </a:lnTo>
                <a:lnTo>
                  <a:pt x="4648" y="2057"/>
                </a:lnTo>
                <a:lnTo>
                  <a:pt x="4645" y="2060"/>
                </a:lnTo>
                <a:lnTo>
                  <a:pt x="4641" y="2061"/>
                </a:lnTo>
                <a:lnTo>
                  <a:pt x="4638" y="2062"/>
                </a:lnTo>
                <a:lnTo>
                  <a:pt x="4634" y="2061"/>
                </a:lnTo>
                <a:lnTo>
                  <a:pt x="4630" y="2060"/>
                </a:lnTo>
                <a:lnTo>
                  <a:pt x="4627" y="2058"/>
                </a:lnTo>
                <a:lnTo>
                  <a:pt x="4625" y="2056"/>
                </a:lnTo>
                <a:lnTo>
                  <a:pt x="4624" y="2053"/>
                </a:lnTo>
                <a:lnTo>
                  <a:pt x="4623" y="2051"/>
                </a:lnTo>
                <a:lnTo>
                  <a:pt x="4622" y="2048"/>
                </a:lnTo>
                <a:lnTo>
                  <a:pt x="4622" y="2045"/>
                </a:lnTo>
                <a:lnTo>
                  <a:pt x="4623" y="2042"/>
                </a:lnTo>
                <a:lnTo>
                  <a:pt x="4624" y="2039"/>
                </a:lnTo>
                <a:lnTo>
                  <a:pt x="4626" y="2036"/>
                </a:lnTo>
                <a:lnTo>
                  <a:pt x="4630" y="2033"/>
                </a:lnTo>
                <a:close/>
                <a:moveTo>
                  <a:pt x="4504" y="1963"/>
                </a:moveTo>
                <a:lnTo>
                  <a:pt x="4507" y="1962"/>
                </a:lnTo>
                <a:lnTo>
                  <a:pt x="4511" y="1961"/>
                </a:lnTo>
                <a:lnTo>
                  <a:pt x="4513" y="1961"/>
                </a:lnTo>
                <a:lnTo>
                  <a:pt x="4515" y="1961"/>
                </a:lnTo>
                <a:lnTo>
                  <a:pt x="4519" y="1963"/>
                </a:lnTo>
                <a:lnTo>
                  <a:pt x="4522" y="1965"/>
                </a:lnTo>
                <a:lnTo>
                  <a:pt x="4524" y="1967"/>
                </a:lnTo>
                <a:lnTo>
                  <a:pt x="4525" y="1968"/>
                </a:lnTo>
                <a:lnTo>
                  <a:pt x="4525" y="1969"/>
                </a:lnTo>
                <a:lnTo>
                  <a:pt x="4526" y="1972"/>
                </a:lnTo>
                <a:lnTo>
                  <a:pt x="4527" y="1975"/>
                </a:lnTo>
                <a:lnTo>
                  <a:pt x="4527" y="1978"/>
                </a:lnTo>
                <a:lnTo>
                  <a:pt x="4526" y="1981"/>
                </a:lnTo>
                <a:lnTo>
                  <a:pt x="4525" y="1984"/>
                </a:lnTo>
                <a:lnTo>
                  <a:pt x="4523" y="1987"/>
                </a:lnTo>
                <a:lnTo>
                  <a:pt x="4519" y="1990"/>
                </a:lnTo>
                <a:lnTo>
                  <a:pt x="4516" y="1991"/>
                </a:lnTo>
                <a:lnTo>
                  <a:pt x="4512" y="1992"/>
                </a:lnTo>
                <a:lnTo>
                  <a:pt x="4510" y="1992"/>
                </a:lnTo>
                <a:lnTo>
                  <a:pt x="4508" y="1991"/>
                </a:lnTo>
                <a:lnTo>
                  <a:pt x="4504" y="1990"/>
                </a:lnTo>
                <a:lnTo>
                  <a:pt x="4502" y="1988"/>
                </a:lnTo>
                <a:lnTo>
                  <a:pt x="4500" y="1986"/>
                </a:lnTo>
                <a:lnTo>
                  <a:pt x="4499" y="1985"/>
                </a:lnTo>
                <a:lnTo>
                  <a:pt x="4498" y="1983"/>
                </a:lnTo>
                <a:lnTo>
                  <a:pt x="4497" y="1981"/>
                </a:lnTo>
                <a:lnTo>
                  <a:pt x="4496" y="1978"/>
                </a:lnTo>
                <a:lnTo>
                  <a:pt x="4496" y="1975"/>
                </a:lnTo>
                <a:lnTo>
                  <a:pt x="4497" y="1972"/>
                </a:lnTo>
                <a:lnTo>
                  <a:pt x="4498" y="1969"/>
                </a:lnTo>
                <a:lnTo>
                  <a:pt x="4501" y="1966"/>
                </a:lnTo>
                <a:lnTo>
                  <a:pt x="4504" y="1963"/>
                </a:lnTo>
                <a:close/>
                <a:moveTo>
                  <a:pt x="4377" y="1894"/>
                </a:moveTo>
                <a:lnTo>
                  <a:pt x="4379" y="1893"/>
                </a:lnTo>
                <a:lnTo>
                  <a:pt x="4381" y="1893"/>
                </a:lnTo>
                <a:lnTo>
                  <a:pt x="4385" y="1892"/>
                </a:lnTo>
                <a:lnTo>
                  <a:pt x="4387" y="1892"/>
                </a:lnTo>
                <a:lnTo>
                  <a:pt x="4389" y="1893"/>
                </a:lnTo>
                <a:lnTo>
                  <a:pt x="4392" y="1894"/>
                </a:lnTo>
                <a:lnTo>
                  <a:pt x="4395" y="1896"/>
                </a:lnTo>
                <a:lnTo>
                  <a:pt x="4397" y="1898"/>
                </a:lnTo>
                <a:lnTo>
                  <a:pt x="4399" y="1900"/>
                </a:lnTo>
                <a:lnTo>
                  <a:pt x="4400" y="1903"/>
                </a:lnTo>
                <a:lnTo>
                  <a:pt x="4400" y="1906"/>
                </a:lnTo>
                <a:lnTo>
                  <a:pt x="4400" y="1909"/>
                </a:lnTo>
                <a:lnTo>
                  <a:pt x="4400" y="1912"/>
                </a:lnTo>
                <a:lnTo>
                  <a:pt x="4399" y="1915"/>
                </a:lnTo>
                <a:lnTo>
                  <a:pt x="4396" y="1918"/>
                </a:lnTo>
                <a:lnTo>
                  <a:pt x="4393" y="1921"/>
                </a:lnTo>
                <a:lnTo>
                  <a:pt x="4391" y="1922"/>
                </a:lnTo>
                <a:lnTo>
                  <a:pt x="4389" y="1922"/>
                </a:lnTo>
                <a:lnTo>
                  <a:pt x="4385" y="1923"/>
                </a:lnTo>
                <a:lnTo>
                  <a:pt x="4384" y="1923"/>
                </a:lnTo>
                <a:lnTo>
                  <a:pt x="4382" y="1923"/>
                </a:lnTo>
                <a:lnTo>
                  <a:pt x="4378" y="1921"/>
                </a:lnTo>
                <a:lnTo>
                  <a:pt x="4375" y="1919"/>
                </a:lnTo>
                <a:lnTo>
                  <a:pt x="4373" y="1917"/>
                </a:lnTo>
                <a:lnTo>
                  <a:pt x="4371" y="1915"/>
                </a:lnTo>
                <a:lnTo>
                  <a:pt x="4370" y="1912"/>
                </a:lnTo>
                <a:lnTo>
                  <a:pt x="4370" y="1909"/>
                </a:lnTo>
                <a:lnTo>
                  <a:pt x="4370" y="1906"/>
                </a:lnTo>
                <a:lnTo>
                  <a:pt x="4370" y="1903"/>
                </a:lnTo>
                <a:lnTo>
                  <a:pt x="4372" y="1900"/>
                </a:lnTo>
                <a:lnTo>
                  <a:pt x="4374" y="1897"/>
                </a:lnTo>
                <a:lnTo>
                  <a:pt x="4377" y="1894"/>
                </a:lnTo>
                <a:close/>
                <a:moveTo>
                  <a:pt x="4250" y="1827"/>
                </a:moveTo>
                <a:lnTo>
                  <a:pt x="4252" y="1827"/>
                </a:lnTo>
                <a:lnTo>
                  <a:pt x="4253" y="1826"/>
                </a:lnTo>
                <a:lnTo>
                  <a:pt x="4257" y="1825"/>
                </a:lnTo>
                <a:lnTo>
                  <a:pt x="4261" y="1826"/>
                </a:lnTo>
                <a:lnTo>
                  <a:pt x="4265" y="1827"/>
                </a:lnTo>
                <a:lnTo>
                  <a:pt x="4267" y="1829"/>
                </a:lnTo>
                <a:lnTo>
                  <a:pt x="4269" y="1831"/>
                </a:lnTo>
                <a:lnTo>
                  <a:pt x="4271" y="1833"/>
                </a:lnTo>
                <a:lnTo>
                  <a:pt x="4272" y="1836"/>
                </a:lnTo>
                <a:lnTo>
                  <a:pt x="4273" y="1839"/>
                </a:lnTo>
                <a:lnTo>
                  <a:pt x="4273" y="1842"/>
                </a:lnTo>
                <a:lnTo>
                  <a:pt x="4272" y="1845"/>
                </a:lnTo>
                <a:lnTo>
                  <a:pt x="4271" y="1848"/>
                </a:lnTo>
                <a:lnTo>
                  <a:pt x="4269" y="1851"/>
                </a:lnTo>
                <a:lnTo>
                  <a:pt x="4265" y="1854"/>
                </a:lnTo>
                <a:lnTo>
                  <a:pt x="4264" y="1855"/>
                </a:lnTo>
                <a:lnTo>
                  <a:pt x="4262" y="1855"/>
                </a:lnTo>
                <a:lnTo>
                  <a:pt x="4258" y="1856"/>
                </a:lnTo>
                <a:lnTo>
                  <a:pt x="4254" y="1856"/>
                </a:lnTo>
                <a:lnTo>
                  <a:pt x="4251" y="1854"/>
                </a:lnTo>
                <a:lnTo>
                  <a:pt x="4248" y="1853"/>
                </a:lnTo>
                <a:lnTo>
                  <a:pt x="4246" y="1851"/>
                </a:lnTo>
                <a:lnTo>
                  <a:pt x="4244" y="1848"/>
                </a:lnTo>
                <a:lnTo>
                  <a:pt x="4243" y="1845"/>
                </a:lnTo>
                <a:lnTo>
                  <a:pt x="4242" y="1840"/>
                </a:lnTo>
                <a:lnTo>
                  <a:pt x="4243" y="1837"/>
                </a:lnTo>
                <a:lnTo>
                  <a:pt x="4244" y="1834"/>
                </a:lnTo>
                <a:lnTo>
                  <a:pt x="4246" y="1830"/>
                </a:lnTo>
                <a:lnTo>
                  <a:pt x="4250" y="1827"/>
                </a:lnTo>
                <a:close/>
                <a:moveTo>
                  <a:pt x="4121" y="1762"/>
                </a:moveTo>
                <a:lnTo>
                  <a:pt x="4125" y="1760"/>
                </a:lnTo>
                <a:lnTo>
                  <a:pt x="4128" y="1760"/>
                </a:lnTo>
                <a:lnTo>
                  <a:pt x="4132" y="1760"/>
                </a:lnTo>
                <a:lnTo>
                  <a:pt x="4136" y="1761"/>
                </a:lnTo>
                <a:lnTo>
                  <a:pt x="4138" y="1763"/>
                </a:lnTo>
                <a:lnTo>
                  <a:pt x="4140" y="1765"/>
                </a:lnTo>
                <a:lnTo>
                  <a:pt x="4142" y="1768"/>
                </a:lnTo>
                <a:lnTo>
                  <a:pt x="4143" y="1770"/>
                </a:lnTo>
                <a:lnTo>
                  <a:pt x="4144" y="1773"/>
                </a:lnTo>
                <a:lnTo>
                  <a:pt x="4144" y="1776"/>
                </a:lnTo>
                <a:lnTo>
                  <a:pt x="4144" y="1779"/>
                </a:lnTo>
                <a:lnTo>
                  <a:pt x="4143" y="1782"/>
                </a:lnTo>
                <a:lnTo>
                  <a:pt x="4141" y="1784"/>
                </a:lnTo>
                <a:lnTo>
                  <a:pt x="4140" y="1787"/>
                </a:lnTo>
                <a:lnTo>
                  <a:pt x="4137" y="1790"/>
                </a:lnTo>
                <a:lnTo>
                  <a:pt x="4133" y="1791"/>
                </a:lnTo>
                <a:lnTo>
                  <a:pt x="4129" y="1792"/>
                </a:lnTo>
                <a:lnTo>
                  <a:pt x="4126" y="1791"/>
                </a:lnTo>
                <a:lnTo>
                  <a:pt x="4122" y="1790"/>
                </a:lnTo>
                <a:lnTo>
                  <a:pt x="4119" y="1788"/>
                </a:lnTo>
                <a:lnTo>
                  <a:pt x="4117" y="1785"/>
                </a:lnTo>
                <a:lnTo>
                  <a:pt x="4116" y="1783"/>
                </a:lnTo>
                <a:lnTo>
                  <a:pt x="4114" y="1780"/>
                </a:lnTo>
                <a:lnTo>
                  <a:pt x="4114" y="1777"/>
                </a:lnTo>
                <a:lnTo>
                  <a:pt x="4113" y="1774"/>
                </a:lnTo>
                <a:lnTo>
                  <a:pt x="4114" y="1771"/>
                </a:lnTo>
                <a:lnTo>
                  <a:pt x="4115" y="1769"/>
                </a:lnTo>
                <a:lnTo>
                  <a:pt x="4116" y="1766"/>
                </a:lnTo>
                <a:lnTo>
                  <a:pt x="4118" y="1765"/>
                </a:lnTo>
                <a:lnTo>
                  <a:pt x="4121" y="1762"/>
                </a:lnTo>
                <a:close/>
                <a:moveTo>
                  <a:pt x="3990" y="1701"/>
                </a:moveTo>
                <a:lnTo>
                  <a:pt x="3993" y="1699"/>
                </a:lnTo>
                <a:lnTo>
                  <a:pt x="3997" y="1699"/>
                </a:lnTo>
                <a:lnTo>
                  <a:pt x="4000" y="1699"/>
                </a:lnTo>
                <a:lnTo>
                  <a:pt x="4004" y="1700"/>
                </a:lnTo>
                <a:lnTo>
                  <a:pt x="4007" y="1702"/>
                </a:lnTo>
                <a:lnTo>
                  <a:pt x="4010" y="1704"/>
                </a:lnTo>
                <a:lnTo>
                  <a:pt x="4012" y="1706"/>
                </a:lnTo>
                <a:lnTo>
                  <a:pt x="4013" y="1709"/>
                </a:lnTo>
                <a:lnTo>
                  <a:pt x="4014" y="1711"/>
                </a:lnTo>
                <a:lnTo>
                  <a:pt x="4014" y="1714"/>
                </a:lnTo>
                <a:lnTo>
                  <a:pt x="4014" y="1717"/>
                </a:lnTo>
                <a:lnTo>
                  <a:pt x="4013" y="1720"/>
                </a:lnTo>
                <a:lnTo>
                  <a:pt x="4011" y="1723"/>
                </a:lnTo>
                <a:lnTo>
                  <a:pt x="4010" y="1724"/>
                </a:lnTo>
                <a:lnTo>
                  <a:pt x="4008" y="1725"/>
                </a:lnTo>
                <a:lnTo>
                  <a:pt x="4007" y="1726"/>
                </a:lnTo>
                <a:lnTo>
                  <a:pt x="4005" y="1727"/>
                </a:lnTo>
                <a:lnTo>
                  <a:pt x="4002" y="1729"/>
                </a:lnTo>
                <a:lnTo>
                  <a:pt x="3998" y="1729"/>
                </a:lnTo>
                <a:lnTo>
                  <a:pt x="3995" y="1729"/>
                </a:lnTo>
                <a:lnTo>
                  <a:pt x="3991" y="1728"/>
                </a:lnTo>
                <a:lnTo>
                  <a:pt x="3988" y="1727"/>
                </a:lnTo>
                <a:lnTo>
                  <a:pt x="3986" y="1725"/>
                </a:lnTo>
                <a:lnTo>
                  <a:pt x="3984" y="1722"/>
                </a:lnTo>
                <a:lnTo>
                  <a:pt x="3983" y="1719"/>
                </a:lnTo>
                <a:lnTo>
                  <a:pt x="3982" y="1717"/>
                </a:lnTo>
                <a:lnTo>
                  <a:pt x="3982" y="1714"/>
                </a:lnTo>
                <a:lnTo>
                  <a:pt x="3982" y="1711"/>
                </a:lnTo>
                <a:lnTo>
                  <a:pt x="3983" y="1708"/>
                </a:lnTo>
                <a:lnTo>
                  <a:pt x="3985" y="1706"/>
                </a:lnTo>
                <a:lnTo>
                  <a:pt x="3986" y="1704"/>
                </a:lnTo>
                <a:lnTo>
                  <a:pt x="3987" y="1703"/>
                </a:lnTo>
                <a:lnTo>
                  <a:pt x="3988" y="1702"/>
                </a:lnTo>
                <a:lnTo>
                  <a:pt x="3990" y="1701"/>
                </a:lnTo>
                <a:close/>
                <a:moveTo>
                  <a:pt x="3858" y="1644"/>
                </a:moveTo>
                <a:lnTo>
                  <a:pt x="3861" y="1642"/>
                </a:lnTo>
                <a:lnTo>
                  <a:pt x="3864" y="1642"/>
                </a:lnTo>
                <a:lnTo>
                  <a:pt x="3868" y="1642"/>
                </a:lnTo>
                <a:lnTo>
                  <a:pt x="3871" y="1643"/>
                </a:lnTo>
                <a:lnTo>
                  <a:pt x="3874" y="1644"/>
                </a:lnTo>
                <a:lnTo>
                  <a:pt x="3876" y="1646"/>
                </a:lnTo>
                <a:lnTo>
                  <a:pt x="3878" y="1649"/>
                </a:lnTo>
                <a:lnTo>
                  <a:pt x="3879" y="1651"/>
                </a:lnTo>
                <a:lnTo>
                  <a:pt x="3880" y="1654"/>
                </a:lnTo>
                <a:lnTo>
                  <a:pt x="3881" y="1657"/>
                </a:lnTo>
                <a:lnTo>
                  <a:pt x="3880" y="1660"/>
                </a:lnTo>
                <a:lnTo>
                  <a:pt x="3879" y="1663"/>
                </a:lnTo>
                <a:lnTo>
                  <a:pt x="3878" y="1665"/>
                </a:lnTo>
                <a:lnTo>
                  <a:pt x="3877" y="1667"/>
                </a:lnTo>
                <a:lnTo>
                  <a:pt x="3875" y="1669"/>
                </a:lnTo>
                <a:lnTo>
                  <a:pt x="3873" y="1670"/>
                </a:lnTo>
                <a:lnTo>
                  <a:pt x="3870" y="1672"/>
                </a:lnTo>
                <a:lnTo>
                  <a:pt x="3866" y="1672"/>
                </a:lnTo>
                <a:lnTo>
                  <a:pt x="3863" y="1672"/>
                </a:lnTo>
                <a:lnTo>
                  <a:pt x="3859" y="1671"/>
                </a:lnTo>
                <a:lnTo>
                  <a:pt x="3857" y="1670"/>
                </a:lnTo>
                <a:lnTo>
                  <a:pt x="3854" y="1668"/>
                </a:lnTo>
                <a:lnTo>
                  <a:pt x="3852" y="1666"/>
                </a:lnTo>
                <a:lnTo>
                  <a:pt x="3851" y="1663"/>
                </a:lnTo>
                <a:lnTo>
                  <a:pt x="3850" y="1660"/>
                </a:lnTo>
                <a:lnTo>
                  <a:pt x="3850" y="1657"/>
                </a:lnTo>
                <a:lnTo>
                  <a:pt x="3850" y="1654"/>
                </a:lnTo>
                <a:lnTo>
                  <a:pt x="3851" y="1651"/>
                </a:lnTo>
                <a:lnTo>
                  <a:pt x="3852" y="1649"/>
                </a:lnTo>
                <a:lnTo>
                  <a:pt x="3854" y="1647"/>
                </a:lnTo>
                <a:lnTo>
                  <a:pt x="3856" y="1645"/>
                </a:lnTo>
                <a:lnTo>
                  <a:pt x="3858" y="1644"/>
                </a:lnTo>
                <a:close/>
                <a:moveTo>
                  <a:pt x="2461" y="2353"/>
                </a:moveTo>
                <a:lnTo>
                  <a:pt x="2464" y="2352"/>
                </a:lnTo>
                <a:lnTo>
                  <a:pt x="2467" y="2351"/>
                </a:lnTo>
                <a:lnTo>
                  <a:pt x="2470" y="2351"/>
                </a:lnTo>
                <a:lnTo>
                  <a:pt x="2473" y="2352"/>
                </a:lnTo>
                <a:lnTo>
                  <a:pt x="2476" y="2353"/>
                </a:lnTo>
                <a:lnTo>
                  <a:pt x="2478" y="2354"/>
                </a:lnTo>
                <a:lnTo>
                  <a:pt x="2481" y="2357"/>
                </a:lnTo>
                <a:lnTo>
                  <a:pt x="2482" y="2359"/>
                </a:lnTo>
                <a:lnTo>
                  <a:pt x="2483" y="2362"/>
                </a:lnTo>
                <a:lnTo>
                  <a:pt x="2484" y="2365"/>
                </a:lnTo>
                <a:lnTo>
                  <a:pt x="2484" y="2368"/>
                </a:lnTo>
                <a:lnTo>
                  <a:pt x="2483" y="2371"/>
                </a:lnTo>
                <a:lnTo>
                  <a:pt x="2482" y="2374"/>
                </a:lnTo>
                <a:lnTo>
                  <a:pt x="2481" y="2376"/>
                </a:lnTo>
                <a:lnTo>
                  <a:pt x="2479" y="2378"/>
                </a:lnTo>
                <a:lnTo>
                  <a:pt x="2476" y="2380"/>
                </a:lnTo>
                <a:lnTo>
                  <a:pt x="2474" y="2381"/>
                </a:lnTo>
                <a:lnTo>
                  <a:pt x="2471" y="2382"/>
                </a:lnTo>
                <a:lnTo>
                  <a:pt x="2467" y="2382"/>
                </a:lnTo>
                <a:lnTo>
                  <a:pt x="2464" y="2381"/>
                </a:lnTo>
                <a:lnTo>
                  <a:pt x="2461" y="2380"/>
                </a:lnTo>
                <a:lnTo>
                  <a:pt x="2459" y="2378"/>
                </a:lnTo>
                <a:lnTo>
                  <a:pt x="2457" y="2376"/>
                </a:lnTo>
                <a:lnTo>
                  <a:pt x="2455" y="2374"/>
                </a:lnTo>
                <a:lnTo>
                  <a:pt x="2454" y="2371"/>
                </a:lnTo>
                <a:lnTo>
                  <a:pt x="2453" y="2368"/>
                </a:lnTo>
                <a:lnTo>
                  <a:pt x="2453" y="2365"/>
                </a:lnTo>
                <a:lnTo>
                  <a:pt x="2454" y="2362"/>
                </a:lnTo>
                <a:lnTo>
                  <a:pt x="2455" y="2359"/>
                </a:lnTo>
                <a:lnTo>
                  <a:pt x="2457" y="2357"/>
                </a:lnTo>
                <a:lnTo>
                  <a:pt x="2459" y="2355"/>
                </a:lnTo>
                <a:lnTo>
                  <a:pt x="2461" y="2353"/>
                </a:lnTo>
                <a:close/>
                <a:moveTo>
                  <a:pt x="3723" y="1593"/>
                </a:moveTo>
                <a:lnTo>
                  <a:pt x="3726" y="1591"/>
                </a:lnTo>
                <a:lnTo>
                  <a:pt x="3729" y="1591"/>
                </a:lnTo>
                <a:lnTo>
                  <a:pt x="3733" y="1591"/>
                </a:lnTo>
                <a:lnTo>
                  <a:pt x="3736" y="1591"/>
                </a:lnTo>
                <a:lnTo>
                  <a:pt x="3739" y="1593"/>
                </a:lnTo>
                <a:lnTo>
                  <a:pt x="3741" y="1595"/>
                </a:lnTo>
                <a:lnTo>
                  <a:pt x="3743" y="1597"/>
                </a:lnTo>
                <a:lnTo>
                  <a:pt x="3745" y="1599"/>
                </a:lnTo>
                <a:lnTo>
                  <a:pt x="3746" y="1602"/>
                </a:lnTo>
                <a:lnTo>
                  <a:pt x="3746" y="1605"/>
                </a:lnTo>
                <a:lnTo>
                  <a:pt x="3745" y="1611"/>
                </a:lnTo>
                <a:lnTo>
                  <a:pt x="3744" y="1614"/>
                </a:lnTo>
                <a:lnTo>
                  <a:pt x="3742" y="1616"/>
                </a:lnTo>
                <a:lnTo>
                  <a:pt x="3741" y="1618"/>
                </a:lnTo>
                <a:lnTo>
                  <a:pt x="3738" y="1619"/>
                </a:lnTo>
                <a:lnTo>
                  <a:pt x="3735" y="1621"/>
                </a:lnTo>
                <a:lnTo>
                  <a:pt x="3732" y="1621"/>
                </a:lnTo>
                <a:lnTo>
                  <a:pt x="3729" y="1621"/>
                </a:lnTo>
                <a:lnTo>
                  <a:pt x="3726" y="1620"/>
                </a:lnTo>
                <a:lnTo>
                  <a:pt x="3723" y="1619"/>
                </a:lnTo>
                <a:lnTo>
                  <a:pt x="3720" y="1617"/>
                </a:lnTo>
                <a:lnTo>
                  <a:pt x="3718" y="1615"/>
                </a:lnTo>
                <a:lnTo>
                  <a:pt x="3717" y="1613"/>
                </a:lnTo>
                <a:lnTo>
                  <a:pt x="3716" y="1610"/>
                </a:lnTo>
                <a:lnTo>
                  <a:pt x="3715" y="1607"/>
                </a:lnTo>
                <a:lnTo>
                  <a:pt x="3716" y="1601"/>
                </a:lnTo>
                <a:lnTo>
                  <a:pt x="3717" y="1598"/>
                </a:lnTo>
                <a:lnTo>
                  <a:pt x="3719" y="1596"/>
                </a:lnTo>
                <a:lnTo>
                  <a:pt x="3721" y="1594"/>
                </a:lnTo>
                <a:lnTo>
                  <a:pt x="3723" y="1593"/>
                </a:lnTo>
                <a:close/>
                <a:moveTo>
                  <a:pt x="2491" y="2213"/>
                </a:moveTo>
                <a:lnTo>
                  <a:pt x="2493" y="2211"/>
                </a:lnTo>
                <a:lnTo>
                  <a:pt x="2496" y="2211"/>
                </a:lnTo>
                <a:lnTo>
                  <a:pt x="2498" y="2210"/>
                </a:lnTo>
                <a:lnTo>
                  <a:pt x="2501" y="2211"/>
                </a:lnTo>
                <a:lnTo>
                  <a:pt x="2504" y="2211"/>
                </a:lnTo>
                <a:lnTo>
                  <a:pt x="2507" y="2213"/>
                </a:lnTo>
                <a:lnTo>
                  <a:pt x="2509" y="2214"/>
                </a:lnTo>
                <a:lnTo>
                  <a:pt x="2511" y="2217"/>
                </a:lnTo>
                <a:lnTo>
                  <a:pt x="2513" y="2219"/>
                </a:lnTo>
                <a:lnTo>
                  <a:pt x="2514" y="2222"/>
                </a:lnTo>
                <a:lnTo>
                  <a:pt x="2514" y="2225"/>
                </a:lnTo>
                <a:lnTo>
                  <a:pt x="2514" y="2228"/>
                </a:lnTo>
                <a:lnTo>
                  <a:pt x="2513" y="2232"/>
                </a:lnTo>
                <a:lnTo>
                  <a:pt x="2512" y="2235"/>
                </a:lnTo>
                <a:lnTo>
                  <a:pt x="2509" y="2237"/>
                </a:lnTo>
                <a:lnTo>
                  <a:pt x="2507" y="2239"/>
                </a:lnTo>
                <a:lnTo>
                  <a:pt x="2504" y="2240"/>
                </a:lnTo>
                <a:lnTo>
                  <a:pt x="2502" y="2241"/>
                </a:lnTo>
                <a:lnTo>
                  <a:pt x="2499" y="2241"/>
                </a:lnTo>
                <a:lnTo>
                  <a:pt x="2497" y="2241"/>
                </a:lnTo>
                <a:lnTo>
                  <a:pt x="2494" y="2240"/>
                </a:lnTo>
                <a:lnTo>
                  <a:pt x="2491" y="2239"/>
                </a:lnTo>
                <a:lnTo>
                  <a:pt x="2489" y="2237"/>
                </a:lnTo>
                <a:lnTo>
                  <a:pt x="2487" y="2235"/>
                </a:lnTo>
                <a:lnTo>
                  <a:pt x="2485" y="2233"/>
                </a:lnTo>
                <a:lnTo>
                  <a:pt x="2484" y="2230"/>
                </a:lnTo>
                <a:lnTo>
                  <a:pt x="2484" y="2227"/>
                </a:lnTo>
                <a:lnTo>
                  <a:pt x="2484" y="2224"/>
                </a:lnTo>
                <a:lnTo>
                  <a:pt x="2485" y="2220"/>
                </a:lnTo>
                <a:lnTo>
                  <a:pt x="2486" y="2217"/>
                </a:lnTo>
                <a:lnTo>
                  <a:pt x="2488" y="2215"/>
                </a:lnTo>
                <a:lnTo>
                  <a:pt x="2491" y="2213"/>
                </a:lnTo>
                <a:close/>
                <a:moveTo>
                  <a:pt x="3586" y="1549"/>
                </a:moveTo>
                <a:lnTo>
                  <a:pt x="3589" y="1548"/>
                </a:lnTo>
                <a:lnTo>
                  <a:pt x="3592" y="1547"/>
                </a:lnTo>
                <a:lnTo>
                  <a:pt x="3595" y="1547"/>
                </a:lnTo>
                <a:lnTo>
                  <a:pt x="3598" y="1547"/>
                </a:lnTo>
                <a:lnTo>
                  <a:pt x="3601" y="1548"/>
                </a:lnTo>
                <a:lnTo>
                  <a:pt x="3603" y="1550"/>
                </a:lnTo>
                <a:lnTo>
                  <a:pt x="3605" y="1552"/>
                </a:lnTo>
                <a:lnTo>
                  <a:pt x="3607" y="1555"/>
                </a:lnTo>
                <a:lnTo>
                  <a:pt x="3608" y="1557"/>
                </a:lnTo>
                <a:lnTo>
                  <a:pt x="3609" y="1560"/>
                </a:lnTo>
                <a:lnTo>
                  <a:pt x="3609" y="1563"/>
                </a:lnTo>
                <a:lnTo>
                  <a:pt x="3608" y="1566"/>
                </a:lnTo>
                <a:lnTo>
                  <a:pt x="3607" y="1569"/>
                </a:lnTo>
                <a:lnTo>
                  <a:pt x="3606" y="1572"/>
                </a:lnTo>
                <a:lnTo>
                  <a:pt x="3604" y="1574"/>
                </a:lnTo>
                <a:lnTo>
                  <a:pt x="3601" y="1575"/>
                </a:lnTo>
                <a:lnTo>
                  <a:pt x="3599" y="1577"/>
                </a:lnTo>
                <a:lnTo>
                  <a:pt x="3596" y="1577"/>
                </a:lnTo>
                <a:lnTo>
                  <a:pt x="3593" y="1577"/>
                </a:lnTo>
                <a:lnTo>
                  <a:pt x="3589" y="1577"/>
                </a:lnTo>
                <a:lnTo>
                  <a:pt x="3587" y="1576"/>
                </a:lnTo>
                <a:lnTo>
                  <a:pt x="3584" y="1574"/>
                </a:lnTo>
                <a:lnTo>
                  <a:pt x="3582" y="1572"/>
                </a:lnTo>
                <a:lnTo>
                  <a:pt x="3580" y="1570"/>
                </a:lnTo>
                <a:lnTo>
                  <a:pt x="3579" y="1567"/>
                </a:lnTo>
                <a:lnTo>
                  <a:pt x="3578" y="1564"/>
                </a:lnTo>
                <a:lnTo>
                  <a:pt x="3578" y="1561"/>
                </a:lnTo>
                <a:lnTo>
                  <a:pt x="3579" y="1558"/>
                </a:lnTo>
                <a:lnTo>
                  <a:pt x="3580" y="1555"/>
                </a:lnTo>
                <a:lnTo>
                  <a:pt x="3582" y="1553"/>
                </a:lnTo>
                <a:lnTo>
                  <a:pt x="3584" y="1550"/>
                </a:lnTo>
                <a:lnTo>
                  <a:pt x="3586" y="1549"/>
                </a:lnTo>
                <a:close/>
                <a:moveTo>
                  <a:pt x="2505" y="2069"/>
                </a:moveTo>
                <a:lnTo>
                  <a:pt x="2509" y="2068"/>
                </a:lnTo>
                <a:lnTo>
                  <a:pt x="2512" y="2067"/>
                </a:lnTo>
                <a:lnTo>
                  <a:pt x="2514" y="2067"/>
                </a:lnTo>
                <a:lnTo>
                  <a:pt x="2520" y="2069"/>
                </a:lnTo>
                <a:lnTo>
                  <a:pt x="2522" y="2070"/>
                </a:lnTo>
                <a:lnTo>
                  <a:pt x="2524" y="2072"/>
                </a:lnTo>
                <a:lnTo>
                  <a:pt x="2526" y="2075"/>
                </a:lnTo>
                <a:lnTo>
                  <a:pt x="2527" y="2078"/>
                </a:lnTo>
                <a:lnTo>
                  <a:pt x="2528" y="2081"/>
                </a:lnTo>
                <a:lnTo>
                  <a:pt x="2528" y="2084"/>
                </a:lnTo>
                <a:lnTo>
                  <a:pt x="2527" y="2087"/>
                </a:lnTo>
                <a:lnTo>
                  <a:pt x="2526" y="2091"/>
                </a:lnTo>
                <a:lnTo>
                  <a:pt x="2524" y="2094"/>
                </a:lnTo>
                <a:lnTo>
                  <a:pt x="2521" y="2096"/>
                </a:lnTo>
                <a:lnTo>
                  <a:pt x="2516" y="2098"/>
                </a:lnTo>
                <a:lnTo>
                  <a:pt x="2514" y="2098"/>
                </a:lnTo>
                <a:lnTo>
                  <a:pt x="2512" y="2098"/>
                </a:lnTo>
                <a:lnTo>
                  <a:pt x="2506" y="2096"/>
                </a:lnTo>
                <a:lnTo>
                  <a:pt x="2503" y="2095"/>
                </a:lnTo>
                <a:lnTo>
                  <a:pt x="2501" y="2093"/>
                </a:lnTo>
                <a:lnTo>
                  <a:pt x="2500" y="2090"/>
                </a:lnTo>
                <a:lnTo>
                  <a:pt x="2498" y="2088"/>
                </a:lnTo>
                <a:lnTo>
                  <a:pt x="2498" y="2085"/>
                </a:lnTo>
                <a:lnTo>
                  <a:pt x="2498" y="2082"/>
                </a:lnTo>
                <a:lnTo>
                  <a:pt x="2498" y="2078"/>
                </a:lnTo>
                <a:lnTo>
                  <a:pt x="2500" y="2074"/>
                </a:lnTo>
                <a:lnTo>
                  <a:pt x="2502" y="2071"/>
                </a:lnTo>
                <a:lnTo>
                  <a:pt x="2505" y="2069"/>
                </a:lnTo>
                <a:close/>
                <a:moveTo>
                  <a:pt x="3446" y="1515"/>
                </a:moveTo>
                <a:lnTo>
                  <a:pt x="3449" y="1514"/>
                </a:lnTo>
                <a:lnTo>
                  <a:pt x="3451" y="1513"/>
                </a:lnTo>
                <a:lnTo>
                  <a:pt x="3457" y="1513"/>
                </a:lnTo>
                <a:lnTo>
                  <a:pt x="3460" y="1514"/>
                </a:lnTo>
                <a:lnTo>
                  <a:pt x="3462" y="1515"/>
                </a:lnTo>
                <a:lnTo>
                  <a:pt x="3465" y="1517"/>
                </a:lnTo>
                <a:lnTo>
                  <a:pt x="3467" y="1520"/>
                </a:lnTo>
                <a:lnTo>
                  <a:pt x="3468" y="1522"/>
                </a:lnTo>
                <a:lnTo>
                  <a:pt x="3469" y="1525"/>
                </a:lnTo>
                <a:lnTo>
                  <a:pt x="3469" y="1528"/>
                </a:lnTo>
                <a:lnTo>
                  <a:pt x="3469" y="1531"/>
                </a:lnTo>
                <a:lnTo>
                  <a:pt x="3468" y="1534"/>
                </a:lnTo>
                <a:lnTo>
                  <a:pt x="3466" y="1537"/>
                </a:lnTo>
                <a:lnTo>
                  <a:pt x="3464" y="1540"/>
                </a:lnTo>
                <a:lnTo>
                  <a:pt x="3462" y="1541"/>
                </a:lnTo>
                <a:lnTo>
                  <a:pt x="3459" y="1543"/>
                </a:lnTo>
                <a:lnTo>
                  <a:pt x="3456" y="1543"/>
                </a:lnTo>
                <a:lnTo>
                  <a:pt x="3451" y="1543"/>
                </a:lnTo>
                <a:lnTo>
                  <a:pt x="3448" y="1542"/>
                </a:lnTo>
                <a:lnTo>
                  <a:pt x="3445" y="1541"/>
                </a:lnTo>
                <a:lnTo>
                  <a:pt x="3443" y="1539"/>
                </a:lnTo>
                <a:lnTo>
                  <a:pt x="3441" y="1537"/>
                </a:lnTo>
                <a:lnTo>
                  <a:pt x="3440" y="1534"/>
                </a:lnTo>
                <a:lnTo>
                  <a:pt x="3439" y="1531"/>
                </a:lnTo>
                <a:lnTo>
                  <a:pt x="3438" y="1528"/>
                </a:lnTo>
                <a:lnTo>
                  <a:pt x="3439" y="1525"/>
                </a:lnTo>
                <a:lnTo>
                  <a:pt x="3440" y="1522"/>
                </a:lnTo>
                <a:lnTo>
                  <a:pt x="3441" y="1519"/>
                </a:lnTo>
                <a:lnTo>
                  <a:pt x="3444" y="1517"/>
                </a:lnTo>
                <a:lnTo>
                  <a:pt x="3446" y="1515"/>
                </a:lnTo>
                <a:close/>
                <a:moveTo>
                  <a:pt x="3304" y="1493"/>
                </a:moveTo>
                <a:lnTo>
                  <a:pt x="3308" y="1491"/>
                </a:lnTo>
                <a:lnTo>
                  <a:pt x="3311" y="1491"/>
                </a:lnTo>
                <a:lnTo>
                  <a:pt x="3313" y="1491"/>
                </a:lnTo>
                <a:lnTo>
                  <a:pt x="3316" y="1492"/>
                </a:lnTo>
                <a:lnTo>
                  <a:pt x="3319" y="1493"/>
                </a:lnTo>
                <a:lnTo>
                  <a:pt x="3321" y="1495"/>
                </a:lnTo>
                <a:lnTo>
                  <a:pt x="3323" y="1497"/>
                </a:lnTo>
                <a:lnTo>
                  <a:pt x="3325" y="1499"/>
                </a:lnTo>
                <a:lnTo>
                  <a:pt x="3326" y="1502"/>
                </a:lnTo>
                <a:lnTo>
                  <a:pt x="3327" y="1505"/>
                </a:lnTo>
                <a:lnTo>
                  <a:pt x="3327" y="1508"/>
                </a:lnTo>
                <a:lnTo>
                  <a:pt x="3326" y="1512"/>
                </a:lnTo>
                <a:lnTo>
                  <a:pt x="3324" y="1515"/>
                </a:lnTo>
                <a:lnTo>
                  <a:pt x="3322" y="1518"/>
                </a:lnTo>
                <a:lnTo>
                  <a:pt x="3319" y="1520"/>
                </a:lnTo>
                <a:lnTo>
                  <a:pt x="3315" y="1522"/>
                </a:lnTo>
                <a:lnTo>
                  <a:pt x="3313" y="1522"/>
                </a:lnTo>
                <a:lnTo>
                  <a:pt x="3310" y="1522"/>
                </a:lnTo>
                <a:lnTo>
                  <a:pt x="3307" y="1521"/>
                </a:lnTo>
                <a:lnTo>
                  <a:pt x="3304" y="1520"/>
                </a:lnTo>
                <a:lnTo>
                  <a:pt x="3302" y="1518"/>
                </a:lnTo>
                <a:lnTo>
                  <a:pt x="3300" y="1516"/>
                </a:lnTo>
                <a:lnTo>
                  <a:pt x="3298" y="1514"/>
                </a:lnTo>
                <a:lnTo>
                  <a:pt x="3297" y="1511"/>
                </a:lnTo>
                <a:lnTo>
                  <a:pt x="3296" y="1508"/>
                </a:lnTo>
                <a:lnTo>
                  <a:pt x="3296" y="1505"/>
                </a:lnTo>
                <a:lnTo>
                  <a:pt x="3297" y="1501"/>
                </a:lnTo>
                <a:lnTo>
                  <a:pt x="3299" y="1498"/>
                </a:lnTo>
                <a:lnTo>
                  <a:pt x="3301" y="1495"/>
                </a:lnTo>
                <a:lnTo>
                  <a:pt x="3304" y="1493"/>
                </a:lnTo>
                <a:close/>
                <a:moveTo>
                  <a:pt x="2517" y="1926"/>
                </a:moveTo>
                <a:lnTo>
                  <a:pt x="2519" y="1925"/>
                </a:lnTo>
                <a:lnTo>
                  <a:pt x="2521" y="1924"/>
                </a:lnTo>
                <a:lnTo>
                  <a:pt x="2524" y="1924"/>
                </a:lnTo>
                <a:lnTo>
                  <a:pt x="2526" y="1924"/>
                </a:lnTo>
                <a:lnTo>
                  <a:pt x="2529" y="1924"/>
                </a:lnTo>
                <a:lnTo>
                  <a:pt x="2532" y="1926"/>
                </a:lnTo>
                <a:lnTo>
                  <a:pt x="2535" y="1927"/>
                </a:lnTo>
                <a:lnTo>
                  <a:pt x="2536" y="1928"/>
                </a:lnTo>
                <a:lnTo>
                  <a:pt x="2537" y="1930"/>
                </a:lnTo>
                <a:lnTo>
                  <a:pt x="2537" y="1931"/>
                </a:lnTo>
                <a:lnTo>
                  <a:pt x="2538" y="1932"/>
                </a:lnTo>
                <a:lnTo>
                  <a:pt x="2539" y="1935"/>
                </a:lnTo>
                <a:lnTo>
                  <a:pt x="2540" y="1938"/>
                </a:lnTo>
                <a:lnTo>
                  <a:pt x="2540" y="1941"/>
                </a:lnTo>
                <a:lnTo>
                  <a:pt x="2539" y="1944"/>
                </a:lnTo>
                <a:lnTo>
                  <a:pt x="2537" y="1948"/>
                </a:lnTo>
                <a:lnTo>
                  <a:pt x="2535" y="1950"/>
                </a:lnTo>
                <a:lnTo>
                  <a:pt x="2532" y="1952"/>
                </a:lnTo>
                <a:lnTo>
                  <a:pt x="2530" y="1953"/>
                </a:lnTo>
                <a:lnTo>
                  <a:pt x="2528" y="1954"/>
                </a:lnTo>
                <a:lnTo>
                  <a:pt x="2525" y="1954"/>
                </a:lnTo>
                <a:lnTo>
                  <a:pt x="2523" y="1954"/>
                </a:lnTo>
                <a:lnTo>
                  <a:pt x="2520" y="1954"/>
                </a:lnTo>
                <a:lnTo>
                  <a:pt x="2517" y="1952"/>
                </a:lnTo>
                <a:lnTo>
                  <a:pt x="2514" y="1951"/>
                </a:lnTo>
                <a:lnTo>
                  <a:pt x="2513" y="1950"/>
                </a:lnTo>
                <a:lnTo>
                  <a:pt x="2512" y="1949"/>
                </a:lnTo>
                <a:lnTo>
                  <a:pt x="2512" y="1947"/>
                </a:lnTo>
                <a:lnTo>
                  <a:pt x="2511" y="1946"/>
                </a:lnTo>
                <a:lnTo>
                  <a:pt x="2510" y="1943"/>
                </a:lnTo>
                <a:lnTo>
                  <a:pt x="2509" y="1940"/>
                </a:lnTo>
                <a:lnTo>
                  <a:pt x="2509" y="1937"/>
                </a:lnTo>
                <a:lnTo>
                  <a:pt x="2510" y="1934"/>
                </a:lnTo>
                <a:lnTo>
                  <a:pt x="2512" y="1930"/>
                </a:lnTo>
                <a:lnTo>
                  <a:pt x="2514" y="1928"/>
                </a:lnTo>
                <a:lnTo>
                  <a:pt x="2517" y="1926"/>
                </a:lnTo>
                <a:close/>
                <a:moveTo>
                  <a:pt x="3160" y="1487"/>
                </a:moveTo>
                <a:lnTo>
                  <a:pt x="3162" y="1486"/>
                </a:lnTo>
                <a:lnTo>
                  <a:pt x="3164" y="1486"/>
                </a:lnTo>
                <a:lnTo>
                  <a:pt x="3168" y="1485"/>
                </a:lnTo>
                <a:lnTo>
                  <a:pt x="3171" y="1485"/>
                </a:lnTo>
                <a:lnTo>
                  <a:pt x="3174" y="1486"/>
                </a:lnTo>
                <a:lnTo>
                  <a:pt x="3176" y="1488"/>
                </a:lnTo>
                <a:lnTo>
                  <a:pt x="3179" y="1490"/>
                </a:lnTo>
                <a:lnTo>
                  <a:pt x="3181" y="1492"/>
                </a:lnTo>
                <a:lnTo>
                  <a:pt x="3182" y="1494"/>
                </a:lnTo>
                <a:lnTo>
                  <a:pt x="3183" y="1497"/>
                </a:lnTo>
                <a:lnTo>
                  <a:pt x="3183" y="1500"/>
                </a:lnTo>
                <a:lnTo>
                  <a:pt x="3183" y="1505"/>
                </a:lnTo>
                <a:lnTo>
                  <a:pt x="3181" y="1508"/>
                </a:lnTo>
                <a:lnTo>
                  <a:pt x="3179" y="1511"/>
                </a:lnTo>
                <a:lnTo>
                  <a:pt x="3176" y="1514"/>
                </a:lnTo>
                <a:lnTo>
                  <a:pt x="3174" y="1515"/>
                </a:lnTo>
                <a:lnTo>
                  <a:pt x="3172" y="1515"/>
                </a:lnTo>
                <a:lnTo>
                  <a:pt x="3168" y="1516"/>
                </a:lnTo>
                <a:lnTo>
                  <a:pt x="3165" y="1516"/>
                </a:lnTo>
                <a:lnTo>
                  <a:pt x="3162" y="1515"/>
                </a:lnTo>
                <a:lnTo>
                  <a:pt x="3160" y="1514"/>
                </a:lnTo>
                <a:lnTo>
                  <a:pt x="3157" y="1512"/>
                </a:lnTo>
                <a:lnTo>
                  <a:pt x="3155" y="1509"/>
                </a:lnTo>
                <a:lnTo>
                  <a:pt x="3154" y="1507"/>
                </a:lnTo>
                <a:lnTo>
                  <a:pt x="3153" y="1504"/>
                </a:lnTo>
                <a:lnTo>
                  <a:pt x="3153" y="1501"/>
                </a:lnTo>
                <a:lnTo>
                  <a:pt x="3153" y="1497"/>
                </a:lnTo>
                <a:lnTo>
                  <a:pt x="3155" y="1493"/>
                </a:lnTo>
                <a:lnTo>
                  <a:pt x="3157" y="1490"/>
                </a:lnTo>
                <a:lnTo>
                  <a:pt x="3160" y="1487"/>
                </a:lnTo>
                <a:close/>
                <a:moveTo>
                  <a:pt x="2548" y="1785"/>
                </a:moveTo>
                <a:lnTo>
                  <a:pt x="2552" y="1784"/>
                </a:lnTo>
                <a:lnTo>
                  <a:pt x="2555" y="1783"/>
                </a:lnTo>
                <a:lnTo>
                  <a:pt x="2558" y="1783"/>
                </a:lnTo>
                <a:lnTo>
                  <a:pt x="2562" y="1784"/>
                </a:lnTo>
                <a:lnTo>
                  <a:pt x="2563" y="1785"/>
                </a:lnTo>
                <a:lnTo>
                  <a:pt x="2564" y="1785"/>
                </a:lnTo>
                <a:lnTo>
                  <a:pt x="2567" y="1788"/>
                </a:lnTo>
                <a:lnTo>
                  <a:pt x="2569" y="1790"/>
                </a:lnTo>
                <a:lnTo>
                  <a:pt x="2570" y="1793"/>
                </a:lnTo>
                <a:lnTo>
                  <a:pt x="2571" y="1796"/>
                </a:lnTo>
                <a:lnTo>
                  <a:pt x="2572" y="1799"/>
                </a:lnTo>
                <a:lnTo>
                  <a:pt x="2571" y="1802"/>
                </a:lnTo>
                <a:lnTo>
                  <a:pt x="2571" y="1805"/>
                </a:lnTo>
                <a:lnTo>
                  <a:pt x="2569" y="1807"/>
                </a:lnTo>
                <a:lnTo>
                  <a:pt x="2568" y="1809"/>
                </a:lnTo>
                <a:lnTo>
                  <a:pt x="2566" y="1811"/>
                </a:lnTo>
                <a:lnTo>
                  <a:pt x="2564" y="1813"/>
                </a:lnTo>
                <a:lnTo>
                  <a:pt x="2561" y="1814"/>
                </a:lnTo>
                <a:lnTo>
                  <a:pt x="2558" y="1815"/>
                </a:lnTo>
                <a:lnTo>
                  <a:pt x="2554" y="1814"/>
                </a:lnTo>
                <a:lnTo>
                  <a:pt x="2551" y="1814"/>
                </a:lnTo>
                <a:lnTo>
                  <a:pt x="2549" y="1813"/>
                </a:lnTo>
                <a:lnTo>
                  <a:pt x="2548" y="1812"/>
                </a:lnTo>
                <a:lnTo>
                  <a:pt x="2546" y="1810"/>
                </a:lnTo>
                <a:lnTo>
                  <a:pt x="2544" y="1808"/>
                </a:lnTo>
                <a:lnTo>
                  <a:pt x="2542" y="1805"/>
                </a:lnTo>
                <a:lnTo>
                  <a:pt x="2541" y="1803"/>
                </a:lnTo>
                <a:lnTo>
                  <a:pt x="2541" y="1800"/>
                </a:lnTo>
                <a:lnTo>
                  <a:pt x="2541" y="1797"/>
                </a:lnTo>
                <a:lnTo>
                  <a:pt x="2542" y="1794"/>
                </a:lnTo>
                <a:lnTo>
                  <a:pt x="2543" y="1791"/>
                </a:lnTo>
                <a:lnTo>
                  <a:pt x="2545" y="1789"/>
                </a:lnTo>
                <a:lnTo>
                  <a:pt x="2546" y="1787"/>
                </a:lnTo>
                <a:lnTo>
                  <a:pt x="2548" y="1785"/>
                </a:lnTo>
                <a:close/>
                <a:moveTo>
                  <a:pt x="3017" y="1500"/>
                </a:moveTo>
                <a:lnTo>
                  <a:pt x="3020" y="1499"/>
                </a:lnTo>
                <a:lnTo>
                  <a:pt x="3022" y="1498"/>
                </a:lnTo>
                <a:lnTo>
                  <a:pt x="3025" y="1498"/>
                </a:lnTo>
                <a:lnTo>
                  <a:pt x="3028" y="1498"/>
                </a:lnTo>
                <a:lnTo>
                  <a:pt x="3031" y="1499"/>
                </a:lnTo>
                <a:lnTo>
                  <a:pt x="3034" y="1501"/>
                </a:lnTo>
                <a:lnTo>
                  <a:pt x="3036" y="1503"/>
                </a:lnTo>
                <a:lnTo>
                  <a:pt x="3038" y="1505"/>
                </a:lnTo>
                <a:lnTo>
                  <a:pt x="3039" y="1508"/>
                </a:lnTo>
                <a:lnTo>
                  <a:pt x="3040" y="1511"/>
                </a:lnTo>
                <a:lnTo>
                  <a:pt x="3040" y="1516"/>
                </a:lnTo>
                <a:lnTo>
                  <a:pt x="3039" y="1520"/>
                </a:lnTo>
                <a:lnTo>
                  <a:pt x="3036" y="1524"/>
                </a:lnTo>
                <a:lnTo>
                  <a:pt x="3032" y="1527"/>
                </a:lnTo>
                <a:lnTo>
                  <a:pt x="3030" y="1528"/>
                </a:lnTo>
                <a:lnTo>
                  <a:pt x="3027" y="1528"/>
                </a:lnTo>
                <a:lnTo>
                  <a:pt x="3024" y="1529"/>
                </a:lnTo>
                <a:lnTo>
                  <a:pt x="3021" y="1528"/>
                </a:lnTo>
                <a:lnTo>
                  <a:pt x="3018" y="1527"/>
                </a:lnTo>
                <a:lnTo>
                  <a:pt x="3016" y="1526"/>
                </a:lnTo>
                <a:lnTo>
                  <a:pt x="3013" y="1524"/>
                </a:lnTo>
                <a:lnTo>
                  <a:pt x="3012" y="1521"/>
                </a:lnTo>
                <a:lnTo>
                  <a:pt x="3010" y="1519"/>
                </a:lnTo>
                <a:lnTo>
                  <a:pt x="3010" y="1516"/>
                </a:lnTo>
                <a:lnTo>
                  <a:pt x="3010" y="1511"/>
                </a:lnTo>
                <a:lnTo>
                  <a:pt x="3011" y="1506"/>
                </a:lnTo>
                <a:lnTo>
                  <a:pt x="3013" y="1503"/>
                </a:lnTo>
                <a:lnTo>
                  <a:pt x="3017" y="1500"/>
                </a:lnTo>
                <a:close/>
                <a:moveTo>
                  <a:pt x="2877" y="1532"/>
                </a:moveTo>
                <a:lnTo>
                  <a:pt x="2880" y="1531"/>
                </a:lnTo>
                <a:lnTo>
                  <a:pt x="2883" y="1530"/>
                </a:lnTo>
                <a:lnTo>
                  <a:pt x="2886" y="1530"/>
                </a:lnTo>
                <a:lnTo>
                  <a:pt x="2889" y="1531"/>
                </a:lnTo>
                <a:lnTo>
                  <a:pt x="2892" y="1532"/>
                </a:lnTo>
                <a:lnTo>
                  <a:pt x="2894" y="1534"/>
                </a:lnTo>
                <a:lnTo>
                  <a:pt x="2897" y="1536"/>
                </a:lnTo>
                <a:lnTo>
                  <a:pt x="2898" y="1538"/>
                </a:lnTo>
                <a:lnTo>
                  <a:pt x="2900" y="1541"/>
                </a:lnTo>
                <a:lnTo>
                  <a:pt x="2900" y="1546"/>
                </a:lnTo>
                <a:lnTo>
                  <a:pt x="2900" y="1549"/>
                </a:lnTo>
                <a:lnTo>
                  <a:pt x="2899" y="1551"/>
                </a:lnTo>
                <a:lnTo>
                  <a:pt x="2897" y="1556"/>
                </a:lnTo>
                <a:lnTo>
                  <a:pt x="2895" y="1558"/>
                </a:lnTo>
                <a:lnTo>
                  <a:pt x="2893" y="1559"/>
                </a:lnTo>
                <a:lnTo>
                  <a:pt x="2889" y="1560"/>
                </a:lnTo>
                <a:lnTo>
                  <a:pt x="2886" y="1561"/>
                </a:lnTo>
                <a:lnTo>
                  <a:pt x="2883" y="1561"/>
                </a:lnTo>
                <a:lnTo>
                  <a:pt x="2880" y="1561"/>
                </a:lnTo>
                <a:lnTo>
                  <a:pt x="2878" y="1559"/>
                </a:lnTo>
                <a:lnTo>
                  <a:pt x="2875" y="1558"/>
                </a:lnTo>
                <a:lnTo>
                  <a:pt x="2873" y="1556"/>
                </a:lnTo>
                <a:lnTo>
                  <a:pt x="2871" y="1553"/>
                </a:lnTo>
                <a:lnTo>
                  <a:pt x="2870" y="1550"/>
                </a:lnTo>
                <a:lnTo>
                  <a:pt x="2869" y="1545"/>
                </a:lnTo>
                <a:lnTo>
                  <a:pt x="2870" y="1543"/>
                </a:lnTo>
                <a:lnTo>
                  <a:pt x="2871" y="1540"/>
                </a:lnTo>
                <a:lnTo>
                  <a:pt x="2872" y="1538"/>
                </a:lnTo>
                <a:lnTo>
                  <a:pt x="2873" y="1536"/>
                </a:lnTo>
                <a:lnTo>
                  <a:pt x="2875" y="1534"/>
                </a:lnTo>
                <a:lnTo>
                  <a:pt x="2877" y="1532"/>
                </a:lnTo>
                <a:close/>
                <a:moveTo>
                  <a:pt x="2626" y="1666"/>
                </a:moveTo>
                <a:lnTo>
                  <a:pt x="2628" y="1664"/>
                </a:lnTo>
                <a:lnTo>
                  <a:pt x="2630" y="1664"/>
                </a:lnTo>
                <a:lnTo>
                  <a:pt x="2633" y="1664"/>
                </a:lnTo>
                <a:lnTo>
                  <a:pt x="2635" y="1664"/>
                </a:lnTo>
                <a:lnTo>
                  <a:pt x="2638" y="1664"/>
                </a:lnTo>
                <a:lnTo>
                  <a:pt x="2640" y="1665"/>
                </a:lnTo>
                <a:lnTo>
                  <a:pt x="2642" y="1666"/>
                </a:lnTo>
                <a:lnTo>
                  <a:pt x="2644" y="1668"/>
                </a:lnTo>
                <a:lnTo>
                  <a:pt x="2646" y="1670"/>
                </a:lnTo>
                <a:lnTo>
                  <a:pt x="2648" y="1673"/>
                </a:lnTo>
                <a:lnTo>
                  <a:pt x="2648" y="1676"/>
                </a:lnTo>
                <a:lnTo>
                  <a:pt x="2649" y="1679"/>
                </a:lnTo>
                <a:lnTo>
                  <a:pt x="2648" y="1682"/>
                </a:lnTo>
                <a:lnTo>
                  <a:pt x="2647" y="1685"/>
                </a:lnTo>
                <a:lnTo>
                  <a:pt x="2646" y="1687"/>
                </a:lnTo>
                <a:lnTo>
                  <a:pt x="2644" y="1690"/>
                </a:lnTo>
                <a:lnTo>
                  <a:pt x="2641" y="1692"/>
                </a:lnTo>
                <a:lnTo>
                  <a:pt x="2639" y="1693"/>
                </a:lnTo>
                <a:lnTo>
                  <a:pt x="2636" y="1694"/>
                </a:lnTo>
                <a:lnTo>
                  <a:pt x="2634" y="1694"/>
                </a:lnTo>
                <a:lnTo>
                  <a:pt x="2631" y="1694"/>
                </a:lnTo>
                <a:lnTo>
                  <a:pt x="2629" y="1694"/>
                </a:lnTo>
                <a:lnTo>
                  <a:pt x="2627" y="1693"/>
                </a:lnTo>
                <a:lnTo>
                  <a:pt x="2624" y="1691"/>
                </a:lnTo>
                <a:lnTo>
                  <a:pt x="2622" y="1690"/>
                </a:lnTo>
                <a:lnTo>
                  <a:pt x="2620" y="1687"/>
                </a:lnTo>
                <a:lnTo>
                  <a:pt x="2619" y="1685"/>
                </a:lnTo>
                <a:lnTo>
                  <a:pt x="2618" y="1682"/>
                </a:lnTo>
                <a:lnTo>
                  <a:pt x="2618" y="1679"/>
                </a:lnTo>
                <a:lnTo>
                  <a:pt x="2618" y="1676"/>
                </a:lnTo>
                <a:lnTo>
                  <a:pt x="2619" y="1673"/>
                </a:lnTo>
                <a:lnTo>
                  <a:pt x="2620" y="1670"/>
                </a:lnTo>
                <a:lnTo>
                  <a:pt x="2622" y="1668"/>
                </a:lnTo>
                <a:lnTo>
                  <a:pt x="2626" y="1666"/>
                </a:lnTo>
                <a:close/>
                <a:moveTo>
                  <a:pt x="2743" y="1585"/>
                </a:moveTo>
                <a:lnTo>
                  <a:pt x="2746" y="1583"/>
                </a:lnTo>
                <a:lnTo>
                  <a:pt x="2750" y="1583"/>
                </a:lnTo>
                <a:lnTo>
                  <a:pt x="2753" y="1583"/>
                </a:lnTo>
                <a:lnTo>
                  <a:pt x="2756" y="1584"/>
                </a:lnTo>
                <a:lnTo>
                  <a:pt x="2759" y="1585"/>
                </a:lnTo>
                <a:lnTo>
                  <a:pt x="2761" y="1586"/>
                </a:lnTo>
                <a:lnTo>
                  <a:pt x="2763" y="1589"/>
                </a:lnTo>
                <a:lnTo>
                  <a:pt x="2765" y="1591"/>
                </a:lnTo>
                <a:lnTo>
                  <a:pt x="2766" y="1594"/>
                </a:lnTo>
                <a:lnTo>
                  <a:pt x="2766" y="1597"/>
                </a:lnTo>
                <a:lnTo>
                  <a:pt x="2766" y="1600"/>
                </a:lnTo>
                <a:lnTo>
                  <a:pt x="2766" y="1603"/>
                </a:lnTo>
                <a:lnTo>
                  <a:pt x="2765" y="1605"/>
                </a:lnTo>
                <a:lnTo>
                  <a:pt x="2763" y="1608"/>
                </a:lnTo>
                <a:lnTo>
                  <a:pt x="2761" y="1610"/>
                </a:lnTo>
                <a:lnTo>
                  <a:pt x="2759" y="1611"/>
                </a:lnTo>
                <a:lnTo>
                  <a:pt x="2755" y="1613"/>
                </a:lnTo>
                <a:lnTo>
                  <a:pt x="2752" y="1613"/>
                </a:lnTo>
                <a:lnTo>
                  <a:pt x="2749" y="1613"/>
                </a:lnTo>
                <a:lnTo>
                  <a:pt x="2746" y="1613"/>
                </a:lnTo>
                <a:lnTo>
                  <a:pt x="2743" y="1611"/>
                </a:lnTo>
                <a:lnTo>
                  <a:pt x="2741" y="1610"/>
                </a:lnTo>
                <a:lnTo>
                  <a:pt x="2739" y="1607"/>
                </a:lnTo>
                <a:lnTo>
                  <a:pt x="2737" y="1605"/>
                </a:lnTo>
                <a:lnTo>
                  <a:pt x="2736" y="1602"/>
                </a:lnTo>
                <a:lnTo>
                  <a:pt x="2736" y="1599"/>
                </a:lnTo>
                <a:lnTo>
                  <a:pt x="2736" y="1596"/>
                </a:lnTo>
                <a:lnTo>
                  <a:pt x="2736" y="1594"/>
                </a:lnTo>
                <a:lnTo>
                  <a:pt x="2737" y="1591"/>
                </a:lnTo>
                <a:lnTo>
                  <a:pt x="2739" y="1589"/>
                </a:lnTo>
                <a:lnTo>
                  <a:pt x="2741" y="1586"/>
                </a:lnTo>
                <a:lnTo>
                  <a:pt x="2743" y="1585"/>
                </a:lnTo>
                <a:close/>
                <a:moveTo>
                  <a:pt x="4771" y="2334"/>
                </a:moveTo>
                <a:lnTo>
                  <a:pt x="4772" y="2333"/>
                </a:lnTo>
                <a:lnTo>
                  <a:pt x="4774" y="2333"/>
                </a:lnTo>
                <a:lnTo>
                  <a:pt x="4778" y="2332"/>
                </a:lnTo>
                <a:lnTo>
                  <a:pt x="4780" y="2332"/>
                </a:lnTo>
                <a:lnTo>
                  <a:pt x="4782" y="2332"/>
                </a:lnTo>
                <a:lnTo>
                  <a:pt x="4786" y="2334"/>
                </a:lnTo>
                <a:lnTo>
                  <a:pt x="4788" y="2336"/>
                </a:lnTo>
                <a:lnTo>
                  <a:pt x="4790" y="2338"/>
                </a:lnTo>
                <a:lnTo>
                  <a:pt x="4791" y="2339"/>
                </a:lnTo>
                <a:lnTo>
                  <a:pt x="4792" y="2340"/>
                </a:lnTo>
                <a:lnTo>
                  <a:pt x="4793" y="2343"/>
                </a:lnTo>
                <a:lnTo>
                  <a:pt x="4793" y="2346"/>
                </a:lnTo>
                <a:lnTo>
                  <a:pt x="4793" y="2349"/>
                </a:lnTo>
                <a:lnTo>
                  <a:pt x="4793" y="2352"/>
                </a:lnTo>
                <a:lnTo>
                  <a:pt x="4792" y="2355"/>
                </a:lnTo>
                <a:lnTo>
                  <a:pt x="4791" y="2356"/>
                </a:lnTo>
                <a:lnTo>
                  <a:pt x="4789" y="2358"/>
                </a:lnTo>
                <a:lnTo>
                  <a:pt x="4786" y="2360"/>
                </a:lnTo>
                <a:lnTo>
                  <a:pt x="4784" y="2361"/>
                </a:lnTo>
                <a:lnTo>
                  <a:pt x="4782" y="2362"/>
                </a:lnTo>
                <a:lnTo>
                  <a:pt x="4779" y="2362"/>
                </a:lnTo>
                <a:lnTo>
                  <a:pt x="4777" y="2362"/>
                </a:lnTo>
                <a:lnTo>
                  <a:pt x="4775" y="2362"/>
                </a:lnTo>
                <a:lnTo>
                  <a:pt x="4771" y="2361"/>
                </a:lnTo>
                <a:lnTo>
                  <a:pt x="4768" y="2359"/>
                </a:lnTo>
                <a:lnTo>
                  <a:pt x="4766" y="2357"/>
                </a:lnTo>
                <a:lnTo>
                  <a:pt x="4766" y="2355"/>
                </a:lnTo>
                <a:lnTo>
                  <a:pt x="4765" y="2354"/>
                </a:lnTo>
                <a:lnTo>
                  <a:pt x="4764" y="2351"/>
                </a:lnTo>
                <a:lnTo>
                  <a:pt x="4763" y="2349"/>
                </a:lnTo>
                <a:lnTo>
                  <a:pt x="4763" y="2346"/>
                </a:lnTo>
                <a:lnTo>
                  <a:pt x="4764" y="2343"/>
                </a:lnTo>
                <a:lnTo>
                  <a:pt x="4765" y="2340"/>
                </a:lnTo>
                <a:lnTo>
                  <a:pt x="4766" y="2338"/>
                </a:lnTo>
                <a:lnTo>
                  <a:pt x="4767" y="2337"/>
                </a:lnTo>
                <a:lnTo>
                  <a:pt x="4771" y="2334"/>
                </a:lnTo>
                <a:close/>
                <a:moveTo>
                  <a:pt x="4644" y="2265"/>
                </a:moveTo>
                <a:lnTo>
                  <a:pt x="4646" y="2264"/>
                </a:lnTo>
                <a:lnTo>
                  <a:pt x="4648" y="2264"/>
                </a:lnTo>
                <a:lnTo>
                  <a:pt x="4651" y="2263"/>
                </a:lnTo>
                <a:lnTo>
                  <a:pt x="4653" y="2263"/>
                </a:lnTo>
                <a:lnTo>
                  <a:pt x="4655" y="2264"/>
                </a:lnTo>
                <a:lnTo>
                  <a:pt x="4659" y="2265"/>
                </a:lnTo>
                <a:lnTo>
                  <a:pt x="4662" y="2267"/>
                </a:lnTo>
                <a:lnTo>
                  <a:pt x="4663" y="2268"/>
                </a:lnTo>
                <a:lnTo>
                  <a:pt x="4664" y="2269"/>
                </a:lnTo>
                <a:lnTo>
                  <a:pt x="4665" y="2270"/>
                </a:lnTo>
                <a:lnTo>
                  <a:pt x="4665" y="2271"/>
                </a:lnTo>
                <a:lnTo>
                  <a:pt x="4666" y="2274"/>
                </a:lnTo>
                <a:lnTo>
                  <a:pt x="4667" y="2277"/>
                </a:lnTo>
                <a:lnTo>
                  <a:pt x="4667" y="2280"/>
                </a:lnTo>
                <a:lnTo>
                  <a:pt x="4666" y="2283"/>
                </a:lnTo>
                <a:lnTo>
                  <a:pt x="4665" y="2286"/>
                </a:lnTo>
                <a:lnTo>
                  <a:pt x="4663" y="2289"/>
                </a:lnTo>
                <a:lnTo>
                  <a:pt x="4659" y="2292"/>
                </a:lnTo>
                <a:lnTo>
                  <a:pt x="4658" y="2293"/>
                </a:lnTo>
                <a:lnTo>
                  <a:pt x="4656" y="2293"/>
                </a:lnTo>
                <a:lnTo>
                  <a:pt x="4652" y="2294"/>
                </a:lnTo>
                <a:lnTo>
                  <a:pt x="4650" y="2294"/>
                </a:lnTo>
                <a:lnTo>
                  <a:pt x="4648" y="2293"/>
                </a:lnTo>
                <a:lnTo>
                  <a:pt x="4645" y="2292"/>
                </a:lnTo>
                <a:lnTo>
                  <a:pt x="4642" y="2290"/>
                </a:lnTo>
                <a:lnTo>
                  <a:pt x="4641" y="2289"/>
                </a:lnTo>
                <a:lnTo>
                  <a:pt x="4640" y="2288"/>
                </a:lnTo>
                <a:lnTo>
                  <a:pt x="4639" y="2287"/>
                </a:lnTo>
                <a:lnTo>
                  <a:pt x="4638" y="2286"/>
                </a:lnTo>
                <a:lnTo>
                  <a:pt x="4637" y="2283"/>
                </a:lnTo>
                <a:lnTo>
                  <a:pt x="4637" y="2280"/>
                </a:lnTo>
                <a:lnTo>
                  <a:pt x="4637" y="2277"/>
                </a:lnTo>
                <a:lnTo>
                  <a:pt x="4637" y="2274"/>
                </a:lnTo>
                <a:lnTo>
                  <a:pt x="4638" y="2271"/>
                </a:lnTo>
                <a:lnTo>
                  <a:pt x="4641" y="2268"/>
                </a:lnTo>
                <a:lnTo>
                  <a:pt x="4644" y="2265"/>
                </a:lnTo>
                <a:close/>
                <a:moveTo>
                  <a:pt x="4517" y="2198"/>
                </a:moveTo>
                <a:lnTo>
                  <a:pt x="4518" y="2198"/>
                </a:lnTo>
                <a:lnTo>
                  <a:pt x="4520" y="2197"/>
                </a:lnTo>
                <a:lnTo>
                  <a:pt x="4524" y="2196"/>
                </a:lnTo>
                <a:lnTo>
                  <a:pt x="4528" y="2197"/>
                </a:lnTo>
                <a:lnTo>
                  <a:pt x="4531" y="2198"/>
                </a:lnTo>
                <a:lnTo>
                  <a:pt x="4534" y="2200"/>
                </a:lnTo>
                <a:lnTo>
                  <a:pt x="4536" y="2202"/>
                </a:lnTo>
                <a:lnTo>
                  <a:pt x="4538" y="2204"/>
                </a:lnTo>
                <a:lnTo>
                  <a:pt x="4539" y="2207"/>
                </a:lnTo>
                <a:lnTo>
                  <a:pt x="4539" y="2210"/>
                </a:lnTo>
                <a:lnTo>
                  <a:pt x="4539" y="2213"/>
                </a:lnTo>
                <a:lnTo>
                  <a:pt x="4539" y="2216"/>
                </a:lnTo>
                <a:lnTo>
                  <a:pt x="4538" y="2219"/>
                </a:lnTo>
                <a:lnTo>
                  <a:pt x="4535" y="2222"/>
                </a:lnTo>
                <a:lnTo>
                  <a:pt x="4532" y="2225"/>
                </a:lnTo>
                <a:lnTo>
                  <a:pt x="4530" y="2226"/>
                </a:lnTo>
                <a:lnTo>
                  <a:pt x="4528" y="2226"/>
                </a:lnTo>
                <a:lnTo>
                  <a:pt x="4525" y="2227"/>
                </a:lnTo>
                <a:lnTo>
                  <a:pt x="4521" y="2226"/>
                </a:lnTo>
                <a:lnTo>
                  <a:pt x="4517" y="2225"/>
                </a:lnTo>
                <a:lnTo>
                  <a:pt x="4515" y="2223"/>
                </a:lnTo>
                <a:lnTo>
                  <a:pt x="4513" y="2221"/>
                </a:lnTo>
                <a:lnTo>
                  <a:pt x="4511" y="2219"/>
                </a:lnTo>
                <a:lnTo>
                  <a:pt x="4510" y="2216"/>
                </a:lnTo>
                <a:lnTo>
                  <a:pt x="4509" y="2213"/>
                </a:lnTo>
                <a:lnTo>
                  <a:pt x="4509" y="2210"/>
                </a:lnTo>
                <a:lnTo>
                  <a:pt x="4510" y="2207"/>
                </a:lnTo>
                <a:lnTo>
                  <a:pt x="4511" y="2205"/>
                </a:lnTo>
                <a:lnTo>
                  <a:pt x="4513" y="2201"/>
                </a:lnTo>
                <a:lnTo>
                  <a:pt x="4517" y="2198"/>
                </a:lnTo>
                <a:close/>
                <a:moveTo>
                  <a:pt x="4388" y="2134"/>
                </a:moveTo>
                <a:lnTo>
                  <a:pt x="4391" y="2133"/>
                </a:lnTo>
                <a:lnTo>
                  <a:pt x="4395" y="2132"/>
                </a:lnTo>
                <a:lnTo>
                  <a:pt x="4399" y="2132"/>
                </a:lnTo>
                <a:lnTo>
                  <a:pt x="4402" y="2133"/>
                </a:lnTo>
                <a:lnTo>
                  <a:pt x="4405" y="2135"/>
                </a:lnTo>
                <a:lnTo>
                  <a:pt x="4407" y="2137"/>
                </a:lnTo>
                <a:lnTo>
                  <a:pt x="4409" y="2140"/>
                </a:lnTo>
                <a:lnTo>
                  <a:pt x="4410" y="2142"/>
                </a:lnTo>
                <a:lnTo>
                  <a:pt x="4411" y="2145"/>
                </a:lnTo>
                <a:lnTo>
                  <a:pt x="4411" y="2148"/>
                </a:lnTo>
                <a:lnTo>
                  <a:pt x="4410" y="2151"/>
                </a:lnTo>
                <a:lnTo>
                  <a:pt x="4409" y="2154"/>
                </a:lnTo>
                <a:lnTo>
                  <a:pt x="4407" y="2158"/>
                </a:lnTo>
                <a:lnTo>
                  <a:pt x="4403" y="2160"/>
                </a:lnTo>
                <a:lnTo>
                  <a:pt x="4400" y="2162"/>
                </a:lnTo>
                <a:lnTo>
                  <a:pt x="4396" y="2162"/>
                </a:lnTo>
                <a:lnTo>
                  <a:pt x="4393" y="2162"/>
                </a:lnTo>
                <a:lnTo>
                  <a:pt x="4389" y="2161"/>
                </a:lnTo>
                <a:lnTo>
                  <a:pt x="4386" y="2159"/>
                </a:lnTo>
                <a:lnTo>
                  <a:pt x="4384" y="2157"/>
                </a:lnTo>
                <a:lnTo>
                  <a:pt x="4382" y="2155"/>
                </a:lnTo>
                <a:lnTo>
                  <a:pt x="4381" y="2152"/>
                </a:lnTo>
                <a:lnTo>
                  <a:pt x="4380" y="2149"/>
                </a:lnTo>
                <a:lnTo>
                  <a:pt x="4380" y="2146"/>
                </a:lnTo>
                <a:lnTo>
                  <a:pt x="4381" y="2143"/>
                </a:lnTo>
                <a:lnTo>
                  <a:pt x="4382" y="2140"/>
                </a:lnTo>
                <a:lnTo>
                  <a:pt x="4384" y="2137"/>
                </a:lnTo>
                <a:lnTo>
                  <a:pt x="4388" y="2134"/>
                </a:lnTo>
                <a:close/>
                <a:moveTo>
                  <a:pt x="4258" y="2073"/>
                </a:moveTo>
                <a:lnTo>
                  <a:pt x="4261" y="2071"/>
                </a:lnTo>
                <a:lnTo>
                  <a:pt x="4264" y="2071"/>
                </a:lnTo>
                <a:lnTo>
                  <a:pt x="4268" y="2071"/>
                </a:lnTo>
                <a:lnTo>
                  <a:pt x="4271" y="2072"/>
                </a:lnTo>
                <a:lnTo>
                  <a:pt x="4274" y="2074"/>
                </a:lnTo>
                <a:lnTo>
                  <a:pt x="4276" y="2076"/>
                </a:lnTo>
                <a:lnTo>
                  <a:pt x="4278" y="2078"/>
                </a:lnTo>
                <a:lnTo>
                  <a:pt x="4279" y="2081"/>
                </a:lnTo>
                <a:lnTo>
                  <a:pt x="4280" y="2083"/>
                </a:lnTo>
                <a:lnTo>
                  <a:pt x="4280" y="2086"/>
                </a:lnTo>
                <a:lnTo>
                  <a:pt x="4280" y="2089"/>
                </a:lnTo>
                <a:lnTo>
                  <a:pt x="4279" y="2092"/>
                </a:lnTo>
                <a:lnTo>
                  <a:pt x="4278" y="2094"/>
                </a:lnTo>
                <a:lnTo>
                  <a:pt x="4276" y="2096"/>
                </a:lnTo>
                <a:lnTo>
                  <a:pt x="4275" y="2098"/>
                </a:lnTo>
                <a:lnTo>
                  <a:pt x="4273" y="2099"/>
                </a:lnTo>
                <a:lnTo>
                  <a:pt x="4270" y="2101"/>
                </a:lnTo>
                <a:lnTo>
                  <a:pt x="4266" y="2101"/>
                </a:lnTo>
                <a:lnTo>
                  <a:pt x="4263" y="2101"/>
                </a:lnTo>
                <a:lnTo>
                  <a:pt x="4259" y="2100"/>
                </a:lnTo>
                <a:lnTo>
                  <a:pt x="4256" y="2098"/>
                </a:lnTo>
                <a:lnTo>
                  <a:pt x="4254" y="2096"/>
                </a:lnTo>
                <a:lnTo>
                  <a:pt x="4252" y="2094"/>
                </a:lnTo>
                <a:lnTo>
                  <a:pt x="4251" y="2091"/>
                </a:lnTo>
                <a:lnTo>
                  <a:pt x="4250" y="2089"/>
                </a:lnTo>
                <a:lnTo>
                  <a:pt x="4250" y="2086"/>
                </a:lnTo>
                <a:lnTo>
                  <a:pt x="4250" y="2083"/>
                </a:lnTo>
                <a:lnTo>
                  <a:pt x="4251" y="2080"/>
                </a:lnTo>
                <a:lnTo>
                  <a:pt x="4253" y="2078"/>
                </a:lnTo>
                <a:lnTo>
                  <a:pt x="4254" y="2076"/>
                </a:lnTo>
                <a:lnTo>
                  <a:pt x="4256" y="2074"/>
                </a:lnTo>
                <a:lnTo>
                  <a:pt x="4258" y="2073"/>
                </a:lnTo>
                <a:close/>
                <a:moveTo>
                  <a:pt x="4125" y="2016"/>
                </a:moveTo>
                <a:lnTo>
                  <a:pt x="4128" y="2015"/>
                </a:lnTo>
                <a:lnTo>
                  <a:pt x="4132" y="2014"/>
                </a:lnTo>
                <a:lnTo>
                  <a:pt x="4135" y="2014"/>
                </a:lnTo>
                <a:lnTo>
                  <a:pt x="4139" y="2015"/>
                </a:lnTo>
                <a:lnTo>
                  <a:pt x="4141" y="2016"/>
                </a:lnTo>
                <a:lnTo>
                  <a:pt x="4144" y="2018"/>
                </a:lnTo>
                <a:lnTo>
                  <a:pt x="4146" y="2021"/>
                </a:lnTo>
                <a:lnTo>
                  <a:pt x="4147" y="2023"/>
                </a:lnTo>
                <a:lnTo>
                  <a:pt x="4148" y="2026"/>
                </a:lnTo>
                <a:lnTo>
                  <a:pt x="4148" y="2029"/>
                </a:lnTo>
                <a:lnTo>
                  <a:pt x="4148" y="2032"/>
                </a:lnTo>
                <a:lnTo>
                  <a:pt x="4147" y="2035"/>
                </a:lnTo>
                <a:lnTo>
                  <a:pt x="4146" y="2037"/>
                </a:lnTo>
                <a:lnTo>
                  <a:pt x="4144" y="2039"/>
                </a:lnTo>
                <a:lnTo>
                  <a:pt x="4143" y="2041"/>
                </a:lnTo>
                <a:lnTo>
                  <a:pt x="4141" y="2042"/>
                </a:lnTo>
                <a:lnTo>
                  <a:pt x="4137" y="2044"/>
                </a:lnTo>
                <a:lnTo>
                  <a:pt x="4134" y="2044"/>
                </a:lnTo>
                <a:lnTo>
                  <a:pt x="4131" y="2044"/>
                </a:lnTo>
                <a:lnTo>
                  <a:pt x="4127" y="2043"/>
                </a:lnTo>
                <a:lnTo>
                  <a:pt x="4125" y="2042"/>
                </a:lnTo>
                <a:lnTo>
                  <a:pt x="4122" y="2040"/>
                </a:lnTo>
                <a:lnTo>
                  <a:pt x="4120" y="2038"/>
                </a:lnTo>
                <a:lnTo>
                  <a:pt x="4119" y="2035"/>
                </a:lnTo>
                <a:lnTo>
                  <a:pt x="4118" y="2032"/>
                </a:lnTo>
                <a:lnTo>
                  <a:pt x="4118" y="2029"/>
                </a:lnTo>
                <a:lnTo>
                  <a:pt x="4118" y="2026"/>
                </a:lnTo>
                <a:lnTo>
                  <a:pt x="4119" y="2023"/>
                </a:lnTo>
                <a:lnTo>
                  <a:pt x="4120" y="2021"/>
                </a:lnTo>
                <a:lnTo>
                  <a:pt x="4122" y="2019"/>
                </a:lnTo>
                <a:lnTo>
                  <a:pt x="4123" y="2017"/>
                </a:lnTo>
                <a:lnTo>
                  <a:pt x="4125" y="2016"/>
                </a:lnTo>
                <a:close/>
                <a:moveTo>
                  <a:pt x="3990" y="1965"/>
                </a:moveTo>
                <a:lnTo>
                  <a:pt x="3993" y="1963"/>
                </a:lnTo>
                <a:lnTo>
                  <a:pt x="3996" y="1963"/>
                </a:lnTo>
                <a:lnTo>
                  <a:pt x="3999" y="1963"/>
                </a:lnTo>
                <a:lnTo>
                  <a:pt x="4003" y="1963"/>
                </a:lnTo>
                <a:lnTo>
                  <a:pt x="4005" y="1965"/>
                </a:lnTo>
                <a:lnTo>
                  <a:pt x="4008" y="1967"/>
                </a:lnTo>
                <a:lnTo>
                  <a:pt x="4011" y="1969"/>
                </a:lnTo>
                <a:lnTo>
                  <a:pt x="4012" y="1971"/>
                </a:lnTo>
                <a:lnTo>
                  <a:pt x="4013" y="1974"/>
                </a:lnTo>
                <a:lnTo>
                  <a:pt x="4014" y="1977"/>
                </a:lnTo>
                <a:lnTo>
                  <a:pt x="4013" y="1983"/>
                </a:lnTo>
                <a:lnTo>
                  <a:pt x="4012" y="1985"/>
                </a:lnTo>
                <a:lnTo>
                  <a:pt x="4010" y="1988"/>
                </a:lnTo>
                <a:lnTo>
                  <a:pt x="4005" y="1991"/>
                </a:lnTo>
                <a:lnTo>
                  <a:pt x="4002" y="1992"/>
                </a:lnTo>
                <a:lnTo>
                  <a:pt x="3999" y="1993"/>
                </a:lnTo>
                <a:lnTo>
                  <a:pt x="3996" y="1993"/>
                </a:lnTo>
                <a:lnTo>
                  <a:pt x="3992" y="1992"/>
                </a:lnTo>
                <a:lnTo>
                  <a:pt x="3990" y="1991"/>
                </a:lnTo>
                <a:lnTo>
                  <a:pt x="3987" y="1989"/>
                </a:lnTo>
                <a:lnTo>
                  <a:pt x="3985" y="1987"/>
                </a:lnTo>
                <a:lnTo>
                  <a:pt x="3984" y="1984"/>
                </a:lnTo>
                <a:lnTo>
                  <a:pt x="3983" y="1982"/>
                </a:lnTo>
                <a:lnTo>
                  <a:pt x="3982" y="1979"/>
                </a:lnTo>
                <a:lnTo>
                  <a:pt x="3983" y="1973"/>
                </a:lnTo>
                <a:lnTo>
                  <a:pt x="3984" y="1970"/>
                </a:lnTo>
                <a:lnTo>
                  <a:pt x="3986" y="1968"/>
                </a:lnTo>
                <a:lnTo>
                  <a:pt x="3990" y="1965"/>
                </a:lnTo>
                <a:close/>
                <a:moveTo>
                  <a:pt x="3853" y="1921"/>
                </a:moveTo>
                <a:lnTo>
                  <a:pt x="3855" y="1920"/>
                </a:lnTo>
                <a:lnTo>
                  <a:pt x="3858" y="1919"/>
                </a:lnTo>
                <a:lnTo>
                  <a:pt x="3861" y="1919"/>
                </a:lnTo>
                <a:lnTo>
                  <a:pt x="3865" y="1919"/>
                </a:lnTo>
                <a:lnTo>
                  <a:pt x="3867" y="1921"/>
                </a:lnTo>
                <a:lnTo>
                  <a:pt x="3870" y="1922"/>
                </a:lnTo>
                <a:lnTo>
                  <a:pt x="3872" y="1924"/>
                </a:lnTo>
                <a:lnTo>
                  <a:pt x="3874" y="1927"/>
                </a:lnTo>
                <a:lnTo>
                  <a:pt x="3875" y="1929"/>
                </a:lnTo>
                <a:lnTo>
                  <a:pt x="3875" y="1932"/>
                </a:lnTo>
                <a:lnTo>
                  <a:pt x="3876" y="1935"/>
                </a:lnTo>
                <a:lnTo>
                  <a:pt x="3875" y="1938"/>
                </a:lnTo>
                <a:lnTo>
                  <a:pt x="3874" y="1941"/>
                </a:lnTo>
                <a:lnTo>
                  <a:pt x="3872" y="1943"/>
                </a:lnTo>
                <a:lnTo>
                  <a:pt x="3870" y="1946"/>
                </a:lnTo>
                <a:lnTo>
                  <a:pt x="3868" y="1947"/>
                </a:lnTo>
                <a:lnTo>
                  <a:pt x="3865" y="1948"/>
                </a:lnTo>
                <a:lnTo>
                  <a:pt x="3862" y="1949"/>
                </a:lnTo>
                <a:lnTo>
                  <a:pt x="3859" y="1949"/>
                </a:lnTo>
                <a:lnTo>
                  <a:pt x="3856" y="1949"/>
                </a:lnTo>
                <a:lnTo>
                  <a:pt x="3853" y="1948"/>
                </a:lnTo>
                <a:lnTo>
                  <a:pt x="3851" y="1946"/>
                </a:lnTo>
                <a:lnTo>
                  <a:pt x="3849" y="1944"/>
                </a:lnTo>
                <a:lnTo>
                  <a:pt x="3847" y="1941"/>
                </a:lnTo>
                <a:lnTo>
                  <a:pt x="3846" y="1939"/>
                </a:lnTo>
                <a:lnTo>
                  <a:pt x="3845" y="1936"/>
                </a:lnTo>
                <a:lnTo>
                  <a:pt x="3845" y="1933"/>
                </a:lnTo>
                <a:lnTo>
                  <a:pt x="3846" y="1930"/>
                </a:lnTo>
                <a:lnTo>
                  <a:pt x="3847" y="1927"/>
                </a:lnTo>
                <a:lnTo>
                  <a:pt x="3848" y="1925"/>
                </a:lnTo>
                <a:lnTo>
                  <a:pt x="3850" y="1922"/>
                </a:lnTo>
                <a:lnTo>
                  <a:pt x="3853" y="1921"/>
                </a:lnTo>
                <a:close/>
                <a:moveTo>
                  <a:pt x="3713" y="1887"/>
                </a:moveTo>
                <a:lnTo>
                  <a:pt x="3715" y="1886"/>
                </a:lnTo>
                <a:lnTo>
                  <a:pt x="3718" y="1885"/>
                </a:lnTo>
                <a:lnTo>
                  <a:pt x="3724" y="1885"/>
                </a:lnTo>
                <a:lnTo>
                  <a:pt x="3726" y="1886"/>
                </a:lnTo>
                <a:lnTo>
                  <a:pt x="3729" y="1887"/>
                </a:lnTo>
                <a:lnTo>
                  <a:pt x="3731" y="1889"/>
                </a:lnTo>
                <a:lnTo>
                  <a:pt x="3733" y="1892"/>
                </a:lnTo>
                <a:lnTo>
                  <a:pt x="3735" y="1894"/>
                </a:lnTo>
                <a:lnTo>
                  <a:pt x="3735" y="1897"/>
                </a:lnTo>
                <a:lnTo>
                  <a:pt x="3736" y="1900"/>
                </a:lnTo>
                <a:lnTo>
                  <a:pt x="3735" y="1903"/>
                </a:lnTo>
                <a:lnTo>
                  <a:pt x="3734" y="1906"/>
                </a:lnTo>
                <a:lnTo>
                  <a:pt x="3733" y="1909"/>
                </a:lnTo>
                <a:lnTo>
                  <a:pt x="3732" y="1910"/>
                </a:lnTo>
                <a:lnTo>
                  <a:pt x="3731" y="1911"/>
                </a:lnTo>
                <a:lnTo>
                  <a:pt x="3728" y="1913"/>
                </a:lnTo>
                <a:lnTo>
                  <a:pt x="3726" y="1914"/>
                </a:lnTo>
                <a:lnTo>
                  <a:pt x="3723" y="1915"/>
                </a:lnTo>
                <a:lnTo>
                  <a:pt x="3718" y="1915"/>
                </a:lnTo>
                <a:lnTo>
                  <a:pt x="3715" y="1914"/>
                </a:lnTo>
                <a:lnTo>
                  <a:pt x="3712" y="1913"/>
                </a:lnTo>
                <a:lnTo>
                  <a:pt x="3710" y="1911"/>
                </a:lnTo>
                <a:lnTo>
                  <a:pt x="3708" y="1908"/>
                </a:lnTo>
                <a:lnTo>
                  <a:pt x="3706" y="1906"/>
                </a:lnTo>
                <a:lnTo>
                  <a:pt x="3706" y="1903"/>
                </a:lnTo>
                <a:lnTo>
                  <a:pt x="3705" y="1900"/>
                </a:lnTo>
                <a:lnTo>
                  <a:pt x="3706" y="1897"/>
                </a:lnTo>
                <a:lnTo>
                  <a:pt x="3707" y="1894"/>
                </a:lnTo>
                <a:lnTo>
                  <a:pt x="3708" y="1891"/>
                </a:lnTo>
                <a:lnTo>
                  <a:pt x="3709" y="1890"/>
                </a:lnTo>
                <a:lnTo>
                  <a:pt x="3710" y="1889"/>
                </a:lnTo>
                <a:lnTo>
                  <a:pt x="3713" y="1887"/>
                </a:lnTo>
                <a:close/>
                <a:moveTo>
                  <a:pt x="3571" y="1865"/>
                </a:moveTo>
                <a:lnTo>
                  <a:pt x="3575" y="1864"/>
                </a:lnTo>
                <a:lnTo>
                  <a:pt x="3577" y="1863"/>
                </a:lnTo>
                <a:lnTo>
                  <a:pt x="3580" y="1863"/>
                </a:lnTo>
                <a:lnTo>
                  <a:pt x="3583" y="1864"/>
                </a:lnTo>
                <a:lnTo>
                  <a:pt x="3586" y="1865"/>
                </a:lnTo>
                <a:lnTo>
                  <a:pt x="3588" y="1867"/>
                </a:lnTo>
                <a:lnTo>
                  <a:pt x="3590" y="1869"/>
                </a:lnTo>
                <a:lnTo>
                  <a:pt x="3592" y="1871"/>
                </a:lnTo>
                <a:lnTo>
                  <a:pt x="3593" y="1874"/>
                </a:lnTo>
                <a:lnTo>
                  <a:pt x="3593" y="1877"/>
                </a:lnTo>
                <a:lnTo>
                  <a:pt x="3593" y="1880"/>
                </a:lnTo>
                <a:lnTo>
                  <a:pt x="3593" y="1884"/>
                </a:lnTo>
                <a:lnTo>
                  <a:pt x="3591" y="1887"/>
                </a:lnTo>
                <a:lnTo>
                  <a:pt x="3589" y="1889"/>
                </a:lnTo>
                <a:lnTo>
                  <a:pt x="3586" y="1892"/>
                </a:lnTo>
                <a:lnTo>
                  <a:pt x="3582" y="1893"/>
                </a:lnTo>
                <a:lnTo>
                  <a:pt x="3579" y="1894"/>
                </a:lnTo>
                <a:lnTo>
                  <a:pt x="3577" y="1894"/>
                </a:lnTo>
                <a:lnTo>
                  <a:pt x="3574" y="1893"/>
                </a:lnTo>
                <a:lnTo>
                  <a:pt x="3571" y="1892"/>
                </a:lnTo>
                <a:lnTo>
                  <a:pt x="3569" y="1890"/>
                </a:lnTo>
                <a:lnTo>
                  <a:pt x="3567" y="1888"/>
                </a:lnTo>
                <a:lnTo>
                  <a:pt x="3565" y="1886"/>
                </a:lnTo>
                <a:lnTo>
                  <a:pt x="3564" y="1883"/>
                </a:lnTo>
                <a:lnTo>
                  <a:pt x="3563" y="1880"/>
                </a:lnTo>
                <a:lnTo>
                  <a:pt x="3563" y="1877"/>
                </a:lnTo>
                <a:lnTo>
                  <a:pt x="3564" y="1873"/>
                </a:lnTo>
                <a:lnTo>
                  <a:pt x="3566" y="1870"/>
                </a:lnTo>
                <a:lnTo>
                  <a:pt x="3568" y="1867"/>
                </a:lnTo>
                <a:lnTo>
                  <a:pt x="3571" y="1865"/>
                </a:lnTo>
                <a:close/>
                <a:moveTo>
                  <a:pt x="2784" y="2297"/>
                </a:moveTo>
                <a:lnTo>
                  <a:pt x="2786" y="2296"/>
                </a:lnTo>
                <a:lnTo>
                  <a:pt x="2788" y="2295"/>
                </a:lnTo>
                <a:lnTo>
                  <a:pt x="2791" y="2295"/>
                </a:lnTo>
                <a:lnTo>
                  <a:pt x="2793" y="2295"/>
                </a:lnTo>
                <a:lnTo>
                  <a:pt x="2796" y="2295"/>
                </a:lnTo>
                <a:lnTo>
                  <a:pt x="2799" y="2297"/>
                </a:lnTo>
                <a:lnTo>
                  <a:pt x="2801" y="2298"/>
                </a:lnTo>
                <a:lnTo>
                  <a:pt x="2803" y="2301"/>
                </a:lnTo>
                <a:lnTo>
                  <a:pt x="2804" y="2302"/>
                </a:lnTo>
                <a:lnTo>
                  <a:pt x="2805" y="2303"/>
                </a:lnTo>
                <a:lnTo>
                  <a:pt x="2806" y="2306"/>
                </a:lnTo>
                <a:lnTo>
                  <a:pt x="2806" y="2309"/>
                </a:lnTo>
                <a:lnTo>
                  <a:pt x="2806" y="2312"/>
                </a:lnTo>
                <a:lnTo>
                  <a:pt x="2806" y="2315"/>
                </a:lnTo>
                <a:lnTo>
                  <a:pt x="2804" y="2318"/>
                </a:lnTo>
                <a:lnTo>
                  <a:pt x="2802" y="2321"/>
                </a:lnTo>
                <a:lnTo>
                  <a:pt x="2799" y="2323"/>
                </a:lnTo>
                <a:lnTo>
                  <a:pt x="2797" y="2324"/>
                </a:lnTo>
                <a:lnTo>
                  <a:pt x="2794" y="2325"/>
                </a:lnTo>
                <a:lnTo>
                  <a:pt x="2792" y="2325"/>
                </a:lnTo>
                <a:lnTo>
                  <a:pt x="2789" y="2325"/>
                </a:lnTo>
                <a:lnTo>
                  <a:pt x="2786" y="2324"/>
                </a:lnTo>
                <a:lnTo>
                  <a:pt x="2784" y="2323"/>
                </a:lnTo>
                <a:lnTo>
                  <a:pt x="2781" y="2321"/>
                </a:lnTo>
                <a:lnTo>
                  <a:pt x="2779" y="2319"/>
                </a:lnTo>
                <a:lnTo>
                  <a:pt x="2778" y="2318"/>
                </a:lnTo>
                <a:lnTo>
                  <a:pt x="2778" y="2317"/>
                </a:lnTo>
                <a:lnTo>
                  <a:pt x="2777" y="2314"/>
                </a:lnTo>
                <a:lnTo>
                  <a:pt x="2776" y="2311"/>
                </a:lnTo>
                <a:lnTo>
                  <a:pt x="2776" y="2308"/>
                </a:lnTo>
                <a:lnTo>
                  <a:pt x="2777" y="2305"/>
                </a:lnTo>
                <a:lnTo>
                  <a:pt x="2779" y="2301"/>
                </a:lnTo>
                <a:lnTo>
                  <a:pt x="2781" y="2299"/>
                </a:lnTo>
                <a:lnTo>
                  <a:pt x="2784" y="2297"/>
                </a:lnTo>
                <a:close/>
                <a:moveTo>
                  <a:pt x="3427" y="1859"/>
                </a:moveTo>
                <a:lnTo>
                  <a:pt x="3431" y="1858"/>
                </a:lnTo>
                <a:lnTo>
                  <a:pt x="3434" y="1857"/>
                </a:lnTo>
                <a:lnTo>
                  <a:pt x="3437" y="1858"/>
                </a:lnTo>
                <a:lnTo>
                  <a:pt x="3440" y="1858"/>
                </a:lnTo>
                <a:lnTo>
                  <a:pt x="3443" y="1860"/>
                </a:lnTo>
                <a:lnTo>
                  <a:pt x="3445" y="1862"/>
                </a:lnTo>
                <a:lnTo>
                  <a:pt x="3447" y="1864"/>
                </a:lnTo>
                <a:lnTo>
                  <a:pt x="3449" y="1866"/>
                </a:lnTo>
                <a:lnTo>
                  <a:pt x="3450" y="1869"/>
                </a:lnTo>
                <a:lnTo>
                  <a:pt x="3450" y="1872"/>
                </a:lnTo>
                <a:lnTo>
                  <a:pt x="3449" y="1876"/>
                </a:lnTo>
                <a:lnTo>
                  <a:pt x="3448" y="1880"/>
                </a:lnTo>
                <a:lnTo>
                  <a:pt x="3445" y="1883"/>
                </a:lnTo>
                <a:lnTo>
                  <a:pt x="3442" y="1886"/>
                </a:lnTo>
                <a:lnTo>
                  <a:pt x="3439" y="1887"/>
                </a:lnTo>
                <a:lnTo>
                  <a:pt x="3435" y="1888"/>
                </a:lnTo>
                <a:lnTo>
                  <a:pt x="3432" y="1888"/>
                </a:lnTo>
                <a:lnTo>
                  <a:pt x="3429" y="1887"/>
                </a:lnTo>
                <a:lnTo>
                  <a:pt x="3426" y="1885"/>
                </a:lnTo>
                <a:lnTo>
                  <a:pt x="3424" y="1884"/>
                </a:lnTo>
                <a:lnTo>
                  <a:pt x="3422" y="1881"/>
                </a:lnTo>
                <a:lnTo>
                  <a:pt x="3421" y="1879"/>
                </a:lnTo>
                <a:lnTo>
                  <a:pt x="3420" y="1876"/>
                </a:lnTo>
                <a:lnTo>
                  <a:pt x="3419" y="1873"/>
                </a:lnTo>
                <a:lnTo>
                  <a:pt x="3420" y="1869"/>
                </a:lnTo>
                <a:lnTo>
                  <a:pt x="3421" y="1865"/>
                </a:lnTo>
                <a:lnTo>
                  <a:pt x="3424" y="1862"/>
                </a:lnTo>
                <a:lnTo>
                  <a:pt x="3427" y="1859"/>
                </a:lnTo>
                <a:close/>
                <a:moveTo>
                  <a:pt x="2815" y="2157"/>
                </a:moveTo>
                <a:lnTo>
                  <a:pt x="2818" y="2156"/>
                </a:lnTo>
                <a:lnTo>
                  <a:pt x="2822" y="2155"/>
                </a:lnTo>
                <a:lnTo>
                  <a:pt x="2825" y="2155"/>
                </a:lnTo>
                <a:lnTo>
                  <a:pt x="2828" y="2156"/>
                </a:lnTo>
                <a:lnTo>
                  <a:pt x="2830" y="2157"/>
                </a:lnTo>
                <a:lnTo>
                  <a:pt x="2831" y="2157"/>
                </a:lnTo>
                <a:lnTo>
                  <a:pt x="2833" y="2159"/>
                </a:lnTo>
                <a:lnTo>
                  <a:pt x="2835" y="2161"/>
                </a:lnTo>
                <a:lnTo>
                  <a:pt x="2837" y="2164"/>
                </a:lnTo>
                <a:lnTo>
                  <a:pt x="2838" y="2167"/>
                </a:lnTo>
                <a:lnTo>
                  <a:pt x="2838" y="2170"/>
                </a:lnTo>
                <a:lnTo>
                  <a:pt x="2838" y="2173"/>
                </a:lnTo>
                <a:lnTo>
                  <a:pt x="2837" y="2176"/>
                </a:lnTo>
                <a:lnTo>
                  <a:pt x="2836" y="2178"/>
                </a:lnTo>
                <a:lnTo>
                  <a:pt x="2834" y="2180"/>
                </a:lnTo>
                <a:lnTo>
                  <a:pt x="2833" y="2182"/>
                </a:lnTo>
                <a:lnTo>
                  <a:pt x="2831" y="2183"/>
                </a:lnTo>
                <a:lnTo>
                  <a:pt x="2827" y="2185"/>
                </a:lnTo>
                <a:lnTo>
                  <a:pt x="2824" y="2185"/>
                </a:lnTo>
                <a:lnTo>
                  <a:pt x="2821" y="2185"/>
                </a:lnTo>
                <a:lnTo>
                  <a:pt x="2817" y="2184"/>
                </a:lnTo>
                <a:lnTo>
                  <a:pt x="2816" y="2184"/>
                </a:lnTo>
                <a:lnTo>
                  <a:pt x="2815" y="2183"/>
                </a:lnTo>
                <a:lnTo>
                  <a:pt x="2812" y="2181"/>
                </a:lnTo>
                <a:lnTo>
                  <a:pt x="2810" y="2179"/>
                </a:lnTo>
                <a:lnTo>
                  <a:pt x="2809" y="2176"/>
                </a:lnTo>
                <a:lnTo>
                  <a:pt x="2808" y="2174"/>
                </a:lnTo>
                <a:lnTo>
                  <a:pt x="2808" y="2171"/>
                </a:lnTo>
                <a:lnTo>
                  <a:pt x="2808" y="2168"/>
                </a:lnTo>
                <a:lnTo>
                  <a:pt x="2809" y="2165"/>
                </a:lnTo>
                <a:lnTo>
                  <a:pt x="2810" y="2162"/>
                </a:lnTo>
                <a:lnTo>
                  <a:pt x="2811" y="2160"/>
                </a:lnTo>
                <a:lnTo>
                  <a:pt x="2813" y="2158"/>
                </a:lnTo>
                <a:lnTo>
                  <a:pt x="2815" y="2157"/>
                </a:lnTo>
                <a:close/>
                <a:moveTo>
                  <a:pt x="3284" y="1872"/>
                </a:moveTo>
                <a:lnTo>
                  <a:pt x="3286" y="1871"/>
                </a:lnTo>
                <a:lnTo>
                  <a:pt x="3289" y="1870"/>
                </a:lnTo>
                <a:lnTo>
                  <a:pt x="3292" y="1870"/>
                </a:lnTo>
                <a:lnTo>
                  <a:pt x="3295" y="1870"/>
                </a:lnTo>
                <a:lnTo>
                  <a:pt x="3298" y="1871"/>
                </a:lnTo>
                <a:lnTo>
                  <a:pt x="3300" y="1873"/>
                </a:lnTo>
                <a:lnTo>
                  <a:pt x="3303" y="1875"/>
                </a:lnTo>
                <a:lnTo>
                  <a:pt x="3304" y="1877"/>
                </a:lnTo>
                <a:lnTo>
                  <a:pt x="3306" y="1880"/>
                </a:lnTo>
                <a:lnTo>
                  <a:pt x="3307" y="1883"/>
                </a:lnTo>
                <a:lnTo>
                  <a:pt x="3307" y="1887"/>
                </a:lnTo>
                <a:lnTo>
                  <a:pt x="3305" y="1892"/>
                </a:lnTo>
                <a:lnTo>
                  <a:pt x="3303" y="1895"/>
                </a:lnTo>
                <a:lnTo>
                  <a:pt x="3299" y="1898"/>
                </a:lnTo>
                <a:lnTo>
                  <a:pt x="3297" y="1899"/>
                </a:lnTo>
                <a:lnTo>
                  <a:pt x="3294" y="1900"/>
                </a:lnTo>
                <a:lnTo>
                  <a:pt x="3291" y="1900"/>
                </a:lnTo>
                <a:lnTo>
                  <a:pt x="3288" y="1900"/>
                </a:lnTo>
                <a:lnTo>
                  <a:pt x="3285" y="1899"/>
                </a:lnTo>
                <a:lnTo>
                  <a:pt x="3283" y="1897"/>
                </a:lnTo>
                <a:lnTo>
                  <a:pt x="3280" y="1895"/>
                </a:lnTo>
                <a:lnTo>
                  <a:pt x="3279" y="1893"/>
                </a:lnTo>
                <a:lnTo>
                  <a:pt x="3277" y="1890"/>
                </a:lnTo>
                <a:lnTo>
                  <a:pt x="3276" y="1887"/>
                </a:lnTo>
                <a:lnTo>
                  <a:pt x="3276" y="1883"/>
                </a:lnTo>
                <a:lnTo>
                  <a:pt x="3278" y="1878"/>
                </a:lnTo>
                <a:lnTo>
                  <a:pt x="3280" y="1875"/>
                </a:lnTo>
                <a:lnTo>
                  <a:pt x="3284" y="1872"/>
                </a:lnTo>
                <a:close/>
                <a:moveTo>
                  <a:pt x="3144" y="1905"/>
                </a:moveTo>
                <a:lnTo>
                  <a:pt x="3147" y="1903"/>
                </a:lnTo>
                <a:lnTo>
                  <a:pt x="3150" y="1903"/>
                </a:lnTo>
                <a:lnTo>
                  <a:pt x="3153" y="1903"/>
                </a:lnTo>
                <a:lnTo>
                  <a:pt x="3156" y="1903"/>
                </a:lnTo>
                <a:lnTo>
                  <a:pt x="3159" y="1904"/>
                </a:lnTo>
                <a:lnTo>
                  <a:pt x="3161" y="1906"/>
                </a:lnTo>
                <a:lnTo>
                  <a:pt x="3163" y="1908"/>
                </a:lnTo>
                <a:lnTo>
                  <a:pt x="3165" y="1910"/>
                </a:lnTo>
                <a:lnTo>
                  <a:pt x="3166" y="1913"/>
                </a:lnTo>
                <a:lnTo>
                  <a:pt x="3167" y="1918"/>
                </a:lnTo>
                <a:lnTo>
                  <a:pt x="3166" y="1921"/>
                </a:lnTo>
                <a:lnTo>
                  <a:pt x="3166" y="1923"/>
                </a:lnTo>
                <a:lnTo>
                  <a:pt x="3165" y="1926"/>
                </a:lnTo>
                <a:lnTo>
                  <a:pt x="3163" y="1928"/>
                </a:lnTo>
                <a:lnTo>
                  <a:pt x="3161" y="1929"/>
                </a:lnTo>
                <a:lnTo>
                  <a:pt x="3159" y="1931"/>
                </a:lnTo>
                <a:lnTo>
                  <a:pt x="3156" y="1932"/>
                </a:lnTo>
                <a:lnTo>
                  <a:pt x="3153" y="1933"/>
                </a:lnTo>
                <a:lnTo>
                  <a:pt x="3150" y="1933"/>
                </a:lnTo>
                <a:lnTo>
                  <a:pt x="3147" y="1932"/>
                </a:lnTo>
                <a:lnTo>
                  <a:pt x="3144" y="1931"/>
                </a:lnTo>
                <a:lnTo>
                  <a:pt x="3142" y="1930"/>
                </a:lnTo>
                <a:lnTo>
                  <a:pt x="3140" y="1928"/>
                </a:lnTo>
                <a:lnTo>
                  <a:pt x="3138" y="1925"/>
                </a:lnTo>
                <a:lnTo>
                  <a:pt x="3137" y="1922"/>
                </a:lnTo>
                <a:lnTo>
                  <a:pt x="3136" y="1917"/>
                </a:lnTo>
                <a:lnTo>
                  <a:pt x="3137" y="1914"/>
                </a:lnTo>
                <a:lnTo>
                  <a:pt x="3137" y="1912"/>
                </a:lnTo>
                <a:lnTo>
                  <a:pt x="3139" y="1910"/>
                </a:lnTo>
                <a:lnTo>
                  <a:pt x="3140" y="1908"/>
                </a:lnTo>
                <a:lnTo>
                  <a:pt x="3142" y="1906"/>
                </a:lnTo>
                <a:lnTo>
                  <a:pt x="3144" y="1905"/>
                </a:lnTo>
                <a:close/>
                <a:moveTo>
                  <a:pt x="2892" y="2038"/>
                </a:moveTo>
                <a:lnTo>
                  <a:pt x="2895" y="2037"/>
                </a:lnTo>
                <a:lnTo>
                  <a:pt x="2897" y="2036"/>
                </a:lnTo>
                <a:lnTo>
                  <a:pt x="2902" y="2036"/>
                </a:lnTo>
                <a:lnTo>
                  <a:pt x="2907" y="2037"/>
                </a:lnTo>
                <a:lnTo>
                  <a:pt x="2909" y="2038"/>
                </a:lnTo>
                <a:lnTo>
                  <a:pt x="2911" y="2040"/>
                </a:lnTo>
                <a:lnTo>
                  <a:pt x="2913" y="2042"/>
                </a:lnTo>
                <a:lnTo>
                  <a:pt x="2914" y="2045"/>
                </a:lnTo>
                <a:lnTo>
                  <a:pt x="2915" y="2048"/>
                </a:lnTo>
                <a:lnTo>
                  <a:pt x="2915" y="2051"/>
                </a:lnTo>
                <a:lnTo>
                  <a:pt x="2915" y="2054"/>
                </a:lnTo>
                <a:lnTo>
                  <a:pt x="2914" y="2057"/>
                </a:lnTo>
                <a:lnTo>
                  <a:pt x="2913" y="2059"/>
                </a:lnTo>
                <a:lnTo>
                  <a:pt x="2911" y="2062"/>
                </a:lnTo>
                <a:lnTo>
                  <a:pt x="2908" y="2064"/>
                </a:lnTo>
                <a:lnTo>
                  <a:pt x="2905" y="2065"/>
                </a:lnTo>
                <a:lnTo>
                  <a:pt x="2903" y="2066"/>
                </a:lnTo>
                <a:lnTo>
                  <a:pt x="2898" y="2066"/>
                </a:lnTo>
                <a:lnTo>
                  <a:pt x="2896" y="2065"/>
                </a:lnTo>
                <a:lnTo>
                  <a:pt x="2893" y="2064"/>
                </a:lnTo>
                <a:lnTo>
                  <a:pt x="2891" y="2063"/>
                </a:lnTo>
                <a:lnTo>
                  <a:pt x="2889" y="2062"/>
                </a:lnTo>
                <a:lnTo>
                  <a:pt x="2887" y="2059"/>
                </a:lnTo>
                <a:lnTo>
                  <a:pt x="2886" y="2056"/>
                </a:lnTo>
                <a:lnTo>
                  <a:pt x="2885" y="2054"/>
                </a:lnTo>
                <a:lnTo>
                  <a:pt x="2885" y="2051"/>
                </a:lnTo>
                <a:lnTo>
                  <a:pt x="2885" y="2048"/>
                </a:lnTo>
                <a:lnTo>
                  <a:pt x="2886" y="2045"/>
                </a:lnTo>
                <a:lnTo>
                  <a:pt x="2887" y="2042"/>
                </a:lnTo>
                <a:lnTo>
                  <a:pt x="2889" y="2040"/>
                </a:lnTo>
                <a:lnTo>
                  <a:pt x="2892" y="2038"/>
                </a:lnTo>
                <a:close/>
                <a:moveTo>
                  <a:pt x="3010" y="1957"/>
                </a:moveTo>
                <a:lnTo>
                  <a:pt x="3013" y="1956"/>
                </a:lnTo>
                <a:lnTo>
                  <a:pt x="3016" y="1955"/>
                </a:lnTo>
                <a:lnTo>
                  <a:pt x="3020" y="1955"/>
                </a:lnTo>
                <a:lnTo>
                  <a:pt x="3023" y="1956"/>
                </a:lnTo>
                <a:lnTo>
                  <a:pt x="3025" y="1957"/>
                </a:lnTo>
                <a:lnTo>
                  <a:pt x="3028" y="1958"/>
                </a:lnTo>
                <a:lnTo>
                  <a:pt x="3029" y="1960"/>
                </a:lnTo>
                <a:lnTo>
                  <a:pt x="3030" y="1961"/>
                </a:lnTo>
                <a:lnTo>
                  <a:pt x="3031" y="1963"/>
                </a:lnTo>
                <a:lnTo>
                  <a:pt x="3032" y="1966"/>
                </a:lnTo>
                <a:lnTo>
                  <a:pt x="3033" y="1969"/>
                </a:lnTo>
                <a:lnTo>
                  <a:pt x="3033" y="1972"/>
                </a:lnTo>
                <a:lnTo>
                  <a:pt x="3032" y="1974"/>
                </a:lnTo>
                <a:lnTo>
                  <a:pt x="3031" y="1977"/>
                </a:lnTo>
                <a:lnTo>
                  <a:pt x="3030" y="1979"/>
                </a:lnTo>
                <a:lnTo>
                  <a:pt x="3028" y="1981"/>
                </a:lnTo>
                <a:lnTo>
                  <a:pt x="3025" y="1983"/>
                </a:lnTo>
                <a:lnTo>
                  <a:pt x="3022" y="1984"/>
                </a:lnTo>
                <a:lnTo>
                  <a:pt x="3019" y="1985"/>
                </a:lnTo>
                <a:lnTo>
                  <a:pt x="3016" y="1985"/>
                </a:lnTo>
                <a:lnTo>
                  <a:pt x="3013" y="1984"/>
                </a:lnTo>
                <a:lnTo>
                  <a:pt x="3010" y="1983"/>
                </a:lnTo>
                <a:lnTo>
                  <a:pt x="3008" y="1981"/>
                </a:lnTo>
                <a:lnTo>
                  <a:pt x="3006" y="1979"/>
                </a:lnTo>
                <a:lnTo>
                  <a:pt x="3004" y="1977"/>
                </a:lnTo>
                <a:lnTo>
                  <a:pt x="3003" y="1974"/>
                </a:lnTo>
                <a:lnTo>
                  <a:pt x="3002" y="1971"/>
                </a:lnTo>
                <a:lnTo>
                  <a:pt x="3003" y="1968"/>
                </a:lnTo>
                <a:lnTo>
                  <a:pt x="3003" y="1965"/>
                </a:lnTo>
                <a:lnTo>
                  <a:pt x="3004" y="1963"/>
                </a:lnTo>
                <a:lnTo>
                  <a:pt x="3006" y="1961"/>
                </a:lnTo>
                <a:lnTo>
                  <a:pt x="3008" y="1958"/>
                </a:lnTo>
                <a:lnTo>
                  <a:pt x="3010" y="1957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BA53AC-E488-424B-B29F-EB493D42F7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317060-A8A6-42A2-B59C-24F25C21F0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reeform 6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5215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Pattern 2" preserve="1" userDrawn="1">
  <p:cSld name="Title and Pattern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26615-8577-4D9F-B0B2-E0ACDAC81D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336FF-C943-4F77-8B64-34514E1F2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57DF8-D89E-47C6-8B71-83A8E02B0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2AE4CD2-FF2B-481A-BD1B-6461D82DC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4" y="836613"/>
            <a:ext cx="5329236" cy="3168650"/>
          </a:xfrm>
        </p:spPr>
        <p:txBody>
          <a:bodyPr anchor="t" anchorCtr="0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9E51D44E-6286-4907-8B09-0DDC2EDE3A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6762" y="4205353"/>
            <a:ext cx="5329238" cy="64804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en-GB"/>
          </a:p>
        </p:txBody>
      </p:sp>
      <p:sp>
        <p:nvSpPr>
          <p:cNvPr id="16" name="Freeform 7"/>
          <p:cNvSpPr>
            <a:spLocks noChangeAspect="1" noEditPoints="1"/>
          </p:cNvSpPr>
          <p:nvPr userDrawn="1"/>
        </p:nvSpPr>
        <p:spPr bwMode="auto">
          <a:xfrm>
            <a:off x="761996" y="5589240"/>
            <a:ext cx="1831656" cy="432048"/>
          </a:xfrm>
          <a:custGeom>
            <a:avLst/>
            <a:gdLst>
              <a:gd name="T0" fmla="*/ 11392 w 14503"/>
              <a:gd name="T1" fmla="*/ 2705 h 3419"/>
              <a:gd name="T2" fmla="*/ 10843 w 14503"/>
              <a:gd name="T3" fmla="*/ 2592 h 3419"/>
              <a:gd name="T4" fmla="*/ 9707 w 14503"/>
              <a:gd name="T5" fmla="*/ 2691 h 3419"/>
              <a:gd name="T6" fmla="*/ 9202 w 14503"/>
              <a:gd name="T7" fmla="*/ 2718 h 3419"/>
              <a:gd name="T8" fmla="*/ 9399 w 14503"/>
              <a:gd name="T9" fmla="*/ 2534 h 3419"/>
              <a:gd name="T10" fmla="*/ 9385 w 14503"/>
              <a:gd name="T11" fmla="*/ 2134 h 3419"/>
              <a:gd name="T12" fmla="*/ 9247 w 14503"/>
              <a:gd name="T13" fmla="*/ 2352 h 3419"/>
              <a:gd name="T14" fmla="*/ 8533 w 14503"/>
              <a:gd name="T15" fmla="*/ 2712 h 3419"/>
              <a:gd name="T16" fmla="*/ 8908 w 14503"/>
              <a:gd name="T17" fmla="*/ 2713 h 3419"/>
              <a:gd name="T18" fmla="*/ 7197 w 14503"/>
              <a:gd name="T19" fmla="*/ 2618 h 3419"/>
              <a:gd name="T20" fmla="*/ 7359 w 14503"/>
              <a:gd name="T21" fmla="*/ 2469 h 3419"/>
              <a:gd name="T22" fmla="*/ 7656 w 14503"/>
              <a:gd name="T23" fmla="*/ 2305 h 3419"/>
              <a:gd name="T24" fmla="*/ 7633 w 14503"/>
              <a:gd name="T25" fmla="*/ 2433 h 3419"/>
              <a:gd name="T26" fmla="*/ 6915 w 14503"/>
              <a:gd name="T27" fmla="*/ 2263 h 3419"/>
              <a:gd name="T28" fmla="*/ 6831 w 14503"/>
              <a:gd name="T29" fmla="*/ 2727 h 3419"/>
              <a:gd name="T30" fmla="*/ 6860 w 14503"/>
              <a:gd name="T31" fmla="*/ 2119 h 3419"/>
              <a:gd name="T32" fmla="*/ 14342 w 14503"/>
              <a:gd name="T33" fmla="*/ 1111 h 3419"/>
              <a:gd name="T34" fmla="*/ 14370 w 14503"/>
              <a:gd name="T35" fmla="*/ 961 h 3419"/>
              <a:gd name="T36" fmla="*/ 13472 w 14503"/>
              <a:gd name="T37" fmla="*/ 1376 h 3419"/>
              <a:gd name="T38" fmla="*/ 13655 w 14503"/>
              <a:gd name="T39" fmla="*/ 1536 h 3419"/>
              <a:gd name="T40" fmla="*/ 13703 w 14503"/>
              <a:gd name="T41" fmla="*/ 1130 h 3419"/>
              <a:gd name="T42" fmla="*/ 13709 w 14503"/>
              <a:gd name="T43" fmla="*/ 966 h 3419"/>
              <a:gd name="T44" fmla="*/ 12952 w 14503"/>
              <a:gd name="T45" fmla="*/ 1081 h 3419"/>
              <a:gd name="T46" fmla="*/ 12525 w 14503"/>
              <a:gd name="T47" fmla="*/ 1043 h 3419"/>
              <a:gd name="T48" fmla="*/ 13193 w 14503"/>
              <a:gd name="T49" fmla="*/ 1038 h 3419"/>
              <a:gd name="T50" fmla="*/ 11928 w 14503"/>
              <a:gd name="T51" fmla="*/ 1448 h 3419"/>
              <a:gd name="T52" fmla="*/ 11865 w 14503"/>
              <a:gd name="T53" fmla="*/ 1553 h 3419"/>
              <a:gd name="T54" fmla="*/ 12022 w 14503"/>
              <a:gd name="T55" fmla="*/ 1060 h 3419"/>
              <a:gd name="T56" fmla="*/ 12198 w 14503"/>
              <a:gd name="T57" fmla="*/ 1040 h 3419"/>
              <a:gd name="T58" fmla="*/ 11580 w 14503"/>
              <a:gd name="T59" fmla="*/ 1397 h 3419"/>
              <a:gd name="T60" fmla="*/ 10924 w 14503"/>
              <a:gd name="T61" fmla="*/ 1300 h 3419"/>
              <a:gd name="T62" fmla="*/ 10999 w 14503"/>
              <a:gd name="T63" fmla="*/ 1557 h 3419"/>
              <a:gd name="T64" fmla="*/ 11144 w 14503"/>
              <a:gd name="T65" fmla="*/ 967 h 3419"/>
              <a:gd name="T66" fmla="*/ 10313 w 14503"/>
              <a:gd name="T67" fmla="*/ 1372 h 3419"/>
              <a:gd name="T68" fmla="*/ 10421 w 14503"/>
              <a:gd name="T69" fmla="*/ 1561 h 3419"/>
              <a:gd name="T70" fmla="*/ 10514 w 14503"/>
              <a:gd name="T71" fmla="*/ 967 h 3419"/>
              <a:gd name="T72" fmla="*/ 9776 w 14503"/>
              <a:gd name="T73" fmla="*/ 1082 h 3419"/>
              <a:gd name="T74" fmla="*/ 9989 w 14503"/>
              <a:gd name="T75" fmla="*/ 1025 h 3419"/>
              <a:gd name="T76" fmla="*/ 8701 w 14503"/>
              <a:gd name="T77" fmla="*/ 1199 h 3419"/>
              <a:gd name="T78" fmla="*/ 9009 w 14503"/>
              <a:gd name="T79" fmla="*/ 1500 h 3419"/>
              <a:gd name="T80" fmla="*/ 8681 w 14503"/>
              <a:gd name="T81" fmla="*/ 995 h 3419"/>
              <a:gd name="T82" fmla="*/ 7671 w 14503"/>
              <a:gd name="T83" fmla="*/ 1547 h 3419"/>
              <a:gd name="T84" fmla="*/ 7517 w 14503"/>
              <a:gd name="T85" fmla="*/ 974 h 3419"/>
              <a:gd name="T86" fmla="*/ 6773 w 14503"/>
              <a:gd name="T87" fmla="*/ 1549 h 3419"/>
              <a:gd name="T88" fmla="*/ 6490 w 14503"/>
              <a:gd name="T89" fmla="*/ 1200 h 3419"/>
              <a:gd name="T90" fmla="*/ 11483 w 14503"/>
              <a:gd name="T91" fmla="*/ 2275 h 3419"/>
              <a:gd name="T92" fmla="*/ 11930 w 14503"/>
              <a:gd name="T93" fmla="*/ 2637 h 3419"/>
              <a:gd name="T94" fmla="*/ 11807 w 14503"/>
              <a:gd name="T95" fmla="*/ 2576 h 3419"/>
              <a:gd name="T96" fmla="*/ 3702 w 14503"/>
              <a:gd name="T97" fmla="*/ 2179 h 3419"/>
              <a:gd name="T98" fmla="*/ 5043 w 14503"/>
              <a:gd name="T99" fmla="*/ 96 h 3419"/>
              <a:gd name="T100" fmla="*/ 4150 w 14503"/>
              <a:gd name="T101" fmla="*/ 1837 h 3419"/>
              <a:gd name="T102" fmla="*/ 1316 w 14503"/>
              <a:gd name="T103" fmla="*/ 3417 h 3419"/>
              <a:gd name="T104" fmla="*/ 16 w 14503"/>
              <a:gd name="T105" fmla="*/ 2039 h 3419"/>
              <a:gd name="T106" fmla="*/ 1177 w 14503"/>
              <a:gd name="T107" fmla="*/ 38 h 3419"/>
              <a:gd name="T108" fmla="*/ 2300 w 14503"/>
              <a:gd name="T109" fmla="*/ 878 h 3419"/>
              <a:gd name="T110" fmla="*/ 988 w 14503"/>
              <a:gd name="T111" fmla="*/ 2066 h 3419"/>
              <a:gd name="T112" fmla="*/ 1544 w 14503"/>
              <a:gd name="T113" fmla="*/ 1314 h 3419"/>
              <a:gd name="T114" fmla="*/ 1318 w 14503"/>
              <a:gd name="T115" fmla="*/ 478 h 3419"/>
              <a:gd name="T116" fmla="*/ 552 w 14503"/>
              <a:gd name="T117" fmla="*/ 2103 h 3419"/>
              <a:gd name="T118" fmla="*/ 1821 w 14503"/>
              <a:gd name="T119" fmla="*/ 2775 h 3419"/>
              <a:gd name="T120" fmla="*/ 2969 w 14503"/>
              <a:gd name="T121" fmla="*/ 185 h 3419"/>
              <a:gd name="T122" fmla="*/ 3355 w 14503"/>
              <a:gd name="T123" fmla="*/ 1462 h 3419"/>
              <a:gd name="T124" fmla="*/ 1720 w 14503"/>
              <a:gd name="T125" fmla="*/ 3383 h 34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503" h="3419">
                <a:moveTo>
                  <a:pt x="11272" y="2721"/>
                </a:moveTo>
                <a:lnTo>
                  <a:pt x="11231" y="2717"/>
                </a:lnTo>
                <a:lnTo>
                  <a:pt x="11196" y="2709"/>
                </a:lnTo>
                <a:lnTo>
                  <a:pt x="11180" y="2702"/>
                </a:lnTo>
                <a:lnTo>
                  <a:pt x="11166" y="2693"/>
                </a:lnTo>
                <a:lnTo>
                  <a:pt x="11153" y="2684"/>
                </a:lnTo>
                <a:lnTo>
                  <a:pt x="11141" y="2674"/>
                </a:lnTo>
                <a:lnTo>
                  <a:pt x="11131" y="2661"/>
                </a:lnTo>
                <a:lnTo>
                  <a:pt x="11122" y="2648"/>
                </a:lnTo>
                <a:lnTo>
                  <a:pt x="11108" y="2617"/>
                </a:lnTo>
                <a:lnTo>
                  <a:pt x="11100" y="2581"/>
                </a:lnTo>
                <a:lnTo>
                  <a:pt x="11098" y="2563"/>
                </a:lnTo>
                <a:lnTo>
                  <a:pt x="11097" y="2542"/>
                </a:lnTo>
                <a:lnTo>
                  <a:pt x="11097" y="2247"/>
                </a:lnTo>
                <a:lnTo>
                  <a:pt x="10992" y="2247"/>
                </a:lnTo>
                <a:lnTo>
                  <a:pt x="10992" y="2132"/>
                </a:lnTo>
                <a:lnTo>
                  <a:pt x="11097" y="2132"/>
                </a:lnTo>
                <a:lnTo>
                  <a:pt x="11097" y="1985"/>
                </a:lnTo>
                <a:lnTo>
                  <a:pt x="11236" y="1950"/>
                </a:lnTo>
                <a:lnTo>
                  <a:pt x="11236" y="2132"/>
                </a:lnTo>
                <a:lnTo>
                  <a:pt x="11383" y="2132"/>
                </a:lnTo>
                <a:lnTo>
                  <a:pt x="11383" y="2247"/>
                </a:lnTo>
                <a:lnTo>
                  <a:pt x="11236" y="2247"/>
                </a:lnTo>
                <a:lnTo>
                  <a:pt x="11236" y="2530"/>
                </a:lnTo>
                <a:lnTo>
                  <a:pt x="11237" y="2546"/>
                </a:lnTo>
                <a:lnTo>
                  <a:pt x="11241" y="2559"/>
                </a:lnTo>
                <a:lnTo>
                  <a:pt x="11245" y="2569"/>
                </a:lnTo>
                <a:lnTo>
                  <a:pt x="11253" y="2578"/>
                </a:lnTo>
                <a:lnTo>
                  <a:pt x="11261" y="2585"/>
                </a:lnTo>
                <a:lnTo>
                  <a:pt x="11272" y="2590"/>
                </a:lnTo>
                <a:lnTo>
                  <a:pt x="11286" y="2592"/>
                </a:lnTo>
                <a:lnTo>
                  <a:pt x="11302" y="2593"/>
                </a:lnTo>
                <a:lnTo>
                  <a:pt x="11343" y="2592"/>
                </a:lnTo>
                <a:lnTo>
                  <a:pt x="11392" y="2588"/>
                </a:lnTo>
                <a:lnTo>
                  <a:pt x="11392" y="2705"/>
                </a:lnTo>
                <a:lnTo>
                  <a:pt x="11362" y="2712"/>
                </a:lnTo>
                <a:lnTo>
                  <a:pt x="11333" y="2716"/>
                </a:lnTo>
                <a:lnTo>
                  <a:pt x="11303" y="2720"/>
                </a:lnTo>
                <a:lnTo>
                  <a:pt x="11272" y="2721"/>
                </a:lnTo>
                <a:close/>
                <a:moveTo>
                  <a:pt x="10830" y="2721"/>
                </a:moveTo>
                <a:lnTo>
                  <a:pt x="10789" y="2717"/>
                </a:lnTo>
                <a:lnTo>
                  <a:pt x="10753" y="2709"/>
                </a:lnTo>
                <a:lnTo>
                  <a:pt x="10738" y="2702"/>
                </a:lnTo>
                <a:lnTo>
                  <a:pt x="10722" y="2693"/>
                </a:lnTo>
                <a:lnTo>
                  <a:pt x="10710" y="2684"/>
                </a:lnTo>
                <a:lnTo>
                  <a:pt x="10698" y="2674"/>
                </a:lnTo>
                <a:lnTo>
                  <a:pt x="10688" y="2661"/>
                </a:lnTo>
                <a:lnTo>
                  <a:pt x="10679" y="2648"/>
                </a:lnTo>
                <a:lnTo>
                  <a:pt x="10666" y="2617"/>
                </a:lnTo>
                <a:lnTo>
                  <a:pt x="10657" y="2581"/>
                </a:lnTo>
                <a:lnTo>
                  <a:pt x="10655" y="2563"/>
                </a:lnTo>
                <a:lnTo>
                  <a:pt x="10655" y="2542"/>
                </a:lnTo>
                <a:lnTo>
                  <a:pt x="10655" y="2247"/>
                </a:lnTo>
                <a:lnTo>
                  <a:pt x="10549" y="2247"/>
                </a:lnTo>
                <a:lnTo>
                  <a:pt x="10549" y="2132"/>
                </a:lnTo>
                <a:lnTo>
                  <a:pt x="10655" y="2132"/>
                </a:lnTo>
                <a:lnTo>
                  <a:pt x="10655" y="1985"/>
                </a:lnTo>
                <a:lnTo>
                  <a:pt x="10794" y="1950"/>
                </a:lnTo>
                <a:lnTo>
                  <a:pt x="10794" y="2132"/>
                </a:lnTo>
                <a:lnTo>
                  <a:pt x="10940" y="2132"/>
                </a:lnTo>
                <a:lnTo>
                  <a:pt x="10940" y="2247"/>
                </a:lnTo>
                <a:lnTo>
                  <a:pt x="10794" y="2247"/>
                </a:lnTo>
                <a:lnTo>
                  <a:pt x="10794" y="2530"/>
                </a:lnTo>
                <a:lnTo>
                  <a:pt x="10795" y="2546"/>
                </a:lnTo>
                <a:lnTo>
                  <a:pt x="10798" y="2559"/>
                </a:lnTo>
                <a:lnTo>
                  <a:pt x="10803" y="2569"/>
                </a:lnTo>
                <a:lnTo>
                  <a:pt x="10809" y="2578"/>
                </a:lnTo>
                <a:lnTo>
                  <a:pt x="10819" y="2585"/>
                </a:lnTo>
                <a:lnTo>
                  <a:pt x="10830" y="2590"/>
                </a:lnTo>
                <a:lnTo>
                  <a:pt x="10843" y="2592"/>
                </a:lnTo>
                <a:lnTo>
                  <a:pt x="10859" y="2593"/>
                </a:lnTo>
                <a:lnTo>
                  <a:pt x="10901" y="2592"/>
                </a:lnTo>
                <a:lnTo>
                  <a:pt x="10949" y="2588"/>
                </a:lnTo>
                <a:lnTo>
                  <a:pt x="10949" y="2705"/>
                </a:lnTo>
                <a:lnTo>
                  <a:pt x="10920" y="2712"/>
                </a:lnTo>
                <a:lnTo>
                  <a:pt x="10891" y="2716"/>
                </a:lnTo>
                <a:lnTo>
                  <a:pt x="10860" y="2720"/>
                </a:lnTo>
                <a:lnTo>
                  <a:pt x="10830" y="2721"/>
                </a:lnTo>
                <a:close/>
                <a:moveTo>
                  <a:pt x="10307" y="2713"/>
                </a:moveTo>
                <a:lnTo>
                  <a:pt x="10307" y="2132"/>
                </a:lnTo>
                <a:lnTo>
                  <a:pt x="10450" y="2132"/>
                </a:lnTo>
                <a:lnTo>
                  <a:pt x="10450" y="2713"/>
                </a:lnTo>
                <a:lnTo>
                  <a:pt x="10307" y="2713"/>
                </a:lnTo>
                <a:close/>
                <a:moveTo>
                  <a:pt x="10303" y="2052"/>
                </a:moveTo>
                <a:lnTo>
                  <a:pt x="10303" y="1908"/>
                </a:lnTo>
                <a:lnTo>
                  <a:pt x="10453" y="1908"/>
                </a:lnTo>
                <a:lnTo>
                  <a:pt x="10453" y="2052"/>
                </a:lnTo>
                <a:lnTo>
                  <a:pt x="10303" y="2052"/>
                </a:lnTo>
                <a:close/>
                <a:moveTo>
                  <a:pt x="9992" y="2713"/>
                </a:moveTo>
                <a:lnTo>
                  <a:pt x="9992" y="2132"/>
                </a:lnTo>
                <a:lnTo>
                  <a:pt x="10133" y="2132"/>
                </a:lnTo>
                <a:lnTo>
                  <a:pt x="10133" y="2713"/>
                </a:lnTo>
                <a:lnTo>
                  <a:pt x="9992" y="2713"/>
                </a:lnTo>
                <a:close/>
                <a:moveTo>
                  <a:pt x="9988" y="2052"/>
                </a:moveTo>
                <a:lnTo>
                  <a:pt x="9988" y="1908"/>
                </a:lnTo>
                <a:lnTo>
                  <a:pt x="10137" y="1908"/>
                </a:lnTo>
                <a:lnTo>
                  <a:pt x="10137" y="2052"/>
                </a:lnTo>
                <a:lnTo>
                  <a:pt x="9988" y="2052"/>
                </a:lnTo>
                <a:close/>
                <a:moveTo>
                  <a:pt x="9812" y="2720"/>
                </a:moveTo>
                <a:lnTo>
                  <a:pt x="9777" y="2717"/>
                </a:lnTo>
                <a:lnTo>
                  <a:pt x="9762" y="2715"/>
                </a:lnTo>
                <a:lnTo>
                  <a:pt x="9747" y="2711"/>
                </a:lnTo>
                <a:lnTo>
                  <a:pt x="9732" y="2705"/>
                </a:lnTo>
                <a:lnTo>
                  <a:pt x="9719" y="2699"/>
                </a:lnTo>
                <a:lnTo>
                  <a:pt x="9707" y="2691"/>
                </a:lnTo>
                <a:lnTo>
                  <a:pt x="9697" y="2683"/>
                </a:lnTo>
                <a:lnTo>
                  <a:pt x="9687" y="2673"/>
                </a:lnTo>
                <a:lnTo>
                  <a:pt x="9678" y="2662"/>
                </a:lnTo>
                <a:lnTo>
                  <a:pt x="9671" y="2649"/>
                </a:lnTo>
                <a:lnTo>
                  <a:pt x="9665" y="2635"/>
                </a:lnTo>
                <a:lnTo>
                  <a:pt x="9656" y="2602"/>
                </a:lnTo>
                <a:lnTo>
                  <a:pt x="9654" y="2584"/>
                </a:lnTo>
                <a:lnTo>
                  <a:pt x="9653" y="2563"/>
                </a:lnTo>
                <a:lnTo>
                  <a:pt x="9653" y="1906"/>
                </a:lnTo>
                <a:lnTo>
                  <a:pt x="9793" y="1906"/>
                </a:lnTo>
                <a:lnTo>
                  <a:pt x="9793" y="2540"/>
                </a:lnTo>
                <a:lnTo>
                  <a:pt x="9794" y="2552"/>
                </a:lnTo>
                <a:lnTo>
                  <a:pt x="9796" y="2563"/>
                </a:lnTo>
                <a:lnTo>
                  <a:pt x="9799" y="2573"/>
                </a:lnTo>
                <a:lnTo>
                  <a:pt x="9803" y="2580"/>
                </a:lnTo>
                <a:lnTo>
                  <a:pt x="9811" y="2587"/>
                </a:lnTo>
                <a:lnTo>
                  <a:pt x="9820" y="2591"/>
                </a:lnTo>
                <a:lnTo>
                  <a:pt x="9834" y="2594"/>
                </a:lnTo>
                <a:lnTo>
                  <a:pt x="9850" y="2596"/>
                </a:lnTo>
                <a:lnTo>
                  <a:pt x="9873" y="2594"/>
                </a:lnTo>
                <a:lnTo>
                  <a:pt x="9873" y="2712"/>
                </a:lnTo>
                <a:lnTo>
                  <a:pt x="9842" y="2717"/>
                </a:lnTo>
                <a:lnTo>
                  <a:pt x="9812" y="2720"/>
                </a:lnTo>
                <a:close/>
                <a:moveTo>
                  <a:pt x="9479" y="2661"/>
                </a:moveTo>
                <a:lnTo>
                  <a:pt x="9461" y="2677"/>
                </a:lnTo>
                <a:lnTo>
                  <a:pt x="9439" y="2691"/>
                </a:lnTo>
                <a:lnTo>
                  <a:pt x="9416" y="2702"/>
                </a:lnTo>
                <a:lnTo>
                  <a:pt x="9392" y="2712"/>
                </a:lnTo>
                <a:lnTo>
                  <a:pt x="9366" y="2718"/>
                </a:lnTo>
                <a:lnTo>
                  <a:pt x="9338" y="2724"/>
                </a:lnTo>
                <a:lnTo>
                  <a:pt x="9310" y="2726"/>
                </a:lnTo>
                <a:lnTo>
                  <a:pt x="9280" y="2727"/>
                </a:lnTo>
                <a:lnTo>
                  <a:pt x="9253" y="2726"/>
                </a:lnTo>
                <a:lnTo>
                  <a:pt x="9227" y="2724"/>
                </a:lnTo>
                <a:lnTo>
                  <a:pt x="9202" y="2718"/>
                </a:lnTo>
                <a:lnTo>
                  <a:pt x="9177" y="2711"/>
                </a:lnTo>
                <a:lnTo>
                  <a:pt x="9154" y="2702"/>
                </a:lnTo>
                <a:lnTo>
                  <a:pt x="9133" y="2690"/>
                </a:lnTo>
                <a:lnTo>
                  <a:pt x="9112" y="2676"/>
                </a:lnTo>
                <a:lnTo>
                  <a:pt x="9102" y="2668"/>
                </a:lnTo>
                <a:lnTo>
                  <a:pt x="9094" y="2661"/>
                </a:lnTo>
                <a:lnTo>
                  <a:pt x="9082" y="2648"/>
                </a:lnTo>
                <a:lnTo>
                  <a:pt x="9070" y="2634"/>
                </a:lnTo>
                <a:lnTo>
                  <a:pt x="9059" y="2618"/>
                </a:lnTo>
                <a:lnTo>
                  <a:pt x="9050" y="2601"/>
                </a:lnTo>
                <a:lnTo>
                  <a:pt x="9037" y="2565"/>
                </a:lnTo>
                <a:lnTo>
                  <a:pt x="9033" y="2546"/>
                </a:lnTo>
                <a:lnTo>
                  <a:pt x="9032" y="2526"/>
                </a:lnTo>
                <a:lnTo>
                  <a:pt x="9162" y="2526"/>
                </a:lnTo>
                <a:lnTo>
                  <a:pt x="9165" y="2544"/>
                </a:lnTo>
                <a:lnTo>
                  <a:pt x="9167" y="2554"/>
                </a:lnTo>
                <a:lnTo>
                  <a:pt x="9172" y="2564"/>
                </a:lnTo>
                <a:lnTo>
                  <a:pt x="9182" y="2580"/>
                </a:lnTo>
                <a:lnTo>
                  <a:pt x="9187" y="2588"/>
                </a:lnTo>
                <a:lnTo>
                  <a:pt x="9194" y="2593"/>
                </a:lnTo>
                <a:lnTo>
                  <a:pt x="9211" y="2605"/>
                </a:lnTo>
                <a:lnTo>
                  <a:pt x="9232" y="2613"/>
                </a:lnTo>
                <a:lnTo>
                  <a:pt x="9254" y="2617"/>
                </a:lnTo>
                <a:lnTo>
                  <a:pt x="9282" y="2619"/>
                </a:lnTo>
                <a:lnTo>
                  <a:pt x="9320" y="2616"/>
                </a:lnTo>
                <a:lnTo>
                  <a:pt x="9340" y="2613"/>
                </a:lnTo>
                <a:lnTo>
                  <a:pt x="9359" y="2606"/>
                </a:lnTo>
                <a:lnTo>
                  <a:pt x="9367" y="2602"/>
                </a:lnTo>
                <a:lnTo>
                  <a:pt x="9375" y="2597"/>
                </a:lnTo>
                <a:lnTo>
                  <a:pt x="9382" y="2591"/>
                </a:lnTo>
                <a:lnTo>
                  <a:pt x="9388" y="2584"/>
                </a:lnTo>
                <a:lnTo>
                  <a:pt x="9397" y="2567"/>
                </a:lnTo>
                <a:lnTo>
                  <a:pt x="9399" y="2556"/>
                </a:lnTo>
                <a:lnTo>
                  <a:pt x="9400" y="2546"/>
                </a:lnTo>
                <a:lnTo>
                  <a:pt x="9399" y="2534"/>
                </a:lnTo>
                <a:lnTo>
                  <a:pt x="9396" y="2523"/>
                </a:lnTo>
                <a:lnTo>
                  <a:pt x="9391" y="2513"/>
                </a:lnTo>
                <a:lnTo>
                  <a:pt x="9385" y="2504"/>
                </a:lnTo>
                <a:lnTo>
                  <a:pt x="9376" y="2498"/>
                </a:lnTo>
                <a:lnTo>
                  <a:pt x="9366" y="2491"/>
                </a:lnTo>
                <a:lnTo>
                  <a:pt x="9342" y="2485"/>
                </a:lnTo>
                <a:lnTo>
                  <a:pt x="9302" y="2479"/>
                </a:lnTo>
                <a:lnTo>
                  <a:pt x="9262" y="2474"/>
                </a:lnTo>
                <a:lnTo>
                  <a:pt x="9221" y="2469"/>
                </a:lnTo>
                <a:lnTo>
                  <a:pt x="9182" y="2462"/>
                </a:lnTo>
                <a:lnTo>
                  <a:pt x="9153" y="2453"/>
                </a:lnTo>
                <a:lnTo>
                  <a:pt x="9127" y="2441"/>
                </a:lnTo>
                <a:lnTo>
                  <a:pt x="9104" y="2425"/>
                </a:lnTo>
                <a:lnTo>
                  <a:pt x="9085" y="2405"/>
                </a:lnTo>
                <a:lnTo>
                  <a:pt x="9070" y="2383"/>
                </a:lnTo>
                <a:lnTo>
                  <a:pt x="9059" y="2359"/>
                </a:lnTo>
                <a:lnTo>
                  <a:pt x="9051" y="2333"/>
                </a:lnTo>
                <a:lnTo>
                  <a:pt x="9049" y="2306"/>
                </a:lnTo>
                <a:lnTo>
                  <a:pt x="9050" y="2286"/>
                </a:lnTo>
                <a:lnTo>
                  <a:pt x="9053" y="2265"/>
                </a:lnTo>
                <a:lnTo>
                  <a:pt x="9059" y="2247"/>
                </a:lnTo>
                <a:lnTo>
                  <a:pt x="9065" y="2230"/>
                </a:lnTo>
                <a:lnTo>
                  <a:pt x="9084" y="2201"/>
                </a:lnTo>
                <a:lnTo>
                  <a:pt x="9108" y="2176"/>
                </a:lnTo>
                <a:lnTo>
                  <a:pt x="9144" y="2152"/>
                </a:lnTo>
                <a:lnTo>
                  <a:pt x="9163" y="2141"/>
                </a:lnTo>
                <a:lnTo>
                  <a:pt x="9185" y="2133"/>
                </a:lnTo>
                <a:lnTo>
                  <a:pt x="9208" y="2127"/>
                </a:lnTo>
                <a:lnTo>
                  <a:pt x="9232" y="2121"/>
                </a:lnTo>
                <a:lnTo>
                  <a:pt x="9258" y="2119"/>
                </a:lnTo>
                <a:lnTo>
                  <a:pt x="9284" y="2118"/>
                </a:lnTo>
                <a:lnTo>
                  <a:pt x="9310" y="2119"/>
                </a:lnTo>
                <a:lnTo>
                  <a:pt x="9336" y="2122"/>
                </a:lnTo>
                <a:lnTo>
                  <a:pt x="9361" y="2128"/>
                </a:lnTo>
                <a:lnTo>
                  <a:pt x="9385" y="2134"/>
                </a:lnTo>
                <a:lnTo>
                  <a:pt x="9408" y="2144"/>
                </a:lnTo>
                <a:lnTo>
                  <a:pt x="9429" y="2156"/>
                </a:lnTo>
                <a:lnTo>
                  <a:pt x="9449" y="2170"/>
                </a:lnTo>
                <a:lnTo>
                  <a:pt x="9466" y="2185"/>
                </a:lnTo>
                <a:lnTo>
                  <a:pt x="9477" y="2199"/>
                </a:lnTo>
                <a:lnTo>
                  <a:pt x="9487" y="2213"/>
                </a:lnTo>
                <a:lnTo>
                  <a:pt x="9503" y="2242"/>
                </a:lnTo>
                <a:lnTo>
                  <a:pt x="9514" y="2274"/>
                </a:lnTo>
                <a:lnTo>
                  <a:pt x="9517" y="2305"/>
                </a:lnTo>
                <a:lnTo>
                  <a:pt x="9385" y="2305"/>
                </a:lnTo>
                <a:lnTo>
                  <a:pt x="9383" y="2290"/>
                </a:lnTo>
                <a:lnTo>
                  <a:pt x="9378" y="2275"/>
                </a:lnTo>
                <a:lnTo>
                  <a:pt x="9371" y="2263"/>
                </a:lnTo>
                <a:lnTo>
                  <a:pt x="9361" y="2251"/>
                </a:lnTo>
                <a:lnTo>
                  <a:pt x="9346" y="2240"/>
                </a:lnTo>
                <a:lnTo>
                  <a:pt x="9327" y="2231"/>
                </a:lnTo>
                <a:lnTo>
                  <a:pt x="9307" y="2226"/>
                </a:lnTo>
                <a:lnTo>
                  <a:pt x="9285" y="2224"/>
                </a:lnTo>
                <a:lnTo>
                  <a:pt x="9255" y="2225"/>
                </a:lnTo>
                <a:lnTo>
                  <a:pt x="9240" y="2228"/>
                </a:lnTo>
                <a:lnTo>
                  <a:pt x="9225" y="2233"/>
                </a:lnTo>
                <a:lnTo>
                  <a:pt x="9216" y="2238"/>
                </a:lnTo>
                <a:lnTo>
                  <a:pt x="9208" y="2242"/>
                </a:lnTo>
                <a:lnTo>
                  <a:pt x="9194" y="2256"/>
                </a:lnTo>
                <a:lnTo>
                  <a:pt x="9188" y="2264"/>
                </a:lnTo>
                <a:lnTo>
                  <a:pt x="9184" y="2274"/>
                </a:lnTo>
                <a:lnTo>
                  <a:pt x="9182" y="2283"/>
                </a:lnTo>
                <a:lnTo>
                  <a:pt x="9181" y="2294"/>
                </a:lnTo>
                <a:lnTo>
                  <a:pt x="9182" y="2308"/>
                </a:lnTo>
                <a:lnTo>
                  <a:pt x="9186" y="2320"/>
                </a:lnTo>
                <a:lnTo>
                  <a:pt x="9194" y="2330"/>
                </a:lnTo>
                <a:lnTo>
                  <a:pt x="9202" y="2337"/>
                </a:lnTo>
                <a:lnTo>
                  <a:pt x="9212" y="2343"/>
                </a:lnTo>
                <a:lnTo>
                  <a:pt x="9224" y="2348"/>
                </a:lnTo>
                <a:lnTo>
                  <a:pt x="9247" y="2352"/>
                </a:lnTo>
                <a:lnTo>
                  <a:pt x="9308" y="2359"/>
                </a:lnTo>
                <a:lnTo>
                  <a:pt x="9371" y="2369"/>
                </a:lnTo>
                <a:lnTo>
                  <a:pt x="9404" y="2377"/>
                </a:lnTo>
                <a:lnTo>
                  <a:pt x="9420" y="2381"/>
                </a:lnTo>
                <a:lnTo>
                  <a:pt x="9435" y="2388"/>
                </a:lnTo>
                <a:lnTo>
                  <a:pt x="9461" y="2403"/>
                </a:lnTo>
                <a:lnTo>
                  <a:pt x="9474" y="2413"/>
                </a:lnTo>
                <a:lnTo>
                  <a:pt x="9485" y="2423"/>
                </a:lnTo>
                <a:lnTo>
                  <a:pt x="9495" y="2433"/>
                </a:lnTo>
                <a:lnTo>
                  <a:pt x="9503" y="2444"/>
                </a:lnTo>
                <a:lnTo>
                  <a:pt x="9517" y="2470"/>
                </a:lnTo>
                <a:lnTo>
                  <a:pt x="9523" y="2486"/>
                </a:lnTo>
                <a:lnTo>
                  <a:pt x="9526" y="2501"/>
                </a:lnTo>
                <a:lnTo>
                  <a:pt x="9529" y="2534"/>
                </a:lnTo>
                <a:lnTo>
                  <a:pt x="9528" y="2553"/>
                </a:lnTo>
                <a:lnTo>
                  <a:pt x="9526" y="2573"/>
                </a:lnTo>
                <a:lnTo>
                  <a:pt x="9522" y="2590"/>
                </a:lnTo>
                <a:lnTo>
                  <a:pt x="9515" y="2606"/>
                </a:lnTo>
                <a:lnTo>
                  <a:pt x="9509" y="2622"/>
                </a:lnTo>
                <a:lnTo>
                  <a:pt x="9500" y="2636"/>
                </a:lnTo>
                <a:lnTo>
                  <a:pt x="9479" y="2661"/>
                </a:lnTo>
                <a:close/>
                <a:moveTo>
                  <a:pt x="8793" y="2713"/>
                </a:moveTo>
                <a:lnTo>
                  <a:pt x="8782" y="2637"/>
                </a:lnTo>
                <a:lnTo>
                  <a:pt x="8770" y="2658"/>
                </a:lnTo>
                <a:lnTo>
                  <a:pt x="8755" y="2675"/>
                </a:lnTo>
                <a:lnTo>
                  <a:pt x="8737" y="2690"/>
                </a:lnTo>
                <a:lnTo>
                  <a:pt x="8717" y="2703"/>
                </a:lnTo>
                <a:lnTo>
                  <a:pt x="8694" y="2714"/>
                </a:lnTo>
                <a:lnTo>
                  <a:pt x="8669" y="2722"/>
                </a:lnTo>
                <a:lnTo>
                  <a:pt x="8643" y="2726"/>
                </a:lnTo>
                <a:lnTo>
                  <a:pt x="8615" y="2727"/>
                </a:lnTo>
                <a:lnTo>
                  <a:pt x="8594" y="2726"/>
                </a:lnTo>
                <a:lnTo>
                  <a:pt x="8572" y="2724"/>
                </a:lnTo>
                <a:lnTo>
                  <a:pt x="8551" y="2718"/>
                </a:lnTo>
                <a:lnTo>
                  <a:pt x="8533" y="2712"/>
                </a:lnTo>
                <a:lnTo>
                  <a:pt x="8514" y="2704"/>
                </a:lnTo>
                <a:lnTo>
                  <a:pt x="8498" y="2695"/>
                </a:lnTo>
                <a:lnTo>
                  <a:pt x="8483" y="2683"/>
                </a:lnTo>
                <a:lnTo>
                  <a:pt x="8469" y="2671"/>
                </a:lnTo>
                <a:lnTo>
                  <a:pt x="8457" y="2655"/>
                </a:lnTo>
                <a:lnTo>
                  <a:pt x="8446" y="2640"/>
                </a:lnTo>
                <a:lnTo>
                  <a:pt x="8430" y="2604"/>
                </a:lnTo>
                <a:lnTo>
                  <a:pt x="8419" y="2564"/>
                </a:lnTo>
                <a:lnTo>
                  <a:pt x="8417" y="2542"/>
                </a:lnTo>
                <a:lnTo>
                  <a:pt x="8416" y="2519"/>
                </a:lnTo>
                <a:lnTo>
                  <a:pt x="8416" y="2132"/>
                </a:lnTo>
                <a:lnTo>
                  <a:pt x="8555" y="2132"/>
                </a:lnTo>
                <a:lnTo>
                  <a:pt x="8555" y="2489"/>
                </a:lnTo>
                <a:lnTo>
                  <a:pt x="8556" y="2513"/>
                </a:lnTo>
                <a:lnTo>
                  <a:pt x="8560" y="2535"/>
                </a:lnTo>
                <a:lnTo>
                  <a:pt x="8567" y="2553"/>
                </a:lnTo>
                <a:lnTo>
                  <a:pt x="8577" y="2569"/>
                </a:lnTo>
                <a:lnTo>
                  <a:pt x="8590" y="2582"/>
                </a:lnTo>
                <a:lnTo>
                  <a:pt x="8608" y="2591"/>
                </a:lnTo>
                <a:lnTo>
                  <a:pt x="8630" y="2597"/>
                </a:lnTo>
                <a:lnTo>
                  <a:pt x="8655" y="2599"/>
                </a:lnTo>
                <a:lnTo>
                  <a:pt x="8677" y="2597"/>
                </a:lnTo>
                <a:lnTo>
                  <a:pt x="8697" y="2591"/>
                </a:lnTo>
                <a:lnTo>
                  <a:pt x="8713" y="2581"/>
                </a:lnTo>
                <a:lnTo>
                  <a:pt x="8726" y="2571"/>
                </a:lnTo>
                <a:lnTo>
                  <a:pt x="8738" y="2557"/>
                </a:lnTo>
                <a:lnTo>
                  <a:pt x="8747" y="2543"/>
                </a:lnTo>
                <a:lnTo>
                  <a:pt x="8755" y="2527"/>
                </a:lnTo>
                <a:lnTo>
                  <a:pt x="8760" y="2511"/>
                </a:lnTo>
                <a:lnTo>
                  <a:pt x="8764" y="2493"/>
                </a:lnTo>
                <a:lnTo>
                  <a:pt x="8767" y="2475"/>
                </a:lnTo>
                <a:lnTo>
                  <a:pt x="8769" y="2439"/>
                </a:lnTo>
                <a:lnTo>
                  <a:pt x="8769" y="2132"/>
                </a:lnTo>
                <a:lnTo>
                  <a:pt x="8908" y="2132"/>
                </a:lnTo>
                <a:lnTo>
                  <a:pt x="8908" y="2713"/>
                </a:lnTo>
                <a:lnTo>
                  <a:pt x="8793" y="2713"/>
                </a:lnTo>
                <a:close/>
                <a:moveTo>
                  <a:pt x="8190" y="2713"/>
                </a:moveTo>
                <a:lnTo>
                  <a:pt x="8028" y="2460"/>
                </a:lnTo>
                <a:lnTo>
                  <a:pt x="7934" y="2560"/>
                </a:lnTo>
                <a:lnTo>
                  <a:pt x="7934" y="2713"/>
                </a:lnTo>
                <a:lnTo>
                  <a:pt x="7795" y="2713"/>
                </a:lnTo>
                <a:lnTo>
                  <a:pt x="7795" y="1907"/>
                </a:lnTo>
                <a:lnTo>
                  <a:pt x="7934" y="1907"/>
                </a:lnTo>
                <a:lnTo>
                  <a:pt x="7934" y="2368"/>
                </a:lnTo>
                <a:lnTo>
                  <a:pt x="8155" y="2132"/>
                </a:lnTo>
                <a:lnTo>
                  <a:pt x="8330" y="2132"/>
                </a:lnTo>
                <a:lnTo>
                  <a:pt x="8122" y="2357"/>
                </a:lnTo>
                <a:lnTo>
                  <a:pt x="8351" y="2713"/>
                </a:lnTo>
                <a:lnTo>
                  <a:pt x="8190" y="2713"/>
                </a:lnTo>
                <a:close/>
                <a:moveTo>
                  <a:pt x="7618" y="2661"/>
                </a:moveTo>
                <a:lnTo>
                  <a:pt x="7600" y="2677"/>
                </a:lnTo>
                <a:lnTo>
                  <a:pt x="7578" y="2691"/>
                </a:lnTo>
                <a:lnTo>
                  <a:pt x="7555" y="2702"/>
                </a:lnTo>
                <a:lnTo>
                  <a:pt x="7531" y="2712"/>
                </a:lnTo>
                <a:lnTo>
                  <a:pt x="7505" y="2718"/>
                </a:lnTo>
                <a:lnTo>
                  <a:pt x="7477" y="2724"/>
                </a:lnTo>
                <a:lnTo>
                  <a:pt x="7448" y="2726"/>
                </a:lnTo>
                <a:lnTo>
                  <a:pt x="7419" y="2727"/>
                </a:lnTo>
                <a:lnTo>
                  <a:pt x="7392" y="2726"/>
                </a:lnTo>
                <a:lnTo>
                  <a:pt x="7366" y="2724"/>
                </a:lnTo>
                <a:lnTo>
                  <a:pt x="7340" y="2718"/>
                </a:lnTo>
                <a:lnTo>
                  <a:pt x="7316" y="2711"/>
                </a:lnTo>
                <a:lnTo>
                  <a:pt x="7293" y="2702"/>
                </a:lnTo>
                <a:lnTo>
                  <a:pt x="7271" y="2690"/>
                </a:lnTo>
                <a:lnTo>
                  <a:pt x="7251" y="2676"/>
                </a:lnTo>
                <a:lnTo>
                  <a:pt x="7241" y="2668"/>
                </a:lnTo>
                <a:lnTo>
                  <a:pt x="7232" y="2661"/>
                </a:lnTo>
                <a:lnTo>
                  <a:pt x="7219" y="2648"/>
                </a:lnTo>
                <a:lnTo>
                  <a:pt x="7208" y="2634"/>
                </a:lnTo>
                <a:lnTo>
                  <a:pt x="7197" y="2618"/>
                </a:lnTo>
                <a:lnTo>
                  <a:pt x="7189" y="2601"/>
                </a:lnTo>
                <a:lnTo>
                  <a:pt x="7176" y="2565"/>
                </a:lnTo>
                <a:lnTo>
                  <a:pt x="7171" y="2546"/>
                </a:lnTo>
                <a:lnTo>
                  <a:pt x="7170" y="2526"/>
                </a:lnTo>
                <a:lnTo>
                  <a:pt x="7301" y="2526"/>
                </a:lnTo>
                <a:lnTo>
                  <a:pt x="7304" y="2544"/>
                </a:lnTo>
                <a:lnTo>
                  <a:pt x="7306" y="2554"/>
                </a:lnTo>
                <a:lnTo>
                  <a:pt x="7311" y="2564"/>
                </a:lnTo>
                <a:lnTo>
                  <a:pt x="7320" y="2580"/>
                </a:lnTo>
                <a:lnTo>
                  <a:pt x="7326" y="2588"/>
                </a:lnTo>
                <a:lnTo>
                  <a:pt x="7332" y="2593"/>
                </a:lnTo>
                <a:lnTo>
                  <a:pt x="7350" y="2605"/>
                </a:lnTo>
                <a:lnTo>
                  <a:pt x="7370" y="2613"/>
                </a:lnTo>
                <a:lnTo>
                  <a:pt x="7393" y="2617"/>
                </a:lnTo>
                <a:lnTo>
                  <a:pt x="7420" y="2619"/>
                </a:lnTo>
                <a:lnTo>
                  <a:pt x="7458" y="2616"/>
                </a:lnTo>
                <a:lnTo>
                  <a:pt x="7479" y="2613"/>
                </a:lnTo>
                <a:lnTo>
                  <a:pt x="7497" y="2606"/>
                </a:lnTo>
                <a:lnTo>
                  <a:pt x="7506" y="2602"/>
                </a:lnTo>
                <a:lnTo>
                  <a:pt x="7514" y="2597"/>
                </a:lnTo>
                <a:lnTo>
                  <a:pt x="7520" y="2591"/>
                </a:lnTo>
                <a:lnTo>
                  <a:pt x="7527" y="2584"/>
                </a:lnTo>
                <a:lnTo>
                  <a:pt x="7535" y="2567"/>
                </a:lnTo>
                <a:lnTo>
                  <a:pt x="7538" y="2556"/>
                </a:lnTo>
                <a:lnTo>
                  <a:pt x="7539" y="2546"/>
                </a:lnTo>
                <a:lnTo>
                  <a:pt x="7538" y="2534"/>
                </a:lnTo>
                <a:lnTo>
                  <a:pt x="7534" y="2523"/>
                </a:lnTo>
                <a:lnTo>
                  <a:pt x="7530" y="2513"/>
                </a:lnTo>
                <a:lnTo>
                  <a:pt x="7523" y="2504"/>
                </a:lnTo>
                <a:lnTo>
                  <a:pt x="7515" y="2498"/>
                </a:lnTo>
                <a:lnTo>
                  <a:pt x="7505" y="2491"/>
                </a:lnTo>
                <a:lnTo>
                  <a:pt x="7481" y="2485"/>
                </a:lnTo>
                <a:lnTo>
                  <a:pt x="7441" y="2479"/>
                </a:lnTo>
                <a:lnTo>
                  <a:pt x="7401" y="2474"/>
                </a:lnTo>
                <a:lnTo>
                  <a:pt x="7359" y="2469"/>
                </a:lnTo>
                <a:lnTo>
                  <a:pt x="7320" y="2462"/>
                </a:lnTo>
                <a:lnTo>
                  <a:pt x="7292" y="2453"/>
                </a:lnTo>
                <a:lnTo>
                  <a:pt x="7266" y="2441"/>
                </a:lnTo>
                <a:lnTo>
                  <a:pt x="7243" y="2425"/>
                </a:lnTo>
                <a:lnTo>
                  <a:pt x="7224" y="2405"/>
                </a:lnTo>
                <a:lnTo>
                  <a:pt x="7208" y="2383"/>
                </a:lnTo>
                <a:lnTo>
                  <a:pt x="7197" y="2359"/>
                </a:lnTo>
                <a:lnTo>
                  <a:pt x="7190" y="2333"/>
                </a:lnTo>
                <a:lnTo>
                  <a:pt x="7188" y="2306"/>
                </a:lnTo>
                <a:lnTo>
                  <a:pt x="7189" y="2286"/>
                </a:lnTo>
                <a:lnTo>
                  <a:pt x="7192" y="2265"/>
                </a:lnTo>
                <a:lnTo>
                  <a:pt x="7197" y="2247"/>
                </a:lnTo>
                <a:lnTo>
                  <a:pt x="7204" y="2230"/>
                </a:lnTo>
                <a:lnTo>
                  <a:pt x="7222" y="2201"/>
                </a:lnTo>
                <a:lnTo>
                  <a:pt x="7246" y="2176"/>
                </a:lnTo>
                <a:lnTo>
                  <a:pt x="7281" y="2152"/>
                </a:lnTo>
                <a:lnTo>
                  <a:pt x="7302" y="2141"/>
                </a:lnTo>
                <a:lnTo>
                  <a:pt x="7324" y="2133"/>
                </a:lnTo>
                <a:lnTo>
                  <a:pt x="7346" y="2127"/>
                </a:lnTo>
                <a:lnTo>
                  <a:pt x="7370" y="2121"/>
                </a:lnTo>
                <a:lnTo>
                  <a:pt x="7396" y="2119"/>
                </a:lnTo>
                <a:lnTo>
                  <a:pt x="7422" y="2118"/>
                </a:lnTo>
                <a:lnTo>
                  <a:pt x="7448" y="2119"/>
                </a:lnTo>
                <a:lnTo>
                  <a:pt x="7475" y="2122"/>
                </a:lnTo>
                <a:lnTo>
                  <a:pt x="7500" y="2128"/>
                </a:lnTo>
                <a:lnTo>
                  <a:pt x="7523" y="2134"/>
                </a:lnTo>
                <a:lnTo>
                  <a:pt x="7546" y="2144"/>
                </a:lnTo>
                <a:lnTo>
                  <a:pt x="7568" y="2156"/>
                </a:lnTo>
                <a:lnTo>
                  <a:pt x="7588" y="2170"/>
                </a:lnTo>
                <a:lnTo>
                  <a:pt x="7605" y="2185"/>
                </a:lnTo>
                <a:lnTo>
                  <a:pt x="7626" y="2213"/>
                </a:lnTo>
                <a:lnTo>
                  <a:pt x="7642" y="2242"/>
                </a:lnTo>
                <a:lnTo>
                  <a:pt x="7647" y="2258"/>
                </a:lnTo>
                <a:lnTo>
                  <a:pt x="7652" y="2274"/>
                </a:lnTo>
                <a:lnTo>
                  <a:pt x="7656" y="2305"/>
                </a:lnTo>
                <a:lnTo>
                  <a:pt x="7523" y="2305"/>
                </a:lnTo>
                <a:lnTo>
                  <a:pt x="7521" y="2290"/>
                </a:lnTo>
                <a:lnTo>
                  <a:pt x="7516" y="2275"/>
                </a:lnTo>
                <a:lnTo>
                  <a:pt x="7509" y="2263"/>
                </a:lnTo>
                <a:lnTo>
                  <a:pt x="7500" y="2251"/>
                </a:lnTo>
                <a:lnTo>
                  <a:pt x="7484" y="2240"/>
                </a:lnTo>
                <a:lnTo>
                  <a:pt x="7466" y="2231"/>
                </a:lnTo>
                <a:lnTo>
                  <a:pt x="7445" y="2226"/>
                </a:lnTo>
                <a:lnTo>
                  <a:pt x="7424" y="2224"/>
                </a:lnTo>
                <a:lnTo>
                  <a:pt x="7394" y="2225"/>
                </a:lnTo>
                <a:lnTo>
                  <a:pt x="7379" y="2228"/>
                </a:lnTo>
                <a:lnTo>
                  <a:pt x="7364" y="2233"/>
                </a:lnTo>
                <a:lnTo>
                  <a:pt x="7355" y="2238"/>
                </a:lnTo>
                <a:lnTo>
                  <a:pt x="7346" y="2242"/>
                </a:lnTo>
                <a:lnTo>
                  <a:pt x="7332" y="2256"/>
                </a:lnTo>
                <a:lnTo>
                  <a:pt x="7327" y="2264"/>
                </a:lnTo>
                <a:lnTo>
                  <a:pt x="7322" y="2274"/>
                </a:lnTo>
                <a:lnTo>
                  <a:pt x="7320" y="2283"/>
                </a:lnTo>
                <a:lnTo>
                  <a:pt x="7319" y="2294"/>
                </a:lnTo>
                <a:lnTo>
                  <a:pt x="7320" y="2308"/>
                </a:lnTo>
                <a:lnTo>
                  <a:pt x="7325" y="2320"/>
                </a:lnTo>
                <a:lnTo>
                  <a:pt x="7332" y="2330"/>
                </a:lnTo>
                <a:lnTo>
                  <a:pt x="7341" y="2337"/>
                </a:lnTo>
                <a:lnTo>
                  <a:pt x="7351" y="2343"/>
                </a:lnTo>
                <a:lnTo>
                  <a:pt x="7363" y="2348"/>
                </a:lnTo>
                <a:lnTo>
                  <a:pt x="7385" y="2352"/>
                </a:lnTo>
                <a:lnTo>
                  <a:pt x="7446" y="2359"/>
                </a:lnTo>
                <a:lnTo>
                  <a:pt x="7509" y="2369"/>
                </a:lnTo>
                <a:lnTo>
                  <a:pt x="7543" y="2377"/>
                </a:lnTo>
                <a:lnTo>
                  <a:pt x="7558" y="2381"/>
                </a:lnTo>
                <a:lnTo>
                  <a:pt x="7573" y="2388"/>
                </a:lnTo>
                <a:lnTo>
                  <a:pt x="7600" y="2403"/>
                </a:lnTo>
                <a:lnTo>
                  <a:pt x="7613" y="2413"/>
                </a:lnTo>
                <a:lnTo>
                  <a:pt x="7623" y="2423"/>
                </a:lnTo>
                <a:lnTo>
                  <a:pt x="7633" y="2433"/>
                </a:lnTo>
                <a:lnTo>
                  <a:pt x="7642" y="2444"/>
                </a:lnTo>
                <a:lnTo>
                  <a:pt x="7656" y="2470"/>
                </a:lnTo>
                <a:lnTo>
                  <a:pt x="7661" y="2486"/>
                </a:lnTo>
                <a:lnTo>
                  <a:pt x="7665" y="2501"/>
                </a:lnTo>
                <a:lnTo>
                  <a:pt x="7668" y="2534"/>
                </a:lnTo>
                <a:lnTo>
                  <a:pt x="7667" y="2553"/>
                </a:lnTo>
                <a:lnTo>
                  <a:pt x="7665" y="2573"/>
                </a:lnTo>
                <a:lnTo>
                  <a:pt x="7660" y="2590"/>
                </a:lnTo>
                <a:lnTo>
                  <a:pt x="7654" y="2606"/>
                </a:lnTo>
                <a:lnTo>
                  <a:pt x="7647" y="2622"/>
                </a:lnTo>
                <a:lnTo>
                  <a:pt x="7639" y="2636"/>
                </a:lnTo>
                <a:lnTo>
                  <a:pt x="7618" y="2661"/>
                </a:lnTo>
                <a:close/>
                <a:moveTo>
                  <a:pt x="6915" y="2263"/>
                </a:moveTo>
                <a:lnTo>
                  <a:pt x="6907" y="2256"/>
                </a:lnTo>
                <a:lnTo>
                  <a:pt x="6899" y="2250"/>
                </a:lnTo>
                <a:lnTo>
                  <a:pt x="6879" y="2239"/>
                </a:lnTo>
                <a:lnTo>
                  <a:pt x="6867" y="2234"/>
                </a:lnTo>
                <a:lnTo>
                  <a:pt x="6855" y="2232"/>
                </a:lnTo>
                <a:lnTo>
                  <a:pt x="6827" y="2229"/>
                </a:lnTo>
                <a:lnTo>
                  <a:pt x="6797" y="2232"/>
                </a:lnTo>
                <a:lnTo>
                  <a:pt x="6770" y="2242"/>
                </a:lnTo>
                <a:lnTo>
                  <a:pt x="6748" y="2256"/>
                </a:lnTo>
                <a:lnTo>
                  <a:pt x="6738" y="2265"/>
                </a:lnTo>
                <a:lnTo>
                  <a:pt x="6730" y="2275"/>
                </a:lnTo>
                <a:lnTo>
                  <a:pt x="6717" y="2294"/>
                </a:lnTo>
                <a:lnTo>
                  <a:pt x="6707" y="2315"/>
                </a:lnTo>
                <a:lnTo>
                  <a:pt x="6702" y="2338"/>
                </a:lnTo>
                <a:lnTo>
                  <a:pt x="6700" y="2365"/>
                </a:lnTo>
                <a:lnTo>
                  <a:pt x="6951" y="2365"/>
                </a:lnTo>
                <a:lnTo>
                  <a:pt x="6950" y="2349"/>
                </a:lnTo>
                <a:lnTo>
                  <a:pt x="6948" y="2333"/>
                </a:lnTo>
                <a:lnTo>
                  <a:pt x="6941" y="2306"/>
                </a:lnTo>
                <a:lnTo>
                  <a:pt x="6930" y="2283"/>
                </a:lnTo>
                <a:lnTo>
                  <a:pt x="6924" y="2272"/>
                </a:lnTo>
                <a:lnTo>
                  <a:pt x="6915" y="2263"/>
                </a:lnTo>
                <a:close/>
                <a:moveTo>
                  <a:pt x="7089" y="2466"/>
                </a:moveTo>
                <a:lnTo>
                  <a:pt x="6701" y="2466"/>
                </a:lnTo>
                <a:lnTo>
                  <a:pt x="6702" y="2482"/>
                </a:lnTo>
                <a:lnTo>
                  <a:pt x="6703" y="2499"/>
                </a:lnTo>
                <a:lnTo>
                  <a:pt x="6712" y="2530"/>
                </a:lnTo>
                <a:lnTo>
                  <a:pt x="6717" y="2544"/>
                </a:lnTo>
                <a:lnTo>
                  <a:pt x="6725" y="2557"/>
                </a:lnTo>
                <a:lnTo>
                  <a:pt x="6734" y="2569"/>
                </a:lnTo>
                <a:lnTo>
                  <a:pt x="6743" y="2580"/>
                </a:lnTo>
                <a:lnTo>
                  <a:pt x="6760" y="2593"/>
                </a:lnTo>
                <a:lnTo>
                  <a:pt x="6780" y="2605"/>
                </a:lnTo>
                <a:lnTo>
                  <a:pt x="6803" y="2613"/>
                </a:lnTo>
                <a:lnTo>
                  <a:pt x="6829" y="2616"/>
                </a:lnTo>
                <a:lnTo>
                  <a:pt x="6856" y="2614"/>
                </a:lnTo>
                <a:lnTo>
                  <a:pt x="6879" y="2610"/>
                </a:lnTo>
                <a:lnTo>
                  <a:pt x="6898" y="2601"/>
                </a:lnTo>
                <a:lnTo>
                  <a:pt x="6914" y="2588"/>
                </a:lnTo>
                <a:lnTo>
                  <a:pt x="6923" y="2578"/>
                </a:lnTo>
                <a:lnTo>
                  <a:pt x="6930" y="2566"/>
                </a:lnTo>
                <a:lnTo>
                  <a:pt x="6937" y="2554"/>
                </a:lnTo>
                <a:lnTo>
                  <a:pt x="6942" y="2539"/>
                </a:lnTo>
                <a:lnTo>
                  <a:pt x="7076" y="2539"/>
                </a:lnTo>
                <a:lnTo>
                  <a:pt x="7070" y="2566"/>
                </a:lnTo>
                <a:lnTo>
                  <a:pt x="7065" y="2580"/>
                </a:lnTo>
                <a:lnTo>
                  <a:pt x="7058" y="2596"/>
                </a:lnTo>
                <a:lnTo>
                  <a:pt x="7043" y="2623"/>
                </a:lnTo>
                <a:lnTo>
                  <a:pt x="7027" y="2646"/>
                </a:lnTo>
                <a:lnTo>
                  <a:pt x="7007" y="2666"/>
                </a:lnTo>
                <a:lnTo>
                  <a:pt x="6986" y="2684"/>
                </a:lnTo>
                <a:lnTo>
                  <a:pt x="6963" y="2698"/>
                </a:lnTo>
                <a:lnTo>
                  <a:pt x="6939" y="2709"/>
                </a:lnTo>
                <a:lnTo>
                  <a:pt x="6913" y="2717"/>
                </a:lnTo>
                <a:lnTo>
                  <a:pt x="6887" y="2723"/>
                </a:lnTo>
                <a:lnTo>
                  <a:pt x="6860" y="2726"/>
                </a:lnTo>
                <a:lnTo>
                  <a:pt x="6831" y="2727"/>
                </a:lnTo>
                <a:lnTo>
                  <a:pt x="6803" y="2726"/>
                </a:lnTo>
                <a:lnTo>
                  <a:pt x="6776" y="2723"/>
                </a:lnTo>
                <a:lnTo>
                  <a:pt x="6763" y="2720"/>
                </a:lnTo>
                <a:lnTo>
                  <a:pt x="6751" y="2716"/>
                </a:lnTo>
                <a:lnTo>
                  <a:pt x="6728" y="2708"/>
                </a:lnTo>
                <a:lnTo>
                  <a:pt x="6705" y="2698"/>
                </a:lnTo>
                <a:lnTo>
                  <a:pt x="6686" y="2686"/>
                </a:lnTo>
                <a:lnTo>
                  <a:pt x="6666" y="2672"/>
                </a:lnTo>
                <a:lnTo>
                  <a:pt x="6649" y="2656"/>
                </a:lnTo>
                <a:lnTo>
                  <a:pt x="6628" y="2634"/>
                </a:lnTo>
                <a:lnTo>
                  <a:pt x="6611" y="2610"/>
                </a:lnTo>
                <a:lnTo>
                  <a:pt x="6596" y="2584"/>
                </a:lnTo>
                <a:lnTo>
                  <a:pt x="6582" y="2554"/>
                </a:lnTo>
                <a:lnTo>
                  <a:pt x="6577" y="2540"/>
                </a:lnTo>
                <a:lnTo>
                  <a:pt x="6573" y="2524"/>
                </a:lnTo>
                <a:lnTo>
                  <a:pt x="6565" y="2492"/>
                </a:lnTo>
                <a:lnTo>
                  <a:pt x="6561" y="2458"/>
                </a:lnTo>
                <a:lnTo>
                  <a:pt x="6560" y="2424"/>
                </a:lnTo>
                <a:lnTo>
                  <a:pt x="6561" y="2390"/>
                </a:lnTo>
                <a:lnTo>
                  <a:pt x="6565" y="2356"/>
                </a:lnTo>
                <a:lnTo>
                  <a:pt x="6572" y="2325"/>
                </a:lnTo>
                <a:lnTo>
                  <a:pt x="6580" y="2294"/>
                </a:lnTo>
                <a:lnTo>
                  <a:pt x="6592" y="2266"/>
                </a:lnTo>
                <a:lnTo>
                  <a:pt x="6606" y="2239"/>
                </a:lnTo>
                <a:lnTo>
                  <a:pt x="6624" y="2214"/>
                </a:lnTo>
                <a:lnTo>
                  <a:pt x="6643" y="2192"/>
                </a:lnTo>
                <a:lnTo>
                  <a:pt x="6661" y="2176"/>
                </a:lnTo>
                <a:lnTo>
                  <a:pt x="6679" y="2162"/>
                </a:lnTo>
                <a:lnTo>
                  <a:pt x="6700" y="2148"/>
                </a:lnTo>
                <a:lnTo>
                  <a:pt x="6723" y="2138"/>
                </a:lnTo>
                <a:lnTo>
                  <a:pt x="6747" y="2129"/>
                </a:lnTo>
                <a:lnTo>
                  <a:pt x="6772" y="2123"/>
                </a:lnTo>
                <a:lnTo>
                  <a:pt x="6800" y="2119"/>
                </a:lnTo>
                <a:lnTo>
                  <a:pt x="6828" y="2118"/>
                </a:lnTo>
                <a:lnTo>
                  <a:pt x="6860" y="2119"/>
                </a:lnTo>
                <a:lnTo>
                  <a:pt x="6891" y="2125"/>
                </a:lnTo>
                <a:lnTo>
                  <a:pt x="6920" y="2132"/>
                </a:lnTo>
                <a:lnTo>
                  <a:pt x="6949" y="2144"/>
                </a:lnTo>
                <a:lnTo>
                  <a:pt x="6975" y="2159"/>
                </a:lnTo>
                <a:lnTo>
                  <a:pt x="6999" y="2178"/>
                </a:lnTo>
                <a:lnTo>
                  <a:pt x="7020" y="2200"/>
                </a:lnTo>
                <a:lnTo>
                  <a:pt x="7040" y="2225"/>
                </a:lnTo>
                <a:lnTo>
                  <a:pt x="7055" y="2249"/>
                </a:lnTo>
                <a:lnTo>
                  <a:pt x="7066" y="2274"/>
                </a:lnTo>
                <a:lnTo>
                  <a:pt x="7082" y="2323"/>
                </a:lnTo>
                <a:lnTo>
                  <a:pt x="7087" y="2348"/>
                </a:lnTo>
                <a:lnTo>
                  <a:pt x="7090" y="2374"/>
                </a:lnTo>
                <a:lnTo>
                  <a:pt x="7090" y="2427"/>
                </a:lnTo>
                <a:lnTo>
                  <a:pt x="7089" y="2466"/>
                </a:lnTo>
                <a:close/>
                <a:moveTo>
                  <a:pt x="6372" y="2713"/>
                </a:moveTo>
                <a:lnTo>
                  <a:pt x="6209" y="2460"/>
                </a:lnTo>
                <a:lnTo>
                  <a:pt x="6116" y="2560"/>
                </a:lnTo>
                <a:lnTo>
                  <a:pt x="6116" y="2713"/>
                </a:lnTo>
                <a:lnTo>
                  <a:pt x="5977" y="2713"/>
                </a:lnTo>
                <a:lnTo>
                  <a:pt x="5977" y="1907"/>
                </a:lnTo>
                <a:lnTo>
                  <a:pt x="6116" y="1907"/>
                </a:lnTo>
                <a:lnTo>
                  <a:pt x="6116" y="2368"/>
                </a:lnTo>
                <a:lnTo>
                  <a:pt x="6336" y="2132"/>
                </a:lnTo>
                <a:lnTo>
                  <a:pt x="6511" y="2132"/>
                </a:lnTo>
                <a:lnTo>
                  <a:pt x="6303" y="2357"/>
                </a:lnTo>
                <a:lnTo>
                  <a:pt x="6534" y="2713"/>
                </a:lnTo>
                <a:lnTo>
                  <a:pt x="6372" y="2713"/>
                </a:lnTo>
                <a:close/>
                <a:moveTo>
                  <a:pt x="14362" y="1547"/>
                </a:moveTo>
                <a:lnTo>
                  <a:pt x="14362" y="1191"/>
                </a:lnTo>
                <a:lnTo>
                  <a:pt x="14361" y="1166"/>
                </a:lnTo>
                <a:lnTo>
                  <a:pt x="14358" y="1146"/>
                </a:lnTo>
                <a:lnTo>
                  <a:pt x="14355" y="1136"/>
                </a:lnTo>
                <a:lnTo>
                  <a:pt x="14352" y="1126"/>
                </a:lnTo>
                <a:lnTo>
                  <a:pt x="14347" y="1118"/>
                </a:lnTo>
                <a:lnTo>
                  <a:pt x="14342" y="1111"/>
                </a:lnTo>
                <a:lnTo>
                  <a:pt x="14336" y="1104"/>
                </a:lnTo>
                <a:lnTo>
                  <a:pt x="14330" y="1098"/>
                </a:lnTo>
                <a:lnTo>
                  <a:pt x="14312" y="1089"/>
                </a:lnTo>
                <a:lnTo>
                  <a:pt x="14292" y="1084"/>
                </a:lnTo>
                <a:lnTo>
                  <a:pt x="14267" y="1081"/>
                </a:lnTo>
                <a:lnTo>
                  <a:pt x="14249" y="1082"/>
                </a:lnTo>
                <a:lnTo>
                  <a:pt x="14233" y="1087"/>
                </a:lnTo>
                <a:lnTo>
                  <a:pt x="14218" y="1093"/>
                </a:lnTo>
                <a:lnTo>
                  <a:pt x="14205" y="1102"/>
                </a:lnTo>
                <a:lnTo>
                  <a:pt x="14194" y="1113"/>
                </a:lnTo>
                <a:lnTo>
                  <a:pt x="14183" y="1126"/>
                </a:lnTo>
                <a:lnTo>
                  <a:pt x="14174" y="1140"/>
                </a:lnTo>
                <a:lnTo>
                  <a:pt x="14167" y="1155"/>
                </a:lnTo>
                <a:lnTo>
                  <a:pt x="14159" y="1173"/>
                </a:lnTo>
                <a:lnTo>
                  <a:pt x="14155" y="1192"/>
                </a:lnTo>
                <a:lnTo>
                  <a:pt x="14152" y="1212"/>
                </a:lnTo>
                <a:lnTo>
                  <a:pt x="14149" y="1231"/>
                </a:lnTo>
                <a:lnTo>
                  <a:pt x="14147" y="1272"/>
                </a:lnTo>
                <a:lnTo>
                  <a:pt x="14147" y="1311"/>
                </a:lnTo>
                <a:lnTo>
                  <a:pt x="14147" y="1547"/>
                </a:lnTo>
                <a:lnTo>
                  <a:pt x="14008" y="1547"/>
                </a:lnTo>
                <a:lnTo>
                  <a:pt x="14008" y="966"/>
                </a:lnTo>
                <a:lnTo>
                  <a:pt x="14126" y="966"/>
                </a:lnTo>
                <a:lnTo>
                  <a:pt x="14135" y="1041"/>
                </a:lnTo>
                <a:lnTo>
                  <a:pt x="14149" y="1019"/>
                </a:lnTo>
                <a:lnTo>
                  <a:pt x="14167" y="1001"/>
                </a:lnTo>
                <a:lnTo>
                  <a:pt x="14186" y="986"/>
                </a:lnTo>
                <a:lnTo>
                  <a:pt x="14208" y="974"/>
                </a:lnTo>
                <a:lnTo>
                  <a:pt x="14231" y="964"/>
                </a:lnTo>
                <a:lnTo>
                  <a:pt x="14256" y="957"/>
                </a:lnTo>
                <a:lnTo>
                  <a:pt x="14281" y="953"/>
                </a:lnTo>
                <a:lnTo>
                  <a:pt x="14306" y="952"/>
                </a:lnTo>
                <a:lnTo>
                  <a:pt x="14329" y="953"/>
                </a:lnTo>
                <a:lnTo>
                  <a:pt x="14349" y="956"/>
                </a:lnTo>
                <a:lnTo>
                  <a:pt x="14370" y="961"/>
                </a:lnTo>
                <a:lnTo>
                  <a:pt x="14388" y="967"/>
                </a:lnTo>
                <a:lnTo>
                  <a:pt x="14406" y="976"/>
                </a:lnTo>
                <a:lnTo>
                  <a:pt x="14422" y="986"/>
                </a:lnTo>
                <a:lnTo>
                  <a:pt x="14437" y="998"/>
                </a:lnTo>
                <a:lnTo>
                  <a:pt x="14450" y="1011"/>
                </a:lnTo>
                <a:lnTo>
                  <a:pt x="14462" y="1025"/>
                </a:lnTo>
                <a:lnTo>
                  <a:pt x="14472" y="1041"/>
                </a:lnTo>
                <a:lnTo>
                  <a:pt x="14482" y="1059"/>
                </a:lnTo>
                <a:lnTo>
                  <a:pt x="14488" y="1076"/>
                </a:lnTo>
                <a:lnTo>
                  <a:pt x="14495" y="1095"/>
                </a:lnTo>
                <a:lnTo>
                  <a:pt x="14498" y="1116"/>
                </a:lnTo>
                <a:lnTo>
                  <a:pt x="14501" y="1138"/>
                </a:lnTo>
                <a:lnTo>
                  <a:pt x="14503" y="1160"/>
                </a:lnTo>
                <a:lnTo>
                  <a:pt x="14503" y="1547"/>
                </a:lnTo>
                <a:lnTo>
                  <a:pt x="14362" y="1547"/>
                </a:lnTo>
                <a:close/>
                <a:moveTo>
                  <a:pt x="13660" y="876"/>
                </a:moveTo>
                <a:lnTo>
                  <a:pt x="13660" y="741"/>
                </a:lnTo>
                <a:lnTo>
                  <a:pt x="13791" y="741"/>
                </a:lnTo>
                <a:lnTo>
                  <a:pt x="13791" y="876"/>
                </a:lnTo>
                <a:lnTo>
                  <a:pt x="13660" y="876"/>
                </a:lnTo>
                <a:close/>
                <a:moveTo>
                  <a:pt x="13430" y="876"/>
                </a:moveTo>
                <a:lnTo>
                  <a:pt x="13430" y="741"/>
                </a:lnTo>
                <a:lnTo>
                  <a:pt x="13561" y="741"/>
                </a:lnTo>
                <a:lnTo>
                  <a:pt x="13561" y="876"/>
                </a:lnTo>
                <a:lnTo>
                  <a:pt x="13430" y="876"/>
                </a:lnTo>
                <a:close/>
                <a:moveTo>
                  <a:pt x="13704" y="1289"/>
                </a:moveTo>
                <a:lnTo>
                  <a:pt x="13556" y="1300"/>
                </a:lnTo>
                <a:lnTo>
                  <a:pt x="13541" y="1302"/>
                </a:lnTo>
                <a:lnTo>
                  <a:pt x="13526" y="1307"/>
                </a:lnTo>
                <a:lnTo>
                  <a:pt x="13512" y="1313"/>
                </a:lnTo>
                <a:lnTo>
                  <a:pt x="13499" y="1322"/>
                </a:lnTo>
                <a:lnTo>
                  <a:pt x="13488" y="1333"/>
                </a:lnTo>
                <a:lnTo>
                  <a:pt x="13480" y="1345"/>
                </a:lnTo>
                <a:lnTo>
                  <a:pt x="13475" y="1360"/>
                </a:lnTo>
                <a:lnTo>
                  <a:pt x="13472" y="1376"/>
                </a:lnTo>
                <a:lnTo>
                  <a:pt x="13475" y="1392"/>
                </a:lnTo>
                <a:lnTo>
                  <a:pt x="13479" y="1407"/>
                </a:lnTo>
                <a:lnTo>
                  <a:pt x="13488" y="1419"/>
                </a:lnTo>
                <a:lnTo>
                  <a:pt x="13497" y="1429"/>
                </a:lnTo>
                <a:lnTo>
                  <a:pt x="13509" y="1438"/>
                </a:lnTo>
                <a:lnTo>
                  <a:pt x="13524" y="1444"/>
                </a:lnTo>
                <a:lnTo>
                  <a:pt x="13539" y="1448"/>
                </a:lnTo>
                <a:lnTo>
                  <a:pt x="13555" y="1449"/>
                </a:lnTo>
                <a:lnTo>
                  <a:pt x="13587" y="1447"/>
                </a:lnTo>
                <a:lnTo>
                  <a:pt x="13601" y="1444"/>
                </a:lnTo>
                <a:lnTo>
                  <a:pt x="13615" y="1440"/>
                </a:lnTo>
                <a:lnTo>
                  <a:pt x="13640" y="1429"/>
                </a:lnTo>
                <a:lnTo>
                  <a:pt x="13652" y="1423"/>
                </a:lnTo>
                <a:lnTo>
                  <a:pt x="13662" y="1414"/>
                </a:lnTo>
                <a:lnTo>
                  <a:pt x="13680" y="1396"/>
                </a:lnTo>
                <a:lnTo>
                  <a:pt x="13687" y="1385"/>
                </a:lnTo>
                <a:lnTo>
                  <a:pt x="13693" y="1373"/>
                </a:lnTo>
                <a:lnTo>
                  <a:pt x="13697" y="1360"/>
                </a:lnTo>
                <a:lnTo>
                  <a:pt x="13701" y="1347"/>
                </a:lnTo>
                <a:lnTo>
                  <a:pt x="13703" y="1332"/>
                </a:lnTo>
                <a:lnTo>
                  <a:pt x="13704" y="1316"/>
                </a:lnTo>
                <a:lnTo>
                  <a:pt x="13704" y="1289"/>
                </a:lnTo>
                <a:close/>
                <a:moveTo>
                  <a:pt x="13820" y="1556"/>
                </a:moveTo>
                <a:lnTo>
                  <a:pt x="13800" y="1555"/>
                </a:lnTo>
                <a:lnTo>
                  <a:pt x="13780" y="1549"/>
                </a:lnTo>
                <a:lnTo>
                  <a:pt x="13765" y="1541"/>
                </a:lnTo>
                <a:lnTo>
                  <a:pt x="13751" y="1532"/>
                </a:lnTo>
                <a:lnTo>
                  <a:pt x="13740" y="1520"/>
                </a:lnTo>
                <a:lnTo>
                  <a:pt x="13731" y="1506"/>
                </a:lnTo>
                <a:lnTo>
                  <a:pt x="13726" y="1490"/>
                </a:lnTo>
                <a:lnTo>
                  <a:pt x="13722" y="1474"/>
                </a:lnTo>
                <a:lnTo>
                  <a:pt x="13710" y="1491"/>
                </a:lnTo>
                <a:lnTo>
                  <a:pt x="13695" y="1508"/>
                </a:lnTo>
                <a:lnTo>
                  <a:pt x="13677" y="1523"/>
                </a:lnTo>
                <a:lnTo>
                  <a:pt x="13655" y="1536"/>
                </a:lnTo>
                <a:lnTo>
                  <a:pt x="13631" y="1547"/>
                </a:lnTo>
                <a:lnTo>
                  <a:pt x="13605" y="1555"/>
                </a:lnTo>
                <a:lnTo>
                  <a:pt x="13577" y="1560"/>
                </a:lnTo>
                <a:lnTo>
                  <a:pt x="13546" y="1561"/>
                </a:lnTo>
                <a:lnTo>
                  <a:pt x="13521" y="1561"/>
                </a:lnTo>
                <a:lnTo>
                  <a:pt x="13497" y="1558"/>
                </a:lnTo>
                <a:lnTo>
                  <a:pt x="13476" y="1553"/>
                </a:lnTo>
                <a:lnTo>
                  <a:pt x="13455" y="1547"/>
                </a:lnTo>
                <a:lnTo>
                  <a:pt x="13437" y="1538"/>
                </a:lnTo>
                <a:lnTo>
                  <a:pt x="13419" y="1530"/>
                </a:lnTo>
                <a:lnTo>
                  <a:pt x="13403" y="1519"/>
                </a:lnTo>
                <a:lnTo>
                  <a:pt x="13390" y="1507"/>
                </a:lnTo>
                <a:lnTo>
                  <a:pt x="13377" y="1493"/>
                </a:lnTo>
                <a:lnTo>
                  <a:pt x="13366" y="1478"/>
                </a:lnTo>
                <a:lnTo>
                  <a:pt x="13357" y="1464"/>
                </a:lnTo>
                <a:lnTo>
                  <a:pt x="13350" y="1448"/>
                </a:lnTo>
                <a:lnTo>
                  <a:pt x="13344" y="1432"/>
                </a:lnTo>
                <a:lnTo>
                  <a:pt x="13340" y="1414"/>
                </a:lnTo>
                <a:lnTo>
                  <a:pt x="13337" y="1379"/>
                </a:lnTo>
                <a:lnTo>
                  <a:pt x="13338" y="1360"/>
                </a:lnTo>
                <a:lnTo>
                  <a:pt x="13340" y="1340"/>
                </a:lnTo>
                <a:lnTo>
                  <a:pt x="13345" y="1323"/>
                </a:lnTo>
                <a:lnTo>
                  <a:pt x="13352" y="1305"/>
                </a:lnTo>
                <a:lnTo>
                  <a:pt x="13359" y="1290"/>
                </a:lnTo>
                <a:lnTo>
                  <a:pt x="13369" y="1275"/>
                </a:lnTo>
                <a:lnTo>
                  <a:pt x="13381" y="1262"/>
                </a:lnTo>
                <a:lnTo>
                  <a:pt x="13393" y="1250"/>
                </a:lnTo>
                <a:lnTo>
                  <a:pt x="13423" y="1229"/>
                </a:lnTo>
                <a:lnTo>
                  <a:pt x="13439" y="1221"/>
                </a:lnTo>
                <a:lnTo>
                  <a:pt x="13455" y="1214"/>
                </a:lnTo>
                <a:lnTo>
                  <a:pt x="13493" y="1203"/>
                </a:lnTo>
                <a:lnTo>
                  <a:pt x="13533" y="1198"/>
                </a:lnTo>
                <a:lnTo>
                  <a:pt x="13704" y="1186"/>
                </a:lnTo>
                <a:lnTo>
                  <a:pt x="13704" y="1150"/>
                </a:lnTo>
                <a:lnTo>
                  <a:pt x="13703" y="1130"/>
                </a:lnTo>
                <a:lnTo>
                  <a:pt x="13700" y="1112"/>
                </a:lnTo>
                <a:lnTo>
                  <a:pt x="13693" y="1097"/>
                </a:lnTo>
                <a:lnTo>
                  <a:pt x="13684" y="1084"/>
                </a:lnTo>
                <a:lnTo>
                  <a:pt x="13678" y="1078"/>
                </a:lnTo>
                <a:lnTo>
                  <a:pt x="13671" y="1073"/>
                </a:lnTo>
                <a:lnTo>
                  <a:pt x="13654" y="1065"/>
                </a:lnTo>
                <a:lnTo>
                  <a:pt x="13632" y="1060"/>
                </a:lnTo>
                <a:lnTo>
                  <a:pt x="13605" y="1059"/>
                </a:lnTo>
                <a:lnTo>
                  <a:pt x="13582" y="1060"/>
                </a:lnTo>
                <a:lnTo>
                  <a:pt x="13562" y="1063"/>
                </a:lnTo>
                <a:lnTo>
                  <a:pt x="13544" y="1070"/>
                </a:lnTo>
                <a:lnTo>
                  <a:pt x="13529" y="1079"/>
                </a:lnTo>
                <a:lnTo>
                  <a:pt x="13517" y="1091"/>
                </a:lnTo>
                <a:lnTo>
                  <a:pt x="13508" y="1105"/>
                </a:lnTo>
                <a:lnTo>
                  <a:pt x="13502" y="1122"/>
                </a:lnTo>
                <a:lnTo>
                  <a:pt x="13500" y="1140"/>
                </a:lnTo>
                <a:lnTo>
                  <a:pt x="13365" y="1140"/>
                </a:lnTo>
                <a:lnTo>
                  <a:pt x="13367" y="1117"/>
                </a:lnTo>
                <a:lnTo>
                  <a:pt x="13371" y="1095"/>
                </a:lnTo>
                <a:lnTo>
                  <a:pt x="13378" y="1075"/>
                </a:lnTo>
                <a:lnTo>
                  <a:pt x="13387" y="1056"/>
                </a:lnTo>
                <a:lnTo>
                  <a:pt x="13398" y="1039"/>
                </a:lnTo>
                <a:lnTo>
                  <a:pt x="13409" y="1024"/>
                </a:lnTo>
                <a:lnTo>
                  <a:pt x="13424" y="1010"/>
                </a:lnTo>
                <a:lnTo>
                  <a:pt x="13439" y="998"/>
                </a:lnTo>
                <a:lnTo>
                  <a:pt x="13456" y="987"/>
                </a:lnTo>
                <a:lnTo>
                  <a:pt x="13475" y="977"/>
                </a:lnTo>
                <a:lnTo>
                  <a:pt x="13494" y="969"/>
                </a:lnTo>
                <a:lnTo>
                  <a:pt x="13514" y="963"/>
                </a:lnTo>
                <a:lnTo>
                  <a:pt x="13558" y="955"/>
                </a:lnTo>
                <a:lnTo>
                  <a:pt x="13605" y="952"/>
                </a:lnTo>
                <a:lnTo>
                  <a:pt x="13642" y="953"/>
                </a:lnTo>
                <a:lnTo>
                  <a:pt x="13677" y="958"/>
                </a:lnTo>
                <a:lnTo>
                  <a:pt x="13693" y="962"/>
                </a:lnTo>
                <a:lnTo>
                  <a:pt x="13709" y="966"/>
                </a:lnTo>
                <a:lnTo>
                  <a:pt x="13739" y="978"/>
                </a:lnTo>
                <a:lnTo>
                  <a:pt x="13753" y="986"/>
                </a:lnTo>
                <a:lnTo>
                  <a:pt x="13766" y="994"/>
                </a:lnTo>
                <a:lnTo>
                  <a:pt x="13778" y="1004"/>
                </a:lnTo>
                <a:lnTo>
                  <a:pt x="13789" y="1015"/>
                </a:lnTo>
                <a:lnTo>
                  <a:pt x="13798" y="1027"/>
                </a:lnTo>
                <a:lnTo>
                  <a:pt x="13808" y="1040"/>
                </a:lnTo>
                <a:lnTo>
                  <a:pt x="13822" y="1070"/>
                </a:lnTo>
                <a:lnTo>
                  <a:pt x="13831" y="1099"/>
                </a:lnTo>
                <a:lnTo>
                  <a:pt x="13836" y="1128"/>
                </a:lnTo>
                <a:lnTo>
                  <a:pt x="13840" y="1188"/>
                </a:lnTo>
                <a:lnTo>
                  <a:pt x="13840" y="1403"/>
                </a:lnTo>
                <a:lnTo>
                  <a:pt x="13841" y="1420"/>
                </a:lnTo>
                <a:lnTo>
                  <a:pt x="13847" y="1432"/>
                </a:lnTo>
                <a:lnTo>
                  <a:pt x="13852" y="1435"/>
                </a:lnTo>
                <a:lnTo>
                  <a:pt x="13857" y="1438"/>
                </a:lnTo>
                <a:lnTo>
                  <a:pt x="13872" y="1440"/>
                </a:lnTo>
                <a:lnTo>
                  <a:pt x="13890" y="1438"/>
                </a:lnTo>
                <a:lnTo>
                  <a:pt x="13890" y="1540"/>
                </a:lnTo>
                <a:lnTo>
                  <a:pt x="13859" y="1552"/>
                </a:lnTo>
                <a:lnTo>
                  <a:pt x="13842" y="1555"/>
                </a:lnTo>
                <a:lnTo>
                  <a:pt x="13820" y="1556"/>
                </a:lnTo>
                <a:close/>
                <a:moveTo>
                  <a:pt x="13081" y="1547"/>
                </a:moveTo>
                <a:lnTo>
                  <a:pt x="13081" y="1187"/>
                </a:lnTo>
                <a:lnTo>
                  <a:pt x="13080" y="1161"/>
                </a:lnTo>
                <a:lnTo>
                  <a:pt x="13077" y="1139"/>
                </a:lnTo>
                <a:lnTo>
                  <a:pt x="13072" y="1119"/>
                </a:lnTo>
                <a:lnTo>
                  <a:pt x="13063" y="1103"/>
                </a:lnTo>
                <a:lnTo>
                  <a:pt x="13051" y="1090"/>
                </a:lnTo>
                <a:lnTo>
                  <a:pt x="13036" y="1081"/>
                </a:lnTo>
                <a:lnTo>
                  <a:pt x="13016" y="1076"/>
                </a:lnTo>
                <a:lnTo>
                  <a:pt x="12992" y="1074"/>
                </a:lnTo>
                <a:lnTo>
                  <a:pt x="12978" y="1075"/>
                </a:lnTo>
                <a:lnTo>
                  <a:pt x="12965" y="1077"/>
                </a:lnTo>
                <a:lnTo>
                  <a:pt x="12952" y="1081"/>
                </a:lnTo>
                <a:lnTo>
                  <a:pt x="12941" y="1088"/>
                </a:lnTo>
                <a:lnTo>
                  <a:pt x="12930" y="1095"/>
                </a:lnTo>
                <a:lnTo>
                  <a:pt x="12922" y="1104"/>
                </a:lnTo>
                <a:lnTo>
                  <a:pt x="12905" y="1125"/>
                </a:lnTo>
                <a:lnTo>
                  <a:pt x="12893" y="1149"/>
                </a:lnTo>
                <a:lnTo>
                  <a:pt x="12885" y="1175"/>
                </a:lnTo>
                <a:lnTo>
                  <a:pt x="12880" y="1202"/>
                </a:lnTo>
                <a:lnTo>
                  <a:pt x="12878" y="1230"/>
                </a:lnTo>
                <a:lnTo>
                  <a:pt x="12878" y="1547"/>
                </a:lnTo>
                <a:lnTo>
                  <a:pt x="12740" y="1547"/>
                </a:lnTo>
                <a:lnTo>
                  <a:pt x="12740" y="1187"/>
                </a:lnTo>
                <a:lnTo>
                  <a:pt x="12739" y="1161"/>
                </a:lnTo>
                <a:lnTo>
                  <a:pt x="12736" y="1139"/>
                </a:lnTo>
                <a:lnTo>
                  <a:pt x="12730" y="1119"/>
                </a:lnTo>
                <a:lnTo>
                  <a:pt x="12722" y="1103"/>
                </a:lnTo>
                <a:lnTo>
                  <a:pt x="12710" y="1090"/>
                </a:lnTo>
                <a:lnTo>
                  <a:pt x="12695" y="1081"/>
                </a:lnTo>
                <a:lnTo>
                  <a:pt x="12675" y="1076"/>
                </a:lnTo>
                <a:lnTo>
                  <a:pt x="12651" y="1074"/>
                </a:lnTo>
                <a:lnTo>
                  <a:pt x="12637" y="1075"/>
                </a:lnTo>
                <a:lnTo>
                  <a:pt x="12623" y="1077"/>
                </a:lnTo>
                <a:lnTo>
                  <a:pt x="12611" y="1081"/>
                </a:lnTo>
                <a:lnTo>
                  <a:pt x="12600" y="1088"/>
                </a:lnTo>
                <a:lnTo>
                  <a:pt x="12589" y="1095"/>
                </a:lnTo>
                <a:lnTo>
                  <a:pt x="12579" y="1104"/>
                </a:lnTo>
                <a:lnTo>
                  <a:pt x="12564" y="1125"/>
                </a:lnTo>
                <a:lnTo>
                  <a:pt x="12551" y="1149"/>
                </a:lnTo>
                <a:lnTo>
                  <a:pt x="12542" y="1175"/>
                </a:lnTo>
                <a:lnTo>
                  <a:pt x="12538" y="1202"/>
                </a:lnTo>
                <a:lnTo>
                  <a:pt x="12536" y="1230"/>
                </a:lnTo>
                <a:lnTo>
                  <a:pt x="12536" y="1547"/>
                </a:lnTo>
                <a:lnTo>
                  <a:pt x="12398" y="1547"/>
                </a:lnTo>
                <a:lnTo>
                  <a:pt x="12398" y="966"/>
                </a:lnTo>
                <a:lnTo>
                  <a:pt x="12514" y="966"/>
                </a:lnTo>
                <a:lnTo>
                  <a:pt x="12525" y="1043"/>
                </a:lnTo>
                <a:lnTo>
                  <a:pt x="12538" y="1024"/>
                </a:lnTo>
                <a:lnTo>
                  <a:pt x="12553" y="1006"/>
                </a:lnTo>
                <a:lnTo>
                  <a:pt x="12571" y="991"/>
                </a:lnTo>
                <a:lnTo>
                  <a:pt x="12590" y="978"/>
                </a:lnTo>
                <a:lnTo>
                  <a:pt x="12612" y="967"/>
                </a:lnTo>
                <a:lnTo>
                  <a:pt x="12636" y="958"/>
                </a:lnTo>
                <a:lnTo>
                  <a:pt x="12662" y="954"/>
                </a:lnTo>
                <a:lnTo>
                  <a:pt x="12690" y="952"/>
                </a:lnTo>
                <a:lnTo>
                  <a:pt x="12719" y="954"/>
                </a:lnTo>
                <a:lnTo>
                  <a:pt x="12747" y="958"/>
                </a:lnTo>
                <a:lnTo>
                  <a:pt x="12771" y="966"/>
                </a:lnTo>
                <a:lnTo>
                  <a:pt x="12792" y="977"/>
                </a:lnTo>
                <a:lnTo>
                  <a:pt x="12812" y="991"/>
                </a:lnTo>
                <a:lnTo>
                  <a:pt x="12829" y="1007"/>
                </a:lnTo>
                <a:lnTo>
                  <a:pt x="12844" y="1026"/>
                </a:lnTo>
                <a:lnTo>
                  <a:pt x="12856" y="1047"/>
                </a:lnTo>
                <a:lnTo>
                  <a:pt x="12871" y="1026"/>
                </a:lnTo>
                <a:lnTo>
                  <a:pt x="12887" y="1006"/>
                </a:lnTo>
                <a:lnTo>
                  <a:pt x="12906" y="990"/>
                </a:lnTo>
                <a:lnTo>
                  <a:pt x="12916" y="983"/>
                </a:lnTo>
                <a:lnTo>
                  <a:pt x="12927" y="977"/>
                </a:lnTo>
                <a:lnTo>
                  <a:pt x="12951" y="966"/>
                </a:lnTo>
                <a:lnTo>
                  <a:pt x="12976" y="958"/>
                </a:lnTo>
                <a:lnTo>
                  <a:pt x="13003" y="953"/>
                </a:lnTo>
                <a:lnTo>
                  <a:pt x="13031" y="952"/>
                </a:lnTo>
                <a:lnTo>
                  <a:pt x="13054" y="953"/>
                </a:lnTo>
                <a:lnTo>
                  <a:pt x="13075" y="955"/>
                </a:lnTo>
                <a:lnTo>
                  <a:pt x="13094" y="961"/>
                </a:lnTo>
                <a:lnTo>
                  <a:pt x="13113" y="967"/>
                </a:lnTo>
                <a:lnTo>
                  <a:pt x="13130" y="975"/>
                </a:lnTo>
                <a:lnTo>
                  <a:pt x="13145" y="985"/>
                </a:lnTo>
                <a:lnTo>
                  <a:pt x="13160" y="995"/>
                </a:lnTo>
                <a:lnTo>
                  <a:pt x="13172" y="1008"/>
                </a:lnTo>
                <a:lnTo>
                  <a:pt x="13183" y="1023"/>
                </a:lnTo>
                <a:lnTo>
                  <a:pt x="13193" y="1038"/>
                </a:lnTo>
                <a:lnTo>
                  <a:pt x="13207" y="1073"/>
                </a:lnTo>
                <a:lnTo>
                  <a:pt x="13213" y="1091"/>
                </a:lnTo>
                <a:lnTo>
                  <a:pt x="13215" y="1102"/>
                </a:lnTo>
                <a:lnTo>
                  <a:pt x="13217" y="1112"/>
                </a:lnTo>
                <a:lnTo>
                  <a:pt x="13219" y="1132"/>
                </a:lnTo>
                <a:lnTo>
                  <a:pt x="13219" y="1155"/>
                </a:lnTo>
                <a:lnTo>
                  <a:pt x="13219" y="1547"/>
                </a:lnTo>
                <a:lnTo>
                  <a:pt x="13081" y="1547"/>
                </a:lnTo>
                <a:close/>
                <a:moveTo>
                  <a:pt x="12050" y="876"/>
                </a:moveTo>
                <a:lnTo>
                  <a:pt x="12050" y="741"/>
                </a:lnTo>
                <a:lnTo>
                  <a:pt x="12181" y="741"/>
                </a:lnTo>
                <a:lnTo>
                  <a:pt x="12181" y="876"/>
                </a:lnTo>
                <a:lnTo>
                  <a:pt x="12050" y="876"/>
                </a:lnTo>
                <a:close/>
                <a:moveTo>
                  <a:pt x="11820" y="876"/>
                </a:moveTo>
                <a:lnTo>
                  <a:pt x="11820" y="741"/>
                </a:lnTo>
                <a:lnTo>
                  <a:pt x="11950" y="741"/>
                </a:lnTo>
                <a:lnTo>
                  <a:pt x="11950" y="876"/>
                </a:lnTo>
                <a:lnTo>
                  <a:pt x="11820" y="876"/>
                </a:lnTo>
                <a:close/>
                <a:moveTo>
                  <a:pt x="12094" y="1289"/>
                </a:moveTo>
                <a:lnTo>
                  <a:pt x="11946" y="1300"/>
                </a:lnTo>
                <a:lnTo>
                  <a:pt x="11931" y="1302"/>
                </a:lnTo>
                <a:lnTo>
                  <a:pt x="11915" y="1307"/>
                </a:lnTo>
                <a:lnTo>
                  <a:pt x="11901" y="1313"/>
                </a:lnTo>
                <a:lnTo>
                  <a:pt x="11888" y="1322"/>
                </a:lnTo>
                <a:lnTo>
                  <a:pt x="11877" y="1333"/>
                </a:lnTo>
                <a:lnTo>
                  <a:pt x="11870" y="1345"/>
                </a:lnTo>
                <a:lnTo>
                  <a:pt x="11864" y="1360"/>
                </a:lnTo>
                <a:lnTo>
                  <a:pt x="11862" y="1376"/>
                </a:lnTo>
                <a:lnTo>
                  <a:pt x="11864" y="1392"/>
                </a:lnTo>
                <a:lnTo>
                  <a:pt x="11869" y="1407"/>
                </a:lnTo>
                <a:lnTo>
                  <a:pt x="11877" y="1419"/>
                </a:lnTo>
                <a:lnTo>
                  <a:pt x="11887" y="1429"/>
                </a:lnTo>
                <a:lnTo>
                  <a:pt x="11900" y="1438"/>
                </a:lnTo>
                <a:lnTo>
                  <a:pt x="11913" y="1444"/>
                </a:lnTo>
                <a:lnTo>
                  <a:pt x="11928" y="1448"/>
                </a:lnTo>
                <a:lnTo>
                  <a:pt x="11945" y="1449"/>
                </a:lnTo>
                <a:lnTo>
                  <a:pt x="11976" y="1447"/>
                </a:lnTo>
                <a:lnTo>
                  <a:pt x="11990" y="1444"/>
                </a:lnTo>
                <a:lnTo>
                  <a:pt x="12005" y="1440"/>
                </a:lnTo>
                <a:lnTo>
                  <a:pt x="12031" y="1429"/>
                </a:lnTo>
                <a:lnTo>
                  <a:pt x="12041" y="1423"/>
                </a:lnTo>
                <a:lnTo>
                  <a:pt x="12051" y="1414"/>
                </a:lnTo>
                <a:lnTo>
                  <a:pt x="12070" y="1396"/>
                </a:lnTo>
                <a:lnTo>
                  <a:pt x="12076" y="1385"/>
                </a:lnTo>
                <a:lnTo>
                  <a:pt x="12083" y="1373"/>
                </a:lnTo>
                <a:lnTo>
                  <a:pt x="12087" y="1360"/>
                </a:lnTo>
                <a:lnTo>
                  <a:pt x="12090" y="1347"/>
                </a:lnTo>
                <a:lnTo>
                  <a:pt x="12093" y="1332"/>
                </a:lnTo>
                <a:lnTo>
                  <a:pt x="12094" y="1316"/>
                </a:lnTo>
                <a:lnTo>
                  <a:pt x="12094" y="1289"/>
                </a:lnTo>
                <a:close/>
                <a:moveTo>
                  <a:pt x="12210" y="1556"/>
                </a:moveTo>
                <a:lnTo>
                  <a:pt x="12189" y="1555"/>
                </a:lnTo>
                <a:lnTo>
                  <a:pt x="12171" y="1549"/>
                </a:lnTo>
                <a:lnTo>
                  <a:pt x="12154" y="1541"/>
                </a:lnTo>
                <a:lnTo>
                  <a:pt x="12140" y="1532"/>
                </a:lnTo>
                <a:lnTo>
                  <a:pt x="12129" y="1520"/>
                </a:lnTo>
                <a:lnTo>
                  <a:pt x="12121" y="1506"/>
                </a:lnTo>
                <a:lnTo>
                  <a:pt x="12115" y="1490"/>
                </a:lnTo>
                <a:lnTo>
                  <a:pt x="12112" y="1474"/>
                </a:lnTo>
                <a:lnTo>
                  <a:pt x="12100" y="1491"/>
                </a:lnTo>
                <a:lnTo>
                  <a:pt x="12085" y="1508"/>
                </a:lnTo>
                <a:lnTo>
                  <a:pt x="12066" y="1523"/>
                </a:lnTo>
                <a:lnTo>
                  <a:pt x="12045" y="1536"/>
                </a:lnTo>
                <a:lnTo>
                  <a:pt x="12021" y="1547"/>
                </a:lnTo>
                <a:lnTo>
                  <a:pt x="11995" y="1555"/>
                </a:lnTo>
                <a:lnTo>
                  <a:pt x="11966" y="1560"/>
                </a:lnTo>
                <a:lnTo>
                  <a:pt x="11936" y="1561"/>
                </a:lnTo>
                <a:lnTo>
                  <a:pt x="11911" y="1561"/>
                </a:lnTo>
                <a:lnTo>
                  <a:pt x="11887" y="1558"/>
                </a:lnTo>
                <a:lnTo>
                  <a:pt x="11865" y="1553"/>
                </a:lnTo>
                <a:lnTo>
                  <a:pt x="11845" y="1547"/>
                </a:lnTo>
                <a:lnTo>
                  <a:pt x="11826" y="1538"/>
                </a:lnTo>
                <a:lnTo>
                  <a:pt x="11809" y="1530"/>
                </a:lnTo>
                <a:lnTo>
                  <a:pt x="11794" y="1519"/>
                </a:lnTo>
                <a:lnTo>
                  <a:pt x="11780" y="1507"/>
                </a:lnTo>
                <a:lnTo>
                  <a:pt x="11767" y="1493"/>
                </a:lnTo>
                <a:lnTo>
                  <a:pt x="11756" y="1478"/>
                </a:lnTo>
                <a:lnTo>
                  <a:pt x="11747" y="1464"/>
                </a:lnTo>
                <a:lnTo>
                  <a:pt x="11739" y="1448"/>
                </a:lnTo>
                <a:lnTo>
                  <a:pt x="11734" y="1432"/>
                </a:lnTo>
                <a:lnTo>
                  <a:pt x="11730" y="1414"/>
                </a:lnTo>
                <a:lnTo>
                  <a:pt x="11726" y="1379"/>
                </a:lnTo>
                <a:lnTo>
                  <a:pt x="11727" y="1360"/>
                </a:lnTo>
                <a:lnTo>
                  <a:pt x="11731" y="1340"/>
                </a:lnTo>
                <a:lnTo>
                  <a:pt x="11735" y="1323"/>
                </a:lnTo>
                <a:lnTo>
                  <a:pt x="11742" y="1305"/>
                </a:lnTo>
                <a:lnTo>
                  <a:pt x="11749" y="1290"/>
                </a:lnTo>
                <a:lnTo>
                  <a:pt x="11759" y="1275"/>
                </a:lnTo>
                <a:lnTo>
                  <a:pt x="11771" y="1262"/>
                </a:lnTo>
                <a:lnTo>
                  <a:pt x="11783" y="1250"/>
                </a:lnTo>
                <a:lnTo>
                  <a:pt x="11812" y="1229"/>
                </a:lnTo>
                <a:lnTo>
                  <a:pt x="11828" y="1221"/>
                </a:lnTo>
                <a:lnTo>
                  <a:pt x="11846" y="1214"/>
                </a:lnTo>
                <a:lnTo>
                  <a:pt x="11883" y="1203"/>
                </a:lnTo>
                <a:lnTo>
                  <a:pt x="11923" y="1198"/>
                </a:lnTo>
                <a:lnTo>
                  <a:pt x="12094" y="1186"/>
                </a:lnTo>
                <a:lnTo>
                  <a:pt x="12094" y="1150"/>
                </a:lnTo>
                <a:lnTo>
                  <a:pt x="12093" y="1130"/>
                </a:lnTo>
                <a:lnTo>
                  <a:pt x="12089" y="1112"/>
                </a:lnTo>
                <a:lnTo>
                  <a:pt x="12083" y="1097"/>
                </a:lnTo>
                <a:lnTo>
                  <a:pt x="12074" y="1084"/>
                </a:lnTo>
                <a:lnTo>
                  <a:pt x="12068" y="1078"/>
                </a:lnTo>
                <a:lnTo>
                  <a:pt x="12061" y="1073"/>
                </a:lnTo>
                <a:lnTo>
                  <a:pt x="12044" y="1065"/>
                </a:lnTo>
                <a:lnTo>
                  <a:pt x="12022" y="1060"/>
                </a:lnTo>
                <a:lnTo>
                  <a:pt x="11995" y="1059"/>
                </a:lnTo>
                <a:lnTo>
                  <a:pt x="11972" y="1060"/>
                </a:lnTo>
                <a:lnTo>
                  <a:pt x="11951" y="1063"/>
                </a:lnTo>
                <a:lnTo>
                  <a:pt x="11934" y="1070"/>
                </a:lnTo>
                <a:lnTo>
                  <a:pt x="11919" y="1079"/>
                </a:lnTo>
                <a:lnTo>
                  <a:pt x="11907" y="1091"/>
                </a:lnTo>
                <a:lnTo>
                  <a:pt x="11898" y="1105"/>
                </a:lnTo>
                <a:lnTo>
                  <a:pt x="11892" y="1122"/>
                </a:lnTo>
                <a:lnTo>
                  <a:pt x="11889" y="1140"/>
                </a:lnTo>
                <a:lnTo>
                  <a:pt x="11755" y="1140"/>
                </a:lnTo>
                <a:lnTo>
                  <a:pt x="11757" y="1117"/>
                </a:lnTo>
                <a:lnTo>
                  <a:pt x="11761" y="1095"/>
                </a:lnTo>
                <a:lnTo>
                  <a:pt x="11769" y="1075"/>
                </a:lnTo>
                <a:lnTo>
                  <a:pt x="11777" y="1056"/>
                </a:lnTo>
                <a:lnTo>
                  <a:pt x="11787" y="1039"/>
                </a:lnTo>
                <a:lnTo>
                  <a:pt x="11800" y="1024"/>
                </a:lnTo>
                <a:lnTo>
                  <a:pt x="11813" y="1010"/>
                </a:lnTo>
                <a:lnTo>
                  <a:pt x="11830" y="998"/>
                </a:lnTo>
                <a:lnTo>
                  <a:pt x="11846" y="987"/>
                </a:lnTo>
                <a:lnTo>
                  <a:pt x="11864" y="977"/>
                </a:lnTo>
                <a:lnTo>
                  <a:pt x="11884" y="969"/>
                </a:lnTo>
                <a:lnTo>
                  <a:pt x="11903" y="963"/>
                </a:lnTo>
                <a:lnTo>
                  <a:pt x="11948" y="955"/>
                </a:lnTo>
                <a:lnTo>
                  <a:pt x="11995" y="952"/>
                </a:lnTo>
                <a:lnTo>
                  <a:pt x="12032" y="953"/>
                </a:lnTo>
                <a:lnTo>
                  <a:pt x="12066" y="958"/>
                </a:lnTo>
                <a:lnTo>
                  <a:pt x="12083" y="962"/>
                </a:lnTo>
                <a:lnTo>
                  <a:pt x="12099" y="966"/>
                </a:lnTo>
                <a:lnTo>
                  <a:pt x="12128" y="978"/>
                </a:lnTo>
                <a:lnTo>
                  <a:pt x="12143" y="986"/>
                </a:lnTo>
                <a:lnTo>
                  <a:pt x="12156" y="994"/>
                </a:lnTo>
                <a:lnTo>
                  <a:pt x="12168" y="1004"/>
                </a:lnTo>
                <a:lnTo>
                  <a:pt x="12178" y="1015"/>
                </a:lnTo>
                <a:lnTo>
                  <a:pt x="12188" y="1027"/>
                </a:lnTo>
                <a:lnTo>
                  <a:pt x="12198" y="1040"/>
                </a:lnTo>
                <a:lnTo>
                  <a:pt x="12213" y="1070"/>
                </a:lnTo>
                <a:lnTo>
                  <a:pt x="12222" y="1099"/>
                </a:lnTo>
                <a:lnTo>
                  <a:pt x="12226" y="1128"/>
                </a:lnTo>
                <a:lnTo>
                  <a:pt x="12229" y="1188"/>
                </a:lnTo>
                <a:lnTo>
                  <a:pt x="12229" y="1403"/>
                </a:lnTo>
                <a:lnTo>
                  <a:pt x="12232" y="1420"/>
                </a:lnTo>
                <a:lnTo>
                  <a:pt x="12237" y="1432"/>
                </a:lnTo>
                <a:lnTo>
                  <a:pt x="12241" y="1435"/>
                </a:lnTo>
                <a:lnTo>
                  <a:pt x="12247" y="1438"/>
                </a:lnTo>
                <a:lnTo>
                  <a:pt x="12262" y="1440"/>
                </a:lnTo>
                <a:lnTo>
                  <a:pt x="12279" y="1438"/>
                </a:lnTo>
                <a:lnTo>
                  <a:pt x="12279" y="1540"/>
                </a:lnTo>
                <a:lnTo>
                  <a:pt x="12249" y="1552"/>
                </a:lnTo>
                <a:lnTo>
                  <a:pt x="12232" y="1555"/>
                </a:lnTo>
                <a:lnTo>
                  <a:pt x="12210" y="1556"/>
                </a:lnTo>
                <a:close/>
                <a:moveTo>
                  <a:pt x="11596" y="1553"/>
                </a:moveTo>
                <a:lnTo>
                  <a:pt x="11562" y="1551"/>
                </a:lnTo>
                <a:lnTo>
                  <a:pt x="11546" y="1549"/>
                </a:lnTo>
                <a:lnTo>
                  <a:pt x="11531" y="1545"/>
                </a:lnTo>
                <a:lnTo>
                  <a:pt x="11517" y="1539"/>
                </a:lnTo>
                <a:lnTo>
                  <a:pt x="11504" y="1534"/>
                </a:lnTo>
                <a:lnTo>
                  <a:pt x="11492" y="1526"/>
                </a:lnTo>
                <a:lnTo>
                  <a:pt x="11481" y="1518"/>
                </a:lnTo>
                <a:lnTo>
                  <a:pt x="11471" y="1507"/>
                </a:lnTo>
                <a:lnTo>
                  <a:pt x="11462" y="1496"/>
                </a:lnTo>
                <a:lnTo>
                  <a:pt x="11455" y="1483"/>
                </a:lnTo>
                <a:lnTo>
                  <a:pt x="11449" y="1469"/>
                </a:lnTo>
                <a:lnTo>
                  <a:pt x="11441" y="1436"/>
                </a:lnTo>
                <a:lnTo>
                  <a:pt x="11438" y="1417"/>
                </a:lnTo>
                <a:lnTo>
                  <a:pt x="11437" y="1398"/>
                </a:lnTo>
                <a:lnTo>
                  <a:pt x="11437" y="740"/>
                </a:lnTo>
                <a:lnTo>
                  <a:pt x="11577" y="740"/>
                </a:lnTo>
                <a:lnTo>
                  <a:pt x="11577" y="1374"/>
                </a:lnTo>
                <a:lnTo>
                  <a:pt x="11579" y="1386"/>
                </a:lnTo>
                <a:lnTo>
                  <a:pt x="11580" y="1397"/>
                </a:lnTo>
                <a:lnTo>
                  <a:pt x="11583" y="1407"/>
                </a:lnTo>
                <a:lnTo>
                  <a:pt x="11588" y="1414"/>
                </a:lnTo>
                <a:lnTo>
                  <a:pt x="11595" y="1421"/>
                </a:lnTo>
                <a:lnTo>
                  <a:pt x="11605" y="1426"/>
                </a:lnTo>
                <a:lnTo>
                  <a:pt x="11618" y="1428"/>
                </a:lnTo>
                <a:lnTo>
                  <a:pt x="11634" y="1429"/>
                </a:lnTo>
                <a:lnTo>
                  <a:pt x="11657" y="1428"/>
                </a:lnTo>
                <a:lnTo>
                  <a:pt x="11657" y="1546"/>
                </a:lnTo>
                <a:lnTo>
                  <a:pt x="11626" y="1552"/>
                </a:lnTo>
                <a:lnTo>
                  <a:pt x="11596" y="1553"/>
                </a:lnTo>
                <a:close/>
                <a:moveTo>
                  <a:pt x="11139" y="1097"/>
                </a:moveTo>
                <a:lnTo>
                  <a:pt x="11131" y="1090"/>
                </a:lnTo>
                <a:lnTo>
                  <a:pt x="11122" y="1084"/>
                </a:lnTo>
                <a:lnTo>
                  <a:pt x="11103" y="1073"/>
                </a:lnTo>
                <a:lnTo>
                  <a:pt x="11091" y="1069"/>
                </a:lnTo>
                <a:lnTo>
                  <a:pt x="11079" y="1066"/>
                </a:lnTo>
                <a:lnTo>
                  <a:pt x="11051" y="1064"/>
                </a:lnTo>
                <a:lnTo>
                  <a:pt x="11020" y="1067"/>
                </a:lnTo>
                <a:lnTo>
                  <a:pt x="10994" y="1076"/>
                </a:lnTo>
                <a:lnTo>
                  <a:pt x="10971" y="1090"/>
                </a:lnTo>
                <a:lnTo>
                  <a:pt x="10961" y="1099"/>
                </a:lnTo>
                <a:lnTo>
                  <a:pt x="10954" y="1109"/>
                </a:lnTo>
                <a:lnTo>
                  <a:pt x="10941" y="1128"/>
                </a:lnTo>
                <a:lnTo>
                  <a:pt x="10931" y="1149"/>
                </a:lnTo>
                <a:lnTo>
                  <a:pt x="10926" y="1172"/>
                </a:lnTo>
                <a:lnTo>
                  <a:pt x="10923" y="1199"/>
                </a:lnTo>
                <a:lnTo>
                  <a:pt x="11174" y="1199"/>
                </a:lnTo>
                <a:lnTo>
                  <a:pt x="11173" y="1183"/>
                </a:lnTo>
                <a:lnTo>
                  <a:pt x="11171" y="1168"/>
                </a:lnTo>
                <a:lnTo>
                  <a:pt x="11165" y="1141"/>
                </a:lnTo>
                <a:lnTo>
                  <a:pt x="11154" y="1117"/>
                </a:lnTo>
                <a:lnTo>
                  <a:pt x="11146" y="1106"/>
                </a:lnTo>
                <a:lnTo>
                  <a:pt x="11139" y="1097"/>
                </a:lnTo>
                <a:close/>
                <a:moveTo>
                  <a:pt x="11312" y="1300"/>
                </a:moveTo>
                <a:lnTo>
                  <a:pt x="10924" y="1300"/>
                </a:lnTo>
                <a:lnTo>
                  <a:pt x="10924" y="1317"/>
                </a:lnTo>
                <a:lnTo>
                  <a:pt x="10927" y="1333"/>
                </a:lnTo>
                <a:lnTo>
                  <a:pt x="10935" y="1364"/>
                </a:lnTo>
                <a:lnTo>
                  <a:pt x="10941" y="1378"/>
                </a:lnTo>
                <a:lnTo>
                  <a:pt x="10948" y="1391"/>
                </a:lnTo>
                <a:lnTo>
                  <a:pt x="10957" y="1403"/>
                </a:lnTo>
                <a:lnTo>
                  <a:pt x="10967" y="1414"/>
                </a:lnTo>
                <a:lnTo>
                  <a:pt x="10983" y="1427"/>
                </a:lnTo>
                <a:lnTo>
                  <a:pt x="11003" y="1439"/>
                </a:lnTo>
                <a:lnTo>
                  <a:pt x="11027" y="1447"/>
                </a:lnTo>
                <a:lnTo>
                  <a:pt x="11053" y="1450"/>
                </a:lnTo>
                <a:lnTo>
                  <a:pt x="11080" y="1448"/>
                </a:lnTo>
                <a:lnTo>
                  <a:pt x="11103" y="1444"/>
                </a:lnTo>
                <a:lnTo>
                  <a:pt x="11121" y="1435"/>
                </a:lnTo>
                <a:lnTo>
                  <a:pt x="11137" y="1422"/>
                </a:lnTo>
                <a:lnTo>
                  <a:pt x="11146" y="1412"/>
                </a:lnTo>
                <a:lnTo>
                  <a:pt x="11154" y="1401"/>
                </a:lnTo>
                <a:lnTo>
                  <a:pt x="11160" y="1388"/>
                </a:lnTo>
                <a:lnTo>
                  <a:pt x="11166" y="1373"/>
                </a:lnTo>
                <a:lnTo>
                  <a:pt x="11299" y="1373"/>
                </a:lnTo>
                <a:lnTo>
                  <a:pt x="11293" y="1400"/>
                </a:lnTo>
                <a:lnTo>
                  <a:pt x="11288" y="1415"/>
                </a:lnTo>
                <a:lnTo>
                  <a:pt x="11282" y="1429"/>
                </a:lnTo>
                <a:lnTo>
                  <a:pt x="11267" y="1457"/>
                </a:lnTo>
                <a:lnTo>
                  <a:pt x="11250" y="1481"/>
                </a:lnTo>
                <a:lnTo>
                  <a:pt x="11231" y="1500"/>
                </a:lnTo>
                <a:lnTo>
                  <a:pt x="11209" y="1518"/>
                </a:lnTo>
                <a:lnTo>
                  <a:pt x="11186" y="1532"/>
                </a:lnTo>
                <a:lnTo>
                  <a:pt x="11161" y="1543"/>
                </a:lnTo>
                <a:lnTo>
                  <a:pt x="11136" y="1551"/>
                </a:lnTo>
                <a:lnTo>
                  <a:pt x="11109" y="1557"/>
                </a:lnTo>
                <a:lnTo>
                  <a:pt x="11082" y="1560"/>
                </a:lnTo>
                <a:lnTo>
                  <a:pt x="11055" y="1561"/>
                </a:lnTo>
                <a:lnTo>
                  <a:pt x="11027" y="1560"/>
                </a:lnTo>
                <a:lnTo>
                  <a:pt x="10999" y="1557"/>
                </a:lnTo>
                <a:lnTo>
                  <a:pt x="10986" y="1553"/>
                </a:lnTo>
                <a:lnTo>
                  <a:pt x="10974" y="1550"/>
                </a:lnTo>
                <a:lnTo>
                  <a:pt x="10951" y="1543"/>
                </a:lnTo>
                <a:lnTo>
                  <a:pt x="10929" y="1532"/>
                </a:lnTo>
                <a:lnTo>
                  <a:pt x="10909" y="1520"/>
                </a:lnTo>
                <a:lnTo>
                  <a:pt x="10890" y="1506"/>
                </a:lnTo>
                <a:lnTo>
                  <a:pt x="10872" y="1490"/>
                </a:lnTo>
                <a:lnTo>
                  <a:pt x="10852" y="1468"/>
                </a:lnTo>
                <a:lnTo>
                  <a:pt x="10833" y="1444"/>
                </a:lnTo>
                <a:lnTo>
                  <a:pt x="10818" y="1417"/>
                </a:lnTo>
                <a:lnTo>
                  <a:pt x="10806" y="1388"/>
                </a:lnTo>
                <a:lnTo>
                  <a:pt x="10801" y="1374"/>
                </a:lnTo>
                <a:lnTo>
                  <a:pt x="10796" y="1359"/>
                </a:lnTo>
                <a:lnTo>
                  <a:pt x="10789" y="1326"/>
                </a:lnTo>
                <a:lnTo>
                  <a:pt x="10784" y="1292"/>
                </a:lnTo>
                <a:lnTo>
                  <a:pt x="10783" y="1258"/>
                </a:lnTo>
                <a:lnTo>
                  <a:pt x="10784" y="1224"/>
                </a:lnTo>
                <a:lnTo>
                  <a:pt x="10788" y="1190"/>
                </a:lnTo>
                <a:lnTo>
                  <a:pt x="10794" y="1159"/>
                </a:lnTo>
                <a:lnTo>
                  <a:pt x="10804" y="1128"/>
                </a:lnTo>
                <a:lnTo>
                  <a:pt x="10816" y="1100"/>
                </a:lnTo>
                <a:lnTo>
                  <a:pt x="10830" y="1073"/>
                </a:lnTo>
                <a:lnTo>
                  <a:pt x="10847" y="1048"/>
                </a:lnTo>
                <a:lnTo>
                  <a:pt x="10867" y="1026"/>
                </a:lnTo>
                <a:lnTo>
                  <a:pt x="10883" y="1010"/>
                </a:lnTo>
                <a:lnTo>
                  <a:pt x="10903" y="995"/>
                </a:lnTo>
                <a:lnTo>
                  <a:pt x="10923" y="982"/>
                </a:lnTo>
                <a:lnTo>
                  <a:pt x="10946" y="971"/>
                </a:lnTo>
                <a:lnTo>
                  <a:pt x="10970" y="964"/>
                </a:lnTo>
                <a:lnTo>
                  <a:pt x="10995" y="957"/>
                </a:lnTo>
                <a:lnTo>
                  <a:pt x="11022" y="953"/>
                </a:lnTo>
                <a:lnTo>
                  <a:pt x="11052" y="952"/>
                </a:lnTo>
                <a:lnTo>
                  <a:pt x="11083" y="954"/>
                </a:lnTo>
                <a:lnTo>
                  <a:pt x="11115" y="958"/>
                </a:lnTo>
                <a:lnTo>
                  <a:pt x="11144" y="967"/>
                </a:lnTo>
                <a:lnTo>
                  <a:pt x="11172" y="978"/>
                </a:lnTo>
                <a:lnTo>
                  <a:pt x="11198" y="993"/>
                </a:lnTo>
                <a:lnTo>
                  <a:pt x="11222" y="1012"/>
                </a:lnTo>
                <a:lnTo>
                  <a:pt x="11244" y="1033"/>
                </a:lnTo>
                <a:lnTo>
                  <a:pt x="11263" y="1060"/>
                </a:lnTo>
                <a:lnTo>
                  <a:pt x="11278" y="1084"/>
                </a:lnTo>
                <a:lnTo>
                  <a:pt x="11290" y="1107"/>
                </a:lnTo>
                <a:lnTo>
                  <a:pt x="11306" y="1156"/>
                </a:lnTo>
                <a:lnTo>
                  <a:pt x="11310" y="1183"/>
                </a:lnTo>
                <a:lnTo>
                  <a:pt x="11312" y="1208"/>
                </a:lnTo>
                <a:lnTo>
                  <a:pt x="11313" y="1261"/>
                </a:lnTo>
                <a:lnTo>
                  <a:pt x="11312" y="1300"/>
                </a:lnTo>
                <a:close/>
                <a:moveTo>
                  <a:pt x="10509" y="1111"/>
                </a:moveTo>
                <a:lnTo>
                  <a:pt x="10502" y="1103"/>
                </a:lnTo>
                <a:lnTo>
                  <a:pt x="10493" y="1097"/>
                </a:lnTo>
                <a:lnTo>
                  <a:pt x="10472" y="1085"/>
                </a:lnTo>
                <a:lnTo>
                  <a:pt x="10462" y="1080"/>
                </a:lnTo>
                <a:lnTo>
                  <a:pt x="10449" y="1077"/>
                </a:lnTo>
                <a:lnTo>
                  <a:pt x="10421" y="1074"/>
                </a:lnTo>
                <a:lnTo>
                  <a:pt x="10394" y="1077"/>
                </a:lnTo>
                <a:lnTo>
                  <a:pt x="10370" y="1085"/>
                </a:lnTo>
                <a:lnTo>
                  <a:pt x="10350" y="1097"/>
                </a:lnTo>
                <a:lnTo>
                  <a:pt x="10341" y="1103"/>
                </a:lnTo>
                <a:lnTo>
                  <a:pt x="10333" y="1111"/>
                </a:lnTo>
                <a:lnTo>
                  <a:pt x="10322" y="1125"/>
                </a:lnTo>
                <a:lnTo>
                  <a:pt x="10313" y="1141"/>
                </a:lnTo>
                <a:lnTo>
                  <a:pt x="10306" y="1159"/>
                </a:lnTo>
                <a:lnTo>
                  <a:pt x="10301" y="1177"/>
                </a:lnTo>
                <a:lnTo>
                  <a:pt x="10294" y="1216"/>
                </a:lnTo>
                <a:lnTo>
                  <a:pt x="10292" y="1256"/>
                </a:lnTo>
                <a:lnTo>
                  <a:pt x="10292" y="1277"/>
                </a:lnTo>
                <a:lnTo>
                  <a:pt x="10294" y="1298"/>
                </a:lnTo>
                <a:lnTo>
                  <a:pt x="10301" y="1337"/>
                </a:lnTo>
                <a:lnTo>
                  <a:pt x="10306" y="1355"/>
                </a:lnTo>
                <a:lnTo>
                  <a:pt x="10313" y="1372"/>
                </a:lnTo>
                <a:lnTo>
                  <a:pt x="10322" y="1388"/>
                </a:lnTo>
                <a:lnTo>
                  <a:pt x="10333" y="1403"/>
                </a:lnTo>
                <a:lnTo>
                  <a:pt x="10341" y="1410"/>
                </a:lnTo>
                <a:lnTo>
                  <a:pt x="10350" y="1417"/>
                </a:lnTo>
                <a:lnTo>
                  <a:pt x="10370" y="1429"/>
                </a:lnTo>
                <a:lnTo>
                  <a:pt x="10382" y="1434"/>
                </a:lnTo>
                <a:lnTo>
                  <a:pt x="10394" y="1437"/>
                </a:lnTo>
                <a:lnTo>
                  <a:pt x="10421" y="1440"/>
                </a:lnTo>
                <a:lnTo>
                  <a:pt x="10449" y="1437"/>
                </a:lnTo>
                <a:lnTo>
                  <a:pt x="10472" y="1429"/>
                </a:lnTo>
                <a:lnTo>
                  <a:pt x="10493" y="1417"/>
                </a:lnTo>
                <a:lnTo>
                  <a:pt x="10502" y="1410"/>
                </a:lnTo>
                <a:lnTo>
                  <a:pt x="10509" y="1403"/>
                </a:lnTo>
                <a:lnTo>
                  <a:pt x="10521" y="1388"/>
                </a:lnTo>
                <a:lnTo>
                  <a:pt x="10530" y="1372"/>
                </a:lnTo>
                <a:lnTo>
                  <a:pt x="10538" y="1355"/>
                </a:lnTo>
                <a:lnTo>
                  <a:pt x="10543" y="1337"/>
                </a:lnTo>
                <a:lnTo>
                  <a:pt x="10550" y="1298"/>
                </a:lnTo>
                <a:lnTo>
                  <a:pt x="10551" y="1256"/>
                </a:lnTo>
                <a:lnTo>
                  <a:pt x="10551" y="1236"/>
                </a:lnTo>
                <a:lnTo>
                  <a:pt x="10550" y="1216"/>
                </a:lnTo>
                <a:lnTo>
                  <a:pt x="10543" y="1177"/>
                </a:lnTo>
                <a:lnTo>
                  <a:pt x="10538" y="1159"/>
                </a:lnTo>
                <a:lnTo>
                  <a:pt x="10530" y="1141"/>
                </a:lnTo>
                <a:lnTo>
                  <a:pt x="10521" y="1125"/>
                </a:lnTo>
                <a:lnTo>
                  <a:pt x="10509" y="1111"/>
                </a:lnTo>
                <a:close/>
                <a:moveTo>
                  <a:pt x="10625" y="1471"/>
                </a:moveTo>
                <a:lnTo>
                  <a:pt x="10608" y="1489"/>
                </a:lnTo>
                <a:lnTo>
                  <a:pt x="10589" y="1506"/>
                </a:lnTo>
                <a:lnTo>
                  <a:pt x="10566" y="1521"/>
                </a:lnTo>
                <a:lnTo>
                  <a:pt x="10541" y="1535"/>
                </a:lnTo>
                <a:lnTo>
                  <a:pt x="10514" y="1546"/>
                </a:lnTo>
                <a:lnTo>
                  <a:pt x="10484" y="1555"/>
                </a:lnTo>
                <a:lnTo>
                  <a:pt x="10454" y="1560"/>
                </a:lnTo>
                <a:lnTo>
                  <a:pt x="10421" y="1561"/>
                </a:lnTo>
                <a:lnTo>
                  <a:pt x="10389" y="1560"/>
                </a:lnTo>
                <a:lnTo>
                  <a:pt x="10358" y="1555"/>
                </a:lnTo>
                <a:lnTo>
                  <a:pt x="10329" y="1546"/>
                </a:lnTo>
                <a:lnTo>
                  <a:pt x="10302" y="1535"/>
                </a:lnTo>
                <a:lnTo>
                  <a:pt x="10277" y="1521"/>
                </a:lnTo>
                <a:lnTo>
                  <a:pt x="10255" y="1506"/>
                </a:lnTo>
                <a:lnTo>
                  <a:pt x="10236" y="1489"/>
                </a:lnTo>
                <a:lnTo>
                  <a:pt x="10227" y="1481"/>
                </a:lnTo>
                <a:lnTo>
                  <a:pt x="10218" y="1471"/>
                </a:lnTo>
                <a:lnTo>
                  <a:pt x="10190" y="1428"/>
                </a:lnTo>
                <a:lnTo>
                  <a:pt x="10178" y="1406"/>
                </a:lnTo>
                <a:lnTo>
                  <a:pt x="10168" y="1380"/>
                </a:lnTo>
                <a:lnTo>
                  <a:pt x="10161" y="1353"/>
                </a:lnTo>
                <a:lnTo>
                  <a:pt x="10155" y="1324"/>
                </a:lnTo>
                <a:lnTo>
                  <a:pt x="10152" y="1292"/>
                </a:lnTo>
                <a:lnTo>
                  <a:pt x="10151" y="1256"/>
                </a:lnTo>
                <a:lnTo>
                  <a:pt x="10152" y="1222"/>
                </a:lnTo>
                <a:lnTo>
                  <a:pt x="10155" y="1189"/>
                </a:lnTo>
                <a:lnTo>
                  <a:pt x="10161" y="1160"/>
                </a:lnTo>
                <a:lnTo>
                  <a:pt x="10168" y="1134"/>
                </a:lnTo>
                <a:lnTo>
                  <a:pt x="10178" y="1109"/>
                </a:lnTo>
                <a:lnTo>
                  <a:pt x="10190" y="1085"/>
                </a:lnTo>
                <a:lnTo>
                  <a:pt x="10203" y="1063"/>
                </a:lnTo>
                <a:lnTo>
                  <a:pt x="10218" y="1042"/>
                </a:lnTo>
                <a:lnTo>
                  <a:pt x="10236" y="1025"/>
                </a:lnTo>
                <a:lnTo>
                  <a:pt x="10255" y="1007"/>
                </a:lnTo>
                <a:lnTo>
                  <a:pt x="10277" y="992"/>
                </a:lnTo>
                <a:lnTo>
                  <a:pt x="10302" y="979"/>
                </a:lnTo>
                <a:lnTo>
                  <a:pt x="10329" y="967"/>
                </a:lnTo>
                <a:lnTo>
                  <a:pt x="10358" y="960"/>
                </a:lnTo>
                <a:lnTo>
                  <a:pt x="10389" y="954"/>
                </a:lnTo>
                <a:lnTo>
                  <a:pt x="10421" y="952"/>
                </a:lnTo>
                <a:lnTo>
                  <a:pt x="10454" y="954"/>
                </a:lnTo>
                <a:lnTo>
                  <a:pt x="10484" y="960"/>
                </a:lnTo>
                <a:lnTo>
                  <a:pt x="10514" y="967"/>
                </a:lnTo>
                <a:lnTo>
                  <a:pt x="10541" y="979"/>
                </a:lnTo>
                <a:lnTo>
                  <a:pt x="10566" y="992"/>
                </a:lnTo>
                <a:lnTo>
                  <a:pt x="10589" y="1007"/>
                </a:lnTo>
                <a:lnTo>
                  <a:pt x="10608" y="1025"/>
                </a:lnTo>
                <a:lnTo>
                  <a:pt x="10617" y="1033"/>
                </a:lnTo>
                <a:lnTo>
                  <a:pt x="10625" y="1042"/>
                </a:lnTo>
                <a:lnTo>
                  <a:pt x="10654" y="1085"/>
                </a:lnTo>
                <a:lnTo>
                  <a:pt x="10665" y="1109"/>
                </a:lnTo>
                <a:lnTo>
                  <a:pt x="10675" y="1134"/>
                </a:lnTo>
                <a:lnTo>
                  <a:pt x="10682" y="1160"/>
                </a:lnTo>
                <a:lnTo>
                  <a:pt x="10688" y="1189"/>
                </a:lnTo>
                <a:lnTo>
                  <a:pt x="10692" y="1222"/>
                </a:lnTo>
                <a:lnTo>
                  <a:pt x="10693" y="1256"/>
                </a:lnTo>
                <a:lnTo>
                  <a:pt x="10692" y="1292"/>
                </a:lnTo>
                <a:lnTo>
                  <a:pt x="10688" y="1324"/>
                </a:lnTo>
                <a:lnTo>
                  <a:pt x="10682" y="1353"/>
                </a:lnTo>
                <a:lnTo>
                  <a:pt x="10675" y="1380"/>
                </a:lnTo>
                <a:lnTo>
                  <a:pt x="10665" y="1406"/>
                </a:lnTo>
                <a:lnTo>
                  <a:pt x="10654" y="1428"/>
                </a:lnTo>
                <a:lnTo>
                  <a:pt x="10640" y="1450"/>
                </a:lnTo>
                <a:lnTo>
                  <a:pt x="10625" y="1471"/>
                </a:lnTo>
                <a:close/>
                <a:moveTo>
                  <a:pt x="9890" y="1547"/>
                </a:moveTo>
                <a:lnTo>
                  <a:pt x="9890" y="1191"/>
                </a:lnTo>
                <a:lnTo>
                  <a:pt x="9889" y="1166"/>
                </a:lnTo>
                <a:lnTo>
                  <a:pt x="9885" y="1146"/>
                </a:lnTo>
                <a:lnTo>
                  <a:pt x="9882" y="1136"/>
                </a:lnTo>
                <a:lnTo>
                  <a:pt x="9879" y="1126"/>
                </a:lnTo>
                <a:lnTo>
                  <a:pt x="9875" y="1118"/>
                </a:lnTo>
                <a:lnTo>
                  <a:pt x="9869" y="1111"/>
                </a:lnTo>
                <a:lnTo>
                  <a:pt x="9863" y="1104"/>
                </a:lnTo>
                <a:lnTo>
                  <a:pt x="9856" y="1098"/>
                </a:lnTo>
                <a:lnTo>
                  <a:pt x="9840" y="1089"/>
                </a:lnTo>
                <a:lnTo>
                  <a:pt x="9819" y="1084"/>
                </a:lnTo>
                <a:lnTo>
                  <a:pt x="9793" y="1081"/>
                </a:lnTo>
                <a:lnTo>
                  <a:pt x="9776" y="1082"/>
                </a:lnTo>
                <a:lnTo>
                  <a:pt x="9760" y="1087"/>
                </a:lnTo>
                <a:lnTo>
                  <a:pt x="9746" y="1093"/>
                </a:lnTo>
                <a:lnTo>
                  <a:pt x="9732" y="1102"/>
                </a:lnTo>
                <a:lnTo>
                  <a:pt x="9721" y="1113"/>
                </a:lnTo>
                <a:lnTo>
                  <a:pt x="9710" y="1126"/>
                </a:lnTo>
                <a:lnTo>
                  <a:pt x="9701" y="1140"/>
                </a:lnTo>
                <a:lnTo>
                  <a:pt x="9693" y="1155"/>
                </a:lnTo>
                <a:lnTo>
                  <a:pt x="9687" y="1173"/>
                </a:lnTo>
                <a:lnTo>
                  <a:pt x="9681" y="1192"/>
                </a:lnTo>
                <a:lnTo>
                  <a:pt x="9678" y="1212"/>
                </a:lnTo>
                <a:lnTo>
                  <a:pt x="9676" y="1231"/>
                </a:lnTo>
                <a:lnTo>
                  <a:pt x="9675" y="1272"/>
                </a:lnTo>
                <a:lnTo>
                  <a:pt x="9674" y="1311"/>
                </a:lnTo>
                <a:lnTo>
                  <a:pt x="9674" y="1547"/>
                </a:lnTo>
                <a:lnTo>
                  <a:pt x="9535" y="1547"/>
                </a:lnTo>
                <a:lnTo>
                  <a:pt x="9535" y="966"/>
                </a:lnTo>
                <a:lnTo>
                  <a:pt x="9652" y="966"/>
                </a:lnTo>
                <a:lnTo>
                  <a:pt x="9662" y="1041"/>
                </a:lnTo>
                <a:lnTo>
                  <a:pt x="9677" y="1019"/>
                </a:lnTo>
                <a:lnTo>
                  <a:pt x="9693" y="1001"/>
                </a:lnTo>
                <a:lnTo>
                  <a:pt x="9714" y="986"/>
                </a:lnTo>
                <a:lnTo>
                  <a:pt x="9736" y="974"/>
                </a:lnTo>
                <a:lnTo>
                  <a:pt x="9759" y="964"/>
                </a:lnTo>
                <a:lnTo>
                  <a:pt x="9782" y="957"/>
                </a:lnTo>
                <a:lnTo>
                  <a:pt x="9807" y="953"/>
                </a:lnTo>
                <a:lnTo>
                  <a:pt x="9832" y="952"/>
                </a:lnTo>
                <a:lnTo>
                  <a:pt x="9855" y="953"/>
                </a:lnTo>
                <a:lnTo>
                  <a:pt x="9877" y="956"/>
                </a:lnTo>
                <a:lnTo>
                  <a:pt x="9897" y="961"/>
                </a:lnTo>
                <a:lnTo>
                  <a:pt x="9916" y="967"/>
                </a:lnTo>
                <a:lnTo>
                  <a:pt x="9934" y="976"/>
                </a:lnTo>
                <a:lnTo>
                  <a:pt x="9949" y="986"/>
                </a:lnTo>
                <a:lnTo>
                  <a:pt x="9964" y="998"/>
                </a:lnTo>
                <a:lnTo>
                  <a:pt x="9977" y="1011"/>
                </a:lnTo>
                <a:lnTo>
                  <a:pt x="9989" y="1025"/>
                </a:lnTo>
                <a:lnTo>
                  <a:pt x="10000" y="1041"/>
                </a:lnTo>
                <a:lnTo>
                  <a:pt x="10008" y="1059"/>
                </a:lnTo>
                <a:lnTo>
                  <a:pt x="10016" y="1076"/>
                </a:lnTo>
                <a:lnTo>
                  <a:pt x="10022" y="1095"/>
                </a:lnTo>
                <a:lnTo>
                  <a:pt x="10026" y="1116"/>
                </a:lnTo>
                <a:lnTo>
                  <a:pt x="10028" y="1138"/>
                </a:lnTo>
                <a:lnTo>
                  <a:pt x="10029" y="1160"/>
                </a:lnTo>
                <a:lnTo>
                  <a:pt x="10029" y="1547"/>
                </a:lnTo>
                <a:lnTo>
                  <a:pt x="9890" y="1547"/>
                </a:lnTo>
                <a:close/>
                <a:moveTo>
                  <a:pt x="9222" y="1547"/>
                </a:moveTo>
                <a:lnTo>
                  <a:pt x="9222" y="966"/>
                </a:lnTo>
                <a:lnTo>
                  <a:pt x="9363" y="966"/>
                </a:lnTo>
                <a:lnTo>
                  <a:pt x="9363" y="1547"/>
                </a:lnTo>
                <a:lnTo>
                  <a:pt x="9222" y="1547"/>
                </a:lnTo>
                <a:close/>
                <a:moveTo>
                  <a:pt x="9217" y="886"/>
                </a:moveTo>
                <a:lnTo>
                  <a:pt x="9217" y="742"/>
                </a:lnTo>
                <a:lnTo>
                  <a:pt x="9366" y="742"/>
                </a:lnTo>
                <a:lnTo>
                  <a:pt x="9366" y="886"/>
                </a:lnTo>
                <a:lnTo>
                  <a:pt x="9217" y="886"/>
                </a:lnTo>
                <a:close/>
                <a:moveTo>
                  <a:pt x="8918" y="1097"/>
                </a:moveTo>
                <a:lnTo>
                  <a:pt x="8910" y="1090"/>
                </a:lnTo>
                <a:lnTo>
                  <a:pt x="8901" y="1084"/>
                </a:lnTo>
                <a:lnTo>
                  <a:pt x="8881" y="1073"/>
                </a:lnTo>
                <a:lnTo>
                  <a:pt x="8870" y="1069"/>
                </a:lnTo>
                <a:lnTo>
                  <a:pt x="8857" y="1066"/>
                </a:lnTo>
                <a:lnTo>
                  <a:pt x="8830" y="1064"/>
                </a:lnTo>
                <a:lnTo>
                  <a:pt x="8799" y="1067"/>
                </a:lnTo>
                <a:lnTo>
                  <a:pt x="8772" y="1076"/>
                </a:lnTo>
                <a:lnTo>
                  <a:pt x="8749" y="1090"/>
                </a:lnTo>
                <a:lnTo>
                  <a:pt x="8740" y="1099"/>
                </a:lnTo>
                <a:lnTo>
                  <a:pt x="8732" y="1109"/>
                </a:lnTo>
                <a:lnTo>
                  <a:pt x="8719" y="1128"/>
                </a:lnTo>
                <a:lnTo>
                  <a:pt x="8710" y="1149"/>
                </a:lnTo>
                <a:lnTo>
                  <a:pt x="8705" y="1172"/>
                </a:lnTo>
                <a:lnTo>
                  <a:pt x="8701" y="1199"/>
                </a:lnTo>
                <a:lnTo>
                  <a:pt x="8952" y="1199"/>
                </a:lnTo>
                <a:lnTo>
                  <a:pt x="8952" y="1183"/>
                </a:lnTo>
                <a:lnTo>
                  <a:pt x="8950" y="1168"/>
                </a:lnTo>
                <a:lnTo>
                  <a:pt x="8943" y="1141"/>
                </a:lnTo>
                <a:lnTo>
                  <a:pt x="8932" y="1117"/>
                </a:lnTo>
                <a:lnTo>
                  <a:pt x="8925" y="1106"/>
                </a:lnTo>
                <a:lnTo>
                  <a:pt x="8918" y="1097"/>
                </a:lnTo>
                <a:close/>
                <a:moveTo>
                  <a:pt x="9091" y="1300"/>
                </a:moveTo>
                <a:lnTo>
                  <a:pt x="8703" y="1300"/>
                </a:lnTo>
                <a:lnTo>
                  <a:pt x="8703" y="1317"/>
                </a:lnTo>
                <a:lnTo>
                  <a:pt x="8706" y="1333"/>
                </a:lnTo>
                <a:lnTo>
                  <a:pt x="8713" y="1364"/>
                </a:lnTo>
                <a:lnTo>
                  <a:pt x="8720" y="1378"/>
                </a:lnTo>
                <a:lnTo>
                  <a:pt x="8726" y="1391"/>
                </a:lnTo>
                <a:lnTo>
                  <a:pt x="8735" y="1403"/>
                </a:lnTo>
                <a:lnTo>
                  <a:pt x="8746" y="1414"/>
                </a:lnTo>
                <a:lnTo>
                  <a:pt x="8762" y="1427"/>
                </a:lnTo>
                <a:lnTo>
                  <a:pt x="8782" y="1439"/>
                </a:lnTo>
                <a:lnTo>
                  <a:pt x="8805" y="1447"/>
                </a:lnTo>
                <a:lnTo>
                  <a:pt x="8832" y="1450"/>
                </a:lnTo>
                <a:lnTo>
                  <a:pt x="8859" y="1448"/>
                </a:lnTo>
                <a:lnTo>
                  <a:pt x="8881" y="1444"/>
                </a:lnTo>
                <a:lnTo>
                  <a:pt x="8900" y="1435"/>
                </a:lnTo>
                <a:lnTo>
                  <a:pt x="8916" y="1422"/>
                </a:lnTo>
                <a:lnTo>
                  <a:pt x="8925" y="1412"/>
                </a:lnTo>
                <a:lnTo>
                  <a:pt x="8933" y="1401"/>
                </a:lnTo>
                <a:lnTo>
                  <a:pt x="8939" y="1388"/>
                </a:lnTo>
                <a:lnTo>
                  <a:pt x="8944" y="1373"/>
                </a:lnTo>
                <a:lnTo>
                  <a:pt x="9077" y="1373"/>
                </a:lnTo>
                <a:lnTo>
                  <a:pt x="9072" y="1400"/>
                </a:lnTo>
                <a:lnTo>
                  <a:pt x="9066" y="1415"/>
                </a:lnTo>
                <a:lnTo>
                  <a:pt x="9060" y="1429"/>
                </a:lnTo>
                <a:lnTo>
                  <a:pt x="9046" y="1457"/>
                </a:lnTo>
                <a:lnTo>
                  <a:pt x="9028" y="1481"/>
                </a:lnTo>
                <a:lnTo>
                  <a:pt x="9009" y="1500"/>
                </a:lnTo>
                <a:lnTo>
                  <a:pt x="8988" y="1518"/>
                </a:lnTo>
                <a:lnTo>
                  <a:pt x="8964" y="1532"/>
                </a:lnTo>
                <a:lnTo>
                  <a:pt x="8940" y="1543"/>
                </a:lnTo>
                <a:lnTo>
                  <a:pt x="8914" y="1551"/>
                </a:lnTo>
                <a:lnTo>
                  <a:pt x="8888" y="1557"/>
                </a:lnTo>
                <a:lnTo>
                  <a:pt x="8861" y="1560"/>
                </a:lnTo>
                <a:lnTo>
                  <a:pt x="8834" y="1561"/>
                </a:lnTo>
                <a:lnTo>
                  <a:pt x="8805" y="1560"/>
                </a:lnTo>
                <a:lnTo>
                  <a:pt x="8777" y="1557"/>
                </a:lnTo>
                <a:lnTo>
                  <a:pt x="8765" y="1553"/>
                </a:lnTo>
                <a:lnTo>
                  <a:pt x="8752" y="1550"/>
                </a:lnTo>
                <a:lnTo>
                  <a:pt x="8730" y="1543"/>
                </a:lnTo>
                <a:lnTo>
                  <a:pt x="8708" y="1532"/>
                </a:lnTo>
                <a:lnTo>
                  <a:pt x="8687" y="1520"/>
                </a:lnTo>
                <a:lnTo>
                  <a:pt x="8669" y="1506"/>
                </a:lnTo>
                <a:lnTo>
                  <a:pt x="8650" y="1490"/>
                </a:lnTo>
                <a:lnTo>
                  <a:pt x="8630" y="1468"/>
                </a:lnTo>
                <a:lnTo>
                  <a:pt x="8612" y="1444"/>
                </a:lnTo>
                <a:lnTo>
                  <a:pt x="8597" y="1417"/>
                </a:lnTo>
                <a:lnTo>
                  <a:pt x="8584" y="1388"/>
                </a:lnTo>
                <a:lnTo>
                  <a:pt x="8579" y="1374"/>
                </a:lnTo>
                <a:lnTo>
                  <a:pt x="8574" y="1359"/>
                </a:lnTo>
                <a:lnTo>
                  <a:pt x="8567" y="1326"/>
                </a:lnTo>
                <a:lnTo>
                  <a:pt x="8562" y="1292"/>
                </a:lnTo>
                <a:lnTo>
                  <a:pt x="8561" y="1258"/>
                </a:lnTo>
                <a:lnTo>
                  <a:pt x="8562" y="1224"/>
                </a:lnTo>
                <a:lnTo>
                  <a:pt x="8567" y="1190"/>
                </a:lnTo>
                <a:lnTo>
                  <a:pt x="8573" y="1159"/>
                </a:lnTo>
                <a:lnTo>
                  <a:pt x="8582" y="1128"/>
                </a:lnTo>
                <a:lnTo>
                  <a:pt x="8594" y="1100"/>
                </a:lnTo>
                <a:lnTo>
                  <a:pt x="8608" y="1073"/>
                </a:lnTo>
                <a:lnTo>
                  <a:pt x="8625" y="1048"/>
                </a:lnTo>
                <a:lnTo>
                  <a:pt x="8645" y="1026"/>
                </a:lnTo>
                <a:lnTo>
                  <a:pt x="8662" y="1010"/>
                </a:lnTo>
                <a:lnTo>
                  <a:pt x="8681" y="995"/>
                </a:lnTo>
                <a:lnTo>
                  <a:pt x="8701" y="982"/>
                </a:lnTo>
                <a:lnTo>
                  <a:pt x="8724" y="971"/>
                </a:lnTo>
                <a:lnTo>
                  <a:pt x="8748" y="964"/>
                </a:lnTo>
                <a:lnTo>
                  <a:pt x="8774" y="957"/>
                </a:lnTo>
                <a:lnTo>
                  <a:pt x="8801" y="953"/>
                </a:lnTo>
                <a:lnTo>
                  <a:pt x="8831" y="952"/>
                </a:lnTo>
                <a:lnTo>
                  <a:pt x="8862" y="954"/>
                </a:lnTo>
                <a:lnTo>
                  <a:pt x="8893" y="958"/>
                </a:lnTo>
                <a:lnTo>
                  <a:pt x="8922" y="967"/>
                </a:lnTo>
                <a:lnTo>
                  <a:pt x="8950" y="978"/>
                </a:lnTo>
                <a:lnTo>
                  <a:pt x="8976" y="993"/>
                </a:lnTo>
                <a:lnTo>
                  <a:pt x="9001" y="1012"/>
                </a:lnTo>
                <a:lnTo>
                  <a:pt x="9023" y="1033"/>
                </a:lnTo>
                <a:lnTo>
                  <a:pt x="9043" y="1060"/>
                </a:lnTo>
                <a:lnTo>
                  <a:pt x="9057" y="1084"/>
                </a:lnTo>
                <a:lnTo>
                  <a:pt x="9069" y="1107"/>
                </a:lnTo>
                <a:lnTo>
                  <a:pt x="9084" y="1156"/>
                </a:lnTo>
                <a:lnTo>
                  <a:pt x="9088" y="1183"/>
                </a:lnTo>
                <a:lnTo>
                  <a:pt x="9091" y="1208"/>
                </a:lnTo>
                <a:lnTo>
                  <a:pt x="9092" y="1261"/>
                </a:lnTo>
                <a:lnTo>
                  <a:pt x="9091" y="1300"/>
                </a:lnTo>
                <a:close/>
                <a:moveTo>
                  <a:pt x="8368" y="1547"/>
                </a:moveTo>
                <a:lnTo>
                  <a:pt x="8205" y="1293"/>
                </a:lnTo>
                <a:lnTo>
                  <a:pt x="8112" y="1395"/>
                </a:lnTo>
                <a:lnTo>
                  <a:pt x="8112" y="1547"/>
                </a:lnTo>
                <a:lnTo>
                  <a:pt x="7972" y="1547"/>
                </a:lnTo>
                <a:lnTo>
                  <a:pt x="7972" y="741"/>
                </a:lnTo>
                <a:lnTo>
                  <a:pt x="8112" y="741"/>
                </a:lnTo>
                <a:lnTo>
                  <a:pt x="8112" y="1202"/>
                </a:lnTo>
                <a:lnTo>
                  <a:pt x="8332" y="966"/>
                </a:lnTo>
                <a:lnTo>
                  <a:pt x="8507" y="966"/>
                </a:lnTo>
                <a:lnTo>
                  <a:pt x="8299" y="1191"/>
                </a:lnTo>
                <a:lnTo>
                  <a:pt x="8529" y="1547"/>
                </a:lnTo>
                <a:lnTo>
                  <a:pt x="8368" y="1547"/>
                </a:lnTo>
                <a:close/>
                <a:moveTo>
                  <a:pt x="7671" y="1547"/>
                </a:moveTo>
                <a:lnTo>
                  <a:pt x="7671" y="1191"/>
                </a:lnTo>
                <a:lnTo>
                  <a:pt x="7670" y="1166"/>
                </a:lnTo>
                <a:lnTo>
                  <a:pt x="7667" y="1146"/>
                </a:lnTo>
                <a:lnTo>
                  <a:pt x="7664" y="1136"/>
                </a:lnTo>
                <a:lnTo>
                  <a:pt x="7660" y="1126"/>
                </a:lnTo>
                <a:lnTo>
                  <a:pt x="7656" y="1118"/>
                </a:lnTo>
                <a:lnTo>
                  <a:pt x="7651" y="1111"/>
                </a:lnTo>
                <a:lnTo>
                  <a:pt x="7645" y="1104"/>
                </a:lnTo>
                <a:lnTo>
                  <a:pt x="7639" y="1098"/>
                </a:lnTo>
                <a:lnTo>
                  <a:pt x="7621" y="1089"/>
                </a:lnTo>
                <a:lnTo>
                  <a:pt x="7601" y="1084"/>
                </a:lnTo>
                <a:lnTo>
                  <a:pt x="7576" y="1081"/>
                </a:lnTo>
                <a:lnTo>
                  <a:pt x="7558" y="1082"/>
                </a:lnTo>
                <a:lnTo>
                  <a:pt x="7542" y="1087"/>
                </a:lnTo>
                <a:lnTo>
                  <a:pt x="7527" y="1093"/>
                </a:lnTo>
                <a:lnTo>
                  <a:pt x="7514" y="1102"/>
                </a:lnTo>
                <a:lnTo>
                  <a:pt x="7502" y="1113"/>
                </a:lnTo>
                <a:lnTo>
                  <a:pt x="7492" y="1126"/>
                </a:lnTo>
                <a:lnTo>
                  <a:pt x="7483" y="1140"/>
                </a:lnTo>
                <a:lnTo>
                  <a:pt x="7475" y="1155"/>
                </a:lnTo>
                <a:lnTo>
                  <a:pt x="7468" y="1173"/>
                </a:lnTo>
                <a:lnTo>
                  <a:pt x="7464" y="1192"/>
                </a:lnTo>
                <a:lnTo>
                  <a:pt x="7460" y="1212"/>
                </a:lnTo>
                <a:lnTo>
                  <a:pt x="7458" y="1231"/>
                </a:lnTo>
                <a:lnTo>
                  <a:pt x="7456" y="1272"/>
                </a:lnTo>
                <a:lnTo>
                  <a:pt x="7456" y="1311"/>
                </a:lnTo>
                <a:lnTo>
                  <a:pt x="7456" y="1547"/>
                </a:lnTo>
                <a:lnTo>
                  <a:pt x="7317" y="1547"/>
                </a:lnTo>
                <a:lnTo>
                  <a:pt x="7317" y="966"/>
                </a:lnTo>
                <a:lnTo>
                  <a:pt x="7434" y="966"/>
                </a:lnTo>
                <a:lnTo>
                  <a:pt x="7444" y="1041"/>
                </a:lnTo>
                <a:lnTo>
                  <a:pt x="7458" y="1019"/>
                </a:lnTo>
                <a:lnTo>
                  <a:pt x="7476" y="1001"/>
                </a:lnTo>
                <a:lnTo>
                  <a:pt x="7495" y="986"/>
                </a:lnTo>
                <a:lnTo>
                  <a:pt x="7517" y="974"/>
                </a:lnTo>
                <a:lnTo>
                  <a:pt x="7540" y="964"/>
                </a:lnTo>
                <a:lnTo>
                  <a:pt x="7565" y="957"/>
                </a:lnTo>
                <a:lnTo>
                  <a:pt x="7590" y="953"/>
                </a:lnTo>
                <a:lnTo>
                  <a:pt x="7615" y="952"/>
                </a:lnTo>
                <a:lnTo>
                  <a:pt x="7638" y="953"/>
                </a:lnTo>
                <a:lnTo>
                  <a:pt x="7658" y="956"/>
                </a:lnTo>
                <a:lnTo>
                  <a:pt x="7679" y="961"/>
                </a:lnTo>
                <a:lnTo>
                  <a:pt x="7697" y="967"/>
                </a:lnTo>
                <a:lnTo>
                  <a:pt x="7715" y="976"/>
                </a:lnTo>
                <a:lnTo>
                  <a:pt x="7731" y="986"/>
                </a:lnTo>
                <a:lnTo>
                  <a:pt x="7746" y="998"/>
                </a:lnTo>
                <a:lnTo>
                  <a:pt x="7759" y="1011"/>
                </a:lnTo>
                <a:lnTo>
                  <a:pt x="7771" y="1025"/>
                </a:lnTo>
                <a:lnTo>
                  <a:pt x="7781" y="1041"/>
                </a:lnTo>
                <a:lnTo>
                  <a:pt x="7790" y="1059"/>
                </a:lnTo>
                <a:lnTo>
                  <a:pt x="7797" y="1076"/>
                </a:lnTo>
                <a:lnTo>
                  <a:pt x="7804" y="1095"/>
                </a:lnTo>
                <a:lnTo>
                  <a:pt x="7807" y="1116"/>
                </a:lnTo>
                <a:lnTo>
                  <a:pt x="7810" y="1138"/>
                </a:lnTo>
                <a:lnTo>
                  <a:pt x="7810" y="1160"/>
                </a:lnTo>
                <a:lnTo>
                  <a:pt x="7810" y="1547"/>
                </a:lnTo>
                <a:lnTo>
                  <a:pt x="7671" y="1547"/>
                </a:lnTo>
                <a:close/>
                <a:moveTo>
                  <a:pt x="7012" y="1547"/>
                </a:moveTo>
                <a:lnTo>
                  <a:pt x="7012" y="966"/>
                </a:lnTo>
                <a:lnTo>
                  <a:pt x="7153" y="966"/>
                </a:lnTo>
                <a:lnTo>
                  <a:pt x="7153" y="1547"/>
                </a:lnTo>
                <a:lnTo>
                  <a:pt x="7012" y="1547"/>
                </a:lnTo>
                <a:close/>
                <a:moveTo>
                  <a:pt x="7006" y="886"/>
                </a:moveTo>
                <a:lnTo>
                  <a:pt x="7006" y="742"/>
                </a:lnTo>
                <a:lnTo>
                  <a:pt x="7156" y="742"/>
                </a:lnTo>
                <a:lnTo>
                  <a:pt x="7156" y="886"/>
                </a:lnTo>
                <a:lnTo>
                  <a:pt x="7006" y="886"/>
                </a:lnTo>
                <a:close/>
                <a:moveTo>
                  <a:pt x="6823" y="1553"/>
                </a:moveTo>
                <a:lnTo>
                  <a:pt x="6789" y="1551"/>
                </a:lnTo>
                <a:lnTo>
                  <a:pt x="6773" y="1549"/>
                </a:lnTo>
                <a:lnTo>
                  <a:pt x="6757" y="1545"/>
                </a:lnTo>
                <a:lnTo>
                  <a:pt x="6744" y="1539"/>
                </a:lnTo>
                <a:lnTo>
                  <a:pt x="6731" y="1534"/>
                </a:lnTo>
                <a:lnTo>
                  <a:pt x="6719" y="1526"/>
                </a:lnTo>
                <a:lnTo>
                  <a:pt x="6707" y="1518"/>
                </a:lnTo>
                <a:lnTo>
                  <a:pt x="6698" y="1507"/>
                </a:lnTo>
                <a:lnTo>
                  <a:pt x="6689" y="1496"/>
                </a:lnTo>
                <a:lnTo>
                  <a:pt x="6682" y="1483"/>
                </a:lnTo>
                <a:lnTo>
                  <a:pt x="6676" y="1469"/>
                </a:lnTo>
                <a:lnTo>
                  <a:pt x="6667" y="1436"/>
                </a:lnTo>
                <a:lnTo>
                  <a:pt x="6665" y="1417"/>
                </a:lnTo>
                <a:lnTo>
                  <a:pt x="6664" y="1398"/>
                </a:lnTo>
                <a:lnTo>
                  <a:pt x="6664" y="740"/>
                </a:lnTo>
                <a:lnTo>
                  <a:pt x="6805" y="740"/>
                </a:lnTo>
                <a:lnTo>
                  <a:pt x="6805" y="1374"/>
                </a:lnTo>
                <a:lnTo>
                  <a:pt x="6805" y="1386"/>
                </a:lnTo>
                <a:lnTo>
                  <a:pt x="6806" y="1397"/>
                </a:lnTo>
                <a:lnTo>
                  <a:pt x="6810" y="1407"/>
                </a:lnTo>
                <a:lnTo>
                  <a:pt x="6815" y="1414"/>
                </a:lnTo>
                <a:lnTo>
                  <a:pt x="6822" y="1421"/>
                </a:lnTo>
                <a:lnTo>
                  <a:pt x="6831" y="1426"/>
                </a:lnTo>
                <a:lnTo>
                  <a:pt x="6844" y="1428"/>
                </a:lnTo>
                <a:lnTo>
                  <a:pt x="6861" y="1429"/>
                </a:lnTo>
                <a:lnTo>
                  <a:pt x="6885" y="1428"/>
                </a:lnTo>
                <a:lnTo>
                  <a:pt x="6885" y="1546"/>
                </a:lnTo>
                <a:lnTo>
                  <a:pt x="6853" y="1552"/>
                </a:lnTo>
                <a:lnTo>
                  <a:pt x="6823" y="1553"/>
                </a:lnTo>
                <a:close/>
                <a:moveTo>
                  <a:pt x="5977" y="1547"/>
                </a:moveTo>
                <a:lnTo>
                  <a:pt x="5977" y="755"/>
                </a:lnTo>
                <a:lnTo>
                  <a:pt x="6540" y="755"/>
                </a:lnTo>
                <a:lnTo>
                  <a:pt x="6540" y="886"/>
                </a:lnTo>
                <a:lnTo>
                  <a:pt x="6121" y="886"/>
                </a:lnTo>
                <a:lnTo>
                  <a:pt x="6121" y="1070"/>
                </a:lnTo>
                <a:lnTo>
                  <a:pt x="6490" y="1070"/>
                </a:lnTo>
                <a:lnTo>
                  <a:pt x="6490" y="1200"/>
                </a:lnTo>
                <a:lnTo>
                  <a:pt x="6121" y="1200"/>
                </a:lnTo>
                <a:lnTo>
                  <a:pt x="6121" y="1416"/>
                </a:lnTo>
                <a:lnTo>
                  <a:pt x="6540" y="1416"/>
                </a:lnTo>
                <a:lnTo>
                  <a:pt x="6540" y="1547"/>
                </a:lnTo>
                <a:lnTo>
                  <a:pt x="5977" y="1547"/>
                </a:lnTo>
                <a:close/>
                <a:moveTo>
                  <a:pt x="11930" y="2637"/>
                </a:moveTo>
                <a:lnTo>
                  <a:pt x="11913" y="2655"/>
                </a:lnTo>
                <a:lnTo>
                  <a:pt x="11894" y="2672"/>
                </a:lnTo>
                <a:lnTo>
                  <a:pt x="11871" y="2687"/>
                </a:lnTo>
                <a:lnTo>
                  <a:pt x="11846" y="2701"/>
                </a:lnTo>
                <a:lnTo>
                  <a:pt x="11819" y="2712"/>
                </a:lnTo>
                <a:lnTo>
                  <a:pt x="11789" y="2721"/>
                </a:lnTo>
                <a:lnTo>
                  <a:pt x="11759" y="2726"/>
                </a:lnTo>
                <a:lnTo>
                  <a:pt x="11726" y="2727"/>
                </a:lnTo>
                <a:lnTo>
                  <a:pt x="11694" y="2726"/>
                </a:lnTo>
                <a:lnTo>
                  <a:pt x="11663" y="2721"/>
                </a:lnTo>
                <a:lnTo>
                  <a:pt x="11634" y="2712"/>
                </a:lnTo>
                <a:lnTo>
                  <a:pt x="11607" y="2701"/>
                </a:lnTo>
                <a:lnTo>
                  <a:pt x="11582" y="2687"/>
                </a:lnTo>
                <a:lnTo>
                  <a:pt x="11560" y="2672"/>
                </a:lnTo>
                <a:lnTo>
                  <a:pt x="11541" y="2655"/>
                </a:lnTo>
                <a:lnTo>
                  <a:pt x="11532" y="2647"/>
                </a:lnTo>
                <a:lnTo>
                  <a:pt x="11523" y="2637"/>
                </a:lnTo>
                <a:lnTo>
                  <a:pt x="11495" y="2594"/>
                </a:lnTo>
                <a:lnTo>
                  <a:pt x="11483" y="2572"/>
                </a:lnTo>
                <a:lnTo>
                  <a:pt x="11473" y="2547"/>
                </a:lnTo>
                <a:lnTo>
                  <a:pt x="11466" y="2519"/>
                </a:lnTo>
                <a:lnTo>
                  <a:pt x="11460" y="2490"/>
                </a:lnTo>
                <a:lnTo>
                  <a:pt x="11457" y="2457"/>
                </a:lnTo>
                <a:lnTo>
                  <a:pt x="11456" y="2423"/>
                </a:lnTo>
                <a:lnTo>
                  <a:pt x="11457" y="2388"/>
                </a:lnTo>
                <a:lnTo>
                  <a:pt x="11460" y="2355"/>
                </a:lnTo>
                <a:lnTo>
                  <a:pt x="11466" y="2326"/>
                </a:lnTo>
                <a:lnTo>
                  <a:pt x="11473" y="2300"/>
                </a:lnTo>
                <a:lnTo>
                  <a:pt x="11483" y="2275"/>
                </a:lnTo>
                <a:lnTo>
                  <a:pt x="11495" y="2251"/>
                </a:lnTo>
                <a:lnTo>
                  <a:pt x="11508" y="2229"/>
                </a:lnTo>
                <a:lnTo>
                  <a:pt x="11523" y="2208"/>
                </a:lnTo>
                <a:lnTo>
                  <a:pt x="11541" y="2190"/>
                </a:lnTo>
                <a:lnTo>
                  <a:pt x="11560" y="2173"/>
                </a:lnTo>
                <a:lnTo>
                  <a:pt x="11582" y="2158"/>
                </a:lnTo>
                <a:lnTo>
                  <a:pt x="11607" y="2144"/>
                </a:lnTo>
                <a:lnTo>
                  <a:pt x="11634" y="2133"/>
                </a:lnTo>
                <a:lnTo>
                  <a:pt x="11663" y="2125"/>
                </a:lnTo>
                <a:lnTo>
                  <a:pt x="11694" y="2120"/>
                </a:lnTo>
                <a:lnTo>
                  <a:pt x="11726" y="2118"/>
                </a:lnTo>
                <a:lnTo>
                  <a:pt x="11759" y="2120"/>
                </a:lnTo>
                <a:lnTo>
                  <a:pt x="11789" y="2125"/>
                </a:lnTo>
                <a:lnTo>
                  <a:pt x="11819" y="2133"/>
                </a:lnTo>
                <a:lnTo>
                  <a:pt x="11846" y="2144"/>
                </a:lnTo>
                <a:lnTo>
                  <a:pt x="11871" y="2158"/>
                </a:lnTo>
                <a:lnTo>
                  <a:pt x="11894" y="2173"/>
                </a:lnTo>
                <a:lnTo>
                  <a:pt x="11913" y="2190"/>
                </a:lnTo>
                <a:lnTo>
                  <a:pt x="11922" y="2200"/>
                </a:lnTo>
                <a:lnTo>
                  <a:pt x="11930" y="2208"/>
                </a:lnTo>
                <a:lnTo>
                  <a:pt x="11959" y="2251"/>
                </a:lnTo>
                <a:lnTo>
                  <a:pt x="11970" y="2275"/>
                </a:lnTo>
                <a:lnTo>
                  <a:pt x="11980" y="2300"/>
                </a:lnTo>
                <a:lnTo>
                  <a:pt x="11987" y="2326"/>
                </a:lnTo>
                <a:lnTo>
                  <a:pt x="11993" y="2355"/>
                </a:lnTo>
                <a:lnTo>
                  <a:pt x="11996" y="2388"/>
                </a:lnTo>
                <a:lnTo>
                  <a:pt x="11997" y="2423"/>
                </a:lnTo>
                <a:lnTo>
                  <a:pt x="11996" y="2457"/>
                </a:lnTo>
                <a:lnTo>
                  <a:pt x="11993" y="2490"/>
                </a:lnTo>
                <a:lnTo>
                  <a:pt x="11987" y="2519"/>
                </a:lnTo>
                <a:lnTo>
                  <a:pt x="11980" y="2547"/>
                </a:lnTo>
                <a:lnTo>
                  <a:pt x="11970" y="2572"/>
                </a:lnTo>
                <a:lnTo>
                  <a:pt x="11959" y="2594"/>
                </a:lnTo>
                <a:lnTo>
                  <a:pt x="11945" y="2616"/>
                </a:lnTo>
                <a:lnTo>
                  <a:pt x="11930" y="2637"/>
                </a:lnTo>
                <a:close/>
                <a:moveTo>
                  <a:pt x="11814" y="2277"/>
                </a:moveTo>
                <a:lnTo>
                  <a:pt x="11807" y="2269"/>
                </a:lnTo>
                <a:lnTo>
                  <a:pt x="11798" y="2263"/>
                </a:lnTo>
                <a:lnTo>
                  <a:pt x="11777" y="2251"/>
                </a:lnTo>
                <a:lnTo>
                  <a:pt x="11765" y="2246"/>
                </a:lnTo>
                <a:lnTo>
                  <a:pt x="11754" y="2242"/>
                </a:lnTo>
                <a:lnTo>
                  <a:pt x="11726" y="2240"/>
                </a:lnTo>
                <a:lnTo>
                  <a:pt x="11699" y="2242"/>
                </a:lnTo>
                <a:lnTo>
                  <a:pt x="11675" y="2251"/>
                </a:lnTo>
                <a:lnTo>
                  <a:pt x="11655" y="2263"/>
                </a:lnTo>
                <a:lnTo>
                  <a:pt x="11646" y="2269"/>
                </a:lnTo>
                <a:lnTo>
                  <a:pt x="11638" y="2277"/>
                </a:lnTo>
                <a:lnTo>
                  <a:pt x="11627" y="2291"/>
                </a:lnTo>
                <a:lnTo>
                  <a:pt x="11618" y="2307"/>
                </a:lnTo>
                <a:lnTo>
                  <a:pt x="11610" y="2325"/>
                </a:lnTo>
                <a:lnTo>
                  <a:pt x="11605" y="2343"/>
                </a:lnTo>
                <a:lnTo>
                  <a:pt x="11599" y="2382"/>
                </a:lnTo>
                <a:lnTo>
                  <a:pt x="11597" y="2423"/>
                </a:lnTo>
                <a:lnTo>
                  <a:pt x="11597" y="2443"/>
                </a:lnTo>
                <a:lnTo>
                  <a:pt x="11599" y="2464"/>
                </a:lnTo>
                <a:lnTo>
                  <a:pt x="11605" y="2502"/>
                </a:lnTo>
                <a:lnTo>
                  <a:pt x="11610" y="2520"/>
                </a:lnTo>
                <a:lnTo>
                  <a:pt x="11618" y="2538"/>
                </a:lnTo>
                <a:lnTo>
                  <a:pt x="11627" y="2554"/>
                </a:lnTo>
                <a:lnTo>
                  <a:pt x="11638" y="2569"/>
                </a:lnTo>
                <a:lnTo>
                  <a:pt x="11646" y="2576"/>
                </a:lnTo>
                <a:lnTo>
                  <a:pt x="11655" y="2584"/>
                </a:lnTo>
                <a:lnTo>
                  <a:pt x="11675" y="2594"/>
                </a:lnTo>
                <a:lnTo>
                  <a:pt x="11687" y="2600"/>
                </a:lnTo>
                <a:lnTo>
                  <a:pt x="11699" y="2603"/>
                </a:lnTo>
                <a:lnTo>
                  <a:pt x="11726" y="2605"/>
                </a:lnTo>
                <a:lnTo>
                  <a:pt x="11754" y="2603"/>
                </a:lnTo>
                <a:lnTo>
                  <a:pt x="11777" y="2594"/>
                </a:lnTo>
                <a:lnTo>
                  <a:pt x="11798" y="2584"/>
                </a:lnTo>
                <a:lnTo>
                  <a:pt x="11807" y="2576"/>
                </a:lnTo>
                <a:lnTo>
                  <a:pt x="11814" y="2569"/>
                </a:lnTo>
                <a:lnTo>
                  <a:pt x="11826" y="2554"/>
                </a:lnTo>
                <a:lnTo>
                  <a:pt x="11835" y="2538"/>
                </a:lnTo>
                <a:lnTo>
                  <a:pt x="11843" y="2520"/>
                </a:lnTo>
                <a:lnTo>
                  <a:pt x="11848" y="2502"/>
                </a:lnTo>
                <a:lnTo>
                  <a:pt x="11855" y="2464"/>
                </a:lnTo>
                <a:lnTo>
                  <a:pt x="11856" y="2423"/>
                </a:lnTo>
                <a:lnTo>
                  <a:pt x="11856" y="2402"/>
                </a:lnTo>
                <a:lnTo>
                  <a:pt x="11855" y="2382"/>
                </a:lnTo>
                <a:lnTo>
                  <a:pt x="11848" y="2343"/>
                </a:lnTo>
                <a:lnTo>
                  <a:pt x="11843" y="2325"/>
                </a:lnTo>
                <a:lnTo>
                  <a:pt x="11835" y="2307"/>
                </a:lnTo>
                <a:lnTo>
                  <a:pt x="11826" y="2291"/>
                </a:lnTo>
                <a:lnTo>
                  <a:pt x="11814" y="2277"/>
                </a:lnTo>
                <a:close/>
                <a:moveTo>
                  <a:pt x="4921" y="3366"/>
                </a:moveTo>
                <a:lnTo>
                  <a:pt x="4904" y="3364"/>
                </a:lnTo>
                <a:lnTo>
                  <a:pt x="4884" y="3357"/>
                </a:lnTo>
                <a:lnTo>
                  <a:pt x="4860" y="3346"/>
                </a:lnTo>
                <a:lnTo>
                  <a:pt x="4834" y="3332"/>
                </a:lnTo>
                <a:lnTo>
                  <a:pt x="4776" y="3293"/>
                </a:lnTo>
                <a:lnTo>
                  <a:pt x="4743" y="3269"/>
                </a:lnTo>
                <a:lnTo>
                  <a:pt x="4708" y="3241"/>
                </a:lnTo>
                <a:lnTo>
                  <a:pt x="4652" y="3194"/>
                </a:lnTo>
                <a:lnTo>
                  <a:pt x="4590" y="3139"/>
                </a:lnTo>
                <a:lnTo>
                  <a:pt x="4451" y="3010"/>
                </a:lnTo>
                <a:lnTo>
                  <a:pt x="4299" y="2862"/>
                </a:lnTo>
                <a:lnTo>
                  <a:pt x="4144" y="2704"/>
                </a:lnTo>
                <a:lnTo>
                  <a:pt x="3998" y="2546"/>
                </a:lnTo>
                <a:lnTo>
                  <a:pt x="3929" y="2469"/>
                </a:lnTo>
                <a:lnTo>
                  <a:pt x="3866" y="2395"/>
                </a:lnTo>
                <a:lnTo>
                  <a:pt x="3808" y="2326"/>
                </a:lnTo>
                <a:lnTo>
                  <a:pt x="3783" y="2293"/>
                </a:lnTo>
                <a:lnTo>
                  <a:pt x="3760" y="2262"/>
                </a:lnTo>
                <a:lnTo>
                  <a:pt x="3719" y="2204"/>
                </a:lnTo>
                <a:lnTo>
                  <a:pt x="3702" y="2179"/>
                </a:lnTo>
                <a:lnTo>
                  <a:pt x="3688" y="2155"/>
                </a:lnTo>
                <a:lnTo>
                  <a:pt x="3640" y="2059"/>
                </a:lnTo>
                <a:lnTo>
                  <a:pt x="3622" y="2014"/>
                </a:lnTo>
                <a:lnTo>
                  <a:pt x="3605" y="1968"/>
                </a:lnTo>
                <a:lnTo>
                  <a:pt x="3592" y="1923"/>
                </a:lnTo>
                <a:lnTo>
                  <a:pt x="3582" y="1879"/>
                </a:lnTo>
                <a:lnTo>
                  <a:pt x="3577" y="1833"/>
                </a:lnTo>
                <a:lnTo>
                  <a:pt x="3575" y="1786"/>
                </a:lnTo>
                <a:lnTo>
                  <a:pt x="3578" y="1735"/>
                </a:lnTo>
                <a:lnTo>
                  <a:pt x="3586" y="1682"/>
                </a:lnTo>
                <a:lnTo>
                  <a:pt x="3599" y="1627"/>
                </a:lnTo>
                <a:lnTo>
                  <a:pt x="3607" y="1599"/>
                </a:lnTo>
                <a:lnTo>
                  <a:pt x="3617" y="1572"/>
                </a:lnTo>
                <a:lnTo>
                  <a:pt x="3641" y="1514"/>
                </a:lnTo>
                <a:lnTo>
                  <a:pt x="3670" y="1454"/>
                </a:lnTo>
                <a:lnTo>
                  <a:pt x="3706" y="1394"/>
                </a:lnTo>
                <a:lnTo>
                  <a:pt x="3726" y="1362"/>
                </a:lnTo>
                <a:lnTo>
                  <a:pt x="3748" y="1329"/>
                </a:lnTo>
                <a:lnTo>
                  <a:pt x="3781" y="1283"/>
                </a:lnTo>
                <a:lnTo>
                  <a:pt x="3824" y="1228"/>
                </a:lnTo>
                <a:lnTo>
                  <a:pt x="3929" y="1101"/>
                </a:lnTo>
                <a:lnTo>
                  <a:pt x="4057" y="952"/>
                </a:lnTo>
                <a:lnTo>
                  <a:pt x="4203" y="787"/>
                </a:lnTo>
                <a:lnTo>
                  <a:pt x="4526" y="423"/>
                </a:lnTo>
                <a:lnTo>
                  <a:pt x="4690" y="234"/>
                </a:lnTo>
                <a:lnTo>
                  <a:pt x="4850" y="47"/>
                </a:lnTo>
                <a:lnTo>
                  <a:pt x="4860" y="45"/>
                </a:lnTo>
                <a:lnTo>
                  <a:pt x="4872" y="43"/>
                </a:lnTo>
                <a:lnTo>
                  <a:pt x="4892" y="41"/>
                </a:lnTo>
                <a:lnTo>
                  <a:pt x="4925" y="45"/>
                </a:lnTo>
                <a:lnTo>
                  <a:pt x="4944" y="49"/>
                </a:lnTo>
                <a:lnTo>
                  <a:pt x="4962" y="56"/>
                </a:lnTo>
                <a:lnTo>
                  <a:pt x="4983" y="63"/>
                </a:lnTo>
                <a:lnTo>
                  <a:pt x="5003" y="73"/>
                </a:lnTo>
                <a:lnTo>
                  <a:pt x="5043" y="96"/>
                </a:lnTo>
                <a:lnTo>
                  <a:pt x="5082" y="125"/>
                </a:lnTo>
                <a:lnTo>
                  <a:pt x="5100" y="142"/>
                </a:lnTo>
                <a:lnTo>
                  <a:pt x="5119" y="159"/>
                </a:lnTo>
                <a:lnTo>
                  <a:pt x="5135" y="178"/>
                </a:lnTo>
                <a:lnTo>
                  <a:pt x="5150" y="199"/>
                </a:lnTo>
                <a:lnTo>
                  <a:pt x="5165" y="221"/>
                </a:lnTo>
                <a:lnTo>
                  <a:pt x="5176" y="244"/>
                </a:lnTo>
                <a:lnTo>
                  <a:pt x="5184" y="266"/>
                </a:lnTo>
                <a:lnTo>
                  <a:pt x="5190" y="287"/>
                </a:lnTo>
                <a:lnTo>
                  <a:pt x="5193" y="310"/>
                </a:lnTo>
                <a:lnTo>
                  <a:pt x="5194" y="332"/>
                </a:lnTo>
                <a:lnTo>
                  <a:pt x="5193" y="357"/>
                </a:lnTo>
                <a:lnTo>
                  <a:pt x="5188" y="382"/>
                </a:lnTo>
                <a:lnTo>
                  <a:pt x="5182" y="407"/>
                </a:lnTo>
                <a:lnTo>
                  <a:pt x="5172" y="432"/>
                </a:lnTo>
                <a:lnTo>
                  <a:pt x="5161" y="458"/>
                </a:lnTo>
                <a:lnTo>
                  <a:pt x="5146" y="484"/>
                </a:lnTo>
                <a:lnTo>
                  <a:pt x="5130" y="511"/>
                </a:lnTo>
                <a:lnTo>
                  <a:pt x="5111" y="540"/>
                </a:lnTo>
                <a:lnTo>
                  <a:pt x="5078" y="584"/>
                </a:lnTo>
                <a:lnTo>
                  <a:pt x="5034" y="636"/>
                </a:lnTo>
                <a:lnTo>
                  <a:pt x="4927" y="763"/>
                </a:lnTo>
                <a:lnTo>
                  <a:pt x="4657" y="1067"/>
                </a:lnTo>
                <a:lnTo>
                  <a:pt x="4384" y="1378"/>
                </a:lnTo>
                <a:lnTo>
                  <a:pt x="4270" y="1512"/>
                </a:lnTo>
                <a:lnTo>
                  <a:pt x="4187" y="1621"/>
                </a:lnTo>
                <a:lnTo>
                  <a:pt x="4163" y="1655"/>
                </a:lnTo>
                <a:lnTo>
                  <a:pt x="4146" y="1688"/>
                </a:lnTo>
                <a:lnTo>
                  <a:pt x="4140" y="1706"/>
                </a:lnTo>
                <a:lnTo>
                  <a:pt x="4137" y="1722"/>
                </a:lnTo>
                <a:lnTo>
                  <a:pt x="4133" y="1739"/>
                </a:lnTo>
                <a:lnTo>
                  <a:pt x="4132" y="1757"/>
                </a:lnTo>
                <a:lnTo>
                  <a:pt x="4133" y="1778"/>
                </a:lnTo>
                <a:lnTo>
                  <a:pt x="4137" y="1797"/>
                </a:lnTo>
                <a:lnTo>
                  <a:pt x="4150" y="1837"/>
                </a:lnTo>
                <a:lnTo>
                  <a:pt x="4159" y="1858"/>
                </a:lnTo>
                <a:lnTo>
                  <a:pt x="4170" y="1880"/>
                </a:lnTo>
                <a:lnTo>
                  <a:pt x="4197" y="1923"/>
                </a:lnTo>
                <a:lnTo>
                  <a:pt x="4266" y="2007"/>
                </a:lnTo>
                <a:lnTo>
                  <a:pt x="4362" y="2117"/>
                </a:lnTo>
                <a:lnTo>
                  <a:pt x="4481" y="2245"/>
                </a:lnTo>
                <a:lnTo>
                  <a:pt x="4617" y="2388"/>
                </a:lnTo>
                <a:lnTo>
                  <a:pt x="4762" y="2537"/>
                </a:lnTo>
                <a:lnTo>
                  <a:pt x="4912" y="2688"/>
                </a:lnTo>
                <a:lnTo>
                  <a:pt x="5060" y="2834"/>
                </a:lnTo>
                <a:lnTo>
                  <a:pt x="5200" y="2968"/>
                </a:lnTo>
                <a:lnTo>
                  <a:pt x="5217" y="2986"/>
                </a:lnTo>
                <a:lnTo>
                  <a:pt x="5223" y="2995"/>
                </a:lnTo>
                <a:lnTo>
                  <a:pt x="5230" y="3005"/>
                </a:lnTo>
                <a:lnTo>
                  <a:pt x="5238" y="3026"/>
                </a:lnTo>
                <a:lnTo>
                  <a:pt x="5241" y="3038"/>
                </a:lnTo>
                <a:lnTo>
                  <a:pt x="5242" y="3051"/>
                </a:lnTo>
                <a:lnTo>
                  <a:pt x="5239" y="3076"/>
                </a:lnTo>
                <a:lnTo>
                  <a:pt x="5234" y="3102"/>
                </a:lnTo>
                <a:lnTo>
                  <a:pt x="5224" y="3129"/>
                </a:lnTo>
                <a:lnTo>
                  <a:pt x="5211" y="3156"/>
                </a:lnTo>
                <a:lnTo>
                  <a:pt x="5196" y="3182"/>
                </a:lnTo>
                <a:lnTo>
                  <a:pt x="5178" y="3208"/>
                </a:lnTo>
                <a:lnTo>
                  <a:pt x="5157" y="3233"/>
                </a:lnTo>
                <a:lnTo>
                  <a:pt x="5135" y="3257"/>
                </a:lnTo>
                <a:lnTo>
                  <a:pt x="5110" y="3280"/>
                </a:lnTo>
                <a:lnTo>
                  <a:pt x="5085" y="3300"/>
                </a:lnTo>
                <a:lnTo>
                  <a:pt x="5059" y="3319"/>
                </a:lnTo>
                <a:lnTo>
                  <a:pt x="5032" y="3335"/>
                </a:lnTo>
                <a:lnTo>
                  <a:pt x="5004" y="3347"/>
                </a:lnTo>
                <a:lnTo>
                  <a:pt x="4975" y="3357"/>
                </a:lnTo>
                <a:lnTo>
                  <a:pt x="4948" y="3364"/>
                </a:lnTo>
                <a:lnTo>
                  <a:pt x="4921" y="3366"/>
                </a:lnTo>
                <a:close/>
                <a:moveTo>
                  <a:pt x="1388" y="3419"/>
                </a:moveTo>
                <a:lnTo>
                  <a:pt x="1316" y="3417"/>
                </a:lnTo>
                <a:lnTo>
                  <a:pt x="1246" y="3410"/>
                </a:lnTo>
                <a:lnTo>
                  <a:pt x="1177" y="3401"/>
                </a:lnTo>
                <a:lnTo>
                  <a:pt x="1108" y="3386"/>
                </a:lnTo>
                <a:lnTo>
                  <a:pt x="1075" y="3378"/>
                </a:lnTo>
                <a:lnTo>
                  <a:pt x="1041" y="3368"/>
                </a:lnTo>
                <a:lnTo>
                  <a:pt x="976" y="3347"/>
                </a:lnTo>
                <a:lnTo>
                  <a:pt x="911" y="3321"/>
                </a:lnTo>
                <a:lnTo>
                  <a:pt x="879" y="3307"/>
                </a:lnTo>
                <a:lnTo>
                  <a:pt x="848" y="3293"/>
                </a:lnTo>
                <a:lnTo>
                  <a:pt x="787" y="3260"/>
                </a:lnTo>
                <a:lnTo>
                  <a:pt x="756" y="3243"/>
                </a:lnTo>
                <a:lnTo>
                  <a:pt x="727" y="3224"/>
                </a:lnTo>
                <a:lnTo>
                  <a:pt x="698" y="3206"/>
                </a:lnTo>
                <a:lnTo>
                  <a:pt x="668" y="3185"/>
                </a:lnTo>
                <a:lnTo>
                  <a:pt x="640" y="3164"/>
                </a:lnTo>
                <a:lnTo>
                  <a:pt x="613" y="3144"/>
                </a:lnTo>
                <a:lnTo>
                  <a:pt x="557" y="3098"/>
                </a:lnTo>
                <a:lnTo>
                  <a:pt x="505" y="3050"/>
                </a:lnTo>
                <a:lnTo>
                  <a:pt x="455" y="2999"/>
                </a:lnTo>
                <a:lnTo>
                  <a:pt x="406" y="2946"/>
                </a:lnTo>
                <a:lnTo>
                  <a:pt x="384" y="2918"/>
                </a:lnTo>
                <a:lnTo>
                  <a:pt x="361" y="2889"/>
                </a:lnTo>
                <a:lnTo>
                  <a:pt x="317" y="2831"/>
                </a:lnTo>
                <a:lnTo>
                  <a:pt x="276" y="2769"/>
                </a:lnTo>
                <a:lnTo>
                  <a:pt x="237" y="2704"/>
                </a:lnTo>
                <a:lnTo>
                  <a:pt x="218" y="2672"/>
                </a:lnTo>
                <a:lnTo>
                  <a:pt x="201" y="2639"/>
                </a:lnTo>
                <a:lnTo>
                  <a:pt x="167" y="2571"/>
                </a:lnTo>
                <a:lnTo>
                  <a:pt x="137" y="2500"/>
                </a:lnTo>
                <a:lnTo>
                  <a:pt x="110" y="2427"/>
                </a:lnTo>
                <a:lnTo>
                  <a:pt x="85" y="2353"/>
                </a:lnTo>
                <a:lnTo>
                  <a:pt x="63" y="2277"/>
                </a:lnTo>
                <a:lnTo>
                  <a:pt x="43" y="2199"/>
                </a:lnTo>
                <a:lnTo>
                  <a:pt x="28" y="2119"/>
                </a:lnTo>
                <a:lnTo>
                  <a:pt x="16" y="2039"/>
                </a:lnTo>
                <a:lnTo>
                  <a:pt x="8" y="1956"/>
                </a:lnTo>
                <a:lnTo>
                  <a:pt x="2" y="1872"/>
                </a:lnTo>
                <a:lnTo>
                  <a:pt x="0" y="1786"/>
                </a:lnTo>
                <a:lnTo>
                  <a:pt x="2" y="1699"/>
                </a:lnTo>
                <a:lnTo>
                  <a:pt x="8" y="1613"/>
                </a:lnTo>
                <a:lnTo>
                  <a:pt x="16" y="1527"/>
                </a:lnTo>
                <a:lnTo>
                  <a:pt x="29" y="1442"/>
                </a:lnTo>
                <a:lnTo>
                  <a:pt x="37" y="1400"/>
                </a:lnTo>
                <a:lnTo>
                  <a:pt x="46" y="1359"/>
                </a:lnTo>
                <a:lnTo>
                  <a:pt x="65" y="1276"/>
                </a:lnTo>
                <a:lnTo>
                  <a:pt x="89" y="1194"/>
                </a:lnTo>
                <a:lnTo>
                  <a:pt x="115" y="1114"/>
                </a:lnTo>
                <a:lnTo>
                  <a:pt x="145" y="1036"/>
                </a:lnTo>
                <a:lnTo>
                  <a:pt x="160" y="998"/>
                </a:lnTo>
                <a:lnTo>
                  <a:pt x="176" y="960"/>
                </a:lnTo>
                <a:lnTo>
                  <a:pt x="212" y="884"/>
                </a:lnTo>
                <a:lnTo>
                  <a:pt x="250" y="812"/>
                </a:lnTo>
                <a:lnTo>
                  <a:pt x="291" y="741"/>
                </a:lnTo>
                <a:lnTo>
                  <a:pt x="335" y="672"/>
                </a:lnTo>
                <a:lnTo>
                  <a:pt x="380" y="607"/>
                </a:lnTo>
                <a:lnTo>
                  <a:pt x="429" y="544"/>
                </a:lnTo>
                <a:lnTo>
                  <a:pt x="480" y="483"/>
                </a:lnTo>
                <a:lnTo>
                  <a:pt x="534" y="425"/>
                </a:lnTo>
                <a:lnTo>
                  <a:pt x="589" y="371"/>
                </a:lnTo>
                <a:lnTo>
                  <a:pt x="648" y="320"/>
                </a:lnTo>
                <a:lnTo>
                  <a:pt x="707" y="271"/>
                </a:lnTo>
                <a:lnTo>
                  <a:pt x="769" y="226"/>
                </a:lnTo>
                <a:lnTo>
                  <a:pt x="832" y="185"/>
                </a:lnTo>
                <a:lnTo>
                  <a:pt x="865" y="167"/>
                </a:lnTo>
                <a:lnTo>
                  <a:pt x="898" y="148"/>
                </a:lnTo>
                <a:lnTo>
                  <a:pt x="965" y="114"/>
                </a:lnTo>
                <a:lnTo>
                  <a:pt x="1034" y="85"/>
                </a:lnTo>
                <a:lnTo>
                  <a:pt x="1104" y="60"/>
                </a:lnTo>
                <a:lnTo>
                  <a:pt x="1140" y="48"/>
                </a:lnTo>
                <a:lnTo>
                  <a:pt x="1177" y="38"/>
                </a:lnTo>
                <a:lnTo>
                  <a:pt x="1250" y="22"/>
                </a:lnTo>
                <a:lnTo>
                  <a:pt x="1325" y="10"/>
                </a:lnTo>
                <a:lnTo>
                  <a:pt x="1400" y="2"/>
                </a:lnTo>
                <a:lnTo>
                  <a:pt x="1438" y="0"/>
                </a:lnTo>
                <a:lnTo>
                  <a:pt x="1477" y="0"/>
                </a:lnTo>
                <a:lnTo>
                  <a:pt x="1524" y="1"/>
                </a:lnTo>
                <a:lnTo>
                  <a:pt x="1571" y="4"/>
                </a:lnTo>
                <a:lnTo>
                  <a:pt x="1616" y="10"/>
                </a:lnTo>
                <a:lnTo>
                  <a:pt x="1660" y="17"/>
                </a:lnTo>
                <a:lnTo>
                  <a:pt x="1703" y="27"/>
                </a:lnTo>
                <a:lnTo>
                  <a:pt x="1744" y="38"/>
                </a:lnTo>
                <a:lnTo>
                  <a:pt x="1823" y="68"/>
                </a:lnTo>
                <a:lnTo>
                  <a:pt x="1860" y="84"/>
                </a:lnTo>
                <a:lnTo>
                  <a:pt x="1896" y="103"/>
                </a:lnTo>
                <a:lnTo>
                  <a:pt x="1931" y="124"/>
                </a:lnTo>
                <a:lnTo>
                  <a:pt x="1963" y="147"/>
                </a:lnTo>
                <a:lnTo>
                  <a:pt x="1996" y="171"/>
                </a:lnTo>
                <a:lnTo>
                  <a:pt x="2025" y="196"/>
                </a:lnTo>
                <a:lnTo>
                  <a:pt x="2055" y="223"/>
                </a:lnTo>
                <a:lnTo>
                  <a:pt x="2082" y="252"/>
                </a:lnTo>
                <a:lnTo>
                  <a:pt x="2108" y="283"/>
                </a:lnTo>
                <a:lnTo>
                  <a:pt x="2132" y="314"/>
                </a:lnTo>
                <a:lnTo>
                  <a:pt x="2155" y="347"/>
                </a:lnTo>
                <a:lnTo>
                  <a:pt x="2175" y="381"/>
                </a:lnTo>
                <a:lnTo>
                  <a:pt x="2213" y="454"/>
                </a:lnTo>
                <a:lnTo>
                  <a:pt x="2230" y="492"/>
                </a:lnTo>
                <a:lnTo>
                  <a:pt x="2245" y="531"/>
                </a:lnTo>
                <a:lnTo>
                  <a:pt x="2258" y="571"/>
                </a:lnTo>
                <a:lnTo>
                  <a:pt x="2269" y="613"/>
                </a:lnTo>
                <a:lnTo>
                  <a:pt x="2279" y="655"/>
                </a:lnTo>
                <a:lnTo>
                  <a:pt x="2286" y="697"/>
                </a:lnTo>
                <a:lnTo>
                  <a:pt x="2293" y="742"/>
                </a:lnTo>
                <a:lnTo>
                  <a:pt x="2297" y="787"/>
                </a:lnTo>
                <a:lnTo>
                  <a:pt x="2299" y="832"/>
                </a:lnTo>
                <a:lnTo>
                  <a:pt x="2300" y="878"/>
                </a:lnTo>
                <a:lnTo>
                  <a:pt x="2299" y="937"/>
                </a:lnTo>
                <a:lnTo>
                  <a:pt x="2294" y="994"/>
                </a:lnTo>
                <a:lnTo>
                  <a:pt x="2284" y="1052"/>
                </a:lnTo>
                <a:lnTo>
                  <a:pt x="2272" y="1109"/>
                </a:lnTo>
                <a:lnTo>
                  <a:pt x="2256" y="1165"/>
                </a:lnTo>
                <a:lnTo>
                  <a:pt x="2237" y="1219"/>
                </a:lnTo>
                <a:lnTo>
                  <a:pt x="2216" y="1274"/>
                </a:lnTo>
                <a:lnTo>
                  <a:pt x="2191" y="1328"/>
                </a:lnTo>
                <a:lnTo>
                  <a:pt x="2163" y="1380"/>
                </a:lnTo>
                <a:lnTo>
                  <a:pt x="2133" y="1432"/>
                </a:lnTo>
                <a:lnTo>
                  <a:pt x="2100" y="1482"/>
                </a:lnTo>
                <a:lnTo>
                  <a:pt x="2066" y="1530"/>
                </a:lnTo>
                <a:lnTo>
                  <a:pt x="2028" y="1577"/>
                </a:lnTo>
                <a:lnTo>
                  <a:pt x="1988" y="1623"/>
                </a:lnTo>
                <a:lnTo>
                  <a:pt x="1946" y="1667"/>
                </a:lnTo>
                <a:lnTo>
                  <a:pt x="1903" y="1709"/>
                </a:lnTo>
                <a:lnTo>
                  <a:pt x="1857" y="1749"/>
                </a:lnTo>
                <a:lnTo>
                  <a:pt x="1810" y="1787"/>
                </a:lnTo>
                <a:lnTo>
                  <a:pt x="1761" y="1824"/>
                </a:lnTo>
                <a:lnTo>
                  <a:pt x="1711" y="1858"/>
                </a:lnTo>
                <a:lnTo>
                  <a:pt x="1659" y="1891"/>
                </a:lnTo>
                <a:lnTo>
                  <a:pt x="1633" y="1906"/>
                </a:lnTo>
                <a:lnTo>
                  <a:pt x="1606" y="1920"/>
                </a:lnTo>
                <a:lnTo>
                  <a:pt x="1553" y="1948"/>
                </a:lnTo>
                <a:lnTo>
                  <a:pt x="1497" y="1972"/>
                </a:lnTo>
                <a:lnTo>
                  <a:pt x="1442" y="1995"/>
                </a:lnTo>
                <a:lnTo>
                  <a:pt x="1385" y="2015"/>
                </a:lnTo>
                <a:lnTo>
                  <a:pt x="1328" y="2032"/>
                </a:lnTo>
                <a:lnTo>
                  <a:pt x="1270" y="2046"/>
                </a:lnTo>
                <a:lnTo>
                  <a:pt x="1213" y="2057"/>
                </a:lnTo>
                <a:lnTo>
                  <a:pt x="1154" y="2065"/>
                </a:lnTo>
                <a:lnTo>
                  <a:pt x="1096" y="2070"/>
                </a:lnTo>
                <a:lnTo>
                  <a:pt x="1038" y="2071"/>
                </a:lnTo>
                <a:lnTo>
                  <a:pt x="1013" y="2070"/>
                </a:lnTo>
                <a:lnTo>
                  <a:pt x="988" y="2066"/>
                </a:lnTo>
                <a:lnTo>
                  <a:pt x="965" y="2058"/>
                </a:lnTo>
                <a:lnTo>
                  <a:pt x="942" y="2048"/>
                </a:lnTo>
                <a:lnTo>
                  <a:pt x="920" y="2036"/>
                </a:lnTo>
                <a:lnTo>
                  <a:pt x="901" y="2022"/>
                </a:lnTo>
                <a:lnTo>
                  <a:pt x="882" y="2005"/>
                </a:lnTo>
                <a:lnTo>
                  <a:pt x="865" y="1986"/>
                </a:lnTo>
                <a:lnTo>
                  <a:pt x="850" y="1966"/>
                </a:lnTo>
                <a:lnTo>
                  <a:pt x="836" y="1943"/>
                </a:lnTo>
                <a:lnTo>
                  <a:pt x="824" y="1919"/>
                </a:lnTo>
                <a:lnTo>
                  <a:pt x="814" y="1894"/>
                </a:lnTo>
                <a:lnTo>
                  <a:pt x="805" y="1867"/>
                </a:lnTo>
                <a:lnTo>
                  <a:pt x="800" y="1840"/>
                </a:lnTo>
                <a:lnTo>
                  <a:pt x="795" y="1810"/>
                </a:lnTo>
                <a:lnTo>
                  <a:pt x="794" y="1781"/>
                </a:lnTo>
                <a:lnTo>
                  <a:pt x="798" y="1729"/>
                </a:lnTo>
                <a:lnTo>
                  <a:pt x="803" y="1705"/>
                </a:lnTo>
                <a:lnTo>
                  <a:pt x="810" y="1683"/>
                </a:lnTo>
                <a:lnTo>
                  <a:pt x="818" y="1663"/>
                </a:lnTo>
                <a:lnTo>
                  <a:pt x="829" y="1646"/>
                </a:lnTo>
                <a:lnTo>
                  <a:pt x="843" y="1631"/>
                </a:lnTo>
                <a:lnTo>
                  <a:pt x="859" y="1621"/>
                </a:lnTo>
                <a:lnTo>
                  <a:pt x="911" y="1612"/>
                </a:lnTo>
                <a:lnTo>
                  <a:pt x="962" y="1602"/>
                </a:lnTo>
                <a:lnTo>
                  <a:pt x="1011" y="1590"/>
                </a:lnTo>
                <a:lnTo>
                  <a:pt x="1059" y="1577"/>
                </a:lnTo>
                <a:lnTo>
                  <a:pt x="1106" y="1562"/>
                </a:lnTo>
                <a:lnTo>
                  <a:pt x="1153" y="1546"/>
                </a:lnTo>
                <a:lnTo>
                  <a:pt x="1197" y="1528"/>
                </a:lnTo>
                <a:lnTo>
                  <a:pt x="1242" y="1509"/>
                </a:lnTo>
                <a:lnTo>
                  <a:pt x="1284" y="1488"/>
                </a:lnTo>
                <a:lnTo>
                  <a:pt x="1326" y="1466"/>
                </a:lnTo>
                <a:lnTo>
                  <a:pt x="1404" y="1420"/>
                </a:lnTo>
                <a:lnTo>
                  <a:pt x="1477" y="1369"/>
                </a:lnTo>
                <a:lnTo>
                  <a:pt x="1511" y="1341"/>
                </a:lnTo>
                <a:lnTo>
                  <a:pt x="1544" y="1314"/>
                </a:lnTo>
                <a:lnTo>
                  <a:pt x="1574" y="1286"/>
                </a:lnTo>
                <a:lnTo>
                  <a:pt x="1604" y="1256"/>
                </a:lnTo>
                <a:lnTo>
                  <a:pt x="1632" y="1226"/>
                </a:lnTo>
                <a:lnTo>
                  <a:pt x="1658" y="1196"/>
                </a:lnTo>
                <a:lnTo>
                  <a:pt x="1682" y="1164"/>
                </a:lnTo>
                <a:lnTo>
                  <a:pt x="1704" y="1132"/>
                </a:lnTo>
                <a:lnTo>
                  <a:pt x="1724" y="1101"/>
                </a:lnTo>
                <a:lnTo>
                  <a:pt x="1743" y="1068"/>
                </a:lnTo>
                <a:lnTo>
                  <a:pt x="1759" y="1036"/>
                </a:lnTo>
                <a:lnTo>
                  <a:pt x="1773" y="1003"/>
                </a:lnTo>
                <a:lnTo>
                  <a:pt x="1796" y="938"/>
                </a:lnTo>
                <a:lnTo>
                  <a:pt x="1804" y="905"/>
                </a:lnTo>
                <a:lnTo>
                  <a:pt x="1810" y="872"/>
                </a:lnTo>
                <a:lnTo>
                  <a:pt x="1814" y="840"/>
                </a:lnTo>
                <a:lnTo>
                  <a:pt x="1815" y="807"/>
                </a:lnTo>
                <a:lnTo>
                  <a:pt x="1812" y="768"/>
                </a:lnTo>
                <a:lnTo>
                  <a:pt x="1808" y="731"/>
                </a:lnTo>
                <a:lnTo>
                  <a:pt x="1799" y="696"/>
                </a:lnTo>
                <a:lnTo>
                  <a:pt x="1789" y="664"/>
                </a:lnTo>
                <a:lnTo>
                  <a:pt x="1774" y="633"/>
                </a:lnTo>
                <a:lnTo>
                  <a:pt x="1757" y="605"/>
                </a:lnTo>
                <a:lnTo>
                  <a:pt x="1737" y="579"/>
                </a:lnTo>
                <a:lnTo>
                  <a:pt x="1715" y="555"/>
                </a:lnTo>
                <a:lnTo>
                  <a:pt x="1689" y="534"/>
                </a:lnTo>
                <a:lnTo>
                  <a:pt x="1660" y="516"/>
                </a:lnTo>
                <a:lnTo>
                  <a:pt x="1630" y="499"/>
                </a:lnTo>
                <a:lnTo>
                  <a:pt x="1597" y="486"/>
                </a:lnTo>
                <a:lnTo>
                  <a:pt x="1579" y="481"/>
                </a:lnTo>
                <a:lnTo>
                  <a:pt x="1561" y="477"/>
                </a:lnTo>
                <a:lnTo>
                  <a:pt x="1523" y="469"/>
                </a:lnTo>
                <a:lnTo>
                  <a:pt x="1483" y="465"/>
                </a:lnTo>
                <a:lnTo>
                  <a:pt x="1441" y="462"/>
                </a:lnTo>
                <a:lnTo>
                  <a:pt x="1401" y="465"/>
                </a:lnTo>
                <a:lnTo>
                  <a:pt x="1359" y="470"/>
                </a:lnTo>
                <a:lnTo>
                  <a:pt x="1318" y="478"/>
                </a:lnTo>
                <a:lnTo>
                  <a:pt x="1277" y="490"/>
                </a:lnTo>
                <a:lnTo>
                  <a:pt x="1235" y="504"/>
                </a:lnTo>
                <a:lnTo>
                  <a:pt x="1195" y="522"/>
                </a:lnTo>
                <a:lnTo>
                  <a:pt x="1154" y="543"/>
                </a:lnTo>
                <a:lnTo>
                  <a:pt x="1114" y="566"/>
                </a:lnTo>
                <a:lnTo>
                  <a:pt x="1074" y="592"/>
                </a:lnTo>
                <a:lnTo>
                  <a:pt x="1034" y="621"/>
                </a:lnTo>
                <a:lnTo>
                  <a:pt x="995" y="653"/>
                </a:lnTo>
                <a:lnTo>
                  <a:pt x="958" y="686"/>
                </a:lnTo>
                <a:lnTo>
                  <a:pt x="921" y="722"/>
                </a:lnTo>
                <a:lnTo>
                  <a:pt x="884" y="762"/>
                </a:lnTo>
                <a:lnTo>
                  <a:pt x="850" y="803"/>
                </a:lnTo>
                <a:lnTo>
                  <a:pt x="816" y="845"/>
                </a:lnTo>
                <a:lnTo>
                  <a:pt x="752" y="939"/>
                </a:lnTo>
                <a:lnTo>
                  <a:pt x="723" y="988"/>
                </a:lnTo>
                <a:lnTo>
                  <a:pt x="694" y="1039"/>
                </a:lnTo>
                <a:lnTo>
                  <a:pt x="681" y="1065"/>
                </a:lnTo>
                <a:lnTo>
                  <a:pt x="668" y="1091"/>
                </a:lnTo>
                <a:lnTo>
                  <a:pt x="643" y="1146"/>
                </a:lnTo>
                <a:lnTo>
                  <a:pt x="620" y="1202"/>
                </a:lnTo>
                <a:lnTo>
                  <a:pt x="600" y="1260"/>
                </a:lnTo>
                <a:lnTo>
                  <a:pt x="580" y="1318"/>
                </a:lnTo>
                <a:lnTo>
                  <a:pt x="564" y="1378"/>
                </a:lnTo>
                <a:lnTo>
                  <a:pt x="550" y="1440"/>
                </a:lnTo>
                <a:lnTo>
                  <a:pt x="538" y="1502"/>
                </a:lnTo>
                <a:lnTo>
                  <a:pt x="528" y="1567"/>
                </a:lnTo>
                <a:lnTo>
                  <a:pt x="522" y="1631"/>
                </a:lnTo>
                <a:lnTo>
                  <a:pt x="517" y="1696"/>
                </a:lnTo>
                <a:lnTo>
                  <a:pt x="516" y="1763"/>
                </a:lnTo>
                <a:lnTo>
                  <a:pt x="517" y="1822"/>
                </a:lnTo>
                <a:lnTo>
                  <a:pt x="519" y="1881"/>
                </a:lnTo>
                <a:lnTo>
                  <a:pt x="525" y="1939"/>
                </a:lnTo>
                <a:lnTo>
                  <a:pt x="532" y="1994"/>
                </a:lnTo>
                <a:lnTo>
                  <a:pt x="541" y="2049"/>
                </a:lnTo>
                <a:lnTo>
                  <a:pt x="552" y="2103"/>
                </a:lnTo>
                <a:lnTo>
                  <a:pt x="564" y="2155"/>
                </a:lnTo>
                <a:lnTo>
                  <a:pt x="579" y="2206"/>
                </a:lnTo>
                <a:lnTo>
                  <a:pt x="595" y="2255"/>
                </a:lnTo>
                <a:lnTo>
                  <a:pt x="614" y="2303"/>
                </a:lnTo>
                <a:lnTo>
                  <a:pt x="633" y="2350"/>
                </a:lnTo>
                <a:lnTo>
                  <a:pt x="655" y="2394"/>
                </a:lnTo>
                <a:lnTo>
                  <a:pt x="678" y="2437"/>
                </a:lnTo>
                <a:lnTo>
                  <a:pt x="703" y="2478"/>
                </a:lnTo>
                <a:lnTo>
                  <a:pt x="730" y="2517"/>
                </a:lnTo>
                <a:lnTo>
                  <a:pt x="758" y="2555"/>
                </a:lnTo>
                <a:lnTo>
                  <a:pt x="788" y="2591"/>
                </a:lnTo>
                <a:lnTo>
                  <a:pt x="819" y="2625"/>
                </a:lnTo>
                <a:lnTo>
                  <a:pt x="852" y="2656"/>
                </a:lnTo>
                <a:lnTo>
                  <a:pt x="887" y="2687"/>
                </a:lnTo>
                <a:lnTo>
                  <a:pt x="923" y="2714"/>
                </a:lnTo>
                <a:lnTo>
                  <a:pt x="959" y="2740"/>
                </a:lnTo>
                <a:lnTo>
                  <a:pt x="999" y="2763"/>
                </a:lnTo>
                <a:lnTo>
                  <a:pt x="1039" y="2785"/>
                </a:lnTo>
                <a:lnTo>
                  <a:pt x="1080" y="2803"/>
                </a:lnTo>
                <a:lnTo>
                  <a:pt x="1122" y="2820"/>
                </a:lnTo>
                <a:lnTo>
                  <a:pt x="1167" y="2834"/>
                </a:lnTo>
                <a:lnTo>
                  <a:pt x="1213" y="2846"/>
                </a:lnTo>
                <a:lnTo>
                  <a:pt x="1258" y="2856"/>
                </a:lnTo>
                <a:lnTo>
                  <a:pt x="1306" y="2862"/>
                </a:lnTo>
                <a:lnTo>
                  <a:pt x="1355" y="2865"/>
                </a:lnTo>
                <a:lnTo>
                  <a:pt x="1405" y="2867"/>
                </a:lnTo>
                <a:lnTo>
                  <a:pt x="1454" y="2865"/>
                </a:lnTo>
                <a:lnTo>
                  <a:pt x="1503" y="2862"/>
                </a:lnTo>
                <a:lnTo>
                  <a:pt x="1551" y="2857"/>
                </a:lnTo>
                <a:lnTo>
                  <a:pt x="1597" y="2848"/>
                </a:lnTo>
                <a:lnTo>
                  <a:pt x="1644" y="2838"/>
                </a:lnTo>
                <a:lnTo>
                  <a:pt x="1690" y="2825"/>
                </a:lnTo>
                <a:lnTo>
                  <a:pt x="1734" y="2811"/>
                </a:lnTo>
                <a:lnTo>
                  <a:pt x="1779" y="2794"/>
                </a:lnTo>
                <a:lnTo>
                  <a:pt x="1821" y="2775"/>
                </a:lnTo>
                <a:lnTo>
                  <a:pt x="1865" y="2754"/>
                </a:lnTo>
                <a:lnTo>
                  <a:pt x="1906" y="2732"/>
                </a:lnTo>
                <a:lnTo>
                  <a:pt x="1947" y="2708"/>
                </a:lnTo>
                <a:lnTo>
                  <a:pt x="1987" y="2681"/>
                </a:lnTo>
                <a:lnTo>
                  <a:pt x="2028" y="2653"/>
                </a:lnTo>
                <a:lnTo>
                  <a:pt x="2066" y="2624"/>
                </a:lnTo>
                <a:lnTo>
                  <a:pt x="2105" y="2592"/>
                </a:lnTo>
                <a:lnTo>
                  <a:pt x="2142" y="2560"/>
                </a:lnTo>
                <a:lnTo>
                  <a:pt x="2179" y="2525"/>
                </a:lnTo>
                <a:lnTo>
                  <a:pt x="2249" y="2452"/>
                </a:lnTo>
                <a:lnTo>
                  <a:pt x="2283" y="2413"/>
                </a:lnTo>
                <a:lnTo>
                  <a:pt x="2317" y="2374"/>
                </a:lnTo>
                <a:lnTo>
                  <a:pt x="2381" y="2290"/>
                </a:lnTo>
                <a:lnTo>
                  <a:pt x="2443" y="2201"/>
                </a:lnTo>
                <a:lnTo>
                  <a:pt x="2501" y="2108"/>
                </a:lnTo>
                <a:lnTo>
                  <a:pt x="2556" y="2011"/>
                </a:lnTo>
                <a:lnTo>
                  <a:pt x="2608" y="1912"/>
                </a:lnTo>
                <a:lnTo>
                  <a:pt x="2656" y="1809"/>
                </a:lnTo>
                <a:lnTo>
                  <a:pt x="2701" y="1704"/>
                </a:lnTo>
                <a:lnTo>
                  <a:pt x="2743" y="1596"/>
                </a:lnTo>
                <a:lnTo>
                  <a:pt x="2781" y="1487"/>
                </a:lnTo>
                <a:lnTo>
                  <a:pt x="2815" y="1376"/>
                </a:lnTo>
                <a:lnTo>
                  <a:pt x="2847" y="1265"/>
                </a:lnTo>
                <a:lnTo>
                  <a:pt x="2875" y="1153"/>
                </a:lnTo>
                <a:lnTo>
                  <a:pt x="2888" y="1098"/>
                </a:lnTo>
                <a:lnTo>
                  <a:pt x="2899" y="1041"/>
                </a:lnTo>
                <a:lnTo>
                  <a:pt x="2921" y="930"/>
                </a:lnTo>
                <a:lnTo>
                  <a:pt x="2938" y="819"/>
                </a:lnTo>
                <a:lnTo>
                  <a:pt x="2951" y="709"/>
                </a:lnTo>
                <a:lnTo>
                  <a:pt x="2961" y="602"/>
                </a:lnTo>
                <a:lnTo>
                  <a:pt x="2967" y="496"/>
                </a:lnTo>
                <a:lnTo>
                  <a:pt x="2971" y="393"/>
                </a:lnTo>
                <a:lnTo>
                  <a:pt x="2970" y="293"/>
                </a:lnTo>
                <a:lnTo>
                  <a:pt x="2964" y="196"/>
                </a:lnTo>
                <a:lnTo>
                  <a:pt x="2969" y="185"/>
                </a:lnTo>
                <a:lnTo>
                  <a:pt x="2974" y="174"/>
                </a:lnTo>
                <a:lnTo>
                  <a:pt x="2989" y="153"/>
                </a:lnTo>
                <a:lnTo>
                  <a:pt x="3010" y="134"/>
                </a:lnTo>
                <a:lnTo>
                  <a:pt x="3035" y="118"/>
                </a:lnTo>
                <a:lnTo>
                  <a:pt x="3064" y="103"/>
                </a:lnTo>
                <a:lnTo>
                  <a:pt x="3097" y="93"/>
                </a:lnTo>
                <a:lnTo>
                  <a:pt x="3134" y="85"/>
                </a:lnTo>
                <a:lnTo>
                  <a:pt x="3172" y="83"/>
                </a:lnTo>
                <a:lnTo>
                  <a:pt x="3206" y="84"/>
                </a:lnTo>
                <a:lnTo>
                  <a:pt x="3238" y="88"/>
                </a:lnTo>
                <a:lnTo>
                  <a:pt x="3270" y="94"/>
                </a:lnTo>
                <a:lnTo>
                  <a:pt x="3299" y="102"/>
                </a:lnTo>
                <a:lnTo>
                  <a:pt x="3326" y="114"/>
                </a:lnTo>
                <a:lnTo>
                  <a:pt x="3352" y="130"/>
                </a:lnTo>
                <a:lnTo>
                  <a:pt x="3376" y="147"/>
                </a:lnTo>
                <a:lnTo>
                  <a:pt x="3398" y="169"/>
                </a:lnTo>
                <a:lnTo>
                  <a:pt x="3418" y="194"/>
                </a:lnTo>
                <a:lnTo>
                  <a:pt x="3436" y="222"/>
                </a:lnTo>
                <a:lnTo>
                  <a:pt x="3451" y="255"/>
                </a:lnTo>
                <a:lnTo>
                  <a:pt x="3463" y="291"/>
                </a:lnTo>
                <a:lnTo>
                  <a:pt x="3468" y="311"/>
                </a:lnTo>
                <a:lnTo>
                  <a:pt x="3473" y="332"/>
                </a:lnTo>
                <a:lnTo>
                  <a:pt x="3480" y="376"/>
                </a:lnTo>
                <a:lnTo>
                  <a:pt x="3485" y="427"/>
                </a:lnTo>
                <a:lnTo>
                  <a:pt x="3487" y="481"/>
                </a:lnTo>
                <a:lnTo>
                  <a:pt x="3481" y="626"/>
                </a:lnTo>
                <a:lnTo>
                  <a:pt x="3473" y="769"/>
                </a:lnTo>
                <a:lnTo>
                  <a:pt x="3459" y="912"/>
                </a:lnTo>
                <a:lnTo>
                  <a:pt x="3439" y="1052"/>
                </a:lnTo>
                <a:lnTo>
                  <a:pt x="3428" y="1122"/>
                </a:lnTo>
                <a:lnTo>
                  <a:pt x="3416" y="1190"/>
                </a:lnTo>
                <a:lnTo>
                  <a:pt x="3402" y="1259"/>
                </a:lnTo>
                <a:lnTo>
                  <a:pt x="3388" y="1327"/>
                </a:lnTo>
                <a:lnTo>
                  <a:pt x="3373" y="1395"/>
                </a:lnTo>
                <a:lnTo>
                  <a:pt x="3355" y="1462"/>
                </a:lnTo>
                <a:lnTo>
                  <a:pt x="3319" y="1594"/>
                </a:lnTo>
                <a:lnTo>
                  <a:pt x="3278" y="1722"/>
                </a:lnTo>
                <a:lnTo>
                  <a:pt x="3234" y="1848"/>
                </a:lnTo>
                <a:lnTo>
                  <a:pt x="3210" y="1910"/>
                </a:lnTo>
                <a:lnTo>
                  <a:pt x="3185" y="1971"/>
                </a:lnTo>
                <a:lnTo>
                  <a:pt x="3133" y="2091"/>
                </a:lnTo>
                <a:lnTo>
                  <a:pt x="3076" y="2207"/>
                </a:lnTo>
                <a:lnTo>
                  <a:pt x="3046" y="2264"/>
                </a:lnTo>
                <a:lnTo>
                  <a:pt x="3015" y="2319"/>
                </a:lnTo>
                <a:lnTo>
                  <a:pt x="2951" y="2427"/>
                </a:lnTo>
                <a:lnTo>
                  <a:pt x="2884" y="2531"/>
                </a:lnTo>
                <a:lnTo>
                  <a:pt x="2813" y="2630"/>
                </a:lnTo>
                <a:lnTo>
                  <a:pt x="2776" y="2678"/>
                </a:lnTo>
                <a:lnTo>
                  <a:pt x="2738" y="2724"/>
                </a:lnTo>
                <a:lnTo>
                  <a:pt x="2700" y="2770"/>
                </a:lnTo>
                <a:lnTo>
                  <a:pt x="2661" y="2814"/>
                </a:lnTo>
                <a:lnTo>
                  <a:pt x="2621" y="2857"/>
                </a:lnTo>
                <a:lnTo>
                  <a:pt x="2580" y="2898"/>
                </a:lnTo>
                <a:lnTo>
                  <a:pt x="2538" y="2938"/>
                </a:lnTo>
                <a:lnTo>
                  <a:pt x="2496" y="2976"/>
                </a:lnTo>
                <a:lnTo>
                  <a:pt x="2452" y="3013"/>
                </a:lnTo>
                <a:lnTo>
                  <a:pt x="2408" y="3049"/>
                </a:lnTo>
                <a:lnTo>
                  <a:pt x="2318" y="3117"/>
                </a:lnTo>
                <a:lnTo>
                  <a:pt x="2272" y="3148"/>
                </a:lnTo>
                <a:lnTo>
                  <a:pt x="2225" y="3178"/>
                </a:lnTo>
                <a:lnTo>
                  <a:pt x="2178" y="3206"/>
                </a:lnTo>
                <a:lnTo>
                  <a:pt x="2129" y="3233"/>
                </a:lnTo>
                <a:lnTo>
                  <a:pt x="2080" y="3257"/>
                </a:lnTo>
                <a:lnTo>
                  <a:pt x="2031" y="3281"/>
                </a:lnTo>
                <a:lnTo>
                  <a:pt x="1980" y="3303"/>
                </a:lnTo>
                <a:lnTo>
                  <a:pt x="1930" y="3322"/>
                </a:lnTo>
                <a:lnTo>
                  <a:pt x="1878" y="3340"/>
                </a:lnTo>
                <a:lnTo>
                  <a:pt x="1825" y="3356"/>
                </a:lnTo>
                <a:lnTo>
                  <a:pt x="1773" y="3371"/>
                </a:lnTo>
                <a:lnTo>
                  <a:pt x="1720" y="3383"/>
                </a:lnTo>
                <a:lnTo>
                  <a:pt x="1666" y="3394"/>
                </a:lnTo>
                <a:lnTo>
                  <a:pt x="1611" y="3403"/>
                </a:lnTo>
                <a:lnTo>
                  <a:pt x="1556" y="3410"/>
                </a:lnTo>
                <a:lnTo>
                  <a:pt x="1501" y="3415"/>
                </a:lnTo>
                <a:lnTo>
                  <a:pt x="1444" y="3418"/>
                </a:lnTo>
                <a:lnTo>
                  <a:pt x="1388" y="341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9" name="Freeform 8"/>
          <p:cNvSpPr>
            <a:spLocks noEditPoints="1"/>
          </p:cNvSpPr>
          <p:nvPr userDrawn="1"/>
        </p:nvSpPr>
        <p:spPr bwMode="auto">
          <a:xfrm>
            <a:off x="6465888" y="0"/>
            <a:ext cx="5735637" cy="6021388"/>
          </a:xfrm>
          <a:custGeom>
            <a:avLst/>
            <a:gdLst>
              <a:gd name="T0" fmla="*/ 2538 w 3613"/>
              <a:gd name="T1" fmla="*/ 301 h 3793"/>
              <a:gd name="T2" fmla="*/ 2221 w 3613"/>
              <a:gd name="T3" fmla="*/ 184 h 3793"/>
              <a:gd name="T4" fmla="*/ 2944 w 3613"/>
              <a:gd name="T5" fmla="*/ 282 h 3793"/>
              <a:gd name="T6" fmla="*/ 1224 w 3613"/>
              <a:gd name="T7" fmla="*/ 358 h 3793"/>
              <a:gd name="T8" fmla="*/ 1799 w 3613"/>
              <a:gd name="T9" fmla="*/ 4 h 3793"/>
              <a:gd name="T10" fmla="*/ 197 w 3613"/>
              <a:gd name="T11" fmla="*/ 23 h 3793"/>
              <a:gd name="T12" fmla="*/ 3397 w 3613"/>
              <a:gd name="T13" fmla="*/ 23 h 3793"/>
              <a:gd name="T14" fmla="*/ 1621 w 3613"/>
              <a:gd name="T15" fmla="*/ 900 h 3793"/>
              <a:gd name="T16" fmla="*/ 1696 w 3613"/>
              <a:gd name="T17" fmla="*/ 1573 h 3793"/>
              <a:gd name="T18" fmla="*/ 271 w 3613"/>
              <a:gd name="T19" fmla="*/ 311 h 3793"/>
              <a:gd name="T20" fmla="*/ 425 w 3613"/>
              <a:gd name="T21" fmla="*/ 779 h 3793"/>
              <a:gd name="T22" fmla="*/ 400 w 3613"/>
              <a:gd name="T23" fmla="*/ 2087 h 3793"/>
              <a:gd name="T24" fmla="*/ 2813 w 3613"/>
              <a:gd name="T25" fmla="*/ 984 h 3793"/>
              <a:gd name="T26" fmla="*/ 2538 w 3613"/>
              <a:gd name="T27" fmla="*/ 1990 h 3793"/>
              <a:gd name="T28" fmla="*/ 2356 w 3613"/>
              <a:gd name="T29" fmla="*/ 802 h 3793"/>
              <a:gd name="T30" fmla="*/ 2129 w 3613"/>
              <a:gd name="T31" fmla="*/ 2011 h 3793"/>
              <a:gd name="T32" fmla="*/ 898 w 3613"/>
              <a:gd name="T33" fmla="*/ 895 h 3793"/>
              <a:gd name="T34" fmla="*/ 760 w 3613"/>
              <a:gd name="T35" fmla="*/ 2062 h 3793"/>
              <a:gd name="T36" fmla="*/ 3122 w 3613"/>
              <a:gd name="T37" fmla="*/ 944 h 3793"/>
              <a:gd name="T38" fmla="*/ 3057 w 3613"/>
              <a:gd name="T39" fmla="*/ 1937 h 3793"/>
              <a:gd name="T40" fmla="*/ 1306 w 3613"/>
              <a:gd name="T41" fmla="*/ 775 h 3793"/>
              <a:gd name="T42" fmla="*/ 1109 w 3613"/>
              <a:gd name="T43" fmla="*/ 2038 h 3793"/>
              <a:gd name="T44" fmla="*/ 3505 w 3613"/>
              <a:gd name="T45" fmla="*/ 950 h 3793"/>
              <a:gd name="T46" fmla="*/ 3427 w 3613"/>
              <a:gd name="T47" fmla="*/ 2076 h 3793"/>
              <a:gd name="T48" fmla="*/ 1880 w 3613"/>
              <a:gd name="T49" fmla="*/ 1079 h 3793"/>
              <a:gd name="T50" fmla="*/ 1960 w 3613"/>
              <a:gd name="T51" fmla="*/ 1662 h 3793"/>
              <a:gd name="T52" fmla="*/ 392 w 3613"/>
              <a:gd name="T53" fmla="*/ 1137 h 3793"/>
              <a:gd name="T54" fmla="*/ 523 w 3613"/>
              <a:gd name="T55" fmla="*/ 1825 h 3793"/>
              <a:gd name="T56" fmla="*/ 2739 w 3613"/>
              <a:gd name="T57" fmla="*/ 1285 h 3793"/>
              <a:gd name="T58" fmla="*/ 2699 w 3613"/>
              <a:gd name="T59" fmla="*/ 1761 h 3793"/>
              <a:gd name="T60" fmla="*/ 2261 w 3613"/>
              <a:gd name="T61" fmla="*/ 603 h 3793"/>
              <a:gd name="T62" fmla="*/ 2335 w 3613"/>
              <a:gd name="T63" fmla="*/ 1276 h 3793"/>
              <a:gd name="T64" fmla="*/ 991 w 3613"/>
              <a:gd name="T65" fmla="*/ 506 h 3793"/>
              <a:gd name="T66" fmla="*/ 1065 w 3613"/>
              <a:gd name="T67" fmla="*/ 1075 h 3793"/>
              <a:gd name="T68" fmla="*/ 3141 w 3613"/>
              <a:gd name="T69" fmla="*/ 525 h 3793"/>
              <a:gd name="T70" fmla="*/ 3279 w 3613"/>
              <a:gd name="T71" fmla="*/ 1213 h 3793"/>
              <a:gd name="T72" fmla="*/ 1344 w 3613"/>
              <a:gd name="T73" fmla="*/ 686 h 3793"/>
              <a:gd name="T74" fmla="*/ 1323 w 3613"/>
              <a:gd name="T75" fmla="*/ 1194 h 3793"/>
              <a:gd name="T76" fmla="*/ 1562 w 3613"/>
              <a:gd name="T77" fmla="*/ 1780 h 3793"/>
              <a:gd name="T78" fmla="*/ 1884 w 3613"/>
              <a:gd name="T79" fmla="*/ 2701 h 3793"/>
              <a:gd name="T80" fmla="*/ 1820 w 3613"/>
              <a:gd name="T81" fmla="*/ 3763 h 3793"/>
              <a:gd name="T82" fmla="*/ 2525 w 3613"/>
              <a:gd name="T83" fmla="*/ 3321 h 3793"/>
              <a:gd name="T84" fmla="*/ 2792 w 3613"/>
              <a:gd name="T85" fmla="*/ 3757 h 3793"/>
              <a:gd name="T86" fmla="*/ 2085 w 3613"/>
              <a:gd name="T87" fmla="*/ 3162 h 3793"/>
              <a:gd name="T88" fmla="*/ 771 w 3613"/>
              <a:gd name="T89" fmla="*/ 2559 h 3793"/>
              <a:gd name="T90" fmla="*/ 1003 w 3613"/>
              <a:gd name="T91" fmla="*/ 3313 h 3793"/>
              <a:gd name="T92" fmla="*/ 3027 w 3613"/>
              <a:gd name="T93" fmla="*/ 3150 h 3793"/>
              <a:gd name="T94" fmla="*/ 1221 w 3613"/>
              <a:gd name="T95" fmla="*/ 2595 h 3793"/>
              <a:gd name="T96" fmla="*/ 1342 w 3613"/>
              <a:gd name="T97" fmla="*/ 3234 h 3793"/>
              <a:gd name="T98" fmla="*/ 3508 w 3613"/>
              <a:gd name="T99" fmla="*/ 3171 h 3793"/>
              <a:gd name="T100" fmla="*/ 1969 w 3613"/>
              <a:gd name="T101" fmla="*/ 2299 h 3793"/>
              <a:gd name="T102" fmla="*/ 1795 w 3613"/>
              <a:gd name="T103" fmla="*/ 3429 h 3793"/>
              <a:gd name="T104" fmla="*/ 572 w 3613"/>
              <a:gd name="T105" fmla="*/ 2311 h 3793"/>
              <a:gd name="T106" fmla="*/ 2712 w 3613"/>
              <a:gd name="T107" fmla="*/ 2297 h 3793"/>
              <a:gd name="T108" fmla="*/ 2951 w 3613"/>
              <a:gd name="T109" fmla="*/ 2910 h 3793"/>
              <a:gd name="T110" fmla="*/ 2316 w 3613"/>
              <a:gd name="T111" fmla="*/ 2299 h 3793"/>
              <a:gd name="T112" fmla="*/ 2436 w 3613"/>
              <a:gd name="T113" fmla="*/ 2938 h 3793"/>
              <a:gd name="T114" fmla="*/ 927 w 3613"/>
              <a:gd name="T115" fmla="*/ 2362 h 3793"/>
              <a:gd name="T116" fmla="*/ 1012 w 3613"/>
              <a:gd name="T117" fmla="*/ 3010 h 3793"/>
              <a:gd name="T118" fmla="*/ 3228 w 3613"/>
              <a:gd name="T119" fmla="*/ 2415 h 3793"/>
              <a:gd name="T120" fmla="*/ 3448 w 3613"/>
              <a:gd name="T121" fmla="*/ 3039 h 3793"/>
              <a:gd name="T122" fmla="*/ 1338 w 3613"/>
              <a:gd name="T123" fmla="*/ 2290 h 3793"/>
              <a:gd name="T124" fmla="*/ 1594 w 3613"/>
              <a:gd name="T125" fmla="*/ 2891 h 37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613" h="3793">
                <a:moveTo>
                  <a:pt x="3613" y="3619"/>
                </a:moveTo>
                <a:lnTo>
                  <a:pt x="3603" y="3613"/>
                </a:lnTo>
                <a:lnTo>
                  <a:pt x="3594" y="3603"/>
                </a:lnTo>
                <a:lnTo>
                  <a:pt x="3588" y="3594"/>
                </a:lnTo>
                <a:lnTo>
                  <a:pt x="3582" y="3581"/>
                </a:lnTo>
                <a:lnTo>
                  <a:pt x="3579" y="3577"/>
                </a:lnTo>
                <a:lnTo>
                  <a:pt x="3577" y="3571"/>
                </a:lnTo>
                <a:lnTo>
                  <a:pt x="3573" y="3558"/>
                </a:lnTo>
                <a:lnTo>
                  <a:pt x="3571" y="3543"/>
                </a:lnTo>
                <a:lnTo>
                  <a:pt x="3569" y="3528"/>
                </a:lnTo>
                <a:lnTo>
                  <a:pt x="3571" y="3516"/>
                </a:lnTo>
                <a:lnTo>
                  <a:pt x="3573" y="3501"/>
                </a:lnTo>
                <a:lnTo>
                  <a:pt x="3577" y="3488"/>
                </a:lnTo>
                <a:lnTo>
                  <a:pt x="3582" y="3476"/>
                </a:lnTo>
                <a:lnTo>
                  <a:pt x="3588" y="3463"/>
                </a:lnTo>
                <a:lnTo>
                  <a:pt x="3594" y="3452"/>
                </a:lnTo>
                <a:lnTo>
                  <a:pt x="3603" y="3442"/>
                </a:lnTo>
                <a:lnTo>
                  <a:pt x="3613" y="3433"/>
                </a:lnTo>
                <a:lnTo>
                  <a:pt x="3613" y="3486"/>
                </a:lnTo>
                <a:lnTo>
                  <a:pt x="3609" y="3495"/>
                </a:lnTo>
                <a:lnTo>
                  <a:pt x="3607" y="3505"/>
                </a:lnTo>
                <a:lnTo>
                  <a:pt x="3605" y="3516"/>
                </a:lnTo>
                <a:lnTo>
                  <a:pt x="3603" y="3528"/>
                </a:lnTo>
                <a:lnTo>
                  <a:pt x="3605" y="3539"/>
                </a:lnTo>
                <a:lnTo>
                  <a:pt x="3607" y="3550"/>
                </a:lnTo>
                <a:lnTo>
                  <a:pt x="3609" y="3560"/>
                </a:lnTo>
                <a:lnTo>
                  <a:pt x="3613" y="3569"/>
                </a:lnTo>
                <a:lnTo>
                  <a:pt x="3613" y="3619"/>
                </a:lnTo>
                <a:close/>
                <a:moveTo>
                  <a:pt x="1653" y="398"/>
                </a:moveTo>
                <a:lnTo>
                  <a:pt x="1645" y="398"/>
                </a:lnTo>
                <a:lnTo>
                  <a:pt x="1636" y="396"/>
                </a:lnTo>
                <a:lnTo>
                  <a:pt x="1628" y="394"/>
                </a:lnTo>
                <a:lnTo>
                  <a:pt x="1619" y="392"/>
                </a:lnTo>
                <a:lnTo>
                  <a:pt x="1611" y="385"/>
                </a:lnTo>
                <a:lnTo>
                  <a:pt x="1602" y="381"/>
                </a:lnTo>
                <a:lnTo>
                  <a:pt x="1596" y="375"/>
                </a:lnTo>
                <a:lnTo>
                  <a:pt x="1590" y="368"/>
                </a:lnTo>
                <a:lnTo>
                  <a:pt x="1583" y="360"/>
                </a:lnTo>
                <a:lnTo>
                  <a:pt x="1579" y="351"/>
                </a:lnTo>
                <a:lnTo>
                  <a:pt x="1571" y="334"/>
                </a:lnTo>
                <a:lnTo>
                  <a:pt x="1569" y="324"/>
                </a:lnTo>
                <a:lnTo>
                  <a:pt x="1564" y="313"/>
                </a:lnTo>
                <a:lnTo>
                  <a:pt x="1564" y="303"/>
                </a:lnTo>
                <a:lnTo>
                  <a:pt x="1564" y="292"/>
                </a:lnTo>
                <a:lnTo>
                  <a:pt x="1564" y="282"/>
                </a:lnTo>
                <a:lnTo>
                  <a:pt x="1564" y="271"/>
                </a:lnTo>
                <a:lnTo>
                  <a:pt x="1569" y="260"/>
                </a:lnTo>
                <a:lnTo>
                  <a:pt x="1571" y="250"/>
                </a:lnTo>
                <a:lnTo>
                  <a:pt x="1575" y="239"/>
                </a:lnTo>
                <a:lnTo>
                  <a:pt x="1579" y="229"/>
                </a:lnTo>
                <a:lnTo>
                  <a:pt x="1585" y="220"/>
                </a:lnTo>
                <a:lnTo>
                  <a:pt x="1592" y="212"/>
                </a:lnTo>
                <a:lnTo>
                  <a:pt x="1598" y="203"/>
                </a:lnTo>
                <a:lnTo>
                  <a:pt x="1607" y="197"/>
                </a:lnTo>
                <a:lnTo>
                  <a:pt x="1613" y="190"/>
                </a:lnTo>
                <a:lnTo>
                  <a:pt x="1621" y="186"/>
                </a:lnTo>
                <a:lnTo>
                  <a:pt x="1630" y="182"/>
                </a:lnTo>
                <a:lnTo>
                  <a:pt x="1641" y="180"/>
                </a:lnTo>
                <a:lnTo>
                  <a:pt x="1649" y="178"/>
                </a:lnTo>
                <a:lnTo>
                  <a:pt x="1660" y="176"/>
                </a:lnTo>
                <a:lnTo>
                  <a:pt x="1672" y="178"/>
                </a:lnTo>
                <a:lnTo>
                  <a:pt x="1676" y="180"/>
                </a:lnTo>
                <a:lnTo>
                  <a:pt x="1683" y="180"/>
                </a:lnTo>
                <a:lnTo>
                  <a:pt x="1691" y="186"/>
                </a:lnTo>
                <a:lnTo>
                  <a:pt x="1700" y="193"/>
                </a:lnTo>
                <a:lnTo>
                  <a:pt x="1706" y="201"/>
                </a:lnTo>
                <a:lnTo>
                  <a:pt x="1710" y="212"/>
                </a:lnTo>
                <a:lnTo>
                  <a:pt x="1712" y="222"/>
                </a:lnTo>
                <a:lnTo>
                  <a:pt x="1715" y="233"/>
                </a:lnTo>
                <a:lnTo>
                  <a:pt x="1712" y="241"/>
                </a:lnTo>
                <a:lnTo>
                  <a:pt x="1712" y="248"/>
                </a:lnTo>
                <a:lnTo>
                  <a:pt x="1710" y="256"/>
                </a:lnTo>
                <a:lnTo>
                  <a:pt x="1706" y="262"/>
                </a:lnTo>
                <a:lnTo>
                  <a:pt x="1702" y="269"/>
                </a:lnTo>
                <a:lnTo>
                  <a:pt x="1698" y="275"/>
                </a:lnTo>
                <a:lnTo>
                  <a:pt x="1687" y="288"/>
                </a:lnTo>
                <a:lnTo>
                  <a:pt x="1681" y="292"/>
                </a:lnTo>
                <a:lnTo>
                  <a:pt x="1674" y="296"/>
                </a:lnTo>
                <a:lnTo>
                  <a:pt x="1662" y="305"/>
                </a:lnTo>
                <a:lnTo>
                  <a:pt x="1653" y="307"/>
                </a:lnTo>
                <a:lnTo>
                  <a:pt x="1647" y="309"/>
                </a:lnTo>
                <a:lnTo>
                  <a:pt x="1632" y="311"/>
                </a:lnTo>
                <a:lnTo>
                  <a:pt x="1626" y="309"/>
                </a:lnTo>
                <a:lnTo>
                  <a:pt x="1621" y="307"/>
                </a:lnTo>
                <a:lnTo>
                  <a:pt x="1619" y="305"/>
                </a:lnTo>
                <a:lnTo>
                  <a:pt x="1617" y="303"/>
                </a:lnTo>
                <a:lnTo>
                  <a:pt x="1617" y="301"/>
                </a:lnTo>
                <a:lnTo>
                  <a:pt x="1615" y="292"/>
                </a:lnTo>
                <a:lnTo>
                  <a:pt x="1617" y="286"/>
                </a:lnTo>
                <a:lnTo>
                  <a:pt x="1617" y="284"/>
                </a:lnTo>
                <a:lnTo>
                  <a:pt x="1619" y="282"/>
                </a:lnTo>
                <a:lnTo>
                  <a:pt x="1632" y="279"/>
                </a:lnTo>
                <a:lnTo>
                  <a:pt x="1645" y="275"/>
                </a:lnTo>
                <a:lnTo>
                  <a:pt x="1655" y="269"/>
                </a:lnTo>
                <a:lnTo>
                  <a:pt x="1664" y="262"/>
                </a:lnTo>
                <a:lnTo>
                  <a:pt x="1672" y="254"/>
                </a:lnTo>
                <a:lnTo>
                  <a:pt x="1674" y="250"/>
                </a:lnTo>
                <a:lnTo>
                  <a:pt x="1676" y="246"/>
                </a:lnTo>
                <a:lnTo>
                  <a:pt x="1681" y="237"/>
                </a:lnTo>
                <a:lnTo>
                  <a:pt x="1683" y="229"/>
                </a:lnTo>
                <a:lnTo>
                  <a:pt x="1681" y="224"/>
                </a:lnTo>
                <a:lnTo>
                  <a:pt x="1681" y="220"/>
                </a:lnTo>
                <a:lnTo>
                  <a:pt x="1679" y="216"/>
                </a:lnTo>
                <a:lnTo>
                  <a:pt x="1674" y="212"/>
                </a:lnTo>
                <a:lnTo>
                  <a:pt x="1672" y="210"/>
                </a:lnTo>
                <a:lnTo>
                  <a:pt x="1668" y="207"/>
                </a:lnTo>
                <a:lnTo>
                  <a:pt x="1657" y="207"/>
                </a:lnTo>
                <a:lnTo>
                  <a:pt x="1647" y="207"/>
                </a:lnTo>
                <a:lnTo>
                  <a:pt x="1641" y="210"/>
                </a:lnTo>
                <a:lnTo>
                  <a:pt x="1636" y="214"/>
                </a:lnTo>
                <a:lnTo>
                  <a:pt x="1630" y="216"/>
                </a:lnTo>
                <a:lnTo>
                  <a:pt x="1626" y="220"/>
                </a:lnTo>
                <a:lnTo>
                  <a:pt x="1617" y="231"/>
                </a:lnTo>
                <a:lnTo>
                  <a:pt x="1613" y="237"/>
                </a:lnTo>
                <a:lnTo>
                  <a:pt x="1609" y="243"/>
                </a:lnTo>
                <a:lnTo>
                  <a:pt x="1602" y="258"/>
                </a:lnTo>
                <a:lnTo>
                  <a:pt x="1598" y="275"/>
                </a:lnTo>
                <a:lnTo>
                  <a:pt x="1598" y="282"/>
                </a:lnTo>
                <a:lnTo>
                  <a:pt x="1596" y="292"/>
                </a:lnTo>
                <a:lnTo>
                  <a:pt x="1598" y="307"/>
                </a:lnTo>
                <a:lnTo>
                  <a:pt x="1600" y="313"/>
                </a:lnTo>
                <a:lnTo>
                  <a:pt x="1600" y="320"/>
                </a:lnTo>
                <a:lnTo>
                  <a:pt x="1607" y="332"/>
                </a:lnTo>
                <a:lnTo>
                  <a:pt x="1613" y="343"/>
                </a:lnTo>
                <a:lnTo>
                  <a:pt x="1621" y="351"/>
                </a:lnTo>
                <a:lnTo>
                  <a:pt x="1626" y="356"/>
                </a:lnTo>
                <a:lnTo>
                  <a:pt x="1632" y="358"/>
                </a:lnTo>
                <a:lnTo>
                  <a:pt x="1643" y="362"/>
                </a:lnTo>
                <a:lnTo>
                  <a:pt x="1649" y="362"/>
                </a:lnTo>
                <a:lnTo>
                  <a:pt x="1655" y="362"/>
                </a:lnTo>
                <a:lnTo>
                  <a:pt x="1668" y="362"/>
                </a:lnTo>
                <a:lnTo>
                  <a:pt x="1679" y="358"/>
                </a:lnTo>
                <a:lnTo>
                  <a:pt x="1685" y="356"/>
                </a:lnTo>
                <a:lnTo>
                  <a:pt x="1691" y="353"/>
                </a:lnTo>
                <a:lnTo>
                  <a:pt x="1700" y="345"/>
                </a:lnTo>
                <a:lnTo>
                  <a:pt x="1710" y="337"/>
                </a:lnTo>
                <a:lnTo>
                  <a:pt x="1719" y="326"/>
                </a:lnTo>
                <a:lnTo>
                  <a:pt x="1727" y="313"/>
                </a:lnTo>
                <a:lnTo>
                  <a:pt x="1734" y="301"/>
                </a:lnTo>
                <a:lnTo>
                  <a:pt x="1740" y="288"/>
                </a:lnTo>
                <a:lnTo>
                  <a:pt x="1744" y="273"/>
                </a:lnTo>
                <a:lnTo>
                  <a:pt x="1748" y="258"/>
                </a:lnTo>
                <a:lnTo>
                  <a:pt x="1753" y="243"/>
                </a:lnTo>
                <a:lnTo>
                  <a:pt x="1755" y="231"/>
                </a:lnTo>
                <a:lnTo>
                  <a:pt x="1757" y="216"/>
                </a:lnTo>
                <a:lnTo>
                  <a:pt x="1757" y="201"/>
                </a:lnTo>
                <a:lnTo>
                  <a:pt x="1757" y="188"/>
                </a:lnTo>
                <a:lnTo>
                  <a:pt x="1759" y="186"/>
                </a:lnTo>
                <a:lnTo>
                  <a:pt x="1761" y="184"/>
                </a:lnTo>
                <a:lnTo>
                  <a:pt x="1765" y="182"/>
                </a:lnTo>
                <a:lnTo>
                  <a:pt x="1770" y="182"/>
                </a:lnTo>
                <a:lnTo>
                  <a:pt x="1778" y="184"/>
                </a:lnTo>
                <a:lnTo>
                  <a:pt x="1782" y="184"/>
                </a:lnTo>
                <a:lnTo>
                  <a:pt x="1784" y="188"/>
                </a:lnTo>
                <a:lnTo>
                  <a:pt x="1789" y="195"/>
                </a:lnTo>
                <a:lnTo>
                  <a:pt x="1791" y="201"/>
                </a:lnTo>
                <a:lnTo>
                  <a:pt x="1791" y="207"/>
                </a:lnTo>
                <a:lnTo>
                  <a:pt x="1791" y="226"/>
                </a:lnTo>
                <a:lnTo>
                  <a:pt x="1789" y="246"/>
                </a:lnTo>
                <a:lnTo>
                  <a:pt x="1784" y="262"/>
                </a:lnTo>
                <a:lnTo>
                  <a:pt x="1780" y="279"/>
                </a:lnTo>
                <a:lnTo>
                  <a:pt x="1774" y="296"/>
                </a:lnTo>
                <a:lnTo>
                  <a:pt x="1768" y="313"/>
                </a:lnTo>
                <a:lnTo>
                  <a:pt x="1761" y="328"/>
                </a:lnTo>
                <a:lnTo>
                  <a:pt x="1751" y="341"/>
                </a:lnTo>
                <a:lnTo>
                  <a:pt x="1742" y="353"/>
                </a:lnTo>
                <a:lnTo>
                  <a:pt x="1738" y="360"/>
                </a:lnTo>
                <a:lnTo>
                  <a:pt x="1732" y="364"/>
                </a:lnTo>
                <a:lnTo>
                  <a:pt x="1721" y="375"/>
                </a:lnTo>
                <a:lnTo>
                  <a:pt x="1708" y="383"/>
                </a:lnTo>
                <a:lnTo>
                  <a:pt x="1696" y="389"/>
                </a:lnTo>
                <a:lnTo>
                  <a:pt x="1683" y="394"/>
                </a:lnTo>
                <a:lnTo>
                  <a:pt x="1668" y="398"/>
                </a:lnTo>
                <a:lnTo>
                  <a:pt x="1653" y="398"/>
                </a:lnTo>
                <a:close/>
                <a:moveTo>
                  <a:pt x="1884" y="396"/>
                </a:moveTo>
                <a:lnTo>
                  <a:pt x="1880" y="394"/>
                </a:lnTo>
                <a:lnTo>
                  <a:pt x="1871" y="387"/>
                </a:lnTo>
                <a:lnTo>
                  <a:pt x="1854" y="373"/>
                </a:lnTo>
                <a:lnTo>
                  <a:pt x="1833" y="351"/>
                </a:lnTo>
                <a:lnTo>
                  <a:pt x="1816" y="332"/>
                </a:lnTo>
                <a:lnTo>
                  <a:pt x="1808" y="324"/>
                </a:lnTo>
                <a:lnTo>
                  <a:pt x="1804" y="317"/>
                </a:lnTo>
                <a:lnTo>
                  <a:pt x="1799" y="305"/>
                </a:lnTo>
                <a:lnTo>
                  <a:pt x="1797" y="298"/>
                </a:lnTo>
                <a:lnTo>
                  <a:pt x="1797" y="292"/>
                </a:lnTo>
                <a:lnTo>
                  <a:pt x="1797" y="286"/>
                </a:lnTo>
                <a:lnTo>
                  <a:pt x="1799" y="279"/>
                </a:lnTo>
                <a:lnTo>
                  <a:pt x="1804" y="271"/>
                </a:lnTo>
                <a:lnTo>
                  <a:pt x="1808" y="262"/>
                </a:lnTo>
                <a:lnTo>
                  <a:pt x="1820" y="248"/>
                </a:lnTo>
                <a:lnTo>
                  <a:pt x="1837" y="229"/>
                </a:lnTo>
                <a:lnTo>
                  <a:pt x="1880" y="180"/>
                </a:lnTo>
                <a:lnTo>
                  <a:pt x="1886" y="180"/>
                </a:lnTo>
                <a:lnTo>
                  <a:pt x="1892" y="182"/>
                </a:lnTo>
                <a:lnTo>
                  <a:pt x="1897" y="186"/>
                </a:lnTo>
                <a:lnTo>
                  <a:pt x="1901" y="193"/>
                </a:lnTo>
                <a:lnTo>
                  <a:pt x="1903" y="199"/>
                </a:lnTo>
                <a:lnTo>
                  <a:pt x="1901" y="205"/>
                </a:lnTo>
                <a:lnTo>
                  <a:pt x="1899" y="207"/>
                </a:lnTo>
                <a:lnTo>
                  <a:pt x="1897" y="212"/>
                </a:lnTo>
                <a:lnTo>
                  <a:pt x="1867" y="246"/>
                </a:lnTo>
                <a:lnTo>
                  <a:pt x="1850" y="267"/>
                </a:lnTo>
                <a:lnTo>
                  <a:pt x="1837" y="282"/>
                </a:lnTo>
                <a:lnTo>
                  <a:pt x="1833" y="286"/>
                </a:lnTo>
                <a:lnTo>
                  <a:pt x="1833" y="290"/>
                </a:lnTo>
                <a:lnTo>
                  <a:pt x="1835" y="296"/>
                </a:lnTo>
                <a:lnTo>
                  <a:pt x="1837" y="301"/>
                </a:lnTo>
                <a:lnTo>
                  <a:pt x="1848" y="313"/>
                </a:lnTo>
                <a:lnTo>
                  <a:pt x="1865" y="332"/>
                </a:lnTo>
                <a:lnTo>
                  <a:pt x="1884" y="351"/>
                </a:lnTo>
                <a:lnTo>
                  <a:pt x="1903" y="370"/>
                </a:lnTo>
                <a:lnTo>
                  <a:pt x="1905" y="373"/>
                </a:lnTo>
                <a:lnTo>
                  <a:pt x="1905" y="375"/>
                </a:lnTo>
                <a:lnTo>
                  <a:pt x="1905" y="379"/>
                </a:lnTo>
                <a:lnTo>
                  <a:pt x="1903" y="381"/>
                </a:lnTo>
                <a:lnTo>
                  <a:pt x="1899" y="387"/>
                </a:lnTo>
                <a:lnTo>
                  <a:pt x="1892" y="394"/>
                </a:lnTo>
                <a:lnTo>
                  <a:pt x="1888" y="396"/>
                </a:lnTo>
                <a:lnTo>
                  <a:pt x="1884" y="396"/>
                </a:lnTo>
                <a:close/>
                <a:moveTo>
                  <a:pt x="2576" y="398"/>
                </a:moveTo>
                <a:lnTo>
                  <a:pt x="2566" y="398"/>
                </a:lnTo>
                <a:lnTo>
                  <a:pt x="2557" y="396"/>
                </a:lnTo>
                <a:lnTo>
                  <a:pt x="2549" y="394"/>
                </a:lnTo>
                <a:lnTo>
                  <a:pt x="2540" y="392"/>
                </a:lnTo>
                <a:lnTo>
                  <a:pt x="2532" y="385"/>
                </a:lnTo>
                <a:lnTo>
                  <a:pt x="2525" y="381"/>
                </a:lnTo>
                <a:lnTo>
                  <a:pt x="2517" y="375"/>
                </a:lnTo>
                <a:lnTo>
                  <a:pt x="2511" y="368"/>
                </a:lnTo>
                <a:lnTo>
                  <a:pt x="2506" y="360"/>
                </a:lnTo>
                <a:lnTo>
                  <a:pt x="2500" y="351"/>
                </a:lnTo>
                <a:lnTo>
                  <a:pt x="2491" y="334"/>
                </a:lnTo>
                <a:lnTo>
                  <a:pt x="2489" y="324"/>
                </a:lnTo>
                <a:lnTo>
                  <a:pt x="2487" y="313"/>
                </a:lnTo>
                <a:lnTo>
                  <a:pt x="2485" y="303"/>
                </a:lnTo>
                <a:lnTo>
                  <a:pt x="2485" y="292"/>
                </a:lnTo>
                <a:lnTo>
                  <a:pt x="2485" y="282"/>
                </a:lnTo>
                <a:lnTo>
                  <a:pt x="2487" y="271"/>
                </a:lnTo>
                <a:lnTo>
                  <a:pt x="2489" y="260"/>
                </a:lnTo>
                <a:lnTo>
                  <a:pt x="2491" y="250"/>
                </a:lnTo>
                <a:lnTo>
                  <a:pt x="2496" y="239"/>
                </a:lnTo>
                <a:lnTo>
                  <a:pt x="2502" y="229"/>
                </a:lnTo>
                <a:lnTo>
                  <a:pt x="2506" y="220"/>
                </a:lnTo>
                <a:lnTo>
                  <a:pt x="2513" y="212"/>
                </a:lnTo>
                <a:lnTo>
                  <a:pt x="2519" y="203"/>
                </a:lnTo>
                <a:lnTo>
                  <a:pt x="2527" y="197"/>
                </a:lnTo>
                <a:lnTo>
                  <a:pt x="2536" y="190"/>
                </a:lnTo>
                <a:lnTo>
                  <a:pt x="2544" y="186"/>
                </a:lnTo>
                <a:lnTo>
                  <a:pt x="2553" y="182"/>
                </a:lnTo>
                <a:lnTo>
                  <a:pt x="2561" y="180"/>
                </a:lnTo>
                <a:lnTo>
                  <a:pt x="2572" y="178"/>
                </a:lnTo>
                <a:lnTo>
                  <a:pt x="2580" y="176"/>
                </a:lnTo>
                <a:lnTo>
                  <a:pt x="2593" y="178"/>
                </a:lnTo>
                <a:lnTo>
                  <a:pt x="2599" y="180"/>
                </a:lnTo>
                <a:lnTo>
                  <a:pt x="2604" y="180"/>
                </a:lnTo>
                <a:lnTo>
                  <a:pt x="2612" y="186"/>
                </a:lnTo>
                <a:lnTo>
                  <a:pt x="2621" y="193"/>
                </a:lnTo>
                <a:lnTo>
                  <a:pt x="2627" y="201"/>
                </a:lnTo>
                <a:lnTo>
                  <a:pt x="2631" y="212"/>
                </a:lnTo>
                <a:lnTo>
                  <a:pt x="2633" y="222"/>
                </a:lnTo>
                <a:lnTo>
                  <a:pt x="2635" y="233"/>
                </a:lnTo>
                <a:lnTo>
                  <a:pt x="2635" y="241"/>
                </a:lnTo>
                <a:lnTo>
                  <a:pt x="2633" y="248"/>
                </a:lnTo>
                <a:lnTo>
                  <a:pt x="2631" y="256"/>
                </a:lnTo>
                <a:lnTo>
                  <a:pt x="2627" y="262"/>
                </a:lnTo>
                <a:lnTo>
                  <a:pt x="2625" y="269"/>
                </a:lnTo>
                <a:lnTo>
                  <a:pt x="2621" y="275"/>
                </a:lnTo>
                <a:lnTo>
                  <a:pt x="2610" y="288"/>
                </a:lnTo>
                <a:lnTo>
                  <a:pt x="2604" y="292"/>
                </a:lnTo>
                <a:lnTo>
                  <a:pt x="2597" y="296"/>
                </a:lnTo>
                <a:lnTo>
                  <a:pt x="2582" y="305"/>
                </a:lnTo>
                <a:lnTo>
                  <a:pt x="2576" y="307"/>
                </a:lnTo>
                <a:lnTo>
                  <a:pt x="2568" y="309"/>
                </a:lnTo>
                <a:lnTo>
                  <a:pt x="2553" y="311"/>
                </a:lnTo>
                <a:lnTo>
                  <a:pt x="2546" y="309"/>
                </a:lnTo>
                <a:lnTo>
                  <a:pt x="2544" y="307"/>
                </a:lnTo>
                <a:lnTo>
                  <a:pt x="2542" y="305"/>
                </a:lnTo>
                <a:lnTo>
                  <a:pt x="2540" y="303"/>
                </a:lnTo>
                <a:lnTo>
                  <a:pt x="2538" y="301"/>
                </a:lnTo>
                <a:lnTo>
                  <a:pt x="2536" y="292"/>
                </a:lnTo>
                <a:lnTo>
                  <a:pt x="2538" y="286"/>
                </a:lnTo>
                <a:lnTo>
                  <a:pt x="2538" y="284"/>
                </a:lnTo>
                <a:lnTo>
                  <a:pt x="2540" y="282"/>
                </a:lnTo>
                <a:lnTo>
                  <a:pt x="2555" y="279"/>
                </a:lnTo>
                <a:lnTo>
                  <a:pt x="2566" y="275"/>
                </a:lnTo>
                <a:lnTo>
                  <a:pt x="2576" y="269"/>
                </a:lnTo>
                <a:lnTo>
                  <a:pt x="2587" y="262"/>
                </a:lnTo>
                <a:lnTo>
                  <a:pt x="2593" y="254"/>
                </a:lnTo>
                <a:lnTo>
                  <a:pt x="2595" y="250"/>
                </a:lnTo>
                <a:lnTo>
                  <a:pt x="2599" y="246"/>
                </a:lnTo>
                <a:lnTo>
                  <a:pt x="2602" y="237"/>
                </a:lnTo>
                <a:lnTo>
                  <a:pt x="2604" y="229"/>
                </a:lnTo>
                <a:lnTo>
                  <a:pt x="2604" y="224"/>
                </a:lnTo>
                <a:lnTo>
                  <a:pt x="2602" y="220"/>
                </a:lnTo>
                <a:lnTo>
                  <a:pt x="2599" y="216"/>
                </a:lnTo>
                <a:lnTo>
                  <a:pt x="2597" y="212"/>
                </a:lnTo>
                <a:lnTo>
                  <a:pt x="2593" y="210"/>
                </a:lnTo>
                <a:lnTo>
                  <a:pt x="2589" y="207"/>
                </a:lnTo>
                <a:lnTo>
                  <a:pt x="2578" y="207"/>
                </a:lnTo>
                <a:lnTo>
                  <a:pt x="2568" y="207"/>
                </a:lnTo>
                <a:lnTo>
                  <a:pt x="2563" y="210"/>
                </a:lnTo>
                <a:lnTo>
                  <a:pt x="2557" y="214"/>
                </a:lnTo>
                <a:lnTo>
                  <a:pt x="2553" y="216"/>
                </a:lnTo>
                <a:lnTo>
                  <a:pt x="2546" y="220"/>
                </a:lnTo>
                <a:lnTo>
                  <a:pt x="2538" y="231"/>
                </a:lnTo>
                <a:lnTo>
                  <a:pt x="2534" y="237"/>
                </a:lnTo>
                <a:lnTo>
                  <a:pt x="2530" y="243"/>
                </a:lnTo>
                <a:lnTo>
                  <a:pt x="2523" y="258"/>
                </a:lnTo>
                <a:lnTo>
                  <a:pt x="2519" y="275"/>
                </a:lnTo>
                <a:lnTo>
                  <a:pt x="2519" y="282"/>
                </a:lnTo>
                <a:lnTo>
                  <a:pt x="2519" y="292"/>
                </a:lnTo>
                <a:lnTo>
                  <a:pt x="2519" y="307"/>
                </a:lnTo>
                <a:lnTo>
                  <a:pt x="2521" y="313"/>
                </a:lnTo>
                <a:lnTo>
                  <a:pt x="2523" y="320"/>
                </a:lnTo>
                <a:lnTo>
                  <a:pt x="2527" y="332"/>
                </a:lnTo>
                <a:lnTo>
                  <a:pt x="2534" y="343"/>
                </a:lnTo>
                <a:lnTo>
                  <a:pt x="2542" y="351"/>
                </a:lnTo>
                <a:lnTo>
                  <a:pt x="2549" y="356"/>
                </a:lnTo>
                <a:lnTo>
                  <a:pt x="2553" y="358"/>
                </a:lnTo>
                <a:lnTo>
                  <a:pt x="2563" y="362"/>
                </a:lnTo>
                <a:lnTo>
                  <a:pt x="2570" y="362"/>
                </a:lnTo>
                <a:lnTo>
                  <a:pt x="2576" y="362"/>
                </a:lnTo>
                <a:lnTo>
                  <a:pt x="2589" y="362"/>
                </a:lnTo>
                <a:lnTo>
                  <a:pt x="2602" y="358"/>
                </a:lnTo>
                <a:lnTo>
                  <a:pt x="2606" y="356"/>
                </a:lnTo>
                <a:lnTo>
                  <a:pt x="2612" y="353"/>
                </a:lnTo>
                <a:lnTo>
                  <a:pt x="2623" y="345"/>
                </a:lnTo>
                <a:lnTo>
                  <a:pt x="2631" y="337"/>
                </a:lnTo>
                <a:lnTo>
                  <a:pt x="2640" y="326"/>
                </a:lnTo>
                <a:lnTo>
                  <a:pt x="2648" y="313"/>
                </a:lnTo>
                <a:lnTo>
                  <a:pt x="2654" y="301"/>
                </a:lnTo>
                <a:lnTo>
                  <a:pt x="2661" y="288"/>
                </a:lnTo>
                <a:lnTo>
                  <a:pt x="2667" y="273"/>
                </a:lnTo>
                <a:lnTo>
                  <a:pt x="2671" y="258"/>
                </a:lnTo>
                <a:lnTo>
                  <a:pt x="2673" y="243"/>
                </a:lnTo>
                <a:lnTo>
                  <a:pt x="2676" y="231"/>
                </a:lnTo>
                <a:lnTo>
                  <a:pt x="2678" y="216"/>
                </a:lnTo>
                <a:lnTo>
                  <a:pt x="2678" y="201"/>
                </a:lnTo>
                <a:lnTo>
                  <a:pt x="2678" y="188"/>
                </a:lnTo>
                <a:lnTo>
                  <a:pt x="2680" y="186"/>
                </a:lnTo>
                <a:lnTo>
                  <a:pt x="2682" y="184"/>
                </a:lnTo>
                <a:lnTo>
                  <a:pt x="2686" y="182"/>
                </a:lnTo>
                <a:lnTo>
                  <a:pt x="2693" y="182"/>
                </a:lnTo>
                <a:lnTo>
                  <a:pt x="2701" y="184"/>
                </a:lnTo>
                <a:lnTo>
                  <a:pt x="2703" y="184"/>
                </a:lnTo>
                <a:lnTo>
                  <a:pt x="2707" y="188"/>
                </a:lnTo>
                <a:lnTo>
                  <a:pt x="2712" y="195"/>
                </a:lnTo>
                <a:lnTo>
                  <a:pt x="2712" y="201"/>
                </a:lnTo>
                <a:lnTo>
                  <a:pt x="2712" y="207"/>
                </a:lnTo>
                <a:lnTo>
                  <a:pt x="2712" y="226"/>
                </a:lnTo>
                <a:lnTo>
                  <a:pt x="2709" y="246"/>
                </a:lnTo>
                <a:lnTo>
                  <a:pt x="2705" y="262"/>
                </a:lnTo>
                <a:lnTo>
                  <a:pt x="2701" y="279"/>
                </a:lnTo>
                <a:lnTo>
                  <a:pt x="2697" y="296"/>
                </a:lnTo>
                <a:lnTo>
                  <a:pt x="2688" y="313"/>
                </a:lnTo>
                <a:lnTo>
                  <a:pt x="2682" y="328"/>
                </a:lnTo>
                <a:lnTo>
                  <a:pt x="2673" y="341"/>
                </a:lnTo>
                <a:lnTo>
                  <a:pt x="2663" y="353"/>
                </a:lnTo>
                <a:lnTo>
                  <a:pt x="2659" y="360"/>
                </a:lnTo>
                <a:lnTo>
                  <a:pt x="2652" y="364"/>
                </a:lnTo>
                <a:lnTo>
                  <a:pt x="2642" y="375"/>
                </a:lnTo>
                <a:lnTo>
                  <a:pt x="2631" y="383"/>
                </a:lnTo>
                <a:lnTo>
                  <a:pt x="2618" y="389"/>
                </a:lnTo>
                <a:lnTo>
                  <a:pt x="2604" y="394"/>
                </a:lnTo>
                <a:lnTo>
                  <a:pt x="2591" y="398"/>
                </a:lnTo>
                <a:lnTo>
                  <a:pt x="2576" y="398"/>
                </a:lnTo>
                <a:close/>
                <a:moveTo>
                  <a:pt x="2807" y="396"/>
                </a:moveTo>
                <a:lnTo>
                  <a:pt x="2801" y="394"/>
                </a:lnTo>
                <a:lnTo>
                  <a:pt x="2792" y="387"/>
                </a:lnTo>
                <a:lnTo>
                  <a:pt x="2775" y="373"/>
                </a:lnTo>
                <a:lnTo>
                  <a:pt x="2756" y="351"/>
                </a:lnTo>
                <a:lnTo>
                  <a:pt x="2737" y="332"/>
                </a:lnTo>
                <a:lnTo>
                  <a:pt x="2731" y="324"/>
                </a:lnTo>
                <a:lnTo>
                  <a:pt x="2726" y="317"/>
                </a:lnTo>
                <a:lnTo>
                  <a:pt x="2720" y="305"/>
                </a:lnTo>
                <a:lnTo>
                  <a:pt x="2718" y="298"/>
                </a:lnTo>
                <a:lnTo>
                  <a:pt x="2718" y="292"/>
                </a:lnTo>
                <a:lnTo>
                  <a:pt x="2718" y="286"/>
                </a:lnTo>
                <a:lnTo>
                  <a:pt x="2720" y="279"/>
                </a:lnTo>
                <a:lnTo>
                  <a:pt x="2724" y="271"/>
                </a:lnTo>
                <a:lnTo>
                  <a:pt x="2729" y="262"/>
                </a:lnTo>
                <a:lnTo>
                  <a:pt x="2741" y="248"/>
                </a:lnTo>
                <a:lnTo>
                  <a:pt x="2758" y="229"/>
                </a:lnTo>
                <a:lnTo>
                  <a:pt x="2801" y="180"/>
                </a:lnTo>
                <a:lnTo>
                  <a:pt x="2807" y="180"/>
                </a:lnTo>
                <a:lnTo>
                  <a:pt x="2813" y="182"/>
                </a:lnTo>
                <a:lnTo>
                  <a:pt x="2820" y="186"/>
                </a:lnTo>
                <a:lnTo>
                  <a:pt x="2822" y="193"/>
                </a:lnTo>
                <a:lnTo>
                  <a:pt x="2824" y="199"/>
                </a:lnTo>
                <a:lnTo>
                  <a:pt x="2822" y="205"/>
                </a:lnTo>
                <a:lnTo>
                  <a:pt x="2822" y="207"/>
                </a:lnTo>
                <a:lnTo>
                  <a:pt x="2817" y="212"/>
                </a:lnTo>
                <a:lnTo>
                  <a:pt x="2788" y="246"/>
                </a:lnTo>
                <a:lnTo>
                  <a:pt x="2771" y="267"/>
                </a:lnTo>
                <a:lnTo>
                  <a:pt x="2758" y="282"/>
                </a:lnTo>
                <a:lnTo>
                  <a:pt x="2756" y="286"/>
                </a:lnTo>
                <a:lnTo>
                  <a:pt x="2754" y="290"/>
                </a:lnTo>
                <a:lnTo>
                  <a:pt x="2756" y="296"/>
                </a:lnTo>
                <a:lnTo>
                  <a:pt x="2758" y="301"/>
                </a:lnTo>
                <a:lnTo>
                  <a:pt x="2769" y="313"/>
                </a:lnTo>
                <a:lnTo>
                  <a:pt x="2786" y="332"/>
                </a:lnTo>
                <a:lnTo>
                  <a:pt x="2805" y="351"/>
                </a:lnTo>
                <a:lnTo>
                  <a:pt x="2824" y="370"/>
                </a:lnTo>
                <a:lnTo>
                  <a:pt x="2826" y="373"/>
                </a:lnTo>
                <a:lnTo>
                  <a:pt x="2828" y="375"/>
                </a:lnTo>
                <a:lnTo>
                  <a:pt x="2826" y="379"/>
                </a:lnTo>
                <a:lnTo>
                  <a:pt x="2826" y="381"/>
                </a:lnTo>
                <a:lnTo>
                  <a:pt x="2820" y="387"/>
                </a:lnTo>
                <a:lnTo>
                  <a:pt x="2813" y="394"/>
                </a:lnTo>
                <a:lnTo>
                  <a:pt x="2809" y="396"/>
                </a:lnTo>
                <a:lnTo>
                  <a:pt x="2807" y="396"/>
                </a:lnTo>
                <a:close/>
                <a:moveTo>
                  <a:pt x="32" y="210"/>
                </a:moveTo>
                <a:lnTo>
                  <a:pt x="57" y="180"/>
                </a:lnTo>
                <a:lnTo>
                  <a:pt x="64" y="180"/>
                </a:lnTo>
                <a:lnTo>
                  <a:pt x="70" y="182"/>
                </a:lnTo>
                <a:lnTo>
                  <a:pt x="74" y="186"/>
                </a:lnTo>
                <a:lnTo>
                  <a:pt x="78" y="193"/>
                </a:lnTo>
                <a:lnTo>
                  <a:pt x="80" y="199"/>
                </a:lnTo>
                <a:lnTo>
                  <a:pt x="78" y="205"/>
                </a:lnTo>
                <a:lnTo>
                  <a:pt x="76" y="207"/>
                </a:lnTo>
                <a:lnTo>
                  <a:pt x="74" y="212"/>
                </a:lnTo>
                <a:lnTo>
                  <a:pt x="59" y="231"/>
                </a:lnTo>
                <a:lnTo>
                  <a:pt x="38" y="254"/>
                </a:lnTo>
                <a:lnTo>
                  <a:pt x="32" y="210"/>
                </a:lnTo>
                <a:close/>
                <a:moveTo>
                  <a:pt x="61" y="396"/>
                </a:moveTo>
                <a:lnTo>
                  <a:pt x="57" y="394"/>
                </a:lnTo>
                <a:lnTo>
                  <a:pt x="51" y="339"/>
                </a:lnTo>
                <a:lnTo>
                  <a:pt x="80" y="370"/>
                </a:lnTo>
                <a:lnTo>
                  <a:pt x="83" y="373"/>
                </a:lnTo>
                <a:lnTo>
                  <a:pt x="83" y="375"/>
                </a:lnTo>
                <a:lnTo>
                  <a:pt x="83" y="379"/>
                </a:lnTo>
                <a:lnTo>
                  <a:pt x="80" y="381"/>
                </a:lnTo>
                <a:lnTo>
                  <a:pt x="76" y="387"/>
                </a:lnTo>
                <a:lnTo>
                  <a:pt x="70" y="394"/>
                </a:lnTo>
                <a:lnTo>
                  <a:pt x="66" y="396"/>
                </a:lnTo>
                <a:lnTo>
                  <a:pt x="61" y="396"/>
                </a:lnTo>
                <a:close/>
                <a:moveTo>
                  <a:pt x="2113" y="398"/>
                </a:moveTo>
                <a:lnTo>
                  <a:pt x="2104" y="398"/>
                </a:lnTo>
                <a:lnTo>
                  <a:pt x="2093" y="396"/>
                </a:lnTo>
                <a:lnTo>
                  <a:pt x="2085" y="394"/>
                </a:lnTo>
                <a:lnTo>
                  <a:pt x="2077" y="392"/>
                </a:lnTo>
                <a:lnTo>
                  <a:pt x="2070" y="385"/>
                </a:lnTo>
                <a:lnTo>
                  <a:pt x="2062" y="381"/>
                </a:lnTo>
                <a:lnTo>
                  <a:pt x="2055" y="375"/>
                </a:lnTo>
                <a:lnTo>
                  <a:pt x="2049" y="368"/>
                </a:lnTo>
                <a:lnTo>
                  <a:pt x="2043" y="360"/>
                </a:lnTo>
                <a:lnTo>
                  <a:pt x="2038" y="351"/>
                </a:lnTo>
                <a:lnTo>
                  <a:pt x="2030" y="334"/>
                </a:lnTo>
                <a:lnTo>
                  <a:pt x="2026" y="324"/>
                </a:lnTo>
                <a:lnTo>
                  <a:pt x="2024" y="313"/>
                </a:lnTo>
                <a:lnTo>
                  <a:pt x="2022" y="303"/>
                </a:lnTo>
                <a:lnTo>
                  <a:pt x="2022" y="292"/>
                </a:lnTo>
                <a:lnTo>
                  <a:pt x="2022" y="282"/>
                </a:lnTo>
                <a:lnTo>
                  <a:pt x="2024" y="271"/>
                </a:lnTo>
                <a:lnTo>
                  <a:pt x="2026" y="260"/>
                </a:lnTo>
                <a:lnTo>
                  <a:pt x="2030" y="250"/>
                </a:lnTo>
                <a:lnTo>
                  <a:pt x="2034" y="239"/>
                </a:lnTo>
                <a:lnTo>
                  <a:pt x="2038" y="229"/>
                </a:lnTo>
                <a:lnTo>
                  <a:pt x="2045" y="220"/>
                </a:lnTo>
                <a:lnTo>
                  <a:pt x="2049" y="212"/>
                </a:lnTo>
                <a:lnTo>
                  <a:pt x="2058" y="203"/>
                </a:lnTo>
                <a:lnTo>
                  <a:pt x="2064" y="197"/>
                </a:lnTo>
                <a:lnTo>
                  <a:pt x="2072" y="190"/>
                </a:lnTo>
                <a:lnTo>
                  <a:pt x="2081" y="186"/>
                </a:lnTo>
                <a:lnTo>
                  <a:pt x="2089" y="182"/>
                </a:lnTo>
                <a:lnTo>
                  <a:pt x="2100" y="180"/>
                </a:lnTo>
                <a:lnTo>
                  <a:pt x="2108" y="178"/>
                </a:lnTo>
                <a:lnTo>
                  <a:pt x="2119" y="176"/>
                </a:lnTo>
                <a:lnTo>
                  <a:pt x="2129" y="178"/>
                </a:lnTo>
                <a:lnTo>
                  <a:pt x="2136" y="180"/>
                </a:lnTo>
                <a:lnTo>
                  <a:pt x="2140" y="180"/>
                </a:lnTo>
                <a:lnTo>
                  <a:pt x="2151" y="186"/>
                </a:lnTo>
                <a:lnTo>
                  <a:pt x="2157" y="193"/>
                </a:lnTo>
                <a:lnTo>
                  <a:pt x="2163" y="201"/>
                </a:lnTo>
                <a:lnTo>
                  <a:pt x="2168" y="212"/>
                </a:lnTo>
                <a:lnTo>
                  <a:pt x="2172" y="222"/>
                </a:lnTo>
                <a:lnTo>
                  <a:pt x="2172" y="233"/>
                </a:lnTo>
                <a:lnTo>
                  <a:pt x="2172" y="241"/>
                </a:lnTo>
                <a:lnTo>
                  <a:pt x="2170" y="248"/>
                </a:lnTo>
                <a:lnTo>
                  <a:pt x="2168" y="256"/>
                </a:lnTo>
                <a:lnTo>
                  <a:pt x="2165" y="262"/>
                </a:lnTo>
                <a:lnTo>
                  <a:pt x="2161" y="269"/>
                </a:lnTo>
                <a:lnTo>
                  <a:pt x="2157" y="275"/>
                </a:lnTo>
                <a:lnTo>
                  <a:pt x="2146" y="288"/>
                </a:lnTo>
                <a:lnTo>
                  <a:pt x="2140" y="292"/>
                </a:lnTo>
                <a:lnTo>
                  <a:pt x="2134" y="296"/>
                </a:lnTo>
                <a:lnTo>
                  <a:pt x="2119" y="305"/>
                </a:lnTo>
                <a:lnTo>
                  <a:pt x="2113" y="307"/>
                </a:lnTo>
                <a:lnTo>
                  <a:pt x="2104" y="309"/>
                </a:lnTo>
                <a:lnTo>
                  <a:pt x="2089" y="311"/>
                </a:lnTo>
                <a:lnTo>
                  <a:pt x="2083" y="309"/>
                </a:lnTo>
                <a:lnTo>
                  <a:pt x="2081" y="307"/>
                </a:lnTo>
                <a:lnTo>
                  <a:pt x="2079" y="305"/>
                </a:lnTo>
                <a:lnTo>
                  <a:pt x="2077" y="303"/>
                </a:lnTo>
                <a:lnTo>
                  <a:pt x="2074" y="301"/>
                </a:lnTo>
                <a:lnTo>
                  <a:pt x="2074" y="292"/>
                </a:lnTo>
                <a:lnTo>
                  <a:pt x="2074" y="286"/>
                </a:lnTo>
                <a:lnTo>
                  <a:pt x="2077" y="284"/>
                </a:lnTo>
                <a:lnTo>
                  <a:pt x="2079" y="282"/>
                </a:lnTo>
                <a:lnTo>
                  <a:pt x="2091" y="279"/>
                </a:lnTo>
                <a:lnTo>
                  <a:pt x="2104" y="275"/>
                </a:lnTo>
                <a:lnTo>
                  <a:pt x="2115" y="269"/>
                </a:lnTo>
                <a:lnTo>
                  <a:pt x="2123" y="262"/>
                </a:lnTo>
                <a:lnTo>
                  <a:pt x="2129" y="254"/>
                </a:lnTo>
                <a:lnTo>
                  <a:pt x="2134" y="250"/>
                </a:lnTo>
                <a:lnTo>
                  <a:pt x="2136" y="246"/>
                </a:lnTo>
                <a:lnTo>
                  <a:pt x="2140" y="237"/>
                </a:lnTo>
                <a:lnTo>
                  <a:pt x="2140" y="229"/>
                </a:lnTo>
                <a:lnTo>
                  <a:pt x="2140" y="224"/>
                </a:lnTo>
                <a:lnTo>
                  <a:pt x="2138" y="220"/>
                </a:lnTo>
                <a:lnTo>
                  <a:pt x="2136" y="216"/>
                </a:lnTo>
                <a:lnTo>
                  <a:pt x="2134" y="212"/>
                </a:lnTo>
                <a:lnTo>
                  <a:pt x="2129" y="210"/>
                </a:lnTo>
                <a:lnTo>
                  <a:pt x="2125" y="207"/>
                </a:lnTo>
                <a:lnTo>
                  <a:pt x="2117" y="207"/>
                </a:lnTo>
                <a:lnTo>
                  <a:pt x="2106" y="207"/>
                </a:lnTo>
                <a:lnTo>
                  <a:pt x="2100" y="210"/>
                </a:lnTo>
                <a:lnTo>
                  <a:pt x="2096" y="214"/>
                </a:lnTo>
                <a:lnTo>
                  <a:pt x="2089" y="216"/>
                </a:lnTo>
                <a:lnTo>
                  <a:pt x="2085" y="220"/>
                </a:lnTo>
                <a:lnTo>
                  <a:pt x="2074" y="231"/>
                </a:lnTo>
                <a:lnTo>
                  <a:pt x="2070" y="237"/>
                </a:lnTo>
                <a:lnTo>
                  <a:pt x="2068" y="243"/>
                </a:lnTo>
                <a:lnTo>
                  <a:pt x="2062" y="258"/>
                </a:lnTo>
                <a:lnTo>
                  <a:pt x="2058" y="275"/>
                </a:lnTo>
                <a:lnTo>
                  <a:pt x="2055" y="282"/>
                </a:lnTo>
                <a:lnTo>
                  <a:pt x="2055" y="292"/>
                </a:lnTo>
                <a:lnTo>
                  <a:pt x="2058" y="307"/>
                </a:lnTo>
                <a:lnTo>
                  <a:pt x="2058" y="313"/>
                </a:lnTo>
                <a:lnTo>
                  <a:pt x="2060" y="320"/>
                </a:lnTo>
                <a:lnTo>
                  <a:pt x="2064" y="332"/>
                </a:lnTo>
                <a:lnTo>
                  <a:pt x="2072" y="343"/>
                </a:lnTo>
                <a:lnTo>
                  <a:pt x="2081" y="351"/>
                </a:lnTo>
                <a:lnTo>
                  <a:pt x="2085" y="356"/>
                </a:lnTo>
                <a:lnTo>
                  <a:pt x="2089" y="358"/>
                </a:lnTo>
                <a:lnTo>
                  <a:pt x="2102" y="362"/>
                </a:lnTo>
                <a:lnTo>
                  <a:pt x="2108" y="362"/>
                </a:lnTo>
                <a:lnTo>
                  <a:pt x="2115" y="362"/>
                </a:lnTo>
                <a:lnTo>
                  <a:pt x="2125" y="362"/>
                </a:lnTo>
                <a:lnTo>
                  <a:pt x="2138" y="358"/>
                </a:lnTo>
                <a:lnTo>
                  <a:pt x="2144" y="356"/>
                </a:lnTo>
                <a:lnTo>
                  <a:pt x="2149" y="353"/>
                </a:lnTo>
                <a:lnTo>
                  <a:pt x="2159" y="345"/>
                </a:lnTo>
                <a:lnTo>
                  <a:pt x="2170" y="337"/>
                </a:lnTo>
                <a:lnTo>
                  <a:pt x="2178" y="326"/>
                </a:lnTo>
                <a:lnTo>
                  <a:pt x="2185" y="313"/>
                </a:lnTo>
                <a:lnTo>
                  <a:pt x="2193" y="301"/>
                </a:lnTo>
                <a:lnTo>
                  <a:pt x="2199" y="288"/>
                </a:lnTo>
                <a:lnTo>
                  <a:pt x="2204" y="273"/>
                </a:lnTo>
                <a:lnTo>
                  <a:pt x="2208" y="258"/>
                </a:lnTo>
                <a:lnTo>
                  <a:pt x="2212" y="243"/>
                </a:lnTo>
                <a:lnTo>
                  <a:pt x="2214" y="231"/>
                </a:lnTo>
                <a:lnTo>
                  <a:pt x="2216" y="216"/>
                </a:lnTo>
                <a:lnTo>
                  <a:pt x="2216" y="201"/>
                </a:lnTo>
                <a:lnTo>
                  <a:pt x="2216" y="188"/>
                </a:lnTo>
                <a:lnTo>
                  <a:pt x="2216" y="186"/>
                </a:lnTo>
                <a:lnTo>
                  <a:pt x="2221" y="184"/>
                </a:lnTo>
                <a:lnTo>
                  <a:pt x="2225" y="182"/>
                </a:lnTo>
                <a:lnTo>
                  <a:pt x="2229" y="182"/>
                </a:lnTo>
                <a:lnTo>
                  <a:pt x="2237" y="184"/>
                </a:lnTo>
                <a:lnTo>
                  <a:pt x="2242" y="184"/>
                </a:lnTo>
                <a:lnTo>
                  <a:pt x="2244" y="188"/>
                </a:lnTo>
                <a:lnTo>
                  <a:pt x="2248" y="195"/>
                </a:lnTo>
                <a:lnTo>
                  <a:pt x="2250" y="201"/>
                </a:lnTo>
                <a:lnTo>
                  <a:pt x="2250" y="207"/>
                </a:lnTo>
                <a:lnTo>
                  <a:pt x="2248" y="226"/>
                </a:lnTo>
                <a:lnTo>
                  <a:pt x="2246" y="246"/>
                </a:lnTo>
                <a:lnTo>
                  <a:pt x="2244" y="262"/>
                </a:lnTo>
                <a:lnTo>
                  <a:pt x="2240" y="279"/>
                </a:lnTo>
                <a:lnTo>
                  <a:pt x="2233" y="296"/>
                </a:lnTo>
                <a:lnTo>
                  <a:pt x="2227" y="313"/>
                </a:lnTo>
                <a:lnTo>
                  <a:pt x="2218" y="328"/>
                </a:lnTo>
                <a:lnTo>
                  <a:pt x="2210" y="341"/>
                </a:lnTo>
                <a:lnTo>
                  <a:pt x="2201" y="353"/>
                </a:lnTo>
                <a:lnTo>
                  <a:pt x="2195" y="360"/>
                </a:lnTo>
                <a:lnTo>
                  <a:pt x="2191" y="364"/>
                </a:lnTo>
                <a:lnTo>
                  <a:pt x="2178" y="375"/>
                </a:lnTo>
                <a:lnTo>
                  <a:pt x="2168" y="383"/>
                </a:lnTo>
                <a:lnTo>
                  <a:pt x="2155" y="389"/>
                </a:lnTo>
                <a:lnTo>
                  <a:pt x="2142" y="394"/>
                </a:lnTo>
                <a:lnTo>
                  <a:pt x="2127" y="398"/>
                </a:lnTo>
                <a:lnTo>
                  <a:pt x="2113" y="398"/>
                </a:lnTo>
                <a:close/>
                <a:moveTo>
                  <a:pt x="2343" y="396"/>
                </a:moveTo>
                <a:lnTo>
                  <a:pt x="2337" y="394"/>
                </a:lnTo>
                <a:lnTo>
                  <a:pt x="2328" y="387"/>
                </a:lnTo>
                <a:lnTo>
                  <a:pt x="2312" y="373"/>
                </a:lnTo>
                <a:lnTo>
                  <a:pt x="2292" y="351"/>
                </a:lnTo>
                <a:lnTo>
                  <a:pt x="2273" y="332"/>
                </a:lnTo>
                <a:lnTo>
                  <a:pt x="2267" y="324"/>
                </a:lnTo>
                <a:lnTo>
                  <a:pt x="2263" y="317"/>
                </a:lnTo>
                <a:lnTo>
                  <a:pt x="2256" y="305"/>
                </a:lnTo>
                <a:lnTo>
                  <a:pt x="2256" y="298"/>
                </a:lnTo>
                <a:lnTo>
                  <a:pt x="2254" y="292"/>
                </a:lnTo>
                <a:lnTo>
                  <a:pt x="2256" y="286"/>
                </a:lnTo>
                <a:lnTo>
                  <a:pt x="2259" y="279"/>
                </a:lnTo>
                <a:lnTo>
                  <a:pt x="2261" y="271"/>
                </a:lnTo>
                <a:lnTo>
                  <a:pt x="2267" y="262"/>
                </a:lnTo>
                <a:lnTo>
                  <a:pt x="2278" y="248"/>
                </a:lnTo>
                <a:lnTo>
                  <a:pt x="2297" y="229"/>
                </a:lnTo>
                <a:lnTo>
                  <a:pt x="2339" y="180"/>
                </a:lnTo>
                <a:lnTo>
                  <a:pt x="2345" y="180"/>
                </a:lnTo>
                <a:lnTo>
                  <a:pt x="2352" y="182"/>
                </a:lnTo>
                <a:lnTo>
                  <a:pt x="2356" y="186"/>
                </a:lnTo>
                <a:lnTo>
                  <a:pt x="2360" y="193"/>
                </a:lnTo>
                <a:lnTo>
                  <a:pt x="2360" y="199"/>
                </a:lnTo>
                <a:lnTo>
                  <a:pt x="2360" y="205"/>
                </a:lnTo>
                <a:lnTo>
                  <a:pt x="2358" y="207"/>
                </a:lnTo>
                <a:lnTo>
                  <a:pt x="2356" y="212"/>
                </a:lnTo>
                <a:lnTo>
                  <a:pt x="2326" y="246"/>
                </a:lnTo>
                <a:lnTo>
                  <a:pt x="2307" y="267"/>
                </a:lnTo>
                <a:lnTo>
                  <a:pt x="2295" y="282"/>
                </a:lnTo>
                <a:lnTo>
                  <a:pt x="2292" y="286"/>
                </a:lnTo>
                <a:lnTo>
                  <a:pt x="2292" y="290"/>
                </a:lnTo>
                <a:lnTo>
                  <a:pt x="2292" y="296"/>
                </a:lnTo>
                <a:lnTo>
                  <a:pt x="2297" y="301"/>
                </a:lnTo>
                <a:lnTo>
                  <a:pt x="2307" y="313"/>
                </a:lnTo>
                <a:lnTo>
                  <a:pt x="2324" y="332"/>
                </a:lnTo>
                <a:lnTo>
                  <a:pt x="2343" y="351"/>
                </a:lnTo>
                <a:lnTo>
                  <a:pt x="2362" y="370"/>
                </a:lnTo>
                <a:lnTo>
                  <a:pt x="2362" y="373"/>
                </a:lnTo>
                <a:lnTo>
                  <a:pt x="2364" y="375"/>
                </a:lnTo>
                <a:lnTo>
                  <a:pt x="2364" y="379"/>
                </a:lnTo>
                <a:lnTo>
                  <a:pt x="2362" y="381"/>
                </a:lnTo>
                <a:lnTo>
                  <a:pt x="2358" y="387"/>
                </a:lnTo>
                <a:lnTo>
                  <a:pt x="2350" y="394"/>
                </a:lnTo>
                <a:lnTo>
                  <a:pt x="2348" y="396"/>
                </a:lnTo>
                <a:lnTo>
                  <a:pt x="2343" y="396"/>
                </a:lnTo>
                <a:close/>
                <a:moveTo>
                  <a:pt x="754" y="398"/>
                </a:moveTo>
                <a:lnTo>
                  <a:pt x="743" y="398"/>
                </a:lnTo>
                <a:lnTo>
                  <a:pt x="735" y="396"/>
                </a:lnTo>
                <a:lnTo>
                  <a:pt x="726" y="394"/>
                </a:lnTo>
                <a:lnTo>
                  <a:pt x="718" y="392"/>
                </a:lnTo>
                <a:lnTo>
                  <a:pt x="709" y="385"/>
                </a:lnTo>
                <a:lnTo>
                  <a:pt x="703" y="381"/>
                </a:lnTo>
                <a:lnTo>
                  <a:pt x="696" y="375"/>
                </a:lnTo>
                <a:lnTo>
                  <a:pt x="690" y="368"/>
                </a:lnTo>
                <a:lnTo>
                  <a:pt x="684" y="360"/>
                </a:lnTo>
                <a:lnTo>
                  <a:pt x="677" y="351"/>
                </a:lnTo>
                <a:lnTo>
                  <a:pt x="669" y="334"/>
                </a:lnTo>
                <a:lnTo>
                  <a:pt x="667" y="324"/>
                </a:lnTo>
                <a:lnTo>
                  <a:pt x="665" y="313"/>
                </a:lnTo>
                <a:lnTo>
                  <a:pt x="663" y="303"/>
                </a:lnTo>
                <a:lnTo>
                  <a:pt x="663" y="292"/>
                </a:lnTo>
                <a:lnTo>
                  <a:pt x="663" y="282"/>
                </a:lnTo>
                <a:lnTo>
                  <a:pt x="665" y="271"/>
                </a:lnTo>
                <a:lnTo>
                  <a:pt x="667" y="260"/>
                </a:lnTo>
                <a:lnTo>
                  <a:pt x="671" y="250"/>
                </a:lnTo>
                <a:lnTo>
                  <a:pt x="673" y="239"/>
                </a:lnTo>
                <a:lnTo>
                  <a:pt x="679" y="229"/>
                </a:lnTo>
                <a:lnTo>
                  <a:pt x="684" y="220"/>
                </a:lnTo>
                <a:lnTo>
                  <a:pt x="690" y="212"/>
                </a:lnTo>
                <a:lnTo>
                  <a:pt x="696" y="203"/>
                </a:lnTo>
                <a:lnTo>
                  <a:pt x="705" y="197"/>
                </a:lnTo>
                <a:lnTo>
                  <a:pt x="713" y="190"/>
                </a:lnTo>
                <a:lnTo>
                  <a:pt x="722" y="186"/>
                </a:lnTo>
                <a:lnTo>
                  <a:pt x="730" y="182"/>
                </a:lnTo>
                <a:lnTo>
                  <a:pt x="739" y="180"/>
                </a:lnTo>
                <a:lnTo>
                  <a:pt x="749" y="178"/>
                </a:lnTo>
                <a:lnTo>
                  <a:pt x="760" y="176"/>
                </a:lnTo>
                <a:lnTo>
                  <a:pt x="771" y="178"/>
                </a:lnTo>
                <a:lnTo>
                  <a:pt x="777" y="180"/>
                </a:lnTo>
                <a:lnTo>
                  <a:pt x="781" y="180"/>
                </a:lnTo>
                <a:lnTo>
                  <a:pt x="792" y="186"/>
                </a:lnTo>
                <a:lnTo>
                  <a:pt x="798" y="193"/>
                </a:lnTo>
                <a:lnTo>
                  <a:pt x="804" y="201"/>
                </a:lnTo>
                <a:lnTo>
                  <a:pt x="809" y="212"/>
                </a:lnTo>
                <a:lnTo>
                  <a:pt x="813" y="222"/>
                </a:lnTo>
                <a:lnTo>
                  <a:pt x="813" y="233"/>
                </a:lnTo>
                <a:lnTo>
                  <a:pt x="813" y="241"/>
                </a:lnTo>
                <a:lnTo>
                  <a:pt x="811" y="248"/>
                </a:lnTo>
                <a:lnTo>
                  <a:pt x="809" y="256"/>
                </a:lnTo>
                <a:lnTo>
                  <a:pt x="806" y="262"/>
                </a:lnTo>
                <a:lnTo>
                  <a:pt x="802" y="269"/>
                </a:lnTo>
                <a:lnTo>
                  <a:pt x="798" y="275"/>
                </a:lnTo>
                <a:lnTo>
                  <a:pt x="787" y="288"/>
                </a:lnTo>
                <a:lnTo>
                  <a:pt x="781" y="292"/>
                </a:lnTo>
                <a:lnTo>
                  <a:pt x="775" y="296"/>
                </a:lnTo>
                <a:lnTo>
                  <a:pt x="760" y="305"/>
                </a:lnTo>
                <a:lnTo>
                  <a:pt x="754" y="307"/>
                </a:lnTo>
                <a:lnTo>
                  <a:pt x="745" y="309"/>
                </a:lnTo>
                <a:lnTo>
                  <a:pt x="730" y="311"/>
                </a:lnTo>
                <a:lnTo>
                  <a:pt x="724" y="309"/>
                </a:lnTo>
                <a:lnTo>
                  <a:pt x="722" y="307"/>
                </a:lnTo>
                <a:lnTo>
                  <a:pt x="720" y="305"/>
                </a:lnTo>
                <a:lnTo>
                  <a:pt x="718" y="303"/>
                </a:lnTo>
                <a:lnTo>
                  <a:pt x="715" y="301"/>
                </a:lnTo>
                <a:lnTo>
                  <a:pt x="715" y="292"/>
                </a:lnTo>
                <a:lnTo>
                  <a:pt x="715" y="286"/>
                </a:lnTo>
                <a:lnTo>
                  <a:pt x="718" y="284"/>
                </a:lnTo>
                <a:lnTo>
                  <a:pt x="720" y="282"/>
                </a:lnTo>
                <a:lnTo>
                  <a:pt x="732" y="279"/>
                </a:lnTo>
                <a:lnTo>
                  <a:pt x="743" y="275"/>
                </a:lnTo>
                <a:lnTo>
                  <a:pt x="754" y="269"/>
                </a:lnTo>
                <a:lnTo>
                  <a:pt x="764" y="262"/>
                </a:lnTo>
                <a:lnTo>
                  <a:pt x="771" y="254"/>
                </a:lnTo>
                <a:lnTo>
                  <a:pt x="775" y="250"/>
                </a:lnTo>
                <a:lnTo>
                  <a:pt x="777" y="246"/>
                </a:lnTo>
                <a:lnTo>
                  <a:pt x="779" y="237"/>
                </a:lnTo>
                <a:lnTo>
                  <a:pt x="781" y="229"/>
                </a:lnTo>
                <a:lnTo>
                  <a:pt x="781" y="224"/>
                </a:lnTo>
                <a:lnTo>
                  <a:pt x="779" y="220"/>
                </a:lnTo>
                <a:lnTo>
                  <a:pt x="777" y="216"/>
                </a:lnTo>
                <a:lnTo>
                  <a:pt x="775" y="212"/>
                </a:lnTo>
                <a:lnTo>
                  <a:pt x="771" y="210"/>
                </a:lnTo>
                <a:lnTo>
                  <a:pt x="766" y="207"/>
                </a:lnTo>
                <a:lnTo>
                  <a:pt x="756" y="207"/>
                </a:lnTo>
                <a:lnTo>
                  <a:pt x="745" y="207"/>
                </a:lnTo>
                <a:lnTo>
                  <a:pt x="741" y="210"/>
                </a:lnTo>
                <a:lnTo>
                  <a:pt x="735" y="214"/>
                </a:lnTo>
                <a:lnTo>
                  <a:pt x="730" y="216"/>
                </a:lnTo>
                <a:lnTo>
                  <a:pt x="726" y="220"/>
                </a:lnTo>
                <a:lnTo>
                  <a:pt x="715" y="231"/>
                </a:lnTo>
                <a:lnTo>
                  <a:pt x="711" y="237"/>
                </a:lnTo>
                <a:lnTo>
                  <a:pt x="707" y="243"/>
                </a:lnTo>
                <a:lnTo>
                  <a:pt x="703" y="258"/>
                </a:lnTo>
                <a:lnTo>
                  <a:pt x="699" y="275"/>
                </a:lnTo>
                <a:lnTo>
                  <a:pt x="696" y="282"/>
                </a:lnTo>
                <a:lnTo>
                  <a:pt x="696" y="292"/>
                </a:lnTo>
                <a:lnTo>
                  <a:pt x="696" y="307"/>
                </a:lnTo>
                <a:lnTo>
                  <a:pt x="699" y="313"/>
                </a:lnTo>
                <a:lnTo>
                  <a:pt x="701" y="320"/>
                </a:lnTo>
                <a:lnTo>
                  <a:pt x="705" y="332"/>
                </a:lnTo>
                <a:lnTo>
                  <a:pt x="711" y="343"/>
                </a:lnTo>
                <a:lnTo>
                  <a:pt x="720" y="351"/>
                </a:lnTo>
                <a:lnTo>
                  <a:pt x="726" y="356"/>
                </a:lnTo>
                <a:lnTo>
                  <a:pt x="730" y="358"/>
                </a:lnTo>
                <a:lnTo>
                  <a:pt x="741" y="362"/>
                </a:lnTo>
                <a:lnTo>
                  <a:pt x="747" y="362"/>
                </a:lnTo>
                <a:lnTo>
                  <a:pt x="754" y="362"/>
                </a:lnTo>
                <a:lnTo>
                  <a:pt x="766" y="362"/>
                </a:lnTo>
                <a:lnTo>
                  <a:pt x="779" y="358"/>
                </a:lnTo>
                <a:lnTo>
                  <a:pt x="785" y="356"/>
                </a:lnTo>
                <a:lnTo>
                  <a:pt x="790" y="353"/>
                </a:lnTo>
                <a:lnTo>
                  <a:pt x="800" y="345"/>
                </a:lnTo>
                <a:lnTo>
                  <a:pt x="809" y="337"/>
                </a:lnTo>
                <a:lnTo>
                  <a:pt x="817" y="326"/>
                </a:lnTo>
                <a:lnTo>
                  <a:pt x="826" y="313"/>
                </a:lnTo>
                <a:lnTo>
                  <a:pt x="832" y="301"/>
                </a:lnTo>
                <a:lnTo>
                  <a:pt x="838" y="288"/>
                </a:lnTo>
                <a:lnTo>
                  <a:pt x="845" y="273"/>
                </a:lnTo>
                <a:lnTo>
                  <a:pt x="849" y="258"/>
                </a:lnTo>
                <a:lnTo>
                  <a:pt x="851" y="243"/>
                </a:lnTo>
                <a:lnTo>
                  <a:pt x="855" y="231"/>
                </a:lnTo>
                <a:lnTo>
                  <a:pt x="855" y="216"/>
                </a:lnTo>
                <a:lnTo>
                  <a:pt x="857" y="201"/>
                </a:lnTo>
                <a:lnTo>
                  <a:pt x="855" y="188"/>
                </a:lnTo>
                <a:lnTo>
                  <a:pt x="857" y="186"/>
                </a:lnTo>
                <a:lnTo>
                  <a:pt x="862" y="184"/>
                </a:lnTo>
                <a:lnTo>
                  <a:pt x="866" y="182"/>
                </a:lnTo>
                <a:lnTo>
                  <a:pt x="870" y="182"/>
                </a:lnTo>
                <a:lnTo>
                  <a:pt x="878" y="184"/>
                </a:lnTo>
                <a:lnTo>
                  <a:pt x="881" y="184"/>
                </a:lnTo>
                <a:lnTo>
                  <a:pt x="885" y="188"/>
                </a:lnTo>
                <a:lnTo>
                  <a:pt x="889" y="195"/>
                </a:lnTo>
                <a:lnTo>
                  <a:pt x="889" y="201"/>
                </a:lnTo>
                <a:lnTo>
                  <a:pt x="891" y="207"/>
                </a:lnTo>
                <a:lnTo>
                  <a:pt x="889" y="226"/>
                </a:lnTo>
                <a:lnTo>
                  <a:pt x="887" y="246"/>
                </a:lnTo>
                <a:lnTo>
                  <a:pt x="883" y="262"/>
                </a:lnTo>
                <a:lnTo>
                  <a:pt x="878" y="279"/>
                </a:lnTo>
                <a:lnTo>
                  <a:pt x="874" y="296"/>
                </a:lnTo>
                <a:lnTo>
                  <a:pt x="868" y="313"/>
                </a:lnTo>
                <a:lnTo>
                  <a:pt x="859" y="328"/>
                </a:lnTo>
                <a:lnTo>
                  <a:pt x="851" y="341"/>
                </a:lnTo>
                <a:lnTo>
                  <a:pt x="840" y="353"/>
                </a:lnTo>
                <a:lnTo>
                  <a:pt x="836" y="360"/>
                </a:lnTo>
                <a:lnTo>
                  <a:pt x="832" y="364"/>
                </a:lnTo>
                <a:lnTo>
                  <a:pt x="819" y="375"/>
                </a:lnTo>
                <a:lnTo>
                  <a:pt x="809" y="383"/>
                </a:lnTo>
                <a:lnTo>
                  <a:pt x="796" y="389"/>
                </a:lnTo>
                <a:lnTo>
                  <a:pt x="781" y="394"/>
                </a:lnTo>
                <a:lnTo>
                  <a:pt x="768" y="398"/>
                </a:lnTo>
                <a:lnTo>
                  <a:pt x="754" y="398"/>
                </a:lnTo>
                <a:close/>
                <a:moveTo>
                  <a:pt x="984" y="396"/>
                </a:moveTo>
                <a:lnTo>
                  <a:pt x="978" y="394"/>
                </a:lnTo>
                <a:lnTo>
                  <a:pt x="969" y="387"/>
                </a:lnTo>
                <a:lnTo>
                  <a:pt x="953" y="373"/>
                </a:lnTo>
                <a:lnTo>
                  <a:pt x="934" y="351"/>
                </a:lnTo>
                <a:lnTo>
                  <a:pt x="914" y="332"/>
                </a:lnTo>
                <a:lnTo>
                  <a:pt x="908" y="324"/>
                </a:lnTo>
                <a:lnTo>
                  <a:pt x="904" y="317"/>
                </a:lnTo>
                <a:lnTo>
                  <a:pt x="898" y="305"/>
                </a:lnTo>
                <a:lnTo>
                  <a:pt x="895" y="298"/>
                </a:lnTo>
                <a:lnTo>
                  <a:pt x="895" y="292"/>
                </a:lnTo>
                <a:lnTo>
                  <a:pt x="898" y="286"/>
                </a:lnTo>
                <a:lnTo>
                  <a:pt x="900" y="279"/>
                </a:lnTo>
                <a:lnTo>
                  <a:pt x="902" y="271"/>
                </a:lnTo>
                <a:lnTo>
                  <a:pt x="908" y="262"/>
                </a:lnTo>
                <a:lnTo>
                  <a:pt x="919" y="248"/>
                </a:lnTo>
                <a:lnTo>
                  <a:pt x="938" y="229"/>
                </a:lnTo>
                <a:lnTo>
                  <a:pt x="980" y="180"/>
                </a:lnTo>
                <a:lnTo>
                  <a:pt x="984" y="180"/>
                </a:lnTo>
                <a:lnTo>
                  <a:pt x="991" y="182"/>
                </a:lnTo>
                <a:lnTo>
                  <a:pt x="997" y="186"/>
                </a:lnTo>
                <a:lnTo>
                  <a:pt x="1001" y="193"/>
                </a:lnTo>
                <a:lnTo>
                  <a:pt x="1001" y="199"/>
                </a:lnTo>
                <a:lnTo>
                  <a:pt x="999" y="205"/>
                </a:lnTo>
                <a:lnTo>
                  <a:pt x="999" y="207"/>
                </a:lnTo>
                <a:lnTo>
                  <a:pt x="997" y="212"/>
                </a:lnTo>
                <a:lnTo>
                  <a:pt x="967" y="246"/>
                </a:lnTo>
                <a:lnTo>
                  <a:pt x="948" y="267"/>
                </a:lnTo>
                <a:lnTo>
                  <a:pt x="936" y="282"/>
                </a:lnTo>
                <a:lnTo>
                  <a:pt x="934" y="286"/>
                </a:lnTo>
                <a:lnTo>
                  <a:pt x="931" y="290"/>
                </a:lnTo>
                <a:lnTo>
                  <a:pt x="934" y="296"/>
                </a:lnTo>
                <a:lnTo>
                  <a:pt x="936" y="301"/>
                </a:lnTo>
                <a:lnTo>
                  <a:pt x="948" y="313"/>
                </a:lnTo>
                <a:lnTo>
                  <a:pt x="963" y="332"/>
                </a:lnTo>
                <a:lnTo>
                  <a:pt x="982" y="351"/>
                </a:lnTo>
                <a:lnTo>
                  <a:pt x="1001" y="370"/>
                </a:lnTo>
                <a:lnTo>
                  <a:pt x="1003" y="373"/>
                </a:lnTo>
                <a:lnTo>
                  <a:pt x="1005" y="375"/>
                </a:lnTo>
                <a:lnTo>
                  <a:pt x="1003" y="379"/>
                </a:lnTo>
                <a:lnTo>
                  <a:pt x="1003" y="381"/>
                </a:lnTo>
                <a:lnTo>
                  <a:pt x="997" y="387"/>
                </a:lnTo>
                <a:lnTo>
                  <a:pt x="991" y="394"/>
                </a:lnTo>
                <a:lnTo>
                  <a:pt x="986" y="396"/>
                </a:lnTo>
                <a:lnTo>
                  <a:pt x="984" y="396"/>
                </a:lnTo>
                <a:close/>
                <a:moveTo>
                  <a:pt x="3033" y="398"/>
                </a:moveTo>
                <a:lnTo>
                  <a:pt x="3025" y="398"/>
                </a:lnTo>
                <a:lnTo>
                  <a:pt x="3016" y="396"/>
                </a:lnTo>
                <a:lnTo>
                  <a:pt x="3008" y="394"/>
                </a:lnTo>
                <a:lnTo>
                  <a:pt x="2999" y="392"/>
                </a:lnTo>
                <a:lnTo>
                  <a:pt x="2991" y="385"/>
                </a:lnTo>
                <a:lnTo>
                  <a:pt x="2983" y="381"/>
                </a:lnTo>
                <a:lnTo>
                  <a:pt x="2976" y="375"/>
                </a:lnTo>
                <a:lnTo>
                  <a:pt x="2970" y="368"/>
                </a:lnTo>
                <a:lnTo>
                  <a:pt x="2963" y="360"/>
                </a:lnTo>
                <a:lnTo>
                  <a:pt x="2959" y="351"/>
                </a:lnTo>
                <a:lnTo>
                  <a:pt x="2951" y="334"/>
                </a:lnTo>
                <a:lnTo>
                  <a:pt x="2947" y="324"/>
                </a:lnTo>
                <a:lnTo>
                  <a:pt x="2944" y="313"/>
                </a:lnTo>
                <a:lnTo>
                  <a:pt x="2944" y="303"/>
                </a:lnTo>
                <a:lnTo>
                  <a:pt x="2944" y="292"/>
                </a:lnTo>
                <a:lnTo>
                  <a:pt x="2944" y="282"/>
                </a:lnTo>
                <a:lnTo>
                  <a:pt x="2944" y="271"/>
                </a:lnTo>
                <a:lnTo>
                  <a:pt x="2949" y="260"/>
                </a:lnTo>
                <a:lnTo>
                  <a:pt x="2951" y="250"/>
                </a:lnTo>
                <a:lnTo>
                  <a:pt x="2955" y="239"/>
                </a:lnTo>
                <a:lnTo>
                  <a:pt x="2959" y="229"/>
                </a:lnTo>
                <a:lnTo>
                  <a:pt x="2966" y="220"/>
                </a:lnTo>
                <a:lnTo>
                  <a:pt x="2972" y="212"/>
                </a:lnTo>
                <a:lnTo>
                  <a:pt x="2978" y="203"/>
                </a:lnTo>
                <a:lnTo>
                  <a:pt x="2987" y="197"/>
                </a:lnTo>
                <a:lnTo>
                  <a:pt x="2993" y="190"/>
                </a:lnTo>
                <a:lnTo>
                  <a:pt x="3002" y="186"/>
                </a:lnTo>
                <a:lnTo>
                  <a:pt x="3010" y="182"/>
                </a:lnTo>
                <a:lnTo>
                  <a:pt x="3021" y="180"/>
                </a:lnTo>
                <a:lnTo>
                  <a:pt x="3029" y="178"/>
                </a:lnTo>
                <a:lnTo>
                  <a:pt x="3040" y="176"/>
                </a:lnTo>
                <a:lnTo>
                  <a:pt x="3052" y="178"/>
                </a:lnTo>
                <a:lnTo>
                  <a:pt x="3057" y="180"/>
                </a:lnTo>
                <a:lnTo>
                  <a:pt x="3063" y="180"/>
                </a:lnTo>
                <a:lnTo>
                  <a:pt x="3071" y="186"/>
                </a:lnTo>
                <a:lnTo>
                  <a:pt x="3080" y="193"/>
                </a:lnTo>
                <a:lnTo>
                  <a:pt x="3086" y="201"/>
                </a:lnTo>
                <a:lnTo>
                  <a:pt x="3091" y="212"/>
                </a:lnTo>
                <a:lnTo>
                  <a:pt x="3093" y="222"/>
                </a:lnTo>
                <a:lnTo>
                  <a:pt x="3093" y="233"/>
                </a:lnTo>
                <a:lnTo>
                  <a:pt x="3093" y="241"/>
                </a:lnTo>
                <a:lnTo>
                  <a:pt x="3093" y="248"/>
                </a:lnTo>
                <a:lnTo>
                  <a:pt x="3091" y="256"/>
                </a:lnTo>
                <a:lnTo>
                  <a:pt x="3086" y="262"/>
                </a:lnTo>
                <a:lnTo>
                  <a:pt x="3082" y="269"/>
                </a:lnTo>
                <a:lnTo>
                  <a:pt x="3078" y="275"/>
                </a:lnTo>
                <a:lnTo>
                  <a:pt x="3067" y="288"/>
                </a:lnTo>
                <a:lnTo>
                  <a:pt x="3061" y="292"/>
                </a:lnTo>
                <a:lnTo>
                  <a:pt x="3055" y="296"/>
                </a:lnTo>
                <a:lnTo>
                  <a:pt x="3042" y="305"/>
                </a:lnTo>
                <a:lnTo>
                  <a:pt x="3033" y="307"/>
                </a:lnTo>
                <a:lnTo>
                  <a:pt x="3027" y="309"/>
                </a:lnTo>
                <a:lnTo>
                  <a:pt x="3012" y="311"/>
                </a:lnTo>
                <a:lnTo>
                  <a:pt x="3006" y="309"/>
                </a:lnTo>
                <a:lnTo>
                  <a:pt x="3002" y="307"/>
                </a:lnTo>
                <a:lnTo>
                  <a:pt x="2999" y="305"/>
                </a:lnTo>
                <a:lnTo>
                  <a:pt x="2997" y="303"/>
                </a:lnTo>
                <a:lnTo>
                  <a:pt x="2997" y="301"/>
                </a:lnTo>
                <a:lnTo>
                  <a:pt x="2995" y="292"/>
                </a:lnTo>
                <a:lnTo>
                  <a:pt x="2997" y="286"/>
                </a:lnTo>
                <a:lnTo>
                  <a:pt x="2997" y="284"/>
                </a:lnTo>
                <a:lnTo>
                  <a:pt x="2999" y="282"/>
                </a:lnTo>
                <a:lnTo>
                  <a:pt x="3012" y="279"/>
                </a:lnTo>
                <a:lnTo>
                  <a:pt x="3025" y="275"/>
                </a:lnTo>
                <a:lnTo>
                  <a:pt x="3035" y="269"/>
                </a:lnTo>
                <a:lnTo>
                  <a:pt x="3044" y="262"/>
                </a:lnTo>
                <a:lnTo>
                  <a:pt x="3052" y="254"/>
                </a:lnTo>
                <a:lnTo>
                  <a:pt x="3055" y="250"/>
                </a:lnTo>
                <a:lnTo>
                  <a:pt x="3057" y="246"/>
                </a:lnTo>
                <a:lnTo>
                  <a:pt x="3061" y="237"/>
                </a:lnTo>
                <a:lnTo>
                  <a:pt x="3063" y="229"/>
                </a:lnTo>
                <a:lnTo>
                  <a:pt x="3061" y="224"/>
                </a:lnTo>
                <a:lnTo>
                  <a:pt x="3061" y="220"/>
                </a:lnTo>
                <a:lnTo>
                  <a:pt x="3059" y="216"/>
                </a:lnTo>
                <a:lnTo>
                  <a:pt x="3055" y="212"/>
                </a:lnTo>
                <a:lnTo>
                  <a:pt x="3052" y="210"/>
                </a:lnTo>
                <a:lnTo>
                  <a:pt x="3048" y="207"/>
                </a:lnTo>
                <a:lnTo>
                  <a:pt x="3038" y="207"/>
                </a:lnTo>
                <a:lnTo>
                  <a:pt x="3027" y="207"/>
                </a:lnTo>
                <a:lnTo>
                  <a:pt x="3021" y="210"/>
                </a:lnTo>
                <a:lnTo>
                  <a:pt x="3016" y="214"/>
                </a:lnTo>
                <a:lnTo>
                  <a:pt x="3010" y="216"/>
                </a:lnTo>
                <a:lnTo>
                  <a:pt x="3006" y="220"/>
                </a:lnTo>
                <a:lnTo>
                  <a:pt x="2997" y="231"/>
                </a:lnTo>
                <a:lnTo>
                  <a:pt x="2993" y="237"/>
                </a:lnTo>
                <a:lnTo>
                  <a:pt x="2989" y="243"/>
                </a:lnTo>
                <a:lnTo>
                  <a:pt x="2983" y="258"/>
                </a:lnTo>
                <a:lnTo>
                  <a:pt x="2978" y="275"/>
                </a:lnTo>
                <a:lnTo>
                  <a:pt x="2978" y="282"/>
                </a:lnTo>
                <a:lnTo>
                  <a:pt x="2976" y="292"/>
                </a:lnTo>
                <a:lnTo>
                  <a:pt x="2978" y="307"/>
                </a:lnTo>
                <a:lnTo>
                  <a:pt x="2980" y="313"/>
                </a:lnTo>
                <a:lnTo>
                  <a:pt x="2980" y="320"/>
                </a:lnTo>
                <a:lnTo>
                  <a:pt x="2987" y="332"/>
                </a:lnTo>
                <a:lnTo>
                  <a:pt x="2993" y="343"/>
                </a:lnTo>
                <a:lnTo>
                  <a:pt x="3002" y="351"/>
                </a:lnTo>
                <a:lnTo>
                  <a:pt x="3006" y="356"/>
                </a:lnTo>
                <a:lnTo>
                  <a:pt x="3012" y="358"/>
                </a:lnTo>
                <a:lnTo>
                  <a:pt x="3023" y="362"/>
                </a:lnTo>
                <a:lnTo>
                  <a:pt x="3029" y="362"/>
                </a:lnTo>
                <a:lnTo>
                  <a:pt x="3035" y="362"/>
                </a:lnTo>
                <a:lnTo>
                  <a:pt x="3048" y="362"/>
                </a:lnTo>
                <a:lnTo>
                  <a:pt x="3059" y="358"/>
                </a:lnTo>
                <a:lnTo>
                  <a:pt x="3065" y="356"/>
                </a:lnTo>
                <a:lnTo>
                  <a:pt x="3071" y="353"/>
                </a:lnTo>
                <a:lnTo>
                  <a:pt x="3080" y="345"/>
                </a:lnTo>
                <a:lnTo>
                  <a:pt x="3091" y="337"/>
                </a:lnTo>
                <a:lnTo>
                  <a:pt x="3099" y="326"/>
                </a:lnTo>
                <a:lnTo>
                  <a:pt x="3107" y="313"/>
                </a:lnTo>
                <a:lnTo>
                  <a:pt x="3114" y="301"/>
                </a:lnTo>
                <a:lnTo>
                  <a:pt x="3120" y="288"/>
                </a:lnTo>
                <a:lnTo>
                  <a:pt x="3124" y="273"/>
                </a:lnTo>
                <a:lnTo>
                  <a:pt x="3129" y="258"/>
                </a:lnTo>
                <a:lnTo>
                  <a:pt x="3133" y="243"/>
                </a:lnTo>
                <a:lnTo>
                  <a:pt x="3135" y="231"/>
                </a:lnTo>
                <a:lnTo>
                  <a:pt x="3137" y="216"/>
                </a:lnTo>
                <a:lnTo>
                  <a:pt x="3137" y="201"/>
                </a:lnTo>
                <a:lnTo>
                  <a:pt x="3137" y="188"/>
                </a:lnTo>
                <a:lnTo>
                  <a:pt x="3139" y="186"/>
                </a:lnTo>
                <a:lnTo>
                  <a:pt x="3141" y="184"/>
                </a:lnTo>
                <a:lnTo>
                  <a:pt x="3146" y="182"/>
                </a:lnTo>
                <a:lnTo>
                  <a:pt x="3150" y="182"/>
                </a:lnTo>
                <a:lnTo>
                  <a:pt x="3158" y="184"/>
                </a:lnTo>
                <a:lnTo>
                  <a:pt x="3162" y="184"/>
                </a:lnTo>
                <a:lnTo>
                  <a:pt x="3165" y="188"/>
                </a:lnTo>
                <a:lnTo>
                  <a:pt x="3169" y="195"/>
                </a:lnTo>
                <a:lnTo>
                  <a:pt x="3171" y="201"/>
                </a:lnTo>
                <a:lnTo>
                  <a:pt x="3171" y="207"/>
                </a:lnTo>
                <a:lnTo>
                  <a:pt x="3171" y="226"/>
                </a:lnTo>
                <a:lnTo>
                  <a:pt x="3169" y="246"/>
                </a:lnTo>
                <a:lnTo>
                  <a:pt x="3165" y="262"/>
                </a:lnTo>
                <a:lnTo>
                  <a:pt x="3160" y="279"/>
                </a:lnTo>
                <a:lnTo>
                  <a:pt x="3154" y="296"/>
                </a:lnTo>
                <a:lnTo>
                  <a:pt x="3148" y="313"/>
                </a:lnTo>
                <a:lnTo>
                  <a:pt x="3141" y="328"/>
                </a:lnTo>
                <a:lnTo>
                  <a:pt x="3131" y="341"/>
                </a:lnTo>
                <a:lnTo>
                  <a:pt x="3122" y="353"/>
                </a:lnTo>
                <a:lnTo>
                  <a:pt x="3118" y="360"/>
                </a:lnTo>
                <a:lnTo>
                  <a:pt x="3112" y="364"/>
                </a:lnTo>
                <a:lnTo>
                  <a:pt x="3101" y="375"/>
                </a:lnTo>
                <a:lnTo>
                  <a:pt x="3088" y="383"/>
                </a:lnTo>
                <a:lnTo>
                  <a:pt x="3076" y="389"/>
                </a:lnTo>
                <a:lnTo>
                  <a:pt x="3063" y="394"/>
                </a:lnTo>
                <a:lnTo>
                  <a:pt x="3048" y="398"/>
                </a:lnTo>
                <a:lnTo>
                  <a:pt x="3033" y="398"/>
                </a:lnTo>
                <a:close/>
                <a:moveTo>
                  <a:pt x="3264" y="396"/>
                </a:moveTo>
                <a:lnTo>
                  <a:pt x="3260" y="394"/>
                </a:lnTo>
                <a:lnTo>
                  <a:pt x="3251" y="387"/>
                </a:lnTo>
                <a:lnTo>
                  <a:pt x="3234" y="373"/>
                </a:lnTo>
                <a:lnTo>
                  <a:pt x="3213" y="351"/>
                </a:lnTo>
                <a:lnTo>
                  <a:pt x="3196" y="332"/>
                </a:lnTo>
                <a:lnTo>
                  <a:pt x="3188" y="324"/>
                </a:lnTo>
                <a:lnTo>
                  <a:pt x="3184" y="317"/>
                </a:lnTo>
                <a:lnTo>
                  <a:pt x="3179" y="305"/>
                </a:lnTo>
                <a:lnTo>
                  <a:pt x="3177" y="298"/>
                </a:lnTo>
                <a:lnTo>
                  <a:pt x="3177" y="292"/>
                </a:lnTo>
                <a:lnTo>
                  <a:pt x="3177" y="286"/>
                </a:lnTo>
                <a:lnTo>
                  <a:pt x="3179" y="279"/>
                </a:lnTo>
                <a:lnTo>
                  <a:pt x="3184" y="271"/>
                </a:lnTo>
                <a:lnTo>
                  <a:pt x="3188" y="262"/>
                </a:lnTo>
                <a:lnTo>
                  <a:pt x="3201" y="248"/>
                </a:lnTo>
                <a:lnTo>
                  <a:pt x="3218" y="229"/>
                </a:lnTo>
                <a:lnTo>
                  <a:pt x="3260" y="180"/>
                </a:lnTo>
                <a:lnTo>
                  <a:pt x="3266" y="180"/>
                </a:lnTo>
                <a:lnTo>
                  <a:pt x="3273" y="182"/>
                </a:lnTo>
                <a:lnTo>
                  <a:pt x="3277" y="186"/>
                </a:lnTo>
                <a:lnTo>
                  <a:pt x="3281" y="193"/>
                </a:lnTo>
                <a:lnTo>
                  <a:pt x="3283" y="199"/>
                </a:lnTo>
                <a:lnTo>
                  <a:pt x="3281" y="205"/>
                </a:lnTo>
                <a:lnTo>
                  <a:pt x="3279" y="207"/>
                </a:lnTo>
                <a:lnTo>
                  <a:pt x="3277" y="212"/>
                </a:lnTo>
                <a:lnTo>
                  <a:pt x="3247" y="246"/>
                </a:lnTo>
                <a:lnTo>
                  <a:pt x="3230" y="267"/>
                </a:lnTo>
                <a:lnTo>
                  <a:pt x="3218" y="282"/>
                </a:lnTo>
                <a:lnTo>
                  <a:pt x="3213" y="286"/>
                </a:lnTo>
                <a:lnTo>
                  <a:pt x="3213" y="290"/>
                </a:lnTo>
                <a:lnTo>
                  <a:pt x="3215" y="296"/>
                </a:lnTo>
                <a:lnTo>
                  <a:pt x="3218" y="301"/>
                </a:lnTo>
                <a:lnTo>
                  <a:pt x="3228" y="313"/>
                </a:lnTo>
                <a:lnTo>
                  <a:pt x="3245" y="332"/>
                </a:lnTo>
                <a:lnTo>
                  <a:pt x="3264" y="351"/>
                </a:lnTo>
                <a:lnTo>
                  <a:pt x="3283" y="370"/>
                </a:lnTo>
                <a:lnTo>
                  <a:pt x="3285" y="373"/>
                </a:lnTo>
                <a:lnTo>
                  <a:pt x="3285" y="375"/>
                </a:lnTo>
                <a:lnTo>
                  <a:pt x="3285" y="379"/>
                </a:lnTo>
                <a:lnTo>
                  <a:pt x="3283" y="381"/>
                </a:lnTo>
                <a:lnTo>
                  <a:pt x="3279" y="387"/>
                </a:lnTo>
                <a:lnTo>
                  <a:pt x="3273" y="394"/>
                </a:lnTo>
                <a:lnTo>
                  <a:pt x="3268" y="396"/>
                </a:lnTo>
                <a:lnTo>
                  <a:pt x="3264" y="396"/>
                </a:lnTo>
                <a:close/>
                <a:moveTo>
                  <a:pt x="1198" y="398"/>
                </a:moveTo>
                <a:lnTo>
                  <a:pt x="1190" y="398"/>
                </a:lnTo>
                <a:lnTo>
                  <a:pt x="1181" y="396"/>
                </a:lnTo>
                <a:lnTo>
                  <a:pt x="1173" y="394"/>
                </a:lnTo>
                <a:lnTo>
                  <a:pt x="1164" y="392"/>
                </a:lnTo>
                <a:lnTo>
                  <a:pt x="1156" y="385"/>
                </a:lnTo>
                <a:lnTo>
                  <a:pt x="1147" y="381"/>
                </a:lnTo>
                <a:lnTo>
                  <a:pt x="1141" y="375"/>
                </a:lnTo>
                <a:lnTo>
                  <a:pt x="1135" y="368"/>
                </a:lnTo>
                <a:lnTo>
                  <a:pt x="1128" y="360"/>
                </a:lnTo>
                <a:lnTo>
                  <a:pt x="1124" y="351"/>
                </a:lnTo>
                <a:lnTo>
                  <a:pt x="1116" y="334"/>
                </a:lnTo>
                <a:lnTo>
                  <a:pt x="1111" y="324"/>
                </a:lnTo>
                <a:lnTo>
                  <a:pt x="1109" y="313"/>
                </a:lnTo>
                <a:lnTo>
                  <a:pt x="1109" y="303"/>
                </a:lnTo>
                <a:lnTo>
                  <a:pt x="1109" y="292"/>
                </a:lnTo>
                <a:lnTo>
                  <a:pt x="1109" y="282"/>
                </a:lnTo>
                <a:lnTo>
                  <a:pt x="1109" y="271"/>
                </a:lnTo>
                <a:lnTo>
                  <a:pt x="1113" y="260"/>
                </a:lnTo>
                <a:lnTo>
                  <a:pt x="1116" y="250"/>
                </a:lnTo>
                <a:lnTo>
                  <a:pt x="1120" y="239"/>
                </a:lnTo>
                <a:lnTo>
                  <a:pt x="1124" y="229"/>
                </a:lnTo>
                <a:lnTo>
                  <a:pt x="1130" y="220"/>
                </a:lnTo>
                <a:lnTo>
                  <a:pt x="1137" y="212"/>
                </a:lnTo>
                <a:lnTo>
                  <a:pt x="1143" y="203"/>
                </a:lnTo>
                <a:lnTo>
                  <a:pt x="1149" y="197"/>
                </a:lnTo>
                <a:lnTo>
                  <a:pt x="1158" y="190"/>
                </a:lnTo>
                <a:lnTo>
                  <a:pt x="1166" y="186"/>
                </a:lnTo>
                <a:lnTo>
                  <a:pt x="1175" y="182"/>
                </a:lnTo>
                <a:lnTo>
                  <a:pt x="1185" y="180"/>
                </a:lnTo>
                <a:lnTo>
                  <a:pt x="1194" y="178"/>
                </a:lnTo>
                <a:lnTo>
                  <a:pt x="1204" y="176"/>
                </a:lnTo>
                <a:lnTo>
                  <a:pt x="1217" y="178"/>
                </a:lnTo>
                <a:lnTo>
                  <a:pt x="1221" y="180"/>
                </a:lnTo>
                <a:lnTo>
                  <a:pt x="1228" y="180"/>
                </a:lnTo>
                <a:lnTo>
                  <a:pt x="1236" y="186"/>
                </a:lnTo>
                <a:lnTo>
                  <a:pt x="1245" y="193"/>
                </a:lnTo>
                <a:lnTo>
                  <a:pt x="1251" y="201"/>
                </a:lnTo>
                <a:lnTo>
                  <a:pt x="1255" y="212"/>
                </a:lnTo>
                <a:lnTo>
                  <a:pt x="1257" y="222"/>
                </a:lnTo>
                <a:lnTo>
                  <a:pt x="1257" y="233"/>
                </a:lnTo>
                <a:lnTo>
                  <a:pt x="1257" y="241"/>
                </a:lnTo>
                <a:lnTo>
                  <a:pt x="1257" y="248"/>
                </a:lnTo>
                <a:lnTo>
                  <a:pt x="1253" y="256"/>
                </a:lnTo>
                <a:lnTo>
                  <a:pt x="1251" y="262"/>
                </a:lnTo>
                <a:lnTo>
                  <a:pt x="1247" y="269"/>
                </a:lnTo>
                <a:lnTo>
                  <a:pt x="1243" y="275"/>
                </a:lnTo>
                <a:lnTo>
                  <a:pt x="1232" y="288"/>
                </a:lnTo>
                <a:lnTo>
                  <a:pt x="1226" y="292"/>
                </a:lnTo>
                <a:lnTo>
                  <a:pt x="1219" y="296"/>
                </a:lnTo>
                <a:lnTo>
                  <a:pt x="1207" y="305"/>
                </a:lnTo>
                <a:lnTo>
                  <a:pt x="1198" y="307"/>
                </a:lnTo>
                <a:lnTo>
                  <a:pt x="1192" y="309"/>
                </a:lnTo>
                <a:lnTo>
                  <a:pt x="1177" y="311"/>
                </a:lnTo>
                <a:lnTo>
                  <a:pt x="1171" y="309"/>
                </a:lnTo>
                <a:lnTo>
                  <a:pt x="1166" y="307"/>
                </a:lnTo>
                <a:lnTo>
                  <a:pt x="1164" y="305"/>
                </a:lnTo>
                <a:lnTo>
                  <a:pt x="1162" y="303"/>
                </a:lnTo>
                <a:lnTo>
                  <a:pt x="1162" y="301"/>
                </a:lnTo>
                <a:lnTo>
                  <a:pt x="1160" y="292"/>
                </a:lnTo>
                <a:lnTo>
                  <a:pt x="1160" y="286"/>
                </a:lnTo>
                <a:lnTo>
                  <a:pt x="1162" y="284"/>
                </a:lnTo>
                <a:lnTo>
                  <a:pt x="1164" y="282"/>
                </a:lnTo>
                <a:lnTo>
                  <a:pt x="1177" y="279"/>
                </a:lnTo>
                <a:lnTo>
                  <a:pt x="1190" y="275"/>
                </a:lnTo>
                <a:lnTo>
                  <a:pt x="1200" y="269"/>
                </a:lnTo>
                <a:lnTo>
                  <a:pt x="1209" y="262"/>
                </a:lnTo>
                <a:lnTo>
                  <a:pt x="1217" y="254"/>
                </a:lnTo>
                <a:lnTo>
                  <a:pt x="1219" y="250"/>
                </a:lnTo>
                <a:lnTo>
                  <a:pt x="1221" y="246"/>
                </a:lnTo>
                <a:lnTo>
                  <a:pt x="1226" y="237"/>
                </a:lnTo>
                <a:lnTo>
                  <a:pt x="1226" y="229"/>
                </a:lnTo>
                <a:lnTo>
                  <a:pt x="1226" y="224"/>
                </a:lnTo>
                <a:lnTo>
                  <a:pt x="1226" y="220"/>
                </a:lnTo>
                <a:lnTo>
                  <a:pt x="1224" y="216"/>
                </a:lnTo>
                <a:lnTo>
                  <a:pt x="1219" y="212"/>
                </a:lnTo>
                <a:lnTo>
                  <a:pt x="1217" y="210"/>
                </a:lnTo>
                <a:lnTo>
                  <a:pt x="1213" y="207"/>
                </a:lnTo>
                <a:lnTo>
                  <a:pt x="1202" y="207"/>
                </a:lnTo>
                <a:lnTo>
                  <a:pt x="1192" y="207"/>
                </a:lnTo>
                <a:lnTo>
                  <a:pt x="1185" y="210"/>
                </a:lnTo>
                <a:lnTo>
                  <a:pt x="1181" y="214"/>
                </a:lnTo>
                <a:lnTo>
                  <a:pt x="1175" y="216"/>
                </a:lnTo>
                <a:lnTo>
                  <a:pt x="1171" y="220"/>
                </a:lnTo>
                <a:lnTo>
                  <a:pt x="1162" y="231"/>
                </a:lnTo>
                <a:lnTo>
                  <a:pt x="1158" y="237"/>
                </a:lnTo>
                <a:lnTo>
                  <a:pt x="1154" y="243"/>
                </a:lnTo>
                <a:lnTo>
                  <a:pt x="1147" y="258"/>
                </a:lnTo>
                <a:lnTo>
                  <a:pt x="1143" y="275"/>
                </a:lnTo>
                <a:lnTo>
                  <a:pt x="1143" y="282"/>
                </a:lnTo>
                <a:lnTo>
                  <a:pt x="1141" y="292"/>
                </a:lnTo>
                <a:lnTo>
                  <a:pt x="1143" y="307"/>
                </a:lnTo>
                <a:lnTo>
                  <a:pt x="1145" y="313"/>
                </a:lnTo>
                <a:lnTo>
                  <a:pt x="1145" y="320"/>
                </a:lnTo>
                <a:lnTo>
                  <a:pt x="1152" y="332"/>
                </a:lnTo>
                <a:lnTo>
                  <a:pt x="1158" y="343"/>
                </a:lnTo>
                <a:lnTo>
                  <a:pt x="1166" y="351"/>
                </a:lnTo>
                <a:lnTo>
                  <a:pt x="1171" y="356"/>
                </a:lnTo>
                <a:lnTo>
                  <a:pt x="1177" y="358"/>
                </a:lnTo>
                <a:lnTo>
                  <a:pt x="1188" y="362"/>
                </a:lnTo>
                <a:lnTo>
                  <a:pt x="1194" y="362"/>
                </a:lnTo>
                <a:lnTo>
                  <a:pt x="1200" y="362"/>
                </a:lnTo>
                <a:lnTo>
                  <a:pt x="1213" y="362"/>
                </a:lnTo>
                <a:lnTo>
                  <a:pt x="1224" y="358"/>
                </a:lnTo>
                <a:lnTo>
                  <a:pt x="1230" y="356"/>
                </a:lnTo>
                <a:lnTo>
                  <a:pt x="1236" y="353"/>
                </a:lnTo>
                <a:lnTo>
                  <a:pt x="1245" y="345"/>
                </a:lnTo>
                <a:lnTo>
                  <a:pt x="1255" y="337"/>
                </a:lnTo>
                <a:lnTo>
                  <a:pt x="1264" y="326"/>
                </a:lnTo>
                <a:lnTo>
                  <a:pt x="1272" y="313"/>
                </a:lnTo>
                <a:lnTo>
                  <a:pt x="1279" y="301"/>
                </a:lnTo>
                <a:lnTo>
                  <a:pt x="1285" y="288"/>
                </a:lnTo>
                <a:lnTo>
                  <a:pt x="1289" y="273"/>
                </a:lnTo>
                <a:lnTo>
                  <a:pt x="1293" y="258"/>
                </a:lnTo>
                <a:lnTo>
                  <a:pt x="1298" y="243"/>
                </a:lnTo>
                <a:lnTo>
                  <a:pt x="1300" y="231"/>
                </a:lnTo>
                <a:lnTo>
                  <a:pt x="1302" y="216"/>
                </a:lnTo>
                <a:lnTo>
                  <a:pt x="1302" y="201"/>
                </a:lnTo>
                <a:lnTo>
                  <a:pt x="1302" y="188"/>
                </a:lnTo>
                <a:lnTo>
                  <a:pt x="1304" y="186"/>
                </a:lnTo>
                <a:lnTo>
                  <a:pt x="1306" y="184"/>
                </a:lnTo>
                <a:lnTo>
                  <a:pt x="1310" y="182"/>
                </a:lnTo>
                <a:lnTo>
                  <a:pt x="1315" y="182"/>
                </a:lnTo>
                <a:lnTo>
                  <a:pt x="1323" y="184"/>
                </a:lnTo>
                <a:lnTo>
                  <a:pt x="1327" y="184"/>
                </a:lnTo>
                <a:lnTo>
                  <a:pt x="1329" y="188"/>
                </a:lnTo>
                <a:lnTo>
                  <a:pt x="1334" y="195"/>
                </a:lnTo>
                <a:lnTo>
                  <a:pt x="1336" y="201"/>
                </a:lnTo>
                <a:lnTo>
                  <a:pt x="1336" y="207"/>
                </a:lnTo>
                <a:lnTo>
                  <a:pt x="1336" y="226"/>
                </a:lnTo>
                <a:lnTo>
                  <a:pt x="1334" y="246"/>
                </a:lnTo>
                <a:lnTo>
                  <a:pt x="1329" y="262"/>
                </a:lnTo>
                <a:lnTo>
                  <a:pt x="1325" y="279"/>
                </a:lnTo>
                <a:lnTo>
                  <a:pt x="1319" y="296"/>
                </a:lnTo>
                <a:lnTo>
                  <a:pt x="1312" y="313"/>
                </a:lnTo>
                <a:lnTo>
                  <a:pt x="1304" y="328"/>
                </a:lnTo>
                <a:lnTo>
                  <a:pt x="1295" y="341"/>
                </a:lnTo>
                <a:lnTo>
                  <a:pt x="1287" y="353"/>
                </a:lnTo>
                <a:lnTo>
                  <a:pt x="1283" y="360"/>
                </a:lnTo>
                <a:lnTo>
                  <a:pt x="1276" y="364"/>
                </a:lnTo>
                <a:lnTo>
                  <a:pt x="1266" y="375"/>
                </a:lnTo>
                <a:lnTo>
                  <a:pt x="1253" y="383"/>
                </a:lnTo>
                <a:lnTo>
                  <a:pt x="1240" y="389"/>
                </a:lnTo>
                <a:lnTo>
                  <a:pt x="1228" y="394"/>
                </a:lnTo>
                <a:lnTo>
                  <a:pt x="1213" y="398"/>
                </a:lnTo>
                <a:lnTo>
                  <a:pt x="1198" y="398"/>
                </a:lnTo>
                <a:close/>
                <a:moveTo>
                  <a:pt x="1429" y="396"/>
                </a:moveTo>
                <a:lnTo>
                  <a:pt x="1425" y="394"/>
                </a:lnTo>
                <a:lnTo>
                  <a:pt x="1416" y="387"/>
                </a:lnTo>
                <a:lnTo>
                  <a:pt x="1399" y="373"/>
                </a:lnTo>
                <a:lnTo>
                  <a:pt x="1378" y="351"/>
                </a:lnTo>
                <a:lnTo>
                  <a:pt x="1361" y="332"/>
                </a:lnTo>
                <a:lnTo>
                  <a:pt x="1353" y="324"/>
                </a:lnTo>
                <a:lnTo>
                  <a:pt x="1348" y="317"/>
                </a:lnTo>
                <a:lnTo>
                  <a:pt x="1344" y="305"/>
                </a:lnTo>
                <a:lnTo>
                  <a:pt x="1342" y="298"/>
                </a:lnTo>
                <a:lnTo>
                  <a:pt x="1342" y="292"/>
                </a:lnTo>
                <a:lnTo>
                  <a:pt x="1342" y="286"/>
                </a:lnTo>
                <a:lnTo>
                  <a:pt x="1344" y="279"/>
                </a:lnTo>
                <a:lnTo>
                  <a:pt x="1348" y="271"/>
                </a:lnTo>
                <a:lnTo>
                  <a:pt x="1353" y="262"/>
                </a:lnTo>
                <a:lnTo>
                  <a:pt x="1365" y="248"/>
                </a:lnTo>
                <a:lnTo>
                  <a:pt x="1382" y="229"/>
                </a:lnTo>
                <a:lnTo>
                  <a:pt x="1425" y="180"/>
                </a:lnTo>
                <a:lnTo>
                  <a:pt x="1431" y="180"/>
                </a:lnTo>
                <a:lnTo>
                  <a:pt x="1437" y="182"/>
                </a:lnTo>
                <a:lnTo>
                  <a:pt x="1442" y="186"/>
                </a:lnTo>
                <a:lnTo>
                  <a:pt x="1446" y="193"/>
                </a:lnTo>
                <a:lnTo>
                  <a:pt x="1448" y="199"/>
                </a:lnTo>
                <a:lnTo>
                  <a:pt x="1446" y="205"/>
                </a:lnTo>
                <a:lnTo>
                  <a:pt x="1444" y="207"/>
                </a:lnTo>
                <a:lnTo>
                  <a:pt x="1442" y="212"/>
                </a:lnTo>
                <a:lnTo>
                  <a:pt x="1412" y="246"/>
                </a:lnTo>
                <a:lnTo>
                  <a:pt x="1395" y="267"/>
                </a:lnTo>
                <a:lnTo>
                  <a:pt x="1382" y="282"/>
                </a:lnTo>
                <a:lnTo>
                  <a:pt x="1378" y="286"/>
                </a:lnTo>
                <a:lnTo>
                  <a:pt x="1378" y="290"/>
                </a:lnTo>
                <a:lnTo>
                  <a:pt x="1378" y="296"/>
                </a:lnTo>
                <a:lnTo>
                  <a:pt x="1382" y="301"/>
                </a:lnTo>
                <a:lnTo>
                  <a:pt x="1393" y="313"/>
                </a:lnTo>
                <a:lnTo>
                  <a:pt x="1410" y="332"/>
                </a:lnTo>
                <a:lnTo>
                  <a:pt x="1429" y="351"/>
                </a:lnTo>
                <a:lnTo>
                  <a:pt x="1448" y="370"/>
                </a:lnTo>
                <a:lnTo>
                  <a:pt x="1450" y="373"/>
                </a:lnTo>
                <a:lnTo>
                  <a:pt x="1450" y="375"/>
                </a:lnTo>
                <a:lnTo>
                  <a:pt x="1450" y="379"/>
                </a:lnTo>
                <a:lnTo>
                  <a:pt x="1448" y="381"/>
                </a:lnTo>
                <a:lnTo>
                  <a:pt x="1444" y="387"/>
                </a:lnTo>
                <a:lnTo>
                  <a:pt x="1437" y="394"/>
                </a:lnTo>
                <a:lnTo>
                  <a:pt x="1433" y="396"/>
                </a:lnTo>
                <a:lnTo>
                  <a:pt x="1429" y="396"/>
                </a:lnTo>
                <a:close/>
                <a:moveTo>
                  <a:pt x="3480" y="398"/>
                </a:moveTo>
                <a:lnTo>
                  <a:pt x="3469" y="398"/>
                </a:lnTo>
                <a:lnTo>
                  <a:pt x="3461" y="396"/>
                </a:lnTo>
                <a:lnTo>
                  <a:pt x="3452" y="394"/>
                </a:lnTo>
                <a:lnTo>
                  <a:pt x="3444" y="392"/>
                </a:lnTo>
                <a:lnTo>
                  <a:pt x="3436" y="385"/>
                </a:lnTo>
                <a:lnTo>
                  <a:pt x="3429" y="381"/>
                </a:lnTo>
                <a:lnTo>
                  <a:pt x="3423" y="375"/>
                </a:lnTo>
                <a:lnTo>
                  <a:pt x="3416" y="368"/>
                </a:lnTo>
                <a:lnTo>
                  <a:pt x="3410" y="360"/>
                </a:lnTo>
                <a:lnTo>
                  <a:pt x="3404" y="351"/>
                </a:lnTo>
                <a:lnTo>
                  <a:pt x="3395" y="334"/>
                </a:lnTo>
                <a:lnTo>
                  <a:pt x="3393" y="324"/>
                </a:lnTo>
                <a:lnTo>
                  <a:pt x="3391" y="313"/>
                </a:lnTo>
                <a:lnTo>
                  <a:pt x="3389" y="303"/>
                </a:lnTo>
                <a:lnTo>
                  <a:pt x="3389" y="292"/>
                </a:lnTo>
                <a:lnTo>
                  <a:pt x="3389" y="282"/>
                </a:lnTo>
                <a:lnTo>
                  <a:pt x="3391" y="271"/>
                </a:lnTo>
                <a:lnTo>
                  <a:pt x="3393" y="260"/>
                </a:lnTo>
                <a:lnTo>
                  <a:pt x="3397" y="250"/>
                </a:lnTo>
                <a:lnTo>
                  <a:pt x="3400" y="239"/>
                </a:lnTo>
                <a:lnTo>
                  <a:pt x="3406" y="229"/>
                </a:lnTo>
                <a:lnTo>
                  <a:pt x="3410" y="220"/>
                </a:lnTo>
                <a:lnTo>
                  <a:pt x="3416" y="212"/>
                </a:lnTo>
                <a:lnTo>
                  <a:pt x="3425" y="203"/>
                </a:lnTo>
                <a:lnTo>
                  <a:pt x="3431" y="197"/>
                </a:lnTo>
                <a:lnTo>
                  <a:pt x="3440" y="190"/>
                </a:lnTo>
                <a:lnTo>
                  <a:pt x="3448" y="186"/>
                </a:lnTo>
                <a:lnTo>
                  <a:pt x="3457" y="182"/>
                </a:lnTo>
                <a:lnTo>
                  <a:pt x="3465" y="180"/>
                </a:lnTo>
                <a:lnTo>
                  <a:pt x="3476" y="178"/>
                </a:lnTo>
                <a:lnTo>
                  <a:pt x="3486" y="176"/>
                </a:lnTo>
                <a:lnTo>
                  <a:pt x="3497" y="178"/>
                </a:lnTo>
                <a:lnTo>
                  <a:pt x="3503" y="180"/>
                </a:lnTo>
                <a:lnTo>
                  <a:pt x="3508" y="180"/>
                </a:lnTo>
                <a:lnTo>
                  <a:pt x="3518" y="186"/>
                </a:lnTo>
                <a:lnTo>
                  <a:pt x="3524" y="193"/>
                </a:lnTo>
                <a:lnTo>
                  <a:pt x="3531" y="201"/>
                </a:lnTo>
                <a:lnTo>
                  <a:pt x="3535" y="212"/>
                </a:lnTo>
                <a:lnTo>
                  <a:pt x="3539" y="222"/>
                </a:lnTo>
                <a:lnTo>
                  <a:pt x="3539" y="233"/>
                </a:lnTo>
                <a:lnTo>
                  <a:pt x="3539" y="241"/>
                </a:lnTo>
                <a:lnTo>
                  <a:pt x="3537" y="248"/>
                </a:lnTo>
                <a:lnTo>
                  <a:pt x="3535" y="256"/>
                </a:lnTo>
                <a:lnTo>
                  <a:pt x="3533" y="262"/>
                </a:lnTo>
                <a:lnTo>
                  <a:pt x="3529" y="269"/>
                </a:lnTo>
                <a:lnTo>
                  <a:pt x="3524" y="275"/>
                </a:lnTo>
                <a:lnTo>
                  <a:pt x="3514" y="288"/>
                </a:lnTo>
                <a:lnTo>
                  <a:pt x="3508" y="292"/>
                </a:lnTo>
                <a:lnTo>
                  <a:pt x="3501" y="296"/>
                </a:lnTo>
                <a:lnTo>
                  <a:pt x="3486" y="305"/>
                </a:lnTo>
                <a:lnTo>
                  <a:pt x="3480" y="307"/>
                </a:lnTo>
                <a:lnTo>
                  <a:pt x="3472" y="309"/>
                </a:lnTo>
                <a:lnTo>
                  <a:pt x="3457" y="311"/>
                </a:lnTo>
                <a:lnTo>
                  <a:pt x="3450" y="309"/>
                </a:lnTo>
                <a:lnTo>
                  <a:pt x="3448" y="307"/>
                </a:lnTo>
                <a:lnTo>
                  <a:pt x="3446" y="305"/>
                </a:lnTo>
                <a:lnTo>
                  <a:pt x="3444" y="303"/>
                </a:lnTo>
                <a:lnTo>
                  <a:pt x="3442" y="301"/>
                </a:lnTo>
                <a:lnTo>
                  <a:pt x="3442" y="292"/>
                </a:lnTo>
                <a:lnTo>
                  <a:pt x="3442" y="286"/>
                </a:lnTo>
                <a:lnTo>
                  <a:pt x="3444" y="284"/>
                </a:lnTo>
                <a:lnTo>
                  <a:pt x="3446" y="282"/>
                </a:lnTo>
                <a:lnTo>
                  <a:pt x="3459" y="279"/>
                </a:lnTo>
                <a:lnTo>
                  <a:pt x="3469" y="275"/>
                </a:lnTo>
                <a:lnTo>
                  <a:pt x="3480" y="269"/>
                </a:lnTo>
                <a:lnTo>
                  <a:pt x="3491" y="262"/>
                </a:lnTo>
                <a:lnTo>
                  <a:pt x="3497" y="254"/>
                </a:lnTo>
                <a:lnTo>
                  <a:pt x="3501" y="250"/>
                </a:lnTo>
                <a:lnTo>
                  <a:pt x="3503" y="246"/>
                </a:lnTo>
                <a:lnTo>
                  <a:pt x="3505" y="237"/>
                </a:lnTo>
                <a:lnTo>
                  <a:pt x="3508" y="229"/>
                </a:lnTo>
                <a:lnTo>
                  <a:pt x="3508" y="224"/>
                </a:lnTo>
                <a:lnTo>
                  <a:pt x="3505" y="220"/>
                </a:lnTo>
                <a:lnTo>
                  <a:pt x="3503" y="216"/>
                </a:lnTo>
                <a:lnTo>
                  <a:pt x="3501" y="212"/>
                </a:lnTo>
                <a:lnTo>
                  <a:pt x="3497" y="210"/>
                </a:lnTo>
                <a:lnTo>
                  <a:pt x="3493" y="207"/>
                </a:lnTo>
                <a:lnTo>
                  <a:pt x="3482" y="207"/>
                </a:lnTo>
                <a:lnTo>
                  <a:pt x="3472" y="207"/>
                </a:lnTo>
                <a:lnTo>
                  <a:pt x="3467" y="210"/>
                </a:lnTo>
                <a:lnTo>
                  <a:pt x="3461" y="214"/>
                </a:lnTo>
                <a:lnTo>
                  <a:pt x="3457" y="216"/>
                </a:lnTo>
                <a:lnTo>
                  <a:pt x="3452" y="220"/>
                </a:lnTo>
                <a:lnTo>
                  <a:pt x="3442" y="231"/>
                </a:lnTo>
                <a:lnTo>
                  <a:pt x="3438" y="237"/>
                </a:lnTo>
                <a:lnTo>
                  <a:pt x="3433" y="243"/>
                </a:lnTo>
                <a:lnTo>
                  <a:pt x="3429" y="258"/>
                </a:lnTo>
                <a:lnTo>
                  <a:pt x="3425" y="275"/>
                </a:lnTo>
                <a:lnTo>
                  <a:pt x="3423" y="282"/>
                </a:lnTo>
                <a:lnTo>
                  <a:pt x="3423" y="292"/>
                </a:lnTo>
                <a:lnTo>
                  <a:pt x="3423" y="307"/>
                </a:lnTo>
                <a:lnTo>
                  <a:pt x="3425" y="313"/>
                </a:lnTo>
                <a:lnTo>
                  <a:pt x="3427" y="320"/>
                </a:lnTo>
                <a:lnTo>
                  <a:pt x="3431" y="332"/>
                </a:lnTo>
                <a:lnTo>
                  <a:pt x="3438" y="343"/>
                </a:lnTo>
                <a:lnTo>
                  <a:pt x="3446" y="351"/>
                </a:lnTo>
                <a:lnTo>
                  <a:pt x="3452" y="356"/>
                </a:lnTo>
                <a:lnTo>
                  <a:pt x="3457" y="358"/>
                </a:lnTo>
                <a:lnTo>
                  <a:pt x="3467" y="362"/>
                </a:lnTo>
                <a:lnTo>
                  <a:pt x="3474" y="362"/>
                </a:lnTo>
                <a:lnTo>
                  <a:pt x="3480" y="362"/>
                </a:lnTo>
                <a:lnTo>
                  <a:pt x="3493" y="362"/>
                </a:lnTo>
                <a:lnTo>
                  <a:pt x="3505" y="358"/>
                </a:lnTo>
                <a:lnTo>
                  <a:pt x="3512" y="356"/>
                </a:lnTo>
                <a:lnTo>
                  <a:pt x="3516" y="353"/>
                </a:lnTo>
                <a:lnTo>
                  <a:pt x="3527" y="345"/>
                </a:lnTo>
                <a:lnTo>
                  <a:pt x="3535" y="337"/>
                </a:lnTo>
                <a:lnTo>
                  <a:pt x="3543" y="326"/>
                </a:lnTo>
                <a:lnTo>
                  <a:pt x="3552" y="313"/>
                </a:lnTo>
                <a:lnTo>
                  <a:pt x="3558" y="301"/>
                </a:lnTo>
                <a:lnTo>
                  <a:pt x="3565" y="288"/>
                </a:lnTo>
                <a:lnTo>
                  <a:pt x="3571" y="273"/>
                </a:lnTo>
                <a:lnTo>
                  <a:pt x="3575" y="258"/>
                </a:lnTo>
                <a:lnTo>
                  <a:pt x="3577" y="243"/>
                </a:lnTo>
                <a:lnTo>
                  <a:pt x="3582" y="231"/>
                </a:lnTo>
                <a:lnTo>
                  <a:pt x="3582" y="216"/>
                </a:lnTo>
                <a:lnTo>
                  <a:pt x="3584" y="201"/>
                </a:lnTo>
                <a:lnTo>
                  <a:pt x="3582" y="188"/>
                </a:lnTo>
                <a:lnTo>
                  <a:pt x="3584" y="186"/>
                </a:lnTo>
                <a:lnTo>
                  <a:pt x="3588" y="184"/>
                </a:lnTo>
                <a:lnTo>
                  <a:pt x="3592" y="182"/>
                </a:lnTo>
                <a:lnTo>
                  <a:pt x="3596" y="182"/>
                </a:lnTo>
                <a:lnTo>
                  <a:pt x="3601" y="182"/>
                </a:lnTo>
                <a:lnTo>
                  <a:pt x="3605" y="184"/>
                </a:lnTo>
                <a:lnTo>
                  <a:pt x="3609" y="186"/>
                </a:lnTo>
                <a:lnTo>
                  <a:pt x="3613" y="190"/>
                </a:lnTo>
                <a:lnTo>
                  <a:pt x="3613" y="250"/>
                </a:lnTo>
                <a:lnTo>
                  <a:pt x="3609" y="265"/>
                </a:lnTo>
                <a:lnTo>
                  <a:pt x="3605" y="279"/>
                </a:lnTo>
                <a:lnTo>
                  <a:pt x="3601" y="294"/>
                </a:lnTo>
                <a:lnTo>
                  <a:pt x="3596" y="307"/>
                </a:lnTo>
                <a:lnTo>
                  <a:pt x="3590" y="320"/>
                </a:lnTo>
                <a:lnTo>
                  <a:pt x="3582" y="332"/>
                </a:lnTo>
                <a:lnTo>
                  <a:pt x="3575" y="345"/>
                </a:lnTo>
                <a:lnTo>
                  <a:pt x="3567" y="356"/>
                </a:lnTo>
                <a:lnTo>
                  <a:pt x="3558" y="364"/>
                </a:lnTo>
                <a:lnTo>
                  <a:pt x="3548" y="373"/>
                </a:lnTo>
                <a:lnTo>
                  <a:pt x="3537" y="381"/>
                </a:lnTo>
                <a:lnTo>
                  <a:pt x="3527" y="387"/>
                </a:lnTo>
                <a:lnTo>
                  <a:pt x="3516" y="392"/>
                </a:lnTo>
                <a:lnTo>
                  <a:pt x="3505" y="396"/>
                </a:lnTo>
                <a:lnTo>
                  <a:pt x="3493" y="398"/>
                </a:lnTo>
                <a:lnTo>
                  <a:pt x="3480" y="398"/>
                </a:lnTo>
                <a:close/>
                <a:moveTo>
                  <a:pt x="1979" y="0"/>
                </a:moveTo>
                <a:lnTo>
                  <a:pt x="2019" y="0"/>
                </a:lnTo>
                <a:lnTo>
                  <a:pt x="2015" y="8"/>
                </a:lnTo>
                <a:lnTo>
                  <a:pt x="2015" y="11"/>
                </a:lnTo>
                <a:lnTo>
                  <a:pt x="2013" y="13"/>
                </a:lnTo>
                <a:lnTo>
                  <a:pt x="2015" y="17"/>
                </a:lnTo>
                <a:lnTo>
                  <a:pt x="2017" y="23"/>
                </a:lnTo>
                <a:lnTo>
                  <a:pt x="2028" y="36"/>
                </a:lnTo>
                <a:lnTo>
                  <a:pt x="2045" y="53"/>
                </a:lnTo>
                <a:lnTo>
                  <a:pt x="2064" y="72"/>
                </a:lnTo>
                <a:lnTo>
                  <a:pt x="2083" y="91"/>
                </a:lnTo>
                <a:lnTo>
                  <a:pt x="2085" y="93"/>
                </a:lnTo>
                <a:lnTo>
                  <a:pt x="2087" y="97"/>
                </a:lnTo>
                <a:lnTo>
                  <a:pt x="2085" y="99"/>
                </a:lnTo>
                <a:lnTo>
                  <a:pt x="2085" y="104"/>
                </a:lnTo>
                <a:lnTo>
                  <a:pt x="2079" y="110"/>
                </a:lnTo>
                <a:lnTo>
                  <a:pt x="2072" y="114"/>
                </a:lnTo>
                <a:lnTo>
                  <a:pt x="2068" y="116"/>
                </a:lnTo>
                <a:lnTo>
                  <a:pt x="2066" y="116"/>
                </a:lnTo>
                <a:lnTo>
                  <a:pt x="2060" y="114"/>
                </a:lnTo>
                <a:lnTo>
                  <a:pt x="2051" y="108"/>
                </a:lnTo>
                <a:lnTo>
                  <a:pt x="2034" y="93"/>
                </a:lnTo>
                <a:lnTo>
                  <a:pt x="2015" y="74"/>
                </a:lnTo>
                <a:lnTo>
                  <a:pt x="1996" y="53"/>
                </a:lnTo>
                <a:lnTo>
                  <a:pt x="1990" y="44"/>
                </a:lnTo>
                <a:lnTo>
                  <a:pt x="1986" y="38"/>
                </a:lnTo>
                <a:lnTo>
                  <a:pt x="1979" y="25"/>
                </a:lnTo>
                <a:lnTo>
                  <a:pt x="1977" y="21"/>
                </a:lnTo>
                <a:lnTo>
                  <a:pt x="1977" y="15"/>
                </a:lnTo>
                <a:lnTo>
                  <a:pt x="1979" y="8"/>
                </a:lnTo>
                <a:lnTo>
                  <a:pt x="1979" y="0"/>
                </a:lnTo>
                <a:close/>
                <a:moveTo>
                  <a:pt x="1875" y="0"/>
                </a:moveTo>
                <a:lnTo>
                  <a:pt x="1863" y="13"/>
                </a:lnTo>
                <a:lnTo>
                  <a:pt x="1856" y="19"/>
                </a:lnTo>
                <a:lnTo>
                  <a:pt x="1848" y="23"/>
                </a:lnTo>
                <a:lnTo>
                  <a:pt x="1839" y="28"/>
                </a:lnTo>
                <a:lnTo>
                  <a:pt x="1831" y="30"/>
                </a:lnTo>
                <a:lnTo>
                  <a:pt x="1820" y="32"/>
                </a:lnTo>
                <a:lnTo>
                  <a:pt x="1812" y="32"/>
                </a:lnTo>
                <a:lnTo>
                  <a:pt x="1806" y="32"/>
                </a:lnTo>
                <a:lnTo>
                  <a:pt x="1804" y="30"/>
                </a:lnTo>
                <a:lnTo>
                  <a:pt x="1801" y="28"/>
                </a:lnTo>
                <a:lnTo>
                  <a:pt x="1799" y="25"/>
                </a:lnTo>
                <a:lnTo>
                  <a:pt x="1797" y="21"/>
                </a:lnTo>
                <a:lnTo>
                  <a:pt x="1797" y="15"/>
                </a:lnTo>
                <a:lnTo>
                  <a:pt x="1797" y="6"/>
                </a:lnTo>
                <a:lnTo>
                  <a:pt x="1799" y="4"/>
                </a:lnTo>
                <a:lnTo>
                  <a:pt x="1801" y="4"/>
                </a:lnTo>
                <a:lnTo>
                  <a:pt x="1814" y="0"/>
                </a:lnTo>
                <a:lnTo>
                  <a:pt x="1875" y="0"/>
                </a:lnTo>
                <a:close/>
                <a:moveTo>
                  <a:pt x="1835" y="121"/>
                </a:moveTo>
                <a:lnTo>
                  <a:pt x="1825" y="121"/>
                </a:lnTo>
                <a:lnTo>
                  <a:pt x="1816" y="119"/>
                </a:lnTo>
                <a:lnTo>
                  <a:pt x="1808" y="116"/>
                </a:lnTo>
                <a:lnTo>
                  <a:pt x="1799" y="112"/>
                </a:lnTo>
                <a:lnTo>
                  <a:pt x="1791" y="108"/>
                </a:lnTo>
                <a:lnTo>
                  <a:pt x="1784" y="102"/>
                </a:lnTo>
                <a:lnTo>
                  <a:pt x="1778" y="97"/>
                </a:lnTo>
                <a:lnTo>
                  <a:pt x="1772" y="89"/>
                </a:lnTo>
                <a:lnTo>
                  <a:pt x="1765" y="83"/>
                </a:lnTo>
                <a:lnTo>
                  <a:pt x="1759" y="74"/>
                </a:lnTo>
                <a:lnTo>
                  <a:pt x="1751" y="55"/>
                </a:lnTo>
                <a:lnTo>
                  <a:pt x="1748" y="47"/>
                </a:lnTo>
                <a:lnTo>
                  <a:pt x="1746" y="36"/>
                </a:lnTo>
                <a:lnTo>
                  <a:pt x="1744" y="25"/>
                </a:lnTo>
                <a:lnTo>
                  <a:pt x="1744" y="15"/>
                </a:lnTo>
                <a:lnTo>
                  <a:pt x="1744" y="0"/>
                </a:lnTo>
                <a:lnTo>
                  <a:pt x="1778" y="0"/>
                </a:lnTo>
                <a:lnTo>
                  <a:pt x="1778" y="13"/>
                </a:lnTo>
                <a:lnTo>
                  <a:pt x="1778" y="28"/>
                </a:lnTo>
                <a:lnTo>
                  <a:pt x="1780" y="34"/>
                </a:lnTo>
                <a:lnTo>
                  <a:pt x="1782" y="42"/>
                </a:lnTo>
                <a:lnTo>
                  <a:pt x="1787" y="53"/>
                </a:lnTo>
                <a:lnTo>
                  <a:pt x="1793" y="63"/>
                </a:lnTo>
                <a:lnTo>
                  <a:pt x="1801" y="72"/>
                </a:lnTo>
                <a:lnTo>
                  <a:pt x="1808" y="76"/>
                </a:lnTo>
                <a:lnTo>
                  <a:pt x="1812" y="78"/>
                </a:lnTo>
                <a:lnTo>
                  <a:pt x="1823" y="83"/>
                </a:lnTo>
                <a:lnTo>
                  <a:pt x="1829" y="85"/>
                </a:lnTo>
                <a:lnTo>
                  <a:pt x="1835" y="85"/>
                </a:lnTo>
                <a:lnTo>
                  <a:pt x="1850" y="83"/>
                </a:lnTo>
                <a:lnTo>
                  <a:pt x="1859" y="80"/>
                </a:lnTo>
                <a:lnTo>
                  <a:pt x="1865" y="78"/>
                </a:lnTo>
                <a:lnTo>
                  <a:pt x="1878" y="70"/>
                </a:lnTo>
                <a:lnTo>
                  <a:pt x="1884" y="66"/>
                </a:lnTo>
                <a:lnTo>
                  <a:pt x="1888" y="59"/>
                </a:lnTo>
                <a:lnTo>
                  <a:pt x="1895" y="53"/>
                </a:lnTo>
                <a:lnTo>
                  <a:pt x="1899" y="47"/>
                </a:lnTo>
                <a:lnTo>
                  <a:pt x="1909" y="32"/>
                </a:lnTo>
                <a:lnTo>
                  <a:pt x="1918" y="17"/>
                </a:lnTo>
                <a:lnTo>
                  <a:pt x="1924" y="0"/>
                </a:lnTo>
                <a:lnTo>
                  <a:pt x="1960" y="0"/>
                </a:lnTo>
                <a:lnTo>
                  <a:pt x="1952" y="25"/>
                </a:lnTo>
                <a:lnTo>
                  <a:pt x="1947" y="38"/>
                </a:lnTo>
                <a:lnTo>
                  <a:pt x="1941" y="49"/>
                </a:lnTo>
                <a:lnTo>
                  <a:pt x="1928" y="68"/>
                </a:lnTo>
                <a:lnTo>
                  <a:pt x="1920" y="78"/>
                </a:lnTo>
                <a:lnTo>
                  <a:pt x="1914" y="87"/>
                </a:lnTo>
                <a:lnTo>
                  <a:pt x="1905" y="93"/>
                </a:lnTo>
                <a:lnTo>
                  <a:pt x="1897" y="99"/>
                </a:lnTo>
                <a:lnTo>
                  <a:pt x="1886" y="106"/>
                </a:lnTo>
                <a:lnTo>
                  <a:pt x="1878" y="112"/>
                </a:lnTo>
                <a:lnTo>
                  <a:pt x="1867" y="114"/>
                </a:lnTo>
                <a:lnTo>
                  <a:pt x="1856" y="119"/>
                </a:lnTo>
                <a:lnTo>
                  <a:pt x="1846" y="121"/>
                </a:lnTo>
                <a:lnTo>
                  <a:pt x="1835" y="121"/>
                </a:lnTo>
                <a:close/>
                <a:moveTo>
                  <a:pt x="620" y="0"/>
                </a:moveTo>
                <a:lnTo>
                  <a:pt x="660" y="0"/>
                </a:lnTo>
                <a:lnTo>
                  <a:pt x="656" y="8"/>
                </a:lnTo>
                <a:lnTo>
                  <a:pt x="654" y="11"/>
                </a:lnTo>
                <a:lnTo>
                  <a:pt x="654" y="13"/>
                </a:lnTo>
                <a:lnTo>
                  <a:pt x="656" y="17"/>
                </a:lnTo>
                <a:lnTo>
                  <a:pt x="658" y="23"/>
                </a:lnTo>
                <a:lnTo>
                  <a:pt x="669" y="36"/>
                </a:lnTo>
                <a:lnTo>
                  <a:pt x="686" y="53"/>
                </a:lnTo>
                <a:lnTo>
                  <a:pt x="705" y="72"/>
                </a:lnTo>
                <a:lnTo>
                  <a:pt x="724" y="91"/>
                </a:lnTo>
                <a:lnTo>
                  <a:pt x="726" y="93"/>
                </a:lnTo>
                <a:lnTo>
                  <a:pt x="726" y="97"/>
                </a:lnTo>
                <a:lnTo>
                  <a:pt x="726" y="99"/>
                </a:lnTo>
                <a:lnTo>
                  <a:pt x="724" y="104"/>
                </a:lnTo>
                <a:lnTo>
                  <a:pt x="720" y="110"/>
                </a:lnTo>
                <a:lnTo>
                  <a:pt x="713" y="114"/>
                </a:lnTo>
                <a:lnTo>
                  <a:pt x="709" y="116"/>
                </a:lnTo>
                <a:lnTo>
                  <a:pt x="707" y="116"/>
                </a:lnTo>
                <a:lnTo>
                  <a:pt x="701" y="114"/>
                </a:lnTo>
                <a:lnTo>
                  <a:pt x="692" y="108"/>
                </a:lnTo>
                <a:lnTo>
                  <a:pt x="675" y="93"/>
                </a:lnTo>
                <a:lnTo>
                  <a:pt x="656" y="74"/>
                </a:lnTo>
                <a:lnTo>
                  <a:pt x="637" y="53"/>
                </a:lnTo>
                <a:lnTo>
                  <a:pt x="631" y="44"/>
                </a:lnTo>
                <a:lnTo>
                  <a:pt x="624" y="38"/>
                </a:lnTo>
                <a:lnTo>
                  <a:pt x="620" y="25"/>
                </a:lnTo>
                <a:lnTo>
                  <a:pt x="618" y="21"/>
                </a:lnTo>
                <a:lnTo>
                  <a:pt x="618" y="15"/>
                </a:lnTo>
                <a:lnTo>
                  <a:pt x="618" y="8"/>
                </a:lnTo>
                <a:lnTo>
                  <a:pt x="620" y="0"/>
                </a:lnTo>
                <a:close/>
                <a:moveTo>
                  <a:pt x="516" y="0"/>
                </a:moveTo>
                <a:lnTo>
                  <a:pt x="504" y="13"/>
                </a:lnTo>
                <a:lnTo>
                  <a:pt x="495" y="19"/>
                </a:lnTo>
                <a:lnTo>
                  <a:pt x="487" y="23"/>
                </a:lnTo>
                <a:lnTo>
                  <a:pt x="478" y="28"/>
                </a:lnTo>
                <a:lnTo>
                  <a:pt x="470" y="30"/>
                </a:lnTo>
                <a:lnTo>
                  <a:pt x="461" y="32"/>
                </a:lnTo>
                <a:lnTo>
                  <a:pt x="453" y="32"/>
                </a:lnTo>
                <a:lnTo>
                  <a:pt x="447" y="32"/>
                </a:lnTo>
                <a:lnTo>
                  <a:pt x="445" y="30"/>
                </a:lnTo>
                <a:lnTo>
                  <a:pt x="440" y="28"/>
                </a:lnTo>
                <a:lnTo>
                  <a:pt x="440" y="25"/>
                </a:lnTo>
                <a:lnTo>
                  <a:pt x="438" y="21"/>
                </a:lnTo>
                <a:lnTo>
                  <a:pt x="436" y="15"/>
                </a:lnTo>
                <a:lnTo>
                  <a:pt x="438" y="6"/>
                </a:lnTo>
                <a:lnTo>
                  <a:pt x="438" y="4"/>
                </a:lnTo>
                <a:lnTo>
                  <a:pt x="440" y="4"/>
                </a:lnTo>
                <a:lnTo>
                  <a:pt x="453" y="0"/>
                </a:lnTo>
                <a:lnTo>
                  <a:pt x="516" y="0"/>
                </a:lnTo>
                <a:close/>
                <a:moveTo>
                  <a:pt x="476" y="121"/>
                </a:moveTo>
                <a:lnTo>
                  <a:pt x="466" y="121"/>
                </a:lnTo>
                <a:lnTo>
                  <a:pt x="457" y="119"/>
                </a:lnTo>
                <a:lnTo>
                  <a:pt x="449" y="116"/>
                </a:lnTo>
                <a:lnTo>
                  <a:pt x="440" y="112"/>
                </a:lnTo>
                <a:lnTo>
                  <a:pt x="432" y="108"/>
                </a:lnTo>
                <a:lnTo>
                  <a:pt x="425" y="102"/>
                </a:lnTo>
                <a:lnTo>
                  <a:pt x="417" y="97"/>
                </a:lnTo>
                <a:lnTo>
                  <a:pt x="411" y="89"/>
                </a:lnTo>
                <a:lnTo>
                  <a:pt x="406" y="83"/>
                </a:lnTo>
                <a:lnTo>
                  <a:pt x="400" y="74"/>
                </a:lnTo>
                <a:lnTo>
                  <a:pt x="392" y="55"/>
                </a:lnTo>
                <a:lnTo>
                  <a:pt x="389" y="47"/>
                </a:lnTo>
                <a:lnTo>
                  <a:pt x="387" y="36"/>
                </a:lnTo>
                <a:lnTo>
                  <a:pt x="385" y="25"/>
                </a:lnTo>
                <a:lnTo>
                  <a:pt x="385" y="15"/>
                </a:lnTo>
                <a:lnTo>
                  <a:pt x="385" y="0"/>
                </a:lnTo>
                <a:lnTo>
                  <a:pt x="419" y="0"/>
                </a:lnTo>
                <a:lnTo>
                  <a:pt x="419" y="13"/>
                </a:lnTo>
                <a:lnTo>
                  <a:pt x="419" y="28"/>
                </a:lnTo>
                <a:lnTo>
                  <a:pt x="421" y="34"/>
                </a:lnTo>
                <a:lnTo>
                  <a:pt x="423" y="42"/>
                </a:lnTo>
                <a:lnTo>
                  <a:pt x="428" y="53"/>
                </a:lnTo>
                <a:lnTo>
                  <a:pt x="434" y="63"/>
                </a:lnTo>
                <a:lnTo>
                  <a:pt x="442" y="72"/>
                </a:lnTo>
                <a:lnTo>
                  <a:pt x="447" y="76"/>
                </a:lnTo>
                <a:lnTo>
                  <a:pt x="453" y="78"/>
                </a:lnTo>
                <a:lnTo>
                  <a:pt x="464" y="83"/>
                </a:lnTo>
                <a:lnTo>
                  <a:pt x="470" y="85"/>
                </a:lnTo>
                <a:lnTo>
                  <a:pt x="476" y="85"/>
                </a:lnTo>
                <a:lnTo>
                  <a:pt x="491" y="83"/>
                </a:lnTo>
                <a:lnTo>
                  <a:pt x="500" y="80"/>
                </a:lnTo>
                <a:lnTo>
                  <a:pt x="506" y="78"/>
                </a:lnTo>
                <a:lnTo>
                  <a:pt x="519" y="70"/>
                </a:lnTo>
                <a:lnTo>
                  <a:pt x="525" y="66"/>
                </a:lnTo>
                <a:lnTo>
                  <a:pt x="529" y="59"/>
                </a:lnTo>
                <a:lnTo>
                  <a:pt x="536" y="53"/>
                </a:lnTo>
                <a:lnTo>
                  <a:pt x="540" y="47"/>
                </a:lnTo>
                <a:lnTo>
                  <a:pt x="550" y="32"/>
                </a:lnTo>
                <a:lnTo>
                  <a:pt x="557" y="17"/>
                </a:lnTo>
                <a:lnTo>
                  <a:pt x="565" y="0"/>
                </a:lnTo>
                <a:lnTo>
                  <a:pt x="601" y="0"/>
                </a:lnTo>
                <a:lnTo>
                  <a:pt x="593" y="25"/>
                </a:lnTo>
                <a:lnTo>
                  <a:pt x="588" y="38"/>
                </a:lnTo>
                <a:lnTo>
                  <a:pt x="582" y="49"/>
                </a:lnTo>
                <a:lnTo>
                  <a:pt x="569" y="68"/>
                </a:lnTo>
                <a:lnTo>
                  <a:pt x="561" y="78"/>
                </a:lnTo>
                <a:lnTo>
                  <a:pt x="552" y="87"/>
                </a:lnTo>
                <a:lnTo>
                  <a:pt x="546" y="93"/>
                </a:lnTo>
                <a:lnTo>
                  <a:pt x="536" y="99"/>
                </a:lnTo>
                <a:lnTo>
                  <a:pt x="527" y="106"/>
                </a:lnTo>
                <a:lnTo>
                  <a:pt x="516" y="112"/>
                </a:lnTo>
                <a:lnTo>
                  <a:pt x="508" y="114"/>
                </a:lnTo>
                <a:lnTo>
                  <a:pt x="497" y="119"/>
                </a:lnTo>
                <a:lnTo>
                  <a:pt x="487" y="121"/>
                </a:lnTo>
                <a:lnTo>
                  <a:pt x="476" y="121"/>
                </a:lnTo>
                <a:close/>
                <a:moveTo>
                  <a:pt x="2902" y="0"/>
                </a:moveTo>
                <a:lnTo>
                  <a:pt x="2940" y="0"/>
                </a:lnTo>
                <a:lnTo>
                  <a:pt x="2936" y="8"/>
                </a:lnTo>
                <a:lnTo>
                  <a:pt x="2936" y="11"/>
                </a:lnTo>
                <a:lnTo>
                  <a:pt x="2936" y="13"/>
                </a:lnTo>
                <a:lnTo>
                  <a:pt x="2936" y="17"/>
                </a:lnTo>
                <a:lnTo>
                  <a:pt x="2940" y="23"/>
                </a:lnTo>
                <a:lnTo>
                  <a:pt x="2951" y="36"/>
                </a:lnTo>
                <a:lnTo>
                  <a:pt x="2968" y="53"/>
                </a:lnTo>
                <a:lnTo>
                  <a:pt x="2987" y="72"/>
                </a:lnTo>
                <a:lnTo>
                  <a:pt x="3006" y="91"/>
                </a:lnTo>
                <a:lnTo>
                  <a:pt x="3008" y="93"/>
                </a:lnTo>
                <a:lnTo>
                  <a:pt x="3008" y="97"/>
                </a:lnTo>
                <a:lnTo>
                  <a:pt x="3008" y="99"/>
                </a:lnTo>
                <a:lnTo>
                  <a:pt x="3006" y="104"/>
                </a:lnTo>
                <a:lnTo>
                  <a:pt x="3002" y="110"/>
                </a:lnTo>
                <a:lnTo>
                  <a:pt x="2993" y="114"/>
                </a:lnTo>
                <a:lnTo>
                  <a:pt x="2991" y="116"/>
                </a:lnTo>
                <a:lnTo>
                  <a:pt x="2987" y="116"/>
                </a:lnTo>
                <a:lnTo>
                  <a:pt x="2980" y="114"/>
                </a:lnTo>
                <a:lnTo>
                  <a:pt x="2972" y="108"/>
                </a:lnTo>
                <a:lnTo>
                  <a:pt x="2957" y="93"/>
                </a:lnTo>
                <a:lnTo>
                  <a:pt x="2936" y="74"/>
                </a:lnTo>
                <a:lnTo>
                  <a:pt x="2919" y="53"/>
                </a:lnTo>
                <a:lnTo>
                  <a:pt x="2911" y="44"/>
                </a:lnTo>
                <a:lnTo>
                  <a:pt x="2906" y="38"/>
                </a:lnTo>
                <a:lnTo>
                  <a:pt x="2900" y="25"/>
                </a:lnTo>
                <a:lnTo>
                  <a:pt x="2900" y="21"/>
                </a:lnTo>
                <a:lnTo>
                  <a:pt x="2900" y="15"/>
                </a:lnTo>
                <a:lnTo>
                  <a:pt x="2900" y="8"/>
                </a:lnTo>
                <a:lnTo>
                  <a:pt x="2902" y="0"/>
                </a:lnTo>
                <a:close/>
                <a:moveTo>
                  <a:pt x="2798" y="0"/>
                </a:moveTo>
                <a:lnTo>
                  <a:pt x="2784" y="13"/>
                </a:lnTo>
                <a:lnTo>
                  <a:pt x="2777" y="19"/>
                </a:lnTo>
                <a:lnTo>
                  <a:pt x="2769" y="23"/>
                </a:lnTo>
                <a:lnTo>
                  <a:pt x="2760" y="28"/>
                </a:lnTo>
                <a:lnTo>
                  <a:pt x="2752" y="30"/>
                </a:lnTo>
                <a:lnTo>
                  <a:pt x="2743" y="32"/>
                </a:lnTo>
                <a:lnTo>
                  <a:pt x="2733" y="32"/>
                </a:lnTo>
                <a:lnTo>
                  <a:pt x="2726" y="32"/>
                </a:lnTo>
                <a:lnTo>
                  <a:pt x="2724" y="30"/>
                </a:lnTo>
                <a:lnTo>
                  <a:pt x="2722" y="28"/>
                </a:lnTo>
                <a:lnTo>
                  <a:pt x="2720" y="25"/>
                </a:lnTo>
                <a:lnTo>
                  <a:pt x="2718" y="21"/>
                </a:lnTo>
                <a:lnTo>
                  <a:pt x="2718" y="15"/>
                </a:lnTo>
                <a:lnTo>
                  <a:pt x="2718" y="6"/>
                </a:lnTo>
                <a:lnTo>
                  <a:pt x="2720" y="4"/>
                </a:lnTo>
                <a:lnTo>
                  <a:pt x="2722" y="4"/>
                </a:lnTo>
                <a:lnTo>
                  <a:pt x="2735" y="0"/>
                </a:lnTo>
                <a:lnTo>
                  <a:pt x="2798" y="0"/>
                </a:lnTo>
                <a:close/>
                <a:moveTo>
                  <a:pt x="2756" y="121"/>
                </a:moveTo>
                <a:lnTo>
                  <a:pt x="2748" y="121"/>
                </a:lnTo>
                <a:lnTo>
                  <a:pt x="2739" y="119"/>
                </a:lnTo>
                <a:lnTo>
                  <a:pt x="2729" y="116"/>
                </a:lnTo>
                <a:lnTo>
                  <a:pt x="2720" y="112"/>
                </a:lnTo>
                <a:lnTo>
                  <a:pt x="2714" y="108"/>
                </a:lnTo>
                <a:lnTo>
                  <a:pt x="2705" y="102"/>
                </a:lnTo>
                <a:lnTo>
                  <a:pt x="2699" y="97"/>
                </a:lnTo>
                <a:lnTo>
                  <a:pt x="2693" y="89"/>
                </a:lnTo>
                <a:lnTo>
                  <a:pt x="2686" y="83"/>
                </a:lnTo>
                <a:lnTo>
                  <a:pt x="2682" y="74"/>
                </a:lnTo>
                <a:lnTo>
                  <a:pt x="2673" y="55"/>
                </a:lnTo>
                <a:lnTo>
                  <a:pt x="2669" y="47"/>
                </a:lnTo>
                <a:lnTo>
                  <a:pt x="2667" y="36"/>
                </a:lnTo>
                <a:lnTo>
                  <a:pt x="2667" y="25"/>
                </a:lnTo>
                <a:lnTo>
                  <a:pt x="2665" y="15"/>
                </a:lnTo>
                <a:lnTo>
                  <a:pt x="2667" y="0"/>
                </a:lnTo>
                <a:lnTo>
                  <a:pt x="2701" y="0"/>
                </a:lnTo>
                <a:lnTo>
                  <a:pt x="2699" y="13"/>
                </a:lnTo>
                <a:lnTo>
                  <a:pt x="2701" y="28"/>
                </a:lnTo>
                <a:lnTo>
                  <a:pt x="2701" y="34"/>
                </a:lnTo>
                <a:lnTo>
                  <a:pt x="2703" y="42"/>
                </a:lnTo>
                <a:lnTo>
                  <a:pt x="2709" y="53"/>
                </a:lnTo>
                <a:lnTo>
                  <a:pt x="2716" y="63"/>
                </a:lnTo>
                <a:lnTo>
                  <a:pt x="2724" y="72"/>
                </a:lnTo>
                <a:lnTo>
                  <a:pt x="2729" y="76"/>
                </a:lnTo>
                <a:lnTo>
                  <a:pt x="2733" y="78"/>
                </a:lnTo>
                <a:lnTo>
                  <a:pt x="2745" y="83"/>
                </a:lnTo>
                <a:lnTo>
                  <a:pt x="2752" y="85"/>
                </a:lnTo>
                <a:lnTo>
                  <a:pt x="2758" y="85"/>
                </a:lnTo>
                <a:lnTo>
                  <a:pt x="2773" y="83"/>
                </a:lnTo>
                <a:lnTo>
                  <a:pt x="2779" y="80"/>
                </a:lnTo>
                <a:lnTo>
                  <a:pt x="2786" y="78"/>
                </a:lnTo>
                <a:lnTo>
                  <a:pt x="2798" y="70"/>
                </a:lnTo>
                <a:lnTo>
                  <a:pt x="2805" y="66"/>
                </a:lnTo>
                <a:lnTo>
                  <a:pt x="2811" y="59"/>
                </a:lnTo>
                <a:lnTo>
                  <a:pt x="2815" y="53"/>
                </a:lnTo>
                <a:lnTo>
                  <a:pt x="2822" y="47"/>
                </a:lnTo>
                <a:lnTo>
                  <a:pt x="2830" y="32"/>
                </a:lnTo>
                <a:lnTo>
                  <a:pt x="2839" y="17"/>
                </a:lnTo>
                <a:lnTo>
                  <a:pt x="2845" y="0"/>
                </a:lnTo>
                <a:lnTo>
                  <a:pt x="2883" y="0"/>
                </a:lnTo>
                <a:lnTo>
                  <a:pt x="2875" y="25"/>
                </a:lnTo>
                <a:lnTo>
                  <a:pt x="2868" y="38"/>
                </a:lnTo>
                <a:lnTo>
                  <a:pt x="2862" y="49"/>
                </a:lnTo>
                <a:lnTo>
                  <a:pt x="2849" y="68"/>
                </a:lnTo>
                <a:lnTo>
                  <a:pt x="2843" y="78"/>
                </a:lnTo>
                <a:lnTo>
                  <a:pt x="2834" y="87"/>
                </a:lnTo>
                <a:lnTo>
                  <a:pt x="2826" y="93"/>
                </a:lnTo>
                <a:lnTo>
                  <a:pt x="2817" y="99"/>
                </a:lnTo>
                <a:lnTo>
                  <a:pt x="2809" y="106"/>
                </a:lnTo>
                <a:lnTo>
                  <a:pt x="2798" y="112"/>
                </a:lnTo>
                <a:lnTo>
                  <a:pt x="2788" y="114"/>
                </a:lnTo>
                <a:lnTo>
                  <a:pt x="2777" y="119"/>
                </a:lnTo>
                <a:lnTo>
                  <a:pt x="2767" y="121"/>
                </a:lnTo>
                <a:lnTo>
                  <a:pt x="2756" y="121"/>
                </a:lnTo>
                <a:close/>
                <a:moveTo>
                  <a:pt x="159" y="0"/>
                </a:moveTo>
                <a:lnTo>
                  <a:pt x="197" y="0"/>
                </a:lnTo>
                <a:lnTo>
                  <a:pt x="193" y="8"/>
                </a:lnTo>
                <a:lnTo>
                  <a:pt x="193" y="11"/>
                </a:lnTo>
                <a:lnTo>
                  <a:pt x="193" y="13"/>
                </a:lnTo>
                <a:lnTo>
                  <a:pt x="193" y="17"/>
                </a:lnTo>
                <a:lnTo>
                  <a:pt x="197" y="23"/>
                </a:lnTo>
                <a:lnTo>
                  <a:pt x="207" y="36"/>
                </a:lnTo>
                <a:lnTo>
                  <a:pt x="222" y="53"/>
                </a:lnTo>
                <a:lnTo>
                  <a:pt x="243" y="72"/>
                </a:lnTo>
                <a:lnTo>
                  <a:pt x="260" y="91"/>
                </a:lnTo>
                <a:lnTo>
                  <a:pt x="262" y="93"/>
                </a:lnTo>
                <a:lnTo>
                  <a:pt x="265" y="97"/>
                </a:lnTo>
                <a:lnTo>
                  <a:pt x="262" y="99"/>
                </a:lnTo>
                <a:lnTo>
                  <a:pt x="262" y="104"/>
                </a:lnTo>
                <a:lnTo>
                  <a:pt x="256" y="110"/>
                </a:lnTo>
                <a:lnTo>
                  <a:pt x="250" y="114"/>
                </a:lnTo>
                <a:lnTo>
                  <a:pt x="248" y="116"/>
                </a:lnTo>
                <a:lnTo>
                  <a:pt x="243" y="116"/>
                </a:lnTo>
                <a:lnTo>
                  <a:pt x="237" y="114"/>
                </a:lnTo>
                <a:lnTo>
                  <a:pt x="229" y="108"/>
                </a:lnTo>
                <a:lnTo>
                  <a:pt x="212" y="93"/>
                </a:lnTo>
                <a:lnTo>
                  <a:pt x="193" y="74"/>
                </a:lnTo>
                <a:lnTo>
                  <a:pt x="174" y="53"/>
                </a:lnTo>
                <a:lnTo>
                  <a:pt x="167" y="44"/>
                </a:lnTo>
                <a:lnTo>
                  <a:pt x="163" y="38"/>
                </a:lnTo>
                <a:lnTo>
                  <a:pt x="157" y="25"/>
                </a:lnTo>
                <a:lnTo>
                  <a:pt x="157" y="21"/>
                </a:lnTo>
                <a:lnTo>
                  <a:pt x="155" y="15"/>
                </a:lnTo>
                <a:lnTo>
                  <a:pt x="157" y="8"/>
                </a:lnTo>
                <a:lnTo>
                  <a:pt x="159" y="0"/>
                </a:lnTo>
                <a:close/>
                <a:moveTo>
                  <a:pt x="13" y="85"/>
                </a:moveTo>
                <a:lnTo>
                  <a:pt x="28" y="83"/>
                </a:lnTo>
                <a:lnTo>
                  <a:pt x="42" y="78"/>
                </a:lnTo>
                <a:lnTo>
                  <a:pt x="49" y="74"/>
                </a:lnTo>
                <a:lnTo>
                  <a:pt x="55" y="70"/>
                </a:lnTo>
                <a:lnTo>
                  <a:pt x="61" y="66"/>
                </a:lnTo>
                <a:lnTo>
                  <a:pt x="66" y="59"/>
                </a:lnTo>
                <a:lnTo>
                  <a:pt x="72" y="53"/>
                </a:lnTo>
                <a:lnTo>
                  <a:pt x="76" y="47"/>
                </a:lnTo>
                <a:lnTo>
                  <a:pt x="87" y="32"/>
                </a:lnTo>
                <a:lnTo>
                  <a:pt x="95" y="17"/>
                </a:lnTo>
                <a:lnTo>
                  <a:pt x="102" y="0"/>
                </a:lnTo>
                <a:lnTo>
                  <a:pt x="140" y="0"/>
                </a:lnTo>
                <a:lnTo>
                  <a:pt x="131" y="25"/>
                </a:lnTo>
                <a:lnTo>
                  <a:pt x="121" y="47"/>
                </a:lnTo>
                <a:lnTo>
                  <a:pt x="114" y="57"/>
                </a:lnTo>
                <a:lnTo>
                  <a:pt x="108" y="68"/>
                </a:lnTo>
                <a:lnTo>
                  <a:pt x="99" y="76"/>
                </a:lnTo>
                <a:lnTo>
                  <a:pt x="93" y="85"/>
                </a:lnTo>
                <a:lnTo>
                  <a:pt x="85" y="91"/>
                </a:lnTo>
                <a:lnTo>
                  <a:pt x="76" y="99"/>
                </a:lnTo>
                <a:lnTo>
                  <a:pt x="68" y="104"/>
                </a:lnTo>
                <a:lnTo>
                  <a:pt x="57" y="110"/>
                </a:lnTo>
                <a:lnTo>
                  <a:pt x="49" y="114"/>
                </a:lnTo>
                <a:lnTo>
                  <a:pt x="38" y="116"/>
                </a:lnTo>
                <a:lnTo>
                  <a:pt x="17" y="121"/>
                </a:lnTo>
                <a:lnTo>
                  <a:pt x="13" y="85"/>
                </a:lnTo>
                <a:close/>
                <a:moveTo>
                  <a:pt x="55" y="0"/>
                </a:moveTo>
                <a:lnTo>
                  <a:pt x="44" y="11"/>
                </a:lnTo>
                <a:lnTo>
                  <a:pt x="32" y="19"/>
                </a:lnTo>
                <a:lnTo>
                  <a:pt x="19" y="28"/>
                </a:lnTo>
                <a:lnTo>
                  <a:pt x="13" y="30"/>
                </a:lnTo>
                <a:lnTo>
                  <a:pt x="4" y="32"/>
                </a:lnTo>
                <a:lnTo>
                  <a:pt x="0" y="0"/>
                </a:lnTo>
                <a:lnTo>
                  <a:pt x="55" y="0"/>
                </a:lnTo>
                <a:close/>
                <a:moveTo>
                  <a:pt x="2439" y="0"/>
                </a:moveTo>
                <a:lnTo>
                  <a:pt x="2479" y="0"/>
                </a:lnTo>
                <a:lnTo>
                  <a:pt x="2475" y="8"/>
                </a:lnTo>
                <a:lnTo>
                  <a:pt x="2472" y="11"/>
                </a:lnTo>
                <a:lnTo>
                  <a:pt x="2472" y="13"/>
                </a:lnTo>
                <a:lnTo>
                  <a:pt x="2475" y="17"/>
                </a:lnTo>
                <a:lnTo>
                  <a:pt x="2477" y="23"/>
                </a:lnTo>
                <a:lnTo>
                  <a:pt x="2487" y="36"/>
                </a:lnTo>
                <a:lnTo>
                  <a:pt x="2504" y="53"/>
                </a:lnTo>
                <a:lnTo>
                  <a:pt x="2523" y="72"/>
                </a:lnTo>
                <a:lnTo>
                  <a:pt x="2542" y="91"/>
                </a:lnTo>
                <a:lnTo>
                  <a:pt x="2544" y="93"/>
                </a:lnTo>
                <a:lnTo>
                  <a:pt x="2544" y="97"/>
                </a:lnTo>
                <a:lnTo>
                  <a:pt x="2544" y="99"/>
                </a:lnTo>
                <a:lnTo>
                  <a:pt x="2542" y="104"/>
                </a:lnTo>
                <a:lnTo>
                  <a:pt x="2538" y="110"/>
                </a:lnTo>
                <a:lnTo>
                  <a:pt x="2532" y="114"/>
                </a:lnTo>
                <a:lnTo>
                  <a:pt x="2527" y="116"/>
                </a:lnTo>
                <a:lnTo>
                  <a:pt x="2523" y="116"/>
                </a:lnTo>
                <a:lnTo>
                  <a:pt x="2519" y="114"/>
                </a:lnTo>
                <a:lnTo>
                  <a:pt x="2511" y="108"/>
                </a:lnTo>
                <a:lnTo>
                  <a:pt x="2494" y="93"/>
                </a:lnTo>
                <a:lnTo>
                  <a:pt x="2472" y="74"/>
                </a:lnTo>
                <a:lnTo>
                  <a:pt x="2455" y="53"/>
                </a:lnTo>
                <a:lnTo>
                  <a:pt x="2449" y="44"/>
                </a:lnTo>
                <a:lnTo>
                  <a:pt x="2443" y="38"/>
                </a:lnTo>
                <a:lnTo>
                  <a:pt x="2439" y="25"/>
                </a:lnTo>
                <a:lnTo>
                  <a:pt x="2436" y="21"/>
                </a:lnTo>
                <a:lnTo>
                  <a:pt x="2436" y="15"/>
                </a:lnTo>
                <a:lnTo>
                  <a:pt x="2436" y="8"/>
                </a:lnTo>
                <a:lnTo>
                  <a:pt x="2439" y="0"/>
                </a:lnTo>
                <a:close/>
                <a:moveTo>
                  <a:pt x="2335" y="0"/>
                </a:moveTo>
                <a:lnTo>
                  <a:pt x="2322" y="13"/>
                </a:lnTo>
                <a:lnTo>
                  <a:pt x="2314" y="19"/>
                </a:lnTo>
                <a:lnTo>
                  <a:pt x="2305" y="23"/>
                </a:lnTo>
                <a:lnTo>
                  <a:pt x="2297" y="28"/>
                </a:lnTo>
                <a:lnTo>
                  <a:pt x="2288" y="30"/>
                </a:lnTo>
                <a:lnTo>
                  <a:pt x="2280" y="32"/>
                </a:lnTo>
                <a:lnTo>
                  <a:pt x="2271" y="32"/>
                </a:lnTo>
                <a:lnTo>
                  <a:pt x="2265" y="32"/>
                </a:lnTo>
                <a:lnTo>
                  <a:pt x="2261" y="30"/>
                </a:lnTo>
                <a:lnTo>
                  <a:pt x="2259" y="28"/>
                </a:lnTo>
                <a:lnTo>
                  <a:pt x="2256" y="25"/>
                </a:lnTo>
                <a:lnTo>
                  <a:pt x="2256" y="21"/>
                </a:lnTo>
                <a:lnTo>
                  <a:pt x="2254" y="15"/>
                </a:lnTo>
                <a:lnTo>
                  <a:pt x="2256" y="6"/>
                </a:lnTo>
                <a:lnTo>
                  <a:pt x="2256" y="4"/>
                </a:lnTo>
                <a:lnTo>
                  <a:pt x="2259" y="4"/>
                </a:lnTo>
                <a:lnTo>
                  <a:pt x="2271" y="0"/>
                </a:lnTo>
                <a:lnTo>
                  <a:pt x="2335" y="0"/>
                </a:lnTo>
                <a:close/>
                <a:moveTo>
                  <a:pt x="2292" y="121"/>
                </a:moveTo>
                <a:lnTo>
                  <a:pt x="2284" y="121"/>
                </a:lnTo>
                <a:lnTo>
                  <a:pt x="2276" y="119"/>
                </a:lnTo>
                <a:lnTo>
                  <a:pt x="2267" y="116"/>
                </a:lnTo>
                <a:lnTo>
                  <a:pt x="2259" y="112"/>
                </a:lnTo>
                <a:lnTo>
                  <a:pt x="2250" y="108"/>
                </a:lnTo>
                <a:lnTo>
                  <a:pt x="2244" y="102"/>
                </a:lnTo>
                <a:lnTo>
                  <a:pt x="2235" y="97"/>
                </a:lnTo>
                <a:lnTo>
                  <a:pt x="2229" y="89"/>
                </a:lnTo>
                <a:lnTo>
                  <a:pt x="2223" y="83"/>
                </a:lnTo>
                <a:lnTo>
                  <a:pt x="2218" y="74"/>
                </a:lnTo>
                <a:lnTo>
                  <a:pt x="2210" y="55"/>
                </a:lnTo>
                <a:lnTo>
                  <a:pt x="2208" y="47"/>
                </a:lnTo>
                <a:lnTo>
                  <a:pt x="2206" y="36"/>
                </a:lnTo>
                <a:lnTo>
                  <a:pt x="2204" y="25"/>
                </a:lnTo>
                <a:lnTo>
                  <a:pt x="2204" y="15"/>
                </a:lnTo>
                <a:lnTo>
                  <a:pt x="2204" y="0"/>
                </a:lnTo>
                <a:lnTo>
                  <a:pt x="2237" y="0"/>
                </a:lnTo>
                <a:lnTo>
                  <a:pt x="2237" y="13"/>
                </a:lnTo>
                <a:lnTo>
                  <a:pt x="2237" y="28"/>
                </a:lnTo>
                <a:lnTo>
                  <a:pt x="2240" y="34"/>
                </a:lnTo>
                <a:lnTo>
                  <a:pt x="2242" y="42"/>
                </a:lnTo>
                <a:lnTo>
                  <a:pt x="2246" y="53"/>
                </a:lnTo>
                <a:lnTo>
                  <a:pt x="2252" y="63"/>
                </a:lnTo>
                <a:lnTo>
                  <a:pt x="2261" y="72"/>
                </a:lnTo>
                <a:lnTo>
                  <a:pt x="2265" y="76"/>
                </a:lnTo>
                <a:lnTo>
                  <a:pt x="2271" y="78"/>
                </a:lnTo>
                <a:lnTo>
                  <a:pt x="2282" y="83"/>
                </a:lnTo>
                <a:lnTo>
                  <a:pt x="2288" y="85"/>
                </a:lnTo>
                <a:lnTo>
                  <a:pt x="2295" y="85"/>
                </a:lnTo>
                <a:lnTo>
                  <a:pt x="2309" y="83"/>
                </a:lnTo>
                <a:lnTo>
                  <a:pt x="2316" y="80"/>
                </a:lnTo>
                <a:lnTo>
                  <a:pt x="2324" y="78"/>
                </a:lnTo>
                <a:lnTo>
                  <a:pt x="2337" y="70"/>
                </a:lnTo>
                <a:lnTo>
                  <a:pt x="2341" y="66"/>
                </a:lnTo>
                <a:lnTo>
                  <a:pt x="2348" y="59"/>
                </a:lnTo>
                <a:lnTo>
                  <a:pt x="2354" y="53"/>
                </a:lnTo>
                <a:lnTo>
                  <a:pt x="2358" y="47"/>
                </a:lnTo>
                <a:lnTo>
                  <a:pt x="2367" y="32"/>
                </a:lnTo>
                <a:lnTo>
                  <a:pt x="2375" y="17"/>
                </a:lnTo>
                <a:lnTo>
                  <a:pt x="2381" y="0"/>
                </a:lnTo>
                <a:lnTo>
                  <a:pt x="2419" y="0"/>
                </a:lnTo>
                <a:lnTo>
                  <a:pt x="2411" y="25"/>
                </a:lnTo>
                <a:lnTo>
                  <a:pt x="2407" y="38"/>
                </a:lnTo>
                <a:lnTo>
                  <a:pt x="2400" y="49"/>
                </a:lnTo>
                <a:lnTo>
                  <a:pt x="2388" y="68"/>
                </a:lnTo>
                <a:lnTo>
                  <a:pt x="2379" y="78"/>
                </a:lnTo>
                <a:lnTo>
                  <a:pt x="2371" y="87"/>
                </a:lnTo>
                <a:lnTo>
                  <a:pt x="2362" y="93"/>
                </a:lnTo>
                <a:lnTo>
                  <a:pt x="2354" y="99"/>
                </a:lnTo>
                <a:lnTo>
                  <a:pt x="2345" y="106"/>
                </a:lnTo>
                <a:lnTo>
                  <a:pt x="2335" y="112"/>
                </a:lnTo>
                <a:lnTo>
                  <a:pt x="2326" y="114"/>
                </a:lnTo>
                <a:lnTo>
                  <a:pt x="2316" y="119"/>
                </a:lnTo>
                <a:lnTo>
                  <a:pt x="2305" y="121"/>
                </a:lnTo>
                <a:lnTo>
                  <a:pt x="2292" y="121"/>
                </a:lnTo>
                <a:close/>
                <a:moveTo>
                  <a:pt x="1080" y="0"/>
                </a:moveTo>
                <a:lnTo>
                  <a:pt x="1118" y="0"/>
                </a:lnTo>
                <a:lnTo>
                  <a:pt x="1113" y="8"/>
                </a:lnTo>
                <a:lnTo>
                  <a:pt x="1113" y="11"/>
                </a:lnTo>
                <a:lnTo>
                  <a:pt x="1113" y="13"/>
                </a:lnTo>
                <a:lnTo>
                  <a:pt x="1113" y="17"/>
                </a:lnTo>
                <a:lnTo>
                  <a:pt x="1118" y="23"/>
                </a:lnTo>
                <a:lnTo>
                  <a:pt x="1128" y="36"/>
                </a:lnTo>
                <a:lnTo>
                  <a:pt x="1145" y="53"/>
                </a:lnTo>
                <a:lnTo>
                  <a:pt x="1164" y="72"/>
                </a:lnTo>
                <a:lnTo>
                  <a:pt x="1183" y="91"/>
                </a:lnTo>
                <a:lnTo>
                  <a:pt x="1185" y="93"/>
                </a:lnTo>
                <a:lnTo>
                  <a:pt x="1185" y="97"/>
                </a:lnTo>
                <a:lnTo>
                  <a:pt x="1185" y="99"/>
                </a:lnTo>
                <a:lnTo>
                  <a:pt x="1183" y="104"/>
                </a:lnTo>
                <a:lnTo>
                  <a:pt x="1179" y="110"/>
                </a:lnTo>
                <a:lnTo>
                  <a:pt x="1173" y="114"/>
                </a:lnTo>
                <a:lnTo>
                  <a:pt x="1168" y="116"/>
                </a:lnTo>
                <a:lnTo>
                  <a:pt x="1164" y="116"/>
                </a:lnTo>
                <a:lnTo>
                  <a:pt x="1160" y="114"/>
                </a:lnTo>
                <a:lnTo>
                  <a:pt x="1152" y="108"/>
                </a:lnTo>
                <a:lnTo>
                  <a:pt x="1135" y="93"/>
                </a:lnTo>
                <a:lnTo>
                  <a:pt x="1113" y="74"/>
                </a:lnTo>
                <a:lnTo>
                  <a:pt x="1096" y="53"/>
                </a:lnTo>
                <a:lnTo>
                  <a:pt x="1088" y="44"/>
                </a:lnTo>
                <a:lnTo>
                  <a:pt x="1084" y="38"/>
                </a:lnTo>
                <a:lnTo>
                  <a:pt x="1080" y="25"/>
                </a:lnTo>
                <a:lnTo>
                  <a:pt x="1077" y="21"/>
                </a:lnTo>
                <a:lnTo>
                  <a:pt x="1077" y="15"/>
                </a:lnTo>
                <a:lnTo>
                  <a:pt x="1077" y="8"/>
                </a:lnTo>
                <a:lnTo>
                  <a:pt x="1080" y="0"/>
                </a:lnTo>
                <a:close/>
                <a:moveTo>
                  <a:pt x="976" y="0"/>
                </a:moveTo>
                <a:lnTo>
                  <a:pt x="963" y="13"/>
                </a:lnTo>
                <a:lnTo>
                  <a:pt x="955" y="19"/>
                </a:lnTo>
                <a:lnTo>
                  <a:pt x="946" y="23"/>
                </a:lnTo>
                <a:lnTo>
                  <a:pt x="938" y="28"/>
                </a:lnTo>
                <a:lnTo>
                  <a:pt x="929" y="30"/>
                </a:lnTo>
                <a:lnTo>
                  <a:pt x="921" y="32"/>
                </a:lnTo>
                <a:lnTo>
                  <a:pt x="910" y="32"/>
                </a:lnTo>
                <a:lnTo>
                  <a:pt x="906" y="32"/>
                </a:lnTo>
                <a:lnTo>
                  <a:pt x="902" y="30"/>
                </a:lnTo>
                <a:lnTo>
                  <a:pt x="900" y="28"/>
                </a:lnTo>
                <a:lnTo>
                  <a:pt x="898" y="25"/>
                </a:lnTo>
                <a:lnTo>
                  <a:pt x="898" y="21"/>
                </a:lnTo>
                <a:lnTo>
                  <a:pt x="895" y="15"/>
                </a:lnTo>
                <a:lnTo>
                  <a:pt x="895" y="6"/>
                </a:lnTo>
                <a:lnTo>
                  <a:pt x="898" y="4"/>
                </a:lnTo>
                <a:lnTo>
                  <a:pt x="900" y="4"/>
                </a:lnTo>
                <a:lnTo>
                  <a:pt x="912" y="0"/>
                </a:lnTo>
                <a:lnTo>
                  <a:pt x="976" y="0"/>
                </a:lnTo>
                <a:close/>
                <a:moveTo>
                  <a:pt x="934" y="121"/>
                </a:moveTo>
                <a:lnTo>
                  <a:pt x="925" y="121"/>
                </a:lnTo>
                <a:lnTo>
                  <a:pt x="917" y="119"/>
                </a:lnTo>
                <a:lnTo>
                  <a:pt x="908" y="116"/>
                </a:lnTo>
                <a:lnTo>
                  <a:pt x="900" y="112"/>
                </a:lnTo>
                <a:lnTo>
                  <a:pt x="891" y="108"/>
                </a:lnTo>
                <a:lnTo>
                  <a:pt x="883" y="102"/>
                </a:lnTo>
                <a:lnTo>
                  <a:pt x="876" y="97"/>
                </a:lnTo>
                <a:lnTo>
                  <a:pt x="870" y="89"/>
                </a:lnTo>
                <a:lnTo>
                  <a:pt x="864" y="83"/>
                </a:lnTo>
                <a:lnTo>
                  <a:pt x="859" y="74"/>
                </a:lnTo>
                <a:lnTo>
                  <a:pt x="851" y="55"/>
                </a:lnTo>
                <a:lnTo>
                  <a:pt x="847" y="47"/>
                </a:lnTo>
                <a:lnTo>
                  <a:pt x="845" y="36"/>
                </a:lnTo>
                <a:lnTo>
                  <a:pt x="845" y="25"/>
                </a:lnTo>
                <a:lnTo>
                  <a:pt x="842" y="15"/>
                </a:lnTo>
                <a:lnTo>
                  <a:pt x="845" y="0"/>
                </a:lnTo>
                <a:lnTo>
                  <a:pt x="878" y="0"/>
                </a:lnTo>
                <a:lnTo>
                  <a:pt x="876" y="13"/>
                </a:lnTo>
                <a:lnTo>
                  <a:pt x="878" y="28"/>
                </a:lnTo>
                <a:lnTo>
                  <a:pt x="878" y="34"/>
                </a:lnTo>
                <a:lnTo>
                  <a:pt x="881" y="42"/>
                </a:lnTo>
                <a:lnTo>
                  <a:pt x="887" y="53"/>
                </a:lnTo>
                <a:lnTo>
                  <a:pt x="893" y="63"/>
                </a:lnTo>
                <a:lnTo>
                  <a:pt x="902" y="72"/>
                </a:lnTo>
                <a:lnTo>
                  <a:pt x="906" y="76"/>
                </a:lnTo>
                <a:lnTo>
                  <a:pt x="910" y="78"/>
                </a:lnTo>
                <a:lnTo>
                  <a:pt x="923" y="83"/>
                </a:lnTo>
                <a:lnTo>
                  <a:pt x="929" y="85"/>
                </a:lnTo>
                <a:lnTo>
                  <a:pt x="936" y="85"/>
                </a:lnTo>
                <a:lnTo>
                  <a:pt x="950" y="83"/>
                </a:lnTo>
                <a:lnTo>
                  <a:pt x="957" y="80"/>
                </a:lnTo>
                <a:lnTo>
                  <a:pt x="963" y="78"/>
                </a:lnTo>
                <a:lnTo>
                  <a:pt x="976" y="70"/>
                </a:lnTo>
                <a:lnTo>
                  <a:pt x="982" y="66"/>
                </a:lnTo>
                <a:lnTo>
                  <a:pt x="989" y="59"/>
                </a:lnTo>
                <a:lnTo>
                  <a:pt x="993" y="53"/>
                </a:lnTo>
                <a:lnTo>
                  <a:pt x="999" y="47"/>
                </a:lnTo>
                <a:lnTo>
                  <a:pt x="1008" y="32"/>
                </a:lnTo>
                <a:lnTo>
                  <a:pt x="1016" y="17"/>
                </a:lnTo>
                <a:lnTo>
                  <a:pt x="1022" y="0"/>
                </a:lnTo>
                <a:lnTo>
                  <a:pt x="1061" y="0"/>
                </a:lnTo>
                <a:lnTo>
                  <a:pt x="1052" y="25"/>
                </a:lnTo>
                <a:lnTo>
                  <a:pt x="1046" y="38"/>
                </a:lnTo>
                <a:lnTo>
                  <a:pt x="1041" y="49"/>
                </a:lnTo>
                <a:lnTo>
                  <a:pt x="1027" y="68"/>
                </a:lnTo>
                <a:lnTo>
                  <a:pt x="1020" y="78"/>
                </a:lnTo>
                <a:lnTo>
                  <a:pt x="1012" y="87"/>
                </a:lnTo>
                <a:lnTo>
                  <a:pt x="1003" y="93"/>
                </a:lnTo>
                <a:lnTo>
                  <a:pt x="995" y="99"/>
                </a:lnTo>
                <a:lnTo>
                  <a:pt x="986" y="106"/>
                </a:lnTo>
                <a:lnTo>
                  <a:pt x="976" y="112"/>
                </a:lnTo>
                <a:lnTo>
                  <a:pt x="965" y="114"/>
                </a:lnTo>
                <a:lnTo>
                  <a:pt x="957" y="119"/>
                </a:lnTo>
                <a:lnTo>
                  <a:pt x="944" y="121"/>
                </a:lnTo>
                <a:lnTo>
                  <a:pt x="934" y="121"/>
                </a:lnTo>
                <a:close/>
                <a:moveTo>
                  <a:pt x="3359" y="0"/>
                </a:moveTo>
                <a:lnTo>
                  <a:pt x="3400" y="0"/>
                </a:lnTo>
                <a:lnTo>
                  <a:pt x="3395" y="8"/>
                </a:lnTo>
                <a:lnTo>
                  <a:pt x="3395" y="11"/>
                </a:lnTo>
                <a:lnTo>
                  <a:pt x="3393" y="13"/>
                </a:lnTo>
                <a:lnTo>
                  <a:pt x="3395" y="17"/>
                </a:lnTo>
                <a:lnTo>
                  <a:pt x="3397" y="23"/>
                </a:lnTo>
                <a:lnTo>
                  <a:pt x="3408" y="36"/>
                </a:lnTo>
                <a:lnTo>
                  <a:pt x="3425" y="53"/>
                </a:lnTo>
                <a:lnTo>
                  <a:pt x="3444" y="72"/>
                </a:lnTo>
                <a:lnTo>
                  <a:pt x="3463" y="91"/>
                </a:lnTo>
                <a:lnTo>
                  <a:pt x="3465" y="93"/>
                </a:lnTo>
                <a:lnTo>
                  <a:pt x="3467" y="97"/>
                </a:lnTo>
                <a:lnTo>
                  <a:pt x="3465" y="99"/>
                </a:lnTo>
                <a:lnTo>
                  <a:pt x="3465" y="104"/>
                </a:lnTo>
                <a:lnTo>
                  <a:pt x="3459" y="110"/>
                </a:lnTo>
                <a:lnTo>
                  <a:pt x="3452" y="114"/>
                </a:lnTo>
                <a:lnTo>
                  <a:pt x="3448" y="116"/>
                </a:lnTo>
                <a:lnTo>
                  <a:pt x="3446" y="116"/>
                </a:lnTo>
                <a:lnTo>
                  <a:pt x="3440" y="114"/>
                </a:lnTo>
                <a:lnTo>
                  <a:pt x="3431" y="108"/>
                </a:lnTo>
                <a:lnTo>
                  <a:pt x="3414" y="93"/>
                </a:lnTo>
                <a:lnTo>
                  <a:pt x="3395" y="74"/>
                </a:lnTo>
                <a:lnTo>
                  <a:pt x="3376" y="53"/>
                </a:lnTo>
                <a:lnTo>
                  <a:pt x="3370" y="44"/>
                </a:lnTo>
                <a:lnTo>
                  <a:pt x="3366" y="38"/>
                </a:lnTo>
                <a:lnTo>
                  <a:pt x="3359" y="25"/>
                </a:lnTo>
                <a:lnTo>
                  <a:pt x="3357" y="21"/>
                </a:lnTo>
                <a:lnTo>
                  <a:pt x="3357" y="15"/>
                </a:lnTo>
                <a:lnTo>
                  <a:pt x="3359" y="8"/>
                </a:lnTo>
                <a:lnTo>
                  <a:pt x="3359" y="0"/>
                </a:lnTo>
                <a:close/>
                <a:moveTo>
                  <a:pt x="3256" y="0"/>
                </a:moveTo>
                <a:lnTo>
                  <a:pt x="3243" y="13"/>
                </a:lnTo>
                <a:lnTo>
                  <a:pt x="3237" y="19"/>
                </a:lnTo>
                <a:lnTo>
                  <a:pt x="3228" y="23"/>
                </a:lnTo>
                <a:lnTo>
                  <a:pt x="3220" y="28"/>
                </a:lnTo>
                <a:lnTo>
                  <a:pt x="3209" y="30"/>
                </a:lnTo>
                <a:lnTo>
                  <a:pt x="3201" y="32"/>
                </a:lnTo>
                <a:lnTo>
                  <a:pt x="3192" y="32"/>
                </a:lnTo>
                <a:lnTo>
                  <a:pt x="3186" y="32"/>
                </a:lnTo>
                <a:lnTo>
                  <a:pt x="3184" y="30"/>
                </a:lnTo>
                <a:lnTo>
                  <a:pt x="3182" y="28"/>
                </a:lnTo>
                <a:lnTo>
                  <a:pt x="3179" y="25"/>
                </a:lnTo>
                <a:lnTo>
                  <a:pt x="3177" y="21"/>
                </a:lnTo>
                <a:lnTo>
                  <a:pt x="3175" y="15"/>
                </a:lnTo>
                <a:lnTo>
                  <a:pt x="3177" y="6"/>
                </a:lnTo>
                <a:lnTo>
                  <a:pt x="3179" y="4"/>
                </a:lnTo>
                <a:lnTo>
                  <a:pt x="3182" y="4"/>
                </a:lnTo>
                <a:lnTo>
                  <a:pt x="3194" y="0"/>
                </a:lnTo>
                <a:lnTo>
                  <a:pt x="3256" y="0"/>
                </a:lnTo>
                <a:close/>
                <a:moveTo>
                  <a:pt x="3215" y="121"/>
                </a:moveTo>
                <a:lnTo>
                  <a:pt x="3205" y="121"/>
                </a:lnTo>
                <a:lnTo>
                  <a:pt x="3196" y="119"/>
                </a:lnTo>
                <a:lnTo>
                  <a:pt x="3188" y="116"/>
                </a:lnTo>
                <a:lnTo>
                  <a:pt x="3179" y="112"/>
                </a:lnTo>
                <a:lnTo>
                  <a:pt x="3171" y="108"/>
                </a:lnTo>
                <a:lnTo>
                  <a:pt x="3165" y="102"/>
                </a:lnTo>
                <a:lnTo>
                  <a:pt x="3158" y="97"/>
                </a:lnTo>
                <a:lnTo>
                  <a:pt x="3152" y="89"/>
                </a:lnTo>
                <a:lnTo>
                  <a:pt x="3146" y="83"/>
                </a:lnTo>
                <a:lnTo>
                  <a:pt x="3139" y="74"/>
                </a:lnTo>
                <a:lnTo>
                  <a:pt x="3131" y="55"/>
                </a:lnTo>
                <a:lnTo>
                  <a:pt x="3129" y="47"/>
                </a:lnTo>
                <a:lnTo>
                  <a:pt x="3126" y="36"/>
                </a:lnTo>
                <a:lnTo>
                  <a:pt x="3124" y="25"/>
                </a:lnTo>
                <a:lnTo>
                  <a:pt x="3124" y="15"/>
                </a:lnTo>
                <a:lnTo>
                  <a:pt x="3124" y="0"/>
                </a:lnTo>
                <a:lnTo>
                  <a:pt x="3158" y="0"/>
                </a:lnTo>
                <a:lnTo>
                  <a:pt x="3158" y="13"/>
                </a:lnTo>
                <a:lnTo>
                  <a:pt x="3158" y="28"/>
                </a:lnTo>
                <a:lnTo>
                  <a:pt x="3160" y="34"/>
                </a:lnTo>
                <a:lnTo>
                  <a:pt x="3162" y="42"/>
                </a:lnTo>
                <a:lnTo>
                  <a:pt x="3167" y="53"/>
                </a:lnTo>
                <a:lnTo>
                  <a:pt x="3173" y="63"/>
                </a:lnTo>
                <a:lnTo>
                  <a:pt x="3182" y="72"/>
                </a:lnTo>
                <a:lnTo>
                  <a:pt x="3188" y="76"/>
                </a:lnTo>
                <a:lnTo>
                  <a:pt x="3192" y="78"/>
                </a:lnTo>
                <a:lnTo>
                  <a:pt x="3203" y="83"/>
                </a:lnTo>
                <a:lnTo>
                  <a:pt x="3209" y="85"/>
                </a:lnTo>
                <a:lnTo>
                  <a:pt x="3215" y="85"/>
                </a:lnTo>
                <a:lnTo>
                  <a:pt x="3230" y="83"/>
                </a:lnTo>
                <a:lnTo>
                  <a:pt x="3239" y="80"/>
                </a:lnTo>
                <a:lnTo>
                  <a:pt x="3245" y="78"/>
                </a:lnTo>
                <a:lnTo>
                  <a:pt x="3258" y="70"/>
                </a:lnTo>
                <a:lnTo>
                  <a:pt x="3264" y="66"/>
                </a:lnTo>
                <a:lnTo>
                  <a:pt x="3268" y="59"/>
                </a:lnTo>
                <a:lnTo>
                  <a:pt x="3275" y="53"/>
                </a:lnTo>
                <a:lnTo>
                  <a:pt x="3279" y="47"/>
                </a:lnTo>
                <a:lnTo>
                  <a:pt x="3289" y="32"/>
                </a:lnTo>
                <a:lnTo>
                  <a:pt x="3298" y="17"/>
                </a:lnTo>
                <a:lnTo>
                  <a:pt x="3304" y="0"/>
                </a:lnTo>
                <a:lnTo>
                  <a:pt x="3340" y="0"/>
                </a:lnTo>
                <a:lnTo>
                  <a:pt x="3332" y="25"/>
                </a:lnTo>
                <a:lnTo>
                  <a:pt x="3328" y="38"/>
                </a:lnTo>
                <a:lnTo>
                  <a:pt x="3321" y="49"/>
                </a:lnTo>
                <a:lnTo>
                  <a:pt x="3309" y="68"/>
                </a:lnTo>
                <a:lnTo>
                  <a:pt x="3300" y="78"/>
                </a:lnTo>
                <a:lnTo>
                  <a:pt x="3294" y="87"/>
                </a:lnTo>
                <a:lnTo>
                  <a:pt x="3285" y="93"/>
                </a:lnTo>
                <a:lnTo>
                  <a:pt x="3277" y="99"/>
                </a:lnTo>
                <a:lnTo>
                  <a:pt x="3266" y="106"/>
                </a:lnTo>
                <a:lnTo>
                  <a:pt x="3258" y="112"/>
                </a:lnTo>
                <a:lnTo>
                  <a:pt x="3247" y="114"/>
                </a:lnTo>
                <a:lnTo>
                  <a:pt x="3237" y="119"/>
                </a:lnTo>
                <a:lnTo>
                  <a:pt x="3226" y="121"/>
                </a:lnTo>
                <a:lnTo>
                  <a:pt x="3215" y="121"/>
                </a:lnTo>
                <a:close/>
                <a:moveTo>
                  <a:pt x="1524" y="0"/>
                </a:moveTo>
                <a:lnTo>
                  <a:pt x="1564" y="0"/>
                </a:lnTo>
                <a:lnTo>
                  <a:pt x="1560" y="8"/>
                </a:lnTo>
                <a:lnTo>
                  <a:pt x="1558" y="11"/>
                </a:lnTo>
                <a:lnTo>
                  <a:pt x="1558" y="13"/>
                </a:lnTo>
                <a:lnTo>
                  <a:pt x="1560" y="17"/>
                </a:lnTo>
                <a:lnTo>
                  <a:pt x="1562" y="23"/>
                </a:lnTo>
                <a:lnTo>
                  <a:pt x="1573" y="36"/>
                </a:lnTo>
                <a:lnTo>
                  <a:pt x="1590" y="53"/>
                </a:lnTo>
                <a:lnTo>
                  <a:pt x="1609" y="72"/>
                </a:lnTo>
                <a:lnTo>
                  <a:pt x="1628" y="91"/>
                </a:lnTo>
                <a:lnTo>
                  <a:pt x="1630" y="93"/>
                </a:lnTo>
                <a:lnTo>
                  <a:pt x="1632" y="97"/>
                </a:lnTo>
                <a:lnTo>
                  <a:pt x="1630" y="99"/>
                </a:lnTo>
                <a:lnTo>
                  <a:pt x="1630" y="104"/>
                </a:lnTo>
                <a:lnTo>
                  <a:pt x="1624" y="110"/>
                </a:lnTo>
                <a:lnTo>
                  <a:pt x="1617" y="114"/>
                </a:lnTo>
                <a:lnTo>
                  <a:pt x="1613" y="116"/>
                </a:lnTo>
                <a:lnTo>
                  <a:pt x="1611" y="116"/>
                </a:lnTo>
                <a:lnTo>
                  <a:pt x="1605" y="114"/>
                </a:lnTo>
                <a:lnTo>
                  <a:pt x="1596" y="108"/>
                </a:lnTo>
                <a:lnTo>
                  <a:pt x="1579" y="93"/>
                </a:lnTo>
                <a:lnTo>
                  <a:pt x="1560" y="74"/>
                </a:lnTo>
                <a:lnTo>
                  <a:pt x="1541" y="53"/>
                </a:lnTo>
                <a:lnTo>
                  <a:pt x="1535" y="44"/>
                </a:lnTo>
                <a:lnTo>
                  <a:pt x="1530" y="38"/>
                </a:lnTo>
                <a:lnTo>
                  <a:pt x="1524" y="25"/>
                </a:lnTo>
                <a:lnTo>
                  <a:pt x="1522" y="21"/>
                </a:lnTo>
                <a:lnTo>
                  <a:pt x="1522" y="15"/>
                </a:lnTo>
                <a:lnTo>
                  <a:pt x="1522" y="8"/>
                </a:lnTo>
                <a:lnTo>
                  <a:pt x="1524" y="0"/>
                </a:lnTo>
                <a:close/>
                <a:moveTo>
                  <a:pt x="1420" y="0"/>
                </a:moveTo>
                <a:lnTo>
                  <a:pt x="1408" y="13"/>
                </a:lnTo>
                <a:lnTo>
                  <a:pt x="1399" y="19"/>
                </a:lnTo>
                <a:lnTo>
                  <a:pt x="1393" y="23"/>
                </a:lnTo>
                <a:lnTo>
                  <a:pt x="1384" y="28"/>
                </a:lnTo>
                <a:lnTo>
                  <a:pt x="1374" y="30"/>
                </a:lnTo>
                <a:lnTo>
                  <a:pt x="1365" y="32"/>
                </a:lnTo>
                <a:lnTo>
                  <a:pt x="1357" y="32"/>
                </a:lnTo>
                <a:lnTo>
                  <a:pt x="1351" y="32"/>
                </a:lnTo>
                <a:lnTo>
                  <a:pt x="1348" y="30"/>
                </a:lnTo>
                <a:lnTo>
                  <a:pt x="1346" y="28"/>
                </a:lnTo>
                <a:lnTo>
                  <a:pt x="1344" y="25"/>
                </a:lnTo>
                <a:lnTo>
                  <a:pt x="1342" y="21"/>
                </a:lnTo>
                <a:lnTo>
                  <a:pt x="1340" y="15"/>
                </a:lnTo>
                <a:lnTo>
                  <a:pt x="1342" y="6"/>
                </a:lnTo>
                <a:lnTo>
                  <a:pt x="1344" y="4"/>
                </a:lnTo>
                <a:lnTo>
                  <a:pt x="1359" y="0"/>
                </a:lnTo>
                <a:lnTo>
                  <a:pt x="1420" y="0"/>
                </a:lnTo>
                <a:close/>
                <a:moveTo>
                  <a:pt x="1380" y="121"/>
                </a:moveTo>
                <a:lnTo>
                  <a:pt x="1370" y="121"/>
                </a:lnTo>
                <a:lnTo>
                  <a:pt x="1361" y="119"/>
                </a:lnTo>
                <a:lnTo>
                  <a:pt x="1353" y="116"/>
                </a:lnTo>
                <a:lnTo>
                  <a:pt x="1344" y="112"/>
                </a:lnTo>
                <a:lnTo>
                  <a:pt x="1336" y="108"/>
                </a:lnTo>
                <a:lnTo>
                  <a:pt x="1329" y="102"/>
                </a:lnTo>
                <a:lnTo>
                  <a:pt x="1323" y="97"/>
                </a:lnTo>
                <a:lnTo>
                  <a:pt x="1315" y="89"/>
                </a:lnTo>
                <a:lnTo>
                  <a:pt x="1310" y="83"/>
                </a:lnTo>
                <a:lnTo>
                  <a:pt x="1304" y="74"/>
                </a:lnTo>
                <a:lnTo>
                  <a:pt x="1295" y="55"/>
                </a:lnTo>
                <a:lnTo>
                  <a:pt x="1293" y="47"/>
                </a:lnTo>
                <a:lnTo>
                  <a:pt x="1291" y="36"/>
                </a:lnTo>
                <a:lnTo>
                  <a:pt x="1289" y="25"/>
                </a:lnTo>
                <a:lnTo>
                  <a:pt x="1289" y="15"/>
                </a:lnTo>
                <a:lnTo>
                  <a:pt x="1289" y="0"/>
                </a:lnTo>
                <a:lnTo>
                  <a:pt x="1323" y="0"/>
                </a:lnTo>
                <a:lnTo>
                  <a:pt x="1323" y="13"/>
                </a:lnTo>
                <a:lnTo>
                  <a:pt x="1323" y="28"/>
                </a:lnTo>
                <a:lnTo>
                  <a:pt x="1325" y="34"/>
                </a:lnTo>
                <a:lnTo>
                  <a:pt x="1327" y="42"/>
                </a:lnTo>
                <a:lnTo>
                  <a:pt x="1331" y="53"/>
                </a:lnTo>
                <a:lnTo>
                  <a:pt x="1338" y="63"/>
                </a:lnTo>
                <a:lnTo>
                  <a:pt x="1346" y="72"/>
                </a:lnTo>
                <a:lnTo>
                  <a:pt x="1353" y="76"/>
                </a:lnTo>
                <a:lnTo>
                  <a:pt x="1357" y="78"/>
                </a:lnTo>
                <a:lnTo>
                  <a:pt x="1367" y="83"/>
                </a:lnTo>
                <a:lnTo>
                  <a:pt x="1374" y="85"/>
                </a:lnTo>
                <a:lnTo>
                  <a:pt x="1380" y="85"/>
                </a:lnTo>
                <a:lnTo>
                  <a:pt x="1395" y="83"/>
                </a:lnTo>
                <a:lnTo>
                  <a:pt x="1403" y="80"/>
                </a:lnTo>
                <a:lnTo>
                  <a:pt x="1410" y="78"/>
                </a:lnTo>
                <a:lnTo>
                  <a:pt x="1422" y="70"/>
                </a:lnTo>
                <a:lnTo>
                  <a:pt x="1429" y="66"/>
                </a:lnTo>
                <a:lnTo>
                  <a:pt x="1433" y="59"/>
                </a:lnTo>
                <a:lnTo>
                  <a:pt x="1439" y="53"/>
                </a:lnTo>
                <a:lnTo>
                  <a:pt x="1444" y="47"/>
                </a:lnTo>
                <a:lnTo>
                  <a:pt x="1454" y="32"/>
                </a:lnTo>
                <a:lnTo>
                  <a:pt x="1461" y="17"/>
                </a:lnTo>
                <a:lnTo>
                  <a:pt x="1469" y="0"/>
                </a:lnTo>
                <a:lnTo>
                  <a:pt x="1505" y="0"/>
                </a:lnTo>
                <a:lnTo>
                  <a:pt x="1497" y="25"/>
                </a:lnTo>
                <a:lnTo>
                  <a:pt x="1492" y="38"/>
                </a:lnTo>
                <a:lnTo>
                  <a:pt x="1486" y="49"/>
                </a:lnTo>
                <a:lnTo>
                  <a:pt x="1473" y="68"/>
                </a:lnTo>
                <a:lnTo>
                  <a:pt x="1465" y="78"/>
                </a:lnTo>
                <a:lnTo>
                  <a:pt x="1458" y="87"/>
                </a:lnTo>
                <a:lnTo>
                  <a:pt x="1450" y="93"/>
                </a:lnTo>
                <a:lnTo>
                  <a:pt x="1442" y="99"/>
                </a:lnTo>
                <a:lnTo>
                  <a:pt x="1431" y="106"/>
                </a:lnTo>
                <a:lnTo>
                  <a:pt x="1422" y="112"/>
                </a:lnTo>
                <a:lnTo>
                  <a:pt x="1412" y="114"/>
                </a:lnTo>
                <a:lnTo>
                  <a:pt x="1401" y="119"/>
                </a:lnTo>
                <a:lnTo>
                  <a:pt x="1391" y="121"/>
                </a:lnTo>
                <a:lnTo>
                  <a:pt x="1380" y="121"/>
                </a:lnTo>
                <a:close/>
                <a:moveTo>
                  <a:pt x="3613" y="104"/>
                </a:moveTo>
                <a:lnTo>
                  <a:pt x="3603" y="97"/>
                </a:lnTo>
                <a:lnTo>
                  <a:pt x="3594" y="89"/>
                </a:lnTo>
                <a:lnTo>
                  <a:pt x="3588" y="78"/>
                </a:lnTo>
                <a:lnTo>
                  <a:pt x="3582" y="68"/>
                </a:lnTo>
                <a:lnTo>
                  <a:pt x="3579" y="61"/>
                </a:lnTo>
                <a:lnTo>
                  <a:pt x="3577" y="55"/>
                </a:lnTo>
                <a:lnTo>
                  <a:pt x="3573" y="42"/>
                </a:lnTo>
                <a:lnTo>
                  <a:pt x="3571" y="28"/>
                </a:lnTo>
                <a:lnTo>
                  <a:pt x="3569" y="15"/>
                </a:lnTo>
                <a:lnTo>
                  <a:pt x="3571" y="0"/>
                </a:lnTo>
                <a:lnTo>
                  <a:pt x="3605" y="0"/>
                </a:lnTo>
                <a:lnTo>
                  <a:pt x="3603" y="13"/>
                </a:lnTo>
                <a:lnTo>
                  <a:pt x="3605" y="23"/>
                </a:lnTo>
                <a:lnTo>
                  <a:pt x="3607" y="34"/>
                </a:lnTo>
                <a:lnTo>
                  <a:pt x="3609" y="44"/>
                </a:lnTo>
                <a:lnTo>
                  <a:pt x="3613" y="53"/>
                </a:lnTo>
                <a:lnTo>
                  <a:pt x="3613" y="104"/>
                </a:lnTo>
                <a:close/>
                <a:moveTo>
                  <a:pt x="1653" y="991"/>
                </a:moveTo>
                <a:lnTo>
                  <a:pt x="1645" y="991"/>
                </a:lnTo>
                <a:lnTo>
                  <a:pt x="1636" y="988"/>
                </a:lnTo>
                <a:lnTo>
                  <a:pt x="1628" y="986"/>
                </a:lnTo>
                <a:lnTo>
                  <a:pt x="1619" y="982"/>
                </a:lnTo>
                <a:lnTo>
                  <a:pt x="1611" y="978"/>
                </a:lnTo>
                <a:lnTo>
                  <a:pt x="1602" y="972"/>
                </a:lnTo>
                <a:lnTo>
                  <a:pt x="1596" y="965"/>
                </a:lnTo>
                <a:lnTo>
                  <a:pt x="1590" y="959"/>
                </a:lnTo>
                <a:lnTo>
                  <a:pt x="1583" y="952"/>
                </a:lnTo>
                <a:lnTo>
                  <a:pt x="1579" y="944"/>
                </a:lnTo>
                <a:lnTo>
                  <a:pt x="1571" y="925"/>
                </a:lnTo>
                <a:lnTo>
                  <a:pt x="1569" y="917"/>
                </a:lnTo>
                <a:lnTo>
                  <a:pt x="1564" y="906"/>
                </a:lnTo>
                <a:lnTo>
                  <a:pt x="1564" y="895"/>
                </a:lnTo>
                <a:lnTo>
                  <a:pt x="1564" y="885"/>
                </a:lnTo>
                <a:lnTo>
                  <a:pt x="1564" y="872"/>
                </a:lnTo>
                <a:lnTo>
                  <a:pt x="1564" y="861"/>
                </a:lnTo>
                <a:lnTo>
                  <a:pt x="1569" y="851"/>
                </a:lnTo>
                <a:lnTo>
                  <a:pt x="1571" y="840"/>
                </a:lnTo>
                <a:lnTo>
                  <a:pt x="1575" y="830"/>
                </a:lnTo>
                <a:lnTo>
                  <a:pt x="1579" y="821"/>
                </a:lnTo>
                <a:lnTo>
                  <a:pt x="1585" y="811"/>
                </a:lnTo>
                <a:lnTo>
                  <a:pt x="1592" y="802"/>
                </a:lnTo>
                <a:lnTo>
                  <a:pt x="1598" y="796"/>
                </a:lnTo>
                <a:lnTo>
                  <a:pt x="1607" y="790"/>
                </a:lnTo>
                <a:lnTo>
                  <a:pt x="1613" y="783"/>
                </a:lnTo>
                <a:lnTo>
                  <a:pt x="1621" y="777"/>
                </a:lnTo>
                <a:lnTo>
                  <a:pt x="1630" y="773"/>
                </a:lnTo>
                <a:lnTo>
                  <a:pt x="1641" y="770"/>
                </a:lnTo>
                <a:lnTo>
                  <a:pt x="1649" y="768"/>
                </a:lnTo>
                <a:lnTo>
                  <a:pt x="1660" y="768"/>
                </a:lnTo>
                <a:lnTo>
                  <a:pt x="1672" y="768"/>
                </a:lnTo>
                <a:lnTo>
                  <a:pt x="1676" y="770"/>
                </a:lnTo>
                <a:lnTo>
                  <a:pt x="1683" y="773"/>
                </a:lnTo>
                <a:lnTo>
                  <a:pt x="1691" y="777"/>
                </a:lnTo>
                <a:lnTo>
                  <a:pt x="1700" y="785"/>
                </a:lnTo>
                <a:lnTo>
                  <a:pt x="1706" y="792"/>
                </a:lnTo>
                <a:lnTo>
                  <a:pt x="1710" y="802"/>
                </a:lnTo>
                <a:lnTo>
                  <a:pt x="1712" y="813"/>
                </a:lnTo>
                <a:lnTo>
                  <a:pt x="1715" y="825"/>
                </a:lnTo>
                <a:lnTo>
                  <a:pt x="1712" y="832"/>
                </a:lnTo>
                <a:lnTo>
                  <a:pt x="1712" y="840"/>
                </a:lnTo>
                <a:lnTo>
                  <a:pt x="1710" y="847"/>
                </a:lnTo>
                <a:lnTo>
                  <a:pt x="1706" y="855"/>
                </a:lnTo>
                <a:lnTo>
                  <a:pt x="1702" y="861"/>
                </a:lnTo>
                <a:lnTo>
                  <a:pt x="1698" y="868"/>
                </a:lnTo>
                <a:lnTo>
                  <a:pt x="1687" y="878"/>
                </a:lnTo>
                <a:lnTo>
                  <a:pt x="1681" y="885"/>
                </a:lnTo>
                <a:lnTo>
                  <a:pt x="1674" y="889"/>
                </a:lnTo>
                <a:lnTo>
                  <a:pt x="1662" y="895"/>
                </a:lnTo>
                <a:lnTo>
                  <a:pt x="1653" y="900"/>
                </a:lnTo>
                <a:lnTo>
                  <a:pt x="1647" y="902"/>
                </a:lnTo>
                <a:lnTo>
                  <a:pt x="1632" y="902"/>
                </a:lnTo>
                <a:lnTo>
                  <a:pt x="1626" y="902"/>
                </a:lnTo>
                <a:lnTo>
                  <a:pt x="1621" y="900"/>
                </a:lnTo>
                <a:lnTo>
                  <a:pt x="1619" y="897"/>
                </a:lnTo>
                <a:lnTo>
                  <a:pt x="1617" y="893"/>
                </a:lnTo>
                <a:lnTo>
                  <a:pt x="1617" y="891"/>
                </a:lnTo>
                <a:lnTo>
                  <a:pt x="1615" y="883"/>
                </a:lnTo>
                <a:lnTo>
                  <a:pt x="1617" y="876"/>
                </a:lnTo>
                <a:lnTo>
                  <a:pt x="1617" y="874"/>
                </a:lnTo>
                <a:lnTo>
                  <a:pt x="1619" y="874"/>
                </a:lnTo>
                <a:lnTo>
                  <a:pt x="1632" y="870"/>
                </a:lnTo>
                <a:lnTo>
                  <a:pt x="1645" y="866"/>
                </a:lnTo>
                <a:lnTo>
                  <a:pt x="1655" y="859"/>
                </a:lnTo>
                <a:lnTo>
                  <a:pt x="1664" y="853"/>
                </a:lnTo>
                <a:lnTo>
                  <a:pt x="1672" y="845"/>
                </a:lnTo>
                <a:lnTo>
                  <a:pt x="1674" y="842"/>
                </a:lnTo>
                <a:lnTo>
                  <a:pt x="1676" y="838"/>
                </a:lnTo>
                <a:lnTo>
                  <a:pt x="1681" y="830"/>
                </a:lnTo>
                <a:lnTo>
                  <a:pt x="1683" y="821"/>
                </a:lnTo>
                <a:lnTo>
                  <a:pt x="1681" y="815"/>
                </a:lnTo>
                <a:lnTo>
                  <a:pt x="1681" y="811"/>
                </a:lnTo>
                <a:lnTo>
                  <a:pt x="1679" y="806"/>
                </a:lnTo>
                <a:lnTo>
                  <a:pt x="1674" y="804"/>
                </a:lnTo>
                <a:lnTo>
                  <a:pt x="1672" y="802"/>
                </a:lnTo>
                <a:lnTo>
                  <a:pt x="1668" y="800"/>
                </a:lnTo>
                <a:lnTo>
                  <a:pt x="1657" y="798"/>
                </a:lnTo>
                <a:lnTo>
                  <a:pt x="1647" y="800"/>
                </a:lnTo>
                <a:lnTo>
                  <a:pt x="1641" y="802"/>
                </a:lnTo>
                <a:lnTo>
                  <a:pt x="1636" y="804"/>
                </a:lnTo>
                <a:lnTo>
                  <a:pt x="1630" y="809"/>
                </a:lnTo>
                <a:lnTo>
                  <a:pt x="1626" y="813"/>
                </a:lnTo>
                <a:lnTo>
                  <a:pt x="1617" y="823"/>
                </a:lnTo>
                <a:lnTo>
                  <a:pt x="1613" y="830"/>
                </a:lnTo>
                <a:lnTo>
                  <a:pt x="1609" y="836"/>
                </a:lnTo>
                <a:lnTo>
                  <a:pt x="1602" y="849"/>
                </a:lnTo>
                <a:lnTo>
                  <a:pt x="1598" y="866"/>
                </a:lnTo>
                <a:lnTo>
                  <a:pt x="1598" y="874"/>
                </a:lnTo>
                <a:lnTo>
                  <a:pt x="1596" y="883"/>
                </a:lnTo>
                <a:lnTo>
                  <a:pt x="1598" y="897"/>
                </a:lnTo>
                <a:lnTo>
                  <a:pt x="1600" y="904"/>
                </a:lnTo>
                <a:lnTo>
                  <a:pt x="1600" y="912"/>
                </a:lnTo>
                <a:lnTo>
                  <a:pt x="1607" y="923"/>
                </a:lnTo>
                <a:lnTo>
                  <a:pt x="1613" y="933"/>
                </a:lnTo>
                <a:lnTo>
                  <a:pt x="1621" y="942"/>
                </a:lnTo>
                <a:lnTo>
                  <a:pt x="1626" y="946"/>
                </a:lnTo>
                <a:lnTo>
                  <a:pt x="1632" y="948"/>
                </a:lnTo>
                <a:lnTo>
                  <a:pt x="1643" y="952"/>
                </a:lnTo>
                <a:lnTo>
                  <a:pt x="1649" y="955"/>
                </a:lnTo>
                <a:lnTo>
                  <a:pt x="1655" y="955"/>
                </a:lnTo>
                <a:lnTo>
                  <a:pt x="1668" y="952"/>
                </a:lnTo>
                <a:lnTo>
                  <a:pt x="1679" y="950"/>
                </a:lnTo>
                <a:lnTo>
                  <a:pt x="1685" y="946"/>
                </a:lnTo>
                <a:lnTo>
                  <a:pt x="1691" y="944"/>
                </a:lnTo>
                <a:lnTo>
                  <a:pt x="1700" y="936"/>
                </a:lnTo>
                <a:lnTo>
                  <a:pt x="1710" y="927"/>
                </a:lnTo>
                <a:lnTo>
                  <a:pt x="1719" y="917"/>
                </a:lnTo>
                <a:lnTo>
                  <a:pt x="1727" y="906"/>
                </a:lnTo>
                <a:lnTo>
                  <a:pt x="1734" y="893"/>
                </a:lnTo>
                <a:lnTo>
                  <a:pt x="1740" y="878"/>
                </a:lnTo>
                <a:lnTo>
                  <a:pt x="1744" y="864"/>
                </a:lnTo>
                <a:lnTo>
                  <a:pt x="1748" y="851"/>
                </a:lnTo>
                <a:lnTo>
                  <a:pt x="1753" y="836"/>
                </a:lnTo>
                <a:lnTo>
                  <a:pt x="1755" y="821"/>
                </a:lnTo>
                <a:lnTo>
                  <a:pt x="1757" y="806"/>
                </a:lnTo>
                <a:lnTo>
                  <a:pt x="1757" y="794"/>
                </a:lnTo>
                <a:lnTo>
                  <a:pt x="1757" y="781"/>
                </a:lnTo>
                <a:lnTo>
                  <a:pt x="1759" y="777"/>
                </a:lnTo>
                <a:lnTo>
                  <a:pt x="1761" y="775"/>
                </a:lnTo>
                <a:lnTo>
                  <a:pt x="1765" y="775"/>
                </a:lnTo>
                <a:lnTo>
                  <a:pt x="1770" y="773"/>
                </a:lnTo>
                <a:lnTo>
                  <a:pt x="1778" y="775"/>
                </a:lnTo>
                <a:lnTo>
                  <a:pt x="1782" y="777"/>
                </a:lnTo>
                <a:lnTo>
                  <a:pt x="1784" y="779"/>
                </a:lnTo>
                <a:lnTo>
                  <a:pt x="1789" y="787"/>
                </a:lnTo>
                <a:lnTo>
                  <a:pt x="1791" y="792"/>
                </a:lnTo>
                <a:lnTo>
                  <a:pt x="1791" y="800"/>
                </a:lnTo>
                <a:lnTo>
                  <a:pt x="1791" y="817"/>
                </a:lnTo>
                <a:lnTo>
                  <a:pt x="1789" y="836"/>
                </a:lnTo>
                <a:lnTo>
                  <a:pt x="1784" y="855"/>
                </a:lnTo>
                <a:lnTo>
                  <a:pt x="1780" y="872"/>
                </a:lnTo>
                <a:lnTo>
                  <a:pt x="1774" y="889"/>
                </a:lnTo>
                <a:lnTo>
                  <a:pt x="1768" y="904"/>
                </a:lnTo>
                <a:lnTo>
                  <a:pt x="1761" y="919"/>
                </a:lnTo>
                <a:lnTo>
                  <a:pt x="1751" y="933"/>
                </a:lnTo>
                <a:lnTo>
                  <a:pt x="1742" y="944"/>
                </a:lnTo>
                <a:lnTo>
                  <a:pt x="1738" y="950"/>
                </a:lnTo>
                <a:lnTo>
                  <a:pt x="1732" y="957"/>
                </a:lnTo>
                <a:lnTo>
                  <a:pt x="1721" y="965"/>
                </a:lnTo>
                <a:lnTo>
                  <a:pt x="1708" y="974"/>
                </a:lnTo>
                <a:lnTo>
                  <a:pt x="1696" y="982"/>
                </a:lnTo>
                <a:lnTo>
                  <a:pt x="1683" y="986"/>
                </a:lnTo>
                <a:lnTo>
                  <a:pt x="1668" y="988"/>
                </a:lnTo>
                <a:lnTo>
                  <a:pt x="1653" y="991"/>
                </a:lnTo>
                <a:close/>
                <a:moveTo>
                  <a:pt x="1884" y="986"/>
                </a:moveTo>
                <a:lnTo>
                  <a:pt x="1880" y="984"/>
                </a:lnTo>
                <a:lnTo>
                  <a:pt x="1871" y="978"/>
                </a:lnTo>
                <a:lnTo>
                  <a:pt x="1854" y="963"/>
                </a:lnTo>
                <a:lnTo>
                  <a:pt x="1833" y="944"/>
                </a:lnTo>
                <a:lnTo>
                  <a:pt x="1816" y="923"/>
                </a:lnTo>
                <a:lnTo>
                  <a:pt x="1808" y="914"/>
                </a:lnTo>
                <a:lnTo>
                  <a:pt x="1804" y="908"/>
                </a:lnTo>
                <a:lnTo>
                  <a:pt x="1799" y="895"/>
                </a:lnTo>
                <a:lnTo>
                  <a:pt x="1797" y="889"/>
                </a:lnTo>
                <a:lnTo>
                  <a:pt x="1797" y="885"/>
                </a:lnTo>
                <a:lnTo>
                  <a:pt x="1797" y="876"/>
                </a:lnTo>
                <a:lnTo>
                  <a:pt x="1799" y="870"/>
                </a:lnTo>
                <a:lnTo>
                  <a:pt x="1804" y="861"/>
                </a:lnTo>
                <a:lnTo>
                  <a:pt x="1808" y="855"/>
                </a:lnTo>
                <a:lnTo>
                  <a:pt x="1820" y="840"/>
                </a:lnTo>
                <a:lnTo>
                  <a:pt x="1837" y="819"/>
                </a:lnTo>
                <a:lnTo>
                  <a:pt x="1880" y="770"/>
                </a:lnTo>
                <a:lnTo>
                  <a:pt x="1886" y="773"/>
                </a:lnTo>
                <a:lnTo>
                  <a:pt x="1892" y="775"/>
                </a:lnTo>
                <a:lnTo>
                  <a:pt x="1897" y="779"/>
                </a:lnTo>
                <a:lnTo>
                  <a:pt x="1901" y="783"/>
                </a:lnTo>
                <a:lnTo>
                  <a:pt x="1903" y="790"/>
                </a:lnTo>
                <a:lnTo>
                  <a:pt x="1901" y="796"/>
                </a:lnTo>
                <a:lnTo>
                  <a:pt x="1899" y="800"/>
                </a:lnTo>
                <a:lnTo>
                  <a:pt x="1897" y="802"/>
                </a:lnTo>
                <a:lnTo>
                  <a:pt x="1867" y="838"/>
                </a:lnTo>
                <a:lnTo>
                  <a:pt x="1850" y="857"/>
                </a:lnTo>
                <a:lnTo>
                  <a:pt x="1837" y="874"/>
                </a:lnTo>
                <a:lnTo>
                  <a:pt x="1833" y="878"/>
                </a:lnTo>
                <a:lnTo>
                  <a:pt x="1833" y="883"/>
                </a:lnTo>
                <a:lnTo>
                  <a:pt x="1835" y="887"/>
                </a:lnTo>
                <a:lnTo>
                  <a:pt x="1837" y="893"/>
                </a:lnTo>
                <a:lnTo>
                  <a:pt x="1848" y="906"/>
                </a:lnTo>
                <a:lnTo>
                  <a:pt x="1865" y="923"/>
                </a:lnTo>
                <a:lnTo>
                  <a:pt x="1884" y="942"/>
                </a:lnTo>
                <a:lnTo>
                  <a:pt x="1903" y="961"/>
                </a:lnTo>
                <a:lnTo>
                  <a:pt x="1905" y="963"/>
                </a:lnTo>
                <a:lnTo>
                  <a:pt x="1905" y="967"/>
                </a:lnTo>
                <a:lnTo>
                  <a:pt x="1905" y="969"/>
                </a:lnTo>
                <a:lnTo>
                  <a:pt x="1903" y="974"/>
                </a:lnTo>
                <a:lnTo>
                  <a:pt x="1899" y="980"/>
                </a:lnTo>
                <a:lnTo>
                  <a:pt x="1892" y="984"/>
                </a:lnTo>
                <a:lnTo>
                  <a:pt x="1888" y="986"/>
                </a:lnTo>
                <a:lnTo>
                  <a:pt x="1884" y="986"/>
                </a:lnTo>
                <a:close/>
                <a:moveTo>
                  <a:pt x="1653" y="1581"/>
                </a:moveTo>
                <a:lnTo>
                  <a:pt x="1645" y="1581"/>
                </a:lnTo>
                <a:lnTo>
                  <a:pt x="1636" y="1579"/>
                </a:lnTo>
                <a:lnTo>
                  <a:pt x="1628" y="1577"/>
                </a:lnTo>
                <a:lnTo>
                  <a:pt x="1619" y="1573"/>
                </a:lnTo>
                <a:lnTo>
                  <a:pt x="1611" y="1568"/>
                </a:lnTo>
                <a:lnTo>
                  <a:pt x="1602" y="1564"/>
                </a:lnTo>
                <a:lnTo>
                  <a:pt x="1596" y="1558"/>
                </a:lnTo>
                <a:lnTo>
                  <a:pt x="1590" y="1551"/>
                </a:lnTo>
                <a:lnTo>
                  <a:pt x="1583" y="1543"/>
                </a:lnTo>
                <a:lnTo>
                  <a:pt x="1579" y="1535"/>
                </a:lnTo>
                <a:lnTo>
                  <a:pt x="1571" y="1518"/>
                </a:lnTo>
                <a:lnTo>
                  <a:pt x="1569" y="1507"/>
                </a:lnTo>
                <a:lnTo>
                  <a:pt x="1564" y="1496"/>
                </a:lnTo>
                <a:lnTo>
                  <a:pt x="1564" y="1486"/>
                </a:lnTo>
                <a:lnTo>
                  <a:pt x="1564" y="1475"/>
                </a:lnTo>
                <a:lnTo>
                  <a:pt x="1564" y="1465"/>
                </a:lnTo>
                <a:lnTo>
                  <a:pt x="1564" y="1454"/>
                </a:lnTo>
                <a:lnTo>
                  <a:pt x="1569" y="1444"/>
                </a:lnTo>
                <a:lnTo>
                  <a:pt x="1571" y="1433"/>
                </a:lnTo>
                <a:lnTo>
                  <a:pt x="1575" y="1422"/>
                </a:lnTo>
                <a:lnTo>
                  <a:pt x="1579" y="1412"/>
                </a:lnTo>
                <a:lnTo>
                  <a:pt x="1585" y="1403"/>
                </a:lnTo>
                <a:lnTo>
                  <a:pt x="1592" y="1395"/>
                </a:lnTo>
                <a:lnTo>
                  <a:pt x="1598" y="1386"/>
                </a:lnTo>
                <a:lnTo>
                  <a:pt x="1607" y="1380"/>
                </a:lnTo>
                <a:lnTo>
                  <a:pt x="1613" y="1374"/>
                </a:lnTo>
                <a:lnTo>
                  <a:pt x="1621" y="1369"/>
                </a:lnTo>
                <a:lnTo>
                  <a:pt x="1630" y="1365"/>
                </a:lnTo>
                <a:lnTo>
                  <a:pt x="1641" y="1361"/>
                </a:lnTo>
                <a:lnTo>
                  <a:pt x="1649" y="1361"/>
                </a:lnTo>
                <a:lnTo>
                  <a:pt x="1660" y="1359"/>
                </a:lnTo>
                <a:lnTo>
                  <a:pt x="1672" y="1361"/>
                </a:lnTo>
                <a:lnTo>
                  <a:pt x="1676" y="1361"/>
                </a:lnTo>
                <a:lnTo>
                  <a:pt x="1683" y="1363"/>
                </a:lnTo>
                <a:lnTo>
                  <a:pt x="1691" y="1369"/>
                </a:lnTo>
                <a:lnTo>
                  <a:pt x="1700" y="1376"/>
                </a:lnTo>
                <a:lnTo>
                  <a:pt x="1706" y="1384"/>
                </a:lnTo>
                <a:lnTo>
                  <a:pt x="1710" y="1395"/>
                </a:lnTo>
                <a:lnTo>
                  <a:pt x="1712" y="1405"/>
                </a:lnTo>
                <a:lnTo>
                  <a:pt x="1715" y="1416"/>
                </a:lnTo>
                <a:lnTo>
                  <a:pt x="1712" y="1424"/>
                </a:lnTo>
                <a:lnTo>
                  <a:pt x="1712" y="1431"/>
                </a:lnTo>
                <a:lnTo>
                  <a:pt x="1710" y="1439"/>
                </a:lnTo>
                <a:lnTo>
                  <a:pt x="1706" y="1446"/>
                </a:lnTo>
                <a:lnTo>
                  <a:pt x="1702" y="1452"/>
                </a:lnTo>
                <a:lnTo>
                  <a:pt x="1698" y="1458"/>
                </a:lnTo>
                <a:lnTo>
                  <a:pt x="1687" y="1471"/>
                </a:lnTo>
                <a:lnTo>
                  <a:pt x="1681" y="1475"/>
                </a:lnTo>
                <a:lnTo>
                  <a:pt x="1674" y="1480"/>
                </a:lnTo>
                <a:lnTo>
                  <a:pt x="1662" y="1488"/>
                </a:lnTo>
                <a:lnTo>
                  <a:pt x="1653" y="1490"/>
                </a:lnTo>
                <a:lnTo>
                  <a:pt x="1647" y="1492"/>
                </a:lnTo>
                <a:lnTo>
                  <a:pt x="1632" y="1494"/>
                </a:lnTo>
                <a:lnTo>
                  <a:pt x="1626" y="1492"/>
                </a:lnTo>
                <a:lnTo>
                  <a:pt x="1621" y="1490"/>
                </a:lnTo>
                <a:lnTo>
                  <a:pt x="1619" y="1488"/>
                </a:lnTo>
                <a:lnTo>
                  <a:pt x="1617" y="1486"/>
                </a:lnTo>
                <a:lnTo>
                  <a:pt x="1617" y="1482"/>
                </a:lnTo>
                <a:lnTo>
                  <a:pt x="1615" y="1475"/>
                </a:lnTo>
                <a:lnTo>
                  <a:pt x="1617" y="1469"/>
                </a:lnTo>
                <a:lnTo>
                  <a:pt x="1617" y="1467"/>
                </a:lnTo>
                <a:lnTo>
                  <a:pt x="1619" y="1465"/>
                </a:lnTo>
                <a:lnTo>
                  <a:pt x="1632" y="1463"/>
                </a:lnTo>
                <a:lnTo>
                  <a:pt x="1645" y="1458"/>
                </a:lnTo>
                <a:lnTo>
                  <a:pt x="1655" y="1452"/>
                </a:lnTo>
                <a:lnTo>
                  <a:pt x="1664" y="1446"/>
                </a:lnTo>
                <a:lnTo>
                  <a:pt x="1672" y="1437"/>
                </a:lnTo>
                <a:lnTo>
                  <a:pt x="1674" y="1433"/>
                </a:lnTo>
                <a:lnTo>
                  <a:pt x="1676" y="1429"/>
                </a:lnTo>
                <a:lnTo>
                  <a:pt x="1681" y="1420"/>
                </a:lnTo>
                <a:lnTo>
                  <a:pt x="1683" y="1412"/>
                </a:lnTo>
                <a:lnTo>
                  <a:pt x="1681" y="1408"/>
                </a:lnTo>
                <a:lnTo>
                  <a:pt x="1681" y="1403"/>
                </a:lnTo>
                <a:lnTo>
                  <a:pt x="1679" y="1399"/>
                </a:lnTo>
                <a:lnTo>
                  <a:pt x="1674" y="1395"/>
                </a:lnTo>
                <a:lnTo>
                  <a:pt x="1672" y="1393"/>
                </a:lnTo>
                <a:lnTo>
                  <a:pt x="1668" y="1391"/>
                </a:lnTo>
                <a:lnTo>
                  <a:pt x="1657" y="1391"/>
                </a:lnTo>
                <a:lnTo>
                  <a:pt x="1647" y="1391"/>
                </a:lnTo>
                <a:lnTo>
                  <a:pt x="1641" y="1393"/>
                </a:lnTo>
                <a:lnTo>
                  <a:pt x="1636" y="1397"/>
                </a:lnTo>
                <a:lnTo>
                  <a:pt x="1630" y="1399"/>
                </a:lnTo>
                <a:lnTo>
                  <a:pt x="1626" y="1403"/>
                </a:lnTo>
                <a:lnTo>
                  <a:pt x="1617" y="1414"/>
                </a:lnTo>
                <a:lnTo>
                  <a:pt x="1613" y="1420"/>
                </a:lnTo>
                <a:lnTo>
                  <a:pt x="1609" y="1427"/>
                </a:lnTo>
                <a:lnTo>
                  <a:pt x="1602" y="1441"/>
                </a:lnTo>
                <a:lnTo>
                  <a:pt x="1598" y="1456"/>
                </a:lnTo>
                <a:lnTo>
                  <a:pt x="1598" y="1465"/>
                </a:lnTo>
                <a:lnTo>
                  <a:pt x="1596" y="1473"/>
                </a:lnTo>
                <a:lnTo>
                  <a:pt x="1598" y="1490"/>
                </a:lnTo>
                <a:lnTo>
                  <a:pt x="1600" y="1496"/>
                </a:lnTo>
                <a:lnTo>
                  <a:pt x="1600" y="1503"/>
                </a:lnTo>
                <a:lnTo>
                  <a:pt x="1607" y="1516"/>
                </a:lnTo>
                <a:lnTo>
                  <a:pt x="1613" y="1526"/>
                </a:lnTo>
                <a:lnTo>
                  <a:pt x="1621" y="1535"/>
                </a:lnTo>
                <a:lnTo>
                  <a:pt x="1626" y="1537"/>
                </a:lnTo>
                <a:lnTo>
                  <a:pt x="1632" y="1541"/>
                </a:lnTo>
                <a:lnTo>
                  <a:pt x="1643" y="1545"/>
                </a:lnTo>
                <a:lnTo>
                  <a:pt x="1649" y="1545"/>
                </a:lnTo>
                <a:lnTo>
                  <a:pt x="1655" y="1545"/>
                </a:lnTo>
                <a:lnTo>
                  <a:pt x="1668" y="1545"/>
                </a:lnTo>
                <a:lnTo>
                  <a:pt x="1679" y="1541"/>
                </a:lnTo>
                <a:lnTo>
                  <a:pt x="1685" y="1539"/>
                </a:lnTo>
                <a:lnTo>
                  <a:pt x="1691" y="1535"/>
                </a:lnTo>
                <a:lnTo>
                  <a:pt x="1700" y="1528"/>
                </a:lnTo>
                <a:lnTo>
                  <a:pt x="1710" y="1520"/>
                </a:lnTo>
                <a:lnTo>
                  <a:pt x="1719" y="1509"/>
                </a:lnTo>
                <a:lnTo>
                  <a:pt x="1727" y="1496"/>
                </a:lnTo>
                <a:lnTo>
                  <a:pt x="1734" y="1484"/>
                </a:lnTo>
                <a:lnTo>
                  <a:pt x="1740" y="1471"/>
                </a:lnTo>
                <a:lnTo>
                  <a:pt x="1744" y="1456"/>
                </a:lnTo>
                <a:lnTo>
                  <a:pt x="1748" y="1441"/>
                </a:lnTo>
                <a:lnTo>
                  <a:pt x="1753" y="1427"/>
                </a:lnTo>
                <a:lnTo>
                  <a:pt x="1755" y="1412"/>
                </a:lnTo>
                <a:lnTo>
                  <a:pt x="1757" y="1399"/>
                </a:lnTo>
                <a:lnTo>
                  <a:pt x="1757" y="1384"/>
                </a:lnTo>
                <a:lnTo>
                  <a:pt x="1757" y="1372"/>
                </a:lnTo>
                <a:lnTo>
                  <a:pt x="1759" y="1369"/>
                </a:lnTo>
                <a:lnTo>
                  <a:pt x="1761" y="1367"/>
                </a:lnTo>
                <a:lnTo>
                  <a:pt x="1765" y="1365"/>
                </a:lnTo>
                <a:lnTo>
                  <a:pt x="1770" y="1365"/>
                </a:lnTo>
                <a:lnTo>
                  <a:pt x="1778" y="1365"/>
                </a:lnTo>
                <a:lnTo>
                  <a:pt x="1782" y="1367"/>
                </a:lnTo>
                <a:lnTo>
                  <a:pt x="1784" y="1369"/>
                </a:lnTo>
                <a:lnTo>
                  <a:pt x="1789" y="1378"/>
                </a:lnTo>
                <a:lnTo>
                  <a:pt x="1791" y="1384"/>
                </a:lnTo>
                <a:lnTo>
                  <a:pt x="1791" y="1391"/>
                </a:lnTo>
                <a:lnTo>
                  <a:pt x="1791" y="1410"/>
                </a:lnTo>
                <a:lnTo>
                  <a:pt x="1789" y="1429"/>
                </a:lnTo>
                <a:lnTo>
                  <a:pt x="1784" y="1446"/>
                </a:lnTo>
                <a:lnTo>
                  <a:pt x="1780" y="1463"/>
                </a:lnTo>
                <a:lnTo>
                  <a:pt x="1774" y="1480"/>
                </a:lnTo>
                <a:lnTo>
                  <a:pt x="1768" y="1496"/>
                </a:lnTo>
                <a:lnTo>
                  <a:pt x="1761" y="1511"/>
                </a:lnTo>
                <a:lnTo>
                  <a:pt x="1751" y="1524"/>
                </a:lnTo>
                <a:lnTo>
                  <a:pt x="1742" y="1537"/>
                </a:lnTo>
                <a:lnTo>
                  <a:pt x="1738" y="1543"/>
                </a:lnTo>
                <a:lnTo>
                  <a:pt x="1732" y="1547"/>
                </a:lnTo>
                <a:lnTo>
                  <a:pt x="1721" y="1558"/>
                </a:lnTo>
                <a:lnTo>
                  <a:pt x="1708" y="1566"/>
                </a:lnTo>
                <a:lnTo>
                  <a:pt x="1696" y="1573"/>
                </a:lnTo>
                <a:lnTo>
                  <a:pt x="1683" y="1577"/>
                </a:lnTo>
                <a:lnTo>
                  <a:pt x="1668" y="1581"/>
                </a:lnTo>
                <a:lnTo>
                  <a:pt x="1653" y="1581"/>
                </a:lnTo>
                <a:close/>
                <a:moveTo>
                  <a:pt x="1884" y="1579"/>
                </a:moveTo>
                <a:lnTo>
                  <a:pt x="1880" y="1577"/>
                </a:lnTo>
                <a:lnTo>
                  <a:pt x="1871" y="1571"/>
                </a:lnTo>
                <a:lnTo>
                  <a:pt x="1854" y="1556"/>
                </a:lnTo>
                <a:lnTo>
                  <a:pt x="1833" y="1535"/>
                </a:lnTo>
                <a:lnTo>
                  <a:pt x="1816" y="1516"/>
                </a:lnTo>
                <a:lnTo>
                  <a:pt x="1808" y="1507"/>
                </a:lnTo>
                <a:lnTo>
                  <a:pt x="1804" y="1501"/>
                </a:lnTo>
                <a:lnTo>
                  <a:pt x="1799" y="1488"/>
                </a:lnTo>
                <a:lnTo>
                  <a:pt x="1797" y="1482"/>
                </a:lnTo>
                <a:lnTo>
                  <a:pt x="1797" y="1475"/>
                </a:lnTo>
                <a:lnTo>
                  <a:pt x="1797" y="1469"/>
                </a:lnTo>
                <a:lnTo>
                  <a:pt x="1799" y="1463"/>
                </a:lnTo>
                <a:lnTo>
                  <a:pt x="1804" y="1454"/>
                </a:lnTo>
                <a:lnTo>
                  <a:pt x="1808" y="1446"/>
                </a:lnTo>
                <a:lnTo>
                  <a:pt x="1820" y="1431"/>
                </a:lnTo>
                <a:lnTo>
                  <a:pt x="1837" y="1410"/>
                </a:lnTo>
                <a:lnTo>
                  <a:pt x="1880" y="1363"/>
                </a:lnTo>
                <a:lnTo>
                  <a:pt x="1886" y="1363"/>
                </a:lnTo>
                <a:lnTo>
                  <a:pt x="1892" y="1365"/>
                </a:lnTo>
                <a:lnTo>
                  <a:pt x="1897" y="1369"/>
                </a:lnTo>
                <a:lnTo>
                  <a:pt x="1901" y="1376"/>
                </a:lnTo>
                <a:lnTo>
                  <a:pt x="1903" y="1382"/>
                </a:lnTo>
                <a:lnTo>
                  <a:pt x="1901" y="1389"/>
                </a:lnTo>
                <a:lnTo>
                  <a:pt x="1899" y="1391"/>
                </a:lnTo>
                <a:lnTo>
                  <a:pt x="1897" y="1395"/>
                </a:lnTo>
                <a:lnTo>
                  <a:pt x="1867" y="1429"/>
                </a:lnTo>
                <a:lnTo>
                  <a:pt x="1850" y="1450"/>
                </a:lnTo>
                <a:lnTo>
                  <a:pt x="1837" y="1465"/>
                </a:lnTo>
                <a:lnTo>
                  <a:pt x="1833" y="1469"/>
                </a:lnTo>
                <a:lnTo>
                  <a:pt x="1833" y="1473"/>
                </a:lnTo>
                <a:lnTo>
                  <a:pt x="1835" y="1480"/>
                </a:lnTo>
                <a:lnTo>
                  <a:pt x="1837" y="1484"/>
                </a:lnTo>
                <a:lnTo>
                  <a:pt x="1848" y="1496"/>
                </a:lnTo>
                <a:lnTo>
                  <a:pt x="1865" y="1516"/>
                </a:lnTo>
                <a:lnTo>
                  <a:pt x="1884" y="1535"/>
                </a:lnTo>
                <a:lnTo>
                  <a:pt x="1903" y="1551"/>
                </a:lnTo>
                <a:lnTo>
                  <a:pt x="1905" y="1556"/>
                </a:lnTo>
                <a:lnTo>
                  <a:pt x="1905" y="1558"/>
                </a:lnTo>
                <a:lnTo>
                  <a:pt x="1905" y="1562"/>
                </a:lnTo>
                <a:lnTo>
                  <a:pt x="1903" y="1564"/>
                </a:lnTo>
                <a:lnTo>
                  <a:pt x="1899" y="1571"/>
                </a:lnTo>
                <a:lnTo>
                  <a:pt x="1892" y="1577"/>
                </a:lnTo>
                <a:lnTo>
                  <a:pt x="1888" y="1577"/>
                </a:lnTo>
                <a:lnTo>
                  <a:pt x="1884" y="1579"/>
                </a:lnTo>
                <a:close/>
                <a:moveTo>
                  <a:pt x="1653" y="2157"/>
                </a:moveTo>
                <a:lnTo>
                  <a:pt x="1645" y="2155"/>
                </a:lnTo>
                <a:lnTo>
                  <a:pt x="1636" y="2155"/>
                </a:lnTo>
                <a:lnTo>
                  <a:pt x="1628" y="2150"/>
                </a:lnTo>
                <a:lnTo>
                  <a:pt x="1619" y="2148"/>
                </a:lnTo>
                <a:lnTo>
                  <a:pt x="1611" y="2144"/>
                </a:lnTo>
                <a:lnTo>
                  <a:pt x="1602" y="2138"/>
                </a:lnTo>
                <a:lnTo>
                  <a:pt x="1596" y="2131"/>
                </a:lnTo>
                <a:lnTo>
                  <a:pt x="1590" y="2125"/>
                </a:lnTo>
                <a:lnTo>
                  <a:pt x="1583" y="2119"/>
                </a:lnTo>
                <a:lnTo>
                  <a:pt x="1579" y="2110"/>
                </a:lnTo>
                <a:lnTo>
                  <a:pt x="1571" y="2091"/>
                </a:lnTo>
                <a:lnTo>
                  <a:pt x="1569" y="2083"/>
                </a:lnTo>
                <a:lnTo>
                  <a:pt x="1564" y="2072"/>
                </a:lnTo>
                <a:lnTo>
                  <a:pt x="1564" y="2062"/>
                </a:lnTo>
                <a:lnTo>
                  <a:pt x="1564" y="2051"/>
                </a:lnTo>
                <a:lnTo>
                  <a:pt x="1564" y="2038"/>
                </a:lnTo>
                <a:lnTo>
                  <a:pt x="1564" y="2028"/>
                </a:lnTo>
                <a:lnTo>
                  <a:pt x="1569" y="2017"/>
                </a:lnTo>
                <a:lnTo>
                  <a:pt x="1571" y="2007"/>
                </a:lnTo>
                <a:lnTo>
                  <a:pt x="1575" y="1996"/>
                </a:lnTo>
                <a:lnTo>
                  <a:pt x="1579" y="1988"/>
                </a:lnTo>
                <a:lnTo>
                  <a:pt x="1585" y="1977"/>
                </a:lnTo>
                <a:lnTo>
                  <a:pt x="1592" y="1968"/>
                </a:lnTo>
                <a:lnTo>
                  <a:pt x="1598" y="1962"/>
                </a:lnTo>
                <a:lnTo>
                  <a:pt x="1607" y="1954"/>
                </a:lnTo>
                <a:lnTo>
                  <a:pt x="1613" y="1949"/>
                </a:lnTo>
                <a:lnTo>
                  <a:pt x="1621" y="1943"/>
                </a:lnTo>
                <a:lnTo>
                  <a:pt x="1630" y="1939"/>
                </a:lnTo>
                <a:lnTo>
                  <a:pt x="1641" y="1937"/>
                </a:lnTo>
                <a:lnTo>
                  <a:pt x="1649" y="1935"/>
                </a:lnTo>
                <a:lnTo>
                  <a:pt x="1660" y="1935"/>
                </a:lnTo>
                <a:lnTo>
                  <a:pt x="1672" y="1935"/>
                </a:lnTo>
                <a:lnTo>
                  <a:pt x="1676" y="1937"/>
                </a:lnTo>
                <a:lnTo>
                  <a:pt x="1683" y="1939"/>
                </a:lnTo>
                <a:lnTo>
                  <a:pt x="1691" y="1943"/>
                </a:lnTo>
                <a:lnTo>
                  <a:pt x="1700" y="1949"/>
                </a:lnTo>
                <a:lnTo>
                  <a:pt x="1706" y="1958"/>
                </a:lnTo>
                <a:lnTo>
                  <a:pt x="1710" y="1968"/>
                </a:lnTo>
                <a:lnTo>
                  <a:pt x="1712" y="1979"/>
                </a:lnTo>
                <a:lnTo>
                  <a:pt x="1715" y="1992"/>
                </a:lnTo>
                <a:lnTo>
                  <a:pt x="1712" y="1998"/>
                </a:lnTo>
                <a:lnTo>
                  <a:pt x="1712" y="2007"/>
                </a:lnTo>
                <a:lnTo>
                  <a:pt x="1710" y="2013"/>
                </a:lnTo>
                <a:lnTo>
                  <a:pt x="1706" y="2019"/>
                </a:lnTo>
                <a:lnTo>
                  <a:pt x="1702" y="2028"/>
                </a:lnTo>
                <a:lnTo>
                  <a:pt x="1698" y="2034"/>
                </a:lnTo>
                <a:lnTo>
                  <a:pt x="1687" y="2045"/>
                </a:lnTo>
                <a:lnTo>
                  <a:pt x="1681" y="2051"/>
                </a:lnTo>
                <a:lnTo>
                  <a:pt x="1674" y="2055"/>
                </a:lnTo>
                <a:lnTo>
                  <a:pt x="1662" y="2062"/>
                </a:lnTo>
                <a:lnTo>
                  <a:pt x="1653" y="2066"/>
                </a:lnTo>
                <a:lnTo>
                  <a:pt x="1647" y="2068"/>
                </a:lnTo>
                <a:lnTo>
                  <a:pt x="1632" y="2068"/>
                </a:lnTo>
                <a:lnTo>
                  <a:pt x="1626" y="2068"/>
                </a:lnTo>
                <a:lnTo>
                  <a:pt x="1621" y="2066"/>
                </a:lnTo>
                <a:lnTo>
                  <a:pt x="1619" y="2064"/>
                </a:lnTo>
                <a:lnTo>
                  <a:pt x="1617" y="2059"/>
                </a:lnTo>
                <a:lnTo>
                  <a:pt x="1617" y="2057"/>
                </a:lnTo>
                <a:lnTo>
                  <a:pt x="1615" y="2049"/>
                </a:lnTo>
                <a:lnTo>
                  <a:pt x="1617" y="2043"/>
                </a:lnTo>
                <a:lnTo>
                  <a:pt x="1617" y="2040"/>
                </a:lnTo>
                <a:lnTo>
                  <a:pt x="1619" y="2038"/>
                </a:lnTo>
                <a:lnTo>
                  <a:pt x="1632" y="2036"/>
                </a:lnTo>
                <a:lnTo>
                  <a:pt x="1645" y="2032"/>
                </a:lnTo>
                <a:lnTo>
                  <a:pt x="1655" y="2026"/>
                </a:lnTo>
                <a:lnTo>
                  <a:pt x="1664" y="2019"/>
                </a:lnTo>
                <a:lnTo>
                  <a:pt x="1672" y="2011"/>
                </a:lnTo>
                <a:lnTo>
                  <a:pt x="1674" y="2007"/>
                </a:lnTo>
                <a:lnTo>
                  <a:pt x="1676" y="2002"/>
                </a:lnTo>
                <a:lnTo>
                  <a:pt x="1681" y="1994"/>
                </a:lnTo>
                <a:lnTo>
                  <a:pt x="1683" y="1985"/>
                </a:lnTo>
                <a:lnTo>
                  <a:pt x="1681" y="1981"/>
                </a:lnTo>
                <a:lnTo>
                  <a:pt x="1681" y="1977"/>
                </a:lnTo>
                <a:lnTo>
                  <a:pt x="1679" y="1973"/>
                </a:lnTo>
                <a:lnTo>
                  <a:pt x="1674" y="1971"/>
                </a:lnTo>
                <a:lnTo>
                  <a:pt x="1672" y="1966"/>
                </a:lnTo>
                <a:lnTo>
                  <a:pt x="1668" y="1966"/>
                </a:lnTo>
                <a:lnTo>
                  <a:pt x="1657" y="1964"/>
                </a:lnTo>
                <a:lnTo>
                  <a:pt x="1647" y="1966"/>
                </a:lnTo>
                <a:lnTo>
                  <a:pt x="1641" y="1968"/>
                </a:lnTo>
                <a:lnTo>
                  <a:pt x="1636" y="1971"/>
                </a:lnTo>
                <a:lnTo>
                  <a:pt x="1630" y="1975"/>
                </a:lnTo>
                <a:lnTo>
                  <a:pt x="1626" y="1979"/>
                </a:lnTo>
                <a:lnTo>
                  <a:pt x="1617" y="1990"/>
                </a:lnTo>
                <a:lnTo>
                  <a:pt x="1613" y="1994"/>
                </a:lnTo>
                <a:lnTo>
                  <a:pt x="1609" y="2002"/>
                </a:lnTo>
                <a:lnTo>
                  <a:pt x="1602" y="2015"/>
                </a:lnTo>
                <a:lnTo>
                  <a:pt x="1598" y="2032"/>
                </a:lnTo>
                <a:lnTo>
                  <a:pt x="1598" y="2040"/>
                </a:lnTo>
                <a:lnTo>
                  <a:pt x="1596" y="2049"/>
                </a:lnTo>
                <a:lnTo>
                  <a:pt x="1598" y="2064"/>
                </a:lnTo>
                <a:lnTo>
                  <a:pt x="1600" y="2070"/>
                </a:lnTo>
                <a:lnTo>
                  <a:pt x="1600" y="2076"/>
                </a:lnTo>
                <a:lnTo>
                  <a:pt x="1607" y="2089"/>
                </a:lnTo>
                <a:lnTo>
                  <a:pt x="1613" y="2100"/>
                </a:lnTo>
                <a:lnTo>
                  <a:pt x="1621" y="2108"/>
                </a:lnTo>
                <a:lnTo>
                  <a:pt x="1626" y="2112"/>
                </a:lnTo>
                <a:lnTo>
                  <a:pt x="1632" y="2115"/>
                </a:lnTo>
                <a:lnTo>
                  <a:pt x="1643" y="2119"/>
                </a:lnTo>
                <a:lnTo>
                  <a:pt x="1649" y="2121"/>
                </a:lnTo>
                <a:lnTo>
                  <a:pt x="1655" y="2121"/>
                </a:lnTo>
                <a:lnTo>
                  <a:pt x="1668" y="2119"/>
                </a:lnTo>
                <a:lnTo>
                  <a:pt x="1679" y="2115"/>
                </a:lnTo>
                <a:lnTo>
                  <a:pt x="1685" y="2112"/>
                </a:lnTo>
                <a:lnTo>
                  <a:pt x="1691" y="2110"/>
                </a:lnTo>
                <a:lnTo>
                  <a:pt x="1700" y="2102"/>
                </a:lnTo>
                <a:lnTo>
                  <a:pt x="1710" y="2093"/>
                </a:lnTo>
                <a:lnTo>
                  <a:pt x="1719" y="2083"/>
                </a:lnTo>
                <a:lnTo>
                  <a:pt x="1727" y="2070"/>
                </a:lnTo>
                <a:lnTo>
                  <a:pt x="1734" y="2057"/>
                </a:lnTo>
                <a:lnTo>
                  <a:pt x="1740" y="2045"/>
                </a:lnTo>
                <a:lnTo>
                  <a:pt x="1744" y="2030"/>
                </a:lnTo>
                <a:lnTo>
                  <a:pt x="1748" y="2017"/>
                </a:lnTo>
                <a:lnTo>
                  <a:pt x="1753" y="2002"/>
                </a:lnTo>
                <a:lnTo>
                  <a:pt x="1755" y="1988"/>
                </a:lnTo>
                <a:lnTo>
                  <a:pt x="1757" y="1973"/>
                </a:lnTo>
                <a:lnTo>
                  <a:pt x="1757" y="1960"/>
                </a:lnTo>
                <a:lnTo>
                  <a:pt x="1757" y="1947"/>
                </a:lnTo>
                <a:lnTo>
                  <a:pt x="1759" y="1943"/>
                </a:lnTo>
                <a:lnTo>
                  <a:pt x="1761" y="1941"/>
                </a:lnTo>
                <a:lnTo>
                  <a:pt x="1765" y="1939"/>
                </a:lnTo>
                <a:lnTo>
                  <a:pt x="1770" y="1939"/>
                </a:lnTo>
                <a:lnTo>
                  <a:pt x="1778" y="1941"/>
                </a:lnTo>
                <a:lnTo>
                  <a:pt x="1782" y="1943"/>
                </a:lnTo>
                <a:lnTo>
                  <a:pt x="1784" y="1945"/>
                </a:lnTo>
                <a:lnTo>
                  <a:pt x="1789" y="1954"/>
                </a:lnTo>
                <a:lnTo>
                  <a:pt x="1791" y="1958"/>
                </a:lnTo>
                <a:lnTo>
                  <a:pt x="1791" y="1964"/>
                </a:lnTo>
                <a:lnTo>
                  <a:pt x="1791" y="1983"/>
                </a:lnTo>
                <a:lnTo>
                  <a:pt x="1789" y="2002"/>
                </a:lnTo>
                <a:lnTo>
                  <a:pt x="1784" y="2019"/>
                </a:lnTo>
                <a:lnTo>
                  <a:pt x="1780" y="2038"/>
                </a:lnTo>
                <a:lnTo>
                  <a:pt x="1774" y="2053"/>
                </a:lnTo>
                <a:lnTo>
                  <a:pt x="1768" y="2070"/>
                </a:lnTo>
                <a:lnTo>
                  <a:pt x="1761" y="2085"/>
                </a:lnTo>
                <a:lnTo>
                  <a:pt x="1751" y="2098"/>
                </a:lnTo>
                <a:lnTo>
                  <a:pt x="1742" y="2110"/>
                </a:lnTo>
                <a:lnTo>
                  <a:pt x="1738" y="2117"/>
                </a:lnTo>
                <a:lnTo>
                  <a:pt x="1732" y="2123"/>
                </a:lnTo>
                <a:lnTo>
                  <a:pt x="1721" y="2131"/>
                </a:lnTo>
                <a:lnTo>
                  <a:pt x="1708" y="2140"/>
                </a:lnTo>
                <a:lnTo>
                  <a:pt x="1696" y="2146"/>
                </a:lnTo>
                <a:lnTo>
                  <a:pt x="1683" y="2153"/>
                </a:lnTo>
                <a:lnTo>
                  <a:pt x="1668" y="2155"/>
                </a:lnTo>
                <a:lnTo>
                  <a:pt x="1653" y="2157"/>
                </a:lnTo>
                <a:close/>
                <a:moveTo>
                  <a:pt x="1884" y="2153"/>
                </a:moveTo>
                <a:lnTo>
                  <a:pt x="1880" y="2150"/>
                </a:lnTo>
                <a:lnTo>
                  <a:pt x="1871" y="2144"/>
                </a:lnTo>
                <a:lnTo>
                  <a:pt x="1854" y="2129"/>
                </a:lnTo>
                <a:lnTo>
                  <a:pt x="1833" y="2110"/>
                </a:lnTo>
                <a:lnTo>
                  <a:pt x="1816" y="2089"/>
                </a:lnTo>
                <a:lnTo>
                  <a:pt x="1808" y="2081"/>
                </a:lnTo>
                <a:lnTo>
                  <a:pt x="1804" y="2074"/>
                </a:lnTo>
                <a:lnTo>
                  <a:pt x="1799" y="2062"/>
                </a:lnTo>
                <a:lnTo>
                  <a:pt x="1797" y="2055"/>
                </a:lnTo>
                <a:lnTo>
                  <a:pt x="1797" y="2051"/>
                </a:lnTo>
                <a:lnTo>
                  <a:pt x="1797" y="2043"/>
                </a:lnTo>
                <a:lnTo>
                  <a:pt x="1799" y="2036"/>
                </a:lnTo>
                <a:lnTo>
                  <a:pt x="1804" y="2028"/>
                </a:lnTo>
                <a:lnTo>
                  <a:pt x="1808" y="2019"/>
                </a:lnTo>
                <a:lnTo>
                  <a:pt x="1820" y="2004"/>
                </a:lnTo>
                <a:lnTo>
                  <a:pt x="1837" y="1985"/>
                </a:lnTo>
                <a:lnTo>
                  <a:pt x="1880" y="1937"/>
                </a:lnTo>
                <a:lnTo>
                  <a:pt x="1886" y="1937"/>
                </a:lnTo>
                <a:lnTo>
                  <a:pt x="1892" y="1941"/>
                </a:lnTo>
                <a:lnTo>
                  <a:pt x="1897" y="1945"/>
                </a:lnTo>
                <a:lnTo>
                  <a:pt x="1901" y="1949"/>
                </a:lnTo>
                <a:lnTo>
                  <a:pt x="1903" y="1956"/>
                </a:lnTo>
                <a:lnTo>
                  <a:pt x="1901" y="1962"/>
                </a:lnTo>
                <a:lnTo>
                  <a:pt x="1899" y="1966"/>
                </a:lnTo>
                <a:lnTo>
                  <a:pt x="1897" y="1968"/>
                </a:lnTo>
                <a:lnTo>
                  <a:pt x="1867" y="2002"/>
                </a:lnTo>
                <a:lnTo>
                  <a:pt x="1850" y="2023"/>
                </a:lnTo>
                <a:lnTo>
                  <a:pt x="1837" y="2038"/>
                </a:lnTo>
                <a:lnTo>
                  <a:pt x="1833" y="2045"/>
                </a:lnTo>
                <a:lnTo>
                  <a:pt x="1833" y="2049"/>
                </a:lnTo>
                <a:lnTo>
                  <a:pt x="1835" y="2053"/>
                </a:lnTo>
                <a:lnTo>
                  <a:pt x="1837" y="2059"/>
                </a:lnTo>
                <a:lnTo>
                  <a:pt x="1848" y="2072"/>
                </a:lnTo>
                <a:lnTo>
                  <a:pt x="1865" y="2089"/>
                </a:lnTo>
                <a:lnTo>
                  <a:pt x="1884" y="2108"/>
                </a:lnTo>
                <a:lnTo>
                  <a:pt x="1903" y="2127"/>
                </a:lnTo>
                <a:lnTo>
                  <a:pt x="1905" y="2129"/>
                </a:lnTo>
                <a:lnTo>
                  <a:pt x="1905" y="2131"/>
                </a:lnTo>
                <a:lnTo>
                  <a:pt x="1905" y="2136"/>
                </a:lnTo>
                <a:lnTo>
                  <a:pt x="1903" y="2140"/>
                </a:lnTo>
                <a:lnTo>
                  <a:pt x="1899" y="2146"/>
                </a:lnTo>
                <a:lnTo>
                  <a:pt x="1892" y="2150"/>
                </a:lnTo>
                <a:lnTo>
                  <a:pt x="1888" y="2153"/>
                </a:lnTo>
                <a:lnTo>
                  <a:pt x="1884" y="2153"/>
                </a:lnTo>
                <a:close/>
                <a:moveTo>
                  <a:pt x="203" y="292"/>
                </a:moveTo>
                <a:lnTo>
                  <a:pt x="205" y="282"/>
                </a:lnTo>
                <a:lnTo>
                  <a:pt x="205" y="271"/>
                </a:lnTo>
                <a:lnTo>
                  <a:pt x="207" y="258"/>
                </a:lnTo>
                <a:lnTo>
                  <a:pt x="212" y="250"/>
                </a:lnTo>
                <a:lnTo>
                  <a:pt x="216" y="239"/>
                </a:lnTo>
                <a:lnTo>
                  <a:pt x="220" y="229"/>
                </a:lnTo>
                <a:lnTo>
                  <a:pt x="226" y="220"/>
                </a:lnTo>
                <a:lnTo>
                  <a:pt x="233" y="212"/>
                </a:lnTo>
                <a:lnTo>
                  <a:pt x="239" y="203"/>
                </a:lnTo>
                <a:lnTo>
                  <a:pt x="246" y="197"/>
                </a:lnTo>
                <a:lnTo>
                  <a:pt x="254" y="190"/>
                </a:lnTo>
                <a:lnTo>
                  <a:pt x="262" y="186"/>
                </a:lnTo>
                <a:lnTo>
                  <a:pt x="271" y="182"/>
                </a:lnTo>
                <a:lnTo>
                  <a:pt x="282" y="178"/>
                </a:lnTo>
                <a:lnTo>
                  <a:pt x="290" y="178"/>
                </a:lnTo>
                <a:lnTo>
                  <a:pt x="301" y="176"/>
                </a:lnTo>
                <a:lnTo>
                  <a:pt x="313" y="178"/>
                </a:lnTo>
                <a:lnTo>
                  <a:pt x="318" y="178"/>
                </a:lnTo>
                <a:lnTo>
                  <a:pt x="324" y="180"/>
                </a:lnTo>
                <a:lnTo>
                  <a:pt x="332" y="186"/>
                </a:lnTo>
                <a:lnTo>
                  <a:pt x="341" y="193"/>
                </a:lnTo>
                <a:lnTo>
                  <a:pt x="345" y="201"/>
                </a:lnTo>
                <a:lnTo>
                  <a:pt x="351" y="212"/>
                </a:lnTo>
                <a:lnTo>
                  <a:pt x="354" y="222"/>
                </a:lnTo>
                <a:lnTo>
                  <a:pt x="354" y="233"/>
                </a:lnTo>
                <a:lnTo>
                  <a:pt x="354" y="241"/>
                </a:lnTo>
                <a:lnTo>
                  <a:pt x="351" y="248"/>
                </a:lnTo>
                <a:lnTo>
                  <a:pt x="349" y="256"/>
                </a:lnTo>
                <a:lnTo>
                  <a:pt x="347" y="262"/>
                </a:lnTo>
                <a:lnTo>
                  <a:pt x="343" y="269"/>
                </a:lnTo>
                <a:lnTo>
                  <a:pt x="339" y="275"/>
                </a:lnTo>
                <a:lnTo>
                  <a:pt x="328" y="288"/>
                </a:lnTo>
                <a:lnTo>
                  <a:pt x="322" y="292"/>
                </a:lnTo>
                <a:lnTo>
                  <a:pt x="315" y="296"/>
                </a:lnTo>
                <a:lnTo>
                  <a:pt x="303" y="305"/>
                </a:lnTo>
                <a:lnTo>
                  <a:pt x="294" y="307"/>
                </a:lnTo>
                <a:lnTo>
                  <a:pt x="288" y="309"/>
                </a:lnTo>
                <a:lnTo>
                  <a:pt x="271" y="311"/>
                </a:lnTo>
                <a:lnTo>
                  <a:pt x="265" y="309"/>
                </a:lnTo>
                <a:lnTo>
                  <a:pt x="262" y="307"/>
                </a:lnTo>
                <a:lnTo>
                  <a:pt x="260" y="305"/>
                </a:lnTo>
                <a:lnTo>
                  <a:pt x="258" y="303"/>
                </a:lnTo>
                <a:lnTo>
                  <a:pt x="256" y="301"/>
                </a:lnTo>
                <a:lnTo>
                  <a:pt x="256" y="292"/>
                </a:lnTo>
                <a:lnTo>
                  <a:pt x="256" y="286"/>
                </a:lnTo>
                <a:lnTo>
                  <a:pt x="258" y="284"/>
                </a:lnTo>
                <a:lnTo>
                  <a:pt x="260" y="282"/>
                </a:lnTo>
                <a:lnTo>
                  <a:pt x="273" y="279"/>
                </a:lnTo>
                <a:lnTo>
                  <a:pt x="286" y="275"/>
                </a:lnTo>
                <a:lnTo>
                  <a:pt x="296" y="269"/>
                </a:lnTo>
                <a:lnTo>
                  <a:pt x="305" y="262"/>
                </a:lnTo>
                <a:lnTo>
                  <a:pt x="311" y="254"/>
                </a:lnTo>
                <a:lnTo>
                  <a:pt x="318" y="246"/>
                </a:lnTo>
                <a:lnTo>
                  <a:pt x="322" y="237"/>
                </a:lnTo>
                <a:lnTo>
                  <a:pt x="322" y="233"/>
                </a:lnTo>
                <a:lnTo>
                  <a:pt x="322" y="229"/>
                </a:lnTo>
                <a:lnTo>
                  <a:pt x="322" y="224"/>
                </a:lnTo>
                <a:lnTo>
                  <a:pt x="320" y="220"/>
                </a:lnTo>
                <a:lnTo>
                  <a:pt x="320" y="216"/>
                </a:lnTo>
                <a:lnTo>
                  <a:pt x="315" y="212"/>
                </a:lnTo>
                <a:lnTo>
                  <a:pt x="313" y="210"/>
                </a:lnTo>
                <a:lnTo>
                  <a:pt x="309" y="207"/>
                </a:lnTo>
                <a:lnTo>
                  <a:pt x="298" y="207"/>
                </a:lnTo>
                <a:lnTo>
                  <a:pt x="288" y="207"/>
                </a:lnTo>
                <a:lnTo>
                  <a:pt x="277" y="214"/>
                </a:lnTo>
                <a:lnTo>
                  <a:pt x="271" y="216"/>
                </a:lnTo>
                <a:lnTo>
                  <a:pt x="267" y="220"/>
                </a:lnTo>
                <a:lnTo>
                  <a:pt x="262" y="226"/>
                </a:lnTo>
                <a:lnTo>
                  <a:pt x="258" y="231"/>
                </a:lnTo>
                <a:lnTo>
                  <a:pt x="250" y="243"/>
                </a:lnTo>
                <a:lnTo>
                  <a:pt x="243" y="258"/>
                </a:lnTo>
                <a:lnTo>
                  <a:pt x="239" y="273"/>
                </a:lnTo>
                <a:lnTo>
                  <a:pt x="237" y="282"/>
                </a:lnTo>
                <a:lnTo>
                  <a:pt x="237" y="290"/>
                </a:lnTo>
                <a:lnTo>
                  <a:pt x="239" y="307"/>
                </a:lnTo>
                <a:lnTo>
                  <a:pt x="239" y="313"/>
                </a:lnTo>
                <a:lnTo>
                  <a:pt x="241" y="320"/>
                </a:lnTo>
                <a:lnTo>
                  <a:pt x="248" y="332"/>
                </a:lnTo>
                <a:lnTo>
                  <a:pt x="254" y="343"/>
                </a:lnTo>
                <a:lnTo>
                  <a:pt x="262" y="351"/>
                </a:lnTo>
                <a:lnTo>
                  <a:pt x="267" y="353"/>
                </a:lnTo>
                <a:lnTo>
                  <a:pt x="271" y="358"/>
                </a:lnTo>
                <a:lnTo>
                  <a:pt x="277" y="360"/>
                </a:lnTo>
                <a:lnTo>
                  <a:pt x="284" y="362"/>
                </a:lnTo>
                <a:lnTo>
                  <a:pt x="290" y="362"/>
                </a:lnTo>
                <a:lnTo>
                  <a:pt x="296" y="362"/>
                </a:lnTo>
                <a:lnTo>
                  <a:pt x="309" y="362"/>
                </a:lnTo>
                <a:lnTo>
                  <a:pt x="320" y="358"/>
                </a:lnTo>
                <a:lnTo>
                  <a:pt x="326" y="356"/>
                </a:lnTo>
                <a:lnTo>
                  <a:pt x="330" y="351"/>
                </a:lnTo>
                <a:lnTo>
                  <a:pt x="341" y="345"/>
                </a:lnTo>
                <a:lnTo>
                  <a:pt x="351" y="337"/>
                </a:lnTo>
                <a:lnTo>
                  <a:pt x="360" y="326"/>
                </a:lnTo>
                <a:lnTo>
                  <a:pt x="366" y="313"/>
                </a:lnTo>
                <a:lnTo>
                  <a:pt x="375" y="301"/>
                </a:lnTo>
                <a:lnTo>
                  <a:pt x="381" y="288"/>
                </a:lnTo>
                <a:lnTo>
                  <a:pt x="385" y="273"/>
                </a:lnTo>
                <a:lnTo>
                  <a:pt x="389" y="258"/>
                </a:lnTo>
                <a:lnTo>
                  <a:pt x="394" y="243"/>
                </a:lnTo>
                <a:lnTo>
                  <a:pt x="396" y="231"/>
                </a:lnTo>
                <a:lnTo>
                  <a:pt x="398" y="216"/>
                </a:lnTo>
                <a:lnTo>
                  <a:pt x="398" y="201"/>
                </a:lnTo>
                <a:lnTo>
                  <a:pt x="398" y="188"/>
                </a:lnTo>
                <a:lnTo>
                  <a:pt x="400" y="186"/>
                </a:lnTo>
                <a:lnTo>
                  <a:pt x="402" y="184"/>
                </a:lnTo>
                <a:lnTo>
                  <a:pt x="406" y="182"/>
                </a:lnTo>
                <a:lnTo>
                  <a:pt x="411" y="182"/>
                </a:lnTo>
                <a:lnTo>
                  <a:pt x="419" y="182"/>
                </a:lnTo>
                <a:lnTo>
                  <a:pt x="423" y="184"/>
                </a:lnTo>
                <a:lnTo>
                  <a:pt x="425" y="186"/>
                </a:lnTo>
                <a:lnTo>
                  <a:pt x="430" y="195"/>
                </a:lnTo>
                <a:lnTo>
                  <a:pt x="432" y="201"/>
                </a:lnTo>
                <a:lnTo>
                  <a:pt x="432" y="207"/>
                </a:lnTo>
                <a:lnTo>
                  <a:pt x="430" y="226"/>
                </a:lnTo>
                <a:lnTo>
                  <a:pt x="428" y="246"/>
                </a:lnTo>
                <a:lnTo>
                  <a:pt x="425" y="262"/>
                </a:lnTo>
                <a:lnTo>
                  <a:pt x="421" y="279"/>
                </a:lnTo>
                <a:lnTo>
                  <a:pt x="415" y="296"/>
                </a:lnTo>
                <a:lnTo>
                  <a:pt x="409" y="313"/>
                </a:lnTo>
                <a:lnTo>
                  <a:pt x="400" y="328"/>
                </a:lnTo>
                <a:lnTo>
                  <a:pt x="392" y="341"/>
                </a:lnTo>
                <a:lnTo>
                  <a:pt x="383" y="353"/>
                </a:lnTo>
                <a:lnTo>
                  <a:pt x="377" y="360"/>
                </a:lnTo>
                <a:lnTo>
                  <a:pt x="373" y="364"/>
                </a:lnTo>
                <a:lnTo>
                  <a:pt x="362" y="375"/>
                </a:lnTo>
                <a:lnTo>
                  <a:pt x="349" y="383"/>
                </a:lnTo>
                <a:lnTo>
                  <a:pt x="337" y="389"/>
                </a:lnTo>
                <a:lnTo>
                  <a:pt x="324" y="394"/>
                </a:lnTo>
                <a:lnTo>
                  <a:pt x="309" y="398"/>
                </a:lnTo>
                <a:lnTo>
                  <a:pt x="294" y="398"/>
                </a:lnTo>
                <a:lnTo>
                  <a:pt x="286" y="398"/>
                </a:lnTo>
                <a:lnTo>
                  <a:pt x="277" y="396"/>
                </a:lnTo>
                <a:lnTo>
                  <a:pt x="267" y="394"/>
                </a:lnTo>
                <a:lnTo>
                  <a:pt x="260" y="392"/>
                </a:lnTo>
                <a:lnTo>
                  <a:pt x="252" y="385"/>
                </a:lnTo>
                <a:lnTo>
                  <a:pt x="243" y="381"/>
                </a:lnTo>
                <a:lnTo>
                  <a:pt x="237" y="375"/>
                </a:lnTo>
                <a:lnTo>
                  <a:pt x="231" y="368"/>
                </a:lnTo>
                <a:lnTo>
                  <a:pt x="224" y="360"/>
                </a:lnTo>
                <a:lnTo>
                  <a:pt x="220" y="351"/>
                </a:lnTo>
                <a:lnTo>
                  <a:pt x="212" y="334"/>
                </a:lnTo>
                <a:lnTo>
                  <a:pt x="207" y="324"/>
                </a:lnTo>
                <a:lnTo>
                  <a:pt x="205" y="313"/>
                </a:lnTo>
                <a:lnTo>
                  <a:pt x="205" y="303"/>
                </a:lnTo>
                <a:lnTo>
                  <a:pt x="203" y="292"/>
                </a:lnTo>
                <a:close/>
                <a:moveTo>
                  <a:pt x="438" y="292"/>
                </a:moveTo>
                <a:lnTo>
                  <a:pt x="438" y="286"/>
                </a:lnTo>
                <a:lnTo>
                  <a:pt x="440" y="279"/>
                </a:lnTo>
                <a:lnTo>
                  <a:pt x="445" y="271"/>
                </a:lnTo>
                <a:lnTo>
                  <a:pt x="449" y="262"/>
                </a:lnTo>
                <a:lnTo>
                  <a:pt x="459" y="248"/>
                </a:lnTo>
                <a:lnTo>
                  <a:pt x="478" y="226"/>
                </a:lnTo>
                <a:lnTo>
                  <a:pt x="521" y="180"/>
                </a:lnTo>
                <a:lnTo>
                  <a:pt x="527" y="180"/>
                </a:lnTo>
                <a:lnTo>
                  <a:pt x="533" y="182"/>
                </a:lnTo>
                <a:lnTo>
                  <a:pt x="538" y="186"/>
                </a:lnTo>
                <a:lnTo>
                  <a:pt x="542" y="193"/>
                </a:lnTo>
                <a:lnTo>
                  <a:pt x="544" y="197"/>
                </a:lnTo>
                <a:lnTo>
                  <a:pt x="542" y="205"/>
                </a:lnTo>
                <a:lnTo>
                  <a:pt x="540" y="207"/>
                </a:lnTo>
                <a:lnTo>
                  <a:pt x="538" y="212"/>
                </a:lnTo>
                <a:lnTo>
                  <a:pt x="508" y="246"/>
                </a:lnTo>
                <a:lnTo>
                  <a:pt x="491" y="267"/>
                </a:lnTo>
                <a:lnTo>
                  <a:pt x="476" y="282"/>
                </a:lnTo>
                <a:lnTo>
                  <a:pt x="474" y="286"/>
                </a:lnTo>
                <a:lnTo>
                  <a:pt x="474" y="290"/>
                </a:lnTo>
                <a:lnTo>
                  <a:pt x="474" y="296"/>
                </a:lnTo>
                <a:lnTo>
                  <a:pt x="478" y="301"/>
                </a:lnTo>
                <a:lnTo>
                  <a:pt x="489" y="313"/>
                </a:lnTo>
                <a:lnTo>
                  <a:pt x="506" y="332"/>
                </a:lnTo>
                <a:lnTo>
                  <a:pt x="525" y="351"/>
                </a:lnTo>
                <a:lnTo>
                  <a:pt x="544" y="368"/>
                </a:lnTo>
                <a:lnTo>
                  <a:pt x="546" y="373"/>
                </a:lnTo>
                <a:lnTo>
                  <a:pt x="546" y="375"/>
                </a:lnTo>
                <a:lnTo>
                  <a:pt x="546" y="379"/>
                </a:lnTo>
                <a:lnTo>
                  <a:pt x="544" y="381"/>
                </a:lnTo>
                <a:lnTo>
                  <a:pt x="540" y="387"/>
                </a:lnTo>
                <a:lnTo>
                  <a:pt x="531" y="394"/>
                </a:lnTo>
                <a:lnTo>
                  <a:pt x="529" y="396"/>
                </a:lnTo>
                <a:lnTo>
                  <a:pt x="525" y="396"/>
                </a:lnTo>
                <a:lnTo>
                  <a:pt x="519" y="394"/>
                </a:lnTo>
                <a:lnTo>
                  <a:pt x="512" y="387"/>
                </a:lnTo>
                <a:lnTo>
                  <a:pt x="495" y="373"/>
                </a:lnTo>
                <a:lnTo>
                  <a:pt x="474" y="351"/>
                </a:lnTo>
                <a:lnTo>
                  <a:pt x="457" y="332"/>
                </a:lnTo>
                <a:lnTo>
                  <a:pt x="449" y="324"/>
                </a:lnTo>
                <a:lnTo>
                  <a:pt x="445" y="317"/>
                </a:lnTo>
                <a:lnTo>
                  <a:pt x="440" y="305"/>
                </a:lnTo>
                <a:lnTo>
                  <a:pt x="438" y="298"/>
                </a:lnTo>
                <a:lnTo>
                  <a:pt x="438" y="292"/>
                </a:lnTo>
                <a:close/>
                <a:moveTo>
                  <a:pt x="294" y="991"/>
                </a:moveTo>
                <a:lnTo>
                  <a:pt x="286" y="991"/>
                </a:lnTo>
                <a:lnTo>
                  <a:pt x="277" y="988"/>
                </a:lnTo>
                <a:lnTo>
                  <a:pt x="267" y="986"/>
                </a:lnTo>
                <a:lnTo>
                  <a:pt x="260" y="982"/>
                </a:lnTo>
                <a:lnTo>
                  <a:pt x="252" y="978"/>
                </a:lnTo>
                <a:lnTo>
                  <a:pt x="243" y="972"/>
                </a:lnTo>
                <a:lnTo>
                  <a:pt x="237" y="965"/>
                </a:lnTo>
                <a:lnTo>
                  <a:pt x="231" y="959"/>
                </a:lnTo>
                <a:lnTo>
                  <a:pt x="224" y="952"/>
                </a:lnTo>
                <a:lnTo>
                  <a:pt x="220" y="944"/>
                </a:lnTo>
                <a:lnTo>
                  <a:pt x="212" y="925"/>
                </a:lnTo>
                <a:lnTo>
                  <a:pt x="207" y="917"/>
                </a:lnTo>
                <a:lnTo>
                  <a:pt x="205" y="906"/>
                </a:lnTo>
                <a:lnTo>
                  <a:pt x="205" y="895"/>
                </a:lnTo>
                <a:lnTo>
                  <a:pt x="203" y="885"/>
                </a:lnTo>
                <a:lnTo>
                  <a:pt x="205" y="872"/>
                </a:lnTo>
                <a:lnTo>
                  <a:pt x="205" y="861"/>
                </a:lnTo>
                <a:lnTo>
                  <a:pt x="207" y="851"/>
                </a:lnTo>
                <a:lnTo>
                  <a:pt x="212" y="840"/>
                </a:lnTo>
                <a:lnTo>
                  <a:pt x="216" y="830"/>
                </a:lnTo>
                <a:lnTo>
                  <a:pt x="220" y="821"/>
                </a:lnTo>
                <a:lnTo>
                  <a:pt x="226" y="811"/>
                </a:lnTo>
                <a:lnTo>
                  <a:pt x="233" y="802"/>
                </a:lnTo>
                <a:lnTo>
                  <a:pt x="239" y="796"/>
                </a:lnTo>
                <a:lnTo>
                  <a:pt x="246" y="790"/>
                </a:lnTo>
                <a:lnTo>
                  <a:pt x="254" y="783"/>
                </a:lnTo>
                <a:lnTo>
                  <a:pt x="262" y="777"/>
                </a:lnTo>
                <a:lnTo>
                  <a:pt x="271" y="773"/>
                </a:lnTo>
                <a:lnTo>
                  <a:pt x="282" y="770"/>
                </a:lnTo>
                <a:lnTo>
                  <a:pt x="290" y="768"/>
                </a:lnTo>
                <a:lnTo>
                  <a:pt x="301" y="768"/>
                </a:lnTo>
                <a:lnTo>
                  <a:pt x="313" y="768"/>
                </a:lnTo>
                <a:lnTo>
                  <a:pt x="318" y="770"/>
                </a:lnTo>
                <a:lnTo>
                  <a:pt x="324" y="773"/>
                </a:lnTo>
                <a:lnTo>
                  <a:pt x="332" y="777"/>
                </a:lnTo>
                <a:lnTo>
                  <a:pt x="341" y="785"/>
                </a:lnTo>
                <a:lnTo>
                  <a:pt x="345" y="792"/>
                </a:lnTo>
                <a:lnTo>
                  <a:pt x="351" y="802"/>
                </a:lnTo>
                <a:lnTo>
                  <a:pt x="354" y="813"/>
                </a:lnTo>
                <a:lnTo>
                  <a:pt x="354" y="825"/>
                </a:lnTo>
                <a:lnTo>
                  <a:pt x="354" y="832"/>
                </a:lnTo>
                <a:lnTo>
                  <a:pt x="351" y="840"/>
                </a:lnTo>
                <a:lnTo>
                  <a:pt x="349" y="847"/>
                </a:lnTo>
                <a:lnTo>
                  <a:pt x="347" y="855"/>
                </a:lnTo>
                <a:lnTo>
                  <a:pt x="343" y="861"/>
                </a:lnTo>
                <a:lnTo>
                  <a:pt x="339" y="868"/>
                </a:lnTo>
                <a:lnTo>
                  <a:pt x="328" y="878"/>
                </a:lnTo>
                <a:lnTo>
                  <a:pt x="322" y="885"/>
                </a:lnTo>
                <a:lnTo>
                  <a:pt x="315" y="889"/>
                </a:lnTo>
                <a:lnTo>
                  <a:pt x="303" y="895"/>
                </a:lnTo>
                <a:lnTo>
                  <a:pt x="294" y="900"/>
                </a:lnTo>
                <a:lnTo>
                  <a:pt x="288" y="902"/>
                </a:lnTo>
                <a:lnTo>
                  <a:pt x="271" y="902"/>
                </a:lnTo>
                <a:lnTo>
                  <a:pt x="265" y="902"/>
                </a:lnTo>
                <a:lnTo>
                  <a:pt x="262" y="900"/>
                </a:lnTo>
                <a:lnTo>
                  <a:pt x="260" y="897"/>
                </a:lnTo>
                <a:lnTo>
                  <a:pt x="258" y="893"/>
                </a:lnTo>
                <a:lnTo>
                  <a:pt x="256" y="891"/>
                </a:lnTo>
                <a:lnTo>
                  <a:pt x="256" y="883"/>
                </a:lnTo>
                <a:lnTo>
                  <a:pt x="256" y="876"/>
                </a:lnTo>
                <a:lnTo>
                  <a:pt x="258" y="874"/>
                </a:lnTo>
                <a:lnTo>
                  <a:pt x="260" y="874"/>
                </a:lnTo>
                <a:lnTo>
                  <a:pt x="273" y="870"/>
                </a:lnTo>
                <a:lnTo>
                  <a:pt x="286" y="866"/>
                </a:lnTo>
                <a:lnTo>
                  <a:pt x="296" y="859"/>
                </a:lnTo>
                <a:lnTo>
                  <a:pt x="305" y="853"/>
                </a:lnTo>
                <a:lnTo>
                  <a:pt x="311" y="845"/>
                </a:lnTo>
                <a:lnTo>
                  <a:pt x="315" y="842"/>
                </a:lnTo>
                <a:lnTo>
                  <a:pt x="318" y="838"/>
                </a:lnTo>
                <a:lnTo>
                  <a:pt x="322" y="830"/>
                </a:lnTo>
                <a:lnTo>
                  <a:pt x="322" y="821"/>
                </a:lnTo>
                <a:lnTo>
                  <a:pt x="322" y="815"/>
                </a:lnTo>
                <a:lnTo>
                  <a:pt x="322" y="811"/>
                </a:lnTo>
                <a:lnTo>
                  <a:pt x="320" y="806"/>
                </a:lnTo>
                <a:lnTo>
                  <a:pt x="315" y="804"/>
                </a:lnTo>
                <a:lnTo>
                  <a:pt x="313" y="802"/>
                </a:lnTo>
                <a:lnTo>
                  <a:pt x="309" y="800"/>
                </a:lnTo>
                <a:lnTo>
                  <a:pt x="298" y="798"/>
                </a:lnTo>
                <a:lnTo>
                  <a:pt x="288" y="800"/>
                </a:lnTo>
                <a:lnTo>
                  <a:pt x="282" y="802"/>
                </a:lnTo>
                <a:lnTo>
                  <a:pt x="277" y="804"/>
                </a:lnTo>
                <a:lnTo>
                  <a:pt x="271" y="809"/>
                </a:lnTo>
                <a:lnTo>
                  <a:pt x="267" y="813"/>
                </a:lnTo>
                <a:lnTo>
                  <a:pt x="258" y="823"/>
                </a:lnTo>
                <a:lnTo>
                  <a:pt x="254" y="830"/>
                </a:lnTo>
                <a:lnTo>
                  <a:pt x="250" y="836"/>
                </a:lnTo>
                <a:lnTo>
                  <a:pt x="243" y="849"/>
                </a:lnTo>
                <a:lnTo>
                  <a:pt x="239" y="866"/>
                </a:lnTo>
                <a:lnTo>
                  <a:pt x="237" y="874"/>
                </a:lnTo>
                <a:lnTo>
                  <a:pt x="237" y="883"/>
                </a:lnTo>
                <a:lnTo>
                  <a:pt x="239" y="897"/>
                </a:lnTo>
                <a:lnTo>
                  <a:pt x="239" y="904"/>
                </a:lnTo>
                <a:lnTo>
                  <a:pt x="241" y="912"/>
                </a:lnTo>
                <a:lnTo>
                  <a:pt x="248" y="923"/>
                </a:lnTo>
                <a:lnTo>
                  <a:pt x="254" y="933"/>
                </a:lnTo>
                <a:lnTo>
                  <a:pt x="262" y="942"/>
                </a:lnTo>
                <a:lnTo>
                  <a:pt x="267" y="946"/>
                </a:lnTo>
                <a:lnTo>
                  <a:pt x="271" y="948"/>
                </a:lnTo>
                <a:lnTo>
                  <a:pt x="284" y="952"/>
                </a:lnTo>
                <a:lnTo>
                  <a:pt x="290" y="955"/>
                </a:lnTo>
                <a:lnTo>
                  <a:pt x="296" y="955"/>
                </a:lnTo>
                <a:lnTo>
                  <a:pt x="309" y="952"/>
                </a:lnTo>
                <a:lnTo>
                  <a:pt x="320" y="950"/>
                </a:lnTo>
                <a:lnTo>
                  <a:pt x="326" y="946"/>
                </a:lnTo>
                <a:lnTo>
                  <a:pt x="330" y="944"/>
                </a:lnTo>
                <a:lnTo>
                  <a:pt x="341" y="936"/>
                </a:lnTo>
                <a:lnTo>
                  <a:pt x="351" y="927"/>
                </a:lnTo>
                <a:lnTo>
                  <a:pt x="360" y="917"/>
                </a:lnTo>
                <a:lnTo>
                  <a:pt x="366" y="906"/>
                </a:lnTo>
                <a:lnTo>
                  <a:pt x="375" y="893"/>
                </a:lnTo>
                <a:lnTo>
                  <a:pt x="381" y="878"/>
                </a:lnTo>
                <a:lnTo>
                  <a:pt x="385" y="864"/>
                </a:lnTo>
                <a:lnTo>
                  <a:pt x="389" y="851"/>
                </a:lnTo>
                <a:lnTo>
                  <a:pt x="394" y="836"/>
                </a:lnTo>
                <a:lnTo>
                  <a:pt x="396" y="821"/>
                </a:lnTo>
                <a:lnTo>
                  <a:pt x="398" y="806"/>
                </a:lnTo>
                <a:lnTo>
                  <a:pt x="398" y="794"/>
                </a:lnTo>
                <a:lnTo>
                  <a:pt x="398" y="781"/>
                </a:lnTo>
                <a:lnTo>
                  <a:pt x="400" y="777"/>
                </a:lnTo>
                <a:lnTo>
                  <a:pt x="402" y="775"/>
                </a:lnTo>
                <a:lnTo>
                  <a:pt x="406" y="775"/>
                </a:lnTo>
                <a:lnTo>
                  <a:pt x="411" y="773"/>
                </a:lnTo>
                <a:lnTo>
                  <a:pt x="419" y="775"/>
                </a:lnTo>
                <a:lnTo>
                  <a:pt x="423" y="777"/>
                </a:lnTo>
                <a:lnTo>
                  <a:pt x="425" y="779"/>
                </a:lnTo>
                <a:lnTo>
                  <a:pt x="430" y="787"/>
                </a:lnTo>
                <a:lnTo>
                  <a:pt x="432" y="792"/>
                </a:lnTo>
                <a:lnTo>
                  <a:pt x="432" y="800"/>
                </a:lnTo>
                <a:lnTo>
                  <a:pt x="430" y="817"/>
                </a:lnTo>
                <a:lnTo>
                  <a:pt x="428" y="836"/>
                </a:lnTo>
                <a:lnTo>
                  <a:pt x="425" y="855"/>
                </a:lnTo>
                <a:lnTo>
                  <a:pt x="421" y="872"/>
                </a:lnTo>
                <a:lnTo>
                  <a:pt x="415" y="889"/>
                </a:lnTo>
                <a:lnTo>
                  <a:pt x="409" y="904"/>
                </a:lnTo>
                <a:lnTo>
                  <a:pt x="400" y="919"/>
                </a:lnTo>
                <a:lnTo>
                  <a:pt x="392" y="933"/>
                </a:lnTo>
                <a:lnTo>
                  <a:pt x="383" y="944"/>
                </a:lnTo>
                <a:lnTo>
                  <a:pt x="377" y="950"/>
                </a:lnTo>
                <a:lnTo>
                  <a:pt x="373" y="957"/>
                </a:lnTo>
                <a:lnTo>
                  <a:pt x="362" y="965"/>
                </a:lnTo>
                <a:lnTo>
                  <a:pt x="349" y="974"/>
                </a:lnTo>
                <a:lnTo>
                  <a:pt x="337" y="982"/>
                </a:lnTo>
                <a:lnTo>
                  <a:pt x="324" y="986"/>
                </a:lnTo>
                <a:lnTo>
                  <a:pt x="309" y="988"/>
                </a:lnTo>
                <a:lnTo>
                  <a:pt x="294" y="991"/>
                </a:lnTo>
                <a:close/>
                <a:moveTo>
                  <a:pt x="525" y="986"/>
                </a:moveTo>
                <a:lnTo>
                  <a:pt x="519" y="984"/>
                </a:lnTo>
                <a:lnTo>
                  <a:pt x="512" y="978"/>
                </a:lnTo>
                <a:lnTo>
                  <a:pt x="495" y="963"/>
                </a:lnTo>
                <a:lnTo>
                  <a:pt x="474" y="944"/>
                </a:lnTo>
                <a:lnTo>
                  <a:pt x="457" y="923"/>
                </a:lnTo>
                <a:lnTo>
                  <a:pt x="449" y="914"/>
                </a:lnTo>
                <a:lnTo>
                  <a:pt x="445" y="908"/>
                </a:lnTo>
                <a:lnTo>
                  <a:pt x="440" y="895"/>
                </a:lnTo>
                <a:lnTo>
                  <a:pt x="438" y="889"/>
                </a:lnTo>
                <a:lnTo>
                  <a:pt x="438" y="885"/>
                </a:lnTo>
                <a:lnTo>
                  <a:pt x="438" y="876"/>
                </a:lnTo>
                <a:lnTo>
                  <a:pt x="440" y="870"/>
                </a:lnTo>
                <a:lnTo>
                  <a:pt x="445" y="861"/>
                </a:lnTo>
                <a:lnTo>
                  <a:pt x="449" y="855"/>
                </a:lnTo>
                <a:lnTo>
                  <a:pt x="459" y="840"/>
                </a:lnTo>
                <a:lnTo>
                  <a:pt x="478" y="819"/>
                </a:lnTo>
                <a:lnTo>
                  <a:pt x="521" y="770"/>
                </a:lnTo>
                <a:lnTo>
                  <a:pt x="527" y="773"/>
                </a:lnTo>
                <a:lnTo>
                  <a:pt x="533" y="775"/>
                </a:lnTo>
                <a:lnTo>
                  <a:pt x="538" y="779"/>
                </a:lnTo>
                <a:lnTo>
                  <a:pt x="542" y="783"/>
                </a:lnTo>
                <a:lnTo>
                  <a:pt x="544" y="790"/>
                </a:lnTo>
                <a:lnTo>
                  <a:pt x="542" y="796"/>
                </a:lnTo>
                <a:lnTo>
                  <a:pt x="540" y="800"/>
                </a:lnTo>
                <a:lnTo>
                  <a:pt x="538" y="802"/>
                </a:lnTo>
                <a:lnTo>
                  <a:pt x="508" y="838"/>
                </a:lnTo>
                <a:lnTo>
                  <a:pt x="491" y="857"/>
                </a:lnTo>
                <a:lnTo>
                  <a:pt x="476" y="874"/>
                </a:lnTo>
                <a:lnTo>
                  <a:pt x="474" y="878"/>
                </a:lnTo>
                <a:lnTo>
                  <a:pt x="474" y="883"/>
                </a:lnTo>
                <a:lnTo>
                  <a:pt x="474" y="887"/>
                </a:lnTo>
                <a:lnTo>
                  <a:pt x="478" y="893"/>
                </a:lnTo>
                <a:lnTo>
                  <a:pt x="489" y="906"/>
                </a:lnTo>
                <a:lnTo>
                  <a:pt x="506" y="923"/>
                </a:lnTo>
                <a:lnTo>
                  <a:pt x="525" y="942"/>
                </a:lnTo>
                <a:lnTo>
                  <a:pt x="544" y="961"/>
                </a:lnTo>
                <a:lnTo>
                  <a:pt x="546" y="963"/>
                </a:lnTo>
                <a:lnTo>
                  <a:pt x="546" y="967"/>
                </a:lnTo>
                <a:lnTo>
                  <a:pt x="546" y="969"/>
                </a:lnTo>
                <a:lnTo>
                  <a:pt x="544" y="974"/>
                </a:lnTo>
                <a:lnTo>
                  <a:pt x="540" y="980"/>
                </a:lnTo>
                <a:lnTo>
                  <a:pt x="531" y="984"/>
                </a:lnTo>
                <a:lnTo>
                  <a:pt x="529" y="986"/>
                </a:lnTo>
                <a:lnTo>
                  <a:pt x="525" y="986"/>
                </a:lnTo>
                <a:close/>
                <a:moveTo>
                  <a:pt x="294" y="1581"/>
                </a:moveTo>
                <a:lnTo>
                  <a:pt x="286" y="1581"/>
                </a:lnTo>
                <a:lnTo>
                  <a:pt x="275" y="1579"/>
                </a:lnTo>
                <a:lnTo>
                  <a:pt x="267" y="1577"/>
                </a:lnTo>
                <a:lnTo>
                  <a:pt x="258" y="1573"/>
                </a:lnTo>
                <a:lnTo>
                  <a:pt x="250" y="1568"/>
                </a:lnTo>
                <a:lnTo>
                  <a:pt x="241" y="1562"/>
                </a:lnTo>
                <a:lnTo>
                  <a:pt x="235" y="1556"/>
                </a:lnTo>
                <a:lnTo>
                  <a:pt x="229" y="1547"/>
                </a:lnTo>
                <a:lnTo>
                  <a:pt x="220" y="1501"/>
                </a:lnTo>
                <a:lnTo>
                  <a:pt x="212" y="1433"/>
                </a:lnTo>
                <a:lnTo>
                  <a:pt x="214" y="1424"/>
                </a:lnTo>
                <a:lnTo>
                  <a:pt x="218" y="1418"/>
                </a:lnTo>
                <a:lnTo>
                  <a:pt x="226" y="1403"/>
                </a:lnTo>
                <a:lnTo>
                  <a:pt x="235" y="1391"/>
                </a:lnTo>
                <a:lnTo>
                  <a:pt x="241" y="1386"/>
                </a:lnTo>
                <a:lnTo>
                  <a:pt x="246" y="1380"/>
                </a:lnTo>
                <a:lnTo>
                  <a:pt x="258" y="1372"/>
                </a:lnTo>
                <a:lnTo>
                  <a:pt x="265" y="1367"/>
                </a:lnTo>
                <a:lnTo>
                  <a:pt x="271" y="1365"/>
                </a:lnTo>
                <a:lnTo>
                  <a:pt x="286" y="1361"/>
                </a:lnTo>
                <a:lnTo>
                  <a:pt x="301" y="1359"/>
                </a:lnTo>
                <a:lnTo>
                  <a:pt x="313" y="1361"/>
                </a:lnTo>
                <a:lnTo>
                  <a:pt x="318" y="1361"/>
                </a:lnTo>
                <a:lnTo>
                  <a:pt x="324" y="1363"/>
                </a:lnTo>
                <a:lnTo>
                  <a:pt x="332" y="1369"/>
                </a:lnTo>
                <a:lnTo>
                  <a:pt x="341" y="1376"/>
                </a:lnTo>
                <a:lnTo>
                  <a:pt x="345" y="1384"/>
                </a:lnTo>
                <a:lnTo>
                  <a:pt x="351" y="1395"/>
                </a:lnTo>
                <a:lnTo>
                  <a:pt x="354" y="1405"/>
                </a:lnTo>
                <a:lnTo>
                  <a:pt x="354" y="1416"/>
                </a:lnTo>
                <a:lnTo>
                  <a:pt x="354" y="1424"/>
                </a:lnTo>
                <a:lnTo>
                  <a:pt x="351" y="1431"/>
                </a:lnTo>
                <a:lnTo>
                  <a:pt x="349" y="1439"/>
                </a:lnTo>
                <a:lnTo>
                  <a:pt x="347" y="1446"/>
                </a:lnTo>
                <a:lnTo>
                  <a:pt x="343" y="1452"/>
                </a:lnTo>
                <a:lnTo>
                  <a:pt x="339" y="1458"/>
                </a:lnTo>
                <a:lnTo>
                  <a:pt x="328" y="1471"/>
                </a:lnTo>
                <a:lnTo>
                  <a:pt x="322" y="1475"/>
                </a:lnTo>
                <a:lnTo>
                  <a:pt x="315" y="1480"/>
                </a:lnTo>
                <a:lnTo>
                  <a:pt x="303" y="1488"/>
                </a:lnTo>
                <a:lnTo>
                  <a:pt x="294" y="1490"/>
                </a:lnTo>
                <a:lnTo>
                  <a:pt x="288" y="1492"/>
                </a:lnTo>
                <a:lnTo>
                  <a:pt x="271" y="1494"/>
                </a:lnTo>
                <a:lnTo>
                  <a:pt x="265" y="1492"/>
                </a:lnTo>
                <a:lnTo>
                  <a:pt x="262" y="1490"/>
                </a:lnTo>
                <a:lnTo>
                  <a:pt x="260" y="1488"/>
                </a:lnTo>
                <a:lnTo>
                  <a:pt x="258" y="1486"/>
                </a:lnTo>
                <a:lnTo>
                  <a:pt x="256" y="1482"/>
                </a:lnTo>
                <a:lnTo>
                  <a:pt x="256" y="1475"/>
                </a:lnTo>
                <a:lnTo>
                  <a:pt x="256" y="1469"/>
                </a:lnTo>
                <a:lnTo>
                  <a:pt x="258" y="1467"/>
                </a:lnTo>
                <a:lnTo>
                  <a:pt x="260" y="1465"/>
                </a:lnTo>
                <a:lnTo>
                  <a:pt x="273" y="1463"/>
                </a:lnTo>
                <a:lnTo>
                  <a:pt x="286" y="1458"/>
                </a:lnTo>
                <a:lnTo>
                  <a:pt x="296" y="1452"/>
                </a:lnTo>
                <a:lnTo>
                  <a:pt x="305" y="1446"/>
                </a:lnTo>
                <a:lnTo>
                  <a:pt x="311" y="1437"/>
                </a:lnTo>
                <a:lnTo>
                  <a:pt x="315" y="1433"/>
                </a:lnTo>
                <a:lnTo>
                  <a:pt x="318" y="1429"/>
                </a:lnTo>
                <a:lnTo>
                  <a:pt x="322" y="1420"/>
                </a:lnTo>
                <a:lnTo>
                  <a:pt x="322" y="1412"/>
                </a:lnTo>
                <a:lnTo>
                  <a:pt x="322" y="1408"/>
                </a:lnTo>
                <a:lnTo>
                  <a:pt x="322" y="1403"/>
                </a:lnTo>
                <a:lnTo>
                  <a:pt x="320" y="1399"/>
                </a:lnTo>
                <a:lnTo>
                  <a:pt x="315" y="1395"/>
                </a:lnTo>
                <a:lnTo>
                  <a:pt x="313" y="1393"/>
                </a:lnTo>
                <a:lnTo>
                  <a:pt x="309" y="1391"/>
                </a:lnTo>
                <a:lnTo>
                  <a:pt x="298" y="1391"/>
                </a:lnTo>
                <a:lnTo>
                  <a:pt x="288" y="1391"/>
                </a:lnTo>
                <a:lnTo>
                  <a:pt x="282" y="1393"/>
                </a:lnTo>
                <a:lnTo>
                  <a:pt x="277" y="1397"/>
                </a:lnTo>
                <a:lnTo>
                  <a:pt x="271" y="1399"/>
                </a:lnTo>
                <a:lnTo>
                  <a:pt x="267" y="1403"/>
                </a:lnTo>
                <a:lnTo>
                  <a:pt x="258" y="1414"/>
                </a:lnTo>
                <a:lnTo>
                  <a:pt x="254" y="1420"/>
                </a:lnTo>
                <a:lnTo>
                  <a:pt x="250" y="1427"/>
                </a:lnTo>
                <a:lnTo>
                  <a:pt x="243" y="1441"/>
                </a:lnTo>
                <a:lnTo>
                  <a:pt x="239" y="1456"/>
                </a:lnTo>
                <a:lnTo>
                  <a:pt x="237" y="1465"/>
                </a:lnTo>
                <a:lnTo>
                  <a:pt x="237" y="1473"/>
                </a:lnTo>
                <a:lnTo>
                  <a:pt x="239" y="1490"/>
                </a:lnTo>
                <a:lnTo>
                  <a:pt x="239" y="1496"/>
                </a:lnTo>
                <a:lnTo>
                  <a:pt x="241" y="1503"/>
                </a:lnTo>
                <a:lnTo>
                  <a:pt x="248" y="1516"/>
                </a:lnTo>
                <a:lnTo>
                  <a:pt x="254" y="1526"/>
                </a:lnTo>
                <a:lnTo>
                  <a:pt x="262" y="1535"/>
                </a:lnTo>
                <a:lnTo>
                  <a:pt x="267" y="1537"/>
                </a:lnTo>
                <a:lnTo>
                  <a:pt x="271" y="1541"/>
                </a:lnTo>
                <a:lnTo>
                  <a:pt x="284" y="1545"/>
                </a:lnTo>
                <a:lnTo>
                  <a:pt x="290" y="1545"/>
                </a:lnTo>
                <a:lnTo>
                  <a:pt x="296" y="1545"/>
                </a:lnTo>
                <a:lnTo>
                  <a:pt x="309" y="1545"/>
                </a:lnTo>
                <a:lnTo>
                  <a:pt x="320" y="1541"/>
                </a:lnTo>
                <a:lnTo>
                  <a:pt x="326" y="1539"/>
                </a:lnTo>
                <a:lnTo>
                  <a:pt x="330" y="1535"/>
                </a:lnTo>
                <a:lnTo>
                  <a:pt x="341" y="1528"/>
                </a:lnTo>
                <a:lnTo>
                  <a:pt x="351" y="1520"/>
                </a:lnTo>
                <a:lnTo>
                  <a:pt x="360" y="1509"/>
                </a:lnTo>
                <a:lnTo>
                  <a:pt x="366" y="1496"/>
                </a:lnTo>
                <a:lnTo>
                  <a:pt x="375" y="1484"/>
                </a:lnTo>
                <a:lnTo>
                  <a:pt x="381" y="1471"/>
                </a:lnTo>
                <a:lnTo>
                  <a:pt x="385" y="1456"/>
                </a:lnTo>
                <a:lnTo>
                  <a:pt x="389" y="1441"/>
                </a:lnTo>
                <a:lnTo>
                  <a:pt x="394" y="1427"/>
                </a:lnTo>
                <a:lnTo>
                  <a:pt x="396" y="1412"/>
                </a:lnTo>
                <a:lnTo>
                  <a:pt x="398" y="1399"/>
                </a:lnTo>
                <a:lnTo>
                  <a:pt x="398" y="1384"/>
                </a:lnTo>
                <a:lnTo>
                  <a:pt x="398" y="1372"/>
                </a:lnTo>
                <a:lnTo>
                  <a:pt x="400" y="1369"/>
                </a:lnTo>
                <a:lnTo>
                  <a:pt x="402" y="1367"/>
                </a:lnTo>
                <a:lnTo>
                  <a:pt x="406" y="1365"/>
                </a:lnTo>
                <a:lnTo>
                  <a:pt x="411" y="1365"/>
                </a:lnTo>
                <a:lnTo>
                  <a:pt x="419" y="1365"/>
                </a:lnTo>
                <a:lnTo>
                  <a:pt x="423" y="1367"/>
                </a:lnTo>
                <a:lnTo>
                  <a:pt x="425" y="1369"/>
                </a:lnTo>
                <a:lnTo>
                  <a:pt x="430" y="1378"/>
                </a:lnTo>
                <a:lnTo>
                  <a:pt x="432" y="1384"/>
                </a:lnTo>
                <a:lnTo>
                  <a:pt x="432" y="1391"/>
                </a:lnTo>
                <a:lnTo>
                  <a:pt x="430" y="1410"/>
                </a:lnTo>
                <a:lnTo>
                  <a:pt x="428" y="1429"/>
                </a:lnTo>
                <a:lnTo>
                  <a:pt x="425" y="1446"/>
                </a:lnTo>
                <a:lnTo>
                  <a:pt x="421" y="1463"/>
                </a:lnTo>
                <a:lnTo>
                  <a:pt x="415" y="1480"/>
                </a:lnTo>
                <a:lnTo>
                  <a:pt x="409" y="1496"/>
                </a:lnTo>
                <a:lnTo>
                  <a:pt x="400" y="1511"/>
                </a:lnTo>
                <a:lnTo>
                  <a:pt x="392" y="1524"/>
                </a:lnTo>
                <a:lnTo>
                  <a:pt x="383" y="1537"/>
                </a:lnTo>
                <a:lnTo>
                  <a:pt x="377" y="1543"/>
                </a:lnTo>
                <a:lnTo>
                  <a:pt x="373" y="1547"/>
                </a:lnTo>
                <a:lnTo>
                  <a:pt x="362" y="1558"/>
                </a:lnTo>
                <a:lnTo>
                  <a:pt x="349" y="1566"/>
                </a:lnTo>
                <a:lnTo>
                  <a:pt x="337" y="1573"/>
                </a:lnTo>
                <a:lnTo>
                  <a:pt x="324" y="1577"/>
                </a:lnTo>
                <a:lnTo>
                  <a:pt x="309" y="1581"/>
                </a:lnTo>
                <a:lnTo>
                  <a:pt x="294" y="1581"/>
                </a:lnTo>
                <a:close/>
                <a:moveTo>
                  <a:pt x="525" y="1579"/>
                </a:moveTo>
                <a:lnTo>
                  <a:pt x="519" y="1577"/>
                </a:lnTo>
                <a:lnTo>
                  <a:pt x="512" y="1571"/>
                </a:lnTo>
                <a:lnTo>
                  <a:pt x="495" y="1556"/>
                </a:lnTo>
                <a:lnTo>
                  <a:pt x="474" y="1535"/>
                </a:lnTo>
                <a:lnTo>
                  <a:pt x="457" y="1516"/>
                </a:lnTo>
                <a:lnTo>
                  <a:pt x="449" y="1507"/>
                </a:lnTo>
                <a:lnTo>
                  <a:pt x="445" y="1501"/>
                </a:lnTo>
                <a:lnTo>
                  <a:pt x="440" y="1488"/>
                </a:lnTo>
                <a:lnTo>
                  <a:pt x="438" y="1482"/>
                </a:lnTo>
                <a:lnTo>
                  <a:pt x="438" y="1475"/>
                </a:lnTo>
                <a:lnTo>
                  <a:pt x="438" y="1469"/>
                </a:lnTo>
                <a:lnTo>
                  <a:pt x="440" y="1463"/>
                </a:lnTo>
                <a:lnTo>
                  <a:pt x="445" y="1454"/>
                </a:lnTo>
                <a:lnTo>
                  <a:pt x="449" y="1446"/>
                </a:lnTo>
                <a:lnTo>
                  <a:pt x="459" y="1431"/>
                </a:lnTo>
                <a:lnTo>
                  <a:pt x="478" y="1410"/>
                </a:lnTo>
                <a:lnTo>
                  <a:pt x="521" y="1363"/>
                </a:lnTo>
                <a:lnTo>
                  <a:pt x="527" y="1363"/>
                </a:lnTo>
                <a:lnTo>
                  <a:pt x="533" y="1365"/>
                </a:lnTo>
                <a:lnTo>
                  <a:pt x="538" y="1369"/>
                </a:lnTo>
                <a:lnTo>
                  <a:pt x="542" y="1376"/>
                </a:lnTo>
                <a:lnTo>
                  <a:pt x="544" y="1382"/>
                </a:lnTo>
                <a:lnTo>
                  <a:pt x="542" y="1389"/>
                </a:lnTo>
                <a:lnTo>
                  <a:pt x="540" y="1391"/>
                </a:lnTo>
                <a:lnTo>
                  <a:pt x="538" y="1395"/>
                </a:lnTo>
                <a:lnTo>
                  <a:pt x="508" y="1429"/>
                </a:lnTo>
                <a:lnTo>
                  <a:pt x="491" y="1450"/>
                </a:lnTo>
                <a:lnTo>
                  <a:pt x="476" y="1465"/>
                </a:lnTo>
                <a:lnTo>
                  <a:pt x="474" y="1469"/>
                </a:lnTo>
                <a:lnTo>
                  <a:pt x="474" y="1473"/>
                </a:lnTo>
                <a:lnTo>
                  <a:pt x="474" y="1480"/>
                </a:lnTo>
                <a:lnTo>
                  <a:pt x="478" y="1484"/>
                </a:lnTo>
                <a:lnTo>
                  <a:pt x="489" y="1496"/>
                </a:lnTo>
                <a:lnTo>
                  <a:pt x="506" y="1516"/>
                </a:lnTo>
                <a:lnTo>
                  <a:pt x="525" y="1535"/>
                </a:lnTo>
                <a:lnTo>
                  <a:pt x="544" y="1551"/>
                </a:lnTo>
                <a:lnTo>
                  <a:pt x="546" y="1556"/>
                </a:lnTo>
                <a:lnTo>
                  <a:pt x="546" y="1558"/>
                </a:lnTo>
                <a:lnTo>
                  <a:pt x="546" y="1562"/>
                </a:lnTo>
                <a:lnTo>
                  <a:pt x="544" y="1564"/>
                </a:lnTo>
                <a:lnTo>
                  <a:pt x="540" y="1571"/>
                </a:lnTo>
                <a:lnTo>
                  <a:pt x="531" y="1577"/>
                </a:lnTo>
                <a:lnTo>
                  <a:pt x="529" y="1577"/>
                </a:lnTo>
                <a:lnTo>
                  <a:pt x="525" y="1579"/>
                </a:lnTo>
                <a:close/>
                <a:moveTo>
                  <a:pt x="313" y="2119"/>
                </a:moveTo>
                <a:lnTo>
                  <a:pt x="324" y="2115"/>
                </a:lnTo>
                <a:lnTo>
                  <a:pt x="332" y="2108"/>
                </a:lnTo>
                <a:lnTo>
                  <a:pt x="343" y="2102"/>
                </a:lnTo>
                <a:lnTo>
                  <a:pt x="351" y="2093"/>
                </a:lnTo>
                <a:lnTo>
                  <a:pt x="358" y="2083"/>
                </a:lnTo>
                <a:lnTo>
                  <a:pt x="366" y="2072"/>
                </a:lnTo>
                <a:lnTo>
                  <a:pt x="373" y="2062"/>
                </a:lnTo>
                <a:lnTo>
                  <a:pt x="379" y="2049"/>
                </a:lnTo>
                <a:lnTo>
                  <a:pt x="383" y="2036"/>
                </a:lnTo>
                <a:lnTo>
                  <a:pt x="387" y="2023"/>
                </a:lnTo>
                <a:lnTo>
                  <a:pt x="394" y="1996"/>
                </a:lnTo>
                <a:lnTo>
                  <a:pt x="398" y="1971"/>
                </a:lnTo>
                <a:lnTo>
                  <a:pt x="398" y="1947"/>
                </a:lnTo>
                <a:lnTo>
                  <a:pt x="400" y="1943"/>
                </a:lnTo>
                <a:lnTo>
                  <a:pt x="402" y="1941"/>
                </a:lnTo>
                <a:lnTo>
                  <a:pt x="406" y="1939"/>
                </a:lnTo>
                <a:lnTo>
                  <a:pt x="411" y="1939"/>
                </a:lnTo>
                <a:lnTo>
                  <a:pt x="419" y="1941"/>
                </a:lnTo>
                <a:lnTo>
                  <a:pt x="423" y="1943"/>
                </a:lnTo>
                <a:lnTo>
                  <a:pt x="425" y="1945"/>
                </a:lnTo>
                <a:lnTo>
                  <a:pt x="430" y="1954"/>
                </a:lnTo>
                <a:lnTo>
                  <a:pt x="432" y="1958"/>
                </a:lnTo>
                <a:lnTo>
                  <a:pt x="432" y="1964"/>
                </a:lnTo>
                <a:lnTo>
                  <a:pt x="430" y="1981"/>
                </a:lnTo>
                <a:lnTo>
                  <a:pt x="430" y="1998"/>
                </a:lnTo>
                <a:lnTo>
                  <a:pt x="425" y="2015"/>
                </a:lnTo>
                <a:lnTo>
                  <a:pt x="423" y="2030"/>
                </a:lnTo>
                <a:lnTo>
                  <a:pt x="417" y="2047"/>
                </a:lnTo>
                <a:lnTo>
                  <a:pt x="413" y="2059"/>
                </a:lnTo>
                <a:lnTo>
                  <a:pt x="406" y="2074"/>
                </a:lnTo>
                <a:lnTo>
                  <a:pt x="400" y="2087"/>
                </a:lnTo>
                <a:lnTo>
                  <a:pt x="392" y="2100"/>
                </a:lnTo>
                <a:lnTo>
                  <a:pt x="383" y="2110"/>
                </a:lnTo>
                <a:lnTo>
                  <a:pt x="373" y="2121"/>
                </a:lnTo>
                <a:lnTo>
                  <a:pt x="364" y="2129"/>
                </a:lnTo>
                <a:lnTo>
                  <a:pt x="354" y="2138"/>
                </a:lnTo>
                <a:lnTo>
                  <a:pt x="341" y="2144"/>
                </a:lnTo>
                <a:lnTo>
                  <a:pt x="330" y="2150"/>
                </a:lnTo>
                <a:lnTo>
                  <a:pt x="318" y="2153"/>
                </a:lnTo>
                <a:lnTo>
                  <a:pt x="313" y="2119"/>
                </a:lnTo>
                <a:close/>
                <a:moveTo>
                  <a:pt x="286" y="1935"/>
                </a:moveTo>
                <a:lnTo>
                  <a:pt x="301" y="1935"/>
                </a:lnTo>
                <a:lnTo>
                  <a:pt x="313" y="1935"/>
                </a:lnTo>
                <a:lnTo>
                  <a:pt x="318" y="1937"/>
                </a:lnTo>
                <a:lnTo>
                  <a:pt x="324" y="1939"/>
                </a:lnTo>
                <a:lnTo>
                  <a:pt x="332" y="1943"/>
                </a:lnTo>
                <a:lnTo>
                  <a:pt x="341" y="1949"/>
                </a:lnTo>
                <a:lnTo>
                  <a:pt x="345" y="1958"/>
                </a:lnTo>
                <a:lnTo>
                  <a:pt x="351" y="1968"/>
                </a:lnTo>
                <a:lnTo>
                  <a:pt x="354" y="1979"/>
                </a:lnTo>
                <a:lnTo>
                  <a:pt x="354" y="1992"/>
                </a:lnTo>
                <a:lnTo>
                  <a:pt x="354" y="2002"/>
                </a:lnTo>
                <a:lnTo>
                  <a:pt x="351" y="2007"/>
                </a:lnTo>
                <a:lnTo>
                  <a:pt x="349" y="2013"/>
                </a:lnTo>
                <a:lnTo>
                  <a:pt x="347" y="2017"/>
                </a:lnTo>
                <a:lnTo>
                  <a:pt x="345" y="2023"/>
                </a:lnTo>
                <a:lnTo>
                  <a:pt x="339" y="2032"/>
                </a:lnTo>
                <a:lnTo>
                  <a:pt x="332" y="2040"/>
                </a:lnTo>
                <a:lnTo>
                  <a:pt x="324" y="2049"/>
                </a:lnTo>
                <a:lnTo>
                  <a:pt x="313" y="2055"/>
                </a:lnTo>
                <a:lnTo>
                  <a:pt x="305" y="2062"/>
                </a:lnTo>
                <a:lnTo>
                  <a:pt x="298" y="2023"/>
                </a:lnTo>
                <a:lnTo>
                  <a:pt x="309" y="2015"/>
                </a:lnTo>
                <a:lnTo>
                  <a:pt x="315" y="2007"/>
                </a:lnTo>
                <a:lnTo>
                  <a:pt x="322" y="1996"/>
                </a:lnTo>
                <a:lnTo>
                  <a:pt x="322" y="1985"/>
                </a:lnTo>
                <a:lnTo>
                  <a:pt x="322" y="1981"/>
                </a:lnTo>
                <a:lnTo>
                  <a:pt x="322" y="1977"/>
                </a:lnTo>
                <a:lnTo>
                  <a:pt x="320" y="1973"/>
                </a:lnTo>
                <a:lnTo>
                  <a:pt x="315" y="1971"/>
                </a:lnTo>
                <a:lnTo>
                  <a:pt x="313" y="1966"/>
                </a:lnTo>
                <a:lnTo>
                  <a:pt x="309" y="1966"/>
                </a:lnTo>
                <a:lnTo>
                  <a:pt x="298" y="1964"/>
                </a:lnTo>
                <a:lnTo>
                  <a:pt x="290" y="1964"/>
                </a:lnTo>
                <a:lnTo>
                  <a:pt x="286" y="1935"/>
                </a:lnTo>
                <a:close/>
                <a:moveTo>
                  <a:pt x="525" y="2153"/>
                </a:moveTo>
                <a:lnTo>
                  <a:pt x="519" y="2150"/>
                </a:lnTo>
                <a:lnTo>
                  <a:pt x="512" y="2144"/>
                </a:lnTo>
                <a:lnTo>
                  <a:pt x="495" y="2129"/>
                </a:lnTo>
                <a:lnTo>
                  <a:pt x="474" y="2110"/>
                </a:lnTo>
                <a:lnTo>
                  <a:pt x="457" y="2089"/>
                </a:lnTo>
                <a:lnTo>
                  <a:pt x="449" y="2081"/>
                </a:lnTo>
                <a:lnTo>
                  <a:pt x="445" y="2074"/>
                </a:lnTo>
                <a:lnTo>
                  <a:pt x="440" y="2062"/>
                </a:lnTo>
                <a:lnTo>
                  <a:pt x="438" y="2055"/>
                </a:lnTo>
                <a:lnTo>
                  <a:pt x="438" y="2051"/>
                </a:lnTo>
                <a:lnTo>
                  <a:pt x="438" y="2043"/>
                </a:lnTo>
                <a:lnTo>
                  <a:pt x="440" y="2036"/>
                </a:lnTo>
                <a:lnTo>
                  <a:pt x="445" y="2028"/>
                </a:lnTo>
                <a:lnTo>
                  <a:pt x="449" y="2019"/>
                </a:lnTo>
                <a:lnTo>
                  <a:pt x="459" y="2004"/>
                </a:lnTo>
                <a:lnTo>
                  <a:pt x="478" y="1985"/>
                </a:lnTo>
                <a:lnTo>
                  <a:pt x="521" y="1937"/>
                </a:lnTo>
                <a:lnTo>
                  <a:pt x="527" y="1937"/>
                </a:lnTo>
                <a:lnTo>
                  <a:pt x="533" y="1941"/>
                </a:lnTo>
                <a:lnTo>
                  <a:pt x="538" y="1945"/>
                </a:lnTo>
                <a:lnTo>
                  <a:pt x="542" y="1949"/>
                </a:lnTo>
                <a:lnTo>
                  <a:pt x="544" y="1956"/>
                </a:lnTo>
                <a:lnTo>
                  <a:pt x="542" y="1962"/>
                </a:lnTo>
                <a:lnTo>
                  <a:pt x="540" y="1966"/>
                </a:lnTo>
                <a:lnTo>
                  <a:pt x="538" y="1968"/>
                </a:lnTo>
                <a:lnTo>
                  <a:pt x="508" y="2002"/>
                </a:lnTo>
                <a:lnTo>
                  <a:pt x="491" y="2023"/>
                </a:lnTo>
                <a:lnTo>
                  <a:pt x="476" y="2038"/>
                </a:lnTo>
                <a:lnTo>
                  <a:pt x="474" y="2045"/>
                </a:lnTo>
                <a:lnTo>
                  <a:pt x="474" y="2049"/>
                </a:lnTo>
                <a:lnTo>
                  <a:pt x="474" y="2053"/>
                </a:lnTo>
                <a:lnTo>
                  <a:pt x="478" y="2059"/>
                </a:lnTo>
                <a:lnTo>
                  <a:pt x="489" y="2072"/>
                </a:lnTo>
                <a:lnTo>
                  <a:pt x="506" y="2089"/>
                </a:lnTo>
                <a:lnTo>
                  <a:pt x="525" y="2108"/>
                </a:lnTo>
                <a:lnTo>
                  <a:pt x="544" y="2127"/>
                </a:lnTo>
                <a:lnTo>
                  <a:pt x="546" y="2129"/>
                </a:lnTo>
                <a:lnTo>
                  <a:pt x="546" y="2131"/>
                </a:lnTo>
                <a:lnTo>
                  <a:pt x="546" y="2136"/>
                </a:lnTo>
                <a:lnTo>
                  <a:pt x="544" y="2140"/>
                </a:lnTo>
                <a:lnTo>
                  <a:pt x="540" y="2146"/>
                </a:lnTo>
                <a:lnTo>
                  <a:pt x="531" y="2150"/>
                </a:lnTo>
                <a:lnTo>
                  <a:pt x="529" y="2153"/>
                </a:lnTo>
                <a:lnTo>
                  <a:pt x="525" y="2153"/>
                </a:lnTo>
                <a:close/>
                <a:moveTo>
                  <a:pt x="2576" y="991"/>
                </a:moveTo>
                <a:lnTo>
                  <a:pt x="2566" y="991"/>
                </a:lnTo>
                <a:lnTo>
                  <a:pt x="2557" y="988"/>
                </a:lnTo>
                <a:lnTo>
                  <a:pt x="2549" y="986"/>
                </a:lnTo>
                <a:lnTo>
                  <a:pt x="2540" y="982"/>
                </a:lnTo>
                <a:lnTo>
                  <a:pt x="2532" y="978"/>
                </a:lnTo>
                <a:lnTo>
                  <a:pt x="2525" y="972"/>
                </a:lnTo>
                <a:lnTo>
                  <a:pt x="2517" y="965"/>
                </a:lnTo>
                <a:lnTo>
                  <a:pt x="2511" y="959"/>
                </a:lnTo>
                <a:lnTo>
                  <a:pt x="2506" y="952"/>
                </a:lnTo>
                <a:lnTo>
                  <a:pt x="2500" y="944"/>
                </a:lnTo>
                <a:lnTo>
                  <a:pt x="2491" y="925"/>
                </a:lnTo>
                <a:lnTo>
                  <a:pt x="2489" y="917"/>
                </a:lnTo>
                <a:lnTo>
                  <a:pt x="2487" y="906"/>
                </a:lnTo>
                <a:lnTo>
                  <a:pt x="2485" y="895"/>
                </a:lnTo>
                <a:lnTo>
                  <a:pt x="2485" y="885"/>
                </a:lnTo>
                <a:lnTo>
                  <a:pt x="2485" y="872"/>
                </a:lnTo>
                <a:lnTo>
                  <a:pt x="2487" y="861"/>
                </a:lnTo>
                <a:lnTo>
                  <a:pt x="2489" y="851"/>
                </a:lnTo>
                <a:lnTo>
                  <a:pt x="2491" y="840"/>
                </a:lnTo>
                <a:lnTo>
                  <a:pt x="2496" y="830"/>
                </a:lnTo>
                <a:lnTo>
                  <a:pt x="2502" y="821"/>
                </a:lnTo>
                <a:lnTo>
                  <a:pt x="2506" y="811"/>
                </a:lnTo>
                <a:lnTo>
                  <a:pt x="2513" y="802"/>
                </a:lnTo>
                <a:lnTo>
                  <a:pt x="2519" y="796"/>
                </a:lnTo>
                <a:lnTo>
                  <a:pt x="2527" y="790"/>
                </a:lnTo>
                <a:lnTo>
                  <a:pt x="2536" y="783"/>
                </a:lnTo>
                <a:lnTo>
                  <a:pt x="2544" y="777"/>
                </a:lnTo>
                <a:lnTo>
                  <a:pt x="2553" y="773"/>
                </a:lnTo>
                <a:lnTo>
                  <a:pt x="2561" y="770"/>
                </a:lnTo>
                <a:lnTo>
                  <a:pt x="2572" y="768"/>
                </a:lnTo>
                <a:lnTo>
                  <a:pt x="2580" y="768"/>
                </a:lnTo>
                <a:lnTo>
                  <a:pt x="2593" y="768"/>
                </a:lnTo>
                <a:lnTo>
                  <a:pt x="2599" y="770"/>
                </a:lnTo>
                <a:lnTo>
                  <a:pt x="2604" y="773"/>
                </a:lnTo>
                <a:lnTo>
                  <a:pt x="2612" y="777"/>
                </a:lnTo>
                <a:lnTo>
                  <a:pt x="2621" y="785"/>
                </a:lnTo>
                <a:lnTo>
                  <a:pt x="2627" y="792"/>
                </a:lnTo>
                <a:lnTo>
                  <a:pt x="2631" y="802"/>
                </a:lnTo>
                <a:lnTo>
                  <a:pt x="2633" y="813"/>
                </a:lnTo>
                <a:lnTo>
                  <a:pt x="2635" y="825"/>
                </a:lnTo>
                <a:lnTo>
                  <a:pt x="2635" y="832"/>
                </a:lnTo>
                <a:lnTo>
                  <a:pt x="2633" y="840"/>
                </a:lnTo>
                <a:lnTo>
                  <a:pt x="2631" y="847"/>
                </a:lnTo>
                <a:lnTo>
                  <a:pt x="2627" y="855"/>
                </a:lnTo>
                <a:lnTo>
                  <a:pt x="2625" y="861"/>
                </a:lnTo>
                <a:lnTo>
                  <a:pt x="2621" y="868"/>
                </a:lnTo>
                <a:lnTo>
                  <a:pt x="2610" y="878"/>
                </a:lnTo>
                <a:lnTo>
                  <a:pt x="2604" y="885"/>
                </a:lnTo>
                <a:lnTo>
                  <a:pt x="2597" y="889"/>
                </a:lnTo>
                <a:lnTo>
                  <a:pt x="2582" y="895"/>
                </a:lnTo>
                <a:lnTo>
                  <a:pt x="2576" y="900"/>
                </a:lnTo>
                <a:lnTo>
                  <a:pt x="2568" y="902"/>
                </a:lnTo>
                <a:lnTo>
                  <a:pt x="2553" y="902"/>
                </a:lnTo>
                <a:lnTo>
                  <a:pt x="2546" y="902"/>
                </a:lnTo>
                <a:lnTo>
                  <a:pt x="2544" y="900"/>
                </a:lnTo>
                <a:lnTo>
                  <a:pt x="2542" y="897"/>
                </a:lnTo>
                <a:lnTo>
                  <a:pt x="2540" y="893"/>
                </a:lnTo>
                <a:lnTo>
                  <a:pt x="2538" y="891"/>
                </a:lnTo>
                <a:lnTo>
                  <a:pt x="2536" y="883"/>
                </a:lnTo>
                <a:lnTo>
                  <a:pt x="2538" y="876"/>
                </a:lnTo>
                <a:lnTo>
                  <a:pt x="2538" y="874"/>
                </a:lnTo>
                <a:lnTo>
                  <a:pt x="2540" y="874"/>
                </a:lnTo>
                <a:lnTo>
                  <a:pt x="2555" y="870"/>
                </a:lnTo>
                <a:lnTo>
                  <a:pt x="2566" y="866"/>
                </a:lnTo>
                <a:lnTo>
                  <a:pt x="2576" y="859"/>
                </a:lnTo>
                <a:lnTo>
                  <a:pt x="2587" y="853"/>
                </a:lnTo>
                <a:lnTo>
                  <a:pt x="2593" y="845"/>
                </a:lnTo>
                <a:lnTo>
                  <a:pt x="2595" y="842"/>
                </a:lnTo>
                <a:lnTo>
                  <a:pt x="2599" y="838"/>
                </a:lnTo>
                <a:lnTo>
                  <a:pt x="2602" y="830"/>
                </a:lnTo>
                <a:lnTo>
                  <a:pt x="2604" y="821"/>
                </a:lnTo>
                <a:lnTo>
                  <a:pt x="2604" y="815"/>
                </a:lnTo>
                <a:lnTo>
                  <a:pt x="2602" y="811"/>
                </a:lnTo>
                <a:lnTo>
                  <a:pt x="2599" y="806"/>
                </a:lnTo>
                <a:lnTo>
                  <a:pt x="2597" y="804"/>
                </a:lnTo>
                <a:lnTo>
                  <a:pt x="2593" y="802"/>
                </a:lnTo>
                <a:lnTo>
                  <a:pt x="2589" y="800"/>
                </a:lnTo>
                <a:lnTo>
                  <a:pt x="2578" y="798"/>
                </a:lnTo>
                <a:lnTo>
                  <a:pt x="2568" y="800"/>
                </a:lnTo>
                <a:lnTo>
                  <a:pt x="2563" y="802"/>
                </a:lnTo>
                <a:lnTo>
                  <a:pt x="2557" y="804"/>
                </a:lnTo>
                <a:lnTo>
                  <a:pt x="2553" y="809"/>
                </a:lnTo>
                <a:lnTo>
                  <a:pt x="2546" y="813"/>
                </a:lnTo>
                <a:lnTo>
                  <a:pt x="2538" y="823"/>
                </a:lnTo>
                <a:lnTo>
                  <a:pt x="2534" y="830"/>
                </a:lnTo>
                <a:lnTo>
                  <a:pt x="2530" y="836"/>
                </a:lnTo>
                <a:lnTo>
                  <a:pt x="2523" y="849"/>
                </a:lnTo>
                <a:lnTo>
                  <a:pt x="2519" y="866"/>
                </a:lnTo>
                <a:lnTo>
                  <a:pt x="2519" y="874"/>
                </a:lnTo>
                <a:lnTo>
                  <a:pt x="2519" y="883"/>
                </a:lnTo>
                <a:lnTo>
                  <a:pt x="2519" y="897"/>
                </a:lnTo>
                <a:lnTo>
                  <a:pt x="2521" y="904"/>
                </a:lnTo>
                <a:lnTo>
                  <a:pt x="2523" y="912"/>
                </a:lnTo>
                <a:lnTo>
                  <a:pt x="2527" y="923"/>
                </a:lnTo>
                <a:lnTo>
                  <a:pt x="2534" y="933"/>
                </a:lnTo>
                <a:lnTo>
                  <a:pt x="2542" y="942"/>
                </a:lnTo>
                <a:lnTo>
                  <a:pt x="2549" y="946"/>
                </a:lnTo>
                <a:lnTo>
                  <a:pt x="2553" y="948"/>
                </a:lnTo>
                <a:lnTo>
                  <a:pt x="2563" y="952"/>
                </a:lnTo>
                <a:lnTo>
                  <a:pt x="2570" y="955"/>
                </a:lnTo>
                <a:lnTo>
                  <a:pt x="2576" y="955"/>
                </a:lnTo>
                <a:lnTo>
                  <a:pt x="2589" y="952"/>
                </a:lnTo>
                <a:lnTo>
                  <a:pt x="2602" y="950"/>
                </a:lnTo>
                <a:lnTo>
                  <a:pt x="2606" y="946"/>
                </a:lnTo>
                <a:lnTo>
                  <a:pt x="2612" y="944"/>
                </a:lnTo>
                <a:lnTo>
                  <a:pt x="2623" y="936"/>
                </a:lnTo>
                <a:lnTo>
                  <a:pt x="2631" y="927"/>
                </a:lnTo>
                <a:lnTo>
                  <a:pt x="2640" y="917"/>
                </a:lnTo>
                <a:lnTo>
                  <a:pt x="2648" y="906"/>
                </a:lnTo>
                <a:lnTo>
                  <a:pt x="2654" y="893"/>
                </a:lnTo>
                <a:lnTo>
                  <a:pt x="2661" y="878"/>
                </a:lnTo>
                <a:lnTo>
                  <a:pt x="2667" y="864"/>
                </a:lnTo>
                <a:lnTo>
                  <a:pt x="2671" y="851"/>
                </a:lnTo>
                <a:lnTo>
                  <a:pt x="2673" y="836"/>
                </a:lnTo>
                <a:lnTo>
                  <a:pt x="2676" y="821"/>
                </a:lnTo>
                <a:lnTo>
                  <a:pt x="2678" y="806"/>
                </a:lnTo>
                <a:lnTo>
                  <a:pt x="2678" y="794"/>
                </a:lnTo>
                <a:lnTo>
                  <a:pt x="2678" y="781"/>
                </a:lnTo>
                <a:lnTo>
                  <a:pt x="2680" y="777"/>
                </a:lnTo>
                <a:lnTo>
                  <a:pt x="2682" y="775"/>
                </a:lnTo>
                <a:lnTo>
                  <a:pt x="2686" y="775"/>
                </a:lnTo>
                <a:lnTo>
                  <a:pt x="2693" y="773"/>
                </a:lnTo>
                <a:lnTo>
                  <a:pt x="2701" y="775"/>
                </a:lnTo>
                <a:lnTo>
                  <a:pt x="2703" y="777"/>
                </a:lnTo>
                <a:lnTo>
                  <a:pt x="2707" y="779"/>
                </a:lnTo>
                <a:lnTo>
                  <a:pt x="2712" y="787"/>
                </a:lnTo>
                <a:lnTo>
                  <a:pt x="2712" y="792"/>
                </a:lnTo>
                <a:lnTo>
                  <a:pt x="2712" y="800"/>
                </a:lnTo>
                <a:lnTo>
                  <a:pt x="2712" y="817"/>
                </a:lnTo>
                <a:lnTo>
                  <a:pt x="2709" y="836"/>
                </a:lnTo>
                <a:lnTo>
                  <a:pt x="2705" y="855"/>
                </a:lnTo>
                <a:lnTo>
                  <a:pt x="2701" y="872"/>
                </a:lnTo>
                <a:lnTo>
                  <a:pt x="2697" y="889"/>
                </a:lnTo>
                <a:lnTo>
                  <a:pt x="2688" y="904"/>
                </a:lnTo>
                <a:lnTo>
                  <a:pt x="2682" y="919"/>
                </a:lnTo>
                <a:lnTo>
                  <a:pt x="2673" y="933"/>
                </a:lnTo>
                <a:lnTo>
                  <a:pt x="2663" y="944"/>
                </a:lnTo>
                <a:lnTo>
                  <a:pt x="2659" y="950"/>
                </a:lnTo>
                <a:lnTo>
                  <a:pt x="2652" y="957"/>
                </a:lnTo>
                <a:lnTo>
                  <a:pt x="2642" y="965"/>
                </a:lnTo>
                <a:lnTo>
                  <a:pt x="2631" y="974"/>
                </a:lnTo>
                <a:lnTo>
                  <a:pt x="2618" y="982"/>
                </a:lnTo>
                <a:lnTo>
                  <a:pt x="2604" y="986"/>
                </a:lnTo>
                <a:lnTo>
                  <a:pt x="2591" y="988"/>
                </a:lnTo>
                <a:lnTo>
                  <a:pt x="2576" y="991"/>
                </a:lnTo>
                <a:close/>
                <a:moveTo>
                  <a:pt x="2807" y="986"/>
                </a:moveTo>
                <a:lnTo>
                  <a:pt x="2801" y="984"/>
                </a:lnTo>
                <a:lnTo>
                  <a:pt x="2792" y="978"/>
                </a:lnTo>
                <a:lnTo>
                  <a:pt x="2775" y="963"/>
                </a:lnTo>
                <a:lnTo>
                  <a:pt x="2756" y="944"/>
                </a:lnTo>
                <a:lnTo>
                  <a:pt x="2737" y="923"/>
                </a:lnTo>
                <a:lnTo>
                  <a:pt x="2731" y="914"/>
                </a:lnTo>
                <a:lnTo>
                  <a:pt x="2726" y="908"/>
                </a:lnTo>
                <a:lnTo>
                  <a:pt x="2720" y="895"/>
                </a:lnTo>
                <a:lnTo>
                  <a:pt x="2718" y="889"/>
                </a:lnTo>
                <a:lnTo>
                  <a:pt x="2718" y="885"/>
                </a:lnTo>
                <a:lnTo>
                  <a:pt x="2718" y="876"/>
                </a:lnTo>
                <a:lnTo>
                  <a:pt x="2720" y="870"/>
                </a:lnTo>
                <a:lnTo>
                  <a:pt x="2724" y="861"/>
                </a:lnTo>
                <a:lnTo>
                  <a:pt x="2729" y="855"/>
                </a:lnTo>
                <a:lnTo>
                  <a:pt x="2741" y="840"/>
                </a:lnTo>
                <a:lnTo>
                  <a:pt x="2758" y="819"/>
                </a:lnTo>
                <a:lnTo>
                  <a:pt x="2801" y="770"/>
                </a:lnTo>
                <a:lnTo>
                  <a:pt x="2807" y="773"/>
                </a:lnTo>
                <a:lnTo>
                  <a:pt x="2813" y="775"/>
                </a:lnTo>
                <a:lnTo>
                  <a:pt x="2820" y="779"/>
                </a:lnTo>
                <a:lnTo>
                  <a:pt x="2822" y="783"/>
                </a:lnTo>
                <a:lnTo>
                  <a:pt x="2824" y="790"/>
                </a:lnTo>
                <a:lnTo>
                  <a:pt x="2822" y="796"/>
                </a:lnTo>
                <a:lnTo>
                  <a:pt x="2822" y="800"/>
                </a:lnTo>
                <a:lnTo>
                  <a:pt x="2817" y="802"/>
                </a:lnTo>
                <a:lnTo>
                  <a:pt x="2788" y="838"/>
                </a:lnTo>
                <a:lnTo>
                  <a:pt x="2771" y="857"/>
                </a:lnTo>
                <a:lnTo>
                  <a:pt x="2758" y="874"/>
                </a:lnTo>
                <a:lnTo>
                  <a:pt x="2756" y="878"/>
                </a:lnTo>
                <a:lnTo>
                  <a:pt x="2754" y="883"/>
                </a:lnTo>
                <a:lnTo>
                  <a:pt x="2756" y="887"/>
                </a:lnTo>
                <a:lnTo>
                  <a:pt x="2758" y="893"/>
                </a:lnTo>
                <a:lnTo>
                  <a:pt x="2769" y="906"/>
                </a:lnTo>
                <a:lnTo>
                  <a:pt x="2786" y="923"/>
                </a:lnTo>
                <a:lnTo>
                  <a:pt x="2805" y="942"/>
                </a:lnTo>
                <a:lnTo>
                  <a:pt x="2824" y="961"/>
                </a:lnTo>
                <a:lnTo>
                  <a:pt x="2826" y="963"/>
                </a:lnTo>
                <a:lnTo>
                  <a:pt x="2828" y="967"/>
                </a:lnTo>
                <a:lnTo>
                  <a:pt x="2826" y="969"/>
                </a:lnTo>
                <a:lnTo>
                  <a:pt x="2826" y="974"/>
                </a:lnTo>
                <a:lnTo>
                  <a:pt x="2820" y="980"/>
                </a:lnTo>
                <a:lnTo>
                  <a:pt x="2813" y="984"/>
                </a:lnTo>
                <a:lnTo>
                  <a:pt x="2809" y="986"/>
                </a:lnTo>
                <a:lnTo>
                  <a:pt x="2807" y="986"/>
                </a:lnTo>
                <a:close/>
                <a:moveTo>
                  <a:pt x="2576" y="1581"/>
                </a:moveTo>
                <a:lnTo>
                  <a:pt x="2566" y="1581"/>
                </a:lnTo>
                <a:lnTo>
                  <a:pt x="2557" y="1579"/>
                </a:lnTo>
                <a:lnTo>
                  <a:pt x="2549" y="1577"/>
                </a:lnTo>
                <a:lnTo>
                  <a:pt x="2540" y="1573"/>
                </a:lnTo>
                <a:lnTo>
                  <a:pt x="2532" y="1568"/>
                </a:lnTo>
                <a:lnTo>
                  <a:pt x="2525" y="1564"/>
                </a:lnTo>
                <a:lnTo>
                  <a:pt x="2517" y="1558"/>
                </a:lnTo>
                <a:lnTo>
                  <a:pt x="2511" y="1551"/>
                </a:lnTo>
                <a:lnTo>
                  <a:pt x="2506" y="1543"/>
                </a:lnTo>
                <a:lnTo>
                  <a:pt x="2500" y="1535"/>
                </a:lnTo>
                <a:lnTo>
                  <a:pt x="2491" y="1518"/>
                </a:lnTo>
                <a:lnTo>
                  <a:pt x="2489" y="1507"/>
                </a:lnTo>
                <a:lnTo>
                  <a:pt x="2487" y="1496"/>
                </a:lnTo>
                <a:lnTo>
                  <a:pt x="2485" y="1486"/>
                </a:lnTo>
                <a:lnTo>
                  <a:pt x="2485" y="1475"/>
                </a:lnTo>
                <a:lnTo>
                  <a:pt x="2485" y="1465"/>
                </a:lnTo>
                <a:lnTo>
                  <a:pt x="2487" y="1454"/>
                </a:lnTo>
                <a:lnTo>
                  <a:pt x="2489" y="1444"/>
                </a:lnTo>
                <a:lnTo>
                  <a:pt x="2491" y="1433"/>
                </a:lnTo>
                <a:lnTo>
                  <a:pt x="2496" y="1422"/>
                </a:lnTo>
                <a:lnTo>
                  <a:pt x="2502" y="1412"/>
                </a:lnTo>
                <a:lnTo>
                  <a:pt x="2506" y="1403"/>
                </a:lnTo>
                <a:lnTo>
                  <a:pt x="2513" y="1395"/>
                </a:lnTo>
                <a:lnTo>
                  <a:pt x="2519" y="1386"/>
                </a:lnTo>
                <a:lnTo>
                  <a:pt x="2527" y="1380"/>
                </a:lnTo>
                <a:lnTo>
                  <a:pt x="2536" y="1374"/>
                </a:lnTo>
                <a:lnTo>
                  <a:pt x="2544" y="1369"/>
                </a:lnTo>
                <a:lnTo>
                  <a:pt x="2553" y="1365"/>
                </a:lnTo>
                <a:lnTo>
                  <a:pt x="2561" y="1361"/>
                </a:lnTo>
                <a:lnTo>
                  <a:pt x="2572" y="1361"/>
                </a:lnTo>
                <a:lnTo>
                  <a:pt x="2580" y="1359"/>
                </a:lnTo>
                <a:lnTo>
                  <a:pt x="2593" y="1361"/>
                </a:lnTo>
                <a:lnTo>
                  <a:pt x="2599" y="1361"/>
                </a:lnTo>
                <a:lnTo>
                  <a:pt x="2604" y="1363"/>
                </a:lnTo>
                <a:lnTo>
                  <a:pt x="2612" y="1369"/>
                </a:lnTo>
                <a:lnTo>
                  <a:pt x="2621" y="1376"/>
                </a:lnTo>
                <a:lnTo>
                  <a:pt x="2627" y="1384"/>
                </a:lnTo>
                <a:lnTo>
                  <a:pt x="2631" y="1395"/>
                </a:lnTo>
                <a:lnTo>
                  <a:pt x="2633" y="1405"/>
                </a:lnTo>
                <a:lnTo>
                  <a:pt x="2635" y="1416"/>
                </a:lnTo>
                <a:lnTo>
                  <a:pt x="2635" y="1424"/>
                </a:lnTo>
                <a:lnTo>
                  <a:pt x="2633" y="1431"/>
                </a:lnTo>
                <a:lnTo>
                  <a:pt x="2631" y="1439"/>
                </a:lnTo>
                <a:lnTo>
                  <a:pt x="2627" y="1446"/>
                </a:lnTo>
                <a:lnTo>
                  <a:pt x="2625" y="1452"/>
                </a:lnTo>
                <a:lnTo>
                  <a:pt x="2621" y="1458"/>
                </a:lnTo>
                <a:lnTo>
                  <a:pt x="2610" y="1471"/>
                </a:lnTo>
                <a:lnTo>
                  <a:pt x="2604" y="1475"/>
                </a:lnTo>
                <a:lnTo>
                  <a:pt x="2597" y="1480"/>
                </a:lnTo>
                <a:lnTo>
                  <a:pt x="2582" y="1488"/>
                </a:lnTo>
                <a:lnTo>
                  <a:pt x="2576" y="1490"/>
                </a:lnTo>
                <a:lnTo>
                  <a:pt x="2568" y="1492"/>
                </a:lnTo>
                <a:lnTo>
                  <a:pt x="2553" y="1494"/>
                </a:lnTo>
                <a:lnTo>
                  <a:pt x="2546" y="1492"/>
                </a:lnTo>
                <a:lnTo>
                  <a:pt x="2544" y="1490"/>
                </a:lnTo>
                <a:lnTo>
                  <a:pt x="2542" y="1488"/>
                </a:lnTo>
                <a:lnTo>
                  <a:pt x="2540" y="1486"/>
                </a:lnTo>
                <a:lnTo>
                  <a:pt x="2538" y="1482"/>
                </a:lnTo>
                <a:lnTo>
                  <a:pt x="2536" y="1475"/>
                </a:lnTo>
                <a:lnTo>
                  <a:pt x="2538" y="1469"/>
                </a:lnTo>
                <a:lnTo>
                  <a:pt x="2538" y="1467"/>
                </a:lnTo>
                <a:lnTo>
                  <a:pt x="2540" y="1465"/>
                </a:lnTo>
                <a:lnTo>
                  <a:pt x="2555" y="1463"/>
                </a:lnTo>
                <a:lnTo>
                  <a:pt x="2566" y="1458"/>
                </a:lnTo>
                <a:lnTo>
                  <a:pt x="2576" y="1452"/>
                </a:lnTo>
                <a:lnTo>
                  <a:pt x="2587" y="1446"/>
                </a:lnTo>
                <a:lnTo>
                  <a:pt x="2593" y="1437"/>
                </a:lnTo>
                <a:lnTo>
                  <a:pt x="2595" y="1433"/>
                </a:lnTo>
                <a:lnTo>
                  <a:pt x="2599" y="1429"/>
                </a:lnTo>
                <a:lnTo>
                  <a:pt x="2602" y="1420"/>
                </a:lnTo>
                <a:lnTo>
                  <a:pt x="2604" y="1412"/>
                </a:lnTo>
                <a:lnTo>
                  <a:pt x="2604" y="1408"/>
                </a:lnTo>
                <a:lnTo>
                  <a:pt x="2602" y="1403"/>
                </a:lnTo>
                <a:lnTo>
                  <a:pt x="2599" y="1399"/>
                </a:lnTo>
                <a:lnTo>
                  <a:pt x="2597" y="1395"/>
                </a:lnTo>
                <a:lnTo>
                  <a:pt x="2593" y="1393"/>
                </a:lnTo>
                <a:lnTo>
                  <a:pt x="2589" y="1391"/>
                </a:lnTo>
                <a:lnTo>
                  <a:pt x="2578" y="1391"/>
                </a:lnTo>
                <a:lnTo>
                  <a:pt x="2568" y="1391"/>
                </a:lnTo>
                <a:lnTo>
                  <a:pt x="2563" y="1393"/>
                </a:lnTo>
                <a:lnTo>
                  <a:pt x="2557" y="1397"/>
                </a:lnTo>
                <a:lnTo>
                  <a:pt x="2553" y="1399"/>
                </a:lnTo>
                <a:lnTo>
                  <a:pt x="2546" y="1403"/>
                </a:lnTo>
                <a:lnTo>
                  <a:pt x="2538" y="1414"/>
                </a:lnTo>
                <a:lnTo>
                  <a:pt x="2534" y="1420"/>
                </a:lnTo>
                <a:lnTo>
                  <a:pt x="2530" y="1427"/>
                </a:lnTo>
                <a:lnTo>
                  <a:pt x="2523" y="1441"/>
                </a:lnTo>
                <a:lnTo>
                  <a:pt x="2519" y="1456"/>
                </a:lnTo>
                <a:lnTo>
                  <a:pt x="2519" y="1465"/>
                </a:lnTo>
                <a:lnTo>
                  <a:pt x="2519" y="1473"/>
                </a:lnTo>
                <a:lnTo>
                  <a:pt x="2519" y="1490"/>
                </a:lnTo>
                <a:lnTo>
                  <a:pt x="2521" y="1496"/>
                </a:lnTo>
                <a:lnTo>
                  <a:pt x="2523" y="1503"/>
                </a:lnTo>
                <a:lnTo>
                  <a:pt x="2527" y="1516"/>
                </a:lnTo>
                <a:lnTo>
                  <a:pt x="2534" y="1526"/>
                </a:lnTo>
                <a:lnTo>
                  <a:pt x="2542" y="1535"/>
                </a:lnTo>
                <a:lnTo>
                  <a:pt x="2549" y="1537"/>
                </a:lnTo>
                <a:lnTo>
                  <a:pt x="2553" y="1541"/>
                </a:lnTo>
                <a:lnTo>
                  <a:pt x="2563" y="1545"/>
                </a:lnTo>
                <a:lnTo>
                  <a:pt x="2570" y="1545"/>
                </a:lnTo>
                <a:lnTo>
                  <a:pt x="2576" y="1545"/>
                </a:lnTo>
                <a:lnTo>
                  <a:pt x="2589" y="1545"/>
                </a:lnTo>
                <a:lnTo>
                  <a:pt x="2602" y="1541"/>
                </a:lnTo>
                <a:lnTo>
                  <a:pt x="2606" y="1539"/>
                </a:lnTo>
                <a:lnTo>
                  <a:pt x="2612" y="1535"/>
                </a:lnTo>
                <a:lnTo>
                  <a:pt x="2623" y="1528"/>
                </a:lnTo>
                <a:lnTo>
                  <a:pt x="2631" y="1520"/>
                </a:lnTo>
                <a:lnTo>
                  <a:pt x="2640" y="1509"/>
                </a:lnTo>
                <a:lnTo>
                  <a:pt x="2648" y="1496"/>
                </a:lnTo>
                <a:lnTo>
                  <a:pt x="2654" y="1484"/>
                </a:lnTo>
                <a:lnTo>
                  <a:pt x="2661" y="1471"/>
                </a:lnTo>
                <a:lnTo>
                  <a:pt x="2667" y="1456"/>
                </a:lnTo>
                <a:lnTo>
                  <a:pt x="2671" y="1441"/>
                </a:lnTo>
                <a:lnTo>
                  <a:pt x="2673" y="1427"/>
                </a:lnTo>
                <a:lnTo>
                  <a:pt x="2676" y="1412"/>
                </a:lnTo>
                <a:lnTo>
                  <a:pt x="2678" y="1399"/>
                </a:lnTo>
                <a:lnTo>
                  <a:pt x="2678" y="1384"/>
                </a:lnTo>
                <a:lnTo>
                  <a:pt x="2678" y="1372"/>
                </a:lnTo>
                <a:lnTo>
                  <a:pt x="2680" y="1369"/>
                </a:lnTo>
                <a:lnTo>
                  <a:pt x="2682" y="1367"/>
                </a:lnTo>
                <a:lnTo>
                  <a:pt x="2686" y="1365"/>
                </a:lnTo>
                <a:lnTo>
                  <a:pt x="2693" y="1365"/>
                </a:lnTo>
                <a:lnTo>
                  <a:pt x="2701" y="1365"/>
                </a:lnTo>
                <a:lnTo>
                  <a:pt x="2703" y="1367"/>
                </a:lnTo>
                <a:lnTo>
                  <a:pt x="2707" y="1369"/>
                </a:lnTo>
                <a:lnTo>
                  <a:pt x="2712" y="1378"/>
                </a:lnTo>
                <a:lnTo>
                  <a:pt x="2712" y="1384"/>
                </a:lnTo>
                <a:lnTo>
                  <a:pt x="2712" y="1391"/>
                </a:lnTo>
                <a:lnTo>
                  <a:pt x="2712" y="1410"/>
                </a:lnTo>
                <a:lnTo>
                  <a:pt x="2709" y="1429"/>
                </a:lnTo>
                <a:lnTo>
                  <a:pt x="2705" y="1446"/>
                </a:lnTo>
                <a:lnTo>
                  <a:pt x="2701" y="1463"/>
                </a:lnTo>
                <a:lnTo>
                  <a:pt x="2697" y="1480"/>
                </a:lnTo>
                <a:lnTo>
                  <a:pt x="2688" y="1496"/>
                </a:lnTo>
                <a:lnTo>
                  <a:pt x="2682" y="1511"/>
                </a:lnTo>
                <a:lnTo>
                  <a:pt x="2673" y="1524"/>
                </a:lnTo>
                <a:lnTo>
                  <a:pt x="2663" y="1537"/>
                </a:lnTo>
                <a:lnTo>
                  <a:pt x="2659" y="1543"/>
                </a:lnTo>
                <a:lnTo>
                  <a:pt x="2652" y="1547"/>
                </a:lnTo>
                <a:lnTo>
                  <a:pt x="2642" y="1558"/>
                </a:lnTo>
                <a:lnTo>
                  <a:pt x="2631" y="1566"/>
                </a:lnTo>
                <a:lnTo>
                  <a:pt x="2618" y="1573"/>
                </a:lnTo>
                <a:lnTo>
                  <a:pt x="2604" y="1577"/>
                </a:lnTo>
                <a:lnTo>
                  <a:pt x="2591" y="1581"/>
                </a:lnTo>
                <a:lnTo>
                  <a:pt x="2576" y="1581"/>
                </a:lnTo>
                <a:close/>
                <a:moveTo>
                  <a:pt x="2807" y="1579"/>
                </a:moveTo>
                <a:lnTo>
                  <a:pt x="2801" y="1577"/>
                </a:lnTo>
                <a:lnTo>
                  <a:pt x="2792" y="1571"/>
                </a:lnTo>
                <a:lnTo>
                  <a:pt x="2775" y="1556"/>
                </a:lnTo>
                <a:lnTo>
                  <a:pt x="2756" y="1535"/>
                </a:lnTo>
                <a:lnTo>
                  <a:pt x="2737" y="1516"/>
                </a:lnTo>
                <a:lnTo>
                  <a:pt x="2731" y="1507"/>
                </a:lnTo>
                <a:lnTo>
                  <a:pt x="2726" y="1501"/>
                </a:lnTo>
                <a:lnTo>
                  <a:pt x="2720" y="1488"/>
                </a:lnTo>
                <a:lnTo>
                  <a:pt x="2718" y="1482"/>
                </a:lnTo>
                <a:lnTo>
                  <a:pt x="2718" y="1475"/>
                </a:lnTo>
                <a:lnTo>
                  <a:pt x="2718" y="1469"/>
                </a:lnTo>
                <a:lnTo>
                  <a:pt x="2720" y="1463"/>
                </a:lnTo>
                <a:lnTo>
                  <a:pt x="2724" y="1454"/>
                </a:lnTo>
                <a:lnTo>
                  <a:pt x="2729" y="1446"/>
                </a:lnTo>
                <a:lnTo>
                  <a:pt x="2741" y="1431"/>
                </a:lnTo>
                <a:lnTo>
                  <a:pt x="2758" y="1410"/>
                </a:lnTo>
                <a:lnTo>
                  <a:pt x="2801" y="1363"/>
                </a:lnTo>
                <a:lnTo>
                  <a:pt x="2807" y="1363"/>
                </a:lnTo>
                <a:lnTo>
                  <a:pt x="2813" y="1365"/>
                </a:lnTo>
                <a:lnTo>
                  <a:pt x="2820" y="1369"/>
                </a:lnTo>
                <a:lnTo>
                  <a:pt x="2822" y="1376"/>
                </a:lnTo>
                <a:lnTo>
                  <a:pt x="2824" y="1382"/>
                </a:lnTo>
                <a:lnTo>
                  <a:pt x="2822" y="1389"/>
                </a:lnTo>
                <a:lnTo>
                  <a:pt x="2822" y="1391"/>
                </a:lnTo>
                <a:lnTo>
                  <a:pt x="2817" y="1395"/>
                </a:lnTo>
                <a:lnTo>
                  <a:pt x="2788" y="1429"/>
                </a:lnTo>
                <a:lnTo>
                  <a:pt x="2771" y="1450"/>
                </a:lnTo>
                <a:lnTo>
                  <a:pt x="2758" y="1465"/>
                </a:lnTo>
                <a:lnTo>
                  <a:pt x="2756" y="1469"/>
                </a:lnTo>
                <a:lnTo>
                  <a:pt x="2754" y="1473"/>
                </a:lnTo>
                <a:lnTo>
                  <a:pt x="2756" y="1480"/>
                </a:lnTo>
                <a:lnTo>
                  <a:pt x="2758" y="1484"/>
                </a:lnTo>
                <a:lnTo>
                  <a:pt x="2769" y="1496"/>
                </a:lnTo>
                <a:lnTo>
                  <a:pt x="2786" y="1516"/>
                </a:lnTo>
                <a:lnTo>
                  <a:pt x="2805" y="1535"/>
                </a:lnTo>
                <a:lnTo>
                  <a:pt x="2824" y="1551"/>
                </a:lnTo>
                <a:lnTo>
                  <a:pt x="2826" y="1556"/>
                </a:lnTo>
                <a:lnTo>
                  <a:pt x="2828" y="1558"/>
                </a:lnTo>
                <a:lnTo>
                  <a:pt x="2826" y="1562"/>
                </a:lnTo>
                <a:lnTo>
                  <a:pt x="2826" y="1564"/>
                </a:lnTo>
                <a:lnTo>
                  <a:pt x="2820" y="1571"/>
                </a:lnTo>
                <a:lnTo>
                  <a:pt x="2813" y="1577"/>
                </a:lnTo>
                <a:lnTo>
                  <a:pt x="2809" y="1577"/>
                </a:lnTo>
                <a:lnTo>
                  <a:pt x="2807" y="1579"/>
                </a:lnTo>
                <a:close/>
                <a:moveTo>
                  <a:pt x="2576" y="2157"/>
                </a:moveTo>
                <a:lnTo>
                  <a:pt x="2566" y="2155"/>
                </a:lnTo>
                <a:lnTo>
                  <a:pt x="2557" y="2155"/>
                </a:lnTo>
                <a:lnTo>
                  <a:pt x="2549" y="2150"/>
                </a:lnTo>
                <a:lnTo>
                  <a:pt x="2540" y="2148"/>
                </a:lnTo>
                <a:lnTo>
                  <a:pt x="2532" y="2144"/>
                </a:lnTo>
                <a:lnTo>
                  <a:pt x="2525" y="2138"/>
                </a:lnTo>
                <a:lnTo>
                  <a:pt x="2517" y="2131"/>
                </a:lnTo>
                <a:lnTo>
                  <a:pt x="2511" y="2125"/>
                </a:lnTo>
                <a:lnTo>
                  <a:pt x="2506" y="2119"/>
                </a:lnTo>
                <a:lnTo>
                  <a:pt x="2500" y="2110"/>
                </a:lnTo>
                <a:lnTo>
                  <a:pt x="2491" y="2091"/>
                </a:lnTo>
                <a:lnTo>
                  <a:pt x="2489" y="2083"/>
                </a:lnTo>
                <a:lnTo>
                  <a:pt x="2487" y="2072"/>
                </a:lnTo>
                <a:lnTo>
                  <a:pt x="2485" y="2062"/>
                </a:lnTo>
                <a:lnTo>
                  <a:pt x="2485" y="2051"/>
                </a:lnTo>
                <a:lnTo>
                  <a:pt x="2485" y="2038"/>
                </a:lnTo>
                <a:lnTo>
                  <a:pt x="2487" y="2028"/>
                </a:lnTo>
                <a:lnTo>
                  <a:pt x="2489" y="2017"/>
                </a:lnTo>
                <a:lnTo>
                  <a:pt x="2491" y="2007"/>
                </a:lnTo>
                <a:lnTo>
                  <a:pt x="2496" y="1996"/>
                </a:lnTo>
                <a:lnTo>
                  <a:pt x="2502" y="1988"/>
                </a:lnTo>
                <a:lnTo>
                  <a:pt x="2506" y="1977"/>
                </a:lnTo>
                <a:lnTo>
                  <a:pt x="2513" y="1968"/>
                </a:lnTo>
                <a:lnTo>
                  <a:pt x="2519" y="1962"/>
                </a:lnTo>
                <a:lnTo>
                  <a:pt x="2527" y="1954"/>
                </a:lnTo>
                <a:lnTo>
                  <a:pt x="2536" y="1949"/>
                </a:lnTo>
                <a:lnTo>
                  <a:pt x="2544" y="1943"/>
                </a:lnTo>
                <a:lnTo>
                  <a:pt x="2553" y="1939"/>
                </a:lnTo>
                <a:lnTo>
                  <a:pt x="2561" y="1937"/>
                </a:lnTo>
                <a:lnTo>
                  <a:pt x="2572" y="1935"/>
                </a:lnTo>
                <a:lnTo>
                  <a:pt x="2580" y="1935"/>
                </a:lnTo>
                <a:lnTo>
                  <a:pt x="2593" y="1935"/>
                </a:lnTo>
                <a:lnTo>
                  <a:pt x="2599" y="1937"/>
                </a:lnTo>
                <a:lnTo>
                  <a:pt x="2604" y="1939"/>
                </a:lnTo>
                <a:lnTo>
                  <a:pt x="2612" y="1943"/>
                </a:lnTo>
                <a:lnTo>
                  <a:pt x="2621" y="1949"/>
                </a:lnTo>
                <a:lnTo>
                  <a:pt x="2627" y="1958"/>
                </a:lnTo>
                <a:lnTo>
                  <a:pt x="2631" y="1968"/>
                </a:lnTo>
                <a:lnTo>
                  <a:pt x="2633" y="1979"/>
                </a:lnTo>
                <a:lnTo>
                  <a:pt x="2635" y="1992"/>
                </a:lnTo>
                <a:lnTo>
                  <a:pt x="2635" y="1998"/>
                </a:lnTo>
                <a:lnTo>
                  <a:pt x="2633" y="2007"/>
                </a:lnTo>
                <a:lnTo>
                  <a:pt x="2631" y="2013"/>
                </a:lnTo>
                <a:lnTo>
                  <a:pt x="2627" y="2019"/>
                </a:lnTo>
                <a:lnTo>
                  <a:pt x="2625" y="2028"/>
                </a:lnTo>
                <a:lnTo>
                  <a:pt x="2621" y="2034"/>
                </a:lnTo>
                <a:lnTo>
                  <a:pt x="2610" y="2045"/>
                </a:lnTo>
                <a:lnTo>
                  <a:pt x="2604" y="2051"/>
                </a:lnTo>
                <a:lnTo>
                  <a:pt x="2597" y="2055"/>
                </a:lnTo>
                <a:lnTo>
                  <a:pt x="2582" y="2062"/>
                </a:lnTo>
                <a:lnTo>
                  <a:pt x="2576" y="2066"/>
                </a:lnTo>
                <a:lnTo>
                  <a:pt x="2568" y="2068"/>
                </a:lnTo>
                <a:lnTo>
                  <a:pt x="2553" y="2068"/>
                </a:lnTo>
                <a:lnTo>
                  <a:pt x="2546" y="2068"/>
                </a:lnTo>
                <a:lnTo>
                  <a:pt x="2544" y="2066"/>
                </a:lnTo>
                <a:lnTo>
                  <a:pt x="2542" y="2064"/>
                </a:lnTo>
                <a:lnTo>
                  <a:pt x="2540" y="2059"/>
                </a:lnTo>
                <a:lnTo>
                  <a:pt x="2538" y="2057"/>
                </a:lnTo>
                <a:lnTo>
                  <a:pt x="2536" y="2049"/>
                </a:lnTo>
                <a:lnTo>
                  <a:pt x="2538" y="2043"/>
                </a:lnTo>
                <a:lnTo>
                  <a:pt x="2538" y="2040"/>
                </a:lnTo>
                <a:lnTo>
                  <a:pt x="2540" y="2038"/>
                </a:lnTo>
                <a:lnTo>
                  <a:pt x="2555" y="2036"/>
                </a:lnTo>
                <a:lnTo>
                  <a:pt x="2566" y="2032"/>
                </a:lnTo>
                <a:lnTo>
                  <a:pt x="2576" y="2026"/>
                </a:lnTo>
                <a:lnTo>
                  <a:pt x="2587" y="2019"/>
                </a:lnTo>
                <a:lnTo>
                  <a:pt x="2593" y="2011"/>
                </a:lnTo>
                <a:lnTo>
                  <a:pt x="2595" y="2007"/>
                </a:lnTo>
                <a:lnTo>
                  <a:pt x="2599" y="2002"/>
                </a:lnTo>
                <a:lnTo>
                  <a:pt x="2602" y="1994"/>
                </a:lnTo>
                <a:lnTo>
                  <a:pt x="2604" y="1985"/>
                </a:lnTo>
                <a:lnTo>
                  <a:pt x="2604" y="1981"/>
                </a:lnTo>
                <a:lnTo>
                  <a:pt x="2602" y="1977"/>
                </a:lnTo>
                <a:lnTo>
                  <a:pt x="2599" y="1973"/>
                </a:lnTo>
                <a:lnTo>
                  <a:pt x="2597" y="1971"/>
                </a:lnTo>
                <a:lnTo>
                  <a:pt x="2593" y="1966"/>
                </a:lnTo>
                <a:lnTo>
                  <a:pt x="2589" y="1966"/>
                </a:lnTo>
                <a:lnTo>
                  <a:pt x="2578" y="1964"/>
                </a:lnTo>
                <a:lnTo>
                  <a:pt x="2568" y="1966"/>
                </a:lnTo>
                <a:lnTo>
                  <a:pt x="2563" y="1968"/>
                </a:lnTo>
                <a:lnTo>
                  <a:pt x="2557" y="1971"/>
                </a:lnTo>
                <a:lnTo>
                  <a:pt x="2553" y="1975"/>
                </a:lnTo>
                <a:lnTo>
                  <a:pt x="2546" y="1979"/>
                </a:lnTo>
                <a:lnTo>
                  <a:pt x="2538" y="1990"/>
                </a:lnTo>
                <a:lnTo>
                  <a:pt x="2534" y="1994"/>
                </a:lnTo>
                <a:lnTo>
                  <a:pt x="2530" y="2002"/>
                </a:lnTo>
                <a:lnTo>
                  <a:pt x="2523" y="2015"/>
                </a:lnTo>
                <a:lnTo>
                  <a:pt x="2519" y="2032"/>
                </a:lnTo>
                <a:lnTo>
                  <a:pt x="2519" y="2040"/>
                </a:lnTo>
                <a:lnTo>
                  <a:pt x="2519" y="2049"/>
                </a:lnTo>
                <a:lnTo>
                  <a:pt x="2519" y="2064"/>
                </a:lnTo>
                <a:lnTo>
                  <a:pt x="2521" y="2070"/>
                </a:lnTo>
                <a:lnTo>
                  <a:pt x="2523" y="2076"/>
                </a:lnTo>
                <a:lnTo>
                  <a:pt x="2527" y="2089"/>
                </a:lnTo>
                <a:lnTo>
                  <a:pt x="2534" y="2100"/>
                </a:lnTo>
                <a:lnTo>
                  <a:pt x="2542" y="2108"/>
                </a:lnTo>
                <a:lnTo>
                  <a:pt x="2549" y="2112"/>
                </a:lnTo>
                <a:lnTo>
                  <a:pt x="2553" y="2115"/>
                </a:lnTo>
                <a:lnTo>
                  <a:pt x="2563" y="2119"/>
                </a:lnTo>
                <a:lnTo>
                  <a:pt x="2570" y="2121"/>
                </a:lnTo>
                <a:lnTo>
                  <a:pt x="2576" y="2121"/>
                </a:lnTo>
                <a:lnTo>
                  <a:pt x="2589" y="2119"/>
                </a:lnTo>
                <a:lnTo>
                  <a:pt x="2602" y="2115"/>
                </a:lnTo>
                <a:lnTo>
                  <a:pt x="2606" y="2112"/>
                </a:lnTo>
                <a:lnTo>
                  <a:pt x="2612" y="2110"/>
                </a:lnTo>
                <a:lnTo>
                  <a:pt x="2623" y="2102"/>
                </a:lnTo>
                <a:lnTo>
                  <a:pt x="2631" y="2093"/>
                </a:lnTo>
                <a:lnTo>
                  <a:pt x="2640" y="2083"/>
                </a:lnTo>
                <a:lnTo>
                  <a:pt x="2648" y="2070"/>
                </a:lnTo>
                <a:lnTo>
                  <a:pt x="2654" y="2057"/>
                </a:lnTo>
                <a:lnTo>
                  <a:pt x="2661" y="2045"/>
                </a:lnTo>
                <a:lnTo>
                  <a:pt x="2667" y="2030"/>
                </a:lnTo>
                <a:lnTo>
                  <a:pt x="2671" y="2017"/>
                </a:lnTo>
                <a:lnTo>
                  <a:pt x="2673" y="2002"/>
                </a:lnTo>
                <a:lnTo>
                  <a:pt x="2676" y="1988"/>
                </a:lnTo>
                <a:lnTo>
                  <a:pt x="2678" y="1973"/>
                </a:lnTo>
                <a:lnTo>
                  <a:pt x="2678" y="1960"/>
                </a:lnTo>
                <a:lnTo>
                  <a:pt x="2678" y="1947"/>
                </a:lnTo>
                <a:lnTo>
                  <a:pt x="2680" y="1943"/>
                </a:lnTo>
                <a:lnTo>
                  <a:pt x="2682" y="1941"/>
                </a:lnTo>
                <a:lnTo>
                  <a:pt x="2686" y="1939"/>
                </a:lnTo>
                <a:lnTo>
                  <a:pt x="2693" y="1939"/>
                </a:lnTo>
                <a:lnTo>
                  <a:pt x="2701" y="1941"/>
                </a:lnTo>
                <a:lnTo>
                  <a:pt x="2703" y="1943"/>
                </a:lnTo>
                <a:lnTo>
                  <a:pt x="2707" y="1945"/>
                </a:lnTo>
                <a:lnTo>
                  <a:pt x="2712" y="1954"/>
                </a:lnTo>
                <a:lnTo>
                  <a:pt x="2712" y="1958"/>
                </a:lnTo>
                <a:lnTo>
                  <a:pt x="2712" y="1964"/>
                </a:lnTo>
                <a:lnTo>
                  <a:pt x="2712" y="1983"/>
                </a:lnTo>
                <a:lnTo>
                  <a:pt x="2709" y="2002"/>
                </a:lnTo>
                <a:lnTo>
                  <a:pt x="2705" y="2019"/>
                </a:lnTo>
                <a:lnTo>
                  <a:pt x="2701" y="2038"/>
                </a:lnTo>
                <a:lnTo>
                  <a:pt x="2697" y="2053"/>
                </a:lnTo>
                <a:lnTo>
                  <a:pt x="2688" y="2070"/>
                </a:lnTo>
                <a:lnTo>
                  <a:pt x="2682" y="2085"/>
                </a:lnTo>
                <a:lnTo>
                  <a:pt x="2673" y="2098"/>
                </a:lnTo>
                <a:lnTo>
                  <a:pt x="2663" y="2110"/>
                </a:lnTo>
                <a:lnTo>
                  <a:pt x="2659" y="2117"/>
                </a:lnTo>
                <a:lnTo>
                  <a:pt x="2652" y="2123"/>
                </a:lnTo>
                <a:lnTo>
                  <a:pt x="2642" y="2131"/>
                </a:lnTo>
                <a:lnTo>
                  <a:pt x="2631" y="2140"/>
                </a:lnTo>
                <a:lnTo>
                  <a:pt x="2618" y="2146"/>
                </a:lnTo>
                <a:lnTo>
                  <a:pt x="2604" y="2153"/>
                </a:lnTo>
                <a:lnTo>
                  <a:pt x="2591" y="2155"/>
                </a:lnTo>
                <a:lnTo>
                  <a:pt x="2576" y="2157"/>
                </a:lnTo>
                <a:close/>
                <a:moveTo>
                  <a:pt x="2807" y="2153"/>
                </a:moveTo>
                <a:lnTo>
                  <a:pt x="2801" y="2150"/>
                </a:lnTo>
                <a:lnTo>
                  <a:pt x="2792" y="2144"/>
                </a:lnTo>
                <a:lnTo>
                  <a:pt x="2775" y="2129"/>
                </a:lnTo>
                <a:lnTo>
                  <a:pt x="2756" y="2110"/>
                </a:lnTo>
                <a:lnTo>
                  <a:pt x="2737" y="2089"/>
                </a:lnTo>
                <a:lnTo>
                  <a:pt x="2731" y="2081"/>
                </a:lnTo>
                <a:lnTo>
                  <a:pt x="2726" y="2074"/>
                </a:lnTo>
                <a:lnTo>
                  <a:pt x="2720" y="2062"/>
                </a:lnTo>
                <a:lnTo>
                  <a:pt x="2718" y="2055"/>
                </a:lnTo>
                <a:lnTo>
                  <a:pt x="2718" y="2051"/>
                </a:lnTo>
                <a:lnTo>
                  <a:pt x="2718" y="2043"/>
                </a:lnTo>
                <a:lnTo>
                  <a:pt x="2720" y="2036"/>
                </a:lnTo>
                <a:lnTo>
                  <a:pt x="2724" y="2028"/>
                </a:lnTo>
                <a:lnTo>
                  <a:pt x="2729" y="2019"/>
                </a:lnTo>
                <a:lnTo>
                  <a:pt x="2741" y="2004"/>
                </a:lnTo>
                <a:lnTo>
                  <a:pt x="2758" y="1985"/>
                </a:lnTo>
                <a:lnTo>
                  <a:pt x="2801" y="1937"/>
                </a:lnTo>
                <a:lnTo>
                  <a:pt x="2807" y="1937"/>
                </a:lnTo>
                <a:lnTo>
                  <a:pt x="2813" y="1941"/>
                </a:lnTo>
                <a:lnTo>
                  <a:pt x="2820" y="1945"/>
                </a:lnTo>
                <a:lnTo>
                  <a:pt x="2822" y="1949"/>
                </a:lnTo>
                <a:lnTo>
                  <a:pt x="2824" y="1956"/>
                </a:lnTo>
                <a:lnTo>
                  <a:pt x="2822" y="1962"/>
                </a:lnTo>
                <a:lnTo>
                  <a:pt x="2822" y="1966"/>
                </a:lnTo>
                <a:lnTo>
                  <a:pt x="2817" y="1968"/>
                </a:lnTo>
                <a:lnTo>
                  <a:pt x="2788" y="2002"/>
                </a:lnTo>
                <a:lnTo>
                  <a:pt x="2771" y="2023"/>
                </a:lnTo>
                <a:lnTo>
                  <a:pt x="2758" y="2038"/>
                </a:lnTo>
                <a:lnTo>
                  <a:pt x="2756" y="2045"/>
                </a:lnTo>
                <a:lnTo>
                  <a:pt x="2754" y="2049"/>
                </a:lnTo>
                <a:lnTo>
                  <a:pt x="2756" y="2053"/>
                </a:lnTo>
                <a:lnTo>
                  <a:pt x="2758" y="2059"/>
                </a:lnTo>
                <a:lnTo>
                  <a:pt x="2769" y="2072"/>
                </a:lnTo>
                <a:lnTo>
                  <a:pt x="2786" y="2089"/>
                </a:lnTo>
                <a:lnTo>
                  <a:pt x="2805" y="2108"/>
                </a:lnTo>
                <a:lnTo>
                  <a:pt x="2824" y="2127"/>
                </a:lnTo>
                <a:lnTo>
                  <a:pt x="2826" y="2129"/>
                </a:lnTo>
                <a:lnTo>
                  <a:pt x="2828" y="2131"/>
                </a:lnTo>
                <a:lnTo>
                  <a:pt x="2826" y="2136"/>
                </a:lnTo>
                <a:lnTo>
                  <a:pt x="2826" y="2140"/>
                </a:lnTo>
                <a:lnTo>
                  <a:pt x="2820" y="2146"/>
                </a:lnTo>
                <a:lnTo>
                  <a:pt x="2813" y="2150"/>
                </a:lnTo>
                <a:lnTo>
                  <a:pt x="2809" y="2153"/>
                </a:lnTo>
                <a:lnTo>
                  <a:pt x="2807" y="2153"/>
                </a:lnTo>
                <a:close/>
                <a:moveTo>
                  <a:pt x="2113" y="991"/>
                </a:moveTo>
                <a:lnTo>
                  <a:pt x="2104" y="991"/>
                </a:lnTo>
                <a:lnTo>
                  <a:pt x="2093" y="988"/>
                </a:lnTo>
                <a:lnTo>
                  <a:pt x="2085" y="986"/>
                </a:lnTo>
                <a:lnTo>
                  <a:pt x="2077" y="982"/>
                </a:lnTo>
                <a:lnTo>
                  <a:pt x="2070" y="978"/>
                </a:lnTo>
                <a:lnTo>
                  <a:pt x="2062" y="972"/>
                </a:lnTo>
                <a:lnTo>
                  <a:pt x="2055" y="965"/>
                </a:lnTo>
                <a:lnTo>
                  <a:pt x="2049" y="959"/>
                </a:lnTo>
                <a:lnTo>
                  <a:pt x="2043" y="952"/>
                </a:lnTo>
                <a:lnTo>
                  <a:pt x="2038" y="944"/>
                </a:lnTo>
                <a:lnTo>
                  <a:pt x="2030" y="925"/>
                </a:lnTo>
                <a:lnTo>
                  <a:pt x="2026" y="917"/>
                </a:lnTo>
                <a:lnTo>
                  <a:pt x="2024" y="906"/>
                </a:lnTo>
                <a:lnTo>
                  <a:pt x="2022" y="895"/>
                </a:lnTo>
                <a:lnTo>
                  <a:pt x="2022" y="885"/>
                </a:lnTo>
                <a:lnTo>
                  <a:pt x="2022" y="872"/>
                </a:lnTo>
                <a:lnTo>
                  <a:pt x="2024" y="861"/>
                </a:lnTo>
                <a:lnTo>
                  <a:pt x="2026" y="851"/>
                </a:lnTo>
                <a:lnTo>
                  <a:pt x="2030" y="840"/>
                </a:lnTo>
                <a:lnTo>
                  <a:pt x="2034" y="830"/>
                </a:lnTo>
                <a:lnTo>
                  <a:pt x="2038" y="821"/>
                </a:lnTo>
                <a:lnTo>
                  <a:pt x="2045" y="811"/>
                </a:lnTo>
                <a:lnTo>
                  <a:pt x="2049" y="802"/>
                </a:lnTo>
                <a:lnTo>
                  <a:pt x="2058" y="796"/>
                </a:lnTo>
                <a:lnTo>
                  <a:pt x="2064" y="790"/>
                </a:lnTo>
                <a:lnTo>
                  <a:pt x="2072" y="783"/>
                </a:lnTo>
                <a:lnTo>
                  <a:pt x="2081" y="777"/>
                </a:lnTo>
                <a:lnTo>
                  <a:pt x="2089" y="773"/>
                </a:lnTo>
                <a:lnTo>
                  <a:pt x="2100" y="770"/>
                </a:lnTo>
                <a:lnTo>
                  <a:pt x="2108" y="768"/>
                </a:lnTo>
                <a:lnTo>
                  <a:pt x="2119" y="768"/>
                </a:lnTo>
                <a:lnTo>
                  <a:pt x="2129" y="768"/>
                </a:lnTo>
                <a:lnTo>
                  <a:pt x="2136" y="770"/>
                </a:lnTo>
                <a:lnTo>
                  <a:pt x="2140" y="773"/>
                </a:lnTo>
                <a:lnTo>
                  <a:pt x="2151" y="777"/>
                </a:lnTo>
                <a:lnTo>
                  <a:pt x="2157" y="785"/>
                </a:lnTo>
                <a:lnTo>
                  <a:pt x="2163" y="792"/>
                </a:lnTo>
                <a:lnTo>
                  <a:pt x="2168" y="802"/>
                </a:lnTo>
                <a:lnTo>
                  <a:pt x="2172" y="813"/>
                </a:lnTo>
                <a:lnTo>
                  <a:pt x="2172" y="825"/>
                </a:lnTo>
                <a:lnTo>
                  <a:pt x="2172" y="832"/>
                </a:lnTo>
                <a:lnTo>
                  <a:pt x="2170" y="840"/>
                </a:lnTo>
                <a:lnTo>
                  <a:pt x="2168" y="847"/>
                </a:lnTo>
                <a:lnTo>
                  <a:pt x="2165" y="855"/>
                </a:lnTo>
                <a:lnTo>
                  <a:pt x="2161" y="861"/>
                </a:lnTo>
                <a:lnTo>
                  <a:pt x="2157" y="868"/>
                </a:lnTo>
                <a:lnTo>
                  <a:pt x="2146" y="878"/>
                </a:lnTo>
                <a:lnTo>
                  <a:pt x="2140" y="885"/>
                </a:lnTo>
                <a:lnTo>
                  <a:pt x="2134" y="889"/>
                </a:lnTo>
                <a:lnTo>
                  <a:pt x="2119" y="895"/>
                </a:lnTo>
                <a:lnTo>
                  <a:pt x="2113" y="900"/>
                </a:lnTo>
                <a:lnTo>
                  <a:pt x="2104" y="902"/>
                </a:lnTo>
                <a:lnTo>
                  <a:pt x="2089" y="902"/>
                </a:lnTo>
                <a:lnTo>
                  <a:pt x="2083" y="902"/>
                </a:lnTo>
                <a:lnTo>
                  <a:pt x="2081" y="900"/>
                </a:lnTo>
                <a:lnTo>
                  <a:pt x="2079" y="897"/>
                </a:lnTo>
                <a:lnTo>
                  <a:pt x="2077" y="893"/>
                </a:lnTo>
                <a:lnTo>
                  <a:pt x="2074" y="891"/>
                </a:lnTo>
                <a:lnTo>
                  <a:pt x="2074" y="883"/>
                </a:lnTo>
                <a:lnTo>
                  <a:pt x="2074" y="876"/>
                </a:lnTo>
                <a:lnTo>
                  <a:pt x="2077" y="874"/>
                </a:lnTo>
                <a:lnTo>
                  <a:pt x="2079" y="874"/>
                </a:lnTo>
                <a:lnTo>
                  <a:pt x="2091" y="870"/>
                </a:lnTo>
                <a:lnTo>
                  <a:pt x="2104" y="866"/>
                </a:lnTo>
                <a:lnTo>
                  <a:pt x="2115" y="859"/>
                </a:lnTo>
                <a:lnTo>
                  <a:pt x="2123" y="853"/>
                </a:lnTo>
                <a:lnTo>
                  <a:pt x="2129" y="845"/>
                </a:lnTo>
                <a:lnTo>
                  <a:pt x="2134" y="842"/>
                </a:lnTo>
                <a:lnTo>
                  <a:pt x="2136" y="838"/>
                </a:lnTo>
                <a:lnTo>
                  <a:pt x="2140" y="830"/>
                </a:lnTo>
                <a:lnTo>
                  <a:pt x="2140" y="821"/>
                </a:lnTo>
                <a:lnTo>
                  <a:pt x="2140" y="815"/>
                </a:lnTo>
                <a:lnTo>
                  <a:pt x="2138" y="811"/>
                </a:lnTo>
                <a:lnTo>
                  <a:pt x="2136" y="806"/>
                </a:lnTo>
                <a:lnTo>
                  <a:pt x="2134" y="804"/>
                </a:lnTo>
                <a:lnTo>
                  <a:pt x="2129" y="802"/>
                </a:lnTo>
                <a:lnTo>
                  <a:pt x="2125" y="800"/>
                </a:lnTo>
                <a:lnTo>
                  <a:pt x="2117" y="798"/>
                </a:lnTo>
                <a:lnTo>
                  <a:pt x="2106" y="800"/>
                </a:lnTo>
                <a:lnTo>
                  <a:pt x="2100" y="802"/>
                </a:lnTo>
                <a:lnTo>
                  <a:pt x="2096" y="804"/>
                </a:lnTo>
                <a:lnTo>
                  <a:pt x="2089" y="809"/>
                </a:lnTo>
                <a:lnTo>
                  <a:pt x="2085" y="813"/>
                </a:lnTo>
                <a:lnTo>
                  <a:pt x="2074" y="823"/>
                </a:lnTo>
                <a:lnTo>
                  <a:pt x="2070" y="830"/>
                </a:lnTo>
                <a:lnTo>
                  <a:pt x="2068" y="836"/>
                </a:lnTo>
                <a:lnTo>
                  <a:pt x="2062" y="849"/>
                </a:lnTo>
                <a:lnTo>
                  <a:pt x="2058" y="866"/>
                </a:lnTo>
                <a:lnTo>
                  <a:pt x="2055" y="874"/>
                </a:lnTo>
                <a:lnTo>
                  <a:pt x="2055" y="883"/>
                </a:lnTo>
                <a:lnTo>
                  <a:pt x="2058" y="897"/>
                </a:lnTo>
                <a:lnTo>
                  <a:pt x="2058" y="904"/>
                </a:lnTo>
                <a:lnTo>
                  <a:pt x="2060" y="912"/>
                </a:lnTo>
                <a:lnTo>
                  <a:pt x="2064" y="923"/>
                </a:lnTo>
                <a:lnTo>
                  <a:pt x="2072" y="933"/>
                </a:lnTo>
                <a:lnTo>
                  <a:pt x="2081" y="942"/>
                </a:lnTo>
                <a:lnTo>
                  <a:pt x="2085" y="946"/>
                </a:lnTo>
                <a:lnTo>
                  <a:pt x="2089" y="948"/>
                </a:lnTo>
                <a:lnTo>
                  <a:pt x="2102" y="952"/>
                </a:lnTo>
                <a:lnTo>
                  <a:pt x="2108" y="955"/>
                </a:lnTo>
                <a:lnTo>
                  <a:pt x="2115" y="955"/>
                </a:lnTo>
                <a:lnTo>
                  <a:pt x="2125" y="952"/>
                </a:lnTo>
                <a:lnTo>
                  <a:pt x="2138" y="950"/>
                </a:lnTo>
                <a:lnTo>
                  <a:pt x="2144" y="946"/>
                </a:lnTo>
                <a:lnTo>
                  <a:pt x="2149" y="944"/>
                </a:lnTo>
                <a:lnTo>
                  <a:pt x="2159" y="936"/>
                </a:lnTo>
                <a:lnTo>
                  <a:pt x="2170" y="927"/>
                </a:lnTo>
                <a:lnTo>
                  <a:pt x="2178" y="917"/>
                </a:lnTo>
                <a:lnTo>
                  <a:pt x="2185" y="906"/>
                </a:lnTo>
                <a:lnTo>
                  <a:pt x="2193" y="893"/>
                </a:lnTo>
                <a:lnTo>
                  <a:pt x="2199" y="878"/>
                </a:lnTo>
                <a:lnTo>
                  <a:pt x="2204" y="864"/>
                </a:lnTo>
                <a:lnTo>
                  <a:pt x="2208" y="851"/>
                </a:lnTo>
                <a:lnTo>
                  <a:pt x="2212" y="836"/>
                </a:lnTo>
                <a:lnTo>
                  <a:pt x="2214" y="821"/>
                </a:lnTo>
                <a:lnTo>
                  <a:pt x="2216" y="806"/>
                </a:lnTo>
                <a:lnTo>
                  <a:pt x="2216" y="794"/>
                </a:lnTo>
                <a:lnTo>
                  <a:pt x="2216" y="781"/>
                </a:lnTo>
                <a:lnTo>
                  <a:pt x="2216" y="777"/>
                </a:lnTo>
                <a:lnTo>
                  <a:pt x="2221" y="775"/>
                </a:lnTo>
                <a:lnTo>
                  <a:pt x="2225" y="775"/>
                </a:lnTo>
                <a:lnTo>
                  <a:pt x="2229" y="773"/>
                </a:lnTo>
                <a:lnTo>
                  <a:pt x="2237" y="775"/>
                </a:lnTo>
                <a:lnTo>
                  <a:pt x="2242" y="777"/>
                </a:lnTo>
                <a:lnTo>
                  <a:pt x="2244" y="779"/>
                </a:lnTo>
                <a:lnTo>
                  <a:pt x="2248" y="787"/>
                </a:lnTo>
                <a:lnTo>
                  <a:pt x="2250" y="792"/>
                </a:lnTo>
                <a:lnTo>
                  <a:pt x="2250" y="800"/>
                </a:lnTo>
                <a:lnTo>
                  <a:pt x="2248" y="817"/>
                </a:lnTo>
                <a:lnTo>
                  <a:pt x="2246" y="836"/>
                </a:lnTo>
                <a:lnTo>
                  <a:pt x="2244" y="855"/>
                </a:lnTo>
                <a:lnTo>
                  <a:pt x="2240" y="872"/>
                </a:lnTo>
                <a:lnTo>
                  <a:pt x="2233" y="889"/>
                </a:lnTo>
                <a:lnTo>
                  <a:pt x="2227" y="904"/>
                </a:lnTo>
                <a:lnTo>
                  <a:pt x="2218" y="919"/>
                </a:lnTo>
                <a:lnTo>
                  <a:pt x="2210" y="933"/>
                </a:lnTo>
                <a:lnTo>
                  <a:pt x="2201" y="944"/>
                </a:lnTo>
                <a:lnTo>
                  <a:pt x="2195" y="950"/>
                </a:lnTo>
                <a:lnTo>
                  <a:pt x="2191" y="957"/>
                </a:lnTo>
                <a:lnTo>
                  <a:pt x="2178" y="965"/>
                </a:lnTo>
                <a:lnTo>
                  <a:pt x="2168" y="974"/>
                </a:lnTo>
                <a:lnTo>
                  <a:pt x="2155" y="982"/>
                </a:lnTo>
                <a:lnTo>
                  <a:pt x="2142" y="986"/>
                </a:lnTo>
                <a:lnTo>
                  <a:pt x="2127" y="988"/>
                </a:lnTo>
                <a:lnTo>
                  <a:pt x="2113" y="991"/>
                </a:lnTo>
                <a:close/>
                <a:moveTo>
                  <a:pt x="2343" y="986"/>
                </a:moveTo>
                <a:lnTo>
                  <a:pt x="2337" y="984"/>
                </a:lnTo>
                <a:lnTo>
                  <a:pt x="2328" y="978"/>
                </a:lnTo>
                <a:lnTo>
                  <a:pt x="2312" y="963"/>
                </a:lnTo>
                <a:lnTo>
                  <a:pt x="2292" y="944"/>
                </a:lnTo>
                <a:lnTo>
                  <a:pt x="2273" y="923"/>
                </a:lnTo>
                <a:lnTo>
                  <a:pt x="2267" y="914"/>
                </a:lnTo>
                <a:lnTo>
                  <a:pt x="2263" y="908"/>
                </a:lnTo>
                <a:lnTo>
                  <a:pt x="2256" y="895"/>
                </a:lnTo>
                <a:lnTo>
                  <a:pt x="2256" y="889"/>
                </a:lnTo>
                <a:lnTo>
                  <a:pt x="2254" y="885"/>
                </a:lnTo>
                <a:lnTo>
                  <a:pt x="2256" y="876"/>
                </a:lnTo>
                <a:lnTo>
                  <a:pt x="2259" y="870"/>
                </a:lnTo>
                <a:lnTo>
                  <a:pt x="2261" y="861"/>
                </a:lnTo>
                <a:lnTo>
                  <a:pt x="2267" y="855"/>
                </a:lnTo>
                <a:lnTo>
                  <a:pt x="2278" y="840"/>
                </a:lnTo>
                <a:lnTo>
                  <a:pt x="2297" y="819"/>
                </a:lnTo>
                <a:lnTo>
                  <a:pt x="2339" y="770"/>
                </a:lnTo>
                <a:lnTo>
                  <a:pt x="2345" y="773"/>
                </a:lnTo>
                <a:lnTo>
                  <a:pt x="2352" y="775"/>
                </a:lnTo>
                <a:lnTo>
                  <a:pt x="2356" y="779"/>
                </a:lnTo>
                <a:lnTo>
                  <a:pt x="2360" y="783"/>
                </a:lnTo>
                <a:lnTo>
                  <a:pt x="2360" y="790"/>
                </a:lnTo>
                <a:lnTo>
                  <a:pt x="2360" y="796"/>
                </a:lnTo>
                <a:lnTo>
                  <a:pt x="2358" y="800"/>
                </a:lnTo>
                <a:lnTo>
                  <a:pt x="2356" y="802"/>
                </a:lnTo>
                <a:lnTo>
                  <a:pt x="2326" y="838"/>
                </a:lnTo>
                <a:lnTo>
                  <a:pt x="2307" y="857"/>
                </a:lnTo>
                <a:lnTo>
                  <a:pt x="2295" y="874"/>
                </a:lnTo>
                <a:lnTo>
                  <a:pt x="2292" y="878"/>
                </a:lnTo>
                <a:lnTo>
                  <a:pt x="2292" y="883"/>
                </a:lnTo>
                <a:lnTo>
                  <a:pt x="2292" y="887"/>
                </a:lnTo>
                <a:lnTo>
                  <a:pt x="2297" y="893"/>
                </a:lnTo>
                <a:lnTo>
                  <a:pt x="2307" y="906"/>
                </a:lnTo>
                <a:lnTo>
                  <a:pt x="2324" y="923"/>
                </a:lnTo>
                <a:lnTo>
                  <a:pt x="2343" y="942"/>
                </a:lnTo>
                <a:lnTo>
                  <a:pt x="2362" y="961"/>
                </a:lnTo>
                <a:lnTo>
                  <a:pt x="2362" y="963"/>
                </a:lnTo>
                <a:lnTo>
                  <a:pt x="2364" y="967"/>
                </a:lnTo>
                <a:lnTo>
                  <a:pt x="2364" y="969"/>
                </a:lnTo>
                <a:lnTo>
                  <a:pt x="2362" y="974"/>
                </a:lnTo>
                <a:lnTo>
                  <a:pt x="2358" y="980"/>
                </a:lnTo>
                <a:lnTo>
                  <a:pt x="2350" y="984"/>
                </a:lnTo>
                <a:lnTo>
                  <a:pt x="2348" y="986"/>
                </a:lnTo>
                <a:lnTo>
                  <a:pt x="2343" y="986"/>
                </a:lnTo>
                <a:close/>
                <a:moveTo>
                  <a:pt x="2113" y="1581"/>
                </a:moveTo>
                <a:lnTo>
                  <a:pt x="2104" y="1581"/>
                </a:lnTo>
                <a:lnTo>
                  <a:pt x="2093" y="1579"/>
                </a:lnTo>
                <a:lnTo>
                  <a:pt x="2085" y="1577"/>
                </a:lnTo>
                <a:lnTo>
                  <a:pt x="2077" y="1573"/>
                </a:lnTo>
                <a:lnTo>
                  <a:pt x="2070" y="1568"/>
                </a:lnTo>
                <a:lnTo>
                  <a:pt x="2062" y="1564"/>
                </a:lnTo>
                <a:lnTo>
                  <a:pt x="2055" y="1558"/>
                </a:lnTo>
                <a:lnTo>
                  <a:pt x="2049" y="1551"/>
                </a:lnTo>
                <a:lnTo>
                  <a:pt x="2043" y="1543"/>
                </a:lnTo>
                <a:lnTo>
                  <a:pt x="2038" y="1535"/>
                </a:lnTo>
                <a:lnTo>
                  <a:pt x="2030" y="1518"/>
                </a:lnTo>
                <a:lnTo>
                  <a:pt x="2026" y="1507"/>
                </a:lnTo>
                <a:lnTo>
                  <a:pt x="2024" y="1496"/>
                </a:lnTo>
                <a:lnTo>
                  <a:pt x="2022" y="1486"/>
                </a:lnTo>
                <a:lnTo>
                  <a:pt x="2022" y="1475"/>
                </a:lnTo>
                <a:lnTo>
                  <a:pt x="2022" y="1465"/>
                </a:lnTo>
                <a:lnTo>
                  <a:pt x="2024" y="1454"/>
                </a:lnTo>
                <a:lnTo>
                  <a:pt x="2026" y="1444"/>
                </a:lnTo>
                <a:lnTo>
                  <a:pt x="2030" y="1433"/>
                </a:lnTo>
                <a:lnTo>
                  <a:pt x="2034" y="1422"/>
                </a:lnTo>
                <a:lnTo>
                  <a:pt x="2038" y="1412"/>
                </a:lnTo>
                <a:lnTo>
                  <a:pt x="2045" y="1403"/>
                </a:lnTo>
                <a:lnTo>
                  <a:pt x="2049" y="1395"/>
                </a:lnTo>
                <a:lnTo>
                  <a:pt x="2058" y="1386"/>
                </a:lnTo>
                <a:lnTo>
                  <a:pt x="2064" y="1380"/>
                </a:lnTo>
                <a:lnTo>
                  <a:pt x="2072" y="1374"/>
                </a:lnTo>
                <a:lnTo>
                  <a:pt x="2081" y="1369"/>
                </a:lnTo>
                <a:lnTo>
                  <a:pt x="2089" y="1365"/>
                </a:lnTo>
                <a:lnTo>
                  <a:pt x="2100" y="1361"/>
                </a:lnTo>
                <a:lnTo>
                  <a:pt x="2108" y="1361"/>
                </a:lnTo>
                <a:lnTo>
                  <a:pt x="2119" y="1359"/>
                </a:lnTo>
                <a:lnTo>
                  <a:pt x="2129" y="1361"/>
                </a:lnTo>
                <a:lnTo>
                  <a:pt x="2136" y="1361"/>
                </a:lnTo>
                <a:lnTo>
                  <a:pt x="2140" y="1363"/>
                </a:lnTo>
                <a:lnTo>
                  <a:pt x="2151" y="1369"/>
                </a:lnTo>
                <a:lnTo>
                  <a:pt x="2157" y="1376"/>
                </a:lnTo>
                <a:lnTo>
                  <a:pt x="2163" y="1384"/>
                </a:lnTo>
                <a:lnTo>
                  <a:pt x="2168" y="1395"/>
                </a:lnTo>
                <a:lnTo>
                  <a:pt x="2172" y="1405"/>
                </a:lnTo>
                <a:lnTo>
                  <a:pt x="2172" y="1416"/>
                </a:lnTo>
                <a:lnTo>
                  <a:pt x="2172" y="1424"/>
                </a:lnTo>
                <a:lnTo>
                  <a:pt x="2170" y="1431"/>
                </a:lnTo>
                <a:lnTo>
                  <a:pt x="2168" y="1439"/>
                </a:lnTo>
                <a:lnTo>
                  <a:pt x="2165" y="1446"/>
                </a:lnTo>
                <a:lnTo>
                  <a:pt x="2161" y="1452"/>
                </a:lnTo>
                <a:lnTo>
                  <a:pt x="2157" y="1458"/>
                </a:lnTo>
                <a:lnTo>
                  <a:pt x="2146" y="1471"/>
                </a:lnTo>
                <a:lnTo>
                  <a:pt x="2140" y="1475"/>
                </a:lnTo>
                <a:lnTo>
                  <a:pt x="2134" y="1480"/>
                </a:lnTo>
                <a:lnTo>
                  <a:pt x="2119" y="1488"/>
                </a:lnTo>
                <a:lnTo>
                  <a:pt x="2113" y="1490"/>
                </a:lnTo>
                <a:lnTo>
                  <a:pt x="2104" y="1492"/>
                </a:lnTo>
                <a:lnTo>
                  <a:pt x="2089" y="1494"/>
                </a:lnTo>
                <a:lnTo>
                  <a:pt x="2083" y="1492"/>
                </a:lnTo>
                <a:lnTo>
                  <a:pt x="2081" y="1490"/>
                </a:lnTo>
                <a:lnTo>
                  <a:pt x="2079" y="1488"/>
                </a:lnTo>
                <a:lnTo>
                  <a:pt x="2077" y="1486"/>
                </a:lnTo>
                <a:lnTo>
                  <a:pt x="2074" y="1482"/>
                </a:lnTo>
                <a:lnTo>
                  <a:pt x="2074" y="1475"/>
                </a:lnTo>
                <a:lnTo>
                  <a:pt x="2074" y="1469"/>
                </a:lnTo>
                <a:lnTo>
                  <a:pt x="2077" y="1467"/>
                </a:lnTo>
                <a:lnTo>
                  <a:pt x="2079" y="1465"/>
                </a:lnTo>
                <a:lnTo>
                  <a:pt x="2091" y="1463"/>
                </a:lnTo>
                <a:lnTo>
                  <a:pt x="2104" y="1458"/>
                </a:lnTo>
                <a:lnTo>
                  <a:pt x="2115" y="1452"/>
                </a:lnTo>
                <a:lnTo>
                  <a:pt x="2123" y="1446"/>
                </a:lnTo>
                <a:lnTo>
                  <a:pt x="2129" y="1437"/>
                </a:lnTo>
                <a:lnTo>
                  <a:pt x="2134" y="1433"/>
                </a:lnTo>
                <a:lnTo>
                  <a:pt x="2136" y="1429"/>
                </a:lnTo>
                <a:lnTo>
                  <a:pt x="2140" y="1420"/>
                </a:lnTo>
                <a:lnTo>
                  <a:pt x="2140" y="1412"/>
                </a:lnTo>
                <a:lnTo>
                  <a:pt x="2140" y="1408"/>
                </a:lnTo>
                <a:lnTo>
                  <a:pt x="2138" y="1403"/>
                </a:lnTo>
                <a:lnTo>
                  <a:pt x="2136" y="1399"/>
                </a:lnTo>
                <a:lnTo>
                  <a:pt x="2134" y="1395"/>
                </a:lnTo>
                <a:lnTo>
                  <a:pt x="2129" y="1393"/>
                </a:lnTo>
                <a:lnTo>
                  <a:pt x="2125" y="1391"/>
                </a:lnTo>
                <a:lnTo>
                  <a:pt x="2117" y="1391"/>
                </a:lnTo>
                <a:lnTo>
                  <a:pt x="2106" y="1391"/>
                </a:lnTo>
                <a:lnTo>
                  <a:pt x="2100" y="1393"/>
                </a:lnTo>
                <a:lnTo>
                  <a:pt x="2096" y="1397"/>
                </a:lnTo>
                <a:lnTo>
                  <a:pt x="2089" y="1399"/>
                </a:lnTo>
                <a:lnTo>
                  <a:pt x="2085" y="1403"/>
                </a:lnTo>
                <a:lnTo>
                  <a:pt x="2074" y="1414"/>
                </a:lnTo>
                <a:lnTo>
                  <a:pt x="2070" y="1420"/>
                </a:lnTo>
                <a:lnTo>
                  <a:pt x="2068" y="1427"/>
                </a:lnTo>
                <a:lnTo>
                  <a:pt x="2062" y="1441"/>
                </a:lnTo>
                <a:lnTo>
                  <a:pt x="2058" y="1456"/>
                </a:lnTo>
                <a:lnTo>
                  <a:pt x="2055" y="1465"/>
                </a:lnTo>
                <a:lnTo>
                  <a:pt x="2055" y="1473"/>
                </a:lnTo>
                <a:lnTo>
                  <a:pt x="2058" y="1490"/>
                </a:lnTo>
                <a:lnTo>
                  <a:pt x="2058" y="1496"/>
                </a:lnTo>
                <a:lnTo>
                  <a:pt x="2060" y="1503"/>
                </a:lnTo>
                <a:lnTo>
                  <a:pt x="2064" y="1516"/>
                </a:lnTo>
                <a:lnTo>
                  <a:pt x="2072" y="1526"/>
                </a:lnTo>
                <a:lnTo>
                  <a:pt x="2081" y="1535"/>
                </a:lnTo>
                <a:lnTo>
                  <a:pt x="2085" y="1537"/>
                </a:lnTo>
                <a:lnTo>
                  <a:pt x="2089" y="1541"/>
                </a:lnTo>
                <a:lnTo>
                  <a:pt x="2102" y="1545"/>
                </a:lnTo>
                <a:lnTo>
                  <a:pt x="2108" y="1545"/>
                </a:lnTo>
                <a:lnTo>
                  <a:pt x="2115" y="1545"/>
                </a:lnTo>
                <a:lnTo>
                  <a:pt x="2125" y="1545"/>
                </a:lnTo>
                <a:lnTo>
                  <a:pt x="2138" y="1541"/>
                </a:lnTo>
                <a:lnTo>
                  <a:pt x="2144" y="1539"/>
                </a:lnTo>
                <a:lnTo>
                  <a:pt x="2149" y="1535"/>
                </a:lnTo>
                <a:lnTo>
                  <a:pt x="2159" y="1528"/>
                </a:lnTo>
                <a:lnTo>
                  <a:pt x="2170" y="1520"/>
                </a:lnTo>
                <a:lnTo>
                  <a:pt x="2178" y="1509"/>
                </a:lnTo>
                <a:lnTo>
                  <a:pt x="2185" y="1496"/>
                </a:lnTo>
                <a:lnTo>
                  <a:pt x="2193" y="1484"/>
                </a:lnTo>
                <a:lnTo>
                  <a:pt x="2199" y="1471"/>
                </a:lnTo>
                <a:lnTo>
                  <a:pt x="2204" y="1456"/>
                </a:lnTo>
                <a:lnTo>
                  <a:pt x="2208" y="1441"/>
                </a:lnTo>
                <a:lnTo>
                  <a:pt x="2212" y="1427"/>
                </a:lnTo>
                <a:lnTo>
                  <a:pt x="2214" y="1412"/>
                </a:lnTo>
                <a:lnTo>
                  <a:pt x="2216" y="1399"/>
                </a:lnTo>
                <a:lnTo>
                  <a:pt x="2216" y="1384"/>
                </a:lnTo>
                <a:lnTo>
                  <a:pt x="2216" y="1372"/>
                </a:lnTo>
                <a:lnTo>
                  <a:pt x="2216" y="1369"/>
                </a:lnTo>
                <a:lnTo>
                  <a:pt x="2221" y="1367"/>
                </a:lnTo>
                <a:lnTo>
                  <a:pt x="2225" y="1365"/>
                </a:lnTo>
                <a:lnTo>
                  <a:pt x="2229" y="1365"/>
                </a:lnTo>
                <a:lnTo>
                  <a:pt x="2237" y="1365"/>
                </a:lnTo>
                <a:lnTo>
                  <a:pt x="2242" y="1367"/>
                </a:lnTo>
                <a:lnTo>
                  <a:pt x="2244" y="1369"/>
                </a:lnTo>
                <a:lnTo>
                  <a:pt x="2248" y="1378"/>
                </a:lnTo>
                <a:lnTo>
                  <a:pt x="2250" y="1384"/>
                </a:lnTo>
                <a:lnTo>
                  <a:pt x="2250" y="1391"/>
                </a:lnTo>
                <a:lnTo>
                  <a:pt x="2248" y="1410"/>
                </a:lnTo>
                <a:lnTo>
                  <a:pt x="2246" y="1429"/>
                </a:lnTo>
                <a:lnTo>
                  <a:pt x="2244" y="1446"/>
                </a:lnTo>
                <a:lnTo>
                  <a:pt x="2240" y="1463"/>
                </a:lnTo>
                <a:lnTo>
                  <a:pt x="2233" y="1480"/>
                </a:lnTo>
                <a:lnTo>
                  <a:pt x="2227" y="1496"/>
                </a:lnTo>
                <a:lnTo>
                  <a:pt x="2218" y="1511"/>
                </a:lnTo>
                <a:lnTo>
                  <a:pt x="2210" y="1524"/>
                </a:lnTo>
                <a:lnTo>
                  <a:pt x="2201" y="1537"/>
                </a:lnTo>
                <a:lnTo>
                  <a:pt x="2195" y="1543"/>
                </a:lnTo>
                <a:lnTo>
                  <a:pt x="2191" y="1547"/>
                </a:lnTo>
                <a:lnTo>
                  <a:pt x="2178" y="1558"/>
                </a:lnTo>
                <a:lnTo>
                  <a:pt x="2168" y="1566"/>
                </a:lnTo>
                <a:lnTo>
                  <a:pt x="2155" y="1573"/>
                </a:lnTo>
                <a:lnTo>
                  <a:pt x="2142" y="1577"/>
                </a:lnTo>
                <a:lnTo>
                  <a:pt x="2127" y="1581"/>
                </a:lnTo>
                <a:lnTo>
                  <a:pt x="2113" y="1581"/>
                </a:lnTo>
                <a:close/>
                <a:moveTo>
                  <a:pt x="2343" y="1579"/>
                </a:moveTo>
                <a:lnTo>
                  <a:pt x="2337" y="1577"/>
                </a:lnTo>
                <a:lnTo>
                  <a:pt x="2328" y="1571"/>
                </a:lnTo>
                <a:lnTo>
                  <a:pt x="2312" y="1556"/>
                </a:lnTo>
                <a:lnTo>
                  <a:pt x="2292" y="1535"/>
                </a:lnTo>
                <a:lnTo>
                  <a:pt x="2273" y="1516"/>
                </a:lnTo>
                <a:lnTo>
                  <a:pt x="2267" y="1507"/>
                </a:lnTo>
                <a:lnTo>
                  <a:pt x="2263" y="1501"/>
                </a:lnTo>
                <a:lnTo>
                  <a:pt x="2256" y="1488"/>
                </a:lnTo>
                <a:lnTo>
                  <a:pt x="2256" y="1482"/>
                </a:lnTo>
                <a:lnTo>
                  <a:pt x="2254" y="1475"/>
                </a:lnTo>
                <a:lnTo>
                  <a:pt x="2256" y="1469"/>
                </a:lnTo>
                <a:lnTo>
                  <a:pt x="2259" y="1463"/>
                </a:lnTo>
                <a:lnTo>
                  <a:pt x="2261" y="1454"/>
                </a:lnTo>
                <a:lnTo>
                  <a:pt x="2267" y="1446"/>
                </a:lnTo>
                <a:lnTo>
                  <a:pt x="2278" y="1431"/>
                </a:lnTo>
                <a:lnTo>
                  <a:pt x="2297" y="1410"/>
                </a:lnTo>
                <a:lnTo>
                  <a:pt x="2339" y="1363"/>
                </a:lnTo>
                <a:lnTo>
                  <a:pt x="2345" y="1363"/>
                </a:lnTo>
                <a:lnTo>
                  <a:pt x="2352" y="1365"/>
                </a:lnTo>
                <a:lnTo>
                  <a:pt x="2356" y="1369"/>
                </a:lnTo>
                <a:lnTo>
                  <a:pt x="2360" y="1376"/>
                </a:lnTo>
                <a:lnTo>
                  <a:pt x="2360" y="1382"/>
                </a:lnTo>
                <a:lnTo>
                  <a:pt x="2360" y="1389"/>
                </a:lnTo>
                <a:lnTo>
                  <a:pt x="2358" y="1391"/>
                </a:lnTo>
                <a:lnTo>
                  <a:pt x="2356" y="1395"/>
                </a:lnTo>
                <a:lnTo>
                  <a:pt x="2326" y="1429"/>
                </a:lnTo>
                <a:lnTo>
                  <a:pt x="2307" y="1450"/>
                </a:lnTo>
                <a:lnTo>
                  <a:pt x="2295" y="1465"/>
                </a:lnTo>
                <a:lnTo>
                  <a:pt x="2292" y="1469"/>
                </a:lnTo>
                <a:lnTo>
                  <a:pt x="2292" y="1473"/>
                </a:lnTo>
                <a:lnTo>
                  <a:pt x="2292" y="1480"/>
                </a:lnTo>
                <a:lnTo>
                  <a:pt x="2297" y="1484"/>
                </a:lnTo>
                <a:lnTo>
                  <a:pt x="2307" y="1496"/>
                </a:lnTo>
                <a:lnTo>
                  <a:pt x="2324" y="1516"/>
                </a:lnTo>
                <a:lnTo>
                  <a:pt x="2343" y="1535"/>
                </a:lnTo>
                <a:lnTo>
                  <a:pt x="2362" y="1551"/>
                </a:lnTo>
                <a:lnTo>
                  <a:pt x="2362" y="1556"/>
                </a:lnTo>
                <a:lnTo>
                  <a:pt x="2364" y="1558"/>
                </a:lnTo>
                <a:lnTo>
                  <a:pt x="2364" y="1562"/>
                </a:lnTo>
                <a:lnTo>
                  <a:pt x="2362" y="1564"/>
                </a:lnTo>
                <a:lnTo>
                  <a:pt x="2358" y="1571"/>
                </a:lnTo>
                <a:lnTo>
                  <a:pt x="2350" y="1577"/>
                </a:lnTo>
                <a:lnTo>
                  <a:pt x="2348" y="1577"/>
                </a:lnTo>
                <a:lnTo>
                  <a:pt x="2343" y="1579"/>
                </a:lnTo>
                <a:close/>
                <a:moveTo>
                  <a:pt x="2113" y="2157"/>
                </a:moveTo>
                <a:lnTo>
                  <a:pt x="2104" y="2155"/>
                </a:lnTo>
                <a:lnTo>
                  <a:pt x="2093" y="2155"/>
                </a:lnTo>
                <a:lnTo>
                  <a:pt x="2085" y="2150"/>
                </a:lnTo>
                <a:lnTo>
                  <a:pt x="2077" y="2148"/>
                </a:lnTo>
                <a:lnTo>
                  <a:pt x="2070" y="2144"/>
                </a:lnTo>
                <a:lnTo>
                  <a:pt x="2062" y="2138"/>
                </a:lnTo>
                <a:lnTo>
                  <a:pt x="2055" y="2131"/>
                </a:lnTo>
                <a:lnTo>
                  <a:pt x="2049" y="2125"/>
                </a:lnTo>
                <a:lnTo>
                  <a:pt x="2043" y="2119"/>
                </a:lnTo>
                <a:lnTo>
                  <a:pt x="2038" y="2110"/>
                </a:lnTo>
                <a:lnTo>
                  <a:pt x="2030" y="2091"/>
                </a:lnTo>
                <a:lnTo>
                  <a:pt x="2026" y="2083"/>
                </a:lnTo>
                <a:lnTo>
                  <a:pt x="2024" y="2072"/>
                </a:lnTo>
                <a:lnTo>
                  <a:pt x="2022" y="2062"/>
                </a:lnTo>
                <a:lnTo>
                  <a:pt x="2022" y="2051"/>
                </a:lnTo>
                <a:lnTo>
                  <a:pt x="2022" y="2038"/>
                </a:lnTo>
                <a:lnTo>
                  <a:pt x="2024" y="2028"/>
                </a:lnTo>
                <a:lnTo>
                  <a:pt x="2026" y="2017"/>
                </a:lnTo>
                <a:lnTo>
                  <a:pt x="2030" y="2007"/>
                </a:lnTo>
                <a:lnTo>
                  <a:pt x="2034" y="1996"/>
                </a:lnTo>
                <a:lnTo>
                  <a:pt x="2038" y="1988"/>
                </a:lnTo>
                <a:lnTo>
                  <a:pt x="2045" y="1977"/>
                </a:lnTo>
                <a:lnTo>
                  <a:pt x="2049" y="1968"/>
                </a:lnTo>
                <a:lnTo>
                  <a:pt x="2058" y="1962"/>
                </a:lnTo>
                <a:lnTo>
                  <a:pt x="2064" y="1954"/>
                </a:lnTo>
                <a:lnTo>
                  <a:pt x="2072" y="1949"/>
                </a:lnTo>
                <a:lnTo>
                  <a:pt x="2081" y="1943"/>
                </a:lnTo>
                <a:lnTo>
                  <a:pt x="2089" y="1939"/>
                </a:lnTo>
                <a:lnTo>
                  <a:pt x="2100" y="1937"/>
                </a:lnTo>
                <a:lnTo>
                  <a:pt x="2108" y="1935"/>
                </a:lnTo>
                <a:lnTo>
                  <a:pt x="2119" y="1935"/>
                </a:lnTo>
                <a:lnTo>
                  <a:pt x="2129" y="1935"/>
                </a:lnTo>
                <a:lnTo>
                  <a:pt x="2136" y="1937"/>
                </a:lnTo>
                <a:lnTo>
                  <a:pt x="2140" y="1939"/>
                </a:lnTo>
                <a:lnTo>
                  <a:pt x="2151" y="1943"/>
                </a:lnTo>
                <a:lnTo>
                  <a:pt x="2157" y="1949"/>
                </a:lnTo>
                <a:lnTo>
                  <a:pt x="2163" y="1958"/>
                </a:lnTo>
                <a:lnTo>
                  <a:pt x="2168" y="1968"/>
                </a:lnTo>
                <a:lnTo>
                  <a:pt x="2172" y="1979"/>
                </a:lnTo>
                <a:lnTo>
                  <a:pt x="2172" y="1992"/>
                </a:lnTo>
                <a:lnTo>
                  <a:pt x="2172" y="1998"/>
                </a:lnTo>
                <a:lnTo>
                  <a:pt x="2170" y="2007"/>
                </a:lnTo>
                <a:lnTo>
                  <a:pt x="2168" y="2013"/>
                </a:lnTo>
                <a:lnTo>
                  <a:pt x="2165" y="2019"/>
                </a:lnTo>
                <a:lnTo>
                  <a:pt x="2161" y="2028"/>
                </a:lnTo>
                <a:lnTo>
                  <a:pt x="2157" y="2034"/>
                </a:lnTo>
                <a:lnTo>
                  <a:pt x="2146" y="2045"/>
                </a:lnTo>
                <a:lnTo>
                  <a:pt x="2140" y="2051"/>
                </a:lnTo>
                <a:lnTo>
                  <a:pt x="2134" y="2055"/>
                </a:lnTo>
                <a:lnTo>
                  <a:pt x="2119" y="2062"/>
                </a:lnTo>
                <a:lnTo>
                  <a:pt x="2113" y="2066"/>
                </a:lnTo>
                <a:lnTo>
                  <a:pt x="2104" y="2068"/>
                </a:lnTo>
                <a:lnTo>
                  <a:pt x="2089" y="2068"/>
                </a:lnTo>
                <a:lnTo>
                  <a:pt x="2083" y="2068"/>
                </a:lnTo>
                <a:lnTo>
                  <a:pt x="2081" y="2066"/>
                </a:lnTo>
                <a:lnTo>
                  <a:pt x="2079" y="2064"/>
                </a:lnTo>
                <a:lnTo>
                  <a:pt x="2077" y="2059"/>
                </a:lnTo>
                <a:lnTo>
                  <a:pt x="2074" y="2057"/>
                </a:lnTo>
                <a:lnTo>
                  <a:pt x="2074" y="2049"/>
                </a:lnTo>
                <a:lnTo>
                  <a:pt x="2074" y="2043"/>
                </a:lnTo>
                <a:lnTo>
                  <a:pt x="2077" y="2040"/>
                </a:lnTo>
                <a:lnTo>
                  <a:pt x="2079" y="2038"/>
                </a:lnTo>
                <a:lnTo>
                  <a:pt x="2091" y="2036"/>
                </a:lnTo>
                <a:lnTo>
                  <a:pt x="2104" y="2032"/>
                </a:lnTo>
                <a:lnTo>
                  <a:pt x="2115" y="2026"/>
                </a:lnTo>
                <a:lnTo>
                  <a:pt x="2123" y="2019"/>
                </a:lnTo>
                <a:lnTo>
                  <a:pt x="2129" y="2011"/>
                </a:lnTo>
                <a:lnTo>
                  <a:pt x="2134" y="2007"/>
                </a:lnTo>
                <a:lnTo>
                  <a:pt x="2136" y="2002"/>
                </a:lnTo>
                <a:lnTo>
                  <a:pt x="2140" y="1994"/>
                </a:lnTo>
                <a:lnTo>
                  <a:pt x="2140" y="1985"/>
                </a:lnTo>
                <a:lnTo>
                  <a:pt x="2140" y="1981"/>
                </a:lnTo>
                <a:lnTo>
                  <a:pt x="2138" y="1977"/>
                </a:lnTo>
                <a:lnTo>
                  <a:pt x="2136" y="1973"/>
                </a:lnTo>
                <a:lnTo>
                  <a:pt x="2134" y="1971"/>
                </a:lnTo>
                <a:lnTo>
                  <a:pt x="2129" y="1966"/>
                </a:lnTo>
                <a:lnTo>
                  <a:pt x="2125" y="1966"/>
                </a:lnTo>
                <a:lnTo>
                  <a:pt x="2117" y="1964"/>
                </a:lnTo>
                <a:lnTo>
                  <a:pt x="2106" y="1966"/>
                </a:lnTo>
                <a:lnTo>
                  <a:pt x="2100" y="1968"/>
                </a:lnTo>
                <a:lnTo>
                  <a:pt x="2096" y="1971"/>
                </a:lnTo>
                <a:lnTo>
                  <a:pt x="2089" y="1975"/>
                </a:lnTo>
                <a:lnTo>
                  <a:pt x="2085" y="1979"/>
                </a:lnTo>
                <a:lnTo>
                  <a:pt x="2074" y="1990"/>
                </a:lnTo>
                <a:lnTo>
                  <a:pt x="2070" y="1994"/>
                </a:lnTo>
                <a:lnTo>
                  <a:pt x="2068" y="2002"/>
                </a:lnTo>
                <a:lnTo>
                  <a:pt x="2062" y="2015"/>
                </a:lnTo>
                <a:lnTo>
                  <a:pt x="2058" y="2032"/>
                </a:lnTo>
                <a:lnTo>
                  <a:pt x="2055" y="2040"/>
                </a:lnTo>
                <a:lnTo>
                  <a:pt x="2055" y="2049"/>
                </a:lnTo>
                <a:lnTo>
                  <a:pt x="2058" y="2064"/>
                </a:lnTo>
                <a:lnTo>
                  <a:pt x="2058" y="2070"/>
                </a:lnTo>
                <a:lnTo>
                  <a:pt x="2060" y="2076"/>
                </a:lnTo>
                <a:lnTo>
                  <a:pt x="2064" y="2089"/>
                </a:lnTo>
                <a:lnTo>
                  <a:pt x="2072" y="2100"/>
                </a:lnTo>
                <a:lnTo>
                  <a:pt x="2081" y="2108"/>
                </a:lnTo>
                <a:lnTo>
                  <a:pt x="2085" y="2112"/>
                </a:lnTo>
                <a:lnTo>
                  <a:pt x="2089" y="2115"/>
                </a:lnTo>
                <a:lnTo>
                  <a:pt x="2102" y="2119"/>
                </a:lnTo>
                <a:lnTo>
                  <a:pt x="2108" y="2121"/>
                </a:lnTo>
                <a:lnTo>
                  <a:pt x="2115" y="2121"/>
                </a:lnTo>
                <a:lnTo>
                  <a:pt x="2125" y="2119"/>
                </a:lnTo>
                <a:lnTo>
                  <a:pt x="2138" y="2115"/>
                </a:lnTo>
                <a:lnTo>
                  <a:pt x="2144" y="2112"/>
                </a:lnTo>
                <a:lnTo>
                  <a:pt x="2149" y="2110"/>
                </a:lnTo>
                <a:lnTo>
                  <a:pt x="2159" y="2102"/>
                </a:lnTo>
                <a:lnTo>
                  <a:pt x="2170" y="2093"/>
                </a:lnTo>
                <a:lnTo>
                  <a:pt x="2178" y="2083"/>
                </a:lnTo>
                <a:lnTo>
                  <a:pt x="2185" y="2070"/>
                </a:lnTo>
                <a:lnTo>
                  <a:pt x="2193" y="2057"/>
                </a:lnTo>
                <a:lnTo>
                  <a:pt x="2199" y="2045"/>
                </a:lnTo>
                <a:lnTo>
                  <a:pt x="2204" y="2030"/>
                </a:lnTo>
                <a:lnTo>
                  <a:pt x="2208" y="2017"/>
                </a:lnTo>
                <a:lnTo>
                  <a:pt x="2212" y="2002"/>
                </a:lnTo>
                <a:lnTo>
                  <a:pt x="2214" y="1988"/>
                </a:lnTo>
                <a:lnTo>
                  <a:pt x="2216" y="1973"/>
                </a:lnTo>
                <a:lnTo>
                  <a:pt x="2216" y="1960"/>
                </a:lnTo>
                <a:lnTo>
                  <a:pt x="2216" y="1947"/>
                </a:lnTo>
                <a:lnTo>
                  <a:pt x="2216" y="1943"/>
                </a:lnTo>
                <a:lnTo>
                  <a:pt x="2221" y="1941"/>
                </a:lnTo>
                <a:lnTo>
                  <a:pt x="2225" y="1939"/>
                </a:lnTo>
                <a:lnTo>
                  <a:pt x="2229" y="1939"/>
                </a:lnTo>
                <a:lnTo>
                  <a:pt x="2237" y="1941"/>
                </a:lnTo>
                <a:lnTo>
                  <a:pt x="2242" y="1943"/>
                </a:lnTo>
                <a:lnTo>
                  <a:pt x="2244" y="1945"/>
                </a:lnTo>
                <a:lnTo>
                  <a:pt x="2248" y="1954"/>
                </a:lnTo>
                <a:lnTo>
                  <a:pt x="2250" y="1958"/>
                </a:lnTo>
                <a:lnTo>
                  <a:pt x="2250" y="1964"/>
                </a:lnTo>
                <a:lnTo>
                  <a:pt x="2248" y="1983"/>
                </a:lnTo>
                <a:lnTo>
                  <a:pt x="2246" y="2002"/>
                </a:lnTo>
                <a:lnTo>
                  <a:pt x="2244" y="2019"/>
                </a:lnTo>
                <a:lnTo>
                  <a:pt x="2240" y="2038"/>
                </a:lnTo>
                <a:lnTo>
                  <a:pt x="2233" y="2053"/>
                </a:lnTo>
                <a:lnTo>
                  <a:pt x="2227" y="2070"/>
                </a:lnTo>
                <a:lnTo>
                  <a:pt x="2218" y="2085"/>
                </a:lnTo>
                <a:lnTo>
                  <a:pt x="2210" y="2098"/>
                </a:lnTo>
                <a:lnTo>
                  <a:pt x="2201" y="2110"/>
                </a:lnTo>
                <a:lnTo>
                  <a:pt x="2195" y="2117"/>
                </a:lnTo>
                <a:lnTo>
                  <a:pt x="2191" y="2123"/>
                </a:lnTo>
                <a:lnTo>
                  <a:pt x="2178" y="2131"/>
                </a:lnTo>
                <a:lnTo>
                  <a:pt x="2168" y="2140"/>
                </a:lnTo>
                <a:lnTo>
                  <a:pt x="2155" y="2146"/>
                </a:lnTo>
                <a:lnTo>
                  <a:pt x="2142" y="2153"/>
                </a:lnTo>
                <a:lnTo>
                  <a:pt x="2127" y="2155"/>
                </a:lnTo>
                <a:lnTo>
                  <a:pt x="2113" y="2157"/>
                </a:lnTo>
                <a:close/>
                <a:moveTo>
                  <a:pt x="2343" y="2153"/>
                </a:moveTo>
                <a:lnTo>
                  <a:pt x="2337" y="2150"/>
                </a:lnTo>
                <a:lnTo>
                  <a:pt x="2328" y="2144"/>
                </a:lnTo>
                <a:lnTo>
                  <a:pt x="2312" y="2129"/>
                </a:lnTo>
                <a:lnTo>
                  <a:pt x="2292" y="2110"/>
                </a:lnTo>
                <a:lnTo>
                  <a:pt x="2273" y="2089"/>
                </a:lnTo>
                <a:lnTo>
                  <a:pt x="2267" y="2081"/>
                </a:lnTo>
                <a:lnTo>
                  <a:pt x="2263" y="2074"/>
                </a:lnTo>
                <a:lnTo>
                  <a:pt x="2256" y="2062"/>
                </a:lnTo>
                <a:lnTo>
                  <a:pt x="2256" y="2055"/>
                </a:lnTo>
                <a:lnTo>
                  <a:pt x="2254" y="2051"/>
                </a:lnTo>
                <a:lnTo>
                  <a:pt x="2256" y="2043"/>
                </a:lnTo>
                <a:lnTo>
                  <a:pt x="2259" y="2036"/>
                </a:lnTo>
                <a:lnTo>
                  <a:pt x="2261" y="2028"/>
                </a:lnTo>
                <a:lnTo>
                  <a:pt x="2267" y="2019"/>
                </a:lnTo>
                <a:lnTo>
                  <a:pt x="2278" y="2004"/>
                </a:lnTo>
                <a:lnTo>
                  <a:pt x="2297" y="1985"/>
                </a:lnTo>
                <a:lnTo>
                  <a:pt x="2339" y="1937"/>
                </a:lnTo>
                <a:lnTo>
                  <a:pt x="2345" y="1937"/>
                </a:lnTo>
                <a:lnTo>
                  <a:pt x="2352" y="1941"/>
                </a:lnTo>
                <a:lnTo>
                  <a:pt x="2356" y="1945"/>
                </a:lnTo>
                <a:lnTo>
                  <a:pt x="2360" y="1949"/>
                </a:lnTo>
                <a:lnTo>
                  <a:pt x="2360" y="1956"/>
                </a:lnTo>
                <a:lnTo>
                  <a:pt x="2360" y="1962"/>
                </a:lnTo>
                <a:lnTo>
                  <a:pt x="2358" y="1966"/>
                </a:lnTo>
                <a:lnTo>
                  <a:pt x="2356" y="1968"/>
                </a:lnTo>
                <a:lnTo>
                  <a:pt x="2326" y="2002"/>
                </a:lnTo>
                <a:lnTo>
                  <a:pt x="2307" y="2023"/>
                </a:lnTo>
                <a:lnTo>
                  <a:pt x="2295" y="2038"/>
                </a:lnTo>
                <a:lnTo>
                  <a:pt x="2292" y="2045"/>
                </a:lnTo>
                <a:lnTo>
                  <a:pt x="2292" y="2049"/>
                </a:lnTo>
                <a:lnTo>
                  <a:pt x="2292" y="2053"/>
                </a:lnTo>
                <a:lnTo>
                  <a:pt x="2297" y="2059"/>
                </a:lnTo>
                <a:lnTo>
                  <a:pt x="2307" y="2072"/>
                </a:lnTo>
                <a:lnTo>
                  <a:pt x="2324" y="2089"/>
                </a:lnTo>
                <a:lnTo>
                  <a:pt x="2343" y="2108"/>
                </a:lnTo>
                <a:lnTo>
                  <a:pt x="2362" y="2127"/>
                </a:lnTo>
                <a:lnTo>
                  <a:pt x="2362" y="2129"/>
                </a:lnTo>
                <a:lnTo>
                  <a:pt x="2364" y="2131"/>
                </a:lnTo>
                <a:lnTo>
                  <a:pt x="2364" y="2136"/>
                </a:lnTo>
                <a:lnTo>
                  <a:pt x="2362" y="2140"/>
                </a:lnTo>
                <a:lnTo>
                  <a:pt x="2358" y="2146"/>
                </a:lnTo>
                <a:lnTo>
                  <a:pt x="2350" y="2150"/>
                </a:lnTo>
                <a:lnTo>
                  <a:pt x="2348" y="2153"/>
                </a:lnTo>
                <a:lnTo>
                  <a:pt x="2343" y="2153"/>
                </a:lnTo>
                <a:close/>
                <a:moveTo>
                  <a:pt x="754" y="991"/>
                </a:moveTo>
                <a:lnTo>
                  <a:pt x="743" y="991"/>
                </a:lnTo>
                <a:lnTo>
                  <a:pt x="735" y="988"/>
                </a:lnTo>
                <a:lnTo>
                  <a:pt x="726" y="986"/>
                </a:lnTo>
                <a:lnTo>
                  <a:pt x="718" y="982"/>
                </a:lnTo>
                <a:lnTo>
                  <a:pt x="709" y="978"/>
                </a:lnTo>
                <a:lnTo>
                  <a:pt x="703" y="972"/>
                </a:lnTo>
                <a:lnTo>
                  <a:pt x="696" y="965"/>
                </a:lnTo>
                <a:lnTo>
                  <a:pt x="690" y="959"/>
                </a:lnTo>
                <a:lnTo>
                  <a:pt x="684" y="952"/>
                </a:lnTo>
                <a:lnTo>
                  <a:pt x="677" y="944"/>
                </a:lnTo>
                <a:lnTo>
                  <a:pt x="669" y="925"/>
                </a:lnTo>
                <a:lnTo>
                  <a:pt x="667" y="917"/>
                </a:lnTo>
                <a:lnTo>
                  <a:pt x="665" y="906"/>
                </a:lnTo>
                <a:lnTo>
                  <a:pt x="663" y="895"/>
                </a:lnTo>
                <a:lnTo>
                  <a:pt x="663" y="885"/>
                </a:lnTo>
                <a:lnTo>
                  <a:pt x="663" y="872"/>
                </a:lnTo>
                <a:lnTo>
                  <a:pt x="665" y="861"/>
                </a:lnTo>
                <a:lnTo>
                  <a:pt x="667" y="851"/>
                </a:lnTo>
                <a:lnTo>
                  <a:pt x="671" y="840"/>
                </a:lnTo>
                <a:lnTo>
                  <a:pt x="673" y="830"/>
                </a:lnTo>
                <a:lnTo>
                  <a:pt x="679" y="821"/>
                </a:lnTo>
                <a:lnTo>
                  <a:pt x="684" y="811"/>
                </a:lnTo>
                <a:lnTo>
                  <a:pt x="690" y="802"/>
                </a:lnTo>
                <a:lnTo>
                  <a:pt x="696" y="796"/>
                </a:lnTo>
                <a:lnTo>
                  <a:pt x="705" y="790"/>
                </a:lnTo>
                <a:lnTo>
                  <a:pt x="713" y="783"/>
                </a:lnTo>
                <a:lnTo>
                  <a:pt x="722" y="777"/>
                </a:lnTo>
                <a:lnTo>
                  <a:pt x="730" y="773"/>
                </a:lnTo>
                <a:lnTo>
                  <a:pt x="739" y="770"/>
                </a:lnTo>
                <a:lnTo>
                  <a:pt x="749" y="768"/>
                </a:lnTo>
                <a:lnTo>
                  <a:pt x="760" y="768"/>
                </a:lnTo>
                <a:lnTo>
                  <a:pt x="771" y="768"/>
                </a:lnTo>
                <a:lnTo>
                  <a:pt x="777" y="770"/>
                </a:lnTo>
                <a:lnTo>
                  <a:pt x="781" y="773"/>
                </a:lnTo>
                <a:lnTo>
                  <a:pt x="792" y="777"/>
                </a:lnTo>
                <a:lnTo>
                  <a:pt x="798" y="785"/>
                </a:lnTo>
                <a:lnTo>
                  <a:pt x="804" y="792"/>
                </a:lnTo>
                <a:lnTo>
                  <a:pt x="809" y="802"/>
                </a:lnTo>
                <a:lnTo>
                  <a:pt x="813" y="813"/>
                </a:lnTo>
                <a:lnTo>
                  <a:pt x="813" y="825"/>
                </a:lnTo>
                <a:lnTo>
                  <a:pt x="813" y="832"/>
                </a:lnTo>
                <a:lnTo>
                  <a:pt x="811" y="840"/>
                </a:lnTo>
                <a:lnTo>
                  <a:pt x="809" y="847"/>
                </a:lnTo>
                <a:lnTo>
                  <a:pt x="806" y="855"/>
                </a:lnTo>
                <a:lnTo>
                  <a:pt x="802" y="861"/>
                </a:lnTo>
                <a:lnTo>
                  <a:pt x="798" y="868"/>
                </a:lnTo>
                <a:lnTo>
                  <a:pt x="787" y="878"/>
                </a:lnTo>
                <a:lnTo>
                  <a:pt x="781" y="885"/>
                </a:lnTo>
                <a:lnTo>
                  <a:pt x="775" y="889"/>
                </a:lnTo>
                <a:lnTo>
                  <a:pt x="760" y="895"/>
                </a:lnTo>
                <a:lnTo>
                  <a:pt x="754" y="900"/>
                </a:lnTo>
                <a:lnTo>
                  <a:pt x="745" y="902"/>
                </a:lnTo>
                <a:lnTo>
                  <a:pt x="730" y="902"/>
                </a:lnTo>
                <a:lnTo>
                  <a:pt x="724" y="902"/>
                </a:lnTo>
                <a:lnTo>
                  <a:pt x="722" y="900"/>
                </a:lnTo>
                <a:lnTo>
                  <a:pt x="720" y="897"/>
                </a:lnTo>
                <a:lnTo>
                  <a:pt x="718" y="893"/>
                </a:lnTo>
                <a:lnTo>
                  <a:pt x="715" y="891"/>
                </a:lnTo>
                <a:lnTo>
                  <a:pt x="715" y="883"/>
                </a:lnTo>
                <a:lnTo>
                  <a:pt x="715" y="876"/>
                </a:lnTo>
                <a:lnTo>
                  <a:pt x="718" y="874"/>
                </a:lnTo>
                <a:lnTo>
                  <a:pt x="720" y="874"/>
                </a:lnTo>
                <a:lnTo>
                  <a:pt x="732" y="870"/>
                </a:lnTo>
                <a:lnTo>
                  <a:pt x="743" y="866"/>
                </a:lnTo>
                <a:lnTo>
                  <a:pt x="754" y="859"/>
                </a:lnTo>
                <a:lnTo>
                  <a:pt x="764" y="853"/>
                </a:lnTo>
                <a:lnTo>
                  <a:pt x="771" y="845"/>
                </a:lnTo>
                <a:lnTo>
                  <a:pt x="775" y="842"/>
                </a:lnTo>
                <a:lnTo>
                  <a:pt x="777" y="838"/>
                </a:lnTo>
                <a:lnTo>
                  <a:pt x="779" y="830"/>
                </a:lnTo>
                <a:lnTo>
                  <a:pt x="781" y="821"/>
                </a:lnTo>
                <a:lnTo>
                  <a:pt x="781" y="815"/>
                </a:lnTo>
                <a:lnTo>
                  <a:pt x="779" y="811"/>
                </a:lnTo>
                <a:lnTo>
                  <a:pt x="777" y="806"/>
                </a:lnTo>
                <a:lnTo>
                  <a:pt x="775" y="804"/>
                </a:lnTo>
                <a:lnTo>
                  <a:pt x="771" y="802"/>
                </a:lnTo>
                <a:lnTo>
                  <a:pt x="766" y="800"/>
                </a:lnTo>
                <a:lnTo>
                  <a:pt x="756" y="798"/>
                </a:lnTo>
                <a:lnTo>
                  <a:pt x="745" y="800"/>
                </a:lnTo>
                <a:lnTo>
                  <a:pt x="741" y="802"/>
                </a:lnTo>
                <a:lnTo>
                  <a:pt x="735" y="804"/>
                </a:lnTo>
                <a:lnTo>
                  <a:pt x="730" y="809"/>
                </a:lnTo>
                <a:lnTo>
                  <a:pt x="726" y="813"/>
                </a:lnTo>
                <a:lnTo>
                  <a:pt x="715" y="823"/>
                </a:lnTo>
                <a:lnTo>
                  <a:pt x="711" y="830"/>
                </a:lnTo>
                <a:lnTo>
                  <a:pt x="707" y="836"/>
                </a:lnTo>
                <a:lnTo>
                  <a:pt x="703" y="849"/>
                </a:lnTo>
                <a:lnTo>
                  <a:pt x="699" y="866"/>
                </a:lnTo>
                <a:lnTo>
                  <a:pt x="696" y="874"/>
                </a:lnTo>
                <a:lnTo>
                  <a:pt x="696" y="883"/>
                </a:lnTo>
                <a:lnTo>
                  <a:pt x="696" y="897"/>
                </a:lnTo>
                <a:lnTo>
                  <a:pt x="699" y="904"/>
                </a:lnTo>
                <a:lnTo>
                  <a:pt x="701" y="912"/>
                </a:lnTo>
                <a:lnTo>
                  <a:pt x="705" y="923"/>
                </a:lnTo>
                <a:lnTo>
                  <a:pt x="711" y="933"/>
                </a:lnTo>
                <a:lnTo>
                  <a:pt x="720" y="942"/>
                </a:lnTo>
                <a:lnTo>
                  <a:pt x="726" y="946"/>
                </a:lnTo>
                <a:lnTo>
                  <a:pt x="730" y="948"/>
                </a:lnTo>
                <a:lnTo>
                  <a:pt x="741" y="952"/>
                </a:lnTo>
                <a:lnTo>
                  <a:pt x="747" y="955"/>
                </a:lnTo>
                <a:lnTo>
                  <a:pt x="754" y="955"/>
                </a:lnTo>
                <a:lnTo>
                  <a:pt x="766" y="952"/>
                </a:lnTo>
                <a:lnTo>
                  <a:pt x="779" y="950"/>
                </a:lnTo>
                <a:lnTo>
                  <a:pt x="785" y="946"/>
                </a:lnTo>
                <a:lnTo>
                  <a:pt x="790" y="944"/>
                </a:lnTo>
                <a:lnTo>
                  <a:pt x="800" y="936"/>
                </a:lnTo>
                <a:lnTo>
                  <a:pt x="809" y="927"/>
                </a:lnTo>
                <a:lnTo>
                  <a:pt x="817" y="917"/>
                </a:lnTo>
                <a:lnTo>
                  <a:pt x="826" y="906"/>
                </a:lnTo>
                <a:lnTo>
                  <a:pt x="832" y="893"/>
                </a:lnTo>
                <a:lnTo>
                  <a:pt x="838" y="878"/>
                </a:lnTo>
                <a:lnTo>
                  <a:pt x="845" y="864"/>
                </a:lnTo>
                <a:lnTo>
                  <a:pt x="849" y="851"/>
                </a:lnTo>
                <a:lnTo>
                  <a:pt x="851" y="836"/>
                </a:lnTo>
                <a:lnTo>
                  <a:pt x="855" y="821"/>
                </a:lnTo>
                <a:lnTo>
                  <a:pt x="855" y="806"/>
                </a:lnTo>
                <a:lnTo>
                  <a:pt x="857" y="794"/>
                </a:lnTo>
                <a:lnTo>
                  <a:pt x="855" y="781"/>
                </a:lnTo>
                <a:lnTo>
                  <a:pt x="857" y="777"/>
                </a:lnTo>
                <a:lnTo>
                  <a:pt x="862" y="775"/>
                </a:lnTo>
                <a:lnTo>
                  <a:pt x="866" y="775"/>
                </a:lnTo>
                <a:lnTo>
                  <a:pt x="870" y="773"/>
                </a:lnTo>
                <a:lnTo>
                  <a:pt x="878" y="775"/>
                </a:lnTo>
                <a:lnTo>
                  <a:pt x="881" y="777"/>
                </a:lnTo>
                <a:lnTo>
                  <a:pt x="885" y="779"/>
                </a:lnTo>
                <a:lnTo>
                  <a:pt x="889" y="787"/>
                </a:lnTo>
                <a:lnTo>
                  <a:pt x="889" y="792"/>
                </a:lnTo>
                <a:lnTo>
                  <a:pt x="891" y="800"/>
                </a:lnTo>
                <a:lnTo>
                  <a:pt x="889" y="817"/>
                </a:lnTo>
                <a:lnTo>
                  <a:pt x="887" y="836"/>
                </a:lnTo>
                <a:lnTo>
                  <a:pt x="883" y="855"/>
                </a:lnTo>
                <a:lnTo>
                  <a:pt x="878" y="872"/>
                </a:lnTo>
                <a:lnTo>
                  <a:pt x="874" y="889"/>
                </a:lnTo>
                <a:lnTo>
                  <a:pt x="868" y="904"/>
                </a:lnTo>
                <a:lnTo>
                  <a:pt x="859" y="919"/>
                </a:lnTo>
                <a:lnTo>
                  <a:pt x="851" y="933"/>
                </a:lnTo>
                <a:lnTo>
                  <a:pt x="840" y="944"/>
                </a:lnTo>
                <a:lnTo>
                  <a:pt x="836" y="950"/>
                </a:lnTo>
                <a:lnTo>
                  <a:pt x="832" y="957"/>
                </a:lnTo>
                <a:lnTo>
                  <a:pt x="819" y="965"/>
                </a:lnTo>
                <a:lnTo>
                  <a:pt x="809" y="974"/>
                </a:lnTo>
                <a:lnTo>
                  <a:pt x="796" y="982"/>
                </a:lnTo>
                <a:lnTo>
                  <a:pt x="781" y="986"/>
                </a:lnTo>
                <a:lnTo>
                  <a:pt x="768" y="988"/>
                </a:lnTo>
                <a:lnTo>
                  <a:pt x="754" y="991"/>
                </a:lnTo>
                <a:close/>
                <a:moveTo>
                  <a:pt x="984" y="986"/>
                </a:moveTo>
                <a:lnTo>
                  <a:pt x="978" y="984"/>
                </a:lnTo>
                <a:lnTo>
                  <a:pt x="969" y="978"/>
                </a:lnTo>
                <a:lnTo>
                  <a:pt x="953" y="963"/>
                </a:lnTo>
                <a:lnTo>
                  <a:pt x="934" y="944"/>
                </a:lnTo>
                <a:lnTo>
                  <a:pt x="914" y="923"/>
                </a:lnTo>
                <a:lnTo>
                  <a:pt x="908" y="914"/>
                </a:lnTo>
                <a:lnTo>
                  <a:pt x="904" y="908"/>
                </a:lnTo>
                <a:lnTo>
                  <a:pt x="898" y="895"/>
                </a:lnTo>
                <a:lnTo>
                  <a:pt x="895" y="889"/>
                </a:lnTo>
                <a:lnTo>
                  <a:pt x="895" y="885"/>
                </a:lnTo>
                <a:lnTo>
                  <a:pt x="898" y="876"/>
                </a:lnTo>
                <a:lnTo>
                  <a:pt x="900" y="870"/>
                </a:lnTo>
                <a:lnTo>
                  <a:pt x="902" y="861"/>
                </a:lnTo>
                <a:lnTo>
                  <a:pt x="908" y="855"/>
                </a:lnTo>
                <a:lnTo>
                  <a:pt x="919" y="840"/>
                </a:lnTo>
                <a:lnTo>
                  <a:pt x="938" y="819"/>
                </a:lnTo>
                <a:lnTo>
                  <a:pt x="980" y="770"/>
                </a:lnTo>
                <a:lnTo>
                  <a:pt x="984" y="773"/>
                </a:lnTo>
                <a:lnTo>
                  <a:pt x="991" y="775"/>
                </a:lnTo>
                <a:lnTo>
                  <a:pt x="997" y="779"/>
                </a:lnTo>
                <a:lnTo>
                  <a:pt x="1001" y="783"/>
                </a:lnTo>
                <a:lnTo>
                  <a:pt x="1001" y="790"/>
                </a:lnTo>
                <a:lnTo>
                  <a:pt x="999" y="796"/>
                </a:lnTo>
                <a:lnTo>
                  <a:pt x="999" y="800"/>
                </a:lnTo>
                <a:lnTo>
                  <a:pt x="997" y="802"/>
                </a:lnTo>
                <a:lnTo>
                  <a:pt x="967" y="838"/>
                </a:lnTo>
                <a:lnTo>
                  <a:pt x="948" y="857"/>
                </a:lnTo>
                <a:lnTo>
                  <a:pt x="936" y="874"/>
                </a:lnTo>
                <a:lnTo>
                  <a:pt x="934" y="878"/>
                </a:lnTo>
                <a:lnTo>
                  <a:pt x="931" y="883"/>
                </a:lnTo>
                <a:lnTo>
                  <a:pt x="934" y="887"/>
                </a:lnTo>
                <a:lnTo>
                  <a:pt x="936" y="893"/>
                </a:lnTo>
                <a:lnTo>
                  <a:pt x="948" y="906"/>
                </a:lnTo>
                <a:lnTo>
                  <a:pt x="963" y="923"/>
                </a:lnTo>
                <a:lnTo>
                  <a:pt x="982" y="942"/>
                </a:lnTo>
                <a:lnTo>
                  <a:pt x="1001" y="961"/>
                </a:lnTo>
                <a:lnTo>
                  <a:pt x="1003" y="963"/>
                </a:lnTo>
                <a:lnTo>
                  <a:pt x="1005" y="967"/>
                </a:lnTo>
                <a:lnTo>
                  <a:pt x="1003" y="969"/>
                </a:lnTo>
                <a:lnTo>
                  <a:pt x="1003" y="974"/>
                </a:lnTo>
                <a:lnTo>
                  <a:pt x="997" y="980"/>
                </a:lnTo>
                <a:lnTo>
                  <a:pt x="991" y="984"/>
                </a:lnTo>
                <a:lnTo>
                  <a:pt x="986" y="986"/>
                </a:lnTo>
                <a:lnTo>
                  <a:pt x="984" y="986"/>
                </a:lnTo>
                <a:close/>
                <a:moveTo>
                  <a:pt x="754" y="1581"/>
                </a:moveTo>
                <a:lnTo>
                  <a:pt x="743" y="1581"/>
                </a:lnTo>
                <a:lnTo>
                  <a:pt x="735" y="1579"/>
                </a:lnTo>
                <a:lnTo>
                  <a:pt x="726" y="1577"/>
                </a:lnTo>
                <a:lnTo>
                  <a:pt x="718" y="1573"/>
                </a:lnTo>
                <a:lnTo>
                  <a:pt x="709" y="1568"/>
                </a:lnTo>
                <a:lnTo>
                  <a:pt x="703" y="1564"/>
                </a:lnTo>
                <a:lnTo>
                  <a:pt x="696" y="1558"/>
                </a:lnTo>
                <a:lnTo>
                  <a:pt x="690" y="1551"/>
                </a:lnTo>
                <a:lnTo>
                  <a:pt x="684" y="1543"/>
                </a:lnTo>
                <a:lnTo>
                  <a:pt x="677" y="1535"/>
                </a:lnTo>
                <a:lnTo>
                  <a:pt x="669" y="1518"/>
                </a:lnTo>
                <a:lnTo>
                  <a:pt x="667" y="1507"/>
                </a:lnTo>
                <a:lnTo>
                  <a:pt x="665" y="1496"/>
                </a:lnTo>
                <a:lnTo>
                  <a:pt x="663" y="1486"/>
                </a:lnTo>
                <a:lnTo>
                  <a:pt x="663" y="1475"/>
                </a:lnTo>
                <a:lnTo>
                  <a:pt x="663" y="1465"/>
                </a:lnTo>
                <a:lnTo>
                  <a:pt x="665" y="1454"/>
                </a:lnTo>
                <a:lnTo>
                  <a:pt x="667" y="1444"/>
                </a:lnTo>
                <a:lnTo>
                  <a:pt x="671" y="1433"/>
                </a:lnTo>
                <a:lnTo>
                  <a:pt x="673" y="1422"/>
                </a:lnTo>
                <a:lnTo>
                  <a:pt x="679" y="1412"/>
                </a:lnTo>
                <a:lnTo>
                  <a:pt x="684" y="1403"/>
                </a:lnTo>
                <a:lnTo>
                  <a:pt x="690" y="1395"/>
                </a:lnTo>
                <a:lnTo>
                  <a:pt x="696" y="1386"/>
                </a:lnTo>
                <a:lnTo>
                  <a:pt x="705" y="1380"/>
                </a:lnTo>
                <a:lnTo>
                  <a:pt x="713" y="1374"/>
                </a:lnTo>
                <a:lnTo>
                  <a:pt x="722" y="1369"/>
                </a:lnTo>
                <a:lnTo>
                  <a:pt x="730" y="1365"/>
                </a:lnTo>
                <a:lnTo>
                  <a:pt x="739" y="1361"/>
                </a:lnTo>
                <a:lnTo>
                  <a:pt x="749" y="1361"/>
                </a:lnTo>
                <a:lnTo>
                  <a:pt x="760" y="1359"/>
                </a:lnTo>
                <a:lnTo>
                  <a:pt x="771" y="1361"/>
                </a:lnTo>
                <a:lnTo>
                  <a:pt x="777" y="1361"/>
                </a:lnTo>
                <a:lnTo>
                  <a:pt x="781" y="1363"/>
                </a:lnTo>
                <a:lnTo>
                  <a:pt x="792" y="1369"/>
                </a:lnTo>
                <a:lnTo>
                  <a:pt x="798" y="1376"/>
                </a:lnTo>
                <a:lnTo>
                  <a:pt x="804" y="1384"/>
                </a:lnTo>
                <a:lnTo>
                  <a:pt x="809" y="1395"/>
                </a:lnTo>
                <a:lnTo>
                  <a:pt x="813" y="1405"/>
                </a:lnTo>
                <a:lnTo>
                  <a:pt x="813" y="1416"/>
                </a:lnTo>
                <a:lnTo>
                  <a:pt x="813" y="1424"/>
                </a:lnTo>
                <a:lnTo>
                  <a:pt x="811" y="1431"/>
                </a:lnTo>
                <a:lnTo>
                  <a:pt x="809" y="1439"/>
                </a:lnTo>
                <a:lnTo>
                  <a:pt x="806" y="1446"/>
                </a:lnTo>
                <a:lnTo>
                  <a:pt x="802" y="1452"/>
                </a:lnTo>
                <a:lnTo>
                  <a:pt x="798" y="1458"/>
                </a:lnTo>
                <a:lnTo>
                  <a:pt x="787" y="1471"/>
                </a:lnTo>
                <a:lnTo>
                  <a:pt x="781" y="1475"/>
                </a:lnTo>
                <a:lnTo>
                  <a:pt x="775" y="1480"/>
                </a:lnTo>
                <a:lnTo>
                  <a:pt x="760" y="1488"/>
                </a:lnTo>
                <a:lnTo>
                  <a:pt x="754" y="1490"/>
                </a:lnTo>
                <a:lnTo>
                  <a:pt x="745" y="1492"/>
                </a:lnTo>
                <a:lnTo>
                  <a:pt x="730" y="1494"/>
                </a:lnTo>
                <a:lnTo>
                  <a:pt x="724" y="1492"/>
                </a:lnTo>
                <a:lnTo>
                  <a:pt x="722" y="1490"/>
                </a:lnTo>
                <a:lnTo>
                  <a:pt x="720" y="1488"/>
                </a:lnTo>
                <a:lnTo>
                  <a:pt x="718" y="1486"/>
                </a:lnTo>
                <a:lnTo>
                  <a:pt x="715" y="1482"/>
                </a:lnTo>
                <a:lnTo>
                  <a:pt x="715" y="1475"/>
                </a:lnTo>
                <a:lnTo>
                  <a:pt x="715" y="1469"/>
                </a:lnTo>
                <a:lnTo>
                  <a:pt x="718" y="1467"/>
                </a:lnTo>
                <a:lnTo>
                  <a:pt x="720" y="1465"/>
                </a:lnTo>
                <a:lnTo>
                  <a:pt x="732" y="1463"/>
                </a:lnTo>
                <a:lnTo>
                  <a:pt x="743" y="1458"/>
                </a:lnTo>
                <a:lnTo>
                  <a:pt x="754" y="1452"/>
                </a:lnTo>
                <a:lnTo>
                  <a:pt x="764" y="1446"/>
                </a:lnTo>
                <a:lnTo>
                  <a:pt x="771" y="1437"/>
                </a:lnTo>
                <a:lnTo>
                  <a:pt x="775" y="1433"/>
                </a:lnTo>
                <a:lnTo>
                  <a:pt x="777" y="1429"/>
                </a:lnTo>
                <a:lnTo>
                  <a:pt x="779" y="1420"/>
                </a:lnTo>
                <a:lnTo>
                  <a:pt x="781" y="1412"/>
                </a:lnTo>
                <a:lnTo>
                  <a:pt x="781" y="1408"/>
                </a:lnTo>
                <a:lnTo>
                  <a:pt x="779" y="1403"/>
                </a:lnTo>
                <a:lnTo>
                  <a:pt x="777" y="1399"/>
                </a:lnTo>
                <a:lnTo>
                  <a:pt x="775" y="1395"/>
                </a:lnTo>
                <a:lnTo>
                  <a:pt x="771" y="1393"/>
                </a:lnTo>
                <a:lnTo>
                  <a:pt x="766" y="1391"/>
                </a:lnTo>
                <a:lnTo>
                  <a:pt x="756" y="1391"/>
                </a:lnTo>
                <a:lnTo>
                  <a:pt x="745" y="1391"/>
                </a:lnTo>
                <a:lnTo>
                  <a:pt x="741" y="1393"/>
                </a:lnTo>
                <a:lnTo>
                  <a:pt x="735" y="1397"/>
                </a:lnTo>
                <a:lnTo>
                  <a:pt x="730" y="1399"/>
                </a:lnTo>
                <a:lnTo>
                  <a:pt x="726" y="1403"/>
                </a:lnTo>
                <a:lnTo>
                  <a:pt x="715" y="1414"/>
                </a:lnTo>
                <a:lnTo>
                  <a:pt x="711" y="1420"/>
                </a:lnTo>
                <a:lnTo>
                  <a:pt x="707" y="1427"/>
                </a:lnTo>
                <a:lnTo>
                  <a:pt x="703" y="1441"/>
                </a:lnTo>
                <a:lnTo>
                  <a:pt x="699" y="1456"/>
                </a:lnTo>
                <a:lnTo>
                  <a:pt x="696" y="1465"/>
                </a:lnTo>
                <a:lnTo>
                  <a:pt x="696" y="1473"/>
                </a:lnTo>
                <a:lnTo>
                  <a:pt x="696" y="1490"/>
                </a:lnTo>
                <a:lnTo>
                  <a:pt x="699" y="1496"/>
                </a:lnTo>
                <a:lnTo>
                  <a:pt x="701" y="1503"/>
                </a:lnTo>
                <a:lnTo>
                  <a:pt x="705" y="1516"/>
                </a:lnTo>
                <a:lnTo>
                  <a:pt x="711" y="1526"/>
                </a:lnTo>
                <a:lnTo>
                  <a:pt x="720" y="1535"/>
                </a:lnTo>
                <a:lnTo>
                  <a:pt x="726" y="1537"/>
                </a:lnTo>
                <a:lnTo>
                  <a:pt x="730" y="1541"/>
                </a:lnTo>
                <a:lnTo>
                  <a:pt x="741" y="1545"/>
                </a:lnTo>
                <a:lnTo>
                  <a:pt x="747" y="1545"/>
                </a:lnTo>
                <a:lnTo>
                  <a:pt x="754" y="1545"/>
                </a:lnTo>
                <a:lnTo>
                  <a:pt x="766" y="1545"/>
                </a:lnTo>
                <a:lnTo>
                  <a:pt x="779" y="1541"/>
                </a:lnTo>
                <a:lnTo>
                  <a:pt x="785" y="1539"/>
                </a:lnTo>
                <a:lnTo>
                  <a:pt x="790" y="1535"/>
                </a:lnTo>
                <a:lnTo>
                  <a:pt x="800" y="1528"/>
                </a:lnTo>
                <a:lnTo>
                  <a:pt x="809" y="1520"/>
                </a:lnTo>
                <a:lnTo>
                  <a:pt x="817" y="1509"/>
                </a:lnTo>
                <a:lnTo>
                  <a:pt x="826" y="1496"/>
                </a:lnTo>
                <a:lnTo>
                  <a:pt x="832" y="1484"/>
                </a:lnTo>
                <a:lnTo>
                  <a:pt x="838" y="1471"/>
                </a:lnTo>
                <a:lnTo>
                  <a:pt x="845" y="1456"/>
                </a:lnTo>
                <a:lnTo>
                  <a:pt x="849" y="1441"/>
                </a:lnTo>
                <a:lnTo>
                  <a:pt x="851" y="1427"/>
                </a:lnTo>
                <a:lnTo>
                  <a:pt x="855" y="1412"/>
                </a:lnTo>
                <a:lnTo>
                  <a:pt x="855" y="1399"/>
                </a:lnTo>
                <a:lnTo>
                  <a:pt x="857" y="1384"/>
                </a:lnTo>
                <a:lnTo>
                  <a:pt x="855" y="1372"/>
                </a:lnTo>
                <a:lnTo>
                  <a:pt x="857" y="1369"/>
                </a:lnTo>
                <a:lnTo>
                  <a:pt x="862" y="1367"/>
                </a:lnTo>
                <a:lnTo>
                  <a:pt x="866" y="1365"/>
                </a:lnTo>
                <a:lnTo>
                  <a:pt x="870" y="1365"/>
                </a:lnTo>
                <a:lnTo>
                  <a:pt x="878" y="1365"/>
                </a:lnTo>
                <a:lnTo>
                  <a:pt x="881" y="1367"/>
                </a:lnTo>
                <a:lnTo>
                  <a:pt x="885" y="1369"/>
                </a:lnTo>
                <a:lnTo>
                  <a:pt x="889" y="1378"/>
                </a:lnTo>
                <a:lnTo>
                  <a:pt x="889" y="1384"/>
                </a:lnTo>
                <a:lnTo>
                  <a:pt x="891" y="1391"/>
                </a:lnTo>
                <a:lnTo>
                  <a:pt x="889" y="1410"/>
                </a:lnTo>
                <a:lnTo>
                  <a:pt x="887" y="1429"/>
                </a:lnTo>
                <a:lnTo>
                  <a:pt x="883" y="1446"/>
                </a:lnTo>
                <a:lnTo>
                  <a:pt x="878" y="1463"/>
                </a:lnTo>
                <a:lnTo>
                  <a:pt x="874" y="1480"/>
                </a:lnTo>
                <a:lnTo>
                  <a:pt x="868" y="1496"/>
                </a:lnTo>
                <a:lnTo>
                  <a:pt x="859" y="1511"/>
                </a:lnTo>
                <a:lnTo>
                  <a:pt x="851" y="1524"/>
                </a:lnTo>
                <a:lnTo>
                  <a:pt x="840" y="1537"/>
                </a:lnTo>
                <a:lnTo>
                  <a:pt x="836" y="1543"/>
                </a:lnTo>
                <a:lnTo>
                  <a:pt x="832" y="1547"/>
                </a:lnTo>
                <a:lnTo>
                  <a:pt x="819" y="1558"/>
                </a:lnTo>
                <a:lnTo>
                  <a:pt x="809" y="1566"/>
                </a:lnTo>
                <a:lnTo>
                  <a:pt x="796" y="1573"/>
                </a:lnTo>
                <a:lnTo>
                  <a:pt x="781" y="1577"/>
                </a:lnTo>
                <a:lnTo>
                  <a:pt x="768" y="1581"/>
                </a:lnTo>
                <a:lnTo>
                  <a:pt x="754" y="1581"/>
                </a:lnTo>
                <a:close/>
                <a:moveTo>
                  <a:pt x="984" y="1579"/>
                </a:moveTo>
                <a:lnTo>
                  <a:pt x="978" y="1577"/>
                </a:lnTo>
                <a:lnTo>
                  <a:pt x="969" y="1571"/>
                </a:lnTo>
                <a:lnTo>
                  <a:pt x="953" y="1556"/>
                </a:lnTo>
                <a:lnTo>
                  <a:pt x="934" y="1535"/>
                </a:lnTo>
                <a:lnTo>
                  <a:pt x="914" y="1516"/>
                </a:lnTo>
                <a:lnTo>
                  <a:pt x="908" y="1507"/>
                </a:lnTo>
                <a:lnTo>
                  <a:pt x="904" y="1501"/>
                </a:lnTo>
                <a:lnTo>
                  <a:pt x="898" y="1488"/>
                </a:lnTo>
                <a:lnTo>
                  <a:pt x="895" y="1482"/>
                </a:lnTo>
                <a:lnTo>
                  <a:pt x="895" y="1475"/>
                </a:lnTo>
                <a:lnTo>
                  <a:pt x="898" y="1469"/>
                </a:lnTo>
                <a:lnTo>
                  <a:pt x="900" y="1463"/>
                </a:lnTo>
                <a:lnTo>
                  <a:pt x="902" y="1454"/>
                </a:lnTo>
                <a:lnTo>
                  <a:pt x="908" y="1446"/>
                </a:lnTo>
                <a:lnTo>
                  <a:pt x="919" y="1431"/>
                </a:lnTo>
                <a:lnTo>
                  <a:pt x="938" y="1410"/>
                </a:lnTo>
                <a:lnTo>
                  <a:pt x="980" y="1363"/>
                </a:lnTo>
                <a:lnTo>
                  <a:pt x="984" y="1363"/>
                </a:lnTo>
                <a:lnTo>
                  <a:pt x="991" y="1365"/>
                </a:lnTo>
                <a:lnTo>
                  <a:pt x="997" y="1369"/>
                </a:lnTo>
                <a:lnTo>
                  <a:pt x="1001" y="1376"/>
                </a:lnTo>
                <a:lnTo>
                  <a:pt x="1001" y="1382"/>
                </a:lnTo>
                <a:lnTo>
                  <a:pt x="999" y="1389"/>
                </a:lnTo>
                <a:lnTo>
                  <a:pt x="999" y="1391"/>
                </a:lnTo>
                <a:lnTo>
                  <a:pt x="997" y="1395"/>
                </a:lnTo>
                <a:lnTo>
                  <a:pt x="967" y="1429"/>
                </a:lnTo>
                <a:lnTo>
                  <a:pt x="948" y="1450"/>
                </a:lnTo>
                <a:lnTo>
                  <a:pt x="936" y="1465"/>
                </a:lnTo>
                <a:lnTo>
                  <a:pt x="934" y="1469"/>
                </a:lnTo>
                <a:lnTo>
                  <a:pt x="931" y="1473"/>
                </a:lnTo>
                <a:lnTo>
                  <a:pt x="934" y="1480"/>
                </a:lnTo>
                <a:lnTo>
                  <a:pt x="936" y="1484"/>
                </a:lnTo>
                <a:lnTo>
                  <a:pt x="948" y="1496"/>
                </a:lnTo>
                <a:lnTo>
                  <a:pt x="963" y="1516"/>
                </a:lnTo>
                <a:lnTo>
                  <a:pt x="982" y="1535"/>
                </a:lnTo>
                <a:lnTo>
                  <a:pt x="1001" y="1551"/>
                </a:lnTo>
                <a:lnTo>
                  <a:pt x="1003" y="1556"/>
                </a:lnTo>
                <a:lnTo>
                  <a:pt x="1005" y="1558"/>
                </a:lnTo>
                <a:lnTo>
                  <a:pt x="1003" y="1562"/>
                </a:lnTo>
                <a:lnTo>
                  <a:pt x="1003" y="1564"/>
                </a:lnTo>
                <a:lnTo>
                  <a:pt x="997" y="1571"/>
                </a:lnTo>
                <a:lnTo>
                  <a:pt x="991" y="1577"/>
                </a:lnTo>
                <a:lnTo>
                  <a:pt x="986" y="1577"/>
                </a:lnTo>
                <a:lnTo>
                  <a:pt x="984" y="1579"/>
                </a:lnTo>
                <a:close/>
                <a:moveTo>
                  <a:pt x="754" y="2157"/>
                </a:moveTo>
                <a:lnTo>
                  <a:pt x="743" y="2155"/>
                </a:lnTo>
                <a:lnTo>
                  <a:pt x="735" y="2155"/>
                </a:lnTo>
                <a:lnTo>
                  <a:pt x="726" y="2150"/>
                </a:lnTo>
                <a:lnTo>
                  <a:pt x="718" y="2148"/>
                </a:lnTo>
                <a:lnTo>
                  <a:pt x="709" y="2144"/>
                </a:lnTo>
                <a:lnTo>
                  <a:pt x="703" y="2138"/>
                </a:lnTo>
                <a:lnTo>
                  <a:pt x="696" y="2131"/>
                </a:lnTo>
                <a:lnTo>
                  <a:pt x="690" y="2125"/>
                </a:lnTo>
                <a:lnTo>
                  <a:pt x="684" y="2119"/>
                </a:lnTo>
                <a:lnTo>
                  <a:pt x="677" y="2110"/>
                </a:lnTo>
                <a:lnTo>
                  <a:pt x="669" y="2091"/>
                </a:lnTo>
                <a:lnTo>
                  <a:pt x="667" y="2083"/>
                </a:lnTo>
                <a:lnTo>
                  <a:pt x="665" y="2072"/>
                </a:lnTo>
                <a:lnTo>
                  <a:pt x="663" y="2062"/>
                </a:lnTo>
                <a:lnTo>
                  <a:pt x="663" y="2051"/>
                </a:lnTo>
                <a:lnTo>
                  <a:pt x="663" y="2038"/>
                </a:lnTo>
                <a:lnTo>
                  <a:pt x="665" y="2028"/>
                </a:lnTo>
                <a:lnTo>
                  <a:pt x="667" y="2017"/>
                </a:lnTo>
                <a:lnTo>
                  <a:pt x="671" y="2007"/>
                </a:lnTo>
                <a:lnTo>
                  <a:pt x="673" y="1996"/>
                </a:lnTo>
                <a:lnTo>
                  <a:pt x="679" y="1988"/>
                </a:lnTo>
                <a:lnTo>
                  <a:pt x="684" y="1977"/>
                </a:lnTo>
                <a:lnTo>
                  <a:pt x="690" y="1968"/>
                </a:lnTo>
                <a:lnTo>
                  <a:pt x="696" y="1962"/>
                </a:lnTo>
                <a:lnTo>
                  <a:pt x="705" y="1954"/>
                </a:lnTo>
                <a:lnTo>
                  <a:pt x="713" y="1949"/>
                </a:lnTo>
                <a:lnTo>
                  <a:pt x="722" y="1943"/>
                </a:lnTo>
                <a:lnTo>
                  <a:pt x="730" y="1939"/>
                </a:lnTo>
                <a:lnTo>
                  <a:pt x="739" y="1937"/>
                </a:lnTo>
                <a:lnTo>
                  <a:pt x="749" y="1935"/>
                </a:lnTo>
                <a:lnTo>
                  <a:pt x="760" y="1935"/>
                </a:lnTo>
                <a:lnTo>
                  <a:pt x="771" y="1935"/>
                </a:lnTo>
                <a:lnTo>
                  <a:pt x="777" y="1937"/>
                </a:lnTo>
                <a:lnTo>
                  <a:pt x="781" y="1939"/>
                </a:lnTo>
                <a:lnTo>
                  <a:pt x="792" y="1943"/>
                </a:lnTo>
                <a:lnTo>
                  <a:pt x="798" y="1949"/>
                </a:lnTo>
                <a:lnTo>
                  <a:pt x="804" y="1958"/>
                </a:lnTo>
                <a:lnTo>
                  <a:pt x="809" y="1968"/>
                </a:lnTo>
                <a:lnTo>
                  <a:pt x="813" y="1979"/>
                </a:lnTo>
                <a:lnTo>
                  <a:pt x="813" y="1992"/>
                </a:lnTo>
                <a:lnTo>
                  <a:pt x="813" y="1998"/>
                </a:lnTo>
                <a:lnTo>
                  <a:pt x="811" y="2007"/>
                </a:lnTo>
                <a:lnTo>
                  <a:pt x="809" y="2013"/>
                </a:lnTo>
                <a:lnTo>
                  <a:pt x="806" y="2019"/>
                </a:lnTo>
                <a:lnTo>
                  <a:pt x="802" y="2028"/>
                </a:lnTo>
                <a:lnTo>
                  <a:pt x="798" y="2034"/>
                </a:lnTo>
                <a:lnTo>
                  <a:pt x="787" y="2045"/>
                </a:lnTo>
                <a:lnTo>
                  <a:pt x="781" y="2051"/>
                </a:lnTo>
                <a:lnTo>
                  <a:pt x="775" y="2055"/>
                </a:lnTo>
                <a:lnTo>
                  <a:pt x="760" y="2062"/>
                </a:lnTo>
                <a:lnTo>
                  <a:pt x="754" y="2066"/>
                </a:lnTo>
                <a:lnTo>
                  <a:pt x="745" y="2068"/>
                </a:lnTo>
                <a:lnTo>
                  <a:pt x="730" y="2068"/>
                </a:lnTo>
                <a:lnTo>
                  <a:pt x="724" y="2068"/>
                </a:lnTo>
                <a:lnTo>
                  <a:pt x="722" y="2066"/>
                </a:lnTo>
                <a:lnTo>
                  <a:pt x="720" y="2064"/>
                </a:lnTo>
                <a:lnTo>
                  <a:pt x="718" y="2059"/>
                </a:lnTo>
                <a:lnTo>
                  <a:pt x="715" y="2057"/>
                </a:lnTo>
                <a:lnTo>
                  <a:pt x="715" y="2049"/>
                </a:lnTo>
                <a:lnTo>
                  <a:pt x="715" y="2043"/>
                </a:lnTo>
                <a:lnTo>
                  <a:pt x="718" y="2040"/>
                </a:lnTo>
                <a:lnTo>
                  <a:pt x="720" y="2038"/>
                </a:lnTo>
                <a:lnTo>
                  <a:pt x="732" y="2036"/>
                </a:lnTo>
                <a:lnTo>
                  <a:pt x="743" y="2032"/>
                </a:lnTo>
                <a:lnTo>
                  <a:pt x="754" y="2026"/>
                </a:lnTo>
                <a:lnTo>
                  <a:pt x="764" y="2019"/>
                </a:lnTo>
                <a:lnTo>
                  <a:pt x="771" y="2011"/>
                </a:lnTo>
                <a:lnTo>
                  <a:pt x="775" y="2007"/>
                </a:lnTo>
                <a:lnTo>
                  <a:pt x="777" y="2002"/>
                </a:lnTo>
                <a:lnTo>
                  <a:pt x="779" y="1994"/>
                </a:lnTo>
                <a:lnTo>
                  <a:pt x="781" y="1985"/>
                </a:lnTo>
                <a:lnTo>
                  <a:pt x="781" y="1981"/>
                </a:lnTo>
                <a:lnTo>
                  <a:pt x="779" y="1977"/>
                </a:lnTo>
                <a:lnTo>
                  <a:pt x="777" y="1973"/>
                </a:lnTo>
                <a:lnTo>
                  <a:pt x="775" y="1971"/>
                </a:lnTo>
                <a:lnTo>
                  <a:pt x="771" y="1966"/>
                </a:lnTo>
                <a:lnTo>
                  <a:pt x="766" y="1966"/>
                </a:lnTo>
                <a:lnTo>
                  <a:pt x="756" y="1964"/>
                </a:lnTo>
                <a:lnTo>
                  <a:pt x="745" y="1966"/>
                </a:lnTo>
                <a:lnTo>
                  <a:pt x="741" y="1968"/>
                </a:lnTo>
                <a:lnTo>
                  <a:pt x="735" y="1971"/>
                </a:lnTo>
                <a:lnTo>
                  <a:pt x="730" y="1975"/>
                </a:lnTo>
                <a:lnTo>
                  <a:pt x="726" y="1979"/>
                </a:lnTo>
                <a:lnTo>
                  <a:pt x="715" y="1990"/>
                </a:lnTo>
                <a:lnTo>
                  <a:pt x="711" y="1994"/>
                </a:lnTo>
                <a:lnTo>
                  <a:pt x="707" y="2002"/>
                </a:lnTo>
                <a:lnTo>
                  <a:pt x="703" y="2015"/>
                </a:lnTo>
                <a:lnTo>
                  <a:pt x="699" y="2032"/>
                </a:lnTo>
                <a:lnTo>
                  <a:pt x="696" y="2040"/>
                </a:lnTo>
                <a:lnTo>
                  <a:pt x="696" y="2049"/>
                </a:lnTo>
                <a:lnTo>
                  <a:pt x="696" y="2064"/>
                </a:lnTo>
                <a:lnTo>
                  <a:pt x="699" y="2070"/>
                </a:lnTo>
                <a:lnTo>
                  <a:pt x="701" y="2076"/>
                </a:lnTo>
                <a:lnTo>
                  <a:pt x="705" y="2089"/>
                </a:lnTo>
                <a:lnTo>
                  <a:pt x="711" y="2100"/>
                </a:lnTo>
                <a:lnTo>
                  <a:pt x="720" y="2108"/>
                </a:lnTo>
                <a:lnTo>
                  <a:pt x="726" y="2112"/>
                </a:lnTo>
                <a:lnTo>
                  <a:pt x="730" y="2115"/>
                </a:lnTo>
                <a:lnTo>
                  <a:pt x="741" y="2119"/>
                </a:lnTo>
                <a:lnTo>
                  <a:pt x="747" y="2121"/>
                </a:lnTo>
                <a:lnTo>
                  <a:pt x="754" y="2121"/>
                </a:lnTo>
                <a:lnTo>
                  <a:pt x="766" y="2119"/>
                </a:lnTo>
                <a:lnTo>
                  <a:pt x="779" y="2115"/>
                </a:lnTo>
                <a:lnTo>
                  <a:pt x="785" y="2112"/>
                </a:lnTo>
                <a:lnTo>
                  <a:pt x="790" y="2110"/>
                </a:lnTo>
                <a:lnTo>
                  <a:pt x="800" y="2102"/>
                </a:lnTo>
                <a:lnTo>
                  <a:pt x="809" y="2093"/>
                </a:lnTo>
                <a:lnTo>
                  <a:pt x="817" y="2083"/>
                </a:lnTo>
                <a:lnTo>
                  <a:pt x="826" y="2070"/>
                </a:lnTo>
                <a:lnTo>
                  <a:pt x="832" y="2057"/>
                </a:lnTo>
                <a:lnTo>
                  <a:pt x="838" y="2045"/>
                </a:lnTo>
                <a:lnTo>
                  <a:pt x="845" y="2030"/>
                </a:lnTo>
                <a:lnTo>
                  <a:pt x="849" y="2017"/>
                </a:lnTo>
                <a:lnTo>
                  <a:pt x="851" y="2002"/>
                </a:lnTo>
                <a:lnTo>
                  <a:pt x="855" y="1988"/>
                </a:lnTo>
                <a:lnTo>
                  <a:pt x="855" y="1973"/>
                </a:lnTo>
                <a:lnTo>
                  <a:pt x="857" y="1960"/>
                </a:lnTo>
                <a:lnTo>
                  <a:pt x="855" y="1947"/>
                </a:lnTo>
                <a:lnTo>
                  <a:pt x="857" y="1943"/>
                </a:lnTo>
                <a:lnTo>
                  <a:pt x="862" y="1941"/>
                </a:lnTo>
                <a:lnTo>
                  <a:pt x="866" y="1939"/>
                </a:lnTo>
                <a:lnTo>
                  <a:pt x="870" y="1939"/>
                </a:lnTo>
                <a:lnTo>
                  <a:pt x="878" y="1941"/>
                </a:lnTo>
                <a:lnTo>
                  <a:pt x="881" y="1943"/>
                </a:lnTo>
                <a:lnTo>
                  <a:pt x="885" y="1945"/>
                </a:lnTo>
                <a:lnTo>
                  <a:pt x="889" y="1954"/>
                </a:lnTo>
                <a:lnTo>
                  <a:pt x="889" y="1958"/>
                </a:lnTo>
                <a:lnTo>
                  <a:pt x="891" y="1964"/>
                </a:lnTo>
                <a:lnTo>
                  <a:pt x="889" y="1983"/>
                </a:lnTo>
                <a:lnTo>
                  <a:pt x="887" y="2002"/>
                </a:lnTo>
                <a:lnTo>
                  <a:pt x="883" y="2019"/>
                </a:lnTo>
                <a:lnTo>
                  <a:pt x="878" y="2038"/>
                </a:lnTo>
                <a:lnTo>
                  <a:pt x="874" y="2053"/>
                </a:lnTo>
                <a:lnTo>
                  <a:pt x="868" y="2070"/>
                </a:lnTo>
                <a:lnTo>
                  <a:pt x="859" y="2085"/>
                </a:lnTo>
                <a:lnTo>
                  <a:pt x="851" y="2098"/>
                </a:lnTo>
                <a:lnTo>
                  <a:pt x="840" y="2110"/>
                </a:lnTo>
                <a:lnTo>
                  <a:pt x="836" y="2117"/>
                </a:lnTo>
                <a:lnTo>
                  <a:pt x="832" y="2123"/>
                </a:lnTo>
                <a:lnTo>
                  <a:pt x="819" y="2131"/>
                </a:lnTo>
                <a:lnTo>
                  <a:pt x="809" y="2140"/>
                </a:lnTo>
                <a:lnTo>
                  <a:pt x="796" y="2146"/>
                </a:lnTo>
                <a:lnTo>
                  <a:pt x="781" y="2153"/>
                </a:lnTo>
                <a:lnTo>
                  <a:pt x="768" y="2155"/>
                </a:lnTo>
                <a:lnTo>
                  <a:pt x="754" y="2157"/>
                </a:lnTo>
                <a:close/>
                <a:moveTo>
                  <a:pt x="984" y="2153"/>
                </a:moveTo>
                <a:lnTo>
                  <a:pt x="978" y="2150"/>
                </a:lnTo>
                <a:lnTo>
                  <a:pt x="969" y="2144"/>
                </a:lnTo>
                <a:lnTo>
                  <a:pt x="953" y="2129"/>
                </a:lnTo>
                <a:lnTo>
                  <a:pt x="934" y="2110"/>
                </a:lnTo>
                <a:lnTo>
                  <a:pt x="914" y="2089"/>
                </a:lnTo>
                <a:lnTo>
                  <a:pt x="908" y="2081"/>
                </a:lnTo>
                <a:lnTo>
                  <a:pt x="904" y="2074"/>
                </a:lnTo>
                <a:lnTo>
                  <a:pt x="898" y="2062"/>
                </a:lnTo>
                <a:lnTo>
                  <a:pt x="895" y="2055"/>
                </a:lnTo>
                <a:lnTo>
                  <a:pt x="895" y="2051"/>
                </a:lnTo>
                <a:lnTo>
                  <a:pt x="898" y="2043"/>
                </a:lnTo>
                <a:lnTo>
                  <a:pt x="900" y="2036"/>
                </a:lnTo>
                <a:lnTo>
                  <a:pt x="902" y="2028"/>
                </a:lnTo>
                <a:lnTo>
                  <a:pt x="908" y="2019"/>
                </a:lnTo>
                <a:lnTo>
                  <a:pt x="919" y="2004"/>
                </a:lnTo>
                <a:lnTo>
                  <a:pt x="938" y="1985"/>
                </a:lnTo>
                <a:lnTo>
                  <a:pt x="980" y="1937"/>
                </a:lnTo>
                <a:lnTo>
                  <a:pt x="984" y="1937"/>
                </a:lnTo>
                <a:lnTo>
                  <a:pt x="991" y="1941"/>
                </a:lnTo>
                <a:lnTo>
                  <a:pt x="997" y="1945"/>
                </a:lnTo>
                <a:lnTo>
                  <a:pt x="1001" y="1949"/>
                </a:lnTo>
                <a:lnTo>
                  <a:pt x="1001" y="1956"/>
                </a:lnTo>
                <a:lnTo>
                  <a:pt x="999" y="1962"/>
                </a:lnTo>
                <a:lnTo>
                  <a:pt x="999" y="1966"/>
                </a:lnTo>
                <a:lnTo>
                  <a:pt x="997" y="1968"/>
                </a:lnTo>
                <a:lnTo>
                  <a:pt x="967" y="2002"/>
                </a:lnTo>
                <a:lnTo>
                  <a:pt x="948" y="2023"/>
                </a:lnTo>
                <a:lnTo>
                  <a:pt x="936" y="2038"/>
                </a:lnTo>
                <a:lnTo>
                  <a:pt x="934" y="2045"/>
                </a:lnTo>
                <a:lnTo>
                  <a:pt x="931" y="2049"/>
                </a:lnTo>
                <a:lnTo>
                  <a:pt x="934" y="2053"/>
                </a:lnTo>
                <a:lnTo>
                  <a:pt x="936" y="2059"/>
                </a:lnTo>
                <a:lnTo>
                  <a:pt x="948" y="2072"/>
                </a:lnTo>
                <a:lnTo>
                  <a:pt x="963" y="2089"/>
                </a:lnTo>
                <a:lnTo>
                  <a:pt x="982" y="2108"/>
                </a:lnTo>
                <a:lnTo>
                  <a:pt x="1001" y="2127"/>
                </a:lnTo>
                <a:lnTo>
                  <a:pt x="1003" y="2129"/>
                </a:lnTo>
                <a:lnTo>
                  <a:pt x="1005" y="2131"/>
                </a:lnTo>
                <a:lnTo>
                  <a:pt x="1003" y="2136"/>
                </a:lnTo>
                <a:lnTo>
                  <a:pt x="1003" y="2140"/>
                </a:lnTo>
                <a:lnTo>
                  <a:pt x="997" y="2146"/>
                </a:lnTo>
                <a:lnTo>
                  <a:pt x="991" y="2150"/>
                </a:lnTo>
                <a:lnTo>
                  <a:pt x="986" y="2153"/>
                </a:lnTo>
                <a:lnTo>
                  <a:pt x="984" y="2153"/>
                </a:lnTo>
                <a:close/>
                <a:moveTo>
                  <a:pt x="3033" y="991"/>
                </a:moveTo>
                <a:lnTo>
                  <a:pt x="3025" y="991"/>
                </a:lnTo>
                <a:lnTo>
                  <a:pt x="3016" y="988"/>
                </a:lnTo>
                <a:lnTo>
                  <a:pt x="3008" y="986"/>
                </a:lnTo>
                <a:lnTo>
                  <a:pt x="2999" y="982"/>
                </a:lnTo>
                <a:lnTo>
                  <a:pt x="2991" y="978"/>
                </a:lnTo>
                <a:lnTo>
                  <a:pt x="2983" y="972"/>
                </a:lnTo>
                <a:lnTo>
                  <a:pt x="2976" y="965"/>
                </a:lnTo>
                <a:lnTo>
                  <a:pt x="2970" y="959"/>
                </a:lnTo>
                <a:lnTo>
                  <a:pt x="2963" y="952"/>
                </a:lnTo>
                <a:lnTo>
                  <a:pt x="2959" y="944"/>
                </a:lnTo>
                <a:lnTo>
                  <a:pt x="2951" y="925"/>
                </a:lnTo>
                <a:lnTo>
                  <a:pt x="2947" y="917"/>
                </a:lnTo>
                <a:lnTo>
                  <a:pt x="2944" y="906"/>
                </a:lnTo>
                <a:lnTo>
                  <a:pt x="2944" y="895"/>
                </a:lnTo>
                <a:lnTo>
                  <a:pt x="2944" y="885"/>
                </a:lnTo>
                <a:lnTo>
                  <a:pt x="2944" y="872"/>
                </a:lnTo>
                <a:lnTo>
                  <a:pt x="2944" y="861"/>
                </a:lnTo>
                <a:lnTo>
                  <a:pt x="2949" y="851"/>
                </a:lnTo>
                <a:lnTo>
                  <a:pt x="2951" y="840"/>
                </a:lnTo>
                <a:lnTo>
                  <a:pt x="2955" y="830"/>
                </a:lnTo>
                <a:lnTo>
                  <a:pt x="2959" y="821"/>
                </a:lnTo>
                <a:lnTo>
                  <a:pt x="2966" y="811"/>
                </a:lnTo>
                <a:lnTo>
                  <a:pt x="2972" y="802"/>
                </a:lnTo>
                <a:lnTo>
                  <a:pt x="2978" y="796"/>
                </a:lnTo>
                <a:lnTo>
                  <a:pt x="2987" y="790"/>
                </a:lnTo>
                <a:lnTo>
                  <a:pt x="2993" y="783"/>
                </a:lnTo>
                <a:lnTo>
                  <a:pt x="3002" y="777"/>
                </a:lnTo>
                <a:lnTo>
                  <a:pt x="3010" y="773"/>
                </a:lnTo>
                <a:lnTo>
                  <a:pt x="3021" y="770"/>
                </a:lnTo>
                <a:lnTo>
                  <a:pt x="3029" y="768"/>
                </a:lnTo>
                <a:lnTo>
                  <a:pt x="3040" y="768"/>
                </a:lnTo>
                <a:lnTo>
                  <a:pt x="3052" y="768"/>
                </a:lnTo>
                <a:lnTo>
                  <a:pt x="3057" y="770"/>
                </a:lnTo>
                <a:lnTo>
                  <a:pt x="3063" y="773"/>
                </a:lnTo>
                <a:lnTo>
                  <a:pt x="3071" y="777"/>
                </a:lnTo>
                <a:lnTo>
                  <a:pt x="3080" y="785"/>
                </a:lnTo>
                <a:lnTo>
                  <a:pt x="3086" y="792"/>
                </a:lnTo>
                <a:lnTo>
                  <a:pt x="3091" y="802"/>
                </a:lnTo>
                <a:lnTo>
                  <a:pt x="3093" y="813"/>
                </a:lnTo>
                <a:lnTo>
                  <a:pt x="3093" y="825"/>
                </a:lnTo>
                <a:lnTo>
                  <a:pt x="3093" y="832"/>
                </a:lnTo>
                <a:lnTo>
                  <a:pt x="3093" y="840"/>
                </a:lnTo>
                <a:lnTo>
                  <a:pt x="3091" y="847"/>
                </a:lnTo>
                <a:lnTo>
                  <a:pt x="3086" y="855"/>
                </a:lnTo>
                <a:lnTo>
                  <a:pt x="3082" y="861"/>
                </a:lnTo>
                <a:lnTo>
                  <a:pt x="3078" y="868"/>
                </a:lnTo>
                <a:lnTo>
                  <a:pt x="3067" y="878"/>
                </a:lnTo>
                <a:lnTo>
                  <a:pt x="3061" y="885"/>
                </a:lnTo>
                <a:lnTo>
                  <a:pt x="3055" y="889"/>
                </a:lnTo>
                <a:lnTo>
                  <a:pt x="3042" y="895"/>
                </a:lnTo>
                <a:lnTo>
                  <a:pt x="3033" y="900"/>
                </a:lnTo>
                <a:lnTo>
                  <a:pt x="3027" y="902"/>
                </a:lnTo>
                <a:lnTo>
                  <a:pt x="3012" y="902"/>
                </a:lnTo>
                <a:lnTo>
                  <a:pt x="3006" y="902"/>
                </a:lnTo>
                <a:lnTo>
                  <a:pt x="3002" y="900"/>
                </a:lnTo>
                <a:lnTo>
                  <a:pt x="2999" y="897"/>
                </a:lnTo>
                <a:lnTo>
                  <a:pt x="2997" y="893"/>
                </a:lnTo>
                <a:lnTo>
                  <a:pt x="2997" y="891"/>
                </a:lnTo>
                <a:lnTo>
                  <a:pt x="2995" y="883"/>
                </a:lnTo>
                <a:lnTo>
                  <a:pt x="2997" y="876"/>
                </a:lnTo>
                <a:lnTo>
                  <a:pt x="2997" y="874"/>
                </a:lnTo>
                <a:lnTo>
                  <a:pt x="2999" y="874"/>
                </a:lnTo>
                <a:lnTo>
                  <a:pt x="3012" y="870"/>
                </a:lnTo>
                <a:lnTo>
                  <a:pt x="3025" y="866"/>
                </a:lnTo>
                <a:lnTo>
                  <a:pt x="3035" y="859"/>
                </a:lnTo>
                <a:lnTo>
                  <a:pt x="3044" y="853"/>
                </a:lnTo>
                <a:lnTo>
                  <a:pt x="3052" y="845"/>
                </a:lnTo>
                <a:lnTo>
                  <a:pt x="3055" y="842"/>
                </a:lnTo>
                <a:lnTo>
                  <a:pt x="3057" y="838"/>
                </a:lnTo>
                <a:lnTo>
                  <a:pt x="3061" y="830"/>
                </a:lnTo>
                <a:lnTo>
                  <a:pt x="3063" y="821"/>
                </a:lnTo>
                <a:lnTo>
                  <a:pt x="3061" y="815"/>
                </a:lnTo>
                <a:lnTo>
                  <a:pt x="3061" y="811"/>
                </a:lnTo>
                <a:lnTo>
                  <a:pt x="3059" y="806"/>
                </a:lnTo>
                <a:lnTo>
                  <a:pt x="3055" y="804"/>
                </a:lnTo>
                <a:lnTo>
                  <a:pt x="3052" y="802"/>
                </a:lnTo>
                <a:lnTo>
                  <a:pt x="3048" y="800"/>
                </a:lnTo>
                <a:lnTo>
                  <a:pt x="3038" y="798"/>
                </a:lnTo>
                <a:lnTo>
                  <a:pt x="3027" y="800"/>
                </a:lnTo>
                <a:lnTo>
                  <a:pt x="3021" y="802"/>
                </a:lnTo>
                <a:lnTo>
                  <a:pt x="3016" y="804"/>
                </a:lnTo>
                <a:lnTo>
                  <a:pt x="3010" y="809"/>
                </a:lnTo>
                <a:lnTo>
                  <a:pt x="3006" y="813"/>
                </a:lnTo>
                <a:lnTo>
                  <a:pt x="2997" y="823"/>
                </a:lnTo>
                <a:lnTo>
                  <a:pt x="2993" y="830"/>
                </a:lnTo>
                <a:lnTo>
                  <a:pt x="2989" y="836"/>
                </a:lnTo>
                <a:lnTo>
                  <a:pt x="2983" y="849"/>
                </a:lnTo>
                <a:lnTo>
                  <a:pt x="2978" y="866"/>
                </a:lnTo>
                <a:lnTo>
                  <a:pt x="2978" y="874"/>
                </a:lnTo>
                <a:lnTo>
                  <a:pt x="2976" y="883"/>
                </a:lnTo>
                <a:lnTo>
                  <a:pt x="2978" y="897"/>
                </a:lnTo>
                <a:lnTo>
                  <a:pt x="2980" y="904"/>
                </a:lnTo>
                <a:lnTo>
                  <a:pt x="2980" y="912"/>
                </a:lnTo>
                <a:lnTo>
                  <a:pt x="2987" y="923"/>
                </a:lnTo>
                <a:lnTo>
                  <a:pt x="2993" y="933"/>
                </a:lnTo>
                <a:lnTo>
                  <a:pt x="3002" y="942"/>
                </a:lnTo>
                <a:lnTo>
                  <a:pt x="3006" y="946"/>
                </a:lnTo>
                <a:lnTo>
                  <a:pt x="3012" y="948"/>
                </a:lnTo>
                <a:lnTo>
                  <a:pt x="3023" y="952"/>
                </a:lnTo>
                <a:lnTo>
                  <a:pt x="3029" y="955"/>
                </a:lnTo>
                <a:lnTo>
                  <a:pt x="3035" y="955"/>
                </a:lnTo>
                <a:lnTo>
                  <a:pt x="3048" y="952"/>
                </a:lnTo>
                <a:lnTo>
                  <a:pt x="3059" y="950"/>
                </a:lnTo>
                <a:lnTo>
                  <a:pt x="3065" y="946"/>
                </a:lnTo>
                <a:lnTo>
                  <a:pt x="3071" y="944"/>
                </a:lnTo>
                <a:lnTo>
                  <a:pt x="3080" y="936"/>
                </a:lnTo>
                <a:lnTo>
                  <a:pt x="3091" y="927"/>
                </a:lnTo>
                <a:lnTo>
                  <a:pt x="3099" y="917"/>
                </a:lnTo>
                <a:lnTo>
                  <a:pt x="3107" y="906"/>
                </a:lnTo>
                <a:lnTo>
                  <a:pt x="3114" y="893"/>
                </a:lnTo>
                <a:lnTo>
                  <a:pt x="3120" y="878"/>
                </a:lnTo>
                <a:lnTo>
                  <a:pt x="3124" y="864"/>
                </a:lnTo>
                <a:lnTo>
                  <a:pt x="3129" y="851"/>
                </a:lnTo>
                <a:lnTo>
                  <a:pt x="3133" y="836"/>
                </a:lnTo>
                <a:lnTo>
                  <a:pt x="3135" y="821"/>
                </a:lnTo>
                <a:lnTo>
                  <a:pt x="3137" y="806"/>
                </a:lnTo>
                <a:lnTo>
                  <a:pt x="3137" y="794"/>
                </a:lnTo>
                <a:lnTo>
                  <a:pt x="3137" y="781"/>
                </a:lnTo>
                <a:lnTo>
                  <a:pt x="3139" y="777"/>
                </a:lnTo>
                <a:lnTo>
                  <a:pt x="3141" y="775"/>
                </a:lnTo>
                <a:lnTo>
                  <a:pt x="3146" y="775"/>
                </a:lnTo>
                <a:lnTo>
                  <a:pt x="3150" y="773"/>
                </a:lnTo>
                <a:lnTo>
                  <a:pt x="3158" y="775"/>
                </a:lnTo>
                <a:lnTo>
                  <a:pt x="3162" y="777"/>
                </a:lnTo>
                <a:lnTo>
                  <a:pt x="3165" y="779"/>
                </a:lnTo>
                <a:lnTo>
                  <a:pt x="3169" y="787"/>
                </a:lnTo>
                <a:lnTo>
                  <a:pt x="3171" y="792"/>
                </a:lnTo>
                <a:lnTo>
                  <a:pt x="3171" y="800"/>
                </a:lnTo>
                <a:lnTo>
                  <a:pt x="3171" y="817"/>
                </a:lnTo>
                <a:lnTo>
                  <a:pt x="3169" y="836"/>
                </a:lnTo>
                <a:lnTo>
                  <a:pt x="3165" y="855"/>
                </a:lnTo>
                <a:lnTo>
                  <a:pt x="3160" y="872"/>
                </a:lnTo>
                <a:lnTo>
                  <a:pt x="3154" y="889"/>
                </a:lnTo>
                <a:lnTo>
                  <a:pt x="3148" y="904"/>
                </a:lnTo>
                <a:lnTo>
                  <a:pt x="3141" y="919"/>
                </a:lnTo>
                <a:lnTo>
                  <a:pt x="3131" y="933"/>
                </a:lnTo>
                <a:lnTo>
                  <a:pt x="3122" y="944"/>
                </a:lnTo>
                <a:lnTo>
                  <a:pt x="3118" y="950"/>
                </a:lnTo>
                <a:lnTo>
                  <a:pt x="3112" y="957"/>
                </a:lnTo>
                <a:lnTo>
                  <a:pt x="3101" y="965"/>
                </a:lnTo>
                <a:lnTo>
                  <a:pt x="3088" y="974"/>
                </a:lnTo>
                <a:lnTo>
                  <a:pt x="3076" y="982"/>
                </a:lnTo>
                <a:lnTo>
                  <a:pt x="3063" y="986"/>
                </a:lnTo>
                <a:lnTo>
                  <a:pt x="3048" y="988"/>
                </a:lnTo>
                <a:lnTo>
                  <a:pt x="3033" y="991"/>
                </a:lnTo>
                <a:close/>
                <a:moveTo>
                  <a:pt x="3264" y="986"/>
                </a:moveTo>
                <a:lnTo>
                  <a:pt x="3260" y="984"/>
                </a:lnTo>
                <a:lnTo>
                  <a:pt x="3251" y="978"/>
                </a:lnTo>
                <a:lnTo>
                  <a:pt x="3234" y="963"/>
                </a:lnTo>
                <a:lnTo>
                  <a:pt x="3213" y="944"/>
                </a:lnTo>
                <a:lnTo>
                  <a:pt x="3196" y="923"/>
                </a:lnTo>
                <a:lnTo>
                  <a:pt x="3188" y="914"/>
                </a:lnTo>
                <a:lnTo>
                  <a:pt x="3184" y="908"/>
                </a:lnTo>
                <a:lnTo>
                  <a:pt x="3179" y="895"/>
                </a:lnTo>
                <a:lnTo>
                  <a:pt x="3177" y="889"/>
                </a:lnTo>
                <a:lnTo>
                  <a:pt x="3177" y="885"/>
                </a:lnTo>
                <a:lnTo>
                  <a:pt x="3177" y="876"/>
                </a:lnTo>
                <a:lnTo>
                  <a:pt x="3179" y="870"/>
                </a:lnTo>
                <a:lnTo>
                  <a:pt x="3184" y="861"/>
                </a:lnTo>
                <a:lnTo>
                  <a:pt x="3188" y="855"/>
                </a:lnTo>
                <a:lnTo>
                  <a:pt x="3201" y="840"/>
                </a:lnTo>
                <a:lnTo>
                  <a:pt x="3218" y="819"/>
                </a:lnTo>
                <a:lnTo>
                  <a:pt x="3260" y="770"/>
                </a:lnTo>
                <a:lnTo>
                  <a:pt x="3266" y="773"/>
                </a:lnTo>
                <a:lnTo>
                  <a:pt x="3273" y="775"/>
                </a:lnTo>
                <a:lnTo>
                  <a:pt x="3277" y="779"/>
                </a:lnTo>
                <a:lnTo>
                  <a:pt x="3281" y="783"/>
                </a:lnTo>
                <a:lnTo>
                  <a:pt x="3283" y="790"/>
                </a:lnTo>
                <a:lnTo>
                  <a:pt x="3281" y="796"/>
                </a:lnTo>
                <a:lnTo>
                  <a:pt x="3279" y="800"/>
                </a:lnTo>
                <a:lnTo>
                  <a:pt x="3277" y="802"/>
                </a:lnTo>
                <a:lnTo>
                  <a:pt x="3247" y="838"/>
                </a:lnTo>
                <a:lnTo>
                  <a:pt x="3230" y="857"/>
                </a:lnTo>
                <a:lnTo>
                  <a:pt x="3218" y="874"/>
                </a:lnTo>
                <a:lnTo>
                  <a:pt x="3213" y="878"/>
                </a:lnTo>
                <a:lnTo>
                  <a:pt x="3213" y="883"/>
                </a:lnTo>
                <a:lnTo>
                  <a:pt x="3215" y="887"/>
                </a:lnTo>
                <a:lnTo>
                  <a:pt x="3218" y="893"/>
                </a:lnTo>
                <a:lnTo>
                  <a:pt x="3228" y="906"/>
                </a:lnTo>
                <a:lnTo>
                  <a:pt x="3245" y="923"/>
                </a:lnTo>
                <a:lnTo>
                  <a:pt x="3264" y="942"/>
                </a:lnTo>
                <a:lnTo>
                  <a:pt x="3283" y="961"/>
                </a:lnTo>
                <a:lnTo>
                  <a:pt x="3285" y="963"/>
                </a:lnTo>
                <a:lnTo>
                  <a:pt x="3285" y="967"/>
                </a:lnTo>
                <a:lnTo>
                  <a:pt x="3285" y="969"/>
                </a:lnTo>
                <a:lnTo>
                  <a:pt x="3283" y="974"/>
                </a:lnTo>
                <a:lnTo>
                  <a:pt x="3279" y="980"/>
                </a:lnTo>
                <a:lnTo>
                  <a:pt x="3273" y="984"/>
                </a:lnTo>
                <a:lnTo>
                  <a:pt x="3268" y="986"/>
                </a:lnTo>
                <a:lnTo>
                  <a:pt x="3264" y="986"/>
                </a:lnTo>
                <a:close/>
                <a:moveTo>
                  <a:pt x="3033" y="1581"/>
                </a:moveTo>
                <a:lnTo>
                  <a:pt x="3025" y="1581"/>
                </a:lnTo>
                <a:lnTo>
                  <a:pt x="3016" y="1579"/>
                </a:lnTo>
                <a:lnTo>
                  <a:pt x="3008" y="1577"/>
                </a:lnTo>
                <a:lnTo>
                  <a:pt x="2999" y="1573"/>
                </a:lnTo>
                <a:lnTo>
                  <a:pt x="2991" y="1568"/>
                </a:lnTo>
                <a:lnTo>
                  <a:pt x="2983" y="1564"/>
                </a:lnTo>
                <a:lnTo>
                  <a:pt x="2976" y="1558"/>
                </a:lnTo>
                <a:lnTo>
                  <a:pt x="2970" y="1551"/>
                </a:lnTo>
                <a:lnTo>
                  <a:pt x="2963" y="1543"/>
                </a:lnTo>
                <a:lnTo>
                  <a:pt x="2959" y="1535"/>
                </a:lnTo>
                <a:lnTo>
                  <a:pt x="2951" y="1518"/>
                </a:lnTo>
                <a:lnTo>
                  <a:pt x="2947" y="1507"/>
                </a:lnTo>
                <a:lnTo>
                  <a:pt x="2944" y="1496"/>
                </a:lnTo>
                <a:lnTo>
                  <a:pt x="2944" y="1486"/>
                </a:lnTo>
                <a:lnTo>
                  <a:pt x="2944" y="1475"/>
                </a:lnTo>
                <a:lnTo>
                  <a:pt x="2944" y="1465"/>
                </a:lnTo>
                <a:lnTo>
                  <a:pt x="2944" y="1454"/>
                </a:lnTo>
                <a:lnTo>
                  <a:pt x="2949" y="1444"/>
                </a:lnTo>
                <a:lnTo>
                  <a:pt x="2951" y="1433"/>
                </a:lnTo>
                <a:lnTo>
                  <a:pt x="2955" y="1422"/>
                </a:lnTo>
                <a:lnTo>
                  <a:pt x="2959" y="1412"/>
                </a:lnTo>
                <a:lnTo>
                  <a:pt x="2966" y="1403"/>
                </a:lnTo>
                <a:lnTo>
                  <a:pt x="2972" y="1395"/>
                </a:lnTo>
                <a:lnTo>
                  <a:pt x="2978" y="1386"/>
                </a:lnTo>
                <a:lnTo>
                  <a:pt x="2987" y="1380"/>
                </a:lnTo>
                <a:lnTo>
                  <a:pt x="2993" y="1374"/>
                </a:lnTo>
                <a:lnTo>
                  <a:pt x="3002" y="1369"/>
                </a:lnTo>
                <a:lnTo>
                  <a:pt x="3010" y="1365"/>
                </a:lnTo>
                <a:lnTo>
                  <a:pt x="3021" y="1361"/>
                </a:lnTo>
                <a:lnTo>
                  <a:pt x="3029" y="1361"/>
                </a:lnTo>
                <a:lnTo>
                  <a:pt x="3040" y="1359"/>
                </a:lnTo>
                <a:lnTo>
                  <a:pt x="3052" y="1361"/>
                </a:lnTo>
                <a:lnTo>
                  <a:pt x="3057" y="1361"/>
                </a:lnTo>
                <a:lnTo>
                  <a:pt x="3063" y="1363"/>
                </a:lnTo>
                <a:lnTo>
                  <a:pt x="3071" y="1369"/>
                </a:lnTo>
                <a:lnTo>
                  <a:pt x="3080" y="1376"/>
                </a:lnTo>
                <a:lnTo>
                  <a:pt x="3086" y="1384"/>
                </a:lnTo>
                <a:lnTo>
                  <a:pt x="3091" y="1395"/>
                </a:lnTo>
                <a:lnTo>
                  <a:pt x="3093" y="1405"/>
                </a:lnTo>
                <a:lnTo>
                  <a:pt x="3093" y="1416"/>
                </a:lnTo>
                <a:lnTo>
                  <a:pt x="3093" y="1424"/>
                </a:lnTo>
                <a:lnTo>
                  <a:pt x="3093" y="1431"/>
                </a:lnTo>
                <a:lnTo>
                  <a:pt x="3091" y="1439"/>
                </a:lnTo>
                <a:lnTo>
                  <a:pt x="3086" y="1446"/>
                </a:lnTo>
                <a:lnTo>
                  <a:pt x="3082" y="1452"/>
                </a:lnTo>
                <a:lnTo>
                  <a:pt x="3078" y="1458"/>
                </a:lnTo>
                <a:lnTo>
                  <a:pt x="3067" y="1471"/>
                </a:lnTo>
                <a:lnTo>
                  <a:pt x="3061" y="1475"/>
                </a:lnTo>
                <a:lnTo>
                  <a:pt x="3055" y="1480"/>
                </a:lnTo>
                <a:lnTo>
                  <a:pt x="3042" y="1488"/>
                </a:lnTo>
                <a:lnTo>
                  <a:pt x="3033" y="1490"/>
                </a:lnTo>
                <a:lnTo>
                  <a:pt x="3027" y="1492"/>
                </a:lnTo>
                <a:lnTo>
                  <a:pt x="3012" y="1494"/>
                </a:lnTo>
                <a:lnTo>
                  <a:pt x="3006" y="1492"/>
                </a:lnTo>
                <a:lnTo>
                  <a:pt x="3002" y="1490"/>
                </a:lnTo>
                <a:lnTo>
                  <a:pt x="2999" y="1488"/>
                </a:lnTo>
                <a:lnTo>
                  <a:pt x="2997" y="1486"/>
                </a:lnTo>
                <a:lnTo>
                  <a:pt x="2997" y="1482"/>
                </a:lnTo>
                <a:lnTo>
                  <a:pt x="2995" y="1475"/>
                </a:lnTo>
                <a:lnTo>
                  <a:pt x="2997" y="1469"/>
                </a:lnTo>
                <a:lnTo>
                  <a:pt x="2997" y="1467"/>
                </a:lnTo>
                <a:lnTo>
                  <a:pt x="2999" y="1465"/>
                </a:lnTo>
                <a:lnTo>
                  <a:pt x="3012" y="1463"/>
                </a:lnTo>
                <a:lnTo>
                  <a:pt x="3025" y="1458"/>
                </a:lnTo>
                <a:lnTo>
                  <a:pt x="3035" y="1452"/>
                </a:lnTo>
                <a:lnTo>
                  <a:pt x="3044" y="1446"/>
                </a:lnTo>
                <a:lnTo>
                  <a:pt x="3052" y="1437"/>
                </a:lnTo>
                <a:lnTo>
                  <a:pt x="3055" y="1433"/>
                </a:lnTo>
                <a:lnTo>
                  <a:pt x="3057" y="1429"/>
                </a:lnTo>
                <a:lnTo>
                  <a:pt x="3061" y="1420"/>
                </a:lnTo>
                <a:lnTo>
                  <a:pt x="3063" y="1412"/>
                </a:lnTo>
                <a:lnTo>
                  <a:pt x="3061" y="1408"/>
                </a:lnTo>
                <a:lnTo>
                  <a:pt x="3061" y="1403"/>
                </a:lnTo>
                <a:lnTo>
                  <a:pt x="3059" y="1399"/>
                </a:lnTo>
                <a:lnTo>
                  <a:pt x="3055" y="1395"/>
                </a:lnTo>
                <a:lnTo>
                  <a:pt x="3052" y="1393"/>
                </a:lnTo>
                <a:lnTo>
                  <a:pt x="3048" y="1391"/>
                </a:lnTo>
                <a:lnTo>
                  <a:pt x="3038" y="1391"/>
                </a:lnTo>
                <a:lnTo>
                  <a:pt x="3027" y="1391"/>
                </a:lnTo>
                <a:lnTo>
                  <a:pt x="3021" y="1393"/>
                </a:lnTo>
                <a:lnTo>
                  <a:pt x="3016" y="1397"/>
                </a:lnTo>
                <a:lnTo>
                  <a:pt x="3010" y="1399"/>
                </a:lnTo>
                <a:lnTo>
                  <a:pt x="3006" y="1403"/>
                </a:lnTo>
                <a:lnTo>
                  <a:pt x="2997" y="1414"/>
                </a:lnTo>
                <a:lnTo>
                  <a:pt x="2993" y="1420"/>
                </a:lnTo>
                <a:lnTo>
                  <a:pt x="2989" y="1427"/>
                </a:lnTo>
                <a:lnTo>
                  <a:pt x="2983" y="1441"/>
                </a:lnTo>
                <a:lnTo>
                  <a:pt x="2978" y="1456"/>
                </a:lnTo>
                <a:lnTo>
                  <a:pt x="2978" y="1465"/>
                </a:lnTo>
                <a:lnTo>
                  <a:pt x="2976" y="1473"/>
                </a:lnTo>
                <a:lnTo>
                  <a:pt x="2978" y="1490"/>
                </a:lnTo>
                <a:lnTo>
                  <a:pt x="2980" y="1496"/>
                </a:lnTo>
                <a:lnTo>
                  <a:pt x="2980" y="1503"/>
                </a:lnTo>
                <a:lnTo>
                  <a:pt x="2987" y="1516"/>
                </a:lnTo>
                <a:lnTo>
                  <a:pt x="2993" y="1526"/>
                </a:lnTo>
                <a:lnTo>
                  <a:pt x="3002" y="1535"/>
                </a:lnTo>
                <a:lnTo>
                  <a:pt x="3006" y="1537"/>
                </a:lnTo>
                <a:lnTo>
                  <a:pt x="3012" y="1541"/>
                </a:lnTo>
                <a:lnTo>
                  <a:pt x="3023" y="1545"/>
                </a:lnTo>
                <a:lnTo>
                  <a:pt x="3029" y="1545"/>
                </a:lnTo>
                <a:lnTo>
                  <a:pt x="3035" y="1545"/>
                </a:lnTo>
                <a:lnTo>
                  <a:pt x="3048" y="1545"/>
                </a:lnTo>
                <a:lnTo>
                  <a:pt x="3059" y="1541"/>
                </a:lnTo>
                <a:lnTo>
                  <a:pt x="3065" y="1539"/>
                </a:lnTo>
                <a:lnTo>
                  <a:pt x="3071" y="1535"/>
                </a:lnTo>
                <a:lnTo>
                  <a:pt x="3080" y="1528"/>
                </a:lnTo>
                <a:lnTo>
                  <a:pt x="3091" y="1520"/>
                </a:lnTo>
                <a:lnTo>
                  <a:pt x="3099" y="1509"/>
                </a:lnTo>
                <a:lnTo>
                  <a:pt x="3107" y="1496"/>
                </a:lnTo>
                <a:lnTo>
                  <a:pt x="3114" y="1484"/>
                </a:lnTo>
                <a:lnTo>
                  <a:pt x="3120" y="1471"/>
                </a:lnTo>
                <a:lnTo>
                  <a:pt x="3124" y="1456"/>
                </a:lnTo>
                <a:lnTo>
                  <a:pt x="3129" y="1441"/>
                </a:lnTo>
                <a:lnTo>
                  <a:pt x="3133" y="1427"/>
                </a:lnTo>
                <a:lnTo>
                  <a:pt x="3135" y="1412"/>
                </a:lnTo>
                <a:lnTo>
                  <a:pt x="3137" y="1399"/>
                </a:lnTo>
                <a:lnTo>
                  <a:pt x="3137" y="1384"/>
                </a:lnTo>
                <a:lnTo>
                  <a:pt x="3137" y="1372"/>
                </a:lnTo>
                <a:lnTo>
                  <a:pt x="3139" y="1369"/>
                </a:lnTo>
                <a:lnTo>
                  <a:pt x="3141" y="1367"/>
                </a:lnTo>
                <a:lnTo>
                  <a:pt x="3146" y="1365"/>
                </a:lnTo>
                <a:lnTo>
                  <a:pt x="3150" y="1365"/>
                </a:lnTo>
                <a:lnTo>
                  <a:pt x="3158" y="1365"/>
                </a:lnTo>
                <a:lnTo>
                  <a:pt x="3162" y="1367"/>
                </a:lnTo>
                <a:lnTo>
                  <a:pt x="3165" y="1369"/>
                </a:lnTo>
                <a:lnTo>
                  <a:pt x="3169" y="1378"/>
                </a:lnTo>
                <a:lnTo>
                  <a:pt x="3171" y="1384"/>
                </a:lnTo>
                <a:lnTo>
                  <a:pt x="3171" y="1391"/>
                </a:lnTo>
                <a:lnTo>
                  <a:pt x="3171" y="1410"/>
                </a:lnTo>
                <a:lnTo>
                  <a:pt x="3169" y="1429"/>
                </a:lnTo>
                <a:lnTo>
                  <a:pt x="3165" y="1446"/>
                </a:lnTo>
                <a:lnTo>
                  <a:pt x="3160" y="1463"/>
                </a:lnTo>
                <a:lnTo>
                  <a:pt x="3154" y="1480"/>
                </a:lnTo>
                <a:lnTo>
                  <a:pt x="3148" y="1496"/>
                </a:lnTo>
                <a:lnTo>
                  <a:pt x="3141" y="1511"/>
                </a:lnTo>
                <a:lnTo>
                  <a:pt x="3131" y="1524"/>
                </a:lnTo>
                <a:lnTo>
                  <a:pt x="3122" y="1537"/>
                </a:lnTo>
                <a:lnTo>
                  <a:pt x="3118" y="1543"/>
                </a:lnTo>
                <a:lnTo>
                  <a:pt x="3112" y="1547"/>
                </a:lnTo>
                <a:lnTo>
                  <a:pt x="3101" y="1558"/>
                </a:lnTo>
                <a:lnTo>
                  <a:pt x="3088" y="1566"/>
                </a:lnTo>
                <a:lnTo>
                  <a:pt x="3076" y="1573"/>
                </a:lnTo>
                <a:lnTo>
                  <a:pt x="3063" y="1577"/>
                </a:lnTo>
                <a:lnTo>
                  <a:pt x="3048" y="1581"/>
                </a:lnTo>
                <a:lnTo>
                  <a:pt x="3033" y="1581"/>
                </a:lnTo>
                <a:close/>
                <a:moveTo>
                  <a:pt x="3264" y="1579"/>
                </a:moveTo>
                <a:lnTo>
                  <a:pt x="3260" y="1577"/>
                </a:lnTo>
                <a:lnTo>
                  <a:pt x="3251" y="1571"/>
                </a:lnTo>
                <a:lnTo>
                  <a:pt x="3234" y="1556"/>
                </a:lnTo>
                <a:lnTo>
                  <a:pt x="3213" y="1535"/>
                </a:lnTo>
                <a:lnTo>
                  <a:pt x="3196" y="1516"/>
                </a:lnTo>
                <a:lnTo>
                  <a:pt x="3188" y="1507"/>
                </a:lnTo>
                <a:lnTo>
                  <a:pt x="3184" y="1501"/>
                </a:lnTo>
                <a:lnTo>
                  <a:pt x="3179" y="1488"/>
                </a:lnTo>
                <a:lnTo>
                  <a:pt x="3177" y="1482"/>
                </a:lnTo>
                <a:lnTo>
                  <a:pt x="3177" y="1475"/>
                </a:lnTo>
                <a:lnTo>
                  <a:pt x="3177" y="1469"/>
                </a:lnTo>
                <a:lnTo>
                  <a:pt x="3179" y="1463"/>
                </a:lnTo>
                <a:lnTo>
                  <a:pt x="3184" y="1454"/>
                </a:lnTo>
                <a:lnTo>
                  <a:pt x="3188" y="1446"/>
                </a:lnTo>
                <a:lnTo>
                  <a:pt x="3201" y="1431"/>
                </a:lnTo>
                <a:lnTo>
                  <a:pt x="3218" y="1410"/>
                </a:lnTo>
                <a:lnTo>
                  <a:pt x="3260" y="1363"/>
                </a:lnTo>
                <a:lnTo>
                  <a:pt x="3266" y="1363"/>
                </a:lnTo>
                <a:lnTo>
                  <a:pt x="3273" y="1365"/>
                </a:lnTo>
                <a:lnTo>
                  <a:pt x="3277" y="1369"/>
                </a:lnTo>
                <a:lnTo>
                  <a:pt x="3281" y="1376"/>
                </a:lnTo>
                <a:lnTo>
                  <a:pt x="3283" y="1382"/>
                </a:lnTo>
                <a:lnTo>
                  <a:pt x="3281" y="1389"/>
                </a:lnTo>
                <a:lnTo>
                  <a:pt x="3279" y="1391"/>
                </a:lnTo>
                <a:lnTo>
                  <a:pt x="3277" y="1395"/>
                </a:lnTo>
                <a:lnTo>
                  <a:pt x="3247" y="1429"/>
                </a:lnTo>
                <a:lnTo>
                  <a:pt x="3230" y="1450"/>
                </a:lnTo>
                <a:lnTo>
                  <a:pt x="3218" y="1465"/>
                </a:lnTo>
                <a:lnTo>
                  <a:pt x="3213" y="1469"/>
                </a:lnTo>
                <a:lnTo>
                  <a:pt x="3213" y="1473"/>
                </a:lnTo>
                <a:lnTo>
                  <a:pt x="3215" y="1480"/>
                </a:lnTo>
                <a:lnTo>
                  <a:pt x="3218" y="1484"/>
                </a:lnTo>
                <a:lnTo>
                  <a:pt x="3228" y="1496"/>
                </a:lnTo>
                <a:lnTo>
                  <a:pt x="3245" y="1516"/>
                </a:lnTo>
                <a:lnTo>
                  <a:pt x="3264" y="1535"/>
                </a:lnTo>
                <a:lnTo>
                  <a:pt x="3283" y="1551"/>
                </a:lnTo>
                <a:lnTo>
                  <a:pt x="3285" y="1556"/>
                </a:lnTo>
                <a:lnTo>
                  <a:pt x="3285" y="1558"/>
                </a:lnTo>
                <a:lnTo>
                  <a:pt x="3285" y="1562"/>
                </a:lnTo>
                <a:lnTo>
                  <a:pt x="3283" y="1564"/>
                </a:lnTo>
                <a:lnTo>
                  <a:pt x="3279" y="1571"/>
                </a:lnTo>
                <a:lnTo>
                  <a:pt x="3273" y="1577"/>
                </a:lnTo>
                <a:lnTo>
                  <a:pt x="3268" y="1577"/>
                </a:lnTo>
                <a:lnTo>
                  <a:pt x="3264" y="1579"/>
                </a:lnTo>
                <a:close/>
                <a:moveTo>
                  <a:pt x="3033" y="2157"/>
                </a:moveTo>
                <a:lnTo>
                  <a:pt x="3025" y="2155"/>
                </a:lnTo>
                <a:lnTo>
                  <a:pt x="3016" y="2155"/>
                </a:lnTo>
                <a:lnTo>
                  <a:pt x="3008" y="2150"/>
                </a:lnTo>
                <a:lnTo>
                  <a:pt x="2999" y="2148"/>
                </a:lnTo>
                <a:lnTo>
                  <a:pt x="2991" y="2144"/>
                </a:lnTo>
                <a:lnTo>
                  <a:pt x="2983" y="2138"/>
                </a:lnTo>
                <a:lnTo>
                  <a:pt x="2976" y="2131"/>
                </a:lnTo>
                <a:lnTo>
                  <a:pt x="2970" y="2125"/>
                </a:lnTo>
                <a:lnTo>
                  <a:pt x="2963" y="2119"/>
                </a:lnTo>
                <a:lnTo>
                  <a:pt x="2959" y="2110"/>
                </a:lnTo>
                <a:lnTo>
                  <a:pt x="2951" y="2091"/>
                </a:lnTo>
                <a:lnTo>
                  <a:pt x="2947" y="2083"/>
                </a:lnTo>
                <a:lnTo>
                  <a:pt x="2944" y="2072"/>
                </a:lnTo>
                <a:lnTo>
                  <a:pt x="2944" y="2062"/>
                </a:lnTo>
                <a:lnTo>
                  <a:pt x="2944" y="2051"/>
                </a:lnTo>
                <a:lnTo>
                  <a:pt x="2944" y="2038"/>
                </a:lnTo>
                <a:lnTo>
                  <a:pt x="2944" y="2028"/>
                </a:lnTo>
                <a:lnTo>
                  <a:pt x="2949" y="2017"/>
                </a:lnTo>
                <a:lnTo>
                  <a:pt x="2951" y="2007"/>
                </a:lnTo>
                <a:lnTo>
                  <a:pt x="2955" y="1996"/>
                </a:lnTo>
                <a:lnTo>
                  <a:pt x="2959" y="1988"/>
                </a:lnTo>
                <a:lnTo>
                  <a:pt x="2966" y="1977"/>
                </a:lnTo>
                <a:lnTo>
                  <a:pt x="2972" y="1968"/>
                </a:lnTo>
                <a:lnTo>
                  <a:pt x="2978" y="1962"/>
                </a:lnTo>
                <a:lnTo>
                  <a:pt x="2987" y="1954"/>
                </a:lnTo>
                <a:lnTo>
                  <a:pt x="2993" y="1949"/>
                </a:lnTo>
                <a:lnTo>
                  <a:pt x="3002" y="1943"/>
                </a:lnTo>
                <a:lnTo>
                  <a:pt x="3010" y="1939"/>
                </a:lnTo>
                <a:lnTo>
                  <a:pt x="3021" y="1937"/>
                </a:lnTo>
                <a:lnTo>
                  <a:pt x="3029" y="1935"/>
                </a:lnTo>
                <a:lnTo>
                  <a:pt x="3040" y="1935"/>
                </a:lnTo>
                <a:lnTo>
                  <a:pt x="3052" y="1935"/>
                </a:lnTo>
                <a:lnTo>
                  <a:pt x="3057" y="1937"/>
                </a:lnTo>
                <a:lnTo>
                  <a:pt x="3063" y="1939"/>
                </a:lnTo>
                <a:lnTo>
                  <a:pt x="3071" y="1943"/>
                </a:lnTo>
                <a:lnTo>
                  <a:pt x="3080" y="1949"/>
                </a:lnTo>
                <a:lnTo>
                  <a:pt x="3086" y="1958"/>
                </a:lnTo>
                <a:lnTo>
                  <a:pt x="3091" y="1968"/>
                </a:lnTo>
                <a:lnTo>
                  <a:pt x="3093" y="1979"/>
                </a:lnTo>
                <a:lnTo>
                  <a:pt x="3093" y="1992"/>
                </a:lnTo>
                <a:lnTo>
                  <a:pt x="3093" y="1998"/>
                </a:lnTo>
                <a:lnTo>
                  <a:pt x="3093" y="2007"/>
                </a:lnTo>
                <a:lnTo>
                  <a:pt x="3091" y="2013"/>
                </a:lnTo>
                <a:lnTo>
                  <a:pt x="3086" y="2019"/>
                </a:lnTo>
                <a:lnTo>
                  <a:pt x="3082" y="2028"/>
                </a:lnTo>
                <a:lnTo>
                  <a:pt x="3078" y="2034"/>
                </a:lnTo>
                <a:lnTo>
                  <a:pt x="3067" y="2045"/>
                </a:lnTo>
                <a:lnTo>
                  <a:pt x="3061" y="2051"/>
                </a:lnTo>
                <a:lnTo>
                  <a:pt x="3055" y="2055"/>
                </a:lnTo>
                <a:lnTo>
                  <a:pt x="3042" y="2062"/>
                </a:lnTo>
                <a:lnTo>
                  <a:pt x="3033" y="2066"/>
                </a:lnTo>
                <a:lnTo>
                  <a:pt x="3027" y="2068"/>
                </a:lnTo>
                <a:lnTo>
                  <a:pt x="3012" y="2068"/>
                </a:lnTo>
                <a:lnTo>
                  <a:pt x="3006" y="2068"/>
                </a:lnTo>
                <a:lnTo>
                  <a:pt x="3002" y="2066"/>
                </a:lnTo>
                <a:lnTo>
                  <a:pt x="2999" y="2064"/>
                </a:lnTo>
                <a:lnTo>
                  <a:pt x="2997" y="2059"/>
                </a:lnTo>
                <a:lnTo>
                  <a:pt x="2997" y="2057"/>
                </a:lnTo>
                <a:lnTo>
                  <a:pt x="2995" y="2049"/>
                </a:lnTo>
                <a:lnTo>
                  <a:pt x="2997" y="2043"/>
                </a:lnTo>
                <a:lnTo>
                  <a:pt x="2997" y="2040"/>
                </a:lnTo>
                <a:lnTo>
                  <a:pt x="2999" y="2038"/>
                </a:lnTo>
                <a:lnTo>
                  <a:pt x="3012" y="2036"/>
                </a:lnTo>
                <a:lnTo>
                  <a:pt x="3025" y="2032"/>
                </a:lnTo>
                <a:lnTo>
                  <a:pt x="3035" y="2026"/>
                </a:lnTo>
                <a:lnTo>
                  <a:pt x="3044" y="2019"/>
                </a:lnTo>
                <a:lnTo>
                  <a:pt x="3052" y="2011"/>
                </a:lnTo>
                <a:lnTo>
                  <a:pt x="3055" y="2007"/>
                </a:lnTo>
                <a:lnTo>
                  <a:pt x="3057" y="2002"/>
                </a:lnTo>
                <a:lnTo>
                  <a:pt x="3061" y="1994"/>
                </a:lnTo>
                <a:lnTo>
                  <a:pt x="3063" y="1985"/>
                </a:lnTo>
                <a:lnTo>
                  <a:pt x="3061" y="1981"/>
                </a:lnTo>
                <a:lnTo>
                  <a:pt x="3061" y="1977"/>
                </a:lnTo>
                <a:lnTo>
                  <a:pt x="3059" y="1973"/>
                </a:lnTo>
                <a:lnTo>
                  <a:pt x="3055" y="1971"/>
                </a:lnTo>
                <a:lnTo>
                  <a:pt x="3052" y="1966"/>
                </a:lnTo>
                <a:lnTo>
                  <a:pt x="3048" y="1966"/>
                </a:lnTo>
                <a:lnTo>
                  <a:pt x="3038" y="1964"/>
                </a:lnTo>
                <a:lnTo>
                  <a:pt x="3027" y="1966"/>
                </a:lnTo>
                <a:lnTo>
                  <a:pt x="3021" y="1968"/>
                </a:lnTo>
                <a:lnTo>
                  <a:pt x="3016" y="1971"/>
                </a:lnTo>
                <a:lnTo>
                  <a:pt x="3010" y="1975"/>
                </a:lnTo>
                <a:lnTo>
                  <a:pt x="3006" y="1979"/>
                </a:lnTo>
                <a:lnTo>
                  <a:pt x="2997" y="1990"/>
                </a:lnTo>
                <a:lnTo>
                  <a:pt x="2993" y="1994"/>
                </a:lnTo>
                <a:lnTo>
                  <a:pt x="2989" y="2002"/>
                </a:lnTo>
                <a:lnTo>
                  <a:pt x="2983" y="2015"/>
                </a:lnTo>
                <a:lnTo>
                  <a:pt x="2978" y="2032"/>
                </a:lnTo>
                <a:lnTo>
                  <a:pt x="2978" y="2040"/>
                </a:lnTo>
                <a:lnTo>
                  <a:pt x="2976" y="2049"/>
                </a:lnTo>
                <a:lnTo>
                  <a:pt x="2978" y="2064"/>
                </a:lnTo>
                <a:lnTo>
                  <a:pt x="2980" y="2070"/>
                </a:lnTo>
                <a:lnTo>
                  <a:pt x="2980" y="2076"/>
                </a:lnTo>
                <a:lnTo>
                  <a:pt x="2987" y="2089"/>
                </a:lnTo>
                <a:lnTo>
                  <a:pt x="2993" y="2100"/>
                </a:lnTo>
                <a:lnTo>
                  <a:pt x="3002" y="2108"/>
                </a:lnTo>
                <a:lnTo>
                  <a:pt x="3006" y="2112"/>
                </a:lnTo>
                <a:lnTo>
                  <a:pt x="3012" y="2115"/>
                </a:lnTo>
                <a:lnTo>
                  <a:pt x="3023" y="2119"/>
                </a:lnTo>
                <a:lnTo>
                  <a:pt x="3029" y="2121"/>
                </a:lnTo>
                <a:lnTo>
                  <a:pt x="3035" y="2121"/>
                </a:lnTo>
                <a:lnTo>
                  <a:pt x="3048" y="2119"/>
                </a:lnTo>
                <a:lnTo>
                  <a:pt x="3059" y="2115"/>
                </a:lnTo>
                <a:lnTo>
                  <a:pt x="3065" y="2112"/>
                </a:lnTo>
                <a:lnTo>
                  <a:pt x="3071" y="2110"/>
                </a:lnTo>
                <a:lnTo>
                  <a:pt x="3080" y="2102"/>
                </a:lnTo>
                <a:lnTo>
                  <a:pt x="3091" y="2093"/>
                </a:lnTo>
                <a:lnTo>
                  <a:pt x="3099" y="2083"/>
                </a:lnTo>
                <a:lnTo>
                  <a:pt x="3107" y="2070"/>
                </a:lnTo>
                <a:lnTo>
                  <a:pt x="3114" y="2057"/>
                </a:lnTo>
                <a:lnTo>
                  <a:pt x="3120" y="2045"/>
                </a:lnTo>
                <a:lnTo>
                  <a:pt x="3124" y="2030"/>
                </a:lnTo>
                <a:lnTo>
                  <a:pt x="3129" y="2017"/>
                </a:lnTo>
                <a:lnTo>
                  <a:pt x="3133" y="2002"/>
                </a:lnTo>
                <a:lnTo>
                  <a:pt x="3135" y="1988"/>
                </a:lnTo>
                <a:lnTo>
                  <a:pt x="3137" y="1973"/>
                </a:lnTo>
                <a:lnTo>
                  <a:pt x="3137" y="1960"/>
                </a:lnTo>
                <a:lnTo>
                  <a:pt x="3137" y="1947"/>
                </a:lnTo>
                <a:lnTo>
                  <a:pt x="3139" y="1943"/>
                </a:lnTo>
                <a:lnTo>
                  <a:pt x="3141" y="1941"/>
                </a:lnTo>
                <a:lnTo>
                  <a:pt x="3146" y="1939"/>
                </a:lnTo>
                <a:lnTo>
                  <a:pt x="3150" y="1939"/>
                </a:lnTo>
                <a:lnTo>
                  <a:pt x="3158" y="1941"/>
                </a:lnTo>
                <a:lnTo>
                  <a:pt x="3162" y="1943"/>
                </a:lnTo>
                <a:lnTo>
                  <a:pt x="3165" y="1945"/>
                </a:lnTo>
                <a:lnTo>
                  <a:pt x="3169" y="1954"/>
                </a:lnTo>
                <a:lnTo>
                  <a:pt x="3171" y="1958"/>
                </a:lnTo>
                <a:lnTo>
                  <a:pt x="3171" y="1964"/>
                </a:lnTo>
                <a:lnTo>
                  <a:pt x="3171" y="1983"/>
                </a:lnTo>
                <a:lnTo>
                  <a:pt x="3169" y="2002"/>
                </a:lnTo>
                <a:lnTo>
                  <a:pt x="3165" y="2019"/>
                </a:lnTo>
                <a:lnTo>
                  <a:pt x="3160" y="2038"/>
                </a:lnTo>
                <a:lnTo>
                  <a:pt x="3154" y="2053"/>
                </a:lnTo>
                <a:lnTo>
                  <a:pt x="3148" y="2070"/>
                </a:lnTo>
                <a:lnTo>
                  <a:pt x="3141" y="2085"/>
                </a:lnTo>
                <a:lnTo>
                  <a:pt x="3131" y="2098"/>
                </a:lnTo>
                <a:lnTo>
                  <a:pt x="3122" y="2110"/>
                </a:lnTo>
                <a:lnTo>
                  <a:pt x="3118" y="2117"/>
                </a:lnTo>
                <a:lnTo>
                  <a:pt x="3112" y="2123"/>
                </a:lnTo>
                <a:lnTo>
                  <a:pt x="3101" y="2131"/>
                </a:lnTo>
                <a:lnTo>
                  <a:pt x="3088" y="2140"/>
                </a:lnTo>
                <a:lnTo>
                  <a:pt x="3076" y="2146"/>
                </a:lnTo>
                <a:lnTo>
                  <a:pt x="3063" y="2153"/>
                </a:lnTo>
                <a:lnTo>
                  <a:pt x="3048" y="2155"/>
                </a:lnTo>
                <a:lnTo>
                  <a:pt x="3033" y="2157"/>
                </a:lnTo>
                <a:close/>
                <a:moveTo>
                  <a:pt x="3264" y="2153"/>
                </a:moveTo>
                <a:lnTo>
                  <a:pt x="3260" y="2150"/>
                </a:lnTo>
                <a:lnTo>
                  <a:pt x="3251" y="2144"/>
                </a:lnTo>
                <a:lnTo>
                  <a:pt x="3234" y="2129"/>
                </a:lnTo>
                <a:lnTo>
                  <a:pt x="3213" y="2110"/>
                </a:lnTo>
                <a:lnTo>
                  <a:pt x="3196" y="2089"/>
                </a:lnTo>
                <a:lnTo>
                  <a:pt x="3188" y="2081"/>
                </a:lnTo>
                <a:lnTo>
                  <a:pt x="3184" y="2074"/>
                </a:lnTo>
                <a:lnTo>
                  <a:pt x="3179" y="2062"/>
                </a:lnTo>
                <a:lnTo>
                  <a:pt x="3177" y="2055"/>
                </a:lnTo>
                <a:lnTo>
                  <a:pt x="3177" y="2051"/>
                </a:lnTo>
                <a:lnTo>
                  <a:pt x="3177" y="2043"/>
                </a:lnTo>
                <a:lnTo>
                  <a:pt x="3179" y="2036"/>
                </a:lnTo>
                <a:lnTo>
                  <a:pt x="3184" y="2028"/>
                </a:lnTo>
                <a:lnTo>
                  <a:pt x="3188" y="2019"/>
                </a:lnTo>
                <a:lnTo>
                  <a:pt x="3201" y="2004"/>
                </a:lnTo>
                <a:lnTo>
                  <a:pt x="3218" y="1985"/>
                </a:lnTo>
                <a:lnTo>
                  <a:pt x="3260" y="1937"/>
                </a:lnTo>
                <a:lnTo>
                  <a:pt x="3266" y="1937"/>
                </a:lnTo>
                <a:lnTo>
                  <a:pt x="3273" y="1941"/>
                </a:lnTo>
                <a:lnTo>
                  <a:pt x="3277" y="1945"/>
                </a:lnTo>
                <a:lnTo>
                  <a:pt x="3281" y="1949"/>
                </a:lnTo>
                <a:lnTo>
                  <a:pt x="3283" y="1956"/>
                </a:lnTo>
                <a:lnTo>
                  <a:pt x="3281" y="1962"/>
                </a:lnTo>
                <a:lnTo>
                  <a:pt x="3279" y="1966"/>
                </a:lnTo>
                <a:lnTo>
                  <a:pt x="3277" y="1968"/>
                </a:lnTo>
                <a:lnTo>
                  <a:pt x="3247" y="2002"/>
                </a:lnTo>
                <a:lnTo>
                  <a:pt x="3230" y="2023"/>
                </a:lnTo>
                <a:lnTo>
                  <a:pt x="3218" y="2038"/>
                </a:lnTo>
                <a:lnTo>
                  <a:pt x="3213" y="2045"/>
                </a:lnTo>
                <a:lnTo>
                  <a:pt x="3213" y="2049"/>
                </a:lnTo>
                <a:lnTo>
                  <a:pt x="3215" y="2053"/>
                </a:lnTo>
                <a:lnTo>
                  <a:pt x="3218" y="2059"/>
                </a:lnTo>
                <a:lnTo>
                  <a:pt x="3228" y="2072"/>
                </a:lnTo>
                <a:lnTo>
                  <a:pt x="3245" y="2089"/>
                </a:lnTo>
                <a:lnTo>
                  <a:pt x="3264" y="2108"/>
                </a:lnTo>
                <a:lnTo>
                  <a:pt x="3283" y="2127"/>
                </a:lnTo>
                <a:lnTo>
                  <a:pt x="3285" y="2129"/>
                </a:lnTo>
                <a:lnTo>
                  <a:pt x="3285" y="2131"/>
                </a:lnTo>
                <a:lnTo>
                  <a:pt x="3285" y="2136"/>
                </a:lnTo>
                <a:lnTo>
                  <a:pt x="3283" y="2140"/>
                </a:lnTo>
                <a:lnTo>
                  <a:pt x="3279" y="2146"/>
                </a:lnTo>
                <a:lnTo>
                  <a:pt x="3273" y="2150"/>
                </a:lnTo>
                <a:lnTo>
                  <a:pt x="3268" y="2153"/>
                </a:lnTo>
                <a:lnTo>
                  <a:pt x="3264" y="2153"/>
                </a:lnTo>
                <a:close/>
                <a:moveTo>
                  <a:pt x="1198" y="991"/>
                </a:moveTo>
                <a:lnTo>
                  <a:pt x="1190" y="991"/>
                </a:lnTo>
                <a:lnTo>
                  <a:pt x="1181" y="988"/>
                </a:lnTo>
                <a:lnTo>
                  <a:pt x="1173" y="986"/>
                </a:lnTo>
                <a:lnTo>
                  <a:pt x="1164" y="982"/>
                </a:lnTo>
                <a:lnTo>
                  <a:pt x="1156" y="978"/>
                </a:lnTo>
                <a:lnTo>
                  <a:pt x="1147" y="972"/>
                </a:lnTo>
                <a:lnTo>
                  <a:pt x="1141" y="965"/>
                </a:lnTo>
                <a:lnTo>
                  <a:pt x="1135" y="959"/>
                </a:lnTo>
                <a:lnTo>
                  <a:pt x="1128" y="952"/>
                </a:lnTo>
                <a:lnTo>
                  <a:pt x="1124" y="944"/>
                </a:lnTo>
                <a:lnTo>
                  <a:pt x="1116" y="925"/>
                </a:lnTo>
                <a:lnTo>
                  <a:pt x="1111" y="917"/>
                </a:lnTo>
                <a:lnTo>
                  <a:pt x="1109" y="906"/>
                </a:lnTo>
                <a:lnTo>
                  <a:pt x="1109" y="895"/>
                </a:lnTo>
                <a:lnTo>
                  <a:pt x="1109" y="885"/>
                </a:lnTo>
                <a:lnTo>
                  <a:pt x="1109" y="872"/>
                </a:lnTo>
                <a:lnTo>
                  <a:pt x="1109" y="861"/>
                </a:lnTo>
                <a:lnTo>
                  <a:pt x="1113" y="851"/>
                </a:lnTo>
                <a:lnTo>
                  <a:pt x="1116" y="840"/>
                </a:lnTo>
                <a:lnTo>
                  <a:pt x="1120" y="830"/>
                </a:lnTo>
                <a:lnTo>
                  <a:pt x="1124" y="821"/>
                </a:lnTo>
                <a:lnTo>
                  <a:pt x="1130" y="811"/>
                </a:lnTo>
                <a:lnTo>
                  <a:pt x="1137" y="802"/>
                </a:lnTo>
                <a:lnTo>
                  <a:pt x="1143" y="796"/>
                </a:lnTo>
                <a:lnTo>
                  <a:pt x="1149" y="790"/>
                </a:lnTo>
                <a:lnTo>
                  <a:pt x="1158" y="783"/>
                </a:lnTo>
                <a:lnTo>
                  <a:pt x="1166" y="777"/>
                </a:lnTo>
                <a:lnTo>
                  <a:pt x="1175" y="773"/>
                </a:lnTo>
                <a:lnTo>
                  <a:pt x="1185" y="770"/>
                </a:lnTo>
                <a:lnTo>
                  <a:pt x="1194" y="768"/>
                </a:lnTo>
                <a:lnTo>
                  <a:pt x="1204" y="768"/>
                </a:lnTo>
                <a:lnTo>
                  <a:pt x="1217" y="768"/>
                </a:lnTo>
                <a:lnTo>
                  <a:pt x="1221" y="770"/>
                </a:lnTo>
                <a:lnTo>
                  <a:pt x="1228" y="773"/>
                </a:lnTo>
                <a:lnTo>
                  <a:pt x="1236" y="777"/>
                </a:lnTo>
                <a:lnTo>
                  <a:pt x="1245" y="785"/>
                </a:lnTo>
                <a:lnTo>
                  <a:pt x="1251" y="792"/>
                </a:lnTo>
                <a:lnTo>
                  <a:pt x="1255" y="802"/>
                </a:lnTo>
                <a:lnTo>
                  <a:pt x="1257" y="813"/>
                </a:lnTo>
                <a:lnTo>
                  <a:pt x="1257" y="825"/>
                </a:lnTo>
                <a:lnTo>
                  <a:pt x="1257" y="832"/>
                </a:lnTo>
                <a:lnTo>
                  <a:pt x="1257" y="840"/>
                </a:lnTo>
                <a:lnTo>
                  <a:pt x="1253" y="847"/>
                </a:lnTo>
                <a:lnTo>
                  <a:pt x="1251" y="855"/>
                </a:lnTo>
                <a:lnTo>
                  <a:pt x="1247" y="861"/>
                </a:lnTo>
                <a:lnTo>
                  <a:pt x="1243" y="868"/>
                </a:lnTo>
                <a:lnTo>
                  <a:pt x="1232" y="878"/>
                </a:lnTo>
                <a:lnTo>
                  <a:pt x="1226" y="885"/>
                </a:lnTo>
                <a:lnTo>
                  <a:pt x="1219" y="889"/>
                </a:lnTo>
                <a:lnTo>
                  <a:pt x="1207" y="895"/>
                </a:lnTo>
                <a:lnTo>
                  <a:pt x="1198" y="900"/>
                </a:lnTo>
                <a:lnTo>
                  <a:pt x="1192" y="902"/>
                </a:lnTo>
                <a:lnTo>
                  <a:pt x="1177" y="902"/>
                </a:lnTo>
                <a:lnTo>
                  <a:pt x="1171" y="902"/>
                </a:lnTo>
                <a:lnTo>
                  <a:pt x="1166" y="900"/>
                </a:lnTo>
                <a:lnTo>
                  <a:pt x="1164" y="897"/>
                </a:lnTo>
                <a:lnTo>
                  <a:pt x="1162" y="893"/>
                </a:lnTo>
                <a:lnTo>
                  <a:pt x="1162" y="891"/>
                </a:lnTo>
                <a:lnTo>
                  <a:pt x="1160" y="883"/>
                </a:lnTo>
                <a:lnTo>
                  <a:pt x="1160" y="876"/>
                </a:lnTo>
                <a:lnTo>
                  <a:pt x="1162" y="874"/>
                </a:lnTo>
                <a:lnTo>
                  <a:pt x="1164" y="874"/>
                </a:lnTo>
                <a:lnTo>
                  <a:pt x="1177" y="870"/>
                </a:lnTo>
                <a:lnTo>
                  <a:pt x="1190" y="866"/>
                </a:lnTo>
                <a:lnTo>
                  <a:pt x="1200" y="859"/>
                </a:lnTo>
                <a:lnTo>
                  <a:pt x="1209" y="853"/>
                </a:lnTo>
                <a:lnTo>
                  <a:pt x="1217" y="845"/>
                </a:lnTo>
                <a:lnTo>
                  <a:pt x="1219" y="842"/>
                </a:lnTo>
                <a:lnTo>
                  <a:pt x="1221" y="838"/>
                </a:lnTo>
                <a:lnTo>
                  <a:pt x="1226" y="830"/>
                </a:lnTo>
                <a:lnTo>
                  <a:pt x="1226" y="821"/>
                </a:lnTo>
                <a:lnTo>
                  <a:pt x="1226" y="815"/>
                </a:lnTo>
                <a:lnTo>
                  <a:pt x="1226" y="811"/>
                </a:lnTo>
                <a:lnTo>
                  <a:pt x="1224" y="806"/>
                </a:lnTo>
                <a:lnTo>
                  <a:pt x="1219" y="804"/>
                </a:lnTo>
                <a:lnTo>
                  <a:pt x="1217" y="802"/>
                </a:lnTo>
                <a:lnTo>
                  <a:pt x="1213" y="800"/>
                </a:lnTo>
                <a:lnTo>
                  <a:pt x="1202" y="798"/>
                </a:lnTo>
                <a:lnTo>
                  <a:pt x="1192" y="800"/>
                </a:lnTo>
                <a:lnTo>
                  <a:pt x="1185" y="802"/>
                </a:lnTo>
                <a:lnTo>
                  <a:pt x="1181" y="804"/>
                </a:lnTo>
                <a:lnTo>
                  <a:pt x="1175" y="809"/>
                </a:lnTo>
                <a:lnTo>
                  <a:pt x="1171" y="813"/>
                </a:lnTo>
                <a:lnTo>
                  <a:pt x="1162" y="823"/>
                </a:lnTo>
                <a:lnTo>
                  <a:pt x="1158" y="830"/>
                </a:lnTo>
                <a:lnTo>
                  <a:pt x="1154" y="836"/>
                </a:lnTo>
                <a:lnTo>
                  <a:pt x="1147" y="849"/>
                </a:lnTo>
                <a:lnTo>
                  <a:pt x="1143" y="866"/>
                </a:lnTo>
                <a:lnTo>
                  <a:pt x="1143" y="874"/>
                </a:lnTo>
                <a:lnTo>
                  <a:pt x="1141" y="883"/>
                </a:lnTo>
                <a:lnTo>
                  <a:pt x="1143" y="897"/>
                </a:lnTo>
                <a:lnTo>
                  <a:pt x="1145" y="904"/>
                </a:lnTo>
                <a:lnTo>
                  <a:pt x="1145" y="912"/>
                </a:lnTo>
                <a:lnTo>
                  <a:pt x="1152" y="923"/>
                </a:lnTo>
                <a:lnTo>
                  <a:pt x="1158" y="933"/>
                </a:lnTo>
                <a:lnTo>
                  <a:pt x="1166" y="942"/>
                </a:lnTo>
                <a:lnTo>
                  <a:pt x="1171" y="946"/>
                </a:lnTo>
                <a:lnTo>
                  <a:pt x="1177" y="948"/>
                </a:lnTo>
                <a:lnTo>
                  <a:pt x="1188" y="952"/>
                </a:lnTo>
                <a:lnTo>
                  <a:pt x="1194" y="955"/>
                </a:lnTo>
                <a:lnTo>
                  <a:pt x="1200" y="955"/>
                </a:lnTo>
                <a:lnTo>
                  <a:pt x="1213" y="952"/>
                </a:lnTo>
                <a:lnTo>
                  <a:pt x="1224" y="950"/>
                </a:lnTo>
                <a:lnTo>
                  <a:pt x="1230" y="946"/>
                </a:lnTo>
                <a:lnTo>
                  <a:pt x="1236" y="944"/>
                </a:lnTo>
                <a:lnTo>
                  <a:pt x="1245" y="936"/>
                </a:lnTo>
                <a:lnTo>
                  <a:pt x="1255" y="927"/>
                </a:lnTo>
                <a:lnTo>
                  <a:pt x="1264" y="917"/>
                </a:lnTo>
                <a:lnTo>
                  <a:pt x="1272" y="906"/>
                </a:lnTo>
                <a:lnTo>
                  <a:pt x="1279" y="893"/>
                </a:lnTo>
                <a:lnTo>
                  <a:pt x="1285" y="878"/>
                </a:lnTo>
                <a:lnTo>
                  <a:pt x="1289" y="864"/>
                </a:lnTo>
                <a:lnTo>
                  <a:pt x="1293" y="851"/>
                </a:lnTo>
                <a:lnTo>
                  <a:pt x="1298" y="836"/>
                </a:lnTo>
                <a:lnTo>
                  <a:pt x="1300" y="821"/>
                </a:lnTo>
                <a:lnTo>
                  <a:pt x="1302" y="806"/>
                </a:lnTo>
                <a:lnTo>
                  <a:pt x="1302" y="794"/>
                </a:lnTo>
                <a:lnTo>
                  <a:pt x="1302" y="781"/>
                </a:lnTo>
                <a:lnTo>
                  <a:pt x="1304" y="777"/>
                </a:lnTo>
                <a:lnTo>
                  <a:pt x="1306" y="775"/>
                </a:lnTo>
                <a:lnTo>
                  <a:pt x="1310" y="775"/>
                </a:lnTo>
                <a:lnTo>
                  <a:pt x="1315" y="773"/>
                </a:lnTo>
                <a:lnTo>
                  <a:pt x="1323" y="775"/>
                </a:lnTo>
                <a:lnTo>
                  <a:pt x="1327" y="777"/>
                </a:lnTo>
                <a:lnTo>
                  <a:pt x="1329" y="779"/>
                </a:lnTo>
                <a:lnTo>
                  <a:pt x="1334" y="787"/>
                </a:lnTo>
                <a:lnTo>
                  <a:pt x="1336" y="792"/>
                </a:lnTo>
                <a:lnTo>
                  <a:pt x="1336" y="800"/>
                </a:lnTo>
                <a:lnTo>
                  <a:pt x="1336" y="817"/>
                </a:lnTo>
                <a:lnTo>
                  <a:pt x="1334" y="836"/>
                </a:lnTo>
                <a:lnTo>
                  <a:pt x="1329" y="855"/>
                </a:lnTo>
                <a:lnTo>
                  <a:pt x="1325" y="872"/>
                </a:lnTo>
                <a:lnTo>
                  <a:pt x="1319" y="889"/>
                </a:lnTo>
                <a:lnTo>
                  <a:pt x="1312" y="904"/>
                </a:lnTo>
                <a:lnTo>
                  <a:pt x="1304" y="919"/>
                </a:lnTo>
                <a:lnTo>
                  <a:pt x="1295" y="933"/>
                </a:lnTo>
                <a:lnTo>
                  <a:pt x="1287" y="944"/>
                </a:lnTo>
                <a:lnTo>
                  <a:pt x="1283" y="950"/>
                </a:lnTo>
                <a:lnTo>
                  <a:pt x="1276" y="957"/>
                </a:lnTo>
                <a:lnTo>
                  <a:pt x="1266" y="965"/>
                </a:lnTo>
                <a:lnTo>
                  <a:pt x="1253" y="974"/>
                </a:lnTo>
                <a:lnTo>
                  <a:pt x="1240" y="982"/>
                </a:lnTo>
                <a:lnTo>
                  <a:pt x="1228" y="986"/>
                </a:lnTo>
                <a:lnTo>
                  <a:pt x="1213" y="988"/>
                </a:lnTo>
                <a:lnTo>
                  <a:pt x="1198" y="991"/>
                </a:lnTo>
                <a:close/>
                <a:moveTo>
                  <a:pt x="1429" y="986"/>
                </a:moveTo>
                <a:lnTo>
                  <a:pt x="1425" y="984"/>
                </a:lnTo>
                <a:lnTo>
                  <a:pt x="1416" y="978"/>
                </a:lnTo>
                <a:lnTo>
                  <a:pt x="1399" y="963"/>
                </a:lnTo>
                <a:lnTo>
                  <a:pt x="1378" y="944"/>
                </a:lnTo>
                <a:lnTo>
                  <a:pt x="1361" y="923"/>
                </a:lnTo>
                <a:lnTo>
                  <a:pt x="1353" y="914"/>
                </a:lnTo>
                <a:lnTo>
                  <a:pt x="1348" y="908"/>
                </a:lnTo>
                <a:lnTo>
                  <a:pt x="1344" y="895"/>
                </a:lnTo>
                <a:lnTo>
                  <a:pt x="1342" y="889"/>
                </a:lnTo>
                <a:lnTo>
                  <a:pt x="1342" y="885"/>
                </a:lnTo>
                <a:lnTo>
                  <a:pt x="1342" y="876"/>
                </a:lnTo>
                <a:lnTo>
                  <a:pt x="1344" y="870"/>
                </a:lnTo>
                <a:lnTo>
                  <a:pt x="1348" y="861"/>
                </a:lnTo>
                <a:lnTo>
                  <a:pt x="1353" y="855"/>
                </a:lnTo>
                <a:lnTo>
                  <a:pt x="1365" y="840"/>
                </a:lnTo>
                <a:lnTo>
                  <a:pt x="1382" y="819"/>
                </a:lnTo>
                <a:lnTo>
                  <a:pt x="1425" y="770"/>
                </a:lnTo>
                <a:lnTo>
                  <a:pt x="1431" y="773"/>
                </a:lnTo>
                <a:lnTo>
                  <a:pt x="1437" y="775"/>
                </a:lnTo>
                <a:lnTo>
                  <a:pt x="1442" y="779"/>
                </a:lnTo>
                <a:lnTo>
                  <a:pt x="1446" y="783"/>
                </a:lnTo>
                <a:lnTo>
                  <a:pt x="1448" y="790"/>
                </a:lnTo>
                <a:lnTo>
                  <a:pt x="1446" y="796"/>
                </a:lnTo>
                <a:lnTo>
                  <a:pt x="1444" y="800"/>
                </a:lnTo>
                <a:lnTo>
                  <a:pt x="1442" y="802"/>
                </a:lnTo>
                <a:lnTo>
                  <a:pt x="1412" y="838"/>
                </a:lnTo>
                <a:lnTo>
                  <a:pt x="1395" y="857"/>
                </a:lnTo>
                <a:lnTo>
                  <a:pt x="1382" y="874"/>
                </a:lnTo>
                <a:lnTo>
                  <a:pt x="1378" y="878"/>
                </a:lnTo>
                <a:lnTo>
                  <a:pt x="1378" y="883"/>
                </a:lnTo>
                <a:lnTo>
                  <a:pt x="1378" y="887"/>
                </a:lnTo>
                <a:lnTo>
                  <a:pt x="1382" y="893"/>
                </a:lnTo>
                <a:lnTo>
                  <a:pt x="1393" y="906"/>
                </a:lnTo>
                <a:lnTo>
                  <a:pt x="1410" y="923"/>
                </a:lnTo>
                <a:lnTo>
                  <a:pt x="1429" y="942"/>
                </a:lnTo>
                <a:lnTo>
                  <a:pt x="1448" y="961"/>
                </a:lnTo>
                <a:lnTo>
                  <a:pt x="1450" y="963"/>
                </a:lnTo>
                <a:lnTo>
                  <a:pt x="1450" y="967"/>
                </a:lnTo>
                <a:lnTo>
                  <a:pt x="1450" y="969"/>
                </a:lnTo>
                <a:lnTo>
                  <a:pt x="1448" y="974"/>
                </a:lnTo>
                <a:lnTo>
                  <a:pt x="1444" y="980"/>
                </a:lnTo>
                <a:lnTo>
                  <a:pt x="1437" y="984"/>
                </a:lnTo>
                <a:lnTo>
                  <a:pt x="1433" y="986"/>
                </a:lnTo>
                <a:lnTo>
                  <a:pt x="1429" y="986"/>
                </a:lnTo>
                <a:close/>
                <a:moveTo>
                  <a:pt x="1198" y="1581"/>
                </a:moveTo>
                <a:lnTo>
                  <a:pt x="1190" y="1581"/>
                </a:lnTo>
                <a:lnTo>
                  <a:pt x="1181" y="1579"/>
                </a:lnTo>
                <a:lnTo>
                  <a:pt x="1173" y="1577"/>
                </a:lnTo>
                <a:lnTo>
                  <a:pt x="1164" y="1573"/>
                </a:lnTo>
                <a:lnTo>
                  <a:pt x="1156" y="1568"/>
                </a:lnTo>
                <a:lnTo>
                  <a:pt x="1147" y="1564"/>
                </a:lnTo>
                <a:lnTo>
                  <a:pt x="1141" y="1558"/>
                </a:lnTo>
                <a:lnTo>
                  <a:pt x="1135" y="1551"/>
                </a:lnTo>
                <a:lnTo>
                  <a:pt x="1128" y="1543"/>
                </a:lnTo>
                <a:lnTo>
                  <a:pt x="1124" y="1535"/>
                </a:lnTo>
                <a:lnTo>
                  <a:pt x="1116" y="1518"/>
                </a:lnTo>
                <a:lnTo>
                  <a:pt x="1111" y="1507"/>
                </a:lnTo>
                <a:lnTo>
                  <a:pt x="1109" y="1496"/>
                </a:lnTo>
                <a:lnTo>
                  <a:pt x="1109" y="1486"/>
                </a:lnTo>
                <a:lnTo>
                  <a:pt x="1109" y="1475"/>
                </a:lnTo>
                <a:lnTo>
                  <a:pt x="1109" y="1465"/>
                </a:lnTo>
                <a:lnTo>
                  <a:pt x="1109" y="1454"/>
                </a:lnTo>
                <a:lnTo>
                  <a:pt x="1113" y="1444"/>
                </a:lnTo>
                <a:lnTo>
                  <a:pt x="1116" y="1433"/>
                </a:lnTo>
                <a:lnTo>
                  <a:pt x="1120" y="1422"/>
                </a:lnTo>
                <a:lnTo>
                  <a:pt x="1124" y="1412"/>
                </a:lnTo>
                <a:lnTo>
                  <a:pt x="1130" y="1403"/>
                </a:lnTo>
                <a:lnTo>
                  <a:pt x="1137" y="1395"/>
                </a:lnTo>
                <a:lnTo>
                  <a:pt x="1143" y="1386"/>
                </a:lnTo>
                <a:lnTo>
                  <a:pt x="1149" y="1380"/>
                </a:lnTo>
                <a:lnTo>
                  <a:pt x="1158" y="1374"/>
                </a:lnTo>
                <a:lnTo>
                  <a:pt x="1166" y="1369"/>
                </a:lnTo>
                <a:lnTo>
                  <a:pt x="1175" y="1365"/>
                </a:lnTo>
                <a:lnTo>
                  <a:pt x="1185" y="1361"/>
                </a:lnTo>
                <a:lnTo>
                  <a:pt x="1194" y="1361"/>
                </a:lnTo>
                <a:lnTo>
                  <a:pt x="1204" y="1359"/>
                </a:lnTo>
                <a:lnTo>
                  <a:pt x="1217" y="1361"/>
                </a:lnTo>
                <a:lnTo>
                  <a:pt x="1221" y="1361"/>
                </a:lnTo>
                <a:lnTo>
                  <a:pt x="1228" y="1363"/>
                </a:lnTo>
                <a:lnTo>
                  <a:pt x="1236" y="1369"/>
                </a:lnTo>
                <a:lnTo>
                  <a:pt x="1245" y="1376"/>
                </a:lnTo>
                <a:lnTo>
                  <a:pt x="1251" y="1384"/>
                </a:lnTo>
                <a:lnTo>
                  <a:pt x="1255" y="1395"/>
                </a:lnTo>
                <a:lnTo>
                  <a:pt x="1257" y="1405"/>
                </a:lnTo>
                <a:lnTo>
                  <a:pt x="1257" y="1416"/>
                </a:lnTo>
                <a:lnTo>
                  <a:pt x="1257" y="1424"/>
                </a:lnTo>
                <a:lnTo>
                  <a:pt x="1257" y="1431"/>
                </a:lnTo>
                <a:lnTo>
                  <a:pt x="1253" y="1439"/>
                </a:lnTo>
                <a:lnTo>
                  <a:pt x="1251" y="1446"/>
                </a:lnTo>
                <a:lnTo>
                  <a:pt x="1247" y="1452"/>
                </a:lnTo>
                <a:lnTo>
                  <a:pt x="1243" y="1458"/>
                </a:lnTo>
                <a:lnTo>
                  <a:pt x="1232" y="1471"/>
                </a:lnTo>
                <a:lnTo>
                  <a:pt x="1226" y="1475"/>
                </a:lnTo>
                <a:lnTo>
                  <a:pt x="1219" y="1480"/>
                </a:lnTo>
                <a:lnTo>
                  <a:pt x="1207" y="1488"/>
                </a:lnTo>
                <a:lnTo>
                  <a:pt x="1198" y="1490"/>
                </a:lnTo>
                <a:lnTo>
                  <a:pt x="1192" y="1492"/>
                </a:lnTo>
                <a:lnTo>
                  <a:pt x="1177" y="1494"/>
                </a:lnTo>
                <a:lnTo>
                  <a:pt x="1171" y="1492"/>
                </a:lnTo>
                <a:lnTo>
                  <a:pt x="1166" y="1490"/>
                </a:lnTo>
                <a:lnTo>
                  <a:pt x="1164" y="1488"/>
                </a:lnTo>
                <a:lnTo>
                  <a:pt x="1162" y="1486"/>
                </a:lnTo>
                <a:lnTo>
                  <a:pt x="1162" y="1482"/>
                </a:lnTo>
                <a:lnTo>
                  <a:pt x="1160" y="1475"/>
                </a:lnTo>
                <a:lnTo>
                  <a:pt x="1160" y="1469"/>
                </a:lnTo>
                <a:lnTo>
                  <a:pt x="1162" y="1467"/>
                </a:lnTo>
                <a:lnTo>
                  <a:pt x="1164" y="1465"/>
                </a:lnTo>
                <a:lnTo>
                  <a:pt x="1177" y="1463"/>
                </a:lnTo>
                <a:lnTo>
                  <a:pt x="1190" y="1458"/>
                </a:lnTo>
                <a:lnTo>
                  <a:pt x="1200" y="1452"/>
                </a:lnTo>
                <a:lnTo>
                  <a:pt x="1209" y="1446"/>
                </a:lnTo>
                <a:lnTo>
                  <a:pt x="1217" y="1437"/>
                </a:lnTo>
                <a:lnTo>
                  <a:pt x="1219" y="1433"/>
                </a:lnTo>
                <a:lnTo>
                  <a:pt x="1221" y="1429"/>
                </a:lnTo>
                <a:lnTo>
                  <a:pt x="1226" y="1420"/>
                </a:lnTo>
                <a:lnTo>
                  <a:pt x="1226" y="1412"/>
                </a:lnTo>
                <a:lnTo>
                  <a:pt x="1226" y="1408"/>
                </a:lnTo>
                <a:lnTo>
                  <a:pt x="1226" y="1403"/>
                </a:lnTo>
                <a:lnTo>
                  <a:pt x="1224" y="1399"/>
                </a:lnTo>
                <a:lnTo>
                  <a:pt x="1219" y="1395"/>
                </a:lnTo>
                <a:lnTo>
                  <a:pt x="1217" y="1393"/>
                </a:lnTo>
                <a:lnTo>
                  <a:pt x="1213" y="1391"/>
                </a:lnTo>
                <a:lnTo>
                  <a:pt x="1202" y="1391"/>
                </a:lnTo>
                <a:lnTo>
                  <a:pt x="1192" y="1391"/>
                </a:lnTo>
                <a:lnTo>
                  <a:pt x="1185" y="1393"/>
                </a:lnTo>
                <a:lnTo>
                  <a:pt x="1181" y="1397"/>
                </a:lnTo>
                <a:lnTo>
                  <a:pt x="1175" y="1399"/>
                </a:lnTo>
                <a:lnTo>
                  <a:pt x="1171" y="1403"/>
                </a:lnTo>
                <a:lnTo>
                  <a:pt x="1162" y="1414"/>
                </a:lnTo>
                <a:lnTo>
                  <a:pt x="1158" y="1420"/>
                </a:lnTo>
                <a:lnTo>
                  <a:pt x="1154" y="1427"/>
                </a:lnTo>
                <a:lnTo>
                  <a:pt x="1147" y="1441"/>
                </a:lnTo>
                <a:lnTo>
                  <a:pt x="1143" y="1456"/>
                </a:lnTo>
                <a:lnTo>
                  <a:pt x="1143" y="1465"/>
                </a:lnTo>
                <a:lnTo>
                  <a:pt x="1141" y="1473"/>
                </a:lnTo>
                <a:lnTo>
                  <a:pt x="1143" y="1490"/>
                </a:lnTo>
                <a:lnTo>
                  <a:pt x="1145" y="1496"/>
                </a:lnTo>
                <a:lnTo>
                  <a:pt x="1145" y="1503"/>
                </a:lnTo>
                <a:lnTo>
                  <a:pt x="1152" y="1516"/>
                </a:lnTo>
                <a:lnTo>
                  <a:pt x="1158" y="1526"/>
                </a:lnTo>
                <a:lnTo>
                  <a:pt x="1166" y="1535"/>
                </a:lnTo>
                <a:lnTo>
                  <a:pt x="1171" y="1537"/>
                </a:lnTo>
                <a:lnTo>
                  <a:pt x="1177" y="1541"/>
                </a:lnTo>
                <a:lnTo>
                  <a:pt x="1188" y="1545"/>
                </a:lnTo>
                <a:lnTo>
                  <a:pt x="1194" y="1545"/>
                </a:lnTo>
                <a:lnTo>
                  <a:pt x="1200" y="1545"/>
                </a:lnTo>
                <a:lnTo>
                  <a:pt x="1213" y="1545"/>
                </a:lnTo>
                <a:lnTo>
                  <a:pt x="1224" y="1541"/>
                </a:lnTo>
                <a:lnTo>
                  <a:pt x="1230" y="1539"/>
                </a:lnTo>
                <a:lnTo>
                  <a:pt x="1236" y="1535"/>
                </a:lnTo>
                <a:lnTo>
                  <a:pt x="1245" y="1528"/>
                </a:lnTo>
                <a:lnTo>
                  <a:pt x="1255" y="1520"/>
                </a:lnTo>
                <a:lnTo>
                  <a:pt x="1264" y="1509"/>
                </a:lnTo>
                <a:lnTo>
                  <a:pt x="1272" y="1496"/>
                </a:lnTo>
                <a:lnTo>
                  <a:pt x="1279" y="1484"/>
                </a:lnTo>
                <a:lnTo>
                  <a:pt x="1285" y="1471"/>
                </a:lnTo>
                <a:lnTo>
                  <a:pt x="1289" y="1456"/>
                </a:lnTo>
                <a:lnTo>
                  <a:pt x="1293" y="1441"/>
                </a:lnTo>
                <a:lnTo>
                  <a:pt x="1298" y="1427"/>
                </a:lnTo>
                <a:lnTo>
                  <a:pt x="1300" y="1412"/>
                </a:lnTo>
                <a:lnTo>
                  <a:pt x="1302" y="1399"/>
                </a:lnTo>
                <a:lnTo>
                  <a:pt x="1302" y="1384"/>
                </a:lnTo>
                <a:lnTo>
                  <a:pt x="1302" y="1372"/>
                </a:lnTo>
                <a:lnTo>
                  <a:pt x="1304" y="1369"/>
                </a:lnTo>
                <a:lnTo>
                  <a:pt x="1306" y="1367"/>
                </a:lnTo>
                <a:lnTo>
                  <a:pt x="1310" y="1365"/>
                </a:lnTo>
                <a:lnTo>
                  <a:pt x="1315" y="1365"/>
                </a:lnTo>
                <a:lnTo>
                  <a:pt x="1323" y="1365"/>
                </a:lnTo>
                <a:lnTo>
                  <a:pt x="1327" y="1367"/>
                </a:lnTo>
                <a:lnTo>
                  <a:pt x="1329" y="1369"/>
                </a:lnTo>
                <a:lnTo>
                  <a:pt x="1334" y="1378"/>
                </a:lnTo>
                <a:lnTo>
                  <a:pt x="1336" y="1384"/>
                </a:lnTo>
                <a:lnTo>
                  <a:pt x="1336" y="1391"/>
                </a:lnTo>
                <a:lnTo>
                  <a:pt x="1336" y="1410"/>
                </a:lnTo>
                <a:lnTo>
                  <a:pt x="1334" y="1429"/>
                </a:lnTo>
                <a:lnTo>
                  <a:pt x="1329" y="1446"/>
                </a:lnTo>
                <a:lnTo>
                  <a:pt x="1325" y="1463"/>
                </a:lnTo>
                <a:lnTo>
                  <a:pt x="1319" y="1480"/>
                </a:lnTo>
                <a:lnTo>
                  <a:pt x="1312" y="1496"/>
                </a:lnTo>
                <a:lnTo>
                  <a:pt x="1304" y="1511"/>
                </a:lnTo>
                <a:lnTo>
                  <a:pt x="1295" y="1524"/>
                </a:lnTo>
                <a:lnTo>
                  <a:pt x="1287" y="1537"/>
                </a:lnTo>
                <a:lnTo>
                  <a:pt x="1283" y="1543"/>
                </a:lnTo>
                <a:lnTo>
                  <a:pt x="1276" y="1547"/>
                </a:lnTo>
                <a:lnTo>
                  <a:pt x="1266" y="1558"/>
                </a:lnTo>
                <a:lnTo>
                  <a:pt x="1253" y="1566"/>
                </a:lnTo>
                <a:lnTo>
                  <a:pt x="1240" y="1573"/>
                </a:lnTo>
                <a:lnTo>
                  <a:pt x="1228" y="1577"/>
                </a:lnTo>
                <a:lnTo>
                  <a:pt x="1213" y="1581"/>
                </a:lnTo>
                <a:lnTo>
                  <a:pt x="1198" y="1581"/>
                </a:lnTo>
                <a:close/>
                <a:moveTo>
                  <a:pt x="1429" y="1579"/>
                </a:moveTo>
                <a:lnTo>
                  <a:pt x="1425" y="1577"/>
                </a:lnTo>
                <a:lnTo>
                  <a:pt x="1416" y="1571"/>
                </a:lnTo>
                <a:lnTo>
                  <a:pt x="1399" y="1556"/>
                </a:lnTo>
                <a:lnTo>
                  <a:pt x="1378" y="1535"/>
                </a:lnTo>
                <a:lnTo>
                  <a:pt x="1361" y="1516"/>
                </a:lnTo>
                <a:lnTo>
                  <a:pt x="1353" y="1507"/>
                </a:lnTo>
                <a:lnTo>
                  <a:pt x="1348" y="1501"/>
                </a:lnTo>
                <a:lnTo>
                  <a:pt x="1344" y="1488"/>
                </a:lnTo>
                <a:lnTo>
                  <a:pt x="1342" y="1482"/>
                </a:lnTo>
                <a:lnTo>
                  <a:pt x="1342" y="1475"/>
                </a:lnTo>
                <a:lnTo>
                  <a:pt x="1342" y="1469"/>
                </a:lnTo>
                <a:lnTo>
                  <a:pt x="1344" y="1463"/>
                </a:lnTo>
                <a:lnTo>
                  <a:pt x="1348" y="1454"/>
                </a:lnTo>
                <a:lnTo>
                  <a:pt x="1353" y="1446"/>
                </a:lnTo>
                <a:lnTo>
                  <a:pt x="1365" y="1431"/>
                </a:lnTo>
                <a:lnTo>
                  <a:pt x="1382" y="1410"/>
                </a:lnTo>
                <a:lnTo>
                  <a:pt x="1425" y="1363"/>
                </a:lnTo>
                <a:lnTo>
                  <a:pt x="1431" y="1363"/>
                </a:lnTo>
                <a:lnTo>
                  <a:pt x="1437" y="1365"/>
                </a:lnTo>
                <a:lnTo>
                  <a:pt x="1442" y="1369"/>
                </a:lnTo>
                <a:lnTo>
                  <a:pt x="1446" y="1376"/>
                </a:lnTo>
                <a:lnTo>
                  <a:pt x="1448" y="1382"/>
                </a:lnTo>
                <a:lnTo>
                  <a:pt x="1446" y="1389"/>
                </a:lnTo>
                <a:lnTo>
                  <a:pt x="1444" y="1391"/>
                </a:lnTo>
                <a:lnTo>
                  <a:pt x="1442" y="1395"/>
                </a:lnTo>
                <a:lnTo>
                  <a:pt x="1412" y="1429"/>
                </a:lnTo>
                <a:lnTo>
                  <a:pt x="1395" y="1450"/>
                </a:lnTo>
                <a:lnTo>
                  <a:pt x="1382" y="1465"/>
                </a:lnTo>
                <a:lnTo>
                  <a:pt x="1378" y="1469"/>
                </a:lnTo>
                <a:lnTo>
                  <a:pt x="1378" y="1473"/>
                </a:lnTo>
                <a:lnTo>
                  <a:pt x="1378" y="1480"/>
                </a:lnTo>
                <a:lnTo>
                  <a:pt x="1382" y="1484"/>
                </a:lnTo>
                <a:lnTo>
                  <a:pt x="1393" y="1496"/>
                </a:lnTo>
                <a:lnTo>
                  <a:pt x="1410" y="1516"/>
                </a:lnTo>
                <a:lnTo>
                  <a:pt x="1429" y="1535"/>
                </a:lnTo>
                <a:lnTo>
                  <a:pt x="1448" y="1551"/>
                </a:lnTo>
                <a:lnTo>
                  <a:pt x="1450" y="1556"/>
                </a:lnTo>
                <a:lnTo>
                  <a:pt x="1450" y="1558"/>
                </a:lnTo>
                <a:lnTo>
                  <a:pt x="1450" y="1562"/>
                </a:lnTo>
                <a:lnTo>
                  <a:pt x="1448" y="1564"/>
                </a:lnTo>
                <a:lnTo>
                  <a:pt x="1444" y="1571"/>
                </a:lnTo>
                <a:lnTo>
                  <a:pt x="1437" y="1577"/>
                </a:lnTo>
                <a:lnTo>
                  <a:pt x="1433" y="1577"/>
                </a:lnTo>
                <a:lnTo>
                  <a:pt x="1429" y="1579"/>
                </a:lnTo>
                <a:close/>
                <a:moveTo>
                  <a:pt x="1198" y="2157"/>
                </a:moveTo>
                <a:lnTo>
                  <a:pt x="1190" y="2155"/>
                </a:lnTo>
                <a:lnTo>
                  <a:pt x="1181" y="2155"/>
                </a:lnTo>
                <a:lnTo>
                  <a:pt x="1173" y="2150"/>
                </a:lnTo>
                <a:lnTo>
                  <a:pt x="1164" y="2148"/>
                </a:lnTo>
                <a:lnTo>
                  <a:pt x="1156" y="2144"/>
                </a:lnTo>
                <a:lnTo>
                  <a:pt x="1147" y="2138"/>
                </a:lnTo>
                <a:lnTo>
                  <a:pt x="1141" y="2131"/>
                </a:lnTo>
                <a:lnTo>
                  <a:pt x="1135" y="2125"/>
                </a:lnTo>
                <a:lnTo>
                  <a:pt x="1128" y="2119"/>
                </a:lnTo>
                <a:lnTo>
                  <a:pt x="1124" y="2110"/>
                </a:lnTo>
                <a:lnTo>
                  <a:pt x="1116" y="2091"/>
                </a:lnTo>
                <a:lnTo>
                  <a:pt x="1111" y="2083"/>
                </a:lnTo>
                <a:lnTo>
                  <a:pt x="1109" y="2072"/>
                </a:lnTo>
                <a:lnTo>
                  <a:pt x="1109" y="2062"/>
                </a:lnTo>
                <a:lnTo>
                  <a:pt x="1109" y="2051"/>
                </a:lnTo>
                <a:lnTo>
                  <a:pt x="1109" y="2038"/>
                </a:lnTo>
                <a:lnTo>
                  <a:pt x="1109" y="2028"/>
                </a:lnTo>
                <a:lnTo>
                  <a:pt x="1113" y="2017"/>
                </a:lnTo>
                <a:lnTo>
                  <a:pt x="1116" y="2007"/>
                </a:lnTo>
                <a:lnTo>
                  <a:pt x="1120" y="1996"/>
                </a:lnTo>
                <a:lnTo>
                  <a:pt x="1124" y="1988"/>
                </a:lnTo>
                <a:lnTo>
                  <a:pt x="1130" y="1977"/>
                </a:lnTo>
                <a:lnTo>
                  <a:pt x="1137" y="1968"/>
                </a:lnTo>
                <a:lnTo>
                  <a:pt x="1143" y="1962"/>
                </a:lnTo>
                <a:lnTo>
                  <a:pt x="1149" y="1954"/>
                </a:lnTo>
                <a:lnTo>
                  <a:pt x="1158" y="1949"/>
                </a:lnTo>
                <a:lnTo>
                  <a:pt x="1166" y="1943"/>
                </a:lnTo>
                <a:lnTo>
                  <a:pt x="1175" y="1939"/>
                </a:lnTo>
                <a:lnTo>
                  <a:pt x="1185" y="1937"/>
                </a:lnTo>
                <a:lnTo>
                  <a:pt x="1194" y="1935"/>
                </a:lnTo>
                <a:lnTo>
                  <a:pt x="1204" y="1935"/>
                </a:lnTo>
                <a:lnTo>
                  <a:pt x="1217" y="1935"/>
                </a:lnTo>
                <a:lnTo>
                  <a:pt x="1221" y="1937"/>
                </a:lnTo>
                <a:lnTo>
                  <a:pt x="1228" y="1939"/>
                </a:lnTo>
                <a:lnTo>
                  <a:pt x="1236" y="1943"/>
                </a:lnTo>
                <a:lnTo>
                  <a:pt x="1245" y="1949"/>
                </a:lnTo>
                <a:lnTo>
                  <a:pt x="1251" y="1958"/>
                </a:lnTo>
                <a:lnTo>
                  <a:pt x="1255" y="1968"/>
                </a:lnTo>
                <a:lnTo>
                  <a:pt x="1257" y="1979"/>
                </a:lnTo>
                <a:lnTo>
                  <a:pt x="1257" y="1992"/>
                </a:lnTo>
                <a:lnTo>
                  <a:pt x="1257" y="1998"/>
                </a:lnTo>
                <a:lnTo>
                  <a:pt x="1257" y="2007"/>
                </a:lnTo>
                <a:lnTo>
                  <a:pt x="1253" y="2013"/>
                </a:lnTo>
                <a:lnTo>
                  <a:pt x="1251" y="2019"/>
                </a:lnTo>
                <a:lnTo>
                  <a:pt x="1247" y="2028"/>
                </a:lnTo>
                <a:lnTo>
                  <a:pt x="1243" y="2034"/>
                </a:lnTo>
                <a:lnTo>
                  <a:pt x="1232" y="2045"/>
                </a:lnTo>
                <a:lnTo>
                  <a:pt x="1226" y="2051"/>
                </a:lnTo>
                <a:lnTo>
                  <a:pt x="1219" y="2055"/>
                </a:lnTo>
                <a:lnTo>
                  <a:pt x="1207" y="2062"/>
                </a:lnTo>
                <a:lnTo>
                  <a:pt x="1198" y="2066"/>
                </a:lnTo>
                <a:lnTo>
                  <a:pt x="1192" y="2068"/>
                </a:lnTo>
                <a:lnTo>
                  <a:pt x="1177" y="2068"/>
                </a:lnTo>
                <a:lnTo>
                  <a:pt x="1171" y="2068"/>
                </a:lnTo>
                <a:lnTo>
                  <a:pt x="1166" y="2066"/>
                </a:lnTo>
                <a:lnTo>
                  <a:pt x="1164" y="2064"/>
                </a:lnTo>
                <a:lnTo>
                  <a:pt x="1162" y="2059"/>
                </a:lnTo>
                <a:lnTo>
                  <a:pt x="1162" y="2057"/>
                </a:lnTo>
                <a:lnTo>
                  <a:pt x="1160" y="2049"/>
                </a:lnTo>
                <a:lnTo>
                  <a:pt x="1160" y="2043"/>
                </a:lnTo>
                <a:lnTo>
                  <a:pt x="1162" y="2040"/>
                </a:lnTo>
                <a:lnTo>
                  <a:pt x="1164" y="2038"/>
                </a:lnTo>
                <a:lnTo>
                  <a:pt x="1177" y="2036"/>
                </a:lnTo>
                <a:lnTo>
                  <a:pt x="1190" y="2032"/>
                </a:lnTo>
                <a:lnTo>
                  <a:pt x="1200" y="2026"/>
                </a:lnTo>
                <a:lnTo>
                  <a:pt x="1209" y="2019"/>
                </a:lnTo>
                <a:lnTo>
                  <a:pt x="1217" y="2011"/>
                </a:lnTo>
                <a:lnTo>
                  <a:pt x="1219" y="2007"/>
                </a:lnTo>
                <a:lnTo>
                  <a:pt x="1221" y="2002"/>
                </a:lnTo>
                <a:lnTo>
                  <a:pt x="1226" y="1994"/>
                </a:lnTo>
                <a:lnTo>
                  <a:pt x="1226" y="1985"/>
                </a:lnTo>
                <a:lnTo>
                  <a:pt x="1226" y="1981"/>
                </a:lnTo>
                <a:lnTo>
                  <a:pt x="1226" y="1977"/>
                </a:lnTo>
                <a:lnTo>
                  <a:pt x="1224" y="1973"/>
                </a:lnTo>
                <a:lnTo>
                  <a:pt x="1219" y="1971"/>
                </a:lnTo>
                <a:lnTo>
                  <a:pt x="1217" y="1966"/>
                </a:lnTo>
                <a:lnTo>
                  <a:pt x="1213" y="1966"/>
                </a:lnTo>
                <a:lnTo>
                  <a:pt x="1202" y="1964"/>
                </a:lnTo>
                <a:lnTo>
                  <a:pt x="1192" y="1966"/>
                </a:lnTo>
                <a:lnTo>
                  <a:pt x="1185" y="1968"/>
                </a:lnTo>
                <a:lnTo>
                  <a:pt x="1181" y="1971"/>
                </a:lnTo>
                <a:lnTo>
                  <a:pt x="1175" y="1975"/>
                </a:lnTo>
                <a:lnTo>
                  <a:pt x="1171" y="1979"/>
                </a:lnTo>
                <a:lnTo>
                  <a:pt x="1162" y="1990"/>
                </a:lnTo>
                <a:lnTo>
                  <a:pt x="1158" y="1994"/>
                </a:lnTo>
                <a:lnTo>
                  <a:pt x="1154" y="2002"/>
                </a:lnTo>
                <a:lnTo>
                  <a:pt x="1147" y="2015"/>
                </a:lnTo>
                <a:lnTo>
                  <a:pt x="1143" y="2032"/>
                </a:lnTo>
                <a:lnTo>
                  <a:pt x="1143" y="2040"/>
                </a:lnTo>
                <a:lnTo>
                  <a:pt x="1141" y="2049"/>
                </a:lnTo>
                <a:lnTo>
                  <a:pt x="1143" y="2064"/>
                </a:lnTo>
                <a:lnTo>
                  <a:pt x="1145" y="2070"/>
                </a:lnTo>
                <a:lnTo>
                  <a:pt x="1145" y="2076"/>
                </a:lnTo>
                <a:lnTo>
                  <a:pt x="1152" y="2089"/>
                </a:lnTo>
                <a:lnTo>
                  <a:pt x="1158" y="2100"/>
                </a:lnTo>
                <a:lnTo>
                  <a:pt x="1166" y="2108"/>
                </a:lnTo>
                <a:lnTo>
                  <a:pt x="1171" y="2112"/>
                </a:lnTo>
                <a:lnTo>
                  <a:pt x="1177" y="2115"/>
                </a:lnTo>
                <a:lnTo>
                  <a:pt x="1188" y="2119"/>
                </a:lnTo>
                <a:lnTo>
                  <a:pt x="1194" y="2121"/>
                </a:lnTo>
                <a:lnTo>
                  <a:pt x="1200" y="2121"/>
                </a:lnTo>
                <a:lnTo>
                  <a:pt x="1213" y="2119"/>
                </a:lnTo>
                <a:lnTo>
                  <a:pt x="1224" y="2115"/>
                </a:lnTo>
                <a:lnTo>
                  <a:pt x="1230" y="2112"/>
                </a:lnTo>
                <a:lnTo>
                  <a:pt x="1236" y="2110"/>
                </a:lnTo>
                <a:lnTo>
                  <a:pt x="1245" y="2102"/>
                </a:lnTo>
                <a:lnTo>
                  <a:pt x="1255" y="2093"/>
                </a:lnTo>
                <a:lnTo>
                  <a:pt x="1264" y="2083"/>
                </a:lnTo>
                <a:lnTo>
                  <a:pt x="1272" y="2070"/>
                </a:lnTo>
                <a:lnTo>
                  <a:pt x="1279" y="2057"/>
                </a:lnTo>
                <a:lnTo>
                  <a:pt x="1285" y="2045"/>
                </a:lnTo>
                <a:lnTo>
                  <a:pt x="1289" y="2030"/>
                </a:lnTo>
                <a:lnTo>
                  <a:pt x="1293" y="2017"/>
                </a:lnTo>
                <a:lnTo>
                  <a:pt x="1298" y="2002"/>
                </a:lnTo>
                <a:lnTo>
                  <a:pt x="1300" y="1988"/>
                </a:lnTo>
                <a:lnTo>
                  <a:pt x="1302" y="1973"/>
                </a:lnTo>
                <a:lnTo>
                  <a:pt x="1302" y="1960"/>
                </a:lnTo>
                <a:lnTo>
                  <a:pt x="1302" y="1947"/>
                </a:lnTo>
                <a:lnTo>
                  <a:pt x="1304" y="1943"/>
                </a:lnTo>
                <a:lnTo>
                  <a:pt x="1306" y="1941"/>
                </a:lnTo>
                <a:lnTo>
                  <a:pt x="1310" y="1939"/>
                </a:lnTo>
                <a:lnTo>
                  <a:pt x="1315" y="1939"/>
                </a:lnTo>
                <a:lnTo>
                  <a:pt x="1323" y="1941"/>
                </a:lnTo>
                <a:lnTo>
                  <a:pt x="1327" y="1943"/>
                </a:lnTo>
                <a:lnTo>
                  <a:pt x="1329" y="1945"/>
                </a:lnTo>
                <a:lnTo>
                  <a:pt x="1334" y="1954"/>
                </a:lnTo>
                <a:lnTo>
                  <a:pt x="1336" y="1958"/>
                </a:lnTo>
                <a:lnTo>
                  <a:pt x="1336" y="1964"/>
                </a:lnTo>
                <a:lnTo>
                  <a:pt x="1336" y="1983"/>
                </a:lnTo>
                <a:lnTo>
                  <a:pt x="1334" y="2002"/>
                </a:lnTo>
                <a:lnTo>
                  <a:pt x="1329" y="2019"/>
                </a:lnTo>
                <a:lnTo>
                  <a:pt x="1325" y="2038"/>
                </a:lnTo>
                <a:lnTo>
                  <a:pt x="1319" y="2053"/>
                </a:lnTo>
                <a:lnTo>
                  <a:pt x="1312" y="2070"/>
                </a:lnTo>
                <a:lnTo>
                  <a:pt x="1304" y="2085"/>
                </a:lnTo>
                <a:lnTo>
                  <a:pt x="1295" y="2098"/>
                </a:lnTo>
                <a:lnTo>
                  <a:pt x="1287" y="2110"/>
                </a:lnTo>
                <a:lnTo>
                  <a:pt x="1283" y="2117"/>
                </a:lnTo>
                <a:lnTo>
                  <a:pt x="1276" y="2123"/>
                </a:lnTo>
                <a:lnTo>
                  <a:pt x="1266" y="2131"/>
                </a:lnTo>
                <a:lnTo>
                  <a:pt x="1253" y="2140"/>
                </a:lnTo>
                <a:lnTo>
                  <a:pt x="1240" y="2146"/>
                </a:lnTo>
                <a:lnTo>
                  <a:pt x="1228" y="2153"/>
                </a:lnTo>
                <a:lnTo>
                  <a:pt x="1213" y="2155"/>
                </a:lnTo>
                <a:lnTo>
                  <a:pt x="1198" y="2157"/>
                </a:lnTo>
                <a:close/>
                <a:moveTo>
                  <a:pt x="1429" y="2153"/>
                </a:moveTo>
                <a:lnTo>
                  <a:pt x="1425" y="2150"/>
                </a:lnTo>
                <a:lnTo>
                  <a:pt x="1416" y="2144"/>
                </a:lnTo>
                <a:lnTo>
                  <a:pt x="1399" y="2129"/>
                </a:lnTo>
                <a:lnTo>
                  <a:pt x="1378" y="2110"/>
                </a:lnTo>
                <a:lnTo>
                  <a:pt x="1361" y="2089"/>
                </a:lnTo>
                <a:lnTo>
                  <a:pt x="1353" y="2081"/>
                </a:lnTo>
                <a:lnTo>
                  <a:pt x="1348" y="2074"/>
                </a:lnTo>
                <a:lnTo>
                  <a:pt x="1344" y="2062"/>
                </a:lnTo>
                <a:lnTo>
                  <a:pt x="1342" y="2055"/>
                </a:lnTo>
                <a:lnTo>
                  <a:pt x="1342" y="2051"/>
                </a:lnTo>
                <a:lnTo>
                  <a:pt x="1342" y="2043"/>
                </a:lnTo>
                <a:lnTo>
                  <a:pt x="1344" y="2036"/>
                </a:lnTo>
                <a:lnTo>
                  <a:pt x="1348" y="2028"/>
                </a:lnTo>
                <a:lnTo>
                  <a:pt x="1353" y="2019"/>
                </a:lnTo>
                <a:lnTo>
                  <a:pt x="1365" y="2004"/>
                </a:lnTo>
                <a:lnTo>
                  <a:pt x="1382" y="1985"/>
                </a:lnTo>
                <a:lnTo>
                  <a:pt x="1425" y="1937"/>
                </a:lnTo>
                <a:lnTo>
                  <a:pt x="1431" y="1937"/>
                </a:lnTo>
                <a:lnTo>
                  <a:pt x="1437" y="1941"/>
                </a:lnTo>
                <a:lnTo>
                  <a:pt x="1442" y="1945"/>
                </a:lnTo>
                <a:lnTo>
                  <a:pt x="1446" y="1949"/>
                </a:lnTo>
                <a:lnTo>
                  <a:pt x="1448" y="1956"/>
                </a:lnTo>
                <a:lnTo>
                  <a:pt x="1446" y="1962"/>
                </a:lnTo>
                <a:lnTo>
                  <a:pt x="1444" y="1966"/>
                </a:lnTo>
                <a:lnTo>
                  <a:pt x="1442" y="1968"/>
                </a:lnTo>
                <a:lnTo>
                  <a:pt x="1412" y="2002"/>
                </a:lnTo>
                <a:lnTo>
                  <a:pt x="1395" y="2023"/>
                </a:lnTo>
                <a:lnTo>
                  <a:pt x="1382" y="2038"/>
                </a:lnTo>
                <a:lnTo>
                  <a:pt x="1378" y="2045"/>
                </a:lnTo>
                <a:lnTo>
                  <a:pt x="1378" y="2049"/>
                </a:lnTo>
                <a:lnTo>
                  <a:pt x="1378" y="2053"/>
                </a:lnTo>
                <a:lnTo>
                  <a:pt x="1382" y="2059"/>
                </a:lnTo>
                <a:lnTo>
                  <a:pt x="1393" y="2072"/>
                </a:lnTo>
                <a:lnTo>
                  <a:pt x="1410" y="2089"/>
                </a:lnTo>
                <a:lnTo>
                  <a:pt x="1429" y="2108"/>
                </a:lnTo>
                <a:lnTo>
                  <a:pt x="1448" y="2127"/>
                </a:lnTo>
                <a:lnTo>
                  <a:pt x="1450" y="2129"/>
                </a:lnTo>
                <a:lnTo>
                  <a:pt x="1450" y="2131"/>
                </a:lnTo>
                <a:lnTo>
                  <a:pt x="1450" y="2136"/>
                </a:lnTo>
                <a:lnTo>
                  <a:pt x="1448" y="2140"/>
                </a:lnTo>
                <a:lnTo>
                  <a:pt x="1444" y="2146"/>
                </a:lnTo>
                <a:lnTo>
                  <a:pt x="1437" y="2150"/>
                </a:lnTo>
                <a:lnTo>
                  <a:pt x="1433" y="2153"/>
                </a:lnTo>
                <a:lnTo>
                  <a:pt x="1429" y="2153"/>
                </a:lnTo>
                <a:close/>
                <a:moveTo>
                  <a:pt x="3480" y="991"/>
                </a:moveTo>
                <a:lnTo>
                  <a:pt x="3469" y="991"/>
                </a:lnTo>
                <a:lnTo>
                  <a:pt x="3461" y="988"/>
                </a:lnTo>
                <a:lnTo>
                  <a:pt x="3452" y="986"/>
                </a:lnTo>
                <a:lnTo>
                  <a:pt x="3444" y="982"/>
                </a:lnTo>
                <a:lnTo>
                  <a:pt x="3436" y="978"/>
                </a:lnTo>
                <a:lnTo>
                  <a:pt x="3429" y="972"/>
                </a:lnTo>
                <a:lnTo>
                  <a:pt x="3423" y="965"/>
                </a:lnTo>
                <a:lnTo>
                  <a:pt x="3416" y="959"/>
                </a:lnTo>
                <a:lnTo>
                  <a:pt x="3410" y="952"/>
                </a:lnTo>
                <a:lnTo>
                  <a:pt x="3404" y="944"/>
                </a:lnTo>
                <a:lnTo>
                  <a:pt x="3395" y="925"/>
                </a:lnTo>
                <a:lnTo>
                  <a:pt x="3393" y="917"/>
                </a:lnTo>
                <a:lnTo>
                  <a:pt x="3391" y="906"/>
                </a:lnTo>
                <a:lnTo>
                  <a:pt x="3389" y="895"/>
                </a:lnTo>
                <a:lnTo>
                  <a:pt x="3389" y="885"/>
                </a:lnTo>
                <a:lnTo>
                  <a:pt x="3389" y="872"/>
                </a:lnTo>
                <a:lnTo>
                  <a:pt x="3391" y="861"/>
                </a:lnTo>
                <a:lnTo>
                  <a:pt x="3393" y="851"/>
                </a:lnTo>
                <a:lnTo>
                  <a:pt x="3397" y="840"/>
                </a:lnTo>
                <a:lnTo>
                  <a:pt x="3400" y="830"/>
                </a:lnTo>
                <a:lnTo>
                  <a:pt x="3406" y="821"/>
                </a:lnTo>
                <a:lnTo>
                  <a:pt x="3410" y="811"/>
                </a:lnTo>
                <a:lnTo>
                  <a:pt x="3416" y="802"/>
                </a:lnTo>
                <a:lnTo>
                  <a:pt x="3425" y="796"/>
                </a:lnTo>
                <a:lnTo>
                  <a:pt x="3431" y="790"/>
                </a:lnTo>
                <a:lnTo>
                  <a:pt x="3440" y="783"/>
                </a:lnTo>
                <a:lnTo>
                  <a:pt x="3448" y="777"/>
                </a:lnTo>
                <a:lnTo>
                  <a:pt x="3457" y="773"/>
                </a:lnTo>
                <a:lnTo>
                  <a:pt x="3465" y="770"/>
                </a:lnTo>
                <a:lnTo>
                  <a:pt x="3476" y="768"/>
                </a:lnTo>
                <a:lnTo>
                  <a:pt x="3486" y="768"/>
                </a:lnTo>
                <a:lnTo>
                  <a:pt x="3497" y="768"/>
                </a:lnTo>
                <a:lnTo>
                  <a:pt x="3503" y="770"/>
                </a:lnTo>
                <a:lnTo>
                  <a:pt x="3508" y="773"/>
                </a:lnTo>
                <a:lnTo>
                  <a:pt x="3518" y="777"/>
                </a:lnTo>
                <a:lnTo>
                  <a:pt x="3524" y="785"/>
                </a:lnTo>
                <a:lnTo>
                  <a:pt x="3531" y="792"/>
                </a:lnTo>
                <a:lnTo>
                  <a:pt x="3535" y="802"/>
                </a:lnTo>
                <a:lnTo>
                  <a:pt x="3539" y="813"/>
                </a:lnTo>
                <a:lnTo>
                  <a:pt x="3539" y="825"/>
                </a:lnTo>
                <a:lnTo>
                  <a:pt x="3539" y="832"/>
                </a:lnTo>
                <a:lnTo>
                  <a:pt x="3537" y="840"/>
                </a:lnTo>
                <a:lnTo>
                  <a:pt x="3535" y="847"/>
                </a:lnTo>
                <a:lnTo>
                  <a:pt x="3533" y="855"/>
                </a:lnTo>
                <a:lnTo>
                  <a:pt x="3529" y="861"/>
                </a:lnTo>
                <a:lnTo>
                  <a:pt x="3524" y="868"/>
                </a:lnTo>
                <a:lnTo>
                  <a:pt x="3514" y="878"/>
                </a:lnTo>
                <a:lnTo>
                  <a:pt x="3508" y="885"/>
                </a:lnTo>
                <a:lnTo>
                  <a:pt x="3501" y="889"/>
                </a:lnTo>
                <a:lnTo>
                  <a:pt x="3486" y="895"/>
                </a:lnTo>
                <a:lnTo>
                  <a:pt x="3480" y="900"/>
                </a:lnTo>
                <a:lnTo>
                  <a:pt x="3472" y="902"/>
                </a:lnTo>
                <a:lnTo>
                  <a:pt x="3457" y="902"/>
                </a:lnTo>
                <a:lnTo>
                  <a:pt x="3450" y="902"/>
                </a:lnTo>
                <a:lnTo>
                  <a:pt x="3448" y="900"/>
                </a:lnTo>
                <a:lnTo>
                  <a:pt x="3446" y="897"/>
                </a:lnTo>
                <a:lnTo>
                  <a:pt x="3444" y="893"/>
                </a:lnTo>
                <a:lnTo>
                  <a:pt x="3442" y="891"/>
                </a:lnTo>
                <a:lnTo>
                  <a:pt x="3442" y="883"/>
                </a:lnTo>
                <a:lnTo>
                  <a:pt x="3442" y="876"/>
                </a:lnTo>
                <a:lnTo>
                  <a:pt x="3444" y="874"/>
                </a:lnTo>
                <a:lnTo>
                  <a:pt x="3446" y="874"/>
                </a:lnTo>
                <a:lnTo>
                  <a:pt x="3459" y="870"/>
                </a:lnTo>
                <a:lnTo>
                  <a:pt x="3469" y="866"/>
                </a:lnTo>
                <a:lnTo>
                  <a:pt x="3480" y="859"/>
                </a:lnTo>
                <a:lnTo>
                  <a:pt x="3491" y="853"/>
                </a:lnTo>
                <a:lnTo>
                  <a:pt x="3497" y="845"/>
                </a:lnTo>
                <a:lnTo>
                  <a:pt x="3501" y="842"/>
                </a:lnTo>
                <a:lnTo>
                  <a:pt x="3503" y="838"/>
                </a:lnTo>
                <a:lnTo>
                  <a:pt x="3505" y="830"/>
                </a:lnTo>
                <a:lnTo>
                  <a:pt x="3508" y="821"/>
                </a:lnTo>
                <a:lnTo>
                  <a:pt x="3508" y="815"/>
                </a:lnTo>
                <a:lnTo>
                  <a:pt x="3505" y="811"/>
                </a:lnTo>
                <a:lnTo>
                  <a:pt x="3503" y="806"/>
                </a:lnTo>
                <a:lnTo>
                  <a:pt x="3501" y="804"/>
                </a:lnTo>
                <a:lnTo>
                  <a:pt x="3497" y="802"/>
                </a:lnTo>
                <a:lnTo>
                  <a:pt x="3493" y="800"/>
                </a:lnTo>
                <a:lnTo>
                  <a:pt x="3482" y="798"/>
                </a:lnTo>
                <a:lnTo>
                  <a:pt x="3472" y="800"/>
                </a:lnTo>
                <a:lnTo>
                  <a:pt x="3467" y="802"/>
                </a:lnTo>
                <a:lnTo>
                  <a:pt x="3461" y="804"/>
                </a:lnTo>
                <a:lnTo>
                  <a:pt x="3457" y="809"/>
                </a:lnTo>
                <a:lnTo>
                  <a:pt x="3452" y="813"/>
                </a:lnTo>
                <a:lnTo>
                  <a:pt x="3442" y="823"/>
                </a:lnTo>
                <a:lnTo>
                  <a:pt x="3438" y="830"/>
                </a:lnTo>
                <a:lnTo>
                  <a:pt x="3433" y="836"/>
                </a:lnTo>
                <a:lnTo>
                  <a:pt x="3429" y="849"/>
                </a:lnTo>
                <a:lnTo>
                  <a:pt x="3425" y="866"/>
                </a:lnTo>
                <a:lnTo>
                  <a:pt x="3423" y="874"/>
                </a:lnTo>
                <a:lnTo>
                  <a:pt x="3423" y="883"/>
                </a:lnTo>
                <a:lnTo>
                  <a:pt x="3423" y="897"/>
                </a:lnTo>
                <a:lnTo>
                  <a:pt x="3425" y="904"/>
                </a:lnTo>
                <a:lnTo>
                  <a:pt x="3427" y="912"/>
                </a:lnTo>
                <a:lnTo>
                  <a:pt x="3431" y="923"/>
                </a:lnTo>
                <a:lnTo>
                  <a:pt x="3438" y="933"/>
                </a:lnTo>
                <a:lnTo>
                  <a:pt x="3446" y="942"/>
                </a:lnTo>
                <a:lnTo>
                  <a:pt x="3452" y="946"/>
                </a:lnTo>
                <a:lnTo>
                  <a:pt x="3457" y="948"/>
                </a:lnTo>
                <a:lnTo>
                  <a:pt x="3467" y="952"/>
                </a:lnTo>
                <a:lnTo>
                  <a:pt x="3474" y="955"/>
                </a:lnTo>
                <a:lnTo>
                  <a:pt x="3480" y="955"/>
                </a:lnTo>
                <a:lnTo>
                  <a:pt x="3493" y="952"/>
                </a:lnTo>
                <a:lnTo>
                  <a:pt x="3505" y="950"/>
                </a:lnTo>
                <a:lnTo>
                  <a:pt x="3512" y="946"/>
                </a:lnTo>
                <a:lnTo>
                  <a:pt x="3516" y="944"/>
                </a:lnTo>
                <a:lnTo>
                  <a:pt x="3527" y="936"/>
                </a:lnTo>
                <a:lnTo>
                  <a:pt x="3535" y="927"/>
                </a:lnTo>
                <a:lnTo>
                  <a:pt x="3543" y="917"/>
                </a:lnTo>
                <a:lnTo>
                  <a:pt x="3552" y="906"/>
                </a:lnTo>
                <a:lnTo>
                  <a:pt x="3558" y="893"/>
                </a:lnTo>
                <a:lnTo>
                  <a:pt x="3565" y="878"/>
                </a:lnTo>
                <a:lnTo>
                  <a:pt x="3571" y="864"/>
                </a:lnTo>
                <a:lnTo>
                  <a:pt x="3575" y="851"/>
                </a:lnTo>
                <a:lnTo>
                  <a:pt x="3577" y="836"/>
                </a:lnTo>
                <a:lnTo>
                  <a:pt x="3582" y="821"/>
                </a:lnTo>
                <a:lnTo>
                  <a:pt x="3582" y="806"/>
                </a:lnTo>
                <a:lnTo>
                  <a:pt x="3584" y="794"/>
                </a:lnTo>
                <a:lnTo>
                  <a:pt x="3582" y="781"/>
                </a:lnTo>
                <a:lnTo>
                  <a:pt x="3584" y="777"/>
                </a:lnTo>
                <a:lnTo>
                  <a:pt x="3588" y="775"/>
                </a:lnTo>
                <a:lnTo>
                  <a:pt x="3592" y="775"/>
                </a:lnTo>
                <a:lnTo>
                  <a:pt x="3596" y="773"/>
                </a:lnTo>
                <a:lnTo>
                  <a:pt x="3601" y="775"/>
                </a:lnTo>
                <a:lnTo>
                  <a:pt x="3605" y="775"/>
                </a:lnTo>
                <a:lnTo>
                  <a:pt x="3609" y="777"/>
                </a:lnTo>
                <a:lnTo>
                  <a:pt x="3613" y="781"/>
                </a:lnTo>
                <a:lnTo>
                  <a:pt x="3613" y="840"/>
                </a:lnTo>
                <a:lnTo>
                  <a:pt x="3609" y="855"/>
                </a:lnTo>
                <a:lnTo>
                  <a:pt x="3605" y="870"/>
                </a:lnTo>
                <a:lnTo>
                  <a:pt x="3601" y="885"/>
                </a:lnTo>
                <a:lnTo>
                  <a:pt x="3596" y="900"/>
                </a:lnTo>
                <a:lnTo>
                  <a:pt x="3590" y="912"/>
                </a:lnTo>
                <a:lnTo>
                  <a:pt x="3582" y="925"/>
                </a:lnTo>
                <a:lnTo>
                  <a:pt x="3575" y="936"/>
                </a:lnTo>
                <a:lnTo>
                  <a:pt x="3567" y="946"/>
                </a:lnTo>
                <a:lnTo>
                  <a:pt x="3558" y="957"/>
                </a:lnTo>
                <a:lnTo>
                  <a:pt x="3548" y="965"/>
                </a:lnTo>
                <a:lnTo>
                  <a:pt x="3537" y="972"/>
                </a:lnTo>
                <a:lnTo>
                  <a:pt x="3527" y="978"/>
                </a:lnTo>
                <a:lnTo>
                  <a:pt x="3516" y="984"/>
                </a:lnTo>
                <a:lnTo>
                  <a:pt x="3505" y="986"/>
                </a:lnTo>
                <a:lnTo>
                  <a:pt x="3493" y="988"/>
                </a:lnTo>
                <a:lnTo>
                  <a:pt x="3480" y="991"/>
                </a:lnTo>
                <a:close/>
                <a:moveTo>
                  <a:pt x="3480" y="1581"/>
                </a:moveTo>
                <a:lnTo>
                  <a:pt x="3469" y="1581"/>
                </a:lnTo>
                <a:lnTo>
                  <a:pt x="3461" y="1579"/>
                </a:lnTo>
                <a:lnTo>
                  <a:pt x="3452" y="1577"/>
                </a:lnTo>
                <a:lnTo>
                  <a:pt x="3444" y="1573"/>
                </a:lnTo>
                <a:lnTo>
                  <a:pt x="3436" y="1568"/>
                </a:lnTo>
                <a:lnTo>
                  <a:pt x="3429" y="1564"/>
                </a:lnTo>
                <a:lnTo>
                  <a:pt x="3423" y="1558"/>
                </a:lnTo>
                <a:lnTo>
                  <a:pt x="3416" y="1551"/>
                </a:lnTo>
                <a:lnTo>
                  <a:pt x="3410" y="1543"/>
                </a:lnTo>
                <a:lnTo>
                  <a:pt x="3404" y="1535"/>
                </a:lnTo>
                <a:lnTo>
                  <a:pt x="3395" y="1518"/>
                </a:lnTo>
                <a:lnTo>
                  <a:pt x="3393" y="1507"/>
                </a:lnTo>
                <a:lnTo>
                  <a:pt x="3391" y="1496"/>
                </a:lnTo>
                <a:lnTo>
                  <a:pt x="3389" y="1486"/>
                </a:lnTo>
                <a:lnTo>
                  <a:pt x="3389" y="1475"/>
                </a:lnTo>
                <a:lnTo>
                  <a:pt x="3389" y="1465"/>
                </a:lnTo>
                <a:lnTo>
                  <a:pt x="3391" y="1454"/>
                </a:lnTo>
                <a:lnTo>
                  <a:pt x="3393" y="1444"/>
                </a:lnTo>
                <a:lnTo>
                  <a:pt x="3397" y="1433"/>
                </a:lnTo>
                <a:lnTo>
                  <a:pt x="3400" y="1422"/>
                </a:lnTo>
                <a:lnTo>
                  <a:pt x="3406" y="1412"/>
                </a:lnTo>
                <a:lnTo>
                  <a:pt x="3410" y="1403"/>
                </a:lnTo>
                <a:lnTo>
                  <a:pt x="3416" y="1395"/>
                </a:lnTo>
                <a:lnTo>
                  <a:pt x="3425" y="1386"/>
                </a:lnTo>
                <a:lnTo>
                  <a:pt x="3431" y="1380"/>
                </a:lnTo>
                <a:lnTo>
                  <a:pt x="3440" y="1374"/>
                </a:lnTo>
                <a:lnTo>
                  <a:pt x="3448" y="1369"/>
                </a:lnTo>
                <a:lnTo>
                  <a:pt x="3457" y="1365"/>
                </a:lnTo>
                <a:lnTo>
                  <a:pt x="3465" y="1361"/>
                </a:lnTo>
                <a:lnTo>
                  <a:pt x="3476" y="1361"/>
                </a:lnTo>
                <a:lnTo>
                  <a:pt x="3486" y="1359"/>
                </a:lnTo>
                <a:lnTo>
                  <a:pt x="3497" y="1361"/>
                </a:lnTo>
                <a:lnTo>
                  <a:pt x="3503" y="1361"/>
                </a:lnTo>
                <a:lnTo>
                  <a:pt x="3508" y="1363"/>
                </a:lnTo>
                <a:lnTo>
                  <a:pt x="3518" y="1369"/>
                </a:lnTo>
                <a:lnTo>
                  <a:pt x="3524" y="1376"/>
                </a:lnTo>
                <a:lnTo>
                  <a:pt x="3531" y="1384"/>
                </a:lnTo>
                <a:lnTo>
                  <a:pt x="3535" y="1395"/>
                </a:lnTo>
                <a:lnTo>
                  <a:pt x="3539" y="1405"/>
                </a:lnTo>
                <a:lnTo>
                  <a:pt x="3539" y="1416"/>
                </a:lnTo>
                <a:lnTo>
                  <a:pt x="3539" y="1424"/>
                </a:lnTo>
                <a:lnTo>
                  <a:pt x="3537" y="1431"/>
                </a:lnTo>
                <a:lnTo>
                  <a:pt x="3535" y="1439"/>
                </a:lnTo>
                <a:lnTo>
                  <a:pt x="3533" y="1446"/>
                </a:lnTo>
                <a:lnTo>
                  <a:pt x="3529" y="1452"/>
                </a:lnTo>
                <a:lnTo>
                  <a:pt x="3524" y="1458"/>
                </a:lnTo>
                <a:lnTo>
                  <a:pt x="3514" y="1471"/>
                </a:lnTo>
                <a:lnTo>
                  <a:pt x="3508" y="1475"/>
                </a:lnTo>
                <a:lnTo>
                  <a:pt x="3501" y="1480"/>
                </a:lnTo>
                <a:lnTo>
                  <a:pt x="3486" y="1488"/>
                </a:lnTo>
                <a:lnTo>
                  <a:pt x="3480" y="1490"/>
                </a:lnTo>
                <a:lnTo>
                  <a:pt x="3472" y="1492"/>
                </a:lnTo>
                <a:lnTo>
                  <a:pt x="3457" y="1494"/>
                </a:lnTo>
                <a:lnTo>
                  <a:pt x="3450" y="1492"/>
                </a:lnTo>
                <a:lnTo>
                  <a:pt x="3448" y="1490"/>
                </a:lnTo>
                <a:lnTo>
                  <a:pt x="3446" y="1488"/>
                </a:lnTo>
                <a:lnTo>
                  <a:pt x="3444" y="1486"/>
                </a:lnTo>
                <a:lnTo>
                  <a:pt x="3442" y="1482"/>
                </a:lnTo>
                <a:lnTo>
                  <a:pt x="3442" y="1475"/>
                </a:lnTo>
                <a:lnTo>
                  <a:pt x="3442" y="1469"/>
                </a:lnTo>
                <a:lnTo>
                  <a:pt x="3444" y="1467"/>
                </a:lnTo>
                <a:lnTo>
                  <a:pt x="3446" y="1465"/>
                </a:lnTo>
                <a:lnTo>
                  <a:pt x="3459" y="1463"/>
                </a:lnTo>
                <a:lnTo>
                  <a:pt x="3469" y="1458"/>
                </a:lnTo>
                <a:lnTo>
                  <a:pt x="3480" y="1452"/>
                </a:lnTo>
                <a:lnTo>
                  <a:pt x="3491" y="1446"/>
                </a:lnTo>
                <a:lnTo>
                  <a:pt x="3497" y="1437"/>
                </a:lnTo>
                <a:lnTo>
                  <a:pt x="3501" y="1433"/>
                </a:lnTo>
                <a:lnTo>
                  <a:pt x="3503" y="1429"/>
                </a:lnTo>
                <a:lnTo>
                  <a:pt x="3505" y="1420"/>
                </a:lnTo>
                <a:lnTo>
                  <a:pt x="3508" y="1412"/>
                </a:lnTo>
                <a:lnTo>
                  <a:pt x="3508" y="1408"/>
                </a:lnTo>
                <a:lnTo>
                  <a:pt x="3505" y="1403"/>
                </a:lnTo>
                <a:lnTo>
                  <a:pt x="3503" y="1399"/>
                </a:lnTo>
                <a:lnTo>
                  <a:pt x="3501" y="1395"/>
                </a:lnTo>
                <a:lnTo>
                  <a:pt x="3497" y="1393"/>
                </a:lnTo>
                <a:lnTo>
                  <a:pt x="3493" y="1391"/>
                </a:lnTo>
                <a:lnTo>
                  <a:pt x="3482" y="1391"/>
                </a:lnTo>
                <a:lnTo>
                  <a:pt x="3472" y="1391"/>
                </a:lnTo>
                <a:lnTo>
                  <a:pt x="3467" y="1393"/>
                </a:lnTo>
                <a:lnTo>
                  <a:pt x="3461" y="1397"/>
                </a:lnTo>
                <a:lnTo>
                  <a:pt x="3457" y="1399"/>
                </a:lnTo>
                <a:lnTo>
                  <a:pt x="3452" y="1403"/>
                </a:lnTo>
                <a:lnTo>
                  <a:pt x="3442" y="1414"/>
                </a:lnTo>
                <a:lnTo>
                  <a:pt x="3438" y="1420"/>
                </a:lnTo>
                <a:lnTo>
                  <a:pt x="3433" y="1427"/>
                </a:lnTo>
                <a:lnTo>
                  <a:pt x="3429" y="1441"/>
                </a:lnTo>
                <a:lnTo>
                  <a:pt x="3425" y="1456"/>
                </a:lnTo>
                <a:lnTo>
                  <a:pt x="3423" y="1465"/>
                </a:lnTo>
                <a:lnTo>
                  <a:pt x="3423" y="1473"/>
                </a:lnTo>
                <a:lnTo>
                  <a:pt x="3423" y="1490"/>
                </a:lnTo>
                <a:lnTo>
                  <a:pt x="3425" y="1496"/>
                </a:lnTo>
                <a:lnTo>
                  <a:pt x="3427" y="1503"/>
                </a:lnTo>
                <a:lnTo>
                  <a:pt x="3431" y="1516"/>
                </a:lnTo>
                <a:lnTo>
                  <a:pt x="3438" y="1526"/>
                </a:lnTo>
                <a:lnTo>
                  <a:pt x="3446" y="1535"/>
                </a:lnTo>
                <a:lnTo>
                  <a:pt x="3452" y="1537"/>
                </a:lnTo>
                <a:lnTo>
                  <a:pt x="3457" y="1541"/>
                </a:lnTo>
                <a:lnTo>
                  <a:pt x="3467" y="1545"/>
                </a:lnTo>
                <a:lnTo>
                  <a:pt x="3474" y="1545"/>
                </a:lnTo>
                <a:lnTo>
                  <a:pt x="3480" y="1545"/>
                </a:lnTo>
                <a:lnTo>
                  <a:pt x="3493" y="1545"/>
                </a:lnTo>
                <a:lnTo>
                  <a:pt x="3505" y="1541"/>
                </a:lnTo>
                <a:lnTo>
                  <a:pt x="3512" y="1539"/>
                </a:lnTo>
                <a:lnTo>
                  <a:pt x="3516" y="1535"/>
                </a:lnTo>
                <a:lnTo>
                  <a:pt x="3527" y="1528"/>
                </a:lnTo>
                <a:lnTo>
                  <a:pt x="3535" y="1520"/>
                </a:lnTo>
                <a:lnTo>
                  <a:pt x="3543" y="1509"/>
                </a:lnTo>
                <a:lnTo>
                  <a:pt x="3552" y="1496"/>
                </a:lnTo>
                <a:lnTo>
                  <a:pt x="3558" y="1484"/>
                </a:lnTo>
                <a:lnTo>
                  <a:pt x="3565" y="1471"/>
                </a:lnTo>
                <a:lnTo>
                  <a:pt x="3571" y="1456"/>
                </a:lnTo>
                <a:lnTo>
                  <a:pt x="3575" y="1441"/>
                </a:lnTo>
                <a:lnTo>
                  <a:pt x="3577" y="1427"/>
                </a:lnTo>
                <a:lnTo>
                  <a:pt x="3582" y="1412"/>
                </a:lnTo>
                <a:lnTo>
                  <a:pt x="3582" y="1399"/>
                </a:lnTo>
                <a:lnTo>
                  <a:pt x="3584" y="1384"/>
                </a:lnTo>
                <a:lnTo>
                  <a:pt x="3582" y="1372"/>
                </a:lnTo>
                <a:lnTo>
                  <a:pt x="3584" y="1369"/>
                </a:lnTo>
                <a:lnTo>
                  <a:pt x="3588" y="1367"/>
                </a:lnTo>
                <a:lnTo>
                  <a:pt x="3592" y="1365"/>
                </a:lnTo>
                <a:lnTo>
                  <a:pt x="3596" y="1365"/>
                </a:lnTo>
                <a:lnTo>
                  <a:pt x="3601" y="1365"/>
                </a:lnTo>
                <a:lnTo>
                  <a:pt x="3605" y="1367"/>
                </a:lnTo>
                <a:lnTo>
                  <a:pt x="3609" y="1369"/>
                </a:lnTo>
                <a:lnTo>
                  <a:pt x="3613" y="1374"/>
                </a:lnTo>
                <a:lnTo>
                  <a:pt x="3613" y="1433"/>
                </a:lnTo>
                <a:lnTo>
                  <a:pt x="3609" y="1448"/>
                </a:lnTo>
                <a:lnTo>
                  <a:pt x="3605" y="1463"/>
                </a:lnTo>
                <a:lnTo>
                  <a:pt x="3601" y="1477"/>
                </a:lnTo>
                <a:lnTo>
                  <a:pt x="3596" y="1490"/>
                </a:lnTo>
                <a:lnTo>
                  <a:pt x="3590" y="1503"/>
                </a:lnTo>
                <a:lnTo>
                  <a:pt x="3582" y="1516"/>
                </a:lnTo>
                <a:lnTo>
                  <a:pt x="3575" y="1528"/>
                </a:lnTo>
                <a:lnTo>
                  <a:pt x="3567" y="1539"/>
                </a:lnTo>
                <a:lnTo>
                  <a:pt x="3558" y="1547"/>
                </a:lnTo>
                <a:lnTo>
                  <a:pt x="3548" y="1556"/>
                </a:lnTo>
                <a:lnTo>
                  <a:pt x="3537" y="1564"/>
                </a:lnTo>
                <a:lnTo>
                  <a:pt x="3527" y="1571"/>
                </a:lnTo>
                <a:lnTo>
                  <a:pt x="3516" y="1575"/>
                </a:lnTo>
                <a:lnTo>
                  <a:pt x="3505" y="1579"/>
                </a:lnTo>
                <a:lnTo>
                  <a:pt x="3493" y="1581"/>
                </a:lnTo>
                <a:lnTo>
                  <a:pt x="3480" y="1581"/>
                </a:lnTo>
                <a:close/>
                <a:moveTo>
                  <a:pt x="3480" y="2157"/>
                </a:moveTo>
                <a:lnTo>
                  <a:pt x="3469" y="2155"/>
                </a:lnTo>
                <a:lnTo>
                  <a:pt x="3461" y="2155"/>
                </a:lnTo>
                <a:lnTo>
                  <a:pt x="3452" y="2150"/>
                </a:lnTo>
                <a:lnTo>
                  <a:pt x="3444" y="2148"/>
                </a:lnTo>
                <a:lnTo>
                  <a:pt x="3436" y="2144"/>
                </a:lnTo>
                <a:lnTo>
                  <a:pt x="3429" y="2138"/>
                </a:lnTo>
                <a:lnTo>
                  <a:pt x="3423" y="2131"/>
                </a:lnTo>
                <a:lnTo>
                  <a:pt x="3416" y="2125"/>
                </a:lnTo>
                <a:lnTo>
                  <a:pt x="3410" y="2119"/>
                </a:lnTo>
                <a:lnTo>
                  <a:pt x="3404" y="2110"/>
                </a:lnTo>
                <a:lnTo>
                  <a:pt x="3395" y="2091"/>
                </a:lnTo>
                <a:lnTo>
                  <a:pt x="3393" y="2083"/>
                </a:lnTo>
                <a:lnTo>
                  <a:pt x="3391" y="2072"/>
                </a:lnTo>
                <a:lnTo>
                  <a:pt x="3389" y="2062"/>
                </a:lnTo>
                <a:lnTo>
                  <a:pt x="3389" y="2051"/>
                </a:lnTo>
                <a:lnTo>
                  <a:pt x="3389" y="2038"/>
                </a:lnTo>
                <a:lnTo>
                  <a:pt x="3391" y="2028"/>
                </a:lnTo>
                <a:lnTo>
                  <a:pt x="3393" y="2017"/>
                </a:lnTo>
                <a:lnTo>
                  <a:pt x="3397" y="2007"/>
                </a:lnTo>
                <a:lnTo>
                  <a:pt x="3400" y="1996"/>
                </a:lnTo>
                <a:lnTo>
                  <a:pt x="3406" y="1988"/>
                </a:lnTo>
                <a:lnTo>
                  <a:pt x="3410" y="1977"/>
                </a:lnTo>
                <a:lnTo>
                  <a:pt x="3416" y="1968"/>
                </a:lnTo>
                <a:lnTo>
                  <a:pt x="3425" y="1962"/>
                </a:lnTo>
                <a:lnTo>
                  <a:pt x="3431" y="1954"/>
                </a:lnTo>
                <a:lnTo>
                  <a:pt x="3440" y="1949"/>
                </a:lnTo>
                <a:lnTo>
                  <a:pt x="3448" y="1943"/>
                </a:lnTo>
                <a:lnTo>
                  <a:pt x="3457" y="1939"/>
                </a:lnTo>
                <a:lnTo>
                  <a:pt x="3465" y="1937"/>
                </a:lnTo>
                <a:lnTo>
                  <a:pt x="3476" y="1935"/>
                </a:lnTo>
                <a:lnTo>
                  <a:pt x="3486" y="1935"/>
                </a:lnTo>
                <a:lnTo>
                  <a:pt x="3497" y="1935"/>
                </a:lnTo>
                <a:lnTo>
                  <a:pt x="3503" y="1937"/>
                </a:lnTo>
                <a:lnTo>
                  <a:pt x="3508" y="1939"/>
                </a:lnTo>
                <a:lnTo>
                  <a:pt x="3518" y="1943"/>
                </a:lnTo>
                <a:lnTo>
                  <a:pt x="3524" y="1949"/>
                </a:lnTo>
                <a:lnTo>
                  <a:pt x="3531" y="1958"/>
                </a:lnTo>
                <a:lnTo>
                  <a:pt x="3535" y="1968"/>
                </a:lnTo>
                <a:lnTo>
                  <a:pt x="3539" y="1979"/>
                </a:lnTo>
                <a:lnTo>
                  <a:pt x="3539" y="1992"/>
                </a:lnTo>
                <a:lnTo>
                  <a:pt x="3539" y="1998"/>
                </a:lnTo>
                <a:lnTo>
                  <a:pt x="3537" y="2007"/>
                </a:lnTo>
                <a:lnTo>
                  <a:pt x="3535" y="2013"/>
                </a:lnTo>
                <a:lnTo>
                  <a:pt x="3533" y="2019"/>
                </a:lnTo>
                <a:lnTo>
                  <a:pt x="3529" y="2028"/>
                </a:lnTo>
                <a:lnTo>
                  <a:pt x="3524" y="2034"/>
                </a:lnTo>
                <a:lnTo>
                  <a:pt x="3514" y="2045"/>
                </a:lnTo>
                <a:lnTo>
                  <a:pt x="3508" y="2051"/>
                </a:lnTo>
                <a:lnTo>
                  <a:pt x="3501" y="2055"/>
                </a:lnTo>
                <a:lnTo>
                  <a:pt x="3486" y="2062"/>
                </a:lnTo>
                <a:lnTo>
                  <a:pt x="3480" y="2066"/>
                </a:lnTo>
                <a:lnTo>
                  <a:pt x="3472" y="2068"/>
                </a:lnTo>
                <a:lnTo>
                  <a:pt x="3457" y="2068"/>
                </a:lnTo>
                <a:lnTo>
                  <a:pt x="3450" y="2068"/>
                </a:lnTo>
                <a:lnTo>
                  <a:pt x="3448" y="2066"/>
                </a:lnTo>
                <a:lnTo>
                  <a:pt x="3446" y="2064"/>
                </a:lnTo>
                <a:lnTo>
                  <a:pt x="3444" y="2059"/>
                </a:lnTo>
                <a:lnTo>
                  <a:pt x="3442" y="2057"/>
                </a:lnTo>
                <a:lnTo>
                  <a:pt x="3442" y="2049"/>
                </a:lnTo>
                <a:lnTo>
                  <a:pt x="3442" y="2043"/>
                </a:lnTo>
                <a:lnTo>
                  <a:pt x="3444" y="2040"/>
                </a:lnTo>
                <a:lnTo>
                  <a:pt x="3446" y="2038"/>
                </a:lnTo>
                <a:lnTo>
                  <a:pt x="3459" y="2036"/>
                </a:lnTo>
                <a:lnTo>
                  <a:pt x="3469" y="2032"/>
                </a:lnTo>
                <a:lnTo>
                  <a:pt x="3480" y="2026"/>
                </a:lnTo>
                <a:lnTo>
                  <a:pt x="3491" y="2019"/>
                </a:lnTo>
                <a:lnTo>
                  <a:pt x="3497" y="2011"/>
                </a:lnTo>
                <a:lnTo>
                  <a:pt x="3501" y="2007"/>
                </a:lnTo>
                <a:lnTo>
                  <a:pt x="3503" y="2002"/>
                </a:lnTo>
                <a:lnTo>
                  <a:pt x="3505" y="1994"/>
                </a:lnTo>
                <a:lnTo>
                  <a:pt x="3508" y="1985"/>
                </a:lnTo>
                <a:lnTo>
                  <a:pt x="3508" y="1981"/>
                </a:lnTo>
                <a:lnTo>
                  <a:pt x="3505" y="1977"/>
                </a:lnTo>
                <a:lnTo>
                  <a:pt x="3503" y="1973"/>
                </a:lnTo>
                <a:lnTo>
                  <a:pt x="3501" y="1971"/>
                </a:lnTo>
                <a:lnTo>
                  <a:pt x="3497" y="1966"/>
                </a:lnTo>
                <a:lnTo>
                  <a:pt x="3493" y="1966"/>
                </a:lnTo>
                <a:lnTo>
                  <a:pt x="3482" y="1964"/>
                </a:lnTo>
                <a:lnTo>
                  <a:pt x="3472" y="1966"/>
                </a:lnTo>
                <a:lnTo>
                  <a:pt x="3467" y="1968"/>
                </a:lnTo>
                <a:lnTo>
                  <a:pt x="3461" y="1971"/>
                </a:lnTo>
                <a:lnTo>
                  <a:pt x="3457" y="1975"/>
                </a:lnTo>
                <a:lnTo>
                  <a:pt x="3452" y="1979"/>
                </a:lnTo>
                <a:lnTo>
                  <a:pt x="3442" y="1990"/>
                </a:lnTo>
                <a:lnTo>
                  <a:pt x="3438" y="1994"/>
                </a:lnTo>
                <a:lnTo>
                  <a:pt x="3433" y="2002"/>
                </a:lnTo>
                <a:lnTo>
                  <a:pt x="3429" y="2015"/>
                </a:lnTo>
                <a:lnTo>
                  <a:pt x="3425" y="2032"/>
                </a:lnTo>
                <a:lnTo>
                  <a:pt x="3423" y="2040"/>
                </a:lnTo>
                <a:lnTo>
                  <a:pt x="3423" y="2049"/>
                </a:lnTo>
                <a:lnTo>
                  <a:pt x="3423" y="2064"/>
                </a:lnTo>
                <a:lnTo>
                  <a:pt x="3425" y="2070"/>
                </a:lnTo>
                <a:lnTo>
                  <a:pt x="3427" y="2076"/>
                </a:lnTo>
                <a:lnTo>
                  <a:pt x="3431" y="2089"/>
                </a:lnTo>
                <a:lnTo>
                  <a:pt x="3438" y="2100"/>
                </a:lnTo>
                <a:lnTo>
                  <a:pt x="3446" y="2108"/>
                </a:lnTo>
                <a:lnTo>
                  <a:pt x="3452" y="2112"/>
                </a:lnTo>
                <a:lnTo>
                  <a:pt x="3457" y="2115"/>
                </a:lnTo>
                <a:lnTo>
                  <a:pt x="3467" y="2119"/>
                </a:lnTo>
                <a:lnTo>
                  <a:pt x="3474" y="2121"/>
                </a:lnTo>
                <a:lnTo>
                  <a:pt x="3480" y="2121"/>
                </a:lnTo>
                <a:lnTo>
                  <a:pt x="3493" y="2119"/>
                </a:lnTo>
                <a:lnTo>
                  <a:pt x="3505" y="2115"/>
                </a:lnTo>
                <a:lnTo>
                  <a:pt x="3512" y="2112"/>
                </a:lnTo>
                <a:lnTo>
                  <a:pt x="3516" y="2110"/>
                </a:lnTo>
                <a:lnTo>
                  <a:pt x="3527" y="2102"/>
                </a:lnTo>
                <a:lnTo>
                  <a:pt x="3535" y="2093"/>
                </a:lnTo>
                <a:lnTo>
                  <a:pt x="3543" y="2083"/>
                </a:lnTo>
                <a:lnTo>
                  <a:pt x="3552" y="2070"/>
                </a:lnTo>
                <a:lnTo>
                  <a:pt x="3558" y="2057"/>
                </a:lnTo>
                <a:lnTo>
                  <a:pt x="3565" y="2045"/>
                </a:lnTo>
                <a:lnTo>
                  <a:pt x="3571" y="2030"/>
                </a:lnTo>
                <a:lnTo>
                  <a:pt x="3575" y="2017"/>
                </a:lnTo>
                <a:lnTo>
                  <a:pt x="3577" y="2002"/>
                </a:lnTo>
                <a:lnTo>
                  <a:pt x="3582" y="1988"/>
                </a:lnTo>
                <a:lnTo>
                  <a:pt x="3582" y="1973"/>
                </a:lnTo>
                <a:lnTo>
                  <a:pt x="3584" y="1960"/>
                </a:lnTo>
                <a:lnTo>
                  <a:pt x="3582" y="1947"/>
                </a:lnTo>
                <a:lnTo>
                  <a:pt x="3584" y="1943"/>
                </a:lnTo>
                <a:lnTo>
                  <a:pt x="3588" y="1941"/>
                </a:lnTo>
                <a:lnTo>
                  <a:pt x="3592" y="1939"/>
                </a:lnTo>
                <a:lnTo>
                  <a:pt x="3596" y="1939"/>
                </a:lnTo>
                <a:lnTo>
                  <a:pt x="3601" y="1939"/>
                </a:lnTo>
                <a:lnTo>
                  <a:pt x="3605" y="1941"/>
                </a:lnTo>
                <a:lnTo>
                  <a:pt x="3609" y="1943"/>
                </a:lnTo>
                <a:lnTo>
                  <a:pt x="3613" y="1947"/>
                </a:lnTo>
                <a:lnTo>
                  <a:pt x="3613" y="2007"/>
                </a:lnTo>
                <a:lnTo>
                  <a:pt x="3609" y="2021"/>
                </a:lnTo>
                <a:lnTo>
                  <a:pt x="3605" y="2036"/>
                </a:lnTo>
                <a:lnTo>
                  <a:pt x="3601" y="2051"/>
                </a:lnTo>
                <a:lnTo>
                  <a:pt x="3596" y="2066"/>
                </a:lnTo>
                <a:lnTo>
                  <a:pt x="3590" y="2079"/>
                </a:lnTo>
                <a:lnTo>
                  <a:pt x="3582" y="2091"/>
                </a:lnTo>
                <a:lnTo>
                  <a:pt x="3575" y="2102"/>
                </a:lnTo>
                <a:lnTo>
                  <a:pt x="3567" y="2112"/>
                </a:lnTo>
                <a:lnTo>
                  <a:pt x="3558" y="2123"/>
                </a:lnTo>
                <a:lnTo>
                  <a:pt x="3548" y="2131"/>
                </a:lnTo>
                <a:lnTo>
                  <a:pt x="3537" y="2138"/>
                </a:lnTo>
                <a:lnTo>
                  <a:pt x="3527" y="2144"/>
                </a:lnTo>
                <a:lnTo>
                  <a:pt x="3516" y="2150"/>
                </a:lnTo>
                <a:lnTo>
                  <a:pt x="3505" y="2153"/>
                </a:lnTo>
                <a:lnTo>
                  <a:pt x="3493" y="2155"/>
                </a:lnTo>
                <a:lnTo>
                  <a:pt x="3480" y="2157"/>
                </a:lnTo>
                <a:close/>
                <a:moveTo>
                  <a:pt x="1835" y="694"/>
                </a:moveTo>
                <a:lnTo>
                  <a:pt x="1825" y="694"/>
                </a:lnTo>
                <a:lnTo>
                  <a:pt x="1816" y="692"/>
                </a:lnTo>
                <a:lnTo>
                  <a:pt x="1808" y="690"/>
                </a:lnTo>
                <a:lnTo>
                  <a:pt x="1799" y="686"/>
                </a:lnTo>
                <a:lnTo>
                  <a:pt x="1791" y="682"/>
                </a:lnTo>
                <a:lnTo>
                  <a:pt x="1784" y="677"/>
                </a:lnTo>
                <a:lnTo>
                  <a:pt x="1778" y="671"/>
                </a:lnTo>
                <a:lnTo>
                  <a:pt x="1772" y="663"/>
                </a:lnTo>
                <a:lnTo>
                  <a:pt x="1765" y="656"/>
                </a:lnTo>
                <a:lnTo>
                  <a:pt x="1759" y="648"/>
                </a:lnTo>
                <a:lnTo>
                  <a:pt x="1751" y="631"/>
                </a:lnTo>
                <a:lnTo>
                  <a:pt x="1748" y="620"/>
                </a:lnTo>
                <a:lnTo>
                  <a:pt x="1746" y="610"/>
                </a:lnTo>
                <a:lnTo>
                  <a:pt x="1744" y="599"/>
                </a:lnTo>
                <a:lnTo>
                  <a:pt x="1744" y="588"/>
                </a:lnTo>
                <a:lnTo>
                  <a:pt x="1744" y="578"/>
                </a:lnTo>
                <a:lnTo>
                  <a:pt x="1746" y="565"/>
                </a:lnTo>
                <a:lnTo>
                  <a:pt x="1748" y="555"/>
                </a:lnTo>
                <a:lnTo>
                  <a:pt x="1753" y="544"/>
                </a:lnTo>
                <a:lnTo>
                  <a:pt x="1755" y="533"/>
                </a:lnTo>
                <a:lnTo>
                  <a:pt x="1761" y="525"/>
                </a:lnTo>
                <a:lnTo>
                  <a:pt x="1765" y="516"/>
                </a:lnTo>
                <a:lnTo>
                  <a:pt x="1772" y="508"/>
                </a:lnTo>
                <a:lnTo>
                  <a:pt x="1778" y="500"/>
                </a:lnTo>
                <a:lnTo>
                  <a:pt x="1787" y="493"/>
                </a:lnTo>
                <a:lnTo>
                  <a:pt x="1795" y="487"/>
                </a:lnTo>
                <a:lnTo>
                  <a:pt x="1804" y="483"/>
                </a:lnTo>
                <a:lnTo>
                  <a:pt x="1812" y="478"/>
                </a:lnTo>
                <a:lnTo>
                  <a:pt x="1820" y="474"/>
                </a:lnTo>
                <a:lnTo>
                  <a:pt x="1831" y="472"/>
                </a:lnTo>
                <a:lnTo>
                  <a:pt x="1842" y="472"/>
                </a:lnTo>
                <a:lnTo>
                  <a:pt x="1852" y="474"/>
                </a:lnTo>
                <a:lnTo>
                  <a:pt x="1859" y="474"/>
                </a:lnTo>
                <a:lnTo>
                  <a:pt x="1863" y="476"/>
                </a:lnTo>
                <a:lnTo>
                  <a:pt x="1873" y="480"/>
                </a:lnTo>
                <a:lnTo>
                  <a:pt x="1880" y="489"/>
                </a:lnTo>
                <a:lnTo>
                  <a:pt x="1886" y="497"/>
                </a:lnTo>
                <a:lnTo>
                  <a:pt x="1890" y="506"/>
                </a:lnTo>
                <a:lnTo>
                  <a:pt x="1892" y="516"/>
                </a:lnTo>
                <a:lnTo>
                  <a:pt x="1895" y="529"/>
                </a:lnTo>
                <a:lnTo>
                  <a:pt x="1895" y="538"/>
                </a:lnTo>
                <a:lnTo>
                  <a:pt x="1892" y="544"/>
                </a:lnTo>
                <a:lnTo>
                  <a:pt x="1890" y="550"/>
                </a:lnTo>
                <a:lnTo>
                  <a:pt x="1888" y="559"/>
                </a:lnTo>
                <a:lnTo>
                  <a:pt x="1884" y="565"/>
                </a:lnTo>
                <a:lnTo>
                  <a:pt x="1880" y="571"/>
                </a:lnTo>
                <a:lnTo>
                  <a:pt x="1869" y="582"/>
                </a:lnTo>
                <a:lnTo>
                  <a:pt x="1863" y="588"/>
                </a:lnTo>
                <a:lnTo>
                  <a:pt x="1856" y="593"/>
                </a:lnTo>
                <a:lnTo>
                  <a:pt x="1842" y="601"/>
                </a:lnTo>
                <a:lnTo>
                  <a:pt x="1835" y="603"/>
                </a:lnTo>
                <a:lnTo>
                  <a:pt x="1827" y="605"/>
                </a:lnTo>
                <a:lnTo>
                  <a:pt x="1812" y="607"/>
                </a:lnTo>
                <a:lnTo>
                  <a:pt x="1806" y="605"/>
                </a:lnTo>
                <a:lnTo>
                  <a:pt x="1804" y="603"/>
                </a:lnTo>
                <a:lnTo>
                  <a:pt x="1801" y="601"/>
                </a:lnTo>
                <a:lnTo>
                  <a:pt x="1799" y="599"/>
                </a:lnTo>
                <a:lnTo>
                  <a:pt x="1797" y="595"/>
                </a:lnTo>
                <a:lnTo>
                  <a:pt x="1797" y="588"/>
                </a:lnTo>
                <a:lnTo>
                  <a:pt x="1797" y="582"/>
                </a:lnTo>
                <a:lnTo>
                  <a:pt x="1799" y="580"/>
                </a:lnTo>
                <a:lnTo>
                  <a:pt x="1801" y="578"/>
                </a:lnTo>
                <a:lnTo>
                  <a:pt x="1814" y="574"/>
                </a:lnTo>
                <a:lnTo>
                  <a:pt x="1825" y="569"/>
                </a:lnTo>
                <a:lnTo>
                  <a:pt x="1835" y="565"/>
                </a:lnTo>
                <a:lnTo>
                  <a:pt x="1846" y="557"/>
                </a:lnTo>
                <a:lnTo>
                  <a:pt x="1852" y="550"/>
                </a:lnTo>
                <a:lnTo>
                  <a:pt x="1856" y="546"/>
                </a:lnTo>
                <a:lnTo>
                  <a:pt x="1859" y="542"/>
                </a:lnTo>
                <a:lnTo>
                  <a:pt x="1861" y="533"/>
                </a:lnTo>
                <a:lnTo>
                  <a:pt x="1863" y="525"/>
                </a:lnTo>
                <a:lnTo>
                  <a:pt x="1863" y="519"/>
                </a:lnTo>
                <a:lnTo>
                  <a:pt x="1861" y="514"/>
                </a:lnTo>
                <a:lnTo>
                  <a:pt x="1859" y="512"/>
                </a:lnTo>
                <a:lnTo>
                  <a:pt x="1856" y="508"/>
                </a:lnTo>
                <a:lnTo>
                  <a:pt x="1852" y="506"/>
                </a:lnTo>
                <a:lnTo>
                  <a:pt x="1848" y="504"/>
                </a:lnTo>
                <a:lnTo>
                  <a:pt x="1837" y="502"/>
                </a:lnTo>
                <a:lnTo>
                  <a:pt x="1827" y="504"/>
                </a:lnTo>
                <a:lnTo>
                  <a:pt x="1823" y="506"/>
                </a:lnTo>
                <a:lnTo>
                  <a:pt x="1816" y="508"/>
                </a:lnTo>
                <a:lnTo>
                  <a:pt x="1812" y="512"/>
                </a:lnTo>
                <a:lnTo>
                  <a:pt x="1808" y="516"/>
                </a:lnTo>
                <a:lnTo>
                  <a:pt x="1797" y="527"/>
                </a:lnTo>
                <a:lnTo>
                  <a:pt x="1793" y="533"/>
                </a:lnTo>
                <a:lnTo>
                  <a:pt x="1789" y="540"/>
                </a:lnTo>
                <a:lnTo>
                  <a:pt x="1782" y="555"/>
                </a:lnTo>
                <a:lnTo>
                  <a:pt x="1780" y="569"/>
                </a:lnTo>
                <a:lnTo>
                  <a:pt x="1778" y="578"/>
                </a:lnTo>
                <a:lnTo>
                  <a:pt x="1778" y="586"/>
                </a:lnTo>
                <a:lnTo>
                  <a:pt x="1778" y="601"/>
                </a:lnTo>
                <a:lnTo>
                  <a:pt x="1780" y="610"/>
                </a:lnTo>
                <a:lnTo>
                  <a:pt x="1782" y="616"/>
                </a:lnTo>
                <a:lnTo>
                  <a:pt x="1787" y="629"/>
                </a:lnTo>
                <a:lnTo>
                  <a:pt x="1793" y="637"/>
                </a:lnTo>
                <a:lnTo>
                  <a:pt x="1801" y="648"/>
                </a:lnTo>
                <a:lnTo>
                  <a:pt x="1808" y="650"/>
                </a:lnTo>
                <a:lnTo>
                  <a:pt x="1812" y="654"/>
                </a:lnTo>
                <a:lnTo>
                  <a:pt x="1823" y="656"/>
                </a:lnTo>
                <a:lnTo>
                  <a:pt x="1829" y="658"/>
                </a:lnTo>
                <a:lnTo>
                  <a:pt x="1835" y="658"/>
                </a:lnTo>
                <a:lnTo>
                  <a:pt x="1848" y="656"/>
                </a:lnTo>
                <a:lnTo>
                  <a:pt x="1861" y="654"/>
                </a:lnTo>
                <a:lnTo>
                  <a:pt x="1865" y="652"/>
                </a:lnTo>
                <a:lnTo>
                  <a:pt x="1871" y="648"/>
                </a:lnTo>
                <a:lnTo>
                  <a:pt x="1882" y="641"/>
                </a:lnTo>
                <a:lnTo>
                  <a:pt x="1890" y="631"/>
                </a:lnTo>
                <a:lnTo>
                  <a:pt x="1899" y="620"/>
                </a:lnTo>
                <a:lnTo>
                  <a:pt x="1907" y="610"/>
                </a:lnTo>
                <a:lnTo>
                  <a:pt x="1914" y="597"/>
                </a:lnTo>
                <a:lnTo>
                  <a:pt x="1920" y="582"/>
                </a:lnTo>
                <a:lnTo>
                  <a:pt x="1926" y="569"/>
                </a:lnTo>
                <a:lnTo>
                  <a:pt x="1931" y="555"/>
                </a:lnTo>
                <a:lnTo>
                  <a:pt x="1933" y="540"/>
                </a:lnTo>
                <a:lnTo>
                  <a:pt x="1937" y="525"/>
                </a:lnTo>
                <a:lnTo>
                  <a:pt x="1937" y="510"/>
                </a:lnTo>
                <a:lnTo>
                  <a:pt x="1939" y="497"/>
                </a:lnTo>
                <a:lnTo>
                  <a:pt x="1937" y="485"/>
                </a:lnTo>
                <a:lnTo>
                  <a:pt x="1939" y="483"/>
                </a:lnTo>
                <a:lnTo>
                  <a:pt x="1943" y="480"/>
                </a:lnTo>
                <a:lnTo>
                  <a:pt x="1945" y="478"/>
                </a:lnTo>
                <a:lnTo>
                  <a:pt x="1952" y="478"/>
                </a:lnTo>
                <a:lnTo>
                  <a:pt x="1960" y="478"/>
                </a:lnTo>
                <a:lnTo>
                  <a:pt x="1962" y="480"/>
                </a:lnTo>
                <a:lnTo>
                  <a:pt x="1966" y="483"/>
                </a:lnTo>
                <a:lnTo>
                  <a:pt x="1971" y="491"/>
                </a:lnTo>
                <a:lnTo>
                  <a:pt x="1971" y="497"/>
                </a:lnTo>
                <a:lnTo>
                  <a:pt x="1971" y="504"/>
                </a:lnTo>
                <a:lnTo>
                  <a:pt x="1971" y="523"/>
                </a:lnTo>
                <a:lnTo>
                  <a:pt x="1969" y="540"/>
                </a:lnTo>
                <a:lnTo>
                  <a:pt x="1964" y="559"/>
                </a:lnTo>
                <a:lnTo>
                  <a:pt x="1960" y="576"/>
                </a:lnTo>
                <a:lnTo>
                  <a:pt x="1956" y="593"/>
                </a:lnTo>
                <a:lnTo>
                  <a:pt x="1950" y="607"/>
                </a:lnTo>
                <a:lnTo>
                  <a:pt x="1941" y="622"/>
                </a:lnTo>
                <a:lnTo>
                  <a:pt x="1933" y="637"/>
                </a:lnTo>
                <a:lnTo>
                  <a:pt x="1922" y="650"/>
                </a:lnTo>
                <a:lnTo>
                  <a:pt x="1918" y="654"/>
                </a:lnTo>
                <a:lnTo>
                  <a:pt x="1914" y="660"/>
                </a:lnTo>
                <a:lnTo>
                  <a:pt x="1901" y="671"/>
                </a:lnTo>
                <a:lnTo>
                  <a:pt x="1890" y="679"/>
                </a:lnTo>
                <a:lnTo>
                  <a:pt x="1878" y="686"/>
                </a:lnTo>
                <a:lnTo>
                  <a:pt x="1863" y="690"/>
                </a:lnTo>
                <a:lnTo>
                  <a:pt x="1850" y="694"/>
                </a:lnTo>
                <a:lnTo>
                  <a:pt x="1835" y="694"/>
                </a:lnTo>
                <a:close/>
                <a:moveTo>
                  <a:pt x="2066" y="690"/>
                </a:moveTo>
                <a:lnTo>
                  <a:pt x="2060" y="688"/>
                </a:lnTo>
                <a:lnTo>
                  <a:pt x="2051" y="684"/>
                </a:lnTo>
                <a:lnTo>
                  <a:pt x="2034" y="667"/>
                </a:lnTo>
                <a:lnTo>
                  <a:pt x="2015" y="648"/>
                </a:lnTo>
                <a:lnTo>
                  <a:pt x="1996" y="629"/>
                </a:lnTo>
                <a:lnTo>
                  <a:pt x="1990" y="618"/>
                </a:lnTo>
                <a:lnTo>
                  <a:pt x="1986" y="612"/>
                </a:lnTo>
                <a:lnTo>
                  <a:pt x="1979" y="599"/>
                </a:lnTo>
                <a:lnTo>
                  <a:pt x="1977" y="595"/>
                </a:lnTo>
                <a:lnTo>
                  <a:pt x="1977" y="588"/>
                </a:lnTo>
                <a:lnTo>
                  <a:pt x="1979" y="582"/>
                </a:lnTo>
                <a:lnTo>
                  <a:pt x="1981" y="574"/>
                </a:lnTo>
                <a:lnTo>
                  <a:pt x="1983" y="567"/>
                </a:lnTo>
                <a:lnTo>
                  <a:pt x="1990" y="559"/>
                </a:lnTo>
                <a:lnTo>
                  <a:pt x="2000" y="544"/>
                </a:lnTo>
                <a:lnTo>
                  <a:pt x="2019" y="523"/>
                </a:lnTo>
                <a:lnTo>
                  <a:pt x="2062" y="474"/>
                </a:lnTo>
                <a:lnTo>
                  <a:pt x="2066" y="476"/>
                </a:lnTo>
                <a:lnTo>
                  <a:pt x="2072" y="478"/>
                </a:lnTo>
                <a:lnTo>
                  <a:pt x="2079" y="483"/>
                </a:lnTo>
                <a:lnTo>
                  <a:pt x="2083" y="487"/>
                </a:lnTo>
                <a:lnTo>
                  <a:pt x="2083" y="493"/>
                </a:lnTo>
                <a:lnTo>
                  <a:pt x="2081" y="500"/>
                </a:lnTo>
                <a:lnTo>
                  <a:pt x="2081" y="504"/>
                </a:lnTo>
                <a:lnTo>
                  <a:pt x="2079" y="508"/>
                </a:lnTo>
                <a:lnTo>
                  <a:pt x="2049" y="542"/>
                </a:lnTo>
                <a:lnTo>
                  <a:pt x="2030" y="561"/>
                </a:lnTo>
                <a:lnTo>
                  <a:pt x="2017" y="578"/>
                </a:lnTo>
                <a:lnTo>
                  <a:pt x="2015" y="582"/>
                </a:lnTo>
                <a:lnTo>
                  <a:pt x="2013" y="586"/>
                </a:lnTo>
                <a:lnTo>
                  <a:pt x="2015" y="591"/>
                </a:lnTo>
                <a:lnTo>
                  <a:pt x="2017" y="597"/>
                </a:lnTo>
                <a:lnTo>
                  <a:pt x="2028" y="610"/>
                </a:lnTo>
                <a:lnTo>
                  <a:pt x="2045" y="627"/>
                </a:lnTo>
                <a:lnTo>
                  <a:pt x="2064" y="648"/>
                </a:lnTo>
                <a:lnTo>
                  <a:pt x="2083" y="665"/>
                </a:lnTo>
                <a:lnTo>
                  <a:pt x="2085" y="667"/>
                </a:lnTo>
                <a:lnTo>
                  <a:pt x="2087" y="671"/>
                </a:lnTo>
                <a:lnTo>
                  <a:pt x="2085" y="673"/>
                </a:lnTo>
                <a:lnTo>
                  <a:pt x="2085" y="677"/>
                </a:lnTo>
                <a:lnTo>
                  <a:pt x="2079" y="684"/>
                </a:lnTo>
                <a:lnTo>
                  <a:pt x="2072" y="688"/>
                </a:lnTo>
                <a:lnTo>
                  <a:pt x="2068" y="690"/>
                </a:lnTo>
                <a:lnTo>
                  <a:pt x="2066" y="690"/>
                </a:lnTo>
                <a:close/>
                <a:moveTo>
                  <a:pt x="1835" y="1287"/>
                </a:moveTo>
                <a:lnTo>
                  <a:pt x="1825" y="1285"/>
                </a:lnTo>
                <a:lnTo>
                  <a:pt x="1816" y="1285"/>
                </a:lnTo>
                <a:lnTo>
                  <a:pt x="1808" y="1281"/>
                </a:lnTo>
                <a:lnTo>
                  <a:pt x="1799" y="1278"/>
                </a:lnTo>
                <a:lnTo>
                  <a:pt x="1791" y="1274"/>
                </a:lnTo>
                <a:lnTo>
                  <a:pt x="1784" y="1268"/>
                </a:lnTo>
                <a:lnTo>
                  <a:pt x="1778" y="1262"/>
                </a:lnTo>
                <a:lnTo>
                  <a:pt x="1772" y="1255"/>
                </a:lnTo>
                <a:lnTo>
                  <a:pt x="1765" y="1247"/>
                </a:lnTo>
                <a:lnTo>
                  <a:pt x="1759" y="1240"/>
                </a:lnTo>
                <a:lnTo>
                  <a:pt x="1751" y="1221"/>
                </a:lnTo>
                <a:lnTo>
                  <a:pt x="1748" y="1211"/>
                </a:lnTo>
                <a:lnTo>
                  <a:pt x="1746" y="1202"/>
                </a:lnTo>
                <a:lnTo>
                  <a:pt x="1744" y="1192"/>
                </a:lnTo>
                <a:lnTo>
                  <a:pt x="1744" y="1179"/>
                </a:lnTo>
                <a:lnTo>
                  <a:pt x="1744" y="1168"/>
                </a:lnTo>
                <a:lnTo>
                  <a:pt x="1746" y="1158"/>
                </a:lnTo>
                <a:lnTo>
                  <a:pt x="1748" y="1147"/>
                </a:lnTo>
                <a:lnTo>
                  <a:pt x="1753" y="1137"/>
                </a:lnTo>
                <a:lnTo>
                  <a:pt x="1755" y="1126"/>
                </a:lnTo>
                <a:lnTo>
                  <a:pt x="1761" y="1115"/>
                </a:lnTo>
                <a:lnTo>
                  <a:pt x="1765" y="1107"/>
                </a:lnTo>
                <a:lnTo>
                  <a:pt x="1772" y="1099"/>
                </a:lnTo>
                <a:lnTo>
                  <a:pt x="1778" y="1092"/>
                </a:lnTo>
                <a:lnTo>
                  <a:pt x="1787" y="1084"/>
                </a:lnTo>
                <a:lnTo>
                  <a:pt x="1795" y="1077"/>
                </a:lnTo>
                <a:lnTo>
                  <a:pt x="1804" y="1073"/>
                </a:lnTo>
                <a:lnTo>
                  <a:pt x="1812" y="1069"/>
                </a:lnTo>
                <a:lnTo>
                  <a:pt x="1820" y="1067"/>
                </a:lnTo>
                <a:lnTo>
                  <a:pt x="1831" y="1065"/>
                </a:lnTo>
                <a:lnTo>
                  <a:pt x="1842" y="1065"/>
                </a:lnTo>
                <a:lnTo>
                  <a:pt x="1852" y="1065"/>
                </a:lnTo>
                <a:lnTo>
                  <a:pt x="1859" y="1067"/>
                </a:lnTo>
                <a:lnTo>
                  <a:pt x="1863" y="1069"/>
                </a:lnTo>
                <a:lnTo>
                  <a:pt x="1873" y="1073"/>
                </a:lnTo>
                <a:lnTo>
                  <a:pt x="1880" y="1079"/>
                </a:lnTo>
                <a:lnTo>
                  <a:pt x="1886" y="1088"/>
                </a:lnTo>
                <a:lnTo>
                  <a:pt x="1890" y="1099"/>
                </a:lnTo>
                <a:lnTo>
                  <a:pt x="1892" y="1109"/>
                </a:lnTo>
                <a:lnTo>
                  <a:pt x="1895" y="1122"/>
                </a:lnTo>
                <a:lnTo>
                  <a:pt x="1895" y="1128"/>
                </a:lnTo>
                <a:lnTo>
                  <a:pt x="1892" y="1137"/>
                </a:lnTo>
                <a:lnTo>
                  <a:pt x="1890" y="1143"/>
                </a:lnTo>
                <a:lnTo>
                  <a:pt x="1888" y="1149"/>
                </a:lnTo>
                <a:lnTo>
                  <a:pt x="1884" y="1158"/>
                </a:lnTo>
                <a:lnTo>
                  <a:pt x="1880" y="1164"/>
                </a:lnTo>
                <a:lnTo>
                  <a:pt x="1869" y="1175"/>
                </a:lnTo>
                <a:lnTo>
                  <a:pt x="1863" y="1179"/>
                </a:lnTo>
                <a:lnTo>
                  <a:pt x="1856" y="1185"/>
                </a:lnTo>
                <a:lnTo>
                  <a:pt x="1842" y="1192"/>
                </a:lnTo>
                <a:lnTo>
                  <a:pt x="1835" y="1194"/>
                </a:lnTo>
                <a:lnTo>
                  <a:pt x="1827" y="1196"/>
                </a:lnTo>
                <a:lnTo>
                  <a:pt x="1812" y="1198"/>
                </a:lnTo>
                <a:lnTo>
                  <a:pt x="1806" y="1196"/>
                </a:lnTo>
                <a:lnTo>
                  <a:pt x="1804" y="1196"/>
                </a:lnTo>
                <a:lnTo>
                  <a:pt x="1801" y="1194"/>
                </a:lnTo>
                <a:lnTo>
                  <a:pt x="1799" y="1190"/>
                </a:lnTo>
                <a:lnTo>
                  <a:pt x="1797" y="1187"/>
                </a:lnTo>
                <a:lnTo>
                  <a:pt x="1797" y="1179"/>
                </a:lnTo>
                <a:lnTo>
                  <a:pt x="1797" y="1173"/>
                </a:lnTo>
                <a:lnTo>
                  <a:pt x="1799" y="1170"/>
                </a:lnTo>
                <a:lnTo>
                  <a:pt x="1801" y="1168"/>
                </a:lnTo>
                <a:lnTo>
                  <a:pt x="1814" y="1166"/>
                </a:lnTo>
                <a:lnTo>
                  <a:pt x="1825" y="1162"/>
                </a:lnTo>
                <a:lnTo>
                  <a:pt x="1835" y="1156"/>
                </a:lnTo>
                <a:lnTo>
                  <a:pt x="1846" y="1149"/>
                </a:lnTo>
                <a:lnTo>
                  <a:pt x="1852" y="1141"/>
                </a:lnTo>
                <a:lnTo>
                  <a:pt x="1856" y="1137"/>
                </a:lnTo>
                <a:lnTo>
                  <a:pt x="1859" y="1132"/>
                </a:lnTo>
                <a:lnTo>
                  <a:pt x="1861" y="1124"/>
                </a:lnTo>
                <a:lnTo>
                  <a:pt x="1863" y="1115"/>
                </a:lnTo>
                <a:lnTo>
                  <a:pt x="1863" y="1111"/>
                </a:lnTo>
                <a:lnTo>
                  <a:pt x="1861" y="1107"/>
                </a:lnTo>
                <a:lnTo>
                  <a:pt x="1859" y="1103"/>
                </a:lnTo>
                <a:lnTo>
                  <a:pt x="1856" y="1101"/>
                </a:lnTo>
                <a:lnTo>
                  <a:pt x="1852" y="1096"/>
                </a:lnTo>
                <a:lnTo>
                  <a:pt x="1848" y="1094"/>
                </a:lnTo>
                <a:lnTo>
                  <a:pt x="1837" y="1094"/>
                </a:lnTo>
                <a:lnTo>
                  <a:pt x="1827" y="1096"/>
                </a:lnTo>
                <a:lnTo>
                  <a:pt x="1823" y="1099"/>
                </a:lnTo>
                <a:lnTo>
                  <a:pt x="1816" y="1101"/>
                </a:lnTo>
                <a:lnTo>
                  <a:pt x="1812" y="1105"/>
                </a:lnTo>
                <a:lnTo>
                  <a:pt x="1808" y="1109"/>
                </a:lnTo>
                <a:lnTo>
                  <a:pt x="1797" y="1120"/>
                </a:lnTo>
                <a:lnTo>
                  <a:pt x="1793" y="1124"/>
                </a:lnTo>
                <a:lnTo>
                  <a:pt x="1789" y="1130"/>
                </a:lnTo>
                <a:lnTo>
                  <a:pt x="1782" y="1145"/>
                </a:lnTo>
                <a:lnTo>
                  <a:pt x="1780" y="1162"/>
                </a:lnTo>
                <a:lnTo>
                  <a:pt x="1778" y="1170"/>
                </a:lnTo>
                <a:lnTo>
                  <a:pt x="1778" y="1179"/>
                </a:lnTo>
                <a:lnTo>
                  <a:pt x="1778" y="1194"/>
                </a:lnTo>
                <a:lnTo>
                  <a:pt x="1780" y="1200"/>
                </a:lnTo>
                <a:lnTo>
                  <a:pt x="1782" y="1206"/>
                </a:lnTo>
                <a:lnTo>
                  <a:pt x="1787" y="1219"/>
                </a:lnTo>
                <a:lnTo>
                  <a:pt x="1793" y="1230"/>
                </a:lnTo>
                <a:lnTo>
                  <a:pt x="1801" y="1238"/>
                </a:lnTo>
                <a:lnTo>
                  <a:pt x="1808" y="1242"/>
                </a:lnTo>
                <a:lnTo>
                  <a:pt x="1812" y="1245"/>
                </a:lnTo>
                <a:lnTo>
                  <a:pt x="1823" y="1249"/>
                </a:lnTo>
                <a:lnTo>
                  <a:pt x="1829" y="1249"/>
                </a:lnTo>
                <a:lnTo>
                  <a:pt x="1835" y="1251"/>
                </a:lnTo>
                <a:lnTo>
                  <a:pt x="1848" y="1249"/>
                </a:lnTo>
                <a:lnTo>
                  <a:pt x="1861" y="1245"/>
                </a:lnTo>
                <a:lnTo>
                  <a:pt x="1865" y="1242"/>
                </a:lnTo>
                <a:lnTo>
                  <a:pt x="1871" y="1240"/>
                </a:lnTo>
                <a:lnTo>
                  <a:pt x="1882" y="1232"/>
                </a:lnTo>
                <a:lnTo>
                  <a:pt x="1890" y="1223"/>
                </a:lnTo>
                <a:lnTo>
                  <a:pt x="1899" y="1213"/>
                </a:lnTo>
                <a:lnTo>
                  <a:pt x="1907" y="1200"/>
                </a:lnTo>
                <a:lnTo>
                  <a:pt x="1914" y="1187"/>
                </a:lnTo>
                <a:lnTo>
                  <a:pt x="1920" y="1175"/>
                </a:lnTo>
                <a:lnTo>
                  <a:pt x="1926" y="1160"/>
                </a:lnTo>
                <a:lnTo>
                  <a:pt x="1931" y="1145"/>
                </a:lnTo>
                <a:lnTo>
                  <a:pt x="1933" y="1132"/>
                </a:lnTo>
                <a:lnTo>
                  <a:pt x="1937" y="1118"/>
                </a:lnTo>
                <a:lnTo>
                  <a:pt x="1937" y="1103"/>
                </a:lnTo>
                <a:lnTo>
                  <a:pt x="1939" y="1090"/>
                </a:lnTo>
                <a:lnTo>
                  <a:pt x="1937" y="1077"/>
                </a:lnTo>
                <a:lnTo>
                  <a:pt x="1939" y="1073"/>
                </a:lnTo>
                <a:lnTo>
                  <a:pt x="1943" y="1071"/>
                </a:lnTo>
                <a:lnTo>
                  <a:pt x="1945" y="1069"/>
                </a:lnTo>
                <a:lnTo>
                  <a:pt x="1952" y="1069"/>
                </a:lnTo>
                <a:lnTo>
                  <a:pt x="1960" y="1071"/>
                </a:lnTo>
                <a:lnTo>
                  <a:pt x="1962" y="1073"/>
                </a:lnTo>
                <a:lnTo>
                  <a:pt x="1966" y="1075"/>
                </a:lnTo>
                <a:lnTo>
                  <a:pt x="1971" y="1082"/>
                </a:lnTo>
                <a:lnTo>
                  <a:pt x="1971" y="1088"/>
                </a:lnTo>
                <a:lnTo>
                  <a:pt x="1971" y="1094"/>
                </a:lnTo>
                <a:lnTo>
                  <a:pt x="1971" y="1113"/>
                </a:lnTo>
                <a:lnTo>
                  <a:pt x="1969" y="1132"/>
                </a:lnTo>
                <a:lnTo>
                  <a:pt x="1964" y="1149"/>
                </a:lnTo>
                <a:lnTo>
                  <a:pt x="1960" y="1166"/>
                </a:lnTo>
                <a:lnTo>
                  <a:pt x="1956" y="1183"/>
                </a:lnTo>
                <a:lnTo>
                  <a:pt x="1950" y="1200"/>
                </a:lnTo>
                <a:lnTo>
                  <a:pt x="1941" y="1215"/>
                </a:lnTo>
                <a:lnTo>
                  <a:pt x="1933" y="1228"/>
                </a:lnTo>
                <a:lnTo>
                  <a:pt x="1922" y="1240"/>
                </a:lnTo>
                <a:lnTo>
                  <a:pt x="1918" y="1247"/>
                </a:lnTo>
                <a:lnTo>
                  <a:pt x="1914" y="1253"/>
                </a:lnTo>
                <a:lnTo>
                  <a:pt x="1901" y="1262"/>
                </a:lnTo>
                <a:lnTo>
                  <a:pt x="1890" y="1270"/>
                </a:lnTo>
                <a:lnTo>
                  <a:pt x="1878" y="1276"/>
                </a:lnTo>
                <a:lnTo>
                  <a:pt x="1863" y="1283"/>
                </a:lnTo>
                <a:lnTo>
                  <a:pt x="1850" y="1285"/>
                </a:lnTo>
                <a:lnTo>
                  <a:pt x="1835" y="1287"/>
                </a:lnTo>
                <a:close/>
                <a:moveTo>
                  <a:pt x="2066" y="1283"/>
                </a:moveTo>
                <a:lnTo>
                  <a:pt x="2060" y="1281"/>
                </a:lnTo>
                <a:lnTo>
                  <a:pt x="2051" y="1274"/>
                </a:lnTo>
                <a:lnTo>
                  <a:pt x="2034" y="1259"/>
                </a:lnTo>
                <a:lnTo>
                  <a:pt x="2015" y="1240"/>
                </a:lnTo>
                <a:lnTo>
                  <a:pt x="1996" y="1219"/>
                </a:lnTo>
                <a:lnTo>
                  <a:pt x="1990" y="1211"/>
                </a:lnTo>
                <a:lnTo>
                  <a:pt x="1986" y="1204"/>
                </a:lnTo>
                <a:lnTo>
                  <a:pt x="1979" y="1192"/>
                </a:lnTo>
                <a:lnTo>
                  <a:pt x="1977" y="1185"/>
                </a:lnTo>
                <a:lnTo>
                  <a:pt x="1977" y="1179"/>
                </a:lnTo>
                <a:lnTo>
                  <a:pt x="1979" y="1173"/>
                </a:lnTo>
                <a:lnTo>
                  <a:pt x="1981" y="1166"/>
                </a:lnTo>
                <a:lnTo>
                  <a:pt x="1983" y="1158"/>
                </a:lnTo>
                <a:lnTo>
                  <a:pt x="1990" y="1149"/>
                </a:lnTo>
                <a:lnTo>
                  <a:pt x="2000" y="1135"/>
                </a:lnTo>
                <a:lnTo>
                  <a:pt x="2019" y="1115"/>
                </a:lnTo>
                <a:lnTo>
                  <a:pt x="2062" y="1067"/>
                </a:lnTo>
                <a:lnTo>
                  <a:pt x="2066" y="1067"/>
                </a:lnTo>
                <a:lnTo>
                  <a:pt x="2072" y="1069"/>
                </a:lnTo>
                <a:lnTo>
                  <a:pt x="2079" y="1073"/>
                </a:lnTo>
                <a:lnTo>
                  <a:pt x="2083" y="1079"/>
                </a:lnTo>
                <a:lnTo>
                  <a:pt x="2083" y="1086"/>
                </a:lnTo>
                <a:lnTo>
                  <a:pt x="2081" y="1092"/>
                </a:lnTo>
                <a:lnTo>
                  <a:pt x="2081" y="1094"/>
                </a:lnTo>
                <a:lnTo>
                  <a:pt x="2079" y="1099"/>
                </a:lnTo>
                <a:lnTo>
                  <a:pt x="2049" y="1132"/>
                </a:lnTo>
                <a:lnTo>
                  <a:pt x="2030" y="1154"/>
                </a:lnTo>
                <a:lnTo>
                  <a:pt x="2017" y="1168"/>
                </a:lnTo>
                <a:lnTo>
                  <a:pt x="2015" y="1173"/>
                </a:lnTo>
                <a:lnTo>
                  <a:pt x="2013" y="1179"/>
                </a:lnTo>
                <a:lnTo>
                  <a:pt x="2015" y="1183"/>
                </a:lnTo>
                <a:lnTo>
                  <a:pt x="2017" y="1190"/>
                </a:lnTo>
                <a:lnTo>
                  <a:pt x="2028" y="1202"/>
                </a:lnTo>
                <a:lnTo>
                  <a:pt x="2045" y="1219"/>
                </a:lnTo>
                <a:lnTo>
                  <a:pt x="2064" y="1238"/>
                </a:lnTo>
                <a:lnTo>
                  <a:pt x="2083" y="1257"/>
                </a:lnTo>
                <a:lnTo>
                  <a:pt x="2085" y="1259"/>
                </a:lnTo>
                <a:lnTo>
                  <a:pt x="2087" y="1262"/>
                </a:lnTo>
                <a:lnTo>
                  <a:pt x="2085" y="1266"/>
                </a:lnTo>
                <a:lnTo>
                  <a:pt x="2085" y="1268"/>
                </a:lnTo>
                <a:lnTo>
                  <a:pt x="2079" y="1276"/>
                </a:lnTo>
                <a:lnTo>
                  <a:pt x="2072" y="1281"/>
                </a:lnTo>
                <a:lnTo>
                  <a:pt x="2068" y="1283"/>
                </a:lnTo>
                <a:lnTo>
                  <a:pt x="2066" y="1283"/>
                </a:lnTo>
                <a:close/>
                <a:moveTo>
                  <a:pt x="1835" y="1877"/>
                </a:moveTo>
                <a:lnTo>
                  <a:pt x="1825" y="1877"/>
                </a:lnTo>
                <a:lnTo>
                  <a:pt x="1816" y="1875"/>
                </a:lnTo>
                <a:lnTo>
                  <a:pt x="1808" y="1873"/>
                </a:lnTo>
                <a:lnTo>
                  <a:pt x="1799" y="1869"/>
                </a:lnTo>
                <a:lnTo>
                  <a:pt x="1791" y="1865"/>
                </a:lnTo>
                <a:lnTo>
                  <a:pt x="1784" y="1861"/>
                </a:lnTo>
                <a:lnTo>
                  <a:pt x="1778" y="1854"/>
                </a:lnTo>
                <a:lnTo>
                  <a:pt x="1772" y="1848"/>
                </a:lnTo>
                <a:lnTo>
                  <a:pt x="1765" y="1839"/>
                </a:lnTo>
                <a:lnTo>
                  <a:pt x="1759" y="1831"/>
                </a:lnTo>
                <a:lnTo>
                  <a:pt x="1751" y="1814"/>
                </a:lnTo>
                <a:lnTo>
                  <a:pt x="1748" y="1803"/>
                </a:lnTo>
                <a:lnTo>
                  <a:pt x="1746" y="1793"/>
                </a:lnTo>
                <a:lnTo>
                  <a:pt x="1744" y="1782"/>
                </a:lnTo>
                <a:lnTo>
                  <a:pt x="1744" y="1772"/>
                </a:lnTo>
                <a:lnTo>
                  <a:pt x="1744" y="1761"/>
                </a:lnTo>
                <a:lnTo>
                  <a:pt x="1746" y="1748"/>
                </a:lnTo>
                <a:lnTo>
                  <a:pt x="1748" y="1738"/>
                </a:lnTo>
                <a:lnTo>
                  <a:pt x="1753" y="1727"/>
                </a:lnTo>
                <a:lnTo>
                  <a:pt x="1755" y="1719"/>
                </a:lnTo>
                <a:lnTo>
                  <a:pt x="1761" y="1708"/>
                </a:lnTo>
                <a:lnTo>
                  <a:pt x="1765" y="1700"/>
                </a:lnTo>
                <a:lnTo>
                  <a:pt x="1772" y="1691"/>
                </a:lnTo>
                <a:lnTo>
                  <a:pt x="1778" y="1683"/>
                </a:lnTo>
                <a:lnTo>
                  <a:pt x="1787" y="1676"/>
                </a:lnTo>
                <a:lnTo>
                  <a:pt x="1795" y="1670"/>
                </a:lnTo>
                <a:lnTo>
                  <a:pt x="1804" y="1666"/>
                </a:lnTo>
                <a:lnTo>
                  <a:pt x="1812" y="1662"/>
                </a:lnTo>
                <a:lnTo>
                  <a:pt x="1820" y="1657"/>
                </a:lnTo>
                <a:lnTo>
                  <a:pt x="1831" y="1655"/>
                </a:lnTo>
                <a:lnTo>
                  <a:pt x="1842" y="1655"/>
                </a:lnTo>
                <a:lnTo>
                  <a:pt x="1852" y="1657"/>
                </a:lnTo>
                <a:lnTo>
                  <a:pt x="1859" y="1657"/>
                </a:lnTo>
                <a:lnTo>
                  <a:pt x="1863" y="1659"/>
                </a:lnTo>
                <a:lnTo>
                  <a:pt x="1873" y="1666"/>
                </a:lnTo>
                <a:lnTo>
                  <a:pt x="1880" y="1672"/>
                </a:lnTo>
                <a:lnTo>
                  <a:pt x="1886" y="1681"/>
                </a:lnTo>
                <a:lnTo>
                  <a:pt x="1890" y="1689"/>
                </a:lnTo>
                <a:lnTo>
                  <a:pt x="1892" y="1702"/>
                </a:lnTo>
                <a:lnTo>
                  <a:pt x="1895" y="1712"/>
                </a:lnTo>
                <a:lnTo>
                  <a:pt x="1895" y="1721"/>
                </a:lnTo>
                <a:lnTo>
                  <a:pt x="1892" y="1727"/>
                </a:lnTo>
                <a:lnTo>
                  <a:pt x="1890" y="1736"/>
                </a:lnTo>
                <a:lnTo>
                  <a:pt x="1888" y="1742"/>
                </a:lnTo>
                <a:lnTo>
                  <a:pt x="1884" y="1748"/>
                </a:lnTo>
                <a:lnTo>
                  <a:pt x="1880" y="1755"/>
                </a:lnTo>
                <a:lnTo>
                  <a:pt x="1869" y="1767"/>
                </a:lnTo>
                <a:lnTo>
                  <a:pt x="1863" y="1772"/>
                </a:lnTo>
                <a:lnTo>
                  <a:pt x="1856" y="1776"/>
                </a:lnTo>
                <a:lnTo>
                  <a:pt x="1842" y="1784"/>
                </a:lnTo>
                <a:lnTo>
                  <a:pt x="1835" y="1786"/>
                </a:lnTo>
                <a:lnTo>
                  <a:pt x="1827" y="1789"/>
                </a:lnTo>
                <a:lnTo>
                  <a:pt x="1812" y="1791"/>
                </a:lnTo>
                <a:lnTo>
                  <a:pt x="1806" y="1789"/>
                </a:lnTo>
                <a:lnTo>
                  <a:pt x="1804" y="1786"/>
                </a:lnTo>
                <a:lnTo>
                  <a:pt x="1801" y="1784"/>
                </a:lnTo>
                <a:lnTo>
                  <a:pt x="1799" y="1782"/>
                </a:lnTo>
                <a:lnTo>
                  <a:pt x="1797" y="1778"/>
                </a:lnTo>
                <a:lnTo>
                  <a:pt x="1797" y="1772"/>
                </a:lnTo>
                <a:lnTo>
                  <a:pt x="1797" y="1765"/>
                </a:lnTo>
                <a:lnTo>
                  <a:pt x="1799" y="1763"/>
                </a:lnTo>
                <a:lnTo>
                  <a:pt x="1801" y="1761"/>
                </a:lnTo>
                <a:lnTo>
                  <a:pt x="1814" y="1759"/>
                </a:lnTo>
                <a:lnTo>
                  <a:pt x="1825" y="1753"/>
                </a:lnTo>
                <a:lnTo>
                  <a:pt x="1835" y="1748"/>
                </a:lnTo>
                <a:lnTo>
                  <a:pt x="1846" y="1740"/>
                </a:lnTo>
                <a:lnTo>
                  <a:pt x="1852" y="1734"/>
                </a:lnTo>
                <a:lnTo>
                  <a:pt x="1856" y="1729"/>
                </a:lnTo>
                <a:lnTo>
                  <a:pt x="1859" y="1725"/>
                </a:lnTo>
                <a:lnTo>
                  <a:pt x="1861" y="1717"/>
                </a:lnTo>
                <a:lnTo>
                  <a:pt x="1863" y="1708"/>
                </a:lnTo>
                <a:lnTo>
                  <a:pt x="1863" y="1704"/>
                </a:lnTo>
                <a:lnTo>
                  <a:pt x="1861" y="1698"/>
                </a:lnTo>
                <a:lnTo>
                  <a:pt x="1859" y="1695"/>
                </a:lnTo>
                <a:lnTo>
                  <a:pt x="1856" y="1691"/>
                </a:lnTo>
                <a:lnTo>
                  <a:pt x="1852" y="1689"/>
                </a:lnTo>
                <a:lnTo>
                  <a:pt x="1848" y="1687"/>
                </a:lnTo>
                <a:lnTo>
                  <a:pt x="1837" y="1685"/>
                </a:lnTo>
                <a:lnTo>
                  <a:pt x="1827" y="1687"/>
                </a:lnTo>
                <a:lnTo>
                  <a:pt x="1823" y="1689"/>
                </a:lnTo>
                <a:lnTo>
                  <a:pt x="1816" y="1691"/>
                </a:lnTo>
                <a:lnTo>
                  <a:pt x="1812" y="1695"/>
                </a:lnTo>
                <a:lnTo>
                  <a:pt x="1808" y="1700"/>
                </a:lnTo>
                <a:lnTo>
                  <a:pt x="1797" y="1710"/>
                </a:lnTo>
                <a:lnTo>
                  <a:pt x="1793" y="1717"/>
                </a:lnTo>
                <a:lnTo>
                  <a:pt x="1789" y="1723"/>
                </a:lnTo>
                <a:lnTo>
                  <a:pt x="1782" y="1738"/>
                </a:lnTo>
                <a:lnTo>
                  <a:pt x="1780" y="1753"/>
                </a:lnTo>
                <a:lnTo>
                  <a:pt x="1778" y="1761"/>
                </a:lnTo>
                <a:lnTo>
                  <a:pt x="1778" y="1770"/>
                </a:lnTo>
                <a:lnTo>
                  <a:pt x="1778" y="1784"/>
                </a:lnTo>
                <a:lnTo>
                  <a:pt x="1780" y="1793"/>
                </a:lnTo>
                <a:lnTo>
                  <a:pt x="1782" y="1799"/>
                </a:lnTo>
                <a:lnTo>
                  <a:pt x="1787" y="1812"/>
                </a:lnTo>
                <a:lnTo>
                  <a:pt x="1793" y="1822"/>
                </a:lnTo>
                <a:lnTo>
                  <a:pt x="1801" y="1831"/>
                </a:lnTo>
                <a:lnTo>
                  <a:pt x="1808" y="1833"/>
                </a:lnTo>
                <a:lnTo>
                  <a:pt x="1812" y="1837"/>
                </a:lnTo>
                <a:lnTo>
                  <a:pt x="1823" y="1841"/>
                </a:lnTo>
                <a:lnTo>
                  <a:pt x="1829" y="1841"/>
                </a:lnTo>
                <a:lnTo>
                  <a:pt x="1835" y="1841"/>
                </a:lnTo>
                <a:lnTo>
                  <a:pt x="1848" y="1841"/>
                </a:lnTo>
                <a:lnTo>
                  <a:pt x="1861" y="1837"/>
                </a:lnTo>
                <a:lnTo>
                  <a:pt x="1865" y="1835"/>
                </a:lnTo>
                <a:lnTo>
                  <a:pt x="1871" y="1831"/>
                </a:lnTo>
                <a:lnTo>
                  <a:pt x="1882" y="1825"/>
                </a:lnTo>
                <a:lnTo>
                  <a:pt x="1890" y="1814"/>
                </a:lnTo>
                <a:lnTo>
                  <a:pt x="1899" y="1803"/>
                </a:lnTo>
                <a:lnTo>
                  <a:pt x="1907" y="1793"/>
                </a:lnTo>
                <a:lnTo>
                  <a:pt x="1914" y="1780"/>
                </a:lnTo>
                <a:lnTo>
                  <a:pt x="1920" y="1765"/>
                </a:lnTo>
                <a:lnTo>
                  <a:pt x="1926" y="1753"/>
                </a:lnTo>
                <a:lnTo>
                  <a:pt x="1931" y="1738"/>
                </a:lnTo>
                <a:lnTo>
                  <a:pt x="1933" y="1723"/>
                </a:lnTo>
                <a:lnTo>
                  <a:pt x="1937" y="1708"/>
                </a:lnTo>
                <a:lnTo>
                  <a:pt x="1937" y="1695"/>
                </a:lnTo>
                <a:lnTo>
                  <a:pt x="1939" y="1681"/>
                </a:lnTo>
                <a:lnTo>
                  <a:pt x="1937" y="1668"/>
                </a:lnTo>
                <a:lnTo>
                  <a:pt x="1939" y="1666"/>
                </a:lnTo>
                <a:lnTo>
                  <a:pt x="1943" y="1664"/>
                </a:lnTo>
                <a:lnTo>
                  <a:pt x="1945" y="1662"/>
                </a:lnTo>
                <a:lnTo>
                  <a:pt x="1952" y="1662"/>
                </a:lnTo>
                <a:lnTo>
                  <a:pt x="1960" y="1662"/>
                </a:lnTo>
                <a:lnTo>
                  <a:pt x="1962" y="1664"/>
                </a:lnTo>
                <a:lnTo>
                  <a:pt x="1966" y="1666"/>
                </a:lnTo>
                <a:lnTo>
                  <a:pt x="1971" y="1674"/>
                </a:lnTo>
                <a:lnTo>
                  <a:pt x="1971" y="1681"/>
                </a:lnTo>
                <a:lnTo>
                  <a:pt x="1971" y="1687"/>
                </a:lnTo>
                <a:lnTo>
                  <a:pt x="1971" y="1706"/>
                </a:lnTo>
                <a:lnTo>
                  <a:pt x="1969" y="1723"/>
                </a:lnTo>
                <a:lnTo>
                  <a:pt x="1964" y="1742"/>
                </a:lnTo>
                <a:lnTo>
                  <a:pt x="1960" y="1759"/>
                </a:lnTo>
                <a:lnTo>
                  <a:pt x="1956" y="1776"/>
                </a:lnTo>
                <a:lnTo>
                  <a:pt x="1950" y="1791"/>
                </a:lnTo>
                <a:lnTo>
                  <a:pt x="1941" y="1805"/>
                </a:lnTo>
                <a:lnTo>
                  <a:pt x="1933" y="1820"/>
                </a:lnTo>
                <a:lnTo>
                  <a:pt x="1922" y="1833"/>
                </a:lnTo>
                <a:lnTo>
                  <a:pt x="1918" y="1839"/>
                </a:lnTo>
                <a:lnTo>
                  <a:pt x="1914" y="1844"/>
                </a:lnTo>
                <a:lnTo>
                  <a:pt x="1901" y="1854"/>
                </a:lnTo>
                <a:lnTo>
                  <a:pt x="1890" y="1863"/>
                </a:lnTo>
                <a:lnTo>
                  <a:pt x="1878" y="1869"/>
                </a:lnTo>
                <a:lnTo>
                  <a:pt x="1863" y="1873"/>
                </a:lnTo>
                <a:lnTo>
                  <a:pt x="1850" y="1877"/>
                </a:lnTo>
                <a:lnTo>
                  <a:pt x="1835" y="1877"/>
                </a:lnTo>
                <a:close/>
                <a:moveTo>
                  <a:pt x="2066" y="1873"/>
                </a:moveTo>
                <a:lnTo>
                  <a:pt x="2060" y="1871"/>
                </a:lnTo>
                <a:lnTo>
                  <a:pt x="2051" y="1867"/>
                </a:lnTo>
                <a:lnTo>
                  <a:pt x="2034" y="1852"/>
                </a:lnTo>
                <a:lnTo>
                  <a:pt x="2015" y="1831"/>
                </a:lnTo>
                <a:lnTo>
                  <a:pt x="1996" y="1812"/>
                </a:lnTo>
                <a:lnTo>
                  <a:pt x="1990" y="1803"/>
                </a:lnTo>
                <a:lnTo>
                  <a:pt x="1986" y="1795"/>
                </a:lnTo>
                <a:lnTo>
                  <a:pt x="1979" y="1784"/>
                </a:lnTo>
                <a:lnTo>
                  <a:pt x="1977" y="1778"/>
                </a:lnTo>
                <a:lnTo>
                  <a:pt x="1977" y="1772"/>
                </a:lnTo>
                <a:lnTo>
                  <a:pt x="1979" y="1765"/>
                </a:lnTo>
                <a:lnTo>
                  <a:pt x="1981" y="1757"/>
                </a:lnTo>
                <a:lnTo>
                  <a:pt x="1983" y="1750"/>
                </a:lnTo>
                <a:lnTo>
                  <a:pt x="1990" y="1742"/>
                </a:lnTo>
                <a:lnTo>
                  <a:pt x="2000" y="1727"/>
                </a:lnTo>
                <a:lnTo>
                  <a:pt x="2019" y="1706"/>
                </a:lnTo>
                <a:lnTo>
                  <a:pt x="2062" y="1659"/>
                </a:lnTo>
                <a:lnTo>
                  <a:pt x="2066" y="1659"/>
                </a:lnTo>
                <a:lnTo>
                  <a:pt x="2072" y="1662"/>
                </a:lnTo>
                <a:lnTo>
                  <a:pt x="2079" y="1666"/>
                </a:lnTo>
                <a:lnTo>
                  <a:pt x="2083" y="1672"/>
                </a:lnTo>
                <a:lnTo>
                  <a:pt x="2083" y="1676"/>
                </a:lnTo>
                <a:lnTo>
                  <a:pt x="2081" y="1683"/>
                </a:lnTo>
                <a:lnTo>
                  <a:pt x="2081" y="1687"/>
                </a:lnTo>
                <a:lnTo>
                  <a:pt x="2079" y="1691"/>
                </a:lnTo>
                <a:lnTo>
                  <a:pt x="2049" y="1725"/>
                </a:lnTo>
                <a:lnTo>
                  <a:pt x="2030" y="1744"/>
                </a:lnTo>
                <a:lnTo>
                  <a:pt x="2017" y="1761"/>
                </a:lnTo>
                <a:lnTo>
                  <a:pt x="2015" y="1765"/>
                </a:lnTo>
                <a:lnTo>
                  <a:pt x="2013" y="1770"/>
                </a:lnTo>
                <a:lnTo>
                  <a:pt x="2015" y="1776"/>
                </a:lnTo>
                <a:lnTo>
                  <a:pt x="2017" y="1780"/>
                </a:lnTo>
                <a:lnTo>
                  <a:pt x="2028" y="1793"/>
                </a:lnTo>
                <a:lnTo>
                  <a:pt x="2045" y="1810"/>
                </a:lnTo>
                <a:lnTo>
                  <a:pt x="2064" y="1831"/>
                </a:lnTo>
                <a:lnTo>
                  <a:pt x="2083" y="1848"/>
                </a:lnTo>
                <a:lnTo>
                  <a:pt x="2085" y="1850"/>
                </a:lnTo>
                <a:lnTo>
                  <a:pt x="2087" y="1854"/>
                </a:lnTo>
                <a:lnTo>
                  <a:pt x="2085" y="1856"/>
                </a:lnTo>
                <a:lnTo>
                  <a:pt x="2085" y="1861"/>
                </a:lnTo>
                <a:lnTo>
                  <a:pt x="2079" y="1867"/>
                </a:lnTo>
                <a:lnTo>
                  <a:pt x="2072" y="1873"/>
                </a:lnTo>
                <a:lnTo>
                  <a:pt x="2068" y="1873"/>
                </a:lnTo>
                <a:lnTo>
                  <a:pt x="2066" y="1873"/>
                </a:lnTo>
                <a:close/>
                <a:moveTo>
                  <a:pt x="476" y="694"/>
                </a:moveTo>
                <a:lnTo>
                  <a:pt x="466" y="694"/>
                </a:lnTo>
                <a:lnTo>
                  <a:pt x="457" y="692"/>
                </a:lnTo>
                <a:lnTo>
                  <a:pt x="449" y="690"/>
                </a:lnTo>
                <a:lnTo>
                  <a:pt x="440" y="686"/>
                </a:lnTo>
                <a:lnTo>
                  <a:pt x="432" y="682"/>
                </a:lnTo>
                <a:lnTo>
                  <a:pt x="425" y="677"/>
                </a:lnTo>
                <a:lnTo>
                  <a:pt x="417" y="671"/>
                </a:lnTo>
                <a:lnTo>
                  <a:pt x="411" y="663"/>
                </a:lnTo>
                <a:lnTo>
                  <a:pt x="406" y="656"/>
                </a:lnTo>
                <a:lnTo>
                  <a:pt x="400" y="648"/>
                </a:lnTo>
                <a:lnTo>
                  <a:pt x="392" y="631"/>
                </a:lnTo>
                <a:lnTo>
                  <a:pt x="389" y="620"/>
                </a:lnTo>
                <a:lnTo>
                  <a:pt x="387" y="610"/>
                </a:lnTo>
                <a:lnTo>
                  <a:pt x="385" y="599"/>
                </a:lnTo>
                <a:lnTo>
                  <a:pt x="385" y="588"/>
                </a:lnTo>
                <a:lnTo>
                  <a:pt x="385" y="578"/>
                </a:lnTo>
                <a:lnTo>
                  <a:pt x="387" y="565"/>
                </a:lnTo>
                <a:lnTo>
                  <a:pt x="389" y="555"/>
                </a:lnTo>
                <a:lnTo>
                  <a:pt x="392" y="544"/>
                </a:lnTo>
                <a:lnTo>
                  <a:pt x="396" y="533"/>
                </a:lnTo>
                <a:lnTo>
                  <a:pt x="402" y="525"/>
                </a:lnTo>
                <a:lnTo>
                  <a:pt x="406" y="516"/>
                </a:lnTo>
                <a:lnTo>
                  <a:pt x="413" y="508"/>
                </a:lnTo>
                <a:lnTo>
                  <a:pt x="419" y="500"/>
                </a:lnTo>
                <a:lnTo>
                  <a:pt x="428" y="493"/>
                </a:lnTo>
                <a:lnTo>
                  <a:pt x="434" y="487"/>
                </a:lnTo>
                <a:lnTo>
                  <a:pt x="442" y="483"/>
                </a:lnTo>
                <a:lnTo>
                  <a:pt x="453" y="478"/>
                </a:lnTo>
                <a:lnTo>
                  <a:pt x="461" y="474"/>
                </a:lnTo>
                <a:lnTo>
                  <a:pt x="472" y="472"/>
                </a:lnTo>
                <a:lnTo>
                  <a:pt x="481" y="472"/>
                </a:lnTo>
                <a:lnTo>
                  <a:pt x="493" y="474"/>
                </a:lnTo>
                <a:lnTo>
                  <a:pt x="500" y="474"/>
                </a:lnTo>
                <a:lnTo>
                  <a:pt x="504" y="476"/>
                </a:lnTo>
                <a:lnTo>
                  <a:pt x="512" y="480"/>
                </a:lnTo>
                <a:lnTo>
                  <a:pt x="521" y="489"/>
                </a:lnTo>
                <a:lnTo>
                  <a:pt x="527" y="497"/>
                </a:lnTo>
                <a:lnTo>
                  <a:pt x="531" y="506"/>
                </a:lnTo>
                <a:lnTo>
                  <a:pt x="533" y="516"/>
                </a:lnTo>
                <a:lnTo>
                  <a:pt x="536" y="529"/>
                </a:lnTo>
                <a:lnTo>
                  <a:pt x="533" y="538"/>
                </a:lnTo>
                <a:lnTo>
                  <a:pt x="533" y="544"/>
                </a:lnTo>
                <a:lnTo>
                  <a:pt x="531" y="550"/>
                </a:lnTo>
                <a:lnTo>
                  <a:pt x="527" y="559"/>
                </a:lnTo>
                <a:lnTo>
                  <a:pt x="525" y="565"/>
                </a:lnTo>
                <a:lnTo>
                  <a:pt x="519" y="571"/>
                </a:lnTo>
                <a:lnTo>
                  <a:pt x="508" y="582"/>
                </a:lnTo>
                <a:lnTo>
                  <a:pt x="504" y="588"/>
                </a:lnTo>
                <a:lnTo>
                  <a:pt x="497" y="593"/>
                </a:lnTo>
                <a:lnTo>
                  <a:pt x="483" y="601"/>
                </a:lnTo>
                <a:lnTo>
                  <a:pt x="476" y="603"/>
                </a:lnTo>
                <a:lnTo>
                  <a:pt x="468" y="605"/>
                </a:lnTo>
                <a:lnTo>
                  <a:pt x="453" y="607"/>
                </a:lnTo>
                <a:lnTo>
                  <a:pt x="447" y="605"/>
                </a:lnTo>
                <a:lnTo>
                  <a:pt x="445" y="603"/>
                </a:lnTo>
                <a:lnTo>
                  <a:pt x="440" y="601"/>
                </a:lnTo>
                <a:lnTo>
                  <a:pt x="440" y="599"/>
                </a:lnTo>
                <a:lnTo>
                  <a:pt x="438" y="595"/>
                </a:lnTo>
                <a:lnTo>
                  <a:pt x="436" y="588"/>
                </a:lnTo>
                <a:lnTo>
                  <a:pt x="438" y="582"/>
                </a:lnTo>
                <a:lnTo>
                  <a:pt x="438" y="580"/>
                </a:lnTo>
                <a:lnTo>
                  <a:pt x="440" y="578"/>
                </a:lnTo>
                <a:lnTo>
                  <a:pt x="453" y="574"/>
                </a:lnTo>
                <a:lnTo>
                  <a:pt x="466" y="569"/>
                </a:lnTo>
                <a:lnTo>
                  <a:pt x="476" y="565"/>
                </a:lnTo>
                <a:lnTo>
                  <a:pt x="485" y="557"/>
                </a:lnTo>
                <a:lnTo>
                  <a:pt x="493" y="550"/>
                </a:lnTo>
                <a:lnTo>
                  <a:pt x="495" y="546"/>
                </a:lnTo>
                <a:lnTo>
                  <a:pt x="500" y="542"/>
                </a:lnTo>
                <a:lnTo>
                  <a:pt x="502" y="533"/>
                </a:lnTo>
                <a:lnTo>
                  <a:pt x="504" y="525"/>
                </a:lnTo>
                <a:lnTo>
                  <a:pt x="504" y="519"/>
                </a:lnTo>
                <a:lnTo>
                  <a:pt x="502" y="514"/>
                </a:lnTo>
                <a:lnTo>
                  <a:pt x="500" y="512"/>
                </a:lnTo>
                <a:lnTo>
                  <a:pt x="497" y="508"/>
                </a:lnTo>
                <a:lnTo>
                  <a:pt x="493" y="506"/>
                </a:lnTo>
                <a:lnTo>
                  <a:pt x="489" y="504"/>
                </a:lnTo>
                <a:lnTo>
                  <a:pt x="478" y="502"/>
                </a:lnTo>
                <a:lnTo>
                  <a:pt x="468" y="504"/>
                </a:lnTo>
                <a:lnTo>
                  <a:pt x="464" y="506"/>
                </a:lnTo>
                <a:lnTo>
                  <a:pt x="457" y="508"/>
                </a:lnTo>
                <a:lnTo>
                  <a:pt x="453" y="512"/>
                </a:lnTo>
                <a:lnTo>
                  <a:pt x="447" y="516"/>
                </a:lnTo>
                <a:lnTo>
                  <a:pt x="438" y="527"/>
                </a:lnTo>
                <a:lnTo>
                  <a:pt x="434" y="533"/>
                </a:lnTo>
                <a:lnTo>
                  <a:pt x="430" y="540"/>
                </a:lnTo>
                <a:lnTo>
                  <a:pt x="423" y="555"/>
                </a:lnTo>
                <a:lnTo>
                  <a:pt x="419" y="569"/>
                </a:lnTo>
                <a:lnTo>
                  <a:pt x="419" y="578"/>
                </a:lnTo>
                <a:lnTo>
                  <a:pt x="419" y="586"/>
                </a:lnTo>
                <a:lnTo>
                  <a:pt x="419" y="601"/>
                </a:lnTo>
                <a:lnTo>
                  <a:pt x="421" y="610"/>
                </a:lnTo>
                <a:lnTo>
                  <a:pt x="423" y="616"/>
                </a:lnTo>
                <a:lnTo>
                  <a:pt x="428" y="629"/>
                </a:lnTo>
                <a:lnTo>
                  <a:pt x="434" y="637"/>
                </a:lnTo>
                <a:lnTo>
                  <a:pt x="442" y="648"/>
                </a:lnTo>
                <a:lnTo>
                  <a:pt x="447" y="650"/>
                </a:lnTo>
                <a:lnTo>
                  <a:pt x="453" y="654"/>
                </a:lnTo>
                <a:lnTo>
                  <a:pt x="464" y="656"/>
                </a:lnTo>
                <a:lnTo>
                  <a:pt x="470" y="658"/>
                </a:lnTo>
                <a:lnTo>
                  <a:pt x="476" y="658"/>
                </a:lnTo>
                <a:lnTo>
                  <a:pt x="489" y="656"/>
                </a:lnTo>
                <a:lnTo>
                  <a:pt x="502" y="654"/>
                </a:lnTo>
                <a:lnTo>
                  <a:pt x="506" y="652"/>
                </a:lnTo>
                <a:lnTo>
                  <a:pt x="512" y="648"/>
                </a:lnTo>
                <a:lnTo>
                  <a:pt x="523" y="641"/>
                </a:lnTo>
                <a:lnTo>
                  <a:pt x="531" y="631"/>
                </a:lnTo>
                <a:lnTo>
                  <a:pt x="540" y="620"/>
                </a:lnTo>
                <a:lnTo>
                  <a:pt x="548" y="610"/>
                </a:lnTo>
                <a:lnTo>
                  <a:pt x="555" y="597"/>
                </a:lnTo>
                <a:lnTo>
                  <a:pt x="561" y="582"/>
                </a:lnTo>
                <a:lnTo>
                  <a:pt x="567" y="569"/>
                </a:lnTo>
                <a:lnTo>
                  <a:pt x="572" y="555"/>
                </a:lnTo>
                <a:lnTo>
                  <a:pt x="574" y="540"/>
                </a:lnTo>
                <a:lnTo>
                  <a:pt x="576" y="525"/>
                </a:lnTo>
                <a:lnTo>
                  <a:pt x="578" y="510"/>
                </a:lnTo>
                <a:lnTo>
                  <a:pt x="578" y="497"/>
                </a:lnTo>
                <a:lnTo>
                  <a:pt x="578" y="485"/>
                </a:lnTo>
                <a:lnTo>
                  <a:pt x="580" y="483"/>
                </a:lnTo>
                <a:lnTo>
                  <a:pt x="582" y="480"/>
                </a:lnTo>
                <a:lnTo>
                  <a:pt x="586" y="478"/>
                </a:lnTo>
                <a:lnTo>
                  <a:pt x="593" y="478"/>
                </a:lnTo>
                <a:lnTo>
                  <a:pt x="599" y="478"/>
                </a:lnTo>
                <a:lnTo>
                  <a:pt x="603" y="480"/>
                </a:lnTo>
                <a:lnTo>
                  <a:pt x="608" y="483"/>
                </a:lnTo>
                <a:lnTo>
                  <a:pt x="612" y="491"/>
                </a:lnTo>
                <a:lnTo>
                  <a:pt x="612" y="497"/>
                </a:lnTo>
                <a:lnTo>
                  <a:pt x="612" y="504"/>
                </a:lnTo>
                <a:lnTo>
                  <a:pt x="612" y="523"/>
                </a:lnTo>
                <a:lnTo>
                  <a:pt x="610" y="540"/>
                </a:lnTo>
                <a:lnTo>
                  <a:pt x="605" y="559"/>
                </a:lnTo>
                <a:lnTo>
                  <a:pt x="601" y="576"/>
                </a:lnTo>
                <a:lnTo>
                  <a:pt x="595" y="593"/>
                </a:lnTo>
                <a:lnTo>
                  <a:pt x="588" y="607"/>
                </a:lnTo>
                <a:lnTo>
                  <a:pt x="582" y="622"/>
                </a:lnTo>
                <a:lnTo>
                  <a:pt x="574" y="637"/>
                </a:lnTo>
                <a:lnTo>
                  <a:pt x="563" y="650"/>
                </a:lnTo>
                <a:lnTo>
                  <a:pt x="559" y="654"/>
                </a:lnTo>
                <a:lnTo>
                  <a:pt x="552" y="660"/>
                </a:lnTo>
                <a:lnTo>
                  <a:pt x="542" y="671"/>
                </a:lnTo>
                <a:lnTo>
                  <a:pt x="529" y="679"/>
                </a:lnTo>
                <a:lnTo>
                  <a:pt x="516" y="686"/>
                </a:lnTo>
                <a:lnTo>
                  <a:pt x="504" y="690"/>
                </a:lnTo>
                <a:lnTo>
                  <a:pt x="489" y="694"/>
                </a:lnTo>
                <a:lnTo>
                  <a:pt x="476" y="694"/>
                </a:lnTo>
                <a:close/>
                <a:moveTo>
                  <a:pt x="707" y="690"/>
                </a:moveTo>
                <a:lnTo>
                  <a:pt x="701" y="688"/>
                </a:lnTo>
                <a:lnTo>
                  <a:pt x="692" y="684"/>
                </a:lnTo>
                <a:lnTo>
                  <a:pt x="675" y="667"/>
                </a:lnTo>
                <a:lnTo>
                  <a:pt x="656" y="648"/>
                </a:lnTo>
                <a:lnTo>
                  <a:pt x="637" y="629"/>
                </a:lnTo>
                <a:lnTo>
                  <a:pt x="631" y="618"/>
                </a:lnTo>
                <a:lnTo>
                  <a:pt x="624" y="612"/>
                </a:lnTo>
                <a:lnTo>
                  <a:pt x="620" y="599"/>
                </a:lnTo>
                <a:lnTo>
                  <a:pt x="618" y="595"/>
                </a:lnTo>
                <a:lnTo>
                  <a:pt x="618" y="588"/>
                </a:lnTo>
                <a:lnTo>
                  <a:pt x="618" y="582"/>
                </a:lnTo>
                <a:lnTo>
                  <a:pt x="620" y="574"/>
                </a:lnTo>
                <a:lnTo>
                  <a:pt x="624" y="567"/>
                </a:lnTo>
                <a:lnTo>
                  <a:pt x="629" y="559"/>
                </a:lnTo>
                <a:lnTo>
                  <a:pt x="641" y="544"/>
                </a:lnTo>
                <a:lnTo>
                  <a:pt x="658" y="523"/>
                </a:lnTo>
                <a:lnTo>
                  <a:pt x="701" y="474"/>
                </a:lnTo>
                <a:lnTo>
                  <a:pt x="707" y="476"/>
                </a:lnTo>
                <a:lnTo>
                  <a:pt x="713" y="478"/>
                </a:lnTo>
                <a:lnTo>
                  <a:pt x="720" y="483"/>
                </a:lnTo>
                <a:lnTo>
                  <a:pt x="722" y="487"/>
                </a:lnTo>
                <a:lnTo>
                  <a:pt x="724" y="493"/>
                </a:lnTo>
                <a:lnTo>
                  <a:pt x="722" y="500"/>
                </a:lnTo>
                <a:lnTo>
                  <a:pt x="720" y="504"/>
                </a:lnTo>
                <a:lnTo>
                  <a:pt x="718" y="508"/>
                </a:lnTo>
                <a:lnTo>
                  <a:pt x="688" y="542"/>
                </a:lnTo>
                <a:lnTo>
                  <a:pt x="671" y="561"/>
                </a:lnTo>
                <a:lnTo>
                  <a:pt x="658" y="578"/>
                </a:lnTo>
                <a:lnTo>
                  <a:pt x="656" y="582"/>
                </a:lnTo>
                <a:lnTo>
                  <a:pt x="654" y="586"/>
                </a:lnTo>
                <a:lnTo>
                  <a:pt x="656" y="591"/>
                </a:lnTo>
                <a:lnTo>
                  <a:pt x="658" y="597"/>
                </a:lnTo>
                <a:lnTo>
                  <a:pt x="669" y="610"/>
                </a:lnTo>
                <a:lnTo>
                  <a:pt x="686" y="627"/>
                </a:lnTo>
                <a:lnTo>
                  <a:pt x="705" y="648"/>
                </a:lnTo>
                <a:lnTo>
                  <a:pt x="724" y="665"/>
                </a:lnTo>
                <a:lnTo>
                  <a:pt x="726" y="667"/>
                </a:lnTo>
                <a:lnTo>
                  <a:pt x="726" y="671"/>
                </a:lnTo>
                <a:lnTo>
                  <a:pt x="726" y="673"/>
                </a:lnTo>
                <a:lnTo>
                  <a:pt x="724" y="677"/>
                </a:lnTo>
                <a:lnTo>
                  <a:pt x="720" y="684"/>
                </a:lnTo>
                <a:lnTo>
                  <a:pt x="713" y="688"/>
                </a:lnTo>
                <a:lnTo>
                  <a:pt x="709" y="690"/>
                </a:lnTo>
                <a:lnTo>
                  <a:pt x="707" y="690"/>
                </a:lnTo>
                <a:close/>
                <a:moveTo>
                  <a:pt x="476" y="1287"/>
                </a:moveTo>
                <a:lnTo>
                  <a:pt x="466" y="1285"/>
                </a:lnTo>
                <a:lnTo>
                  <a:pt x="457" y="1285"/>
                </a:lnTo>
                <a:lnTo>
                  <a:pt x="449" y="1281"/>
                </a:lnTo>
                <a:lnTo>
                  <a:pt x="440" y="1278"/>
                </a:lnTo>
                <a:lnTo>
                  <a:pt x="432" y="1274"/>
                </a:lnTo>
                <a:lnTo>
                  <a:pt x="425" y="1268"/>
                </a:lnTo>
                <a:lnTo>
                  <a:pt x="417" y="1262"/>
                </a:lnTo>
                <a:lnTo>
                  <a:pt x="411" y="1255"/>
                </a:lnTo>
                <a:lnTo>
                  <a:pt x="406" y="1247"/>
                </a:lnTo>
                <a:lnTo>
                  <a:pt x="400" y="1240"/>
                </a:lnTo>
                <a:lnTo>
                  <a:pt x="392" y="1221"/>
                </a:lnTo>
                <a:lnTo>
                  <a:pt x="389" y="1211"/>
                </a:lnTo>
                <a:lnTo>
                  <a:pt x="387" y="1202"/>
                </a:lnTo>
                <a:lnTo>
                  <a:pt x="385" y="1192"/>
                </a:lnTo>
                <a:lnTo>
                  <a:pt x="385" y="1179"/>
                </a:lnTo>
                <a:lnTo>
                  <a:pt x="385" y="1168"/>
                </a:lnTo>
                <a:lnTo>
                  <a:pt x="387" y="1158"/>
                </a:lnTo>
                <a:lnTo>
                  <a:pt x="389" y="1147"/>
                </a:lnTo>
                <a:lnTo>
                  <a:pt x="392" y="1137"/>
                </a:lnTo>
                <a:lnTo>
                  <a:pt x="396" y="1126"/>
                </a:lnTo>
                <a:lnTo>
                  <a:pt x="402" y="1115"/>
                </a:lnTo>
                <a:lnTo>
                  <a:pt x="406" y="1107"/>
                </a:lnTo>
                <a:lnTo>
                  <a:pt x="413" y="1099"/>
                </a:lnTo>
                <a:lnTo>
                  <a:pt x="419" y="1092"/>
                </a:lnTo>
                <a:lnTo>
                  <a:pt x="428" y="1084"/>
                </a:lnTo>
                <a:lnTo>
                  <a:pt x="434" y="1077"/>
                </a:lnTo>
                <a:lnTo>
                  <a:pt x="442" y="1073"/>
                </a:lnTo>
                <a:lnTo>
                  <a:pt x="453" y="1069"/>
                </a:lnTo>
                <a:lnTo>
                  <a:pt x="461" y="1067"/>
                </a:lnTo>
                <a:lnTo>
                  <a:pt x="472" y="1065"/>
                </a:lnTo>
                <a:lnTo>
                  <a:pt x="481" y="1065"/>
                </a:lnTo>
                <a:lnTo>
                  <a:pt x="493" y="1065"/>
                </a:lnTo>
                <a:lnTo>
                  <a:pt x="500" y="1067"/>
                </a:lnTo>
                <a:lnTo>
                  <a:pt x="504" y="1069"/>
                </a:lnTo>
                <a:lnTo>
                  <a:pt x="512" y="1073"/>
                </a:lnTo>
                <a:lnTo>
                  <a:pt x="521" y="1079"/>
                </a:lnTo>
                <a:lnTo>
                  <a:pt x="527" y="1088"/>
                </a:lnTo>
                <a:lnTo>
                  <a:pt x="531" y="1099"/>
                </a:lnTo>
                <a:lnTo>
                  <a:pt x="533" y="1109"/>
                </a:lnTo>
                <a:lnTo>
                  <a:pt x="536" y="1122"/>
                </a:lnTo>
                <a:lnTo>
                  <a:pt x="533" y="1128"/>
                </a:lnTo>
                <a:lnTo>
                  <a:pt x="533" y="1137"/>
                </a:lnTo>
                <a:lnTo>
                  <a:pt x="531" y="1143"/>
                </a:lnTo>
                <a:lnTo>
                  <a:pt x="527" y="1149"/>
                </a:lnTo>
                <a:lnTo>
                  <a:pt x="525" y="1158"/>
                </a:lnTo>
                <a:lnTo>
                  <a:pt x="519" y="1164"/>
                </a:lnTo>
                <a:lnTo>
                  <a:pt x="508" y="1175"/>
                </a:lnTo>
                <a:lnTo>
                  <a:pt x="504" y="1179"/>
                </a:lnTo>
                <a:lnTo>
                  <a:pt x="497" y="1185"/>
                </a:lnTo>
                <a:lnTo>
                  <a:pt x="483" y="1192"/>
                </a:lnTo>
                <a:lnTo>
                  <a:pt x="476" y="1194"/>
                </a:lnTo>
                <a:lnTo>
                  <a:pt x="468" y="1196"/>
                </a:lnTo>
                <a:lnTo>
                  <a:pt x="453" y="1198"/>
                </a:lnTo>
                <a:lnTo>
                  <a:pt x="447" y="1196"/>
                </a:lnTo>
                <a:lnTo>
                  <a:pt x="445" y="1196"/>
                </a:lnTo>
                <a:lnTo>
                  <a:pt x="440" y="1194"/>
                </a:lnTo>
                <a:lnTo>
                  <a:pt x="440" y="1190"/>
                </a:lnTo>
                <a:lnTo>
                  <a:pt x="438" y="1187"/>
                </a:lnTo>
                <a:lnTo>
                  <a:pt x="436" y="1179"/>
                </a:lnTo>
                <a:lnTo>
                  <a:pt x="438" y="1173"/>
                </a:lnTo>
                <a:lnTo>
                  <a:pt x="438" y="1170"/>
                </a:lnTo>
                <a:lnTo>
                  <a:pt x="440" y="1168"/>
                </a:lnTo>
                <a:lnTo>
                  <a:pt x="453" y="1166"/>
                </a:lnTo>
                <a:lnTo>
                  <a:pt x="466" y="1162"/>
                </a:lnTo>
                <a:lnTo>
                  <a:pt x="476" y="1156"/>
                </a:lnTo>
                <a:lnTo>
                  <a:pt x="485" y="1149"/>
                </a:lnTo>
                <a:lnTo>
                  <a:pt x="493" y="1141"/>
                </a:lnTo>
                <a:lnTo>
                  <a:pt x="495" y="1137"/>
                </a:lnTo>
                <a:lnTo>
                  <a:pt x="500" y="1132"/>
                </a:lnTo>
                <a:lnTo>
                  <a:pt x="502" y="1124"/>
                </a:lnTo>
                <a:lnTo>
                  <a:pt x="504" y="1115"/>
                </a:lnTo>
                <a:lnTo>
                  <a:pt x="504" y="1111"/>
                </a:lnTo>
                <a:lnTo>
                  <a:pt x="502" y="1107"/>
                </a:lnTo>
                <a:lnTo>
                  <a:pt x="500" y="1103"/>
                </a:lnTo>
                <a:lnTo>
                  <a:pt x="497" y="1101"/>
                </a:lnTo>
                <a:lnTo>
                  <a:pt x="493" y="1096"/>
                </a:lnTo>
                <a:lnTo>
                  <a:pt x="489" y="1094"/>
                </a:lnTo>
                <a:lnTo>
                  <a:pt x="478" y="1094"/>
                </a:lnTo>
                <a:lnTo>
                  <a:pt x="468" y="1096"/>
                </a:lnTo>
                <a:lnTo>
                  <a:pt x="464" y="1099"/>
                </a:lnTo>
                <a:lnTo>
                  <a:pt x="457" y="1101"/>
                </a:lnTo>
                <a:lnTo>
                  <a:pt x="453" y="1105"/>
                </a:lnTo>
                <a:lnTo>
                  <a:pt x="447" y="1109"/>
                </a:lnTo>
                <a:lnTo>
                  <a:pt x="438" y="1120"/>
                </a:lnTo>
                <a:lnTo>
                  <a:pt x="434" y="1124"/>
                </a:lnTo>
                <a:lnTo>
                  <a:pt x="430" y="1130"/>
                </a:lnTo>
                <a:lnTo>
                  <a:pt x="423" y="1145"/>
                </a:lnTo>
                <a:lnTo>
                  <a:pt x="419" y="1162"/>
                </a:lnTo>
                <a:lnTo>
                  <a:pt x="419" y="1170"/>
                </a:lnTo>
                <a:lnTo>
                  <a:pt x="419" y="1179"/>
                </a:lnTo>
                <a:lnTo>
                  <a:pt x="419" y="1194"/>
                </a:lnTo>
                <a:lnTo>
                  <a:pt x="421" y="1200"/>
                </a:lnTo>
                <a:lnTo>
                  <a:pt x="423" y="1206"/>
                </a:lnTo>
                <a:lnTo>
                  <a:pt x="428" y="1219"/>
                </a:lnTo>
                <a:lnTo>
                  <a:pt x="434" y="1230"/>
                </a:lnTo>
                <a:lnTo>
                  <a:pt x="442" y="1238"/>
                </a:lnTo>
                <a:lnTo>
                  <a:pt x="447" y="1242"/>
                </a:lnTo>
                <a:lnTo>
                  <a:pt x="453" y="1245"/>
                </a:lnTo>
                <a:lnTo>
                  <a:pt x="464" y="1249"/>
                </a:lnTo>
                <a:lnTo>
                  <a:pt x="470" y="1249"/>
                </a:lnTo>
                <a:lnTo>
                  <a:pt x="476" y="1251"/>
                </a:lnTo>
                <a:lnTo>
                  <a:pt x="489" y="1249"/>
                </a:lnTo>
                <a:lnTo>
                  <a:pt x="502" y="1245"/>
                </a:lnTo>
                <a:lnTo>
                  <a:pt x="506" y="1242"/>
                </a:lnTo>
                <a:lnTo>
                  <a:pt x="512" y="1240"/>
                </a:lnTo>
                <a:lnTo>
                  <a:pt x="523" y="1232"/>
                </a:lnTo>
                <a:lnTo>
                  <a:pt x="531" y="1223"/>
                </a:lnTo>
                <a:lnTo>
                  <a:pt x="540" y="1213"/>
                </a:lnTo>
                <a:lnTo>
                  <a:pt x="548" y="1200"/>
                </a:lnTo>
                <a:lnTo>
                  <a:pt x="555" y="1187"/>
                </a:lnTo>
                <a:lnTo>
                  <a:pt x="561" y="1175"/>
                </a:lnTo>
                <a:lnTo>
                  <a:pt x="567" y="1160"/>
                </a:lnTo>
                <a:lnTo>
                  <a:pt x="572" y="1145"/>
                </a:lnTo>
                <a:lnTo>
                  <a:pt x="574" y="1132"/>
                </a:lnTo>
                <a:lnTo>
                  <a:pt x="576" y="1118"/>
                </a:lnTo>
                <a:lnTo>
                  <a:pt x="578" y="1103"/>
                </a:lnTo>
                <a:lnTo>
                  <a:pt x="578" y="1090"/>
                </a:lnTo>
                <a:lnTo>
                  <a:pt x="578" y="1077"/>
                </a:lnTo>
                <a:lnTo>
                  <a:pt x="580" y="1073"/>
                </a:lnTo>
                <a:lnTo>
                  <a:pt x="582" y="1071"/>
                </a:lnTo>
                <a:lnTo>
                  <a:pt x="586" y="1069"/>
                </a:lnTo>
                <a:lnTo>
                  <a:pt x="593" y="1069"/>
                </a:lnTo>
                <a:lnTo>
                  <a:pt x="599" y="1071"/>
                </a:lnTo>
                <a:lnTo>
                  <a:pt x="603" y="1073"/>
                </a:lnTo>
                <a:lnTo>
                  <a:pt x="608" y="1075"/>
                </a:lnTo>
                <a:lnTo>
                  <a:pt x="612" y="1082"/>
                </a:lnTo>
                <a:lnTo>
                  <a:pt x="612" y="1088"/>
                </a:lnTo>
                <a:lnTo>
                  <a:pt x="612" y="1094"/>
                </a:lnTo>
                <a:lnTo>
                  <a:pt x="612" y="1113"/>
                </a:lnTo>
                <a:lnTo>
                  <a:pt x="610" y="1132"/>
                </a:lnTo>
                <a:lnTo>
                  <a:pt x="605" y="1149"/>
                </a:lnTo>
                <a:lnTo>
                  <a:pt x="601" y="1166"/>
                </a:lnTo>
                <a:lnTo>
                  <a:pt x="595" y="1183"/>
                </a:lnTo>
                <a:lnTo>
                  <a:pt x="588" y="1200"/>
                </a:lnTo>
                <a:lnTo>
                  <a:pt x="582" y="1215"/>
                </a:lnTo>
                <a:lnTo>
                  <a:pt x="574" y="1228"/>
                </a:lnTo>
                <a:lnTo>
                  <a:pt x="563" y="1240"/>
                </a:lnTo>
                <a:lnTo>
                  <a:pt x="559" y="1247"/>
                </a:lnTo>
                <a:lnTo>
                  <a:pt x="552" y="1253"/>
                </a:lnTo>
                <a:lnTo>
                  <a:pt x="542" y="1262"/>
                </a:lnTo>
                <a:lnTo>
                  <a:pt x="529" y="1270"/>
                </a:lnTo>
                <a:lnTo>
                  <a:pt x="516" y="1276"/>
                </a:lnTo>
                <a:lnTo>
                  <a:pt x="504" y="1283"/>
                </a:lnTo>
                <a:lnTo>
                  <a:pt x="489" y="1285"/>
                </a:lnTo>
                <a:lnTo>
                  <a:pt x="476" y="1287"/>
                </a:lnTo>
                <a:close/>
                <a:moveTo>
                  <a:pt x="707" y="1283"/>
                </a:moveTo>
                <a:lnTo>
                  <a:pt x="701" y="1281"/>
                </a:lnTo>
                <a:lnTo>
                  <a:pt x="692" y="1274"/>
                </a:lnTo>
                <a:lnTo>
                  <a:pt x="675" y="1259"/>
                </a:lnTo>
                <a:lnTo>
                  <a:pt x="656" y="1240"/>
                </a:lnTo>
                <a:lnTo>
                  <a:pt x="637" y="1219"/>
                </a:lnTo>
                <a:lnTo>
                  <a:pt x="631" y="1211"/>
                </a:lnTo>
                <a:lnTo>
                  <a:pt x="624" y="1204"/>
                </a:lnTo>
                <a:lnTo>
                  <a:pt x="620" y="1192"/>
                </a:lnTo>
                <a:lnTo>
                  <a:pt x="618" y="1185"/>
                </a:lnTo>
                <a:lnTo>
                  <a:pt x="618" y="1179"/>
                </a:lnTo>
                <a:lnTo>
                  <a:pt x="618" y="1173"/>
                </a:lnTo>
                <a:lnTo>
                  <a:pt x="620" y="1166"/>
                </a:lnTo>
                <a:lnTo>
                  <a:pt x="624" y="1158"/>
                </a:lnTo>
                <a:lnTo>
                  <a:pt x="629" y="1149"/>
                </a:lnTo>
                <a:lnTo>
                  <a:pt x="641" y="1135"/>
                </a:lnTo>
                <a:lnTo>
                  <a:pt x="658" y="1115"/>
                </a:lnTo>
                <a:lnTo>
                  <a:pt x="701" y="1067"/>
                </a:lnTo>
                <a:lnTo>
                  <a:pt x="707" y="1067"/>
                </a:lnTo>
                <a:lnTo>
                  <a:pt x="713" y="1069"/>
                </a:lnTo>
                <a:lnTo>
                  <a:pt x="720" y="1073"/>
                </a:lnTo>
                <a:lnTo>
                  <a:pt x="722" y="1079"/>
                </a:lnTo>
                <a:lnTo>
                  <a:pt x="724" y="1086"/>
                </a:lnTo>
                <a:lnTo>
                  <a:pt x="722" y="1092"/>
                </a:lnTo>
                <a:lnTo>
                  <a:pt x="720" y="1094"/>
                </a:lnTo>
                <a:lnTo>
                  <a:pt x="718" y="1099"/>
                </a:lnTo>
                <a:lnTo>
                  <a:pt x="688" y="1132"/>
                </a:lnTo>
                <a:lnTo>
                  <a:pt x="671" y="1154"/>
                </a:lnTo>
                <a:lnTo>
                  <a:pt x="658" y="1168"/>
                </a:lnTo>
                <a:lnTo>
                  <a:pt x="656" y="1173"/>
                </a:lnTo>
                <a:lnTo>
                  <a:pt x="654" y="1179"/>
                </a:lnTo>
                <a:lnTo>
                  <a:pt x="656" y="1183"/>
                </a:lnTo>
                <a:lnTo>
                  <a:pt x="658" y="1190"/>
                </a:lnTo>
                <a:lnTo>
                  <a:pt x="669" y="1202"/>
                </a:lnTo>
                <a:lnTo>
                  <a:pt x="686" y="1219"/>
                </a:lnTo>
                <a:lnTo>
                  <a:pt x="705" y="1238"/>
                </a:lnTo>
                <a:lnTo>
                  <a:pt x="724" y="1257"/>
                </a:lnTo>
                <a:lnTo>
                  <a:pt x="726" y="1259"/>
                </a:lnTo>
                <a:lnTo>
                  <a:pt x="726" y="1262"/>
                </a:lnTo>
                <a:lnTo>
                  <a:pt x="726" y="1266"/>
                </a:lnTo>
                <a:lnTo>
                  <a:pt x="724" y="1268"/>
                </a:lnTo>
                <a:lnTo>
                  <a:pt x="720" y="1276"/>
                </a:lnTo>
                <a:lnTo>
                  <a:pt x="713" y="1281"/>
                </a:lnTo>
                <a:lnTo>
                  <a:pt x="709" y="1283"/>
                </a:lnTo>
                <a:lnTo>
                  <a:pt x="707" y="1283"/>
                </a:lnTo>
                <a:close/>
                <a:moveTo>
                  <a:pt x="476" y="1877"/>
                </a:moveTo>
                <a:lnTo>
                  <a:pt x="466" y="1877"/>
                </a:lnTo>
                <a:lnTo>
                  <a:pt x="457" y="1875"/>
                </a:lnTo>
                <a:lnTo>
                  <a:pt x="449" y="1873"/>
                </a:lnTo>
                <a:lnTo>
                  <a:pt x="440" y="1869"/>
                </a:lnTo>
                <a:lnTo>
                  <a:pt x="432" y="1865"/>
                </a:lnTo>
                <a:lnTo>
                  <a:pt x="425" y="1861"/>
                </a:lnTo>
                <a:lnTo>
                  <a:pt x="417" y="1854"/>
                </a:lnTo>
                <a:lnTo>
                  <a:pt x="411" y="1848"/>
                </a:lnTo>
                <a:lnTo>
                  <a:pt x="406" y="1839"/>
                </a:lnTo>
                <a:lnTo>
                  <a:pt x="400" y="1831"/>
                </a:lnTo>
                <a:lnTo>
                  <a:pt x="392" y="1814"/>
                </a:lnTo>
                <a:lnTo>
                  <a:pt x="389" y="1803"/>
                </a:lnTo>
                <a:lnTo>
                  <a:pt x="387" y="1793"/>
                </a:lnTo>
                <a:lnTo>
                  <a:pt x="385" y="1782"/>
                </a:lnTo>
                <a:lnTo>
                  <a:pt x="385" y="1772"/>
                </a:lnTo>
                <a:lnTo>
                  <a:pt x="385" y="1761"/>
                </a:lnTo>
                <a:lnTo>
                  <a:pt x="387" y="1748"/>
                </a:lnTo>
                <a:lnTo>
                  <a:pt x="389" y="1738"/>
                </a:lnTo>
                <a:lnTo>
                  <a:pt x="392" y="1727"/>
                </a:lnTo>
                <a:lnTo>
                  <a:pt x="396" y="1719"/>
                </a:lnTo>
                <a:lnTo>
                  <a:pt x="402" y="1708"/>
                </a:lnTo>
                <a:lnTo>
                  <a:pt x="406" y="1700"/>
                </a:lnTo>
                <a:lnTo>
                  <a:pt x="413" y="1691"/>
                </a:lnTo>
                <a:lnTo>
                  <a:pt x="419" y="1683"/>
                </a:lnTo>
                <a:lnTo>
                  <a:pt x="428" y="1676"/>
                </a:lnTo>
                <a:lnTo>
                  <a:pt x="434" y="1670"/>
                </a:lnTo>
                <a:lnTo>
                  <a:pt x="442" y="1666"/>
                </a:lnTo>
                <a:lnTo>
                  <a:pt x="453" y="1662"/>
                </a:lnTo>
                <a:lnTo>
                  <a:pt x="461" y="1657"/>
                </a:lnTo>
                <a:lnTo>
                  <a:pt x="472" y="1655"/>
                </a:lnTo>
                <a:lnTo>
                  <a:pt x="481" y="1655"/>
                </a:lnTo>
                <a:lnTo>
                  <a:pt x="493" y="1657"/>
                </a:lnTo>
                <a:lnTo>
                  <a:pt x="500" y="1657"/>
                </a:lnTo>
                <a:lnTo>
                  <a:pt x="504" y="1659"/>
                </a:lnTo>
                <a:lnTo>
                  <a:pt x="512" y="1666"/>
                </a:lnTo>
                <a:lnTo>
                  <a:pt x="521" y="1672"/>
                </a:lnTo>
                <a:lnTo>
                  <a:pt x="527" y="1681"/>
                </a:lnTo>
                <a:lnTo>
                  <a:pt x="531" y="1689"/>
                </a:lnTo>
                <a:lnTo>
                  <a:pt x="533" y="1702"/>
                </a:lnTo>
                <a:lnTo>
                  <a:pt x="536" y="1712"/>
                </a:lnTo>
                <a:lnTo>
                  <a:pt x="533" y="1721"/>
                </a:lnTo>
                <a:lnTo>
                  <a:pt x="533" y="1727"/>
                </a:lnTo>
                <a:lnTo>
                  <a:pt x="531" y="1736"/>
                </a:lnTo>
                <a:lnTo>
                  <a:pt x="527" y="1742"/>
                </a:lnTo>
                <a:lnTo>
                  <a:pt x="525" y="1748"/>
                </a:lnTo>
                <a:lnTo>
                  <a:pt x="519" y="1755"/>
                </a:lnTo>
                <a:lnTo>
                  <a:pt x="508" y="1767"/>
                </a:lnTo>
                <a:lnTo>
                  <a:pt x="504" y="1772"/>
                </a:lnTo>
                <a:lnTo>
                  <a:pt x="497" y="1776"/>
                </a:lnTo>
                <a:lnTo>
                  <a:pt x="483" y="1784"/>
                </a:lnTo>
                <a:lnTo>
                  <a:pt x="476" y="1786"/>
                </a:lnTo>
                <a:lnTo>
                  <a:pt x="468" y="1789"/>
                </a:lnTo>
                <a:lnTo>
                  <a:pt x="453" y="1791"/>
                </a:lnTo>
                <a:lnTo>
                  <a:pt x="447" y="1789"/>
                </a:lnTo>
                <a:lnTo>
                  <a:pt x="445" y="1786"/>
                </a:lnTo>
                <a:lnTo>
                  <a:pt x="440" y="1784"/>
                </a:lnTo>
                <a:lnTo>
                  <a:pt x="440" y="1782"/>
                </a:lnTo>
                <a:lnTo>
                  <a:pt x="438" y="1778"/>
                </a:lnTo>
                <a:lnTo>
                  <a:pt x="436" y="1772"/>
                </a:lnTo>
                <a:lnTo>
                  <a:pt x="438" y="1765"/>
                </a:lnTo>
                <a:lnTo>
                  <a:pt x="438" y="1763"/>
                </a:lnTo>
                <a:lnTo>
                  <a:pt x="440" y="1761"/>
                </a:lnTo>
                <a:lnTo>
                  <a:pt x="453" y="1759"/>
                </a:lnTo>
                <a:lnTo>
                  <a:pt x="466" y="1753"/>
                </a:lnTo>
                <a:lnTo>
                  <a:pt x="476" y="1748"/>
                </a:lnTo>
                <a:lnTo>
                  <a:pt x="485" y="1740"/>
                </a:lnTo>
                <a:lnTo>
                  <a:pt x="493" y="1734"/>
                </a:lnTo>
                <a:lnTo>
                  <a:pt x="495" y="1729"/>
                </a:lnTo>
                <a:lnTo>
                  <a:pt x="500" y="1725"/>
                </a:lnTo>
                <a:lnTo>
                  <a:pt x="502" y="1717"/>
                </a:lnTo>
                <a:lnTo>
                  <a:pt x="504" y="1708"/>
                </a:lnTo>
                <a:lnTo>
                  <a:pt x="504" y="1704"/>
                </a:lnTo>
                <a:lnTo>
                  <a:pt x="502" y="1698"/>
                </a:lnTo>
                <a:lnTo>
                  <a:pt x="500" y="1695"/>
                </a:lnTo>
                <a:lnTo>
                  <a:pt x="497" y="1691"/>
                </a:lnTo>
                <a:lnTo>
                  <a:pt x="493" y="1689"/>
                </a:lnTo>
                <a:lnTo>
                  <a:pt x="489" y="1687"/>
                </a:lnTo>
                <a:lnTo>
                  <a:pt x="478" y="1685"/>
                </a:lnTo>
                <a:lnTo>
                  <a:pt x="468" y="1687"/>
                </a:lnTo>
                <a:lnTo>
                  <a:pt x="464" y="1689"/>
                </a:lnTo>
                <a:lnTo>
                  <a:pt x="457" y="1691"/>
                </a:lnTo>
                <a:lnTo>
                  <a:pt x="453" y="1695"/>
                </a:lnTo>
                <a:lnTo>
                  <a:pt x="447" y="1700"/>
                </a:lnTo>
                <a:lnTo>
                  <a:pt x="438" y="1710"/>
                </a:lnTo>
                <a:lnTo>
                  <a:pt x="434" y="1717"/>
                </a:lnTo>
                <a:lnTo>
                  <a:pt x="430" y="1723"/>
                </a:lnTo>
                <a:lnTo>
                  <a:pt x="423" y="1738"/>
                </a:lnTo>
                <a:lnTo>
                  <a:pt x="419" y="1753"/>
                </a:lnTo>
                <a:lnTo>
                  <a:pt x="419" y="1761"/>
                </a:lnTo>
                <a:lnTo>
                  <a:pt x="419" y="1770"/>
                </a:lnTo>
                <a:lnTo>
                  <a:pt x="419" y="1784"/>
                </a:lnTo>
                <a:lnTo>
                  <a:pt x="421" y="1793"/>
                </a:lnTo>
                <a:lnTo>
                  <a:pt x="423" y="1799"/>
                </a:lnTo>
                <a:lnTo>
                  <a:pt x="428" y="1812"/>
                </a:lnTo>
                <a:lnTo>
                  <a:pt x="434" y="1822"/>
                </a:lnTo>
                <a:lnTo>
                  <a:pt x="442" y="1831"/>
                </a:lnTo>
                <a:lnTo>
                  <a:pt x="447" y="1833"/>
                </a:lnTo>
                <a:lnTo>
                  <a:pt x="453" y="1837"/>
                </a:lnTo>
                <a:lnTo>
                  <a:pt x="464" y="1841"/>
                </a:lnTo>
                <a:lnTo>
                  <a:pt x="470" y="1841"/>
                </a:lnTo>
                <a:lnTo>
                  <a:pt x="476" y="1841"/>
                </a:lnTo>
                <a:lnTo>
                  <a:pt x="489" y="1841"/>
                </a:lnTo>
                <a:lnTo>
                  <a:pt x="502" y="1837"/>
                </a:lnTo>
                <a:lnTo>
                  <a:pt x="506" y="1835"/>
                </a:lnTo>
                <a:lnTo>
                  <a:pt x="512" y="1831"/>
                </a:lnTo>
                <a:lnTo>
                  <a:pt x="523" y="1825"/>
                </a:lnTo>
                <a:lnTo>
                  <a:pt x="531" y="1814"/>
                </a:lnTo>
                <a:lnTo>
                  <a:pt x="540" y="1803"/>
                </a:lnTo>
                <a:lnTo>
                  <a:pt x="548" y="1793"/>
                </a:lnTo>
                <a:lnTo>
                  <a:pt x="555" y="1780"/>
                </a:lnTo>
                <a:lnTo>
                  <a:pt x="561" y="1765"/>
                </a:lnTo>
                <a:lnTo>
                  <a:pt x="567" y="1753"/>
                </a:lnTo>
                <a:lnTo>
                  <a:pt x="572" y="1738"/>
                </a:lnTo>
                <a:lnTo>
                  <a:pt x="574" y="1723"/>
                </a:lnTo>
                <a:lnTo>
                  <a:pt x="576" y="1708"/>
                </a:lnTo>
                <a:lnTo>
                  <a:pt x="578" y="1695"/>
                </a:lnTo>
                <a:lnTo>
                  <a:pt x="578" y="1681"/>
                </a:lnTo>
                <a:lnTo>
                  <a:pt x="578" y="1668"/>
                </a:lnTo>
                <a:lnTo>
                  <a:pt x="580" y="1666"/>
                </a:lnTo>
                <a:lnTo>
                  <a:pt x="582" y="1664"/>
                </a:lnTo>
                <a:lnTo>
                  <a:pt x="586" y="1662"/>
                </a:lnTo>
                <a:lnTo>
                  <a:pt x="593" y="1662"/>
                </a:lnTo>
                <a:lnTo>
                  <a:pt x="599" y="1662"/>
                </a:lnTo>
                <a:lnTo>
                  <a:pt x="603" y="1664"/>
                </a:lnTo>
                <a:lnTo>
                  <a:pt x="608" y="1666"/>
                </a:lnTo>
                <a:lnTo>
                  <a:pt x="612" y="1674"/>
                </a:lnTo>
                <a:lnTo>
                  <a:pt x="612" y="1681"/>
                </a:lnTo>
                <a:lnTo>
                  <a:pt x="612" y="1687"/>
                </a:lnTo>
                <a:lnTo>
                  <a:pt x="612" y="1706"/>
                </a:lnTo>
                <a:lnTo>
                  <a:pt x="610" y="1723"/>
                </a:lnTo>
                <a:lnTo>
                  <a:pt x="605" y="1742"/>
                </a:lnTo>
                <a:lnTo>
                  <a:pt x="601" y="1759"/>
                </a:lnTo>
                <a:lnTo>
                  <a:pt x="595" y="1776"/>
                </a:lnTo>
                <a:lnTo>
                  <a:pt x="588" y="1791"/>
                </a:lnTo>
                <a:lnTo>
                  <a:pt x="582" y="1805"/>
                </a:lnTo>
                <a:lnTo>
                  <a:pt x="574" y="1820"/>
                </a:lnTo>
                <a:lnTo>
                  <a:pt x="563" y="1833"/>
                </a:lnTo>
                <a:lnTo>
                  <a:pt x="559" y="1839"/>
                </a:lnTo>
                <a:lnTo>
                  <a:pt x="552" y="1844"/>
                </a:lnTo>
                <a:lnTo>
                  <a:pt x="542" y="1854"/>
                </a:lnTo>
                <a:lnTo>
                  <a:pt x="529" y="1863"/>
                </a:lnTo>
                <a:lnTo>
                  <a:pt x="516" y="1869"/>
                </a:lnTo>
                <a:lnTo>
                  <a:pt x="504" y="1873"/>
                </a:lnTo>
                <a:lnTo>
                  <a:pt x="489" y="1877"/>
                </a:lnTo>
                <a:lnTo>
                  <a:pt x="476" y="1877"/>
                </a:lnTo>
                <a:close/>
                <a:moveTo>
                  <a:pt x="707" y="1873"/>
                </a:moveTo>
                <a:lnTo>
                  <a:pt x="701" y="1871"/>
                </a:lnTo>
                <a:lnTo>
                  <a:pt x="692" y="1867"/>
                </a:lnTo>
                <a:lnTo>
                  <a:pt x="675" y="1852"/>
                </a:lnTo>
                <a:lnTo>
                  <a:pt x="656" y="1831"/>
                </a:lnTo>
                <a:lnTo>
                  <a:pt x="637" y="1812"/>
                </a:lnTo>
                <a:lnTo>
                  <a:pt x="631" y="1803"/>
                </a:lnTo>
                <a:lnTo>
                  <a:pt x="624" y="1795"/>
                </a:lnTo>
                <a:lnTo>
                  <a:pt x="620" y="1784"/>
                </a:lnTo>
                <a:lnTo>
                  <a:pt x="618" y="1778"/>
                </a:lnTo>
                <a:lnTo>
                  <a:pt x="618" y="1772"/>
                </a:lnTo>
                <a:lnTo>
                  <a:pt x="618" y="1765"/>
                </a:lnTo>
                <a:lnTo>
                  <a:pt x="620" y="1757"/>
                </a:lnTo>
                <a:lnTo>
                  <a:pt x="624" y="1750"/>
                </a:lnTo>
                <a:lnTo>
                  <a:pt x="629" y="1742"/>
                </a:lnTo>
                <a:lnTo>
                  <a:pt x="641" y="1727"/>
                </a:lnTo>
                <a:lnTo>
                  <a:pt x="658" y="1706"/>
                </a:lnTo>
                <a:lnTo>
                  <a:pt x="701" y="1659"/>
                </a:lnTo>
                <a:lnTo>
                  <a:pt x="707" y="1659"/>
                </a:lnTo>
                <a:lnTo>
                  <a:pt x="713" y="1662"/>
                </a:lnTo>
                <a:lnTo>
                  <a:pt x="720" y="1666"/>
                </a:lnTo>
                <a:lnTo>
                  <a:pt x="722" y="1672"/>
                </a:lnTo>
                <a:lnTo>
                  <a:pt x="724" y="1676"/>
                </a:lnTo>
                <a:lnTo>
                  <a:pt x="722" y="1683"/>
                </a:lnTo>
                <a:lnTo>
                  <a:pt x="720" y="1687"/>
                </a:lnTo>
                <a:lnTo>
                  <a:pt x="718" y="1691"/>
                </a:lnTo>
                <a:lnTo>
                  <a:pt x="688" y="1725"/>
                </a:lnTo>
                <a:lnTo>
                  <a:pt x="671" y="1744"/>
                </a:lnTo>
                <a:lnTo>
                  <a:pt x="658" y="1761"/>
                </a:lnTo>
                <a:lnTo>
                  <a:pt x="656" y="1765"/>
                </a:lnTo>
                <a:lnTo>
                  <a:pt x="654" y="1770"/>
                </a:lnTo>
                <a:lnTo>
                  <a:pt x="656" y="1776"/>
                </a:lnTo>
                <a:lnTo>
                  <a:pt x="658" y="1780"/>
                </a:lnTo>
                <a:lnTo>
                  <a:pt x="669" y="1793"/>
                </a:lnTo>
                <a:lnTo>
                  <a:pt x="686" y="1810"/>
                </a:lnTo>
                <a:lnTo>
                  <a:pt x="705" y="1831"/>
                </a:lnTo>
                <a:lnTo>
                  <a:pt x="724" y="1848"/>
                </a:lnTo>
                <a:lnTo>
                  <a:pt x="726" y="1850"/>
                </a:lnTo>
                <a:lnTo>
                  <a:pt x="726" y="1854"/>
                </a:lnTo>
                <a:lnTo>
                  <a:pt x="726" y="1856"/>
                </a:lnTo>
                <a:lnTo>
                  <a:pt x="724" y="1861"/>
                </a:lnTo>
                <a:lnTo>
                  <a:pt x="720" y="1867"/>
                </a:lnTo>
                <a:lnTo>
                  <a:pt x="713" y="1873"/>
                </a:lnTo>
                <a:lnTo>
                  <a:pt x="709" y="1873"/>
                </a:lnTo>
                <a:lnTo>
                  <a:pt x="707" y="1873"/>
                </a:lnTo>
                <a:close/>
                <a:moveTo>
                  <a:pt x="2756" y="694"/>
                </a:moveTo>
                <a:lnTo>
                  <a:pt x="2748" y="694"/>
                </a:lnTo>
                <a:lnTo>
                  <a:pt x="2739" y="692"/>
                </a:lnTo>
                <a:lnTo>
                  <a:pt x="2729" y="690"/>
                </a:lnTo>
                <a:lnTo>
                  <a:pt x="2720" y="686"/>
                </a:lnTo>
                <a:lnTo>
                  <a:pt x="2714" y="682"/>
                </a:lnTo>
                <a:lnTo>
                  <a:pt x="2705" y="677"/>
                </a:lnTo>
                <a:lnTo>
                  <a:pt x="2699" y="671"/>
                </a:lnTo>
                <a:lnTo>
                  <a:pt x="2693" y="663"/>
                </a:lnTo>
                <a:lnTo>
                  <a:pt x="2686" y="656"/>
                </a:lnTo>
                <a:lnTo>
                  <a:pt x="2682" y="648"/>
                </a:lnTo>
                <a:lnTo>
                  <a:pt x="2673" y="631"/>
                </a:lnTo>
                <a:lnTo>
                  <a:pt x="2669" y="620"/>
                </a:lnTo>
                <a:lnTo>
                  <a:pt x="2667" y="610"/>
                </a:lnTo>
                <a:lnTo>
                  <a:pt x="2667" y="599"/>
                </a:lnTo>
                <a:lnTo>
                  <a:pt x="2665" y="588"/>
                </a:lnTo>
                <a:lnTo>
                  <a:pt x="2667" y="578"/>
                </a:lnTo>
                <a:lnTo>
                  <a:pt x="2667" y="565"/>
                </a:lnTo>
                <a:lnTo>
                  <a:pt x="2669" y="555"/>
                </a:lnTo>
                <a:lnTo>
                  <a:pt x="2673" y="544"/>
                </a:lnTo>
                <a:lnTo>
                  <a:pt x="2678" y="533"/>
                </a:lnTo>
                <a:lnTo>
                  <a:pt x="2682" y="525"/>
                </a:lnTo>
                <a:lnTo>
                  <a:pt x="2688" y="516"/>
                </a:lnTo>
                <a:lnTo>
                  <a:pt x="2695" y="508"/>
                </a:lnTo>
                <a:lnTo>
                  <a:pt x="2701" y="500"/>
                </a:lnTo>
                <a:lnTo>
                  <a:pt x="2707" y="493"/>
                </a:lnTo>
                <a:lnTo>
                  <a:pt x="2716" y="487"/>
                </a:lnTo>
                <a:lnTo>
                  <a:pt x="2724" y="483"/>
                </a:lnTo>
                <a:lnTo>
                  <a:pt x="2733" y="478"/>
                </a:lnTo>
                <a:lnTo>
                  <a:pt x="2743" y="474"/>
                </a:lnTo>
                <a:lnTo>
                  <a:pt x="2752" y="472"/>
                </a:lnTo>
                <a:lnTo>
                  <a:pt x="2762" y="472"/>
                </a:lnTo>
                <a:lnTo>
                  <a:pt x="2775" y="474"/>
                </a:lnTo>
                <a:lnTo>
                  <a:pt x="2779" y="474"/>
                </a:lnTo>
                <a:lnTo>
                  <a:pt x="2786" y="476"/>
                </a:lnTo>
                <a:lnTo>
                  <a:pt x="2794" y="480"/>
                </a:lnTo>
                <a:lnTo>
                  <a:pt x="2803" y="489"/>
                </a:lnTo>
                <a:lnTo>
                  <a:pt x="2807" y="497"/>
                </a:lnTo>
                <a:lnTo>
                  <a:pt x="2813" y="506"/>
                </a:lnTo>
                <a:lnTo>
                  <a:pt x="2815" y="516"/>
                </a:lnTo>
                <a:lnTo>
                  <a:pt x="2815" y="529"/>
                </a:lnTo>
                <a:lnTo>
                  <a:pt x="2815" y="538"/>
                </a:lnTo>
                <a:lnTo>
                  <a:pt x="2813" y="544"/>
                </a:lnTo>
                <a:lnTo>
                  <a:pt x="2811" y="550"/>
                </a:lnTo>
                <a:lnTo>
                  <a:pt x="2809" y="559"/>
                </a:lnTo>
                <a:lnTo>
                  <a:pt x="2805" y="565"/>
                </a:lnTo>
                <a:lnTo>
                  <a:pt x="2801" y="571"/>
                </a:lnTo>
                <a:lnTo>
                  <a:pt x="2790" y="582"/>
                </a:lnTo>
                <a:lnTo>
                  <a:pt x="2784" y="588"/>
                </a:lnTo>
                <a:lnTo>
                  <a:pt x="2777" y="593"/>
                </a:lnTo>
                <a:lnTo>
                  <a:pt x="2765" y="601"/>
                </a:lnTo>
                <a:lnTo>
                  <a:pt x="2756" y="603"/>
                </a:lnTo>
                <a:lnTo>
                  <a:pt x="2750" y="605"/>
                </a:lnTo>
                <a:lnTo>
                  <a:pt x="2733" y="607"/>
                </a:lnTo>
                <a:lnTo>
                  <a:pt x="2726" y="605"/>
                </a:lnTo>
                <a:lnTo>
                  <a:pt x="2724" y="603"/>
                </a:lnTo>
                <a:lnTo>
                  <a:pt x="2722" y="601"/>
                </a:lnTo>
                <a:lnTo>
                  <a:pt x="2720" y="599"/>
                </a:lnTo>
                <a:lnTo>
                  <a:pt x="2718" y="595"/>
                </a:lnTo>
                <a:lnTo>
                  <a:pt x="2718" y="588"/>
                </a:lnTo>
                <a:lnTo>
                  <a:pt x="2718" y="582"/>
                </a:lnTo>
                <a:lnTo>
                  <a:pt x="2720" y="580"/>
                </a:lnTo>
                <a:lnTo>
                  <a:pt x="2722" y="578"/>
                </a:lnTo>
                <a:lnTo>
                  <a:pt x="2735" y="574"/>
                </a:lnTo>
                <a:lnTo>
                  <a:pt x="2748" y="569"/>
                </a:lnTo>
                <a:lnTo>
                  <a:pt x="2758" y="565"/>
                </a:lnTo>
                <a:lnTo>
                  <a:pt x="2767" y="557"/>
                </a:lnTo>
                <a:lnTo>
                  <a:pt x="2773" y="550"/>
                </a:lnTo>
                <a:lnTo>
                  <a:pt x="2777" y="546"/>
                </a:lnTo>
                <a:lnTo>
                  <a:pt x="2779" y="542"/>
                </a:lnTo>
                <a:lnTo>
                  <a:pt x="2784" y="533"/>
                </a:lnTo>
                <a:lnTo>
                  <a:pt x="2784" y="525"/>
                </a:lnTo>
                <a:lnTo>
                  <a:pt x="2784" y="519"/>
                </a:lnTo>
                <a:lnTo>
                  <a:pt x="2781" y="514"/>
                </a:lnTo>
                <a:lnTo>
                  <a:pt x="2781" y="512"/>
                </a:lnTo>
                <a:lnTo>
                  <a:pt x="2777" y="508"/>
                </a:lnTo>
                <a:lnTo>
                  <a:pt x="2775" y="506"/>
                </a:lnTo>
                <a:lnTo>
                  <a:pt x="2771" y="504"/>
                </a:lnTo>
                <a:lnTo>
                  <a:pt x="2760" y="502"/>
                </a:lnTo>
                <a:lnTo>
                  <a:pt x="2750" y="504"/>
                </a:lnTo>
                <a:lnTo>
                  <a:pt x="2743" y="506"/>
                </a:lnTo>
                <a:lnTo>
                  <a:pt x="2739" y="508"/>
                </a:lnTo>
                <a:lnTo>
                  <a:pt x="2733" y="512"/>
                </a:lnTo>
                <a:lnTo>
                  <a:pt x="2729" y="516"/>
                </a:lnTo>
                <a:lnTo>
                  <a:pt x="2718" y="527"/>
                </a:lnTo>
                <a:lnTo>
                  <a:pt x="2716" y="533"/>
                </a:lnTo>
                <a:lnTo>
                  <a:pt x="2712" y="540"/>
                </a:lnTo>
                <a:lnTo>
                  <a:pt x="2705" y="555"/>
                </a:lnTo>
                <a:lnTo>
                  <a:pt x="2701" y="569"/>
                </a:lnTo>
                <a:lnTo>
                  <a:pt x="2699" y="578"/>
                </a:lnTo>
                <a:lnTo>
                  <a:pt x="2699" y="586"/>
                </a:lnTo>
                <a:lnTo>
                  <a:pt x="2701" y="601"/>
                </a:lnTo>
                <a:lnTo>
                  <a:pt x="2701" y="610"/>
                </a:lnTo>
                <a:lnTo>
                  <a:pt x="2703" y="616"/>
                </a:lnTo>
                <a:lnTo>
                  <a:pt x="2709" y="629"/>
                </a:lnTo>
                <a:lnTo>
                  <a:pt x="2716" y="637"/>
                </a:lnTo>
                <a:lnTo>
                  <a:pt x="2724" y="648"/>
                </a:lnTo>
                <a:lnTo>
                  <a:pt x="2729" y="650"/>
                </a:lnTo>
                <a:lnTo>
                  <a:pt x="2733" y="654"/>
                </a:lnTo>
                <a:lnTo>
                  <a:pt x="2745" y="656"/>
                </a:lnTo>
                <a:lnTo>
                  <a:pt x="2752" y="658"/>
                </a:lnTo>
                <a:lnTo>
                  <a:pt x="2758" y="658"/>
                </a:lnTo>
                <a:lnTo>
                  <a:pt x="2771" y="656"/>
                </a:lnTo>
                <a:lnTo>
                  <a:pt x="2781" y="654"/>
                </a:lnTo>
                <a:lnTo>
                  <a:pt x="2788" y="652"/>
                </a:lnTo>
                <a:lnTo>
                  <a:pt x="2792" y="648"/>
                </a:lnTo>
                <a:lnTo>
                  <a:pt x="2803" y="641"/>
                </a:lnTo>
                <a:lnTo>
                  <a:pt x="2813" y="631"/>
                </a:lnTo>
                <a:lnTo>
                  <a:pt x="2822" y="620"/>
                </a:lnTo>
                <a:lnTo>
                  <a:pt x="2828" y="610"/>
                </a:lnTo>
                <a:lnTo>
                  <a:pt x="2836" y="597"/>
                </a:lnTo>
                <a:lnTo>
                  <a:pt x="2843" y="582"/>
                </a:lnTo>
                <a:lnTo>
                  <a:pt x="2847" y="569"/>
                </a:lnTo>
                <a:lnTo>
                  <a:pt x="2851" y="555"/>
                </a:lnTo>
                <a:lnTo>
                  <a:pt x="2856" y="540"/>
                </a:lnTo>
                <a:lnTo>
                  <a:pt x="2858" y="525"/>
                </a:lnTo>
                <a:lnTo>
                  <a:pt x="2860" y="510"/>
                </a:lnTo>
                <a:lnTo>
                  <a:pt x="2860" y="497"/>
                </a:lnTo>
                <a:lnTo>
                  <a:pt x="2860" y="485"/>
                </a:lnTo>
                <a:lnTo>
                  <a:pt x="2862" y="483"/>
                </a:lnTo>
                <a:lnTo>
                  <a:pt x="2864" y="480"/>
                </a:lnTo>
                <a:lnTo>
                  <a:pt x="2868" y="478"/>
                </a:lnTo>
                <a:lnTo>
                  <a:pt x="2872" y="478"/>
                </a:lnTo>
                <a:lnTo>
                  <a:pt x="2881" y="478"/>
                </a:lnTo>
                <a:lnTo>
                  <a:pt x="2885" y="480"/>
                </a:lnTo>
                <a:lnTo>
                  <a:pt x="2887" y="483"/>
                </a:lnTo>
                <a:lnTo>
                  <a:pt x="2892" y="491"/>
                </a:lnTo>
                <a:lnTo>
                  <a:pt x="2894" y="497"/>
                </a:lnTo>
                <a:lnTo>
                  <a:pt x="2894" y="504"/>
                </a:lnTo>
                <a:lnTo>
                  <a:pt x="2892" y="523"/>
                </a:lnTo>
                <a:lnTo>
                  <a:pt x="2889" y="540"/>
                </a:lnTo>
                <a:lnTo>
                  <a:pt x="2887" y="559"/>
                </a:lnTo>
                <a:lnTo>
                  <a:pt x="2883" y="576"/>
                </a:lnTo>
                <a:lnTo>
                  <a:pt x="2877" y="593"/>
                </a:lnTo>
                <a:lnTo>
                  <a:pt x="2870" y="607"/>
                </a:lnTo>
                <a:lnTo>
                  <a:pt x="2862" y="622"/>
                </a:lnTo>
                <a:lnTo>
                  <a:pt x="2853" y="637"/>
                </a:lnTo>
                <a:lnTo>
                  <a:pt x="2845" y="650"/>
                </a:lnTo>
                <a:lnTo>
                  <a:pt x="2839" y="654"/>
                </a:lnTo>
                <a:lnTo>
                  <a:pt x="2834" y="660"/>
                </a:lnTo>
                <a:lnTo>
                  <a:pt x="2824" y="671"/>
                </a:lnTo>
                <a:lnTo>
                  <a:pt x="2811" y="679"/>
                </a:lnTo>
                <a:lnTo>
                  <a:pt x="2798" y="686"/>
                </a:lnTo>
                <a:lnTo>
                  <a:pt x="2786" y="690"/>
                </a:lnTo>
                <a:lnTo>
                  <a:pt x="2771" y="694"/>
                </a:lnTo>
                <a:lnTo>
                  <a:pt x="2756" y="694"/>
                </a:lnTo>
                <a:close/>
                <a:moveTo>
                  <a:pt x="2987" y="690"/>
                </a:moveTo>
                <a:lnTo>
                  <a:pt x="2980" y="688"/>
                </a:lnTo>
                <a:lnTo>
                  <a:pt x="2972" y="684"/>
                </a:lnTo>
                <a:lnTo>
                  <a:pt x="2957" y="667"/>
                </a:lnTo>
                <a:lnTo>
                  <a:pt x="2936" y="648"/>
                </a:lnTo>
                <a:lnTo>
                  <a:pt x="2919" y="629"/>
                </a:lnTo>
                <a:lnTo>
                  <a:pt x="2911" y="618"/>
                </a:lnTo>
                <a:lnTo>
                  <a:pt x="2906" y="612"/>
                </a:lnTo>
                <a:lnTo>
                  <a:pt x="2900" y="599"/>
                </a:lnTo>
                <a:lnTo>
                  <a:pt x="2900" y="595"/>
                </a:lnTo>
                <a:lnTo>
                  <a:pt x="2900" y="588"/>
                </a:lnTo>
                <a:lnTo>
                  <a:pt x="2900" y="582"/>
                </a:lnTo>
                <a:lnTo>
                  <a:pt x="2902" y="574"/>
                </a:lnTo>
                <a:lnTo>
                  <a:pt x="2904" y="567"/>
                </a:lnTo>
                <a:lnTo>
                  <a:pt x="2911" y="559"/>
                </a:lnTo>
                <a:lnTo>
                  <a:pt x="2921" y="544"/>
                </a:lnTo>
                <a:lnTo>
                  <a:pt x="2940" y="523"/>
                </a:lnTo>
                <a:lnTo>
                  <a:pt x="2983" y="474"/>
                </a:lnTo>
                <a:lnTo>
                  <a:pt x="2989" y="476"/>
                </a:lnTo>
                <a:lnTo>
                  <a:pt x="2995" y="478"/>
                </a:lnTo>
                <a:lnTo>
                  <a:pt x="2999" y="483"/>
                </a:lnTo>
                <a:lnTo>
                  <a:pt x="3004" y="487"/>
                </a:lnTo>
                <a:lnTo>
                  <a:pt x="3004" y="493"/>
                </a:lnTo>
                <a:lnTo>
                  <a:pt x="3004" y="500"/>
                </a:lnTo>
                <a:lnTo>
                  <a:pt x="3002" y="504"/>
                </a:lnTo>
                <a:lnTo>
                  <a:pt x="2999" y="508"/>
                </a:lnTo>
                <a:lnTo>
                  <a:pt x="2970" y="542"/>
                </a:lnTo>
                <a:lnTo>
                  <a:pt x="2951" y="561"/>
                </a:lnTo>
                <a:lnTo>
                  <a:pt x="2938" y="578"/>
                </a:lnTo>
                <a:lnTo>
                  <a:pt x="2936" y="582"/>
                </a:lnTo>
                <a:lnTo>
                  <a:pt x="2936" y="586"/>
                </a:lnTo>
                <a:lnTo>
                  <a:pt x="2936" y="591"/>
                </a:lnTo>
                <a:lnTo>
                  <a:pt x="2940" y="597"/>
                </a:lnTo>
                <a:lnTo>
                  <a:pt x="2951" y="610"/>
                </a:lnTo>
                <a:lnTo>
                  <a:pt x="2968" y="627"/>
                </a:lnTo>
                <a:lnTo>
                  <a:pt x="2987" y="648"/>
                </a:lnTo>
                <a:lnTo>
                  <a:pt x="3006" y="665"/>
                </a:lnTo>
                <a:lnTo>
                  <a:pt x="3008" y="667"/>
                </a:lnTo>
                <a:lnTo>
                  <a:pt x="3008" y="671"/>
                </a:lnTo>
                <a:lnTo>
                  <a:pt x="3008" y="673"/>
                </a:lnTo>
                <a:lnTo>
                  <a:pt x="3006" y="677"/>
                </a:lnTo>
                <a:lnTo>
                  <a:pt x="3002" y="684"/>
                </a:lnTo>
                <a:lnTo>
                  <a:pt x="2993" y="688"/>
                </a:lnTo>
                <a:lnTo>
                  <a:pt x="2991" y="690"/>
                </a:lnTo>
                <a:lnTo>
                  <a:pt x="2987" y="690"/>
                </a:lnTo>
                <a:close/>
                <a:moveTo>
                  <a:pt x="2756" y="1287"/>
                </a:moveTo>
                <a:lnTo>
                  <a:pt x="2748" y="1285"/>
                </a:lnTo>
                <a:lnTo>
                  <a:pt x="2739" y="1285"/>
                </a:lnTo>
                <a:lnTo>
                  <a:pt x="2729" y="1281"/>
                </a:lnTo>
                <a:lnTo>
                  <a:pt x="2720" y="1278"/>
                </a:lnTo>
                <a:lnTo>
                  <a:pt x="2714" y="1274"/>
                </a:lnTo>
                <a:lnTo>
                  <a:pt x="2705" y="1268"/>
                </a:lnTo>
                <a:lnTo>
                  <a:pt x="2699" y="1262"/>
                </a:lnTo>
                <a:lnTo>
                  <a:pt x="2693" y="1255"/>
                </a:lnTo>
                <a:lnTo>
                  <a:pt x="2686" y="1247"/>
                </a:lnTo>
                <a:lnTo>
                  <a:pt x="2682" y="1240"/>
                </a:lnTo>
                <a:lnTo>
                  <a:pt x="2673" y="1221"/>
                </a:lnTo>
                <a:lnTo>
                  <a:pt x="2669" y="1211"/>
                </a:lnTo>
                <a:lnTo>
                  <a:pt x="2667" y="1202"/>
                </a:lnTo>
                <a:lnTo>
                  <a:pt x="2667" y="1192"/>
                </a:lnTo>
                <a:lnTo>
                  <a:pt x="2665" y="1179"/>
                </a:lnTo>
                <a:lnTo>
                  <a:pt x="2667" y="1168"/>
                </a:lnTo>
                <a:lnTo>
                  <a:pt x="2667" y="1158"/>
                </a:lnTo>
                <a:lnTo>
                  <a:pt x="2669" y="1147"/>
                </a:lnTo>
                <a:lnTo>
                  <a:pt x="2673" y="1137"/>
                </a:lnTo>
                <a:lnTo>
                  <a:pt x="2678" y="1126"/>
                </a:lnTo>
                <a:lnTo>
                  <a:pt x="2682" y="1115"/>
                </a:lnTo>
                <a:lnTo>
                  <a:pt x="2688" y="1107"/>
                </a:lnTo>
                <a:lnTo>
                  <a:pt x="2695" y="1099"/>
                </a:lnTo>
                <a:lnTo>
                  <a:pt x="2701" y="1092"/>
                </a:lnTo>
                <a:lnTo>
                  <a:pt x="2707" y="1084"/>
                </a:lnTo>
                <a:lnTo>
                  <a:pt x="2716" y="1077"/>
                </a:lnTo>
                <a:lnTo>
                  <a:pt x="2724" y="1073"/>
                </a:lnTo>
                <a:lnTo>
                  <a:pt x="2733" y="1069"/>
                </a:lnTo>
                <a:lnTo>
                  <a:pt x="2743" y="1067"/>
                </a:lnTo>
                <a:lnTo>
                  <a:pt x="2752" y="1065"/>
                </a:lnTo>
                <a:lnTo>
                  <a:pt x="2762" y="1065"/>
                </a:lnTo>
                <a:lnTo>
                  <a:pt x="2775" y="1065"/>
                </a:lnTo>
                <a:lnTo>
                  <a:pt x="2779" y="1067"/>
                </a:lnTo>
                <a:lnTo>
                  <a:pt x="2786" y="1069"/>
                </a:lnTo>
                <a:lnTo>
                  <a:pt x="2794" y="1073"/>
                </a:lnTo>
                <a:lnTo>
                  <a:pt x="2803" y="1079"/>
                </a:lnTo>
                <a:lnTo>
                  <a:pt x="2807" y="1088"/>
                </a:lnTo>
                <a:lnTo>
                  <a:pt x="2813" y="1099"/>
                </a:lnTo>
                <a:lnTo>
                  <a:pt x="2815" y="1109"/>
                </a:lnTo>
                <a:lnTo>
                  <a:pt x="2815" y="1122"/>
                </a:lnTo>
                <a:lnTo>
                  <a:pt x="2815" y="1128"/>
                </a:lnTo>
                <a:lnTo>
                  <a:pt x="2813" y="1137"/>
                </a:lnTo>
                <a:lnTo>
                  <a:pt x="2811" y="1143"/>
                </a:lnTo>
                <a:lnTo>
                  <a:pt x="2809" y="1149"/>
                </a:lnTo>
                <a:lnTo>
                  <a:pt x="2805" y="1158"/>
                </a:lnTo>
                <a:lnTo>
                  <a:pt x="2801" y="1164"/>
                </a:lnTo>
                <a:lnTo>
                  <a:pt x="2790" y="1175"/>
                </a:lnTo>
                <a:lnTo>
                  <a:pt x="2784" y="1179"/>
                </a:lnTo>
                <a:lnTo>
                  <a:pt x="2777" y="1185"/>
                </a:lnTo>
                <a:lnTo>
                  <a:pt x="2765" y="1192"/>
                </a:lnTo>
                <a:lnTo>
                  <a:pt x="2756" y="1194"/>
                </a:lnTo>
                <a:lnTo>
                  <a:pt x="2750" y="1196"/>
                </a:lnTo>
                <a:lnTo>
                  <a:pt x="2733" y="1198"/>
                </a:lnTo>
                <a:lnTo>
                  <a:pt x="2726" y="1196"/>
                </a:lnTo>
                <a:lnTo>
                  <a:pt x="2724" y="1196"/>
                </a:lnTo>
                <a:lnTo>
                  <a:pt x="2722" y="1194"/>
                </a:lnTo>
                <a:lnTo>
                  <a:pt x="2720" y="1190"/>
                </a:lnTo>
                <a:lnTo>
                  <a:pt x="2718" y="1187"/>
                </a:lnTo>
                <a:lnTo>
                  <a:pt x="2718" y="1179"/>
                </a:lnTo>
                <a:lnTo>
                  <a:pt x="2718" y="1173"/>
                </a:lnTo>
                <a:lnTo>
                  <a:pt x="2720" y="1170"/>
                </a:lnTo>
                <a:lnTo>
                  <a:pt x="2722" y="1168"/>
                </a:lnTo>
                <a:lnTo>
                  <a:pt x="2735" y="1166"/>
                </a:lnTo>
                <a:lnTo>
                  <a:pt x="2748" y="1162"/>
                </a:lnTo>
                <a:lnTo>
                  <a:pt x="2758" y="1156"/>
                </a:lnTo>
                <a:lnTo>
                  <a:pt x="2767" y="1149"/>
                </a:lnTo>
                <a:lnTo>
                  <a:pt x="2773" y="1141"/>
                </a:lnTo>
                <a:lnTo>
                  <a:pt x="2777" y="1137"/>
                </a:lnTo>
                <a:lnTo>
                  <a:pt x="2779" y="1132"/>
                </a:lnTo>
                <a:lnTo>
                  <a:pt x="2784" y="1124"/>
                </a:lnTo>
                <a:lnTo>
                  <a:pt x="2784" y="1115"/>
                </a:lnTo>
                <a:lnTo>
                  <a:pt x="2784" y="1111"/>
                </a:lnTo>
                <a:lnTo>
                  <a:pt x="2781" y="1107"/>
                </a:lnTo>
                <a:lnTo>
                  <a:pt x="2781" y="1103"/>
                </a:lnTo>
                <a:lnTo>
                  <a:pt x="2777" y="1101"/>
                </a:lnTo>
                <a:lnTo>
                  <a:pt x="2775" y="1096"/>
                </a:lnTo>
                <a:lnTo>
                  <a:pt x="2771" y="1094"/>
                </a:lnTo>
                <a:lnTo>
                  <a:pt x="2760" y="1094"/>
                </a:lnTo>
                <a:lnTo>
                  <a:pt x="2750" y="1096"/>
                </a:lnTo>
                <a:lnTo>
                  <a:pt x="2743" y="1099"/>
                </a:lnTo>
                <a:lnTo>
                  <a:pt x="2739" y="1101"/>
                </a:lnTo>
                <a:lnTo>
                  <a:pt x="2733" y="1105"/>
                </a:lnTo>
                <a:lnTo>
                  <a:pt x="2729" y="1109"/>
                </a:lnTo>
                <a:lnTo>
                  <a:pt x="2718" y="1120"/>
                </a:lnTo>
                <a:lnTo>
                  <a:pt x="2716" y="1124"/>
                </a:lnTo>
                <a:lnTo>
                  <a:pt x="2712" y="1130"/>
                </a:lnTo>
                <a:lnTo>
                  <a:pt x="2705" y="1145"/>
                </a:lnTo>
                <a:lnTo>
                  <a:pt x="2701" y="1162"/>
                </a:lnTo>
                <a:lnTo>
                  <a:pt x="2699" y="1170"/>
                </a:lnTo>
                <a:lnTo>
                  <a:pt x="2699" y="1179"/>
                </a:lnTo>
                <a:lnTo>
                  <a:pt x="2701" y="1194"/>
                </a:lnTo>
                <a:lnTo>
                  <a:pt x="2701" y="1200"/>
                </a:lnTo>
                <a:lnTo>
                  <a:pt x="2703" y="1206"/>
                </a:lnTo>
                <a:lnTo>
                  <a:pt x="2709" y="1219"/>
                </a:lnTo>
                <a:lnTo>
                  <a:pt x="2716" y="1230"/>
                </a:lnTo>
                <a:lnTo>
                  <a:pt x="2724" y="1238"/>
                </a:lnTo>
                <a:lnTo>
                  <a:pt x="2729" y="1242"/>
                </a:lnTo>
                <a:lnTo>
                  <a:pt x="2733" y="1245"/>
                </a:lnTo>
                <a:lnTo>
                  <a:pt x="2745" y="1249"/>
                </a:lnTo>
                <a:lnTo>
                  <a:pt x="2752" y="1249"/>
                </a:lnTo>
                <a:lnTo>
                  <a:pt x="2758" y="1251"/>
                </a:lnTo>
                <a:lnTo>
                  <a:pt x="2771" y="1249"/>
                </a:lnTo>
                <a:lnTo>
                  <a:pt x="2781" y="1245"/>
                </a:lnTo>
                <a:lnTo>
                  <a:pt x="2788" y="1242"/>
                </a:lnTo>
                <a:lnTo>
                  <a:pt x="2792" y="1240"/>
                </a:lnTo>
                <a:lnTo>
                  <a:pt x="2803" y="1232"/>
                </a:lnTo>
                <a:lnTo>
                  <a:pt x="2813" y="1223"/>
                </a:lnTo>
                <a:lnTo>
                  <a:pt x="2822" y="1213"/>
                </a:lnTo>
                <a:lnTo>
                  <a:pt x="2828" y="1200"/>
                </a:lnTo>
                <a:lnTo>
                  <a:pt x="2836" y="1187"/>
                </a:lnTo>
                <a:lnTo>
                  <a:pt x="2843" y="1175"/>
                </a:lnTo>
                <a:lnTo>
                  <a:pt x="2847" y="1160"/>
                </a:lnTo>
                <a:lnTo>
                  <a:pt x="2851" y="1145"/>
                </a:lnTo>
                <a:lnTo>
                  <a:pt x="2856" y="1132"/>
                </a:lnTo>
                <a:lnTo>
                  <a:pt x="2858" y="1118"/>
                </a:lnTo>
                <a:lnTo>
                  <a:pt x="2860" y="1103"/>
                </a:lnTo>
                <a:lnTo>
                  <a:pt x="2860" y="1090"/>
                </a:lnTo>
                <a:lnTo>
                  <a:pt x="2860" y="1077"/>
                </a:lnTo>
                <a:lnTo>
                  <a:pt x="2862" y="1073"/>
                </a:lnTo>
                <a:lnTo>
                  <a:pt x="2864" y="1071"/>
                </a:lnTo>
                <a:lnTo>
                  <a:pt x="2868" y="1069"/>
                </a:lnTo>
                <a:lnTo>
                  <a:pt x="2872" y="1069"/>
                </a:lnTo>
                <a:lnTo>
                  <a:pt x="2881" y="1071"/>
                </a:lnTo>
                <a:lnTo>
                  <a:pt x="2885" y="1073"/>
                </a:lnTo>
                <a:lnTo>
                  <a:pt x="2887" y="1075"/>
                </a:lnTo>
                <a:lnTo>
                  <a:pt x="2892" y="1082"/>
                </a:lnTo>
                <a:lnTo>
                  <a:pt x="2894" y="1088"/>
                </a:lnTo>
                <a:lnTo>
                  <a:pt x="2894" y="1094"/>
                </a:lnTo>
                <a:lnTo>
                  <a:pt x="2892" y="1113"/>
                </a:lnTo>
                <a:lnTo>
                  <a:pt x="2889" y="1132"/>
                </a:lnTo>
                <a:lnTo>
                  <a:pt x="2887" y="1149"/>
                </a:lnTo>
                <a:lnTo>
                  <a:pt x="2883" y="1166"/>
                </a:lnTo>
                <a:lnTo>
                  <a:pt x="2877" y="1183"/>
                </a:lnTo>
                <a:lnTo>
                  <a:pt x="2870" y="1200"/>
                </a:lnTo>
                <a:lnTo>
                  <a:pt x="2862" y="1215"/>
                </a:lnTo>
                <a:lnTo>
                  <a:pt x="2853" y="1228"/>
                </a:lnTo>
                <a:lnTo>
                  <a:pt x="2845" y="1240"/>
                </a:lnTo>
                <a:lnTo>
                  <a:pt x="2839" y="1247"/>
                </a:lnTo>
                <a:lnTo>
                  <a:pt x="2834" y="1253"/>
                </a:lnTo>
                <a:lnTo>
                  <a:pt x="2824" y="1262"/>
                </a:lnTo>
                <a:lnTo>
                  <a:pt x="2811" y="1270"/>
                </a:lnTo>
                <a:lnTo>
                  <a:pt x="2798" y="1276"/>
                </a:lnTo>
                <a:lnTo>
                  <a:pt x="2786" y="1283"/>
                </a:lnTo>
                <a:lnTo>
                  <a:pt x="2771" y="1285"/>
                </a:lnTo>
                <a:lnTo>
                  <a:pt x="2756" y="1287"/>
                </a:lnTo>
                <a:close/>
                <a:moveTo>
                  <a:pt x="2987" y="1283"/>
                </a:moveTo>
                <a:lnTo>
                  <a:pt x="2980" y="1281"/>
                </a:lnTo>
                <a:lnTo>
                  <a:pt x="2972" y="1274"/>
                </a:lnTo>
                <a:lnTo>
                  <a:pt x="2957" y="1259"/>
                </a:lnTo>
                <a:lnTo>
                  <a:pt x="2936" y="1240"/>
                </a:lnTo>
                <a:lnTo>
                  <a:pt x="2919" y="1219"/>
                </a:lnTo>
                <a:lnTo>
                  <a:pt x="2911" y="1211"/>
                </a:lnTo>
                <a:lnTo>
                  <a:pt x="2906" y="1204"/>
                </a:lnTo>
                <a:lnTo>
                  <a:pt x="2900" y="1192"/>
                </a:lnTo>
                <a:lnTo>
                  <a:pt x="2900" y="1185"/>
                </a:lnTo>
                <a:lnTo>
                  <a:pt x="2900" y="1179"/>
                </a:lnTo>
                <a:lnTo>
                  <a:pt x="2900" y="1173"/>
                </a:lnTo>
                <a:lnTo>
                  <a:pt x="2902" y="1166"/>
                </a:lnTo>
                <a:lnTo>
                  <a:pt x="2904" y="1158"/>
                </a:lnTo>
                <a:lnTo>
                  <a:pt x="2911" y="1149"/>
                </a:lnTo>
                <a:lnTo>
                  <a:pt x="2921" y="1135"/>
                </a:lnTo>
                <a:lnTo>
                  <a:pt x="2940" y="1115"/>
                </a:lnTo>
                <a:lnTo>
                  <a:pt x="2983" y="1067"/>
                </a:lnTo>
                <a:lnTo>
                  <a:pt x="2989" y="1067"/>
                </a:lnTo>
                <a:lnTo>
                  <a:pt x="2995" y="1069"/>
                </a:lnTo>
                <a:lnTo>
                  <a:pt x="2999" y="1073"/>
                </a:lnTo>
                <a:lnTo>
                  <a:pt x="3004" y="1079"/>
                </a:lnTo>
                <a:lnTo>
                  <a:pt x="3004" y="1086"/>
                </a:lnTo>
                <a:lnTo>
                  <a:pt x="3004" y="1092"/>
                </a:lnTo>
                <a:lnTo>
                  <a:pt x="3002" y="1094"/>
                </a:lnTo>
                <a:lnTo>
                  <a:pt x="2999" y="1099"/>
                </a:lnTo>
                <a:lnTo>
                  <a:pt x="2970" y="1132"/>
                </a:lnTo>
                <a:lnTo>
                  <a:pt x="2951" y="1154"/>
                </a:lnTo>
                <a:lnTo>
                  <a:pt x="2938" y="1168"/>
                </a:lnTo>
                <a:lnTo>
                  <a:pt x="2936" y="1173"/>
                </a:lnTo>
                <a:lnTo>
                  <a:pt x="2936" y="1179"/>
                </a:lnTo>
                <a:lnTo>
                  <a:pt x="2936" y="1183"/>
                </a:lnTo>
                <a:lnTo>
                  <a:pt x="2940" y="1190"/>
                </a:lnTo>
                <a:lnTo>
                  <a:pt x="2951" y="1202"/>
                </a:lnTo>
                <a:lnTo>
                  <a:pt x="2968" y="1219"/>
                </a:lnTo>
                <a:lnTo>
                  <a:pt x="2987" y="1238"/>
                </a:lnTo>
                <a:lnTo>
                  <a:pt x="3006" y="1257"/>
                </a:lnTo>
                <a:lnTo>
                  <a:pt x="3008" y="1259"/>
                </a:lnTo>
                <a:lnTo>
                  <a:pt x="3008" y="1262"/>
                </a:lnTo>
                <a:lnTo>
                  <a:pt x="3008" y="1266"/>
                </a:lnTo>
                <a:lnTo>
                  <a:pt x="3006" y="1268"/>
                </a:lnTo>
                <a:lnTo>
                  <a:pt x="3002" y="1276"/>
                </a:lnTo>
                <a:lnTo>
                  <a:pt x="2993" y="1281"/>
                </a:lnTo>
                <a:lnTo>
                  <a:pt x="2991" y="1283"/>
                </a:lnTo>
                <a:lnTo>
                  <a:pt x="2987" y="1283"/>
                </a:lnTo>
                <a:close/>
                <a:moveTo>
                  <a:pt x="2756" y="1877"/>
                </a:moveTo>
                <a:lnTo>
                  <a:pt x="2748" y="1877"/>
                </a:lnTo>
                <a:lnTo>
                  <a:pt x="2739" y="1875"/>
                </a:lnTo>
                <a:lnTo>
                  <a:pt x="2729" y="1873"/>
                </a:lnTo>
                <a:lnTo>
                  <a:pt x="2720" y="1869"/>
                </a:lnTo>
                <a:lnTo>
                  <a:pt x="2714" y="1865"/>
                </a:lnTo>
                <a:lnTo>
                  <a:pt x="2705" y="1861"/>
                </a:lnTo>
                <a:lnTo>
                  <a:pt x="2699" y="1854"/>
                </a:lnTo>
                <a:lnTo>
                  <a:pt x="2693" y="1848"/>
                </a:lnTo>
                <a:lnTo>
                  <a:pt x="2686" y="1839"/>
                </a:lnTo>
                <a:lnTo>
                  <a:pt x="2682" y="1831"/>
                </a:lnTo>
                <a:lnTo>
                  <a:pt x="2673" y="1814"/>
                </a:lnTo>
                <a:lnTo>
                  <a:pt x="2669" y="1803"/>
                </a:lnTo>
                <a:lnTo>
                  <a:pt x="2667" y="1793"/>
                </a:lnTo>
                <a:lnTo>
                  <a:pt x="2667" y="1782"/>
                </a:lnTo>
                <a:lnTo>
                  <a:pt x="2665" y="1772"/>
                </a:lnTo>
                <a:lnTo>
                  <a:pt x="2667" y="1761"/>
                </a:lnTo>
                <a:lnTo>
                  <a:pt x="2667" y="1748"/>
                </a:lnTo>
                <a:lnTo>
                  <a:pt x="2669" y="1738"/>
                </a:lnTo>
                <a:lnTo>
                  <a:pt x="2673" y="1727"/>
                </a:lnTo>
                <a:lnTo>
                  <a:pt x="2678" y="1719"/>
                </a:lnTo>
                <a:lnTo>
                  <a:pt x="2682" y="1708"/>
                </a:lnTo>
                <a:lnTo>
                  <a:pt x="2688" y="1700"/>
                </a:lnTo>
                <a:lnTo>
                  <a:pt x="2695" y="1691"/>
                </a:lnTo>
                <a:lnTo>
                  <a:pt x="2701" y="1683"/>
                </a:lnTo>
                <a:lnTo>
                  <a:pt x="2707" y="1676"/>
                </a:lnTo>
                <a:lnTo>
                  <a:pt x="2716" y="1670"/>
                </a:lnTo>
                <a:lnTo>
                  <a:pt x="2724" y="1666"/>
                </a:lnTo>
                <a:lnTo>
                  <a:pt x="2733" y="1662"/>
                </a:lnTo>
                <a:lnTo>
                  <a:pt x="2743" y="1657"/>
                </a:lnTo>
                <a:lnTo>
                  <a:pt x="2752" y="1655"/>
                </a:lnTo>
                <a:lnTo>
                  <a:pt x="2762" y="1655"/>
                </a:lnTo>
                <a:lnTo>
                  <a:pt x="2775" y="1657"/>
                </a:lnTo>
                <a:lnTo>
                  <a:pt x="2779" y="1657"/>
                </a:lnTo>
                <a:lnTo>
                  <a:pt x="2786" y="1659"/>
                </a:lnTo>
                <a:lnTo>
                  <a:pt x="2794" y="1666"/>
                </a:lnTo>
                <a:lnTo>
                  <a:pt x="2803" y="1672"/>
                </a:lnTo>
                <a:lnTo>
                  <a:pt x="2807" y="1681"/>
                </a:lnTo>
                <a:lnTo>
                  <a:pt x="2813" y="1689"/>
                </a:lnTo>
                <a:lnTo>
                  <a:pt x="2815" y="1702"/>
                </a:lnTo>
                <a:lnTo>
                  <a:pt x="2815" y="1712"/>
                </a:lnTo>
                <a:lnTo>
                  <a:pt x="2815" y="1721"/>
                </a:lnTo>
                <a:lnTo>
                  <a:pt x="2813" y="1727"/>
                </a:lnTo>
                <a:lnTo>
                  <a:pt x="2811" y="1736"/>
                </a:lnTo>
                <a:lnTo>
                  <a:pt x="2809" y="1742"/>
                </a:lnTo>
                <a:lnTo>
                  <a:pt x="2805" y="1748"/>
                </a:lnTo>
                <a:lnTo>
                  <a:pt x="2801" y="1755"/>
                </a:lnTo>
                <a:lnTo>
                  <a:pt x="2790" y="1767"/>
                </a:lnTo>
                <a:lnTo>
                  <a:pt x="2784" y="1772"/>
                </a:lnTo>
                <a:lnTo>
                  <a:pt x="2777" y="1776"/>
                </a:lnTo>
                <a:lnTo>
                  <a:pt x="2765" y="1784"/>
                </a:lnTo>
                <a:lnTo>
                  <a:pt x="2756" y="1786"/>
                </a:lnTo>
                <a:lnTo>
                  <a:pt x="2750" y="1789"/>
                </a:lnTo>
                <a:lnTo>
                  <a:pt x="2733" y="1791"/>
                </a:lnTo>
                <a:lnTo>
                  <a:pt x="2726" y="1789"/>
                </a:lnTo>
                <a:lnTo>
                  <a:pt x="2724" y="1786"/>
                </a:lnTo>
                <a:lnTo>
                  <a:pt x="2722" y="1784"/>
                </a:lnTo>
                <a:lnTo>
                  <a:pt x="2720" y="1782"/>
                </a:lnTo>
                <a:lnTo>
                  <a:pt x="2718" y="1778"/>
                </a:lnTo>
                <a:lnTo>
                  <a:pt x="2718" y="1772"/>
                </a:lnTo>
                <a:lnTo>
                  <a:pt x="2718" y="1765"/>
                </a:lnTo>
                <a:lnTo>
                  <a:pt x="2720" y="1763"/>
                </a:lnTo>
                <a:lnTo>
                  <a:pt x="2722" y="1761"/>
                </a:lnTo>
                <a:lnTo>
                  <a:pt x="2735" y="1759"/>
                </a:lnTo>
                <a:lnTo>
                  <a:pt x="2748" y="1753"/>
                </a:lnTo>
                <a:lnTo>
                  <a:pt x="2758" y="1748"/>
                </a:lnTo>
                <a:lnTo>
                  <a:pt x="2767" y="1740"/>
                </a:lnTo>
                <a:lnTo>
                  <a:pt x="2773" y="1734"/>
                </a:lnTo>
                <a:lnTo>
                  <a:pt x="2777" y="1729"/>
                </a:lnTo>
                <a:lnTo>
                  <a:pt x="2779" y="1725"/>
                </a:lnTo>
                <a:lnTo>
                  <a:pt x="2784" y="1717"/>
                </a:lnTo>
                <a:lnTo>
                  <a:pt x="2784" y="1708"/>
                </a:lnTo>
                <a:lnTo>
                  <a:pt x="2784" y="1704"/>
                </a:lnTo>
                <a:lnTo>
                  <a:pt x="2781" y="1698"/>
                </a:lnTo>
                <a:lnTo>
                  <a:pt x="2781" y="1695"/>
                </a:lnTo>
                <a:lnTo>
                  <a:pt x="2777" y="1691"/>
                </a:lnTo>
                <a:lnTo>
                  <a:pt x="2775" y="1689"/>
                </a:lnTo>
                <a:lnTo>
                  <a:pt x="2771" y="1687"/>
                </a:lnTo>
                <a:lnTo>
                  <a:pt x="2760" y="1685"/>
                </a:lnTo>
                <a:lnTo>
                  <a:pt x="2750" y="1687"/>
                </a:lnTo>
                <a:lnTo>
                  <a:pt x="2743" y="1689"/>
                </a:lnTo>
                <a:lnTo>
                  <a:pt x="2739" y="1691"/>
                </a:lnTo>
                <a:lnTo>
                  <a:pt x="2733" y="1695"/>
                </a:lnTo>
                <a:lnTo>
                  <a:pt x="2729" y="1700"/>
                </a:lnTo>
                <a:lnTo>
                  <a:pt x="2718" y="1710"/>
                </a:lnTo>
                <a:lnTo>
                  <a:pt x="2716" y="1717"/>
                </a:lnTo>
                <a:lnTo>
                  <a:pt x="2712" y="1723"/>
                </a:lnTo>
                <a:lnTo>
                  <a:pt x="2705" y="1738"/>
                </a:lnTo>
                <a:lnTo>
                  <a:pt x="2701" y="1753"/>
                </a:lnTo>
                <a:lnTo>
                  <a:pt x="2699" y="1761"/>
                </a:lnTo>
                <a:lnTo>
                  <a:pt x="2699" y="1770"/>
                </a:lnTo>
                <a:lnTo>
                  <a:pt x="2701" y="1784"/>
                </a:lnTo>
                <a:lnTo>
                  <a:pt x="2701" y="1793"/>
                </a:lnTo>
                <a:lnTo>
                  <a:pt x="2703" y="1799"/>
                </a:lnTo>
                <a:lnTo>
                  <a:pt x="2709" y="1812"/>
                </a:lnTo>
                <a:lnTo>
                  <a:pt x="2716" y="1822"/>
                </a:lnTo>
                <a:lnTo>
                  <a:pt x="2724" y="1831"/>
                </a:lnTo>
                <a:lnTo>
                  <a:pt x="2729" y="1833"/>
                </a:lnTo>
                <a:lnTo>
                  <a:pt x="2733" y="1837"/>
                </a:lnTo>
                <a:lnTo>
                  <a:pt x="2745" y="1841"/>
                </a:lnTo>
                <a:lnTo>
                  <a:pt x="2752" y="1841"/>
                </a:lnTo>
                <a:lnTo>
                  <a:pt x="2758" y="1841"/>
                </a:lnTo>
                <a:lnTo>
                  <a:pt x="2771" y="1841"/>
                </a:lnTo>
                <a:lnTo>
                  <a:pt x="2781" y="1837"/>
                </a:lnTo>
                <a:lnTo>
                  <a:pt x="2788" y="1835"/>
                </a:lnTo>
                <a:lnTo>
                  <a:pt x="2792" y="1831"/>
                </a:lnTo>
                <a:lnTo>
                  <a:pt x="2803" y="1825"/>
                </a:lnTo>
                <a:lnTo>
                  <a:pt x="2813" y="1814"/>
                </a:lnTo>
                <a:lnTo>
                  <a:pt x="2822" y="1803"/>
                </a:lnTo>
                <a:lnTo>
                  <a:pt x="2828" y="1793"/>
                </a:lnTo>
                <a:lnTo>
                  <a:pt x="2836" y="1780"/>
                </a:lnTo>
                <a:lnTo>
                  <a:pt x="2843" y="1765"/>
                </a:lnTo>
                <a:lnTo>
                  <a:pt x="2847" y="1753"/>
                </a:lnTo>
                <a:lnTo>
                  <a:pt x="2851" y="1738"/>
                </a:lnTo>
                <a:lnTo>
                  <a:pt x="2856" y="1723"/>
                </a:lnTo>
                <a:lnTo>
                  <a:pt x="2858" y="1708"/>
                </a:lnTo>
                <a:lnTo>
                  <a:pt x="2860" y="1695"/>
                </a:lnTo>
                <a:lnTo>
                  <a:pt x="2860" y="1681"/>
                </a:lnTo>
                <a:lnTo>
                  <a:pt x="2860" y="1668"/>
                </a:lnTo>
                <a:lnTo>
                  <a:pt x="2862" y="1666"/>
                </a:lnTo>
                <a:lnTo>
                  <a:pt x="2864" y="1664"/>
                </a:lnTo>
                <a:lnTo>
                  <a:pt x="2868" y="1662"/>
                </a:lnTo>
                <a:lnTo>
                  <a:pt x="2872" y="1662"/>
                </a:lnTo>
                <a:lnTo>
                  <a:pt x="2881" y="1662"/>
                </a:lnTo>
                <a:lnTo>
                  <a:pt x="2885" y="1664"/>
                </a:lnTo>
                <a:lnTo>
                  <a:pt x="2887" y="1666"/>
                </a:lnTo>
                <a:lnTo>
                  <a:pt x="2892" y="1674"/>
                </a:lnTo>
                <a:lnTo>
                  <a:pt x="2894" y="1681"/>
                </a:lnTo>
                <a:lnTo>
                  <a:pt x="2894" y="1687"/>
                </a:lnTo>
                <a:lnTo>
                  <a:pt x="2892" y="1706"/>
                </a:lnTo>
                <a:lnTo>
                  <a:pt x="2889" y="1723"/>
                </a:lnTo>
                <a:lnTo>
                  <a:pt x="2887" y="1742"/>
                </a:lnTo>
                <a:lnTo>
                  <a:pt x="2883" y="1759"/>
                </a:lnTo>
                <a:lnTo>
                  <a:pt x="2877" y="1776"/>
                </a:lnTo>
                <a:lnTo>
                  <a:pt x="2870" y="1791"/>
                </a:lnTo>
                <a:lnTo>
                  <a:pt x="2862" y="1805"/>
                </a:lnTo>
                <a:lnTo>
                  <a:pt x="2853" y="1820"/>
                </a:lnTo>
                <a:lnTo>
                  <a:pt x="2845" y="1833"/>
                </a:lnTo>
                <a:lnTo>
                  <a:pt x="2839" y="1839"/>
                </a:lnTo>
                <a:lnTo>
                  <a:pt x="2834" y="1844"/>
                </a:lnTo>
                <a:lnTo>
                  <a:pt x="2824" y="1854"/>
                </a:lnTo>
                <a:lnTo>
                  <a:pt x="2811" y="1863"/>
                </a:lnTo>
                <a:lnTo>
                  <a:pt x="2798" y="1869"/>
                </a:lnTo>
                <a:lnTo>
                  <a:pt x="2786" y="1873"/>
                </a:lnTo>
                <a:lnTo>
                  <a:pt x="2771" y="1877"/>
                </a:lnTo>
                <a:lnTo>
                  <a:pt x="2756" y="1877"/>
                </a:lnTo>
                <a:close/>
                <a:moveTo>
                  <a:pt x="2987" y="1873"/>
                </a:moveTo>
                <a:lnTo>
                  <a:pt x="2980" y="1871"/>
                </a:lnTo>
                <a:lnTo>
                  <a:pt x="2972" y="1867"/>
                </a:lnTo>
                <a:lnTo>
                  <a:pt x="2957" y="1852"/>
                </a:lnTo>
                <a:lnTo>
                  <a:pt x="2936" y="1831"/>
                </a:lnTo>
                <a:lnTo>
                  <a:pt x="2919" y="1812"/>
                </a:lnTo>
                <a:lnTo>
                  <a:pt x="2911" y="1803"/>
                </a:lnTo>
                <a:lnTo>
                  <a:pt x="2906" y="1795"/>
                </a:lnTo>
                <a:lnTo>
                  <a:pt x="2900" y="1784"/>
                </a:lnTo>
                <a:lnTo>
                  <a:pt x="2900" y="1778"/>
                </a:lnTo>
                <a:lnTo>
                  <a:pt x="2900" y="1772"/>
                </a:lnTo>
                <a:lnTo>
                  <a:pt x="2900" y="1765"/>
                </a:lnTo>
                <a:lnTo>
                  <a:pt x="2902" y="1757"/>
                </a:lnTo>
                <a:lnTo>
                  <a:pt x="2904" y="1750"/>
                </a:lnTo>
                <a:lnTo>
                  <a:pt x="2911" y="1742"/>
                </a:lnTo>
                <a:lnTo>
                  <a:pt x="2921" y="1727"/>
                </a:lnTo>
                <a:lnTo>
                  <a:pt x="2940" y="1706"/>
                </a:lnTo>
                <a:lnTo>
                  <a:pt x="2983" y="1659"/>
                </a:lnTo>
                <a:lnTo>
                  <a:pt x="2989" y="1659"/>
                </a:lnTo>
                <a:lnTo>
                  <a:pt x="2995" y="1662"/>
                </a:lnTo>
                <a:lnTo>
                  <a:pt x="2999" y="1666"/>
                </a:lnTo>
                <a:lnTo>
                  <a:pt x="3004" y="1672"/>
                </a:lnTo>
                <a:lnTo>
                  <a:pt x="3004" y="1676"/>
                </a:lnTo>
                <a:lnTo>
                  <a:pt x="3004" y="1683"/>
                </a:lnTo>
                <a:lnTo>
                  <a:pt x="3002" y="1687"/>
                </a:lnTo>
                <a:lnTo>
                  <a:pt x="2999" y="1691"/>
                </a:lnTo>
                <a:lnTo>
                  <a:pt x="2970" y="1725"/>
                </a:lnTo>
                <a:lnTo>
                  <a:pt x="2951" y="1744"/>
                </a:lnTo>
                <a:lnTo>
                  <a:pt x="2938" y="1761"/>
                </a:lnTo>
                <a:lnTo>
                  <a:pt x="2936" y="1765"/>
                </a:lnTo>
                <a:lnTo>
                  <a:pt x="2936" y="1770"/>
                </a:lnTo>
                <a:lnTo>
                  <a:pt x="2936" y="1776"/>
                </a:lnTo>
                <a:lnTo>
                  <a:pt x="2940" y="1780"/>
                </a:lnTo>
                <a:lnTo>
                  <a:pt x="2951" y="1793"/>
                </a:lnTo>
                <a:lnTo>
                  <a:pt x="2968" y="1810"/>
                </a:lnTo>
                <a:lnTo>
                  <a:pt x="2987" y="1831"/>
                </a:lnTo>
                <a:lnTo>
                  <a:pt x="3006" y="1848"/>
                </a:lnTo>
                <a:lnTo>
                  <a:pt x="3008" y="1850"/>
                </a:lnTo>
                <a:lnTo>
                  <a:pt x="3008" y="1854"/>
                </a:lnTo>
                <a:lnTo>
                  <a:pt x="3008" y="1856"/>
                </a:lnTo>
                <a:lnTo>
                  <a:pt x="3006" y="1861"/>
                </a:lnTo>
                <a:lnTo>
                  <a:pt x="3002" y="1867"/>
                </a:lnTo>
                <a:lnTo>
                  <a:pt x="2993" y="1873"/>
                </a:lnTo>
                <a:lnTo>
                  <a:pt x="2991" y="1873"/>
                </a:lnTo>
                <a:lnTo>
                  <a:pt x="2987" y="1873"/>
                </a:lnTo>
                <a:close/>
                <a:moveTo>
                  <a:pt x="97" y="654"/>
                </a:moveTo>
                <a:lnTo>
                  <a:pt x="89" y="603"/>
                </a:lnTo>
                <a:lnTo>
                  <a:pt x="95" y="588"/>
                </a:lnTo>
                <a:lnTo>
                  <a:pt x="102" y="574"/>
                </a:lnTo>
                <a:lnTo>
                  <a:pt x="106" y="559"/>
                </a:lnTo>
                <a:lnTo>
                  <a:pt x="110" y="544"/>
                </a:lnTo>
                <a:lnTo>
                  <a:pt x="114" y="512"/>
                </a:lnTo>
                <a:lnTo>
                  <a:pt x="116" y="497"/>
                </a:lnTo>
                <a:lnTo>
                  <a:pt x="116" y="485"/>
                </a:lnTo>
                <a:lnTo>
                  <a:pt x="116" y="483"/>
                </a:lnTo>
                <a:lnTo>
                  <a:pt x="121" y="480"/>
                </a:lnTo>
                <a:lnTo>
                  <a:pt x="125" y="478"/>
                </a:lnTo>
                <a:lnTo>
                  <a:pt x="129" y="478"/>
                </a:lnTo>
                <a:lnTo>
                  <a:pt x="138" y="478"/>
                </a:lnTo>
                <a:lnTo>
                  <a:pt x="140" y="480"/>
                </a:lnTo>
                <a:lnTo>
                  <a:pt x="144" y="483"/>
                </a:lnTo>
                <a:lnTo>
                  <a:pt x="148" y="491"/>
                </a:lnTo>
                <a:lnTo>
                  <a:pt x="148" y="497"/>
                </a:lnTo>
                <a:lnTo>
                  <a:pt x="150" y="504"/>
                </a:lnTo>
                <a:lnTo>
                  <a:pt x="148" y="525"/>
                </a:lnTo>
                <a:lnTo>
                  <a:pt x="146" y="546"/>
                </a:lnTo>
                <a:lnTo>
                  <a:pt x="142" y="567"/>
                </a:lnTo>
                <a:lnTo>
                  <a:pt x="135" y="588"/>
                </a:lnTo>
                <a:lnTo>
                  <a:pt x="127" y="605"/>
                </a:lnTo>
                <a:lnTo>
                  <a:pt x="119" y="624"/>
                </a:lnTo>
                <a:lnTo>
                  <a:pt x="108" y="639"/>
                </a:lnTo>
                <a:lnTo>
                  <a:pt x="102" y="648"/>
                </a:lnTo>
                <a:lnTo>
                  <a:pt x="97" y="654"/>
                </a:lnTo>
                <a:close/>
                <a:moveTo>
                  <a:pt x="243" y="690"/>
                </a:moveTo>
                <a:lnTo>
                  <a:pt x="237" y="688"/>
                </a:lnTo>
                <a:lnTo>
                  <a:pt x="229" y="684"/>
                </a:lnTo>
                <a:lnTo>
                  <a:pt x="212" y="667"/>
                </a:lnTo>
                <a:lnTo>
                  <a:pt x="193" y="648"/>
                </a:lnTo>
                <a:lnTo>
                  <a:pt x="174" y="629"/>
                </a:lnTo>
                <a:lnTo>
                  <a:pt x="167" y="618"/>
                </a:lnTo>
                <a:lnTo>
                  <a:pt x="163" y="612"/>
                </a:lnTo>
                <a:lnTo>
                  <a:pt x="157" y="599"/>
                </a:lnTo>
                <a:lnTo>
                  <a:pt x="157" y="595"/>
                </a:lnTo>
                <a:lnTo>
                  <a:pt x="155" y="588"/>
                </a:lnTo>
                <a:lnTo>
                  <a:pt x="157" y="582"/>
                </a:lnTo>
                <a:lnTo>
                  <a:pt x="159" y="574"/>
                </a:lnTo>
                <a:lnTo>
                  <a:pt x="161" y="567"/>
                </a:lnTo>
                <a:lnTo>
                  <a:pt x="167" y="559"/>
                </a:lnTo>
                <a:lnTo>
                  <a:pt x="178" y="544"/>
                </a:lnTo>
                <a:lnTo>
                  <a:pt x="197" y="523"/>
                </a:lnTo>
                <a:lnTo>
                  <a:pt x="239" y="474"/>
                </a:lnTo>
                <a:lnTo>
                  <a:pt x="246" y="476"/>
                </a:lnTo>
                <a:lnTo>
                  <a:pt x="250" y="478"/>
                </a:lnTo>
                <a:lnTo>
                  <a:pt x="256" y="483"/>
                </a:lnTo>
                <a:lnTo>
                  <a:pt x="260" y="487"/>
                </a:lnTo>
                <a:lnTo>
                  <a:pt x="260" y="493"/>
                </a:lnTo>
                <a:lnTo>
                  <a:pt x="260" y="500"/>
                </a:lnTo>
                <a:lnTo>
                  <a:pt x="258" y="504"/>
                </a:lnTo>
                <a:lnTo>
                  <a:pt x="256" y="508"/>
                </a:lnTo>
                <a:lnTo>
                  <a:pt x="226" y="542"/>
                </a:lnTo>
                <a:lnTo>
                  <a:pt x="207" y="561"/>
                </a:lnTo>
                <a:lnTo>
                  <a:pt x="195" y="578"/>
                </a:lnTo>
                <a:lnTo>
                  <a:pt x="193" y="582"/>
                </a:lnTo>
                <a:lnTo>
                  <a:pt x="193" y="586"/>
                </a:lnTo>
                <a:lnTo>
                  <a:pt x="193" y="591"/>
                </a:lnTo>
                <a:lnTo>
                  <a:pt x="197" y="597"/>
                </a:lnTo>
                <a:lnTo>
                  <a:pt x="207" y="610"/>
                </a:lnTo>
                <a:lnTo>
                  <a:pt x="222" y="627"/>
                </a:lnTo>
                <a:lnTo>
                  <a:pt x="243" y="648"/>
                </a:lnTo>
                <a:lnTo>
                  <a:pt x="260" y="665"/>
                </a:lnTo>
                <a:lnTo>
                  <a:pt x="262" y="667"/>
                </a:lnTo>
                <a:lnTo>
                  <a:pt x="265" y="671"/>
                </a:lnTo>
                <a:lnTo>
                  <a:pt x="262" y="673"/>
                </a:lnTo>
                <a:lnTo>
                  <a:pt x="262" y="677"/>
                </a:lnTo>
                <a:lnTo>
                  <a:pt x="256" y="684"/>
                </a:lnTo>
                <a:lnTo>
                  <a:pt x="250" y="688"/>
                </a:lnTo>
                <a:lnTo>
                  <a:pt x="248" y="690"/>
                </a:lnTo>
                <a:lnTo>
                  <a:pt x="243" y="690"/>
                </a:lnTo>
                <a:close/>
                <a:moveTo>
                  <a:pt x="243" y="1283"/>
                </a:moveTo>
                <a:lnTo>
                  <a:pt x="237" y="1281"/>
                </a:lnTo>
                <a:lnTo>
                  <a:pt x="229" y="1274"/>
                </a:lnTo>
                <a:lnTo>
                  <a:pt x="207" y="1255"/>
                </a:lnTo>
                <a:lnTo>
                  <a:pt x="182" y="1228"/>
                </a:lnTo>
                <a:lnTo>
                  <a:pt x="178" y="1200"/>
                </a:lnTo>
                <a:lnTo>
                  <a:pt x="169" y="1145"/>
                </a:lnTo>
                <a:lnTo>
                  <a:pt x="182" y="1130"/>
                </a:lnTo>
                <a:lnTo>
                  <a:pt x="199" y="1111"/>
                </a:lnTo>
                <a:lnTo>
                  <a:pt x="239" y="1067"/>
                </a:lnTo>
                <a:lnTo>
                  <a:pt x="246" y="1067"/>
                </a:lnTo>
                <a:lnTo>
                  <a:pt x="250" y="1069"/>
                </a:lnTo>
                <a:lnTo>
                  <a:pt x="256" y="1073"/>
                </a:lnTo>
                <a:lnTo>
                  <a:pt x="260" y="1079"/>
                </a:lnTo>
                <a:lnTo>
                  <a:pt x="260" y="1086"/>
                </a:lnTo>
                <a:lnTo>
                  <a:pt x="260" y="1092"/>
                </a:lnTo>
                <a:lnTo>
                  <a:pt x="258" y="1094"/>
                </a:lnTo>
                <a:lnTo>
                  <a:pt x="256" y="1099"/>
                </a:lnTo>
                <a:lnTo>
                  <a:pt x="226" y="1132"/>
                </a:lnTo>
                <a:lnTo>
                  <a:pt x="207" y="1154"/>
                </a:lnTo>
                <a:lnTo>
                  <a:pt x="195" y="1168"/>
                </a:lnTo>
                <a:lnTo>
                  <a:pt x="193" y="1173"/>
                </a:lnTo>
                <a:lnTo>
                  <a:pt x="193" y="1179"/>
                </a:lnTo>
                <a:lnTo>
                  <a:pt x="193" y="1183"/>
                </a:lnTo>
                <a:lnTo>
                  <a:pt x="197" y="1190"/>
                </a:lnTo>
                <a:lnTo>
                  <a:pt x="207" y="1202"/>
                </a:lnTo>
                <a:lnTo>
                  <a:pt x="222" y="1219"/>
                </a:lnTo>
                <a:lnTo>
                  <a:pt x="243" y="1238"/>
                </a:lnTo>
                <a:lnTo>
                  <a:pt x="260" y="1257"/>
                </a:lnTo>
                <a:lnTo>
                  <a:pt x="262" y="1259"/>
                </a:lnTo>
                <a:lnTo>
                  <a:pt x="265" y="1262"/>
                </a:lnTo>
                <a:lnTo>
                  <a:pt x="262" y="1266"/>
                </a:lnTo>
                <a:lnTo>
                  <a:pt x="262" y="1268"/>
                </a:lnTo>
                <a:lnTo>
                  <a:pt x="256" y="1276"/>
                </a:lnTo>
                <a:lnTo>
                  <a:pt x="250" y="1281"/>
                </a:lnTo>
                <a:lnTo>
                  <a:pt x="248" y="1283"/>
                </a:lnTo>
                <a:lnTo>
                  <a:pt x="243" y="1283"/>
                </a:lnTo>
                <a:close/>
                <a:moveTo>
                  <a:pt x="250" y="1698"/>
                </a:moveTo>
                <a:lnTo>
                  <a:pt x="243" y="1659"/>
                </a:lnTo>
                <a:lnTo>
                  <a:pt x="248" y="1659"/>
                </a:lnTo>
                <a:lnTo>
                  <a:pt x="252" y="1664"/>
                </a:lnTo>
                <a:lnTo>
                  <a:pt x="256" y="1666"/>
                </a:lnTo>
                <a:lnTo>
                  <a:pt x="260" y="1672"/>
                </a:lnTo>
                <a:lnTo>
                  <a:pt x="260" y="1676"/>
                </a:lnTo>
                <a:lnTo>
                  <a:pt x="260" y="1683"/>
                </a:lnTo>
                <a:lnTo>
                  <a:pt x="258" y="1687"/>
                </a:lnTo>
                <a:lnTo>
                  <a:pt x="256" y="1691"/>
                </a:lnTo>
                <a:lnTo>
                  <a:pt x="250" y="1698"/>
                </a:lnTo>
                <a:close/>
                <a:moveTo>
                  <a:pt x="2292" y="694"/>
                </a:moveTo>
                <a:lnTo>
                  <a:pt x="2284" y="694"/>
                </a:lnTo>
                <a:lnTo>
                  <a:pt x="2276" y="692"/>
                </a:lnTo>
                <a:lnTo>
                  <a:pt x="2267" y="690"/>
                </a:lnTo>
                <a:lnTo>
                  <a:pt x="2259" y="686"/>
                </a:lnTo>
                <a:lnTo>
                  <a:pt x="2250" y="682"/>
                </a:lnTo>
                <a:lnTo>
                  <a:pt x="2244" y="677"/>
                </a:lnTo>
                <a:lnTo>
                  <a:pt x="2235" y="671"/>
                </a:lnTo>
                <a:lnTo>
                  <a:pt x="2229" y="663"/>
                </a:lnTo>
                <a:lnTo>
                  <a:pt x="2223" y="656"/>
                </a:lnTo>
                <a:lnTo>
                  <a:pt x="2218" y="648"/>
                </a:lnTo>
                <a:lnTo>
                  <a:pt x="2210" y="631"/>
                </a:lnTo>
                <a:lnTo>
                  <a:pt x="2208" y="620"/>
                </a:lnTo>
                <a:lnTo>
                  <a:pt x="2206" y="610"/>
                </a:lnTo>
                <a:lnTo>
                  <a:pt x="2204" y="599"/>
                </a:lnTo>
                <a:lnTo>
                  <a:pt x="2204" y="588"/>
                </a:lnTo>
                <a:lnTo>
                  <a:pt x="2204" y="578"/>
                </a:lnTo>
                <a:lnTo>
                  <a:pt x="2206" y="565"/>
                </a:lnTo>
                <a:lnTo>
                  <a:pt x="2208" y="555"/>
                </a:lnTo>
                <a:lnTo>
                  <a:pt x="2210" y="544"/>
                </a:lnTo>
                <a:lnTo>
                  <a:pt x="2214" y="533"/>
                </a:lnTo>
                <a:lnTo>
                  <a:pt x="2218" y="525"/>
                </a:lnTo>
                <a:lnTo>
                  <a:pt x="2225" y="516"/>
                </a:lnTo>
                <a:lnTo>
                  <a:pt x="2231" y="508"/>
                </a:lnTo>
                <a:lnTo>
                  <a:pt x="2237" y="500"/>
                </a:lnTo>
                <a:lnTo>
                  <a:pt x="2246" y="493"/>
                </a:lnTo>
                <a:lnTo>
                  <a:pt x="2252" y="487"/>
                </a:lnTo>
                <a:lnTo>
                  <a:pt x="2261" y="483"/>
                </a:lnTo>
                <a:lnTo>
                  <a:pt x="2271" y="478"/>
                </a:lnTo>
                <a:lnTo>
                  <a:pt x="2280" y="474"/>
                </a:lnTo>
                <a:lnTo>
                  <a:pt x="2288" y="472"/>
                </a:lnTo>
                <a:lnTo>
                  <a:pt x="2299" y="472"/>
                </a:lnTo>
                <a:lnTo>
                  <a:pt x="2312" y="474"/>
                </a:lnTo>
                <a:lnTo>
                  <a:pt x="2316" y="474"/>
                </a:lnTo>
                <a:lnTo>
                  <a:pt x="2322" y="476"/>
                </a:lnTo>
                <a:lnTo>
                  <a:pt x="2331" y="480"/>
                </a:lnTo>
                <a:lnTo>
                  <a:pt x="2339" y="489"/>
                </a:lnTo>
                <a:lnTo>
                  <a:pt x="2345" y="497"/>
                </a:lnTo>
                <a:lnTo>
                  <a:pt x="2350" y="506"/>
                </a:lnTo>
                <a:lnTo>
                  <a:pt x="2352" y="516"/>
                </a:lnTo>
                <a:lnTo>
                  <a:pt x="2354" y="529"/>
                </a:lnTo>
                <a:lnTo>
                  <a:pt x="2352" y="538"/>
                </a:lnTo>
                <a:lnTo>
                  <a:pt x="2352" y="544"/>
                </a:lnTo>
                <a:lnTo>
                  <a:pt x="2350" y="550"/>
                </a:lnTo>
                <a:lnTo>
                  <a:pt x="2345" y="559"/>
                </a:lnTo>
                <a:lnTo>
                  <a:pt x="2341" y="565"/>
                </a:lnTo>
                <a:lnTo>
                  <a:pt x="2337" y="571"/>
                </a:lnTo>
                <a:lnTo>
                  <a:pt x="2326" y="582"/>
                </a:lnTo>
                <a:lnTo>
                  <a:pt x="2320" y="588"/>
                </a:lnTo>
                <a:lnTo>
                  <a:pt x="2314" y="593"/>
                </a:lnTo>
                <a:lnTo>
                  <a:pt x="2301" y="601"/>
                </a:lnTo>
                <a:lnTo>
                  <a:pt x="2292" y="603"/>
                </a:lnTo>
                <a:lnTo>
                  <a:pt x="2286" y="605"/>
                </a:lnTo>
                <a:lnTo>
                  <a:pt x="2271" y="607"/>
                </a:lnTo>
                <a:lnTo>
                  <a:pt x="2265" y="605"/>
                </a:lnTo>
                <a:lnTo>
                  <a:pt x="2261" y="603"/>
                </a:lnTo>
                <a:lnTo>
                  <a:pt x="2259" y="601"/>
                </a:lnTo>
                <a:lnTo>
                  <a:pt x="2256" y="599"/>
                </a:lnTo>
                <a:lnTo>
                  <a:pt x="2256" y="595"/>
                </a:lnTo>
                <a:lnTo>
                  <a:pt x="2254" y="588"/>
                </a:lnTo>
                <a:lnTo>
                  <a:pt x="2256" y="582"/>
                </a:lnTo>
                <a:lnTo>
                  <a:pt x="2256" y="580"/>
                </a:lnTo>
                <a:lnTo>
                  <a:pt x="2259" y="578"/>
                </a:lnTo>
                <a:lnTo>
                  <a:pt x="2271" y="574"/>
                </a:lnTo>
                <a:lnTo>
                  <a:pt x="2284" y="569"/>
                </a:lnTo>
                <a:lnTo>
                  <a:pt x="2295" y="565"/>
                </a:lnTo>
                <a:lnTo>
                  <a:pt x="2303" y="557"/>
                </a:lnTo>
                <a:lnTo>
                  <a:pt x="2312" y="550"/>
                </a:lnTo>
                <a:lnTo>
                  <a:pt x="2314" y="546"/>
                </a:lnTo>
                <a:lnTo>
                  <a:pt x="2316" y="542"/>
                </a:lnTo>
                <a:lnTo>
                  <a:pt x="2320" y="533"/>
                </a:lnTo>
                <a:lnTo>
                  <a:pt x="2322" y="525"/>
                </a:lnTo>
                <a:lnTo>
                  <a:pt x="2320" y="519"/>
                </a:lnTo>
                <a:lnTo>
                  <a:pt x="2320" y="514"/>
                </a:lnTo>
                <a:lnTo>
                  <a:pt x="2318" y="512"/>
                </a:lnTo>
                <a:lnTo>
                  <a:pt x="2316" y="508"/>
                </a:lnTo>
                <a:lnTo>
                  <a:pt x="2312" y="506"/>
                </a:lnTo>
                <a:lnTo>
                  <a:pt x="2307" y="504"/>
                </a:lnTo>
                <a:lnTo>
                  <a:pt x="2297" y="502"/>
                </a:lnTo>
                <a:lnTo>
                  <a:pt x="2286" y="504"/>
                </a:lnTo>
                <a:lnTo>
                  <a:pt x="2282" y="506"/>
                </a:lnTo>
                <a:lnTo>
                  <a:pt x="2276" y="508"/>
                </a:lnTo>
                <a:lnTo>
                  <a:pt x="2271" y="512"/>
                </a:lnTo>
                <a:lnTo>
                  <a:pt x="2265" y="516"/>
                </a:lnTo>
                <a:lnTo>
                  <a:pt x="2256" y="527"/>
                </a:lnTo>
                <a:lnTo>
                  <a:pt x="2252" y="533"/>
                </a:lnTo>
                <a:lnTo>
                  <a:pt x="2248" y="540"/>
                </a:lnTo>
                <a:lnTo>
                  <a:pt x="2242" y="555"/>
                </a:lnTo>
                <a:lnTo>
                  <a:pt x="2237" y="569"/>
                </a:lnTo>
                <a:lnTo>
                  <a:pt x="2237" y="578"/>
                </a:lnTo>
                <a:lnTo>
                  <a:pt x="2237" y="586"/>
                </a:lnTo>
                <a:lnTo>
                  <a:pt x="2237" y="601"/>
                </a:lnTo>
                <a:lnTo>
                  <a:pt x="2240" y="610"/>
                </a:lnTo>
                <a:lnTo>
                  <a:pt x="2242" y="616"/>
                </a:lnTo>
                <a:lnTo>
                  <a:pt x="2246" y="629"/>
                </a:lnTo>
                <a:lnTo>
                  <a:pt x="2252" y="637"/>
                </a:lnTo>
                <a:lnTo>
                  <a:pt x="2261" y="648"/>
                </a:lnTo>
                <a:lnTo>
                  <a:pt x="2265" y="650"/>
                </a:lnTo>
                <a:lnTo>
                  <a:pt x="2271" y="654"/>
                </a:lnTo>
                <a:lnTo>
                  <a:pt x="2282" y="656"/>
                </a:lnTo>
                <a:lnTo>
                  <a:pt x="2288" y="658"/>
                </a:lnTo>
                <a:lnTo>
                  <a:pt x="2295" y="658"/>
                </a:lnTo>
                <a:lnTo>
                  <a:pt x="2307" y="656"/>
                </a:lnTo>
                <a:lnTo>
                  <a:pt x="2318" y="654"/>
                </a:lnTo>
                <a:lnTo>
                  <a:pt x="2324" y="652"/>
                </a:lnTo>
                <a:lnTo>
                  <a:pt x="2331" y="648"/>
                </a:lnTo>
                <a:lnTo>
                  <a:pt x="2341" y="641"/>
                </a:lnTo>
                <a:lnTo>
                  <a:pt x="2350" y="631"/>
                </a:lnTo>
                <a:lnTo>
                  <a:pt x="2358" y="620"/>
                </a:lnTo>
                <a:lnTo>
                  <a:pt x="2367" y="610"/>
                </a:lnTo>
                <a:lnTo>
                  <a:pt x="2373" y="597"/>
                </a:lnTo>
                <a:lnTo>
                  <a:pt x="2379" y="582"/>
                </a:lnTo>
                <a:lnTo>
                  <a:pt x="2383" y="569"/>
                </a:lnTo>
                <a:lnTo>
                  <a:pt x="2388" y="555"/>
                </a:lnTo>
                <a:lnTo>
                  <a:pt x="2392" y="540"/>
                </a:lnTo>
                <a:lnTo>
                  <a:pt x="2394" y="525"/>
                </a:lnTo>
                <a:lnTo>
                  <a:pt x="2396" y="510"/>
                </a:lnTo>
                <a:lnTo>
                  <a:pt x="2396" y="497"/>
                </a:lnTo>
                <a:lnTo>
                  <a:pt x="2396" y="485"/>
                </a:lnTo>
                <a:lnTo>
                  <a:pt x="2398" y="483"/>
                </a:lnTo>
                <a:lnTo>
                  <a:pt x="2400" y="480"/>
                </a:lnTo>
                <a:lnTo>
                  <a:pt x="2405" y="478"/>
                </a:lnTo>
                <a:lnTo>
                  <a:pt x="2409" y="478"/>
                </a:lnTo>
                <a:lnTo>
                  <a:pt x="2417" y="478"/>
                </a:lnTo>
                <a:lnTo>
                  <a:pt x="2422" y="480"/>
                </a:lnTo>
                <a:lnTo>
                  <a:pt x="2424" y="483"/>
                </a:lnTo>
                <a:lnTo>
                  <a:pt x="2428" y="491"/>
                </a:lnTo>
                <a:lnTo>
                  <a:pt x="2430" y="497"/>
                </a:lnTo>
                <a:lnTo>
                  <a:pt x="2430" y="504"/>
                </a:lnTo>
                <a:lnTo>
                  <a:pt x="2430" y="523"/>
                </a:lnTo>
                <a:lnTo>
                  <a:pt x="2428" y="540"/>
                </a:lnTo>
                <a:lnTo>
                  <a:pt x="2424" y="559"/>
                </a:lnTo>
                <a:lnTo>
                  <a:pt x="2419" y="576"/>
                </a:lnTo>
                <a:lnTo>
                  <a:pt x="2413" y="593"/>
                </a:lnTo>
                <a:lnTo>
                  <a:pt x="2407" y="607"/>
                </a:lnTo>
                <a:lnTo>
                  <a:pt x="2400" y="622"/>
                </a:lnTo>
                <a:lnTo>
                  <a:pt x="2392" y="637"/>
                </a:lnTo>
                <a:lnTo>
                  <a:pt x="2381" y="650"/>
                </a:lnTo>
                <a:lnTo>
                  <a:pt x="2377" y="654"/>
                </a:lnTo>
                <a:lnTo>
                  <a:pt x="2371" y="660"/>
                </a:lnTo>
                <a:lnTo>
                  <a:pt x="2360" y="671"/>
                </a:lnTo>
                <a:lnTo>
                  <a:pt x="2348" y="679"/>
                </a:lnTo>
                <a:lnTo>
                  <a:pt x="2335" y="686"/>
                </a:lnTo>
                <a:lnTo>
                  <a:pt x="2322" y="690"/>
                </a:lnTo>
                <a:lnTo>
                  <a:pt x="2307" y="694"/>
                </a:lnTo>
                <a:lnTo>
                  <a:pt x="2292" y="694"/>
                </a:lnTo>
                <a:close/>
                <a:moveTo>
                  <a:pt x="2523" y="690"/>
                </a:moveTo>
                <a:lnTo>
                  <a:pt x="2519" y="688"/>
                </a:lnTo>
                <a:lnTo>
                  <a:pt x="2511" y="684"/>
                </a:lnTo>
                <a:lnTo>
                  <a:pt x="2494" y="667"/>
                </a:lnTo>
                <a:lnTo>
                  <a:pt x="2472" y="648"/>
                </a:lnTo>
                <a:lnTo>
                  <a:pt x="2455" y="629"/>
                </a:lnTo>
                <a:lnTo>
                  <a:pt x="2449" y="618"/>
                </a:lnTo>
                <a:lnTo>
                  <a:pt x="2443" y="612"/>
                </a:lnTo>
                <a:lnTo>
                  <a:pt x="2439" y="599"/>
                </a:lnTo>
                <a:lnTo>
                  <a:pt x="2436" y="595"/>
                </a:lnTo>
                <a:lnTo>
                  <a:pt x="2436" y="588"/>
                </a:lnTo>
                <a:lnTo>
                  <a:pt x="2436" y="582"/>
                </a:lnTo>
                <a:lnTo>
                  <a:pt x="2439" y="574"/>
                </a:lnTo>
                <a:lnTo>
                  <a:pt x="2443" y="567"/>
                </a:lnTo>
                <a:lnTo>
                  <a:pt x="2447" y="559"/>
                </a:lnTo>
                <a:lnTo>
                  <a:pt x="2460" y="544"/>
                </a:lnTo>
                <a:lnTo>
                  <a:pt x="2477" y="523"/>
                </a:lnTo>
                <a:lnTo>
                  <a:pt x="2519" y="474"/>
                </a:lnTo>
                <a:lnTo>
                  <a:pt x="2525" y="476"/>
                </a:lnTo>
                <a:lnTo>
                  <a:pt x="2532" y="478"/>
                </a:lnTo>
                <a:lnTo>
                  <a:pt x="2536" y="483"/>
                </a:lnTo>
                <a:lnTo>
                  <a:pt x="2540" y="487"/>
                </a:lnTo>
                <a:lnTo>
                  <a:pt x="2542" y="493"/>
                </a:lnTo>
                <a:lnTo>
                  <a:pt x="2540" y="500"/>
                </a:lnTo>
                <a:lnTo>
                  <a:pt x="2538" y="504"/>
                </a:lnTo>
                <a:lnTo>
                  <a:pt x="2536" y="508"/>
                </a:lnTo>
                <a:lnTo>
                  <a:pt x="2506" y="542"/>
                </a:lnTo>
                <a:lnTo>
                  <a:pt x="2489" y="561"/>
                </a:lnTo>
                <a:lnTo>
                  <a:pt x="2477" y="578"/>
                </a:lnTo>
                <a:lnTo>
                  <a:pt x="2472" y="582"/>
                </a:lnTo>
                <a:lnTo>
                  <a:pt x="2472" y="586"/>
                </a:lnTo>
                <a:lnTo>
                  <a:pt x="2475" y="591"/>
                </a:lnTo>
                <a:lnTo>
                  <a:pt x="2477" y="597"/>
                </a:lnTo>
                <a:lnTo>
                  <a:pt x="2487" y="610"/>
                </a:lnTo>
                <a:lnTo>
                  <a:pt x="2504" y="627"/>
                </a:lnTo>
                <a:lnTo>
                  <a:pt x="2523" y="648"/>
                </a:lnTo>
                <a:lnTo>
                  <a:pt x="2542" y="665"/>
                </a:lnTo>
                <a:lnTo>
                  <a:pt x="2544" y="667"/>
                </a:lnTo>
                <a:lnTo>
                  <a:pt x="2544" y="671"/>
                </a:lnTo>
                <a:lnTo>
                  <a:pt x="2544" y="673"/>
                </a:lnTo>
                <a:lnTo>
                  <a:pt x="2542" y="677"/>
                </a:lnTo>
                <a:lnTo>
                  <a:pt x="2538" y="684"/>
                </a:lnTo>
                <a:lnTo>
                  <a:pt x="2532" y="688"/>
                </a:lnTo>
                <a:lnTo>
                  <a:pt x="2527" y="690"/>
                </a:lnTo>
                <a:lnTo>
                  <a:pt x="2523" y="690"/>
                </a:lnTo>
                <a:close/>
                <a:moveTo>
                  <a:pt x="2292" y="1287"/>
                </a:moveTo>
                <a:lnTo>
                  <a:pt x="2284" y="1285"/>
                </a:lnTo>
                <a:lnTo>
                  <a:pt x="2276" y="1285"/>
                </a:lnTo>
                <a:lnTo>
                  <a:pt x="2267" y="1281"/>
                </a:lnTo>
                <a:lnTo>
                  <a:pt x="2259" y="1278"/>
                </a:lnTo>
                <a:lnTo>
                  <a:pt x="2250" y="1274"/>
                </a:lnTo>
                <a:lnTo>
                  <a:pt x="2244" y="1268"/>
                </a:lnTo>
                <a:lnTo>
                  <a:pt x="2235" y="1262"/>
                </a:lnTo>
                <a:lnTo>
                  <a:pt x="2229" y="1255"/>
                </a:lnTo>
                <a:lnTo>
                  <a:pt x="2223" y="1247"/>
                </a:lnTo>
                <a:lnTo>
                  <a:pt x="2218" y="1240"/>
                </a:lnTo>
                <a:lnTo>
                  <a:pt x="2210" y="1221"/>
                </a:lnTo>
                <a:lnTo>
                  <a:pt x="2208" y="1211"/>
                </a:lnTo>
                <a:lnTo>
                  <a:pt x="2206" y="1202"/>
                </a:lnTo>
                <a:lnTo>
                  <a:pt x="2204" y="1192"/>
                </a:lnTo>
                <a:lnTo>
                  <a:pt x="2204" y="1179"/>
                </a:lnTo>
                <a:lnTo>
                  <a:pt x="2204" y="1168"/>
                </a:lnTo>
                <a:lnTo>
                  <a:pt x="2206" y="1158"/>
                </a:lnTo>
                <a:lnTo>
                  <a:pt x="2208" y="1147"/>
                </a:lnTo>
                <a:lnTo>
                  <a:pt x="2210" y="1137"/>
                </a:lnTo>
                <a:lnTo>
                  <a:pt x="2214" y="1126"/>
                </a:lnTo>
                <a:lnTo>
                  <a:pt x="2218" y="1115"/>
                </a:lnTo>
                <a:lnTo>
                  <a:pt x="2225" y="1107"/>
                </a:lnTo>
                <a:lnTo>
                  <a:pt x="2231" y="1099"/>
                </a:lnTo>
                <a:lnTo>
                  <a:pt x="2237" y="1092"/>
                </a:lnTo>
                <a:lnTo>
                  <a:pt x="2246" y="1084"/>
                </a:lnTo>
                <a:lnTo>
                  <a:pt x="2252" y="1077"/>
                </a:lnTo>
                <a:lnTo>
                  <a:pt x="2261" y="1073"/>
                </a:lnTo>
                <a:lnTo>
                  <a:pt x="2271" y="1069"/>
                </a:lnTo>
                <a:lnTo>
                  <a:pt x="2280" y="1067"/>
                </a:lnTo>
                <a:lnTo>
                  <a:pt x="2288" y="1065"/>
                </a:lnTo>
                <a:lnTo>
                  <a:pt x="2299" y="1065"/>
                </a:lnTo>
                <a:lnTo>
                  <a:pt x="2312" y="1065"/>
                </a:lnTo>
                <a:lnTo>
                  <a:pt x="2316" y="1067"/>
                </a:lnTo>
                <a:lnTo>
                  <a:pt x="2322" y="1069"/>
                </a:lnTo>
                <a:lnTo>
                  <a:pt x="2331" y="1073"/>
                </a:lnTo>
                <a:lnTo>
                  <a:pt x="2339" y="1079"/>
                </a:lnTo>
                <a:lnTo>
                  <a:pt x="2345" y="1088"/>
                </a:lnTo>
                <a:lnTo>
                  <a:pt x="2350" y="1099"/>
                </a:lnTo>
                <a:lnTo>
                  <a:pt x="2352" y="1109"/>
                </a:lnTo>
                <a:lnTo>
                  <a:pt x="2354" y="1122"/>
                </a:lnTo>
                <a:lnTo>
                  <a:pt x="2352" y="1128"/>
                </a:lnTo>
                <a:lnTo>
                  <a:pt x="2352" y="1137"/>
                </a:lnTo>
                <a:lnTo>
                  <a:pt x="2350" y="1143"/>
                </a:lnTo>
                <a:lnTo>
                  <a:pt x="2345" y="1149"/>
                </a:lnTo>
                <a:lnTo>
                  <a:pt x="2341" y="1158"/>
                </a:lnTo>
                <a:lnTo>
                  <a:pt x="2337" y="1164"/>
                </a:lnTo>
                <a:lnTo>
                  <a:pt x="2326" y="1175"/>
                </a:lnTo>
                <a:lnTo>
                  <a:pt x="2320" y="1179"/>
                </a:lnTo>
                <a:lnTo>
                  <a:pt x="2314" y="1185"/>
                </a:lnTo>
                <a:lnTo>
                  <a:pt x="2301" y="1192"/>
                </a:lnTo>
                <a:lnTo>
                  <a:pt x="2292" y="1194"/>
                </a:lnTo>
                <a:lnTo>
                  <a:pt x="2286" y="1196"/>
                </a:lnTo>
                <a:lnTo>
                  <a:pt x="2271" y="1198"/>
                </a:lnTo>
                <a:lnTo>
                  <a:pt x="2265" y="1196"/>
                </a:lnTo>
                <a:lnTo>
                  <a:pt x="2261" y="1196"/>
                </a:lnTo>
                <a:lnTo>
                  <a:pt x="2259" y="1194"/>
                </a:lnTo>
                <a:lnTo>
                  <a:pt x="2256" y="1190"/>
                </a:lnTo>
                <a:lnTo>
                  <a:pt x="2256" y="1187"/>
                </a:lnTo>
                <a:lnTo>
                  <a:pt x="2254" y="1179"/>
                </a:lnTo>
                <a:lnTo>
                  <a:pt x="2256" y="1173"/>
                </a:lnTo>
                <a:lnTo>
                  <a:pt x="2256" y="1170"/>
                </a:lnTo>
                <a:lnTo>
                  <a:pt x="2259" y="1168"/>
                </a:lnTo>
                <a:lnTo>
                  <a:pt x="2271" y="1166"/>
                </a:lnTo>
                <a:lnTo>
                  <a:pt x="2284" y="1162"/>
                </a:lnTo>
                <a:lnTo>
                  <a:pt x="2295" y="1156"/>
                </a:lnTo>
                <a:lnTo>
                  <a:pt x="2303" y="1149"/>
                </a:lnTo>
                <a:lnTo>
                  <a:pt x="2312" y="1141"/>
                </a:lnTo>
                <a:lnTo>
                  <a:pt x="2314" y="1137"/>
                </a:lnTo>
                <a:lnTo>
                  <a:pt x="2316" y="1132"/>
                </a:lnTo>
                <a:lnTo>
                  <a:pt x="2320" y="1124"/>
                </a:lnTo>
                <a:lnTo>
                  <a:pt x="2322" y="1115"/>
                </a:lnTo>
                <a:lnTo>
                  <a:pt x="2320" y="1111"/>
                </a:lnTo>
                <a:lnTo>
                  <a:pt x="2320" y="1107"/>
                </a:lnTo>
                <a:lnTo>
                  <a:pt x="2318" y="1103"/>
                </a:lnTo>
                <a:lnTo>
                  <a:pt x="2316" y="1101"/>
                </a:lnTo>
                <a:lnTo>
                  <a:pt x="2312" y="1096"/>
                </a:lnTo>
                <a:lnTo>
                  <a:pt x="2307" y="1094"/>
                </a:lnTo>
                <a:lnTo>
                  <a:pt x="2297" y="1094"/>
                </a:lnTo>
                <a:lnTo>
                  <a:pt x="2286" y="1096"/>
                </a:lnTo>
                <a:lnTo>
                  <a:pt x="2282" y="1099"/>
                </a:lnTo>
                <a:lnTo>
                  <a:pt x="2276" y="1101"/>
                </a:lnTo>
                <a:lnTo>
                  <a:pt x="2271" y="1105"/>
                </a:lnTo>
                <a:lnTo>
                  <a:pt x="2265" y="1109"/>
                </a:lnTo>
                <a:lnTo>
                  <a:pt x="2256" y="1120"/>
                </a:lnTo>
                <a:lnTo>
                  <a:pt x="2252" y="1124"/>
                </a:lnTo>
                <a:lnTo>
                  <a:pt x="2248" y="1130"/>
                </a:lnTo>
                <a:lnTo>
                  <a:pt x="2242" y="1145"/>
                </a:lnTo>
                <a:lnTo>
                  <a:pt x="2237" y="1162"/>
                </a:lnTo>
                <a:lnTo>
                  <a:pt x="2237" y="1170"/>
                </a:lnTo>
                <a:lnTo>
                  <a:pt x="2237" y="1179"/>
                </a:lnTo>
                <a:lnTo>
                  <a:pt x="2237" y="1194"/>
                </a:lnTo>
                <a:lnTo>
                  <a:pt x="2240" y="1200"/>
                </a:lnTo>
                <a:lnTo>
                  <a:pt x="2242" y="1206"/>
                </a:lnTo>
                <a:lnTo>
                  <a:pt x="2246" y="1219"/>
                </a:lnTo>
                <a:lnTo>
                  <a:pt x="2252" y="1230"/>
                </a:lnTo>
                <a:lnTo>
                  <a:pt x="2261" y="1238"/>
                </a:lnTo>
                <a:lnTo>
                  <a:pt x="2265" y="1242"/>
                </a:lnTo>
                <a:lnTo>
                  <a:pt x="2271" y="1245"/>
                </a:lnTo>
                <a:lnTo>
                  <a:pt x="2282" y="1249"/>
                </a:lnTo>
                <a:lnTo>
                  <a:pt x="2288" y="1249"/>
                </a:lnTo>
                <a:lnTo>
                  <a:pt x="2295" y="1251"/>
                </a:lnTo>
                <a:lnTo>
                  <a:pt x="2307" y="1249"/>
                </a:lnTo>
                <a:lnTo>
                  <a:pt x="2318" y="1245"/>
                </a:lnTo>
                <a:lnTo>
                  <a:pt x="2324" y="1242"/>
                </a:lnTo>
                <a:lnTo>
                  <a:pt x="2331" y="1240"/>
                </a:lnTo>
                <a:lnTo>
                  <a:pt x="2341" y="1232"/>
                </a:lnTo>
                <a:lnTo>
                  <a:pt x="2350" y="1223"/>
                </a:lnTo>
                <a:lnTo>
                  <a:pt x="2358" y="1213"/>
                </a:lnTo>
                <a:lnTo>
                  <a:pt x="2367" y="1200"/>
                </a:lnTo>
                <a:lnTo>
                  <a:pt x="2373" y="1187"/>
                </a:lnTo>
                <a:lnTo>
                  <a:pt x="2379" y="1175"/>
                </a:lnTo>
                <a:lnTo>
                  <a:pt x="2383" y="1160"/>
                </a:lnTo>
                <a:lnTo>
                  <a:pt x="2388" y="1145"/>
                </a:lnTo>
                <a:lnTo>
                  <a:pt x="2392" y="1132"/>
                </a:lnTo>
                <a:lnTo>
                  <a:pt x="2394" y="1118"/>
                </a:lnTo>
                <a:lnTo>
                  <a:pt x="2396" y="1103"/>
                </a:lnTo>
                <a:lnTo>
                  <a:pt x="2396" y="1090"/>
                </a:lnTo>
                <a:lnTo>
                  <a:pt x="2396" y="1077"/>
                </a:lnTo>
                <a:lnTo>
                  <a:pt x="2398" y="1073"/>
                </a:lnTo>
                <a:lnTo>
                  <a:pt x="2400" y="1071"/>
                </a:lnTo>
                <a:lnTo>
                  <a:pt x="2405" y="1069"/>
                </a:lnTo>
                <a:lnTo>
                  <a:pt x="2409" y="1069"/>
                </a:lnTo>
                <a:lnTo>
                  <a:pt x="2417" y="1071"/>
                </a:lnTo>
                <a:lnTo>
                  <a:pt x="2422" y="1073"/>
                </a:lnTo>
                <a:lnTo>
                  <a:pt x="2424" y="1075"/>
                </a:lnTo>
                <a:lnTo>
                  <a:pt x="2428" y="1082"/>
                </a:lnTo>
                <a:lnTo>
                  <a:pt x="2430" y="1088"/>
                </a:lnTo>
                <a:lnTo>
                  <a:pt x="2430" y="1094"/>
                </a:lnTo>
                <a:lnTo>
                  <a:pt x="2430" y="1113"/>
                </a:lnTo>
                <a:lnTo>
                  <a:pt x="2428" y="1132"/>
                </a:lnTo>
                <a:lnTo>
                  <a:pt x="2424" y="1149"/>
                </a:lnTo>
                <a:lnTo>
                  <a:pt x="2419" y="1166"/>
                </a:lnTo>
                <a:lnTo>
                  <a:pt x="2413" y="1183"/>
                </a:lnTo>
                <a:lnTo>
                  <a:pt x="2407" y="1200"/>
                </a:lnTo>
                <a:lnTo>
                  <a:pt x="2400" y="1215"/>
                </a:lnTo>
                <a:lnTo>
                  <a:pt x="2392" y="1228"/>
                </a:lnTo>
                <a:lnTo>
                  <a:pt x="2381" y="1240"/>
                </a:lnTo>
                <a:lnTo>
                  <a:pt x="2377" y="1247"/>
                </a:lnTo>
                <a:lnTo>
                  <a:pt x="2371" y="1253"/>
                </a:lnTo>
                <a:lnTo>
                  <a:pt x="2360" y="1262"/>
                </a:lnTo>
                <a:lnTo>
                  <a:pt x="2348" y="1270"/>
                </a:lnTo>
                <a:lnTo>
                  <a:pt x="2335" y="1276"/>
                </a:lnTo>
                <a:lnTo>
                  <a:pt x="2322" y="1283"/>
                </a:lnTo>
                <a:lnTo>
                  <a:pt x="2307" y="1285"/>
                </a:lnTo>
                <a:lnTo>
                  <a:pt x="2292" y="1287"/>
                </a:lnTo>
                <a:close/>
                <a:moveTo>
                  <a:pt x="2523" y="1283"/>
                </a:moveTo>
                <a:lnTo>
                  <a:pt x="2519" y="1281"/>
                </a:lnTo>
                <a:lnTo>
                  <a:pt x="2511" y="1274"/>
                </a:lnTo>
                <a:lnTo>
                  <a:pt x="2494" y="1259"/>
                </a:lnTo>
                <a:lnTo>
                  <a:pt x="2472" y="1240"/>
                </a:lnTo>
                <a:lnTo>
                  <a:pt x="2455" y="1219"/>
                </a:lnTo>
                <a:lnTo>
                  <a:pt x="2449" y="1211"/>
                </a:lnTo>
                <a:lnTo>
                  <a:pt x="2443" y="1204"/>
                </a:lnTo>
                <a:lnTo>
                  <a:pt x="2439" y="1192"/>
                </a:lnTo>
                <a:lnTo>
                  <a:pt x="2436" y="1185"/>
                </a:lnTo>
                <a:lnTo>
                  <a:pt x="2436" y="1179"/>
                </a:lnTo>
                <a:lnTo>
                  <a:pt x="2436" y="1173"/>
                </a:lnTo>
                <a:lnTo>
                  <a:pt x="2439" y="1166"/>
                </a:lnTo>
                <a:lnTo>
                  <a:pt x="2443" y="1158"/>
                </a:lnTo>
                <a:lnTo>
                  <a:pt x="2447" y="1149"/>
                </a:lnTo>
                <a:lnTo>
                  <a:pt x="2460" y="1135"/>
                </a:lnTo>
                <a:lnTo>
                  <a:pt x="2477" y="1115"/>
                </a:lnTo>
                <a:lnTo>
                  <a:pt x="2519" y="1067"/>
                </a:lnTo>
                <a:lnTo>
                  <a:pt x="2525" y="1067"/>
                </a:lnTo>
                <a:lnTo>
                  <a:pt x="2532" y="1069"/>
                </a:lnTo>
                <a:lnTo>
                  <a:pt x="2536" y="1073"/>
                </a:lnTo>
                <a:lnTo>
                  <a:pt x="2540" y="1079"/>
                </a:lnTo>
                <a:lnTo>
                  <a:pt x="2542" y="1086"/>
                </a:lnTo>
                <a:lnTo>
                  <a:pt x="2540" y="1092"/>
                </a:lnTo>
                <a:lnTo>
                  <a:pt x="2538" y="1094"/>
                </a:lnTo>
                <a:lnTo>
                  <a:pt x="2536" y="1099"/>
                </a:lnTo>
                <a:lnTo>
                  <a:pt x="2506" y="1132"/>
                </a:lnTo>
                <a:lnTo>
                  <a:pt x="2489" y="1154"/>
                </a:lnTo>
                <a:lnTo>
                  <a:pt x="2477" y="1168"/>
                </a:lnTo>
                <a:lnTo>
                  <a:pt x="2472" y="1173"/>
                </a:lnTo>
                <a:lnTo>
                  <a:pt x="2472" y="1179"/>
                </a:lnTo>
                <a:lnTo>
                  <a:pt x="2475" y="1183"/>
                </a:lnTo>
                <a:lnTo>
                  <a:pt x="2477" y="1190"/>
                </a:lnTo>
                <a:lnTo>
                  <a:pt x="2487" y="1202"/>
                </a:lnTo>
                <a:lnTo>
                  <a:pt x="2504" y="1219"/>
                </a:lnTo>
                <a:lnTo>
                  <a:pt x="2523" y="1238"/>
                </a:lnTo>
                <a:lnTo>
                  <a:pt x="2542" y="1257"/>
                </a:lnTo>
                <a:lnTo>
                  <a:pt x="2544" y="1259"/>
                </a:lnTo>
                <a:lnTo>
                  <a:pt x="2544" y="1262"/>
                </a:lnTo>
                <a:lnTo>
                  <a:pt x="2544" y="1266"/>
                </a:lnTo>
                <a:lnTo>
                  <a:pt x="2542" y="1268"/>
                </a:lnTo>
                <a:lnTo>
                  <a:pt x="2538" y="1276"/>
                </a:lnTo>
                <a:lnTo>
                  <a:pt x="2532" y="1281"/>
                </a:lnTo>
                <a:lnTo>
                  <a:pt x="2527" y="1283"/>
                </a:lnTo>
                <a:lnTo>
                  <a:pt x="2523" y="1283"/>
                </a:lnTo>
                <a:close/>
                <a:moveTo>
                  <a:pt x="2292" y="1877"/>
                </a:moveTo>
                <a:lnTo>
                  <a:pt x="2284" y="1877"/>
                </a:lnTo>
                <a:lnTo>
                  <a:pt x="2276" y="1875"/>
                </a:lnTo>
                <a:lnTo>
                  <a:pt x="2267" y="1873"/>
                </a:lnTo>
                <a:lnTo>
                  <a:pt x="2259" y="1869"/>
                </a:lnTo>
                <a:lnTo>
                  <a:pt x="2250" y="1865"/>
                </a:lnTo>
                <a:lnTo>
                  <a:pt x="2244" y="1861"/>
                </a:lnTo>
                <a:lnTo>
                  <a:pt x="2235" y="1854"/>
                </a:lnTo>
                <a:lnTo>
                  <a:pt x="2229" y="1848"/>
                </a:lnTo>
                <a:lnTo>
                  <a:pt x="2223" y="1839"/>
                </a:lnTo>
                <a:lnTo>
                  <a:pt x="2218" y="1831"/>
                </a:lnTo>
                <a:lnTo>
                  <a:pt x="2210" y="1814"/>
                </a:lnTo>
                <a:lnTo>
                  <a:pt x="2208" y="1803"/>
                </a:lnTo>
                <a:lnTo>
                  <a:pt x="2206" y="1793"/>
                </a:lnTo>
                <a:lnTo>
                  <a:pt x="2204" y="1782"/>
                </a:lnTo>
                <a:lnTo>
                  <a:pt x="2204" y="1772"/>
                </a:lnTo>
                <a:lnTo>
                  <a:pt x="2204" y="1761"/>
                </a:lnTo>
                <a:lnTo>
                  <a:pt x="2206" y="1748"/>
                </a:lnTo>
                <a:lnTo>
                  <a:pt x="2208" y="1738"/>
                </a:lnTo>
                <a:lnTo>
                  <a:pt x="2210" y="1727"/>
                </a:lnTo>
                <a:lnTo>
                  <a:pt x="2214" y="1719"/>
                </a:lnTo>
                <a:lnTo>
                  <a:pt x="2218" y="1708"/>
                </a:lnTo>
                <a:lnTo>
                  <a:pt x="2225" y="1700"/>
                </a:lnTo>
                <a:lnTo>
                  <a:pt x="2231" y="1691"/>
                </a:lnTo>
                <a:lnTo>
                  <a:pt x="2237" y="1683"/>
                </a:lnTo>
                <a:lnTo>
                  <a:pt x="2246" y="1676"/>
                </a:lnTo>
                <a:lnTo>
                  <a:pt x="2252" y="1670"/>
                </a:lnTo>
                <a:lnTo>
                  <a:pt x="2261" y="1666"/>
                </a:lnTo>
                <a:lnTo>
                  <a:pt x="2271" y="1662"/>
                </a:lnTo>
                <a:lnTo>
                  <a:pt x="2280" y="1657"/>
                </a:lnTo>
                <a:lnTo>
                  <a:pt x="2288" y="1655"/>
                </a:lnTo>
                <a:lnTo>
                  <a:pt x="2299" y="1655"/>
                </a:lnTo>
                <a:lnTo>
                  <a:pt x="2312" y="1657"/>
                </a:lnTo>
                <a:lnTo>
                  <a:pt x="2316" y="1657"/>
                </a:lnTo>
                <a:lnTo>
                  <a:pt x="2322" y="1659"/>
                </a:lnTo>
                <a:lnTo>
                  <a:pt x="2331" y="1666"/>
                </a:lnTo>
                <a:lnTo>
                  <a:pt x="2339" y="1672"/>
                </a:lnTo>
                <a:lnTo>
                  <a:pt x="2345" y="1681"/>
                </a:lnTo>
                <a:lnTo>
                  <a:pt x="2350" y="1689"/>
                </a:lnTo>
                <a:lnTo>
                  <a:pt x="2352" y="1702"/>
                </a:lnTo>
                <a:lnTo>
                  <a:pt x="2354" y="1712"/>
                </a:lnTo>
                <a:lnTo>
                  <a:pt x="2352" y="1721"/>
                </a:lnTo>
                <a:lnTo>
                  <a:pt x="2352" y="1727"/>
                </a:lnTo>
                <a:lnTo>
                  <a:pt x="2350" y="1736"/>
                </a:lnTo>
                <a:lnTo>
                  <a:pt x="2345" y="1742"/>
                </a:lnTo>
                <a:lnTo>
                  <a:pt x="2341" y="1748"/>
                </a:lnTo>
                <a:lnTo>
                  <a:pt x="2337" y="1755"/>
                </a:lnTo>
                <a:lnTo>
                  <a:pt x="2326" y="1767"/>
                </a:lnTo>
                <a:lnTo>
                  <a:pt x="2320" y="1772"/>
                </a:lnTo>
                <a:lnTo>
                  <a:pt x="2314" y="1776"/>
                </a:lnTo>
                <a:lnTo>
                  <a:pt x="2301" y="1784"/>
                </a:lnTo>
                <a:lnTo>
                  <a:pt x="2292" y="1786"/>
                </a:lnTo>
                <a:lnTo>
                  <a:pt x="2286" y="1789"/>
                </a:lnTo>
                <a:lnTo>
                  <a:pt x="2271" y="1791"/>
                </a:lnTo>
                <a:lnTo>
                  <a:pt x="2265" y="1789"/>
                </a:lnTo>
                <a:lnTo>
                  <a:pt x="2261" y="1786"/>
                </a:lnTo>
                <a:lnTo>
                  <a:pt x="2259" y="1784"/>
                </a:lnTo>
                <a:lnTo>
                  <a:pt x="2256" y="1782"/>
                </a:lnTo>
                <a:lnTo>
                  <a:pt x="2256" y="1778"/>
                </a:lnTo>
                <a:lnTo>
                  <a:pt x="2254" y="1772"/>
                </a:lnTo>
                <a:lnTo>
                  <a:pt x="2256" y="1765"/>
                </a:lnTo>
                <a:lnTo>
                  <a:pt x="2256" y="1763"/>
                </a:lnTo>
                <a:lnTo>
                  <a:pt x="2259" y="1761"/>
                </a:lnTo>
                <a:lnTo>
                  <a:pt x="2271" y="1759"/>
                </a:lnTo>
                <a:lnTo>
                  <a:pt x="2284" y="1753"/>
                </a:lnTo>
                <a:lnTo>
                  <a:pt x="2295" y="1748"/>
                </a:lnTo>
                <a:lnTo>
                  <a:pt x="2303" y="1740"/>
                </a:lnTo>
                <a:lnTo>
                  <a:pt x="2312" y="1734"/>
                </a:lnTo>
                <a:lnTo>
                  <a:pt x="2314" y="1729"/>
                </a:lnTo>
                <a:lnTo>
                  <a:pt x="2316" y="1725"/>
                </a:lnTo>
                <a:lnTo>
                  <a:pt x="2320" y="1717"/>
                </a:lnTo>
                <a:lnTo>
                  <a:pt x="2322" y="1708"/>
                </a:lnTo>
                <a:lnTo>
                  <a:pt x="2320" y="1704"/>
                </a:lnTo>
                <a:lnTo>
                  <a:pt x="2320" y="1698"/>
                </a:lnTo>
                <a:lnTo>
                  <a:pt x="2318" y="1695"/>
                </a:lnTo>
                <a:lnTo>
                  <a:pt x="2316" y="1691"/>
                </a:lnTo>
                <a:lnTo>
                  <a:pt x="2312" y="1689"/>
                </a:lnTo>
                <a:lnTo>
                  <a:pt x="2307" y="1687"/>
                </a:lnTo>
                <a:lnTo>
                  <a:pt x="2297" y="1685"/>
                </a:lnTo>
                <a:lnTo>
                  <a:pt x="2286" y="1687"/>
                </a:lnTo>
                <a:lnTo>
                  <a:pt x="2282" y="1689"/>
                </a:lnTo>
                <a:lnTo>
                  <a:pt x="2276" y="1691"/>
                </a:lnTo>
                <a:lnTo>
                  <a:pt x="2271" y="1695"/>
                </a:lnTo>
                <a:lnTo>
                  <a:pt x="2265" y="1700"/>
                </a:lnTo>
                <a:lnTo>
                  <a:pt x="2256" y="1710"/>
                </a:lnTo>
                <a:lnTo>
                  <a:pt x="2252" y="1717"/>
                </a:lnTo>
                <a:lnTo>
                  <a:pt x="2248" y="1723"/>
                </a:lnTo>
                <a:lnTo>
                  <a:pt x="2242" y="1738"/>
                </a:lnTo>
                <a:lnTo>
                  <a:pt x="2237" y="1753"/>
                </a:lnTo>
                <a:lnTo>
                  <a:pt x="2237" y="1761"/>
                </a:lnTo>
                <a:lnTo>
                  <a:pt x="2237" y="1770"/>
                </a:lnTo>
                <a:lnTo>
                  <a:pt x="2237" y="1784"/>
                </a:lnTo>
                <a:lnTo>
                  <a:pt x="2240" y="1793"/>
                </a:lnTo>
                <a:lnTo>
                  <a:pt x="2242" y="1799"/>
                </a:lnTo>
                <a:lnTo>
                  <a:pt x="2246" y="1812"/>
                </a:lnTo>
                <a:lnTo>
                  <a:pt x="2252" y="1822"/>
                </a:lnTo>
                <a:lnTo>
                  <a:pt x="2261" y="1831"/>
                </a:lnTo>
                <a:lnTo>
                  <a:pt x="2265" y="1833"/>
                </a:lnTo>
                <a:lnTo>
                  <a:pt x="2271" y="1837"/>
                </a:lnTo>
                <a:lnTo>
                  <a:pt x="2282" y="1841"/>
                </a:lnTo>
                <a:lnTo>
                  <a:pt x="2288" y="1841"/>
                </a:lnTo>
                <a:lnTo>
                  <a:pt x="2295" y="1841"/>
                </a:lnTo>
                <a:lnTo>
                  <a:pt x="2307" y="1841"/>
                </a:lnTo>
                <a:lnTo>
                  <a:pt x="2318" y="1837"/>
                </a:lnTo>
                <a:lnTo>
                  <a:pt x="2324" y="1835"/>
                </a:lnTo>
                <a:lnTo>
                  <a:pt x="2331" y="1831"/>
                </a:lnTo>
                <a:lnTo>
                  <a:pt x="2341" y="1825"/>
                </a:lnTo>
                <a:lnTo>
                  <a:pt x="2350" y="1814"/>
                </a:lnTo>
                <a:lnTo>
                  <a:pt x="2358" y="1803"/>
                </a:lnTo>
                <a:lnTo>
                  <a:pt x="2367" y="1793"/>
                </a:lnTo>
                <a:lnTo>
                  <a:pt x="2373" y="1780"/>
                </a:lnTo>
                <a:lnTo>
                  <a:pt x="2379" y="1765"/>
                </a:lnTo>
                <a:lnTo>
                  <a:pt x="2383" y="1753"/>
                </a:lnTo>
                <a:lnTo>
                  <a:pt x="2388" y="1738"/>
                </a:lnTo>
                <a:lnTo>
                  <a:pt x="2392" y="1723"/>
                </a:lnTo>
                <a:lnTo>
                  <a:pt x="2394" y="1708"/>
                </a:lnTo>
                <a:lnTo>
                  <a:pt x="2396" y="1695"/>
                </a:lnTo>
                <a:lnTo>
                  <a:pt x="2396" y="1681"/>
                </a:lnTo>
                <a:lnTo>
                  <a:pt x="2396" y="1668"/>
                </a:lnTo>
                <a:lnTo>
                  <a:pt x="2398" y="1666"/>
                </a:lnTo>
                <a:lnTo>
                  <a:pt x="2400" y="1664"/>
                </a:lnTo>
                <a:lnTo>
                  <a:pt x="2405" y="1662"/>
                </a:lnTo>
                <a:lnTo>
                  <a:pt x="2409" y="1662"/>
                </a:lnTo>
                <a:lnTo>
                  <a:pt x="2417" y="1662"/>
                </a:lnTo>
                <a:lnTo>
                  <a:pt x="2422" y="1664"/>
                </a:lnTo>
                <a:lnTo>
                  <a:pt x="2424" y="1666"/>
                </a:lnTo>
                <a:lnTo>
                  <a:pt x="2428" y="1674"/>
                </a:lnTo>
                <a:lnTo>
                  <a:pt x="2430" y="1681"/>
                </a:lnTo>
                <a:lnTo>
                  <a:pt x="2430" y="1687"/>
                </a:lnTo>
                <a:lnTo>
                  <a:pt x="2430" y="1706"/>
                </a:lnTo>
                <a:lnTo>
                  <a:pt x="2428" y="1723"/>
                </a:lnTo>
                <a:lnTo>
                  <a:pt x="2424" y="1742"/>
                </a:lnTo>
                <a:lnTo>
                  <a:pt x="2419" y="1759"/>
                </a:lnTo>
                <a:lnTo>
                  <a:pt x="2413" y="1776"/>
                </a:lnTo>
                <a:lnTo>
                  <a:pt x="2407" y="1791"/>
                </a:lnTo>
                <a:lnTo>
                  <a:pt x="2400" y="1805"/>
                </a:lnTo>
                <a:lnTo>
                  <a:pt x="2392" y="1820"/>
                </a:lnTo>
                <a:lnTo>
                  <a:pt x="2381" y="1833"/>
                </a:lnTo>
                <a:lnTo>
                  <a:pt x="2377" y="1839"/>
                </a:lnTo>
                <a:lnTo>
                  <a:pt x="2371" y="1844"/>
                </a:lnTo>
                <a:lnTo>
                  <a:pt x="2360" y="1854"/>
                </a:lnTo>
                <a:lnTo>
                  <a:pt x="2348" y="1863"/>
                </a:lnTo>
                <a:lnTo>
                  <a:pt x="2335" y="1869"/>
                </a:lnTo>
                <a:lnTo>
                  <a:pt x="2322" y="1873"/>
                </a:lnTo>
                <a:lnTo>
                  <a:pt x="2307" y="1877"/>
                </a:lnTo>
                <a:lnTo>
                  <a:pt x="2292" y="1877"/>
                </a:lnTo>
                <a:close/>
                <a:moveTo>
                  <a:pt x="2523" y="1873"/>
                </a:moveTo>
                <a:lnTo>
                  <a:pt x="2519" y="1871"/>
                </a:lnTo>
                <a:lnTo>
                  <a:pt x="2511" y="1867"/>
                </a:lnTo>
                <a:lnTo>
                  <a:pt x="2494" y="1852"/>
                </a:lnTo>
                <a:lnTo>
                  <a:pt x="2472" y="1831"/>
                </a:lnTo>
                <a:lnTo>
                  <a:pt x="2455" y="1812"/>
                </a:lnTo>
                <a:lnTo>
                  <a:pt x="2449" y="1803"/>
                </a:lnTo>
                <a:lnTo>
                  <a:pt x="2443" y="1795"/>
                </a:lnTo>
                <a:lnTo>
                  <a:pt x="2439" y="1784"/>
                </a:lnTo>
                <a:lnTo>
                  <a:pt x="2436" y="1778"/>
                </a:lnTo>
                <a:lnTo>
                  <a:pt x="2436" y="1772"/>
                </a:lnTo>
                <a:lnTo>
                  <a:pt x="2436" y="1765"/>
                </a:lnTo>
                <a:lnTo>
                  <a:pt x="2439" y="1757"/>
                </a:lnTo>
                <a:lnTo>
                  <a:pt x="2443" y="1750"/>
                </a:lnTo>
                <a:lnTo>
                  <a:pt x="2447" y="1742"/>
                </a:lnTo>
                <a:lnTo>
                  <a:pt x="2460" y="1727"/>
                </a:lnTo>
                <a:lnTo>
                  <a:pt x="2477" y="1706"/>
                </a:lnTo>
                <a:lnTo>
                  <a:pt x="2519" y="1659"/>
                </a:lnTo>
                <a:lnTo>
                  <a:pt x="2525" y="1659"/>
                </a:lnTo>
                <a:lnTo>
                  <a:pt x="2532" y="1662"/>
                </a:lnTo>
                <a:lnTo>
                  <a:pt x="2536" y="1666"/>
                </a:lnTo>
                <a:lnTo>
                  <a:pt x="2540" y="1672"/>
                </a:lnTo>
                <a:lnTo>
                  <a:pt x="2542" y="1676"/>
                </a:lnTo>
                <a:lnTo>
                  <a:pt x="2540" y="1683"/>
                </a:lnTo>
                <a:lnTo>
                  <a:pt x="2538" y="1687"/>
                </a:lnTo>
                <a:lnTo>
                  <a:pt x="2536" y="1691"/>
                </a:lnTo>
                <a:lnTo>
                  <a:pt x="2506" y="1725"/>
                </a:lnTo>
                <a:lnTo>
                  <a:pt x="2489" y="1744"/>
                </a:lnTo>
                <a:lnTo>
                  <a:pt x="2477" y="1761"/>
                </a:lnTo>
                <a:lnTo>
                  <a:pt x="2472" y="1765"/>
                </a:lnTo>
                <a:lnTo>
                  <a:pt x="2472" y="1770"/>
                </a:lnTo>
                <a:lnTo>
                  <a:pt x="2475" y="1776"/>
                </a:lnTo>
                <a:lnTo>
                  <a:pt x="2477" y="1780"/>
                </a:lnTo>
                <a:lnTo>
                  <a:pt x="2487" y="1793"/>
                </a:lnTo>
                <a:lnTo>
                  <a:pt x="2504" y="1810"/>
                </a:lnTo>
                <a:lnTo>
                  <a:pt x="2523" y="1831"/>
                </a:lnTo>
                <a:lnTo>
                  <a:pt x="2542" y="1848"/>
                </a:lnTo>
                <a:lnTo>
                  <a:pt x="2544" y="1850"/>
                </a:lnTo>
                <a:lnTo>
                  <a:pt x="2544" y="1854"/>
                </a:lnTo>
                <a:lnTo>
                  <a:pt x="2544" y="1856"/>
                </a:lnTo>
                <a:lnTo>
                  <a:pt x="2542" y="1861"/>
                </a:lnTo>
                <a:lnTo>
                  <a:pt x="2538" y="1867"/>
                </a:lnTo>
                <a:lnTo>
                  <a:pt x="2532" y="1873"/>
                </a:lnTo>
                <a:lnTo>
                  <a:pt x="2527" y="1873"/>
                </a:lnTo>
                <a:lnTo>
                  <a:pt x="2523" y="1873"/>
                </a:lnTo>
                <a:close/>
                <a:moveTo>
                  <a:pt x="934" y="694"/>
                </a:moveTo>
                <a:lnTo>
                  <a:pt x="925" y="694"/>
                </a:lnTo>
                <a:lnTo>
                  <a:pt x="917" y="692"/>
                </a:lnTo>
                <a:lnTo>
                  <a:pt x="908" y="690"/>
                </a:lnTo>
                <a:lnTo>
                  <a:pt x="900" y="686"/>
                </a:lnTo>
                <a:lnTo>
                  <a:pt x="891" y="682"/>
                </a:lnTo>
                <a:lnTo>
                  <a:pt x="883" y="677"/>
                </a:lnTo>
                <a:lnTo>
                  <a:pt x="876" y="671"/>
                </a:lnTo>
                <a:lnTo>
                  <a:pt x="870" y="663"/>
                </a:lnTo>
                <a:lnTo>
                  <a:pt x="864" y="656"/>
                </a:lnTo>
                <a:lnTo>
                  <a:pt x="859" y="648"/>
                </a:lnTo>
                <a:lnTo>
                  <a:pt x="851" y="631"/>
                </a:lnTo>
                <a:lnTo>
                  <a:pt x="847" y="620"/>
                </a:lnTo>
                <a:lnTo>
                  <a:pt x="845" y="610"/>
                </a:lnTo>
                <a:lnTo>
                  <a:pt x="845" y="599"/>
                </a:lnTo>
                <a:lnTo>
                  <a:pt x="842" y="588"/>
                </a:lnTo>
                <a:lnTo>
                  <a:pt x="845" y="578"/>
                </a:lnTo>
                <a:lnTo>
                  <a:pt x="845" y="565"/>
                </a:lnTo>
                <a:lnTo>
                  <a:pt x="847" y="555"/>
                </a:lnTo>
                <a:lnTo>
                  <a:pt x="851" y="544"/>
                </a:lnTo>
                <a:lnTo>
                  <a:pt x="855" y="533"/>
                </a:lnTo>
                <a:lnTo>
                  <a:pt x="859" y="525"/>
                </a:lnTo>
                <a:lnTo>
                  <a:pt x="866" y="516"/>
                </a:lnTo>
                <a:lnTo>
                  <a:pt x="872" y="508"/>
                </a:lnTo>
                <a:lnTo>
                  <a:pt x="878" y="500"/>
                </a:lnTo>
                <a:lnTo>
                  <a:pt x="885" y="493"/>
                </a:lnTo>
                <a:lnTo>
                  <a:pt x="893" y="487"/>
                </a:lnTo>
                <a:lnTo>
                  <a:pt x="902" y="483"/>
                </a:lnTo>
                <a:lnTo>
                  <a:pt x="910" y="478"/>
                </a:lnTo>
                <a:lnTo>
                  <a:pt x="921" y="474"/>
                </a:lnTo>
                <a:lnTo>
                  <a:pt x="929" y="472"/>
                </a:lnTo>
                <a:lnTo>
                  <a:pt x="940" y="472"/>
                </a:lnTo>
                <a:lnTo>
                  <a:pt x="953" y="474"/>
                </a:lnTo>
                <a:lnTo>
                  <a:pt x="957" y="474"/>
                </a:lnTo>
                <a:lnTo>
                  <a:pt x="963" y="476"/>
                </a:lnTo>
                <a:lnTo>
                  <a:pt x="972" y="480"/>
                </a:lnTo>
                <a:lnTo>
                  <a:pt x="980" y="489"/>
                </a:lnTo>
                <a:lnTo>
                  <a:pt x="986" y="497"/>
                </a:lnTo>
                <a:lnTo>
                  <a:pt x="991" y="506"/>
                </a:lnTo>
                <a:lnTo>
                  <a:pt x="993" y="516"/>
                </a:lnTo>
                <a:lnTo>
                  <a:pt x="993" y="529"/>
                </a:lnTo>
                <a:lnTo>
                  <a:pt x="993" y="538"/>
                </a:lnTo>
                <a:lnTo>
                  <a:pt x="991" y="544"/>
                </a:lnTo>
                <a:lnTo>
                  <a:pt x="989" y="550"/>
                </a:lnTo>
                <a:lnTo>
                  <a:pt x="986" y="559"/>
                </a:lnTo>
                <a:lnTo>
                  <a:pt x="982" y="565"/>
                </a:lnTo>
                <a:lnTo>
                  <a:pt x="978" y="571"/>
                </a:lnTo>
                <a:lnTo>
                  <a:pt x="967" y="582"/>
                </a:lnTo>
                <a:lnTo>
                  <a:pt x="961" y="588"/>
                </a:lnTo>
                <a:lnTo>
                  <a:pt x="955" y="593"/>
                </a:lnTo>
                <a:lnTo>
                  <a:pt x="942" y="601"/>
                </a:lnTo>
                <a:lnTo>
                  <a:pt x="934" y="603"/>
                </a:lnTo>
                <a:lnTo>
                  <a:pt x="927" y="605"/>
                </a:lnTo>
                <a:lnTo>
                  <a:pt x="910" y="607"/>
                </a:lnTo>
                <a:lnTo>
                  <a:pt x="906" y="605"/>
                </a:lnTo>
                <a:lnTo>
                  <a:pt x="902" y="603"/>
                </a:lnTo>
                <a:lnTo>
                  <a:pt x="900" y="601"/>
                </a:lnTo>
                <a:lnTo>
                  <a:pt x="898" y="599"/>
                </a:lnTo>
                <a:lnTo>
                  <a:pt x="898" y="595"/>
                </a:lnTo>
                <a:lnTo>
                  <a:pt x="895" y="588"/>
                </a:lnTo>
                <a:lnTo>
                  <a:pt x="895" y="582"/>
                </a:lnTo>
                <a:lnTo>
                  <a:pt x="898" y="580"/>
                </a:lnTo>
                <a:lnTo>
                  <a:pt x="900" y="578"/>
                </a:lnTo>
                <a:lnTo>
                  <a:pt x="912" y="574"/>
                </a:lnTo>
                <a:lnTo>
                  <a:pt x="925" y="569"/>
                </a:lnTo>
                <a:lnTo>
                  <a:pt x="936" y="565"/>
                </a:lnTo>
                <a:lnTo>
                  <a:pt x="944" y="557"/>
                </a:lnTo>
                <a:lnTo>
                  <a:pt x="953" y="550"/>
                </a:lnTo>
                <a:lnTo>
                  <a:pt x="955" y="546"/>
                </a:lnTo>
                <a:lnTo>
                  <a:pt x="957" y="542"/>
                </a:lnTo>
                <a:lnTo>
                  <a:pt x="961" y="533"/>
                </a:lnTo>
                <a:lnTo>
                  <a:pt x="961" y="525"/>
                </a:lnTo>
                <a:lnTo>
                  <a:pt x="961" y="519"/>
                </a:lnTo>
                <a:lnTo>
                  <a:pt x="961" y="514"/>
                </a:lnTo>
                <a:lnTo>
                  <a:pt x="959" y="512"/>
                </a:lnTo>
                <a:lnTo>
                  <a:pt x="955" y="508"/>
                </a:lnTo>
                <a:lnTo>
                  <a:pt x="953" y="506"/>
                </a:lnTo>
                <a:lnTo>
                  <a:pt x="948" y="504"/>
                </a:lnTo>
                <a:lnTo>
                  <a:pt x="938" y="502"/>
                </a:lnTo>
                <a:lnTo>
                  <a:pt x="927" y="504"/>
                </a:lnTo>
                <a:lnTo>
                  <a:pt x="921" y="506"/>
                </a:lnTo>
                <a:lnTo>
                  <a:pt x="917" y="508"/>
                </a:lnTo>
                <a:lnTo>
                  <a:pt x="910" y="512"/>
                </a:lnTo>
                <a:lnTo>
                  <a:pt x="906" y="516"/>
                </a:lnTo>
                <a:lnTo>
                  <a:pt x="898" y="527"/>
                </a:lnTo>
                <a:lnTo>
                  <a:pt x="893" y="533"/>
                </a:lnTo>
                <a:lnTo>
                  <a:pt x="889" y="540"/>
                </a:lnTo>
                <a:lnTo>
                  <a:pt x="883" y="555"/>
                </a:lnTo>
                <a:lnTo>
                  <a:pt x="878" y="569"/>
                </a:lnTo>
                <a:lnTo>
                  <a:pt x="878" y="578"/>
                </a:lnTo>
                <a:lnTo>
                  <a:pt x="876" y="586"/>
                </a:lnTo>
                <a:lnTo>
                  <a:pt x="878" y="601"/>
                </a:lnTo>
                <a:lnTo>
                  <a:pt x="878" y="610"/>
                </a:lnTo>
                <a:lnTo>
                  <a:pt x="881" y="616"/>
                </a:lnTo>
                <a:lnTo>
                  <a:pt x="887" y="629"/>
                </a:lnTo>
                <a:lnTo>
                  <a:pt x="893" y="637"/>
                </a:lnTo>
                <a:lnTo>
                  <a:pt x="902" y="648"/>
                </a:lnTo>
                <a:lnTo>
                  <a:pt x="906" y="650"/>
                </a:lnTo>
                <a:lnTo>
                  <a:pt x="910" y="654"/>
                </a:lnTo>
                <a:lnTo>
                  <a:pt x="923" y="656"/>
                </a:lnTo>
                <a:lnTo>
                  <a:pt x="929" y="658"/>
                </a:lnTo>
                <a:lnTo>
                  <a:pt x="936" y="658"/>
                </a:lnTo>
                <a:lnTo>
                  <a:pt x="948" y="656"/>
                </a:lnTo>
                <a:lnTo>
                  <a:pt x="959" y="654"/>
                </a:lnTo>
                <a:lnTo>
                  <a:pt x="965" y="652"/>
                </a:lnTo>
                <a:lnTo>
                  <a:pt x="969" y="648"/>
                </a:lnTo>
                <a:lnTo>
                  <a:pt x="980" y="641"/>
                </a:lnTo>
                <a:lnTo>
                  <a:pt x="991" y="631"/>
                </a:lnTo>
                <a:lnTo>
                  <a:pt x="999" y="620"/>
                </a:lnTo>
                <a:lnTo>
                  <a:pt x="1008" y="610"/>
                </a:lnTo>
                <a:lnTo>
                  <a:pt x="1014" y="597"/>
                </a:lnTo>
                <a:lnTo>
                  <a:pt x="1020" y="582"/>
                </a:lnTo>
                <a:lnTo>
                  <a:pt x="1025" y="569"/>
                </a:lnTo>
                <a:lnTo>
                  <a:pt x="1029" y="555"/>
                </a:lnTo>
                <a:lnTo>
                  <a:pt x="1033" y="540"/>
                </a:lnTo>
                <a:lnTo>
                  <a:pt x="1035" y="525"/>
                </a:lnTo>
                <a:lnTo>
                  <a:pt x="1037" y="510"/>
                </a:lnTo>
                <a:lnTo>
                  <a:pt x="1037" y="497"/>
                </a:lnTo>
                <a:lnTo>
                  <a:pt x="1037" y="485"/>
                </a:lnTo>
                <a:lnTo>
                  <a:pt x="1039" y="483"/>
                </a:lnTo>
                <a:lnTo>
                  <a:pt x="1041" y="480"/>
                </a:lnTo>
                <a:lnTo>
                  <a:pt x="1046" y="478"/>
                </a:lnTo>
                <a:lnTo>
                  <a:pt x="1050" y="478"/>
                </a:lnTo>
                <a:lnTo>
                  <a:pt x="1058" y="478"/>
                </a:lnTo>
                <a:lnTo>
                  <a:pt x="1063" y="480"/>
                </a:lnTo>
                <a:lnTo>
                  <a:pt x="1065" y="483"/>
                </a:lnTo>
                <a:lnTo>
                  <a:pt x="1069" y="491"/>
                </a:lnTo>
                <a:lnTo>
                  <a:pt x="1071" y="497"/>
                </a:lnTo>
                <a:lnTo>
                  <a:pt x="1071" y="504"/>
                </a:lnTo>
                <a:lnTo>
                  <a:pt x="1071" y="523"/>
                </a:lnTo>
                <a:lnTo>
                  <a:pt x="1067" y="540"/>
                </a:lnTo>
                <a:lnTo>
                  <a:pt x="1065" y="559"/>
                </a:lnTo>
                <a:lnTo>
                  <a:pt x="1061" y="576"/>
                </a:lnTo>
                <a:lnTo>
                  <a:pt x="1054" y="593"/>
                </a:lnTo>
                <a:lnTo>
                  <a:pt x="1048" y="607"/>
                </a:lnTo>
                <a:lnTo>
                  <a:pt x="1039" y="622"/>
                </a:lnTo>
                <a:lnTo>
                  <a:pt x="1031" y="637"/>
                </a:lnTo>
                <a:lnTo>
                  <a:pt x="1022" y="650"/>
                </a:lnTo>
                <a:lnTo>
                  <a:pt x="1016" y="654"/>
                </a:lnTo>
                <a:lnTo>
                  <a:pt x="1012" y="660"/>
                </a:lnTo>
                <a:lnTo>
                  <a:pt x="1001" y="671"/>
                </a:lnTo>
                <a:lnTo>
                  <a:pt x="989" y="679"/>
                </a:lnTo>
                <a:lnTo>
                  <a:pt x="976" y="686"/>
                </a:lnTo>
                <a:lnTo>
                  <a:pt x="963" y="690"/>
                </a:lnTo>
                <a:lnTo>
                  <a:pt x="948" y="694"/>
                </a:lnTo>
                <a:lnTo>
                  <a:pt x="934" y="694"/>
                </a:lnTo>
                <a:close/>
                <a:moveTo>
                  <a:pt x="1164" y="690"/>
                </a:moveTo>
                <a:lnTo>
                  <a:pt x="1160" y="688"/>
                </a:lnTo>
                <a:lnTo>
                  <a:pt x="1152" y="684"/>
                </a:lnTo>
                <a:lnTo>
                  <a:pt x="1135" y="667"/>
                </a:lnTo>
                <a:lnTo>
                  <a:pt x="1113" y="648"/>
                </a:lnTo>
                <a:lnTo>
                  <a:pt x="1096" y="629"/>
                </a:lnTo>
                <a:lnTo>
                  <a:pt x="1088" y="618"/>
                </a:lnTo>
                <a:lnTo>
                  <a:pt x="1084" y="612"/>
                </a:lnTo>
                <a:lnTo>
                  <a:pt x="1080" y="599"/>
                </a:lnTo>
                <a:lnTo>
                  <a:pt x="1077" y="595"/>
                </a:lnTo>
                <a:lnTo>
                  <a:pt x="1077" y="588"/>
                </a:lnTo>
                <a:lnTo>
                  <a:pt x="1077" y="582"/>
                </a:lnTo>
                <a:lnTo>
                  <a:pt x="1080" y="574"/>
                </a:lnTo>
                <a:lnTo>
                  <a:pt x="1084" y="567"/>
                </a:lnTo>
                <a:lnTo>
                  <a:pt x="1088" y="559"/>
                </a:lnTo>
                <a:lnTo>
                  <a:pt x="1101" y="544"/>
                </a:lnTo>
                <a:lnTo>
                  <a:pt x="1118" y="523"/>
                </a:lnTo>
                <a:lnTo>
                  <a:pt x="1160" y="474"/>
                </a:lnTo>
                <a:lnTo>
                  <a:pt x="1166" y="476"/>
                </a:lnTo>
                <a:lnTo>
                  <a:pt x="1173" y="478"/>
                </a:lnTo>
                <a:lnTo>
                  <a:pt x="1177" y="483"/>
                </a:lnTo>
                <a:lnTo>
                  <a:pt x="1181" y="487"/>
                </a:lnTo>
                <a:lnTo>
                  <a:pt x="1183" y="493"/>
                </a:lnTo>
                <a:lnTo>
                  <a:pt x="1181" y="500"/>
                </a:lnTo>
                <a:lnTo>
                  <a:pt x="1179" y="504"/>
                </a:lnTo>
                <a:lnTo>
                  <a:pt x="1177" y="508"/>
                </a:lnTo>
                <a:lnTo>
                  <a:pt x="1147" y="542"/>
                </a:lnTo>
                <a:lnTo>
                  <a:pt x="1130" y="561"/>
                </a:lnTo>
                <a:lnTo>
                  <a:pt x="1118" y="578"/>
                </a:lnTo>
                <a:lnTo>
                  <a:pt x="1113" y="582"/>
                </a:lnTo>
                <a:lnTo>
                  <a:pt x="1113" y="586"/>
                </a:lnTo>
                <a:lnTo>
                  <a:pt x="1113" y="591"/>
                </a:lnTo>
                <a:lnTo>
                  <a:pt x="1118" y="597"/>
                </a:lnTo>
                <a:lnTo>
                  <a:pt x="1128" y="610"/>
                </a:lnTo>
                <a:lnTo>
                  <a:pt x="1145" y="627"/>
                </a:lnTo>
                <a:lnTo>
                  <a:pt x="1164" y="648"/>
                </a:lnTo>
                <a:lnTo>
                  <a:pt x="1183" y="665"/>
                </a:lnTo>
                <a:lnTo>
                  <a:pt x="1185" y="667"/>
                </a:lnTo>
                <a:lnTo>
                  <a:pt x="1185" y="671"/>
                </a:lnTo>
                <a:lnTo>
                  <a:pt x="1185" y="673"/>
                </a:lnTo>
                <a:lnTo>
                  <a:pt x="1183" y="677"/>
                </a:lnTo>
                <a:lnTo>
                  <a:pt x="1179" y="684"/>
                </a:lnTo>
                <a:lnTo>
                  <a:pt x="1173" y="688"/>
                </a:lnTo>
                <a:lnTo>
                  <a:pt x="1168" y="690"/>
                </a:lnTo>
                <a:lnTo>
                  <a:pt x="1164" y="690"/>
                </a:lnTo>
                <a:close/>
                <a:moveTo>
                  <a:pt x="934" y="1287"/>
                </a:moveTo>
                <a:lnTo>
                  <a:pt x="925" y="1285"/>
                </a:lnTo>
                <a:lnTo>
                  <a:pt x="917" y="1285"/>
                </a:lnTo>
                <a:lnTo>
                  <a:pt x="908" y="1281"/>
                </a:lnTo>
                <a:lnTo>
                  <a:pt x="900" y="1278"/>
                </a:lnTo>
                <a:lnTo>
                  <a:pt x="891" y="1274"/>
                </a:lnTo>
                <a:lnTo>
                  <a:pt x="883" y="1268"/>
                </a:lnTo>
                <a:lnTo>
                  <a:pt x="876" y="1262"/>
                </a:lnTo>
                <a:lnTo>
                  <a:pt x="870" y="1255"/>
                </a:lnTo>
                <a:lnTo>
                  <a:pt x="864" y="1247"/>
                </a:lnTo>
                <a:lnTo>
                  <a:pt x="859" y="1240"/>
                </a:lnTo>
                <a:lnTo>
                  <a:pt x="851" y="1221"/>
                </a:lnTo>
                <a:lnTo>
                  <a:pt x="847" y="1211"/>
                </a:lnTo>
                <a:lnTo>
                  <a:pt x="845" y="1202"/>
                </a:lnTo>
                <a:lnTo>
                  <a:pt x="845" y="1192"/>
                </a:lnTo>
                <a:lnTo>
                  <a:pt x="842" y="1179"/>
                </a:lnTo>
                <a:lnTo>
                  <a:pt x="845" y="1168"/>
                </a:lnTo>
                <a:lnTo>
                  <a:pt x="845" y="1158"/>
                </a:lnTo>
                <a:lnTo>
                  <a:pt x="847" y="1147"/>
                </a:lnTo>
                <a:lnTo>
                  <a:pt x="851" y="1137"/>
                </a:lnTo>
                <a:lnTo>
                  <a:pt x="855" y="1126"/>
                </a:lnTo>
                <a:lnTo>
                  <a:pt x="859" y="1115"/>
                </a:lnTo>
                <a:lnTo>
                  <a:pt x="866" y="1107"/>
                </a:lnTo>
                <a:lnTo>
                  <a:pt x="872" y="1099"/>
                </a:lnTo>
                <a:lnTo>
                  <a:pt x="878" y="1092"/>
                </a:lnTo>
                <a:lnTo>
                  <a:pt x="885" y="1084"/>
                </a:lnTo>
                <a:lnTo>
                  <a:pt x="893" y="1077"/>
                </a:lnTo>
                <a:lnTo>
                  <a:pt x="902" y="1073"/>
                </a:lnTo>
                <a:lnTo>
                  <a:pt x="910" y="1069"/>
                </a:lnTo>
                <a:lnTo>
                  <a:pt x="921" y="1067"/>
                </a:lnTo>
                <a:lnTo>
                  <a:pt x="929" y="1065"/>
                </a:lnTo>
                <a:lnTo>
                  <a:pt x="940" y="1065"/>
                </a:lnTo>
                <a:lnTo>
                  <a:pt x="953" y="1065"/>
                </a:lnTo>
                <a:lnTo>
                  <a:pt x="957" y="1067"/>
                </a:lnTo>
                <a:lnTo>
                  <a:pt x="963" y="1069"/>
                </a:lnTo>
                <a:lnTo>
                  <a:pt x="972" y="1073"/>
                </a:lnTo>
                <a:lnTo>
                  <a:pt x="980" y="1079"/>
                </a:lnTo>
                <a:lnTo>
                  <a:pt x="986" y="1088"/>
                </a:lnTo>
                <a:lnTo>
                  <a:pt x="991" y="1099"/>
                </a:lnTo>
                <a:lnTo>
                  <a:pt x="993" y="1109"/>
                </a:lnTo>
                <a:lnTo>
                  <a:pt x="993" y="1122"/>
                </a:lnTo>
                <a:lnTo>
                  <a:pt x="993" y="1128"/>
                </a:lnTo>
                <a:lnTo>
                  <a:pt x="991" y="1137"/>
                </a:lnTo>
                <a:lnTo>
                  <a:pt x="989" y="1143"/>
                </a:lnTo>
                <a:lnTo>
                  <a:pt x="986" y="1149"/>
                </a:lnTo>
                <a:lnTo>
                  <a:pt x="982" y="1158"/>
                </a:lnTo>
                <a:lnTo>
                  <a:pt x="978" y="1164"/>
                </a:lnTo>
                <a:lnTo>
                  <a:pt x="967" y="1175"/>
                </a:lnTo>
                <a:lnTo>
                  <a:pt x="961" y="1179"/>
                </a:lnTo>
                <a:lnTo>
                  <a:pt x="955" y="1185"/>
                </a:lnTo>
                <a:lnTo>
                  <a:pt x="942" y="1192"/>
                </a:lnTo>
                <a:lnTo>
                  <a:pt x="934" y="1194"/>
                </a:lnTo>
                <a:lnTo>
                  <a:pt x="927" y="1196"/>
                </a:lnTo>
                <a:lnTo>
                  <a:pt x="910" y="1198"/>
                </a:lnTo>
                <a:lnTo>
                  <a:pt x="906" y="1196"/>
                </a:lnTo>
                <a:lnTo>
                  <a:pt x="902" y="1196"/>
                </a:lnTo>
                <a:lnTo>
                  <a:pt x="900" y="1194"/>
                </a:lnTo>
                <a:lnTo>
                  <a:pt x="898" y="1190"/>
                </a:lnTo>
                <a:lnTo>
                  <a:pt x="898" y="1187"/>
                </a:lnTo>
                <a:lnTo>
                  <a:pt x="895" y="1179"/>
                </a:lnTo>
                <a:lnTo>
                  <a:pt x="895" y="1173"/>
                </a:lnTo>
                <a:lnTo>
                  <a:pt x="898" y="1170"/>
                </a:lnTo>
                <a:lnTo>
                  <a:pt x="900" y="1168"/>
                </a:lnTo>
                <a:lnTo>
                  <a:pt x="912" y="1166"/>
                </a:lnTo>
                <a:lnTo>
                  <a:pt x="925" y="1162"/>
                </a:lnTo>
                <a:lnTo>
                  <a:pt x="936" y="1156"/>
                </a:lnTo>
                <a:lnTo>
                  <a:pt x="944" y="1149"/>
                </a:lnTo>
                <a:lnTo>
                  <a:pt x="953" y="1141"/>
                </a:lnTo>
                <a:lnTo>
                  <a:pt x="955" y="1137"/>
                </a:lnTo>
                <a:lnTo>
                  <a:pt x="957" y="1132"/>
                </a:lnTo>
                <a:lnTo>
                  <a:pt x="961" y="1124"/>
                </a:lnTo>
                <a:lnTo>
                  <a:pt x="961" y="1115"/>
                </a:lnTo>
                <a:lnTo>
                  <a:pt x="961" y="1111"/>
                </a:lnTo>
                <a:lnTo>
                  <a:pt x="961" y="1107"/>
                </a:lnTo>
                <a:lnTo>
                  <a:pt x="959" y="1103"/>
                </a:lnTo>
                <a:lnTo>
                  <a:pt x="955" y="1101"/>
                </a:lnTo>
                <a:lnTo>
                  <a:pt x="953" y="1096"/>
                </a:lnTo>
                <a:lnTo>
                  <a:pt x="948" y="1094"/>
                </a:lnTo>
                <a:lnTo>
                  <a:pt x="938" y="1094"/>
                </a:lnTo>
                <a:lnTo>
                  <a:pt x="927" y="1096"/>
                </a:lnTo>
                <a:lnTo>
                  <a:pt x="921" y="1099"/>
                </a:lnTo>
                <a:lnTo>
                  <a:pt x="917" y="1101"/>
                </a:lnTo>
                <a:lnTo>
                  <a:pt x="910" y="1105"/>
                </a:lnTo>
                <a:lnTo>
                  <a:pt x="906" y="1109"/>
                </a:lnTo>
                <a:lnTo>
                  <a:pt x="898" y="1120"/>
                </a:lnTo>
                <a:lnTo>
                  <a:pt x="893" y="1124"/>
                </a:lnTo>
                <a:lnTo>
                  <a:pt x="889" y="1130"/>
                </a:lnTo>
                <a:lnTo>
                  <a:pt x="883" y="1145"/>
                </a:lnTo>
                <a:lnTo>
                  <a:pt x="878" y="1162"/>
                </a:lnTo>
                <a:lnTo>
                  <a:pt x="878" y="1170"/>
                </a:lnTo>
                <a:lnTo>
                  <a:pt x="876" y="1179"/>
                </a:lnTo>
                <a:lnTo>
                  <a:pt x="878" y="1194"/>
                </a:lnTo>
                <a:lnTo>
                  <a:pt x="878" y="1200"/>
                </a:lnTo>
                <a:lnTo>
                  <a:pt x="881" y="1206"/>
                </a:lnTo>
                <a:lnTo>
                  <a:pt x="887" y="1219"/>
                </a:lnTo>
                <a:lnTo>
                  <a:pt x="893" y="1230"/>
                </a:lnTo>
                <a:lnTo>
                  <a:pt x="902" y="1238"/>
                </a:lnTo>
                <a:lnTo>
                  <a:pt x="906" y="1242"/>
                </a:lnTo>
                <a:lnTo>
                  <a:pt x="910" y="1245"/>
                </a:lnTo>
                <a:lnTo>
                  <a:pt x="923" y="1249"/>
                </a:lnTo>
                <a:lnTo>
                  <a:pt x="929" y="1249"/>
                </a:lnTo>
                <a:lnTo>
                  <a:pt x="936" y="1251"/>
                </a:lnTo>
                <a:lnTo>
                  <a:pt x="948" y="1249"/>
                </a:lnTo>
                <a:lnTo>
                  <a:pt x="959" y="1245"/>
                </a:lnTo>
                <a:lnTo>
                  <a:pt x="965" y="1242"/>
                </a:lnTo>
                <a:lnTo>
                  <a:pt x="969" y="1240"/>
                </a:lnTo>
                <a:lnTo>
                  <a:pt x="980" y="1232"/>
                </a:lnTo>
                <a:lnTo>
                  <a:pt x="991" y="1223"/>
                </a:lnTo>
                <a:lnTo>
                  <a:pt x="999" y="1213"/>
                </a:lnTo>
                <a:lnTo>
                  <a:pt x="1008" y="1200"/>
                </a:lnTo>
                <a:lnTo>
                  <a:pt x="1014" y="1187"/>
                </a:lnTo>
                <a:lnTo>
                  <a:pt x="1020" y="1175"/>
                </a:lnTo>
                <a:lnTo>
                  <a:pt x="1025" y="1160"/>
                </a:lnTo>
                <a:lnTo>
                  <a:pt x="1029" y="1145"/>
                </a:lnTo>
                <a:lnTo>
                  <a:pt x="1033" y="1132"/>
                </a:lnTo>
                <a:lnTo>
                  <a:pt x="1035" y="1118"/>
                </a:lnTo>
                <a:lnTo>
                  <a:pt x="1037" y="1103"/>
                </a:lnTo>
                <a:lnTo>
                  <a:pt x="1037" y="1090"/>
                </a:lnTo>
                <a:lnTo>
                  <a:pt x="1037" y="1077"/>
                </a:lnTo>
                <a:lnTo>
                  <a:pt x="1039" y="1073"/>
                </a:lnTo>
                <a:lnTo>
                  <a:pt x="1041" y="1071"/>
                </a:lnTo>
                <a:lnTo>
                  <a:pt x="1046" y="1069"/>
                </a:lnTo>
                <a:lnTo>
                  <a:pt x="1050" y="1069"/>
                </a:lnTo>
                <a:lnTo>
                  <a:pt x="1058" y="1071"/>
                </a:lnTo>
                <a:lnTo>
                  <a:pt x="1063" y="1073"/>
                </a:lnTo>
                <a:lnTo>
                  <a:pt x="1065" y="1075"/>
                </a:lnTo>
                <a:lnTo>
                  <a:pt x="1069" y="1082"/>
                </a:lnTo>
                <a:lnTo>
                  <a:pt x="1071" y="1088"/>
                </a:lnTo>
                <a:lnTo>
                  <a:pt x="1071" y="1094"/>
                </a:lnTo>
                <a:lnTo>
                  <a:pt x="1071" y="1113"/>
                </a:lnTo>
                <a:lnTo>
                  <a:pt x="1067" y="1132"/>
                </a:lnTo>
                <a:lnTo>
                  <a:pt x="1065" y="1149"/>
                </a:lnTo>
                <a:lnTo>
                  <a:pt x="1061" y="1166"/>
                </a:lnTo>
                <a:lnTo>
                  <a:pt x="1054" y="1183"/>
                </a:lnTo>
                <a:lnTo>
                  <a:pt x="1048" y="1200"/>
                </a:lnTo>
                <a:lnTo>
                  <a:pt x="1039" y="1215"/>
                </a:lnTo>
                <a:lnTo>
                  <a:pt x="1031" y="1228"/>
                </a:lnTo>
                <a:lnTo>
                  <a:pt x="1022" y="1240"/>
                </a:lnTo>
                <a:lnTo>
                  <a:pt x="1016" y="1247"/>
                </a:lnTo>
                <a:lnTo>
                  <a:pt x="1012" y="1253"/>
                </a:lnTo>
                <a:lnTo>
                  <a:pt x="1001" y="1262"/>
                </a:lnTo>
                <a:lnTo>
                  <a:pt x="989" y="1270"/>
                </a:lnTo>
                <a:lnTo>
                  <a:pt x="976" y="1276"/>
                </a:lnTo>
                <a:lnTo>
                  <a:pt x="963" y="1283"/>
                </a:lnTo>
                <a:lnTo>
                  <a:pt x="948" y="1285"/>
                </a:lnTo>
                <a:lnTo>
                  <a:pt x="934" y="1287"/>
                </a:lnTo>
                <a:close/>
                <a:moveTo>
                  <a:pt x="1164" y="1283"/>
                </a:moveTo>
                <a:lnTo>
                  <a:pt x="1160" y="1281"/>
                </a:lnTo>
                <a:lnTo>
                  <a:pt x="1152" y="1274"/>
                </a:lnTo>
                <a:lnTo>
                  <a:pt x="1135" y="1259"/>
                </a:lnTo>
                <a:lnTo>
                  <a:pt x="1113" y="1240"/>
                </a:lnTo>
                <a:lnTo>
                  <a:pt x="1096" y="1219"/>
                </a:lnTo>
                <a:lnTo>
                  <a:pt x="1088" y="1211"/>
                </a:lnTo>
                <a:lnTo>
                  <a:pt x="1084" y="1204"/>
                </a:lnTo>
                <a:lnTo>
                  <a:pt x="1080" y="1192"/>
                </a:lnTo>
                <a:lnTo>
                  <a:pt x="1077" y="1185"/>
                </a:lnTo>
                <a:lnTo>
                  <a:pt x="1077" y="1179"/>
                </a:lnTo>
                <a:lnTo>
                  <a:pt x="1077" y="1173"/>
                </a:lnTo>
                <a:lnTo>
                  <a:pt x="1080" y="1166"/>
                </a:lnTo>
                <a:lnTo>
                  <a:pt x="1084" y="1158"/>
                </a:lnTo>
                <a:lnTo>
                  <a:pt x="1088" y="1149"/>
                </a:lnTo>
                <a:lnTo>
                  <a:pt x="1101" y="1135"/>
                </a:lnTo>
                <a:lnTo>
                  <a:pt x="1118" y="1115"/>
                </a:lnTo>
                <a:lnTo>
                  <a:pt x="1160" y="1067"/>
                </a:lnTo>
                <a:lnTo>
                  <a:pt x="1166" y="1067"/>
                </a:lnTo>
                <a:lnTo>
                  <a:pt x="1173" y="1069"/>
                </a:lnTo>
                <a:lnTo>
                  <a:pt x="1177" y="1073"/>
                </a:lnTo>
                <a:lnTo>
                  <a:pt x="1181" y="1079"/>
                </a:lnTo>
                <a:lnTo>
                  <a:pt x="1183" y="1086"/>
                </a:lnTo>
                <a:lnTo>
                  <a:pt x="1181" y="1092"/>
                </a:lnTo>
                <a:lnTo>
                  <a:pt x="1179" y="1094"/>
                </a:lnTo>
                <a:lnTo>
                  <a:pt x="1177" y="1099"/>
                </a:lnTo>
                <a:lnTo>
                  <a:pt x="1147" y="1132"/>
                </a:lnTo>
                <a:lnTo>
                  <a:pt x="1130" y="1154"/>
                </a:lnTo>
                <a:lnTo>
                  <a:pt x="1118" y="1168"/>
                </a:lnTo>
                <a:lnTo>
                  <a:pt x="1113" y="1173"/>
                </a:lnTo>
                <a:lnTo>
                  <a:pt x="1113" y="1179"/>
                </a:lnTo>
                <a:lnTo>
                  <a:pt x="1113" y="1183"/>
                </a:lnTo>
                <a:lnTo>
                  <a:pt x="1118" y="1190"/>
                </a:lnTo>
                <a:lnTo>
                  <a:pt x="1128" y="1202"/>
                </a:lnTo>
                <a:lnTo>
                  <a:pt x="1145" y="1219"/>
                </a:lnTo>
                <a:lnTo>
                  <a:pt x="1164" y="1238"/>
                </a:lnTo>
                <a:lnTo>
                  <a:pt x="1183" y="1257"/>
                </a:lnTo>
                <a:lnTo>
                  <a:pt x="1185" y="1259"/>
                </a:lnTo>
                <a:lnTo>
                  <a:pt x="1185" y="1262"/>
                </a:lnTo>
                <a:lnTo>
                  <a:pt x="1185" y="1266"/>
                </a:lnTo>
                <a:lnTo>
                  <a:pt x="1183" y="1268"/>
                </a:lnTo>
                <a:lnTo>
                  <a:pt x="1179" y="1276"/>
                </a:lnTo>
                <a:lnTo>
                  <a:pt x="1173" y="1281"/>
                </a:lnTo>
                <a:lnTo>
                  <a:pt x="1168" y="1283"/>
                </a:lnTo>
                <a:lnTo>
                  <a:pt x="1164" y="1283"/>
                </a:lnTo>
                <a:close/>
                <a:moveTo>
                  <a:pt x="934" y="1877"/>
                </a:moveTo>
                <a:lnTo>
                  <a:pt x="925" y="1877"/>
                </a:lnTo>
                <a:lnTo>
                  <a:pt x="917" y="1875"/>
                </a:lnTo>
                <a:lnTo>
                  <a:pt x="908" y="1873"/>
                </a:lnTo>
                <a:lnTo>
                  <a:pt x="900" y="1869"/>
                </a:lnTo>
                <a:lnTo>
                  <a:pt x="891" y="1865"/>
                </a:lnTo>
                <a:lnTo>
                  <a:pt x="883" y="1861"/>
                </a:lnTo>
                <a:lnTo>
                  <a:pt x="876" y="1854"/>
                </a:lnTo>
                <a:lnTo>
                  <a:pt x="870" y="1848"/>
                </a:lnTo>
                <a:lnTo>
                  <a:pt x="864" y="1839"/>
                </a:lnTo>
                <a:lnTo>
                  <a:pt x="859" y="1831"/>
                </a:lnTo>
                <a:lnTo>
                  <a:pt x="851" y="1814"/>
                </a:lnTo>
                <a:lnTo>
                  <a:pt x="847" y="1803"/>
                </a:lnTo>
                <a:lnTo>
                  <a:pt x="845" y="1793"/>
                </a:lnTo>
                <a:lnTo>
                  <a:pt x="845" y="1782"/>
                </a:lnTo>
                <a:lnTo>
                  <a:pt x="842" y="1772"/>
                </a:lnTo>
                <a:lnTo>
                  <a:pt x="845" y="1761"/>
                </a:lnTo>
                <a:lnTo>
                  <a:pt x="845" y="1748"/>
                </a:lnTo>
                <a:lnTo>
                  <a:pt x="847" y="1738"/>
                </a:lnTo>
                <a:lnTo>
                  <a:pt x="851" y="1727"/>
                </a:lnTo>
                <a:lnTo>
                  <a:pt x="855" y="1719"/>
                </a:lnTo>
                <a:lnTo>
                  <a:pt x="859" y="1708"/>
                </a:lnTo>
                <a:lnTo>
                  <a:pt x="866" y="1700"/>
                </a:lnTo>
                <a:lnTo>
                  <a:pt x="872" y="1691"/>
                </a:lnTo>
                <a:lnTo>
                  <a:pt x="878" y="1683"/>
                </a:lnTo>
                <a:lnTo>
                  <a:pt x="885" y="1676"/>
                </a:lnTo>
                <a:lnTo>
                  <a:pt x="893" y="1670"/>
                </a:lnTo>
                <a:lnTo>
                  <a:pt x="902" y="1666"/>
                </a:lnTo>
                <a:lnTo>
                  <a:pt x="910" y="1662"/>
                </a:lnTo>
                <a:lnTo>
                  <a:pt x="921" y="1657"/>
                </a:lnTo>
                <a:lnTo>
                  <a:pt x="929" y="1655"/>
                </a:lnTo>
                <a:lnTo>
                  <a:pt x="940" y="1655"/>
                </a:lnTo>
                <a:lnTo>
                  <a:pt x="953" y="1657"/>
                </a:lnTo>
                <a:lnTo>
                  <a:pt x="957" y="1657"/>
                </a:lnTo>
                <a:lnTo>
                  <a:pt x="963" y="1659"/>
                </a:lnTo>
                <a:lnTo>
                  <a:pt x="972" y="1666"/>
                </a:lnTo>
                <a:lnTo>
                  <a:pt x="980" y="1672"/>
                </a:lnTo>
                <a:lnTo>
                  <a:pt x="986" y="1681"/>
                </a:lnTo>
                <a:lnTo>
                  <a:pt x="991" y="1689"/>
                </a:lnTo>
                <a:lnTo>
                  <a:pt x="993" y="1702"/>
                </a:lnTo>
                <a:lnTo>
                  <a:pt x="993" y="1712"/>
                </a:lnTo>
                <a:lnTo>
                  <a:pt x="993" y="1721"/>
                </a:lnTo>
                <a:lnTo>
                  <a:pt x="991" y="1727"/>
                </a:lnTo>
                <a:lnTo>
                  <a:pt x="989" y="1736"/>
                </a:lnTo>
                <a:lnTo>
                  <a:pt x="986" y="1742"/>
                </a:lnTo>
                <a:lnTo>
                  <a:pt x="982" y="1748"/>
                </a:lnTo>
                <a:lnTo>
                  <a:pt x="978" y="1755"/>
                </a:lnTo>
                <a:lnTo>
                  <a:pt x="967" y="1767"/>
                </a:lnTo>
                <a:lnTo>
                  <a:pt x="961" y="1772"/>
                </a:lnTo>
                <a:lnTo>
                  <a:pt x="955" y="1776"/>
                </a:lnTo>
                <a:lnTo>
                  <a:pt x="942" y="1784"/>
                </a:lnTo>
                <a:lnTo>
                  <a:pt x="934" y="1786"/>
                </a:lnTo>
                <a:lnTo>
                  <a:pt x="927" y="1789"/>
                </a:lnTo>
                <a:lnTo>
                  <a:pt x="910" y="1791"/>
                </a:lnTo>
                <a:lnTo>
                  <a:pt x="906" y="1789"/>
                </a:lnTo>
                <a:lnTo>
                  <a:pt x="902" y="1786"/>
                </a:lnTo>
                <a:lnTo>
                  <a:pt x="900" y="1784"/>
                </a:lnTo>
                <a:lnTo>
                  <a:pt x="898" y="1782"/>
                </a:lnTo>
                <a:lnTo>
                  <a:pt x="898" y="1778"/>
                </a:lnTo>
                <a:lnTo>
                  <a:pt x="895" y="1772"/>
                </a:lnTo>
                <a:lnTo>
                  <a:pt x="895" y="1765"/>
                </a:lnTo>
                <a:lnTo>
                  <a:pt x="898" y="1763"/>
                </a:lnTo>
                <a:lnTo>
                  <a:pt x="900" y="1761"/>
                </a:lnTo>
                <a:lnTo>
                  <a:pt x="912" y="1759"/>
                </a:lnTo>
                <a:lnTo>
                  <a:pt x="925" y="1753"/>
                </a:lnTo>
                <a:lnTo>
                  <a:pt x="936" y="1748"/>
                </a:lnTo>
                <a:lnTo>
                  <a:pt x="944" y="1740"/>
                </a:lnTo>
                <a:lnTo>
                  <a:pt x="953" y="1734"/>
                </a:lnTo>
                <a:lnTo>
                  <a:pt x="955" y="1729"/>
                </a:lnTo>
                <a:lnTo>
                  <a:pt x="957" y="1725"/>
                </a:lnTo>
                <a:lnTo>
                  <a:pt x="961" y="1717"/>
                </a:lnTo>
                <a:lnTo>
                  <a:pt x="961" y="1708"/>
                </a:lnTo>
                <a:lnTo>
                  <a:pt x="961" y="1704"/>
                </a:lnTo>
                <a:lnTo>
                  <a:pt x="961" y="1698"/>
                </a:lnTo>
                <a:lnTo>
                  <a:pt x="959" y="1695"/>
                </a:lnTo>
                <a:lnTo>
                  <a:pt x="955" y="1691"/>
                </a:lnTo>
                <a:lnTo>
                  <a:pt x="953" y="1689"/>
                </a:lnTo>
                <a:lnTo>
                  <a:pt x="948" y="1687"/>
                </a:lnTo>
                <a:lnTo>
                  <a:pt x="938" y="1685"/>
                </a:lnTo>
                <a:lnTo>
                  <a:pt x="927" y="1687"/>
                </a:lnTo>
                <a:lnTo>
                  <a:pt x="921" y="1689"/>
                </a:lnTo>
                <a:lnTo>
                  <a:pt x="917" y="1691"/>
                </a:lnTo>
                <a:lnTo>
                  <a:pt x="910" y="1695"/>
                </a:lnTo>
                <a:lnTo>
                  <a:pt x="906" y="1700"/>
                </a:lnTo>
                <a:lnTo>
                  <a:pt x="898" y="1710"/>
                </a:lnTo>
                <a:lnTo>
                  <a:pt x="893" y="1717"/>
                </a:lnTo>
                <a:lnTo>
                  <a:pt x="889" y="1723"/>
                </a:lnTo>
                <a:lnTo>
                  <a:pt x="883" y="1738"/>
                </a:lnTo>
                <a:lnTo>
                  <a:pt x="878" y="1753"/>
                </a:lnTo>
                <a:lnTo>
                  <a:pt x="878" y="1761"/>
                </a:lnTo>
                <a:lnTo>
                  <a:pt x="876" y="1770"/>
                </a:lnTo>
                <a:lnTo>
                  <a:pt x="878" y="1784"/>
                </a:lnTo>
                <a:lnTo>
                  <a:pt x="878" y="1793"/>
                </a:lnTo>
                <a:lnTo>
                  <a:pt x="881" y="1799"/>
                </a:lnTo>
                <a:lnTo>
                  <a:pt x="887" y="1812"/>
                </a:lnTo>
                <a:lnTo>
                  <a:pt x="893" y="1822"/>
                </a:lnTo>
                <a:lnTo>
                  <a:pt x="902" y="1831"/>
                </a:lnTo>
                <a:lnTo>
                  <a:pt x="906" y="1833"/>
                </a:lnTo>
                <a:lnTo>
                  <a:pt x="910" y="1837"/>
                </a:lnTo>
                <a:lnTo>
                  <a:pt x="923" y="1841"/>
                </a:lnTo>
                <a:lnTo>
                  <a:pt x="929" y="1841"/>
                </a:lnTo>
                <a:lnTo>
                  <a:pt x="936" y="1841"/>
                </a:lnTo>
                <a:lnTo>
                  <a:pt x="948" y="1841"/>
                </a:lnTo>
                <a:lnTo>
                  <a:pt x="959" y="1837"/>
                </a:lnTo>
                <a:lnTo>
                  <a:pt x="965" y="1835"/>
                </a:lnTo>
                <a:lnTo>
                  <a:pt x="969" y="1831"/>
                </a:lnTo>
                <a:lnTo>
                  <a:pt x="980" y="1825"/>
                </a:lnTo>
                <a:lnTo>
                  <a:pt x="991" y="1814"/>
                </a:lnTo>
                <a:lnTo>
                  <a:pt x="999" y="1803"/>
                </a:lnTo>
                <a:lnTo>
                  <a:pt x="1008" y="1793"/>
                </a:lnTo>
                <a:lnTo>
                  <a:pt x="1014" y="1780"/>
                </a:lnTo>
                <a:lnTo>
                  <a:pt x="1020" y="1765"/>
                </a:lnTo>
                <a:lnTo>
                  <a:pt x="1025" y="1753"/>
                </a:lnTo>
                <a:lnTo>
                  <a:pt x="1029" y="1738"/>
                </a:lnTo>
                <a:lnTo>
                  <a:pt x="1033" y="1723"/>
                </a:lnTo>
                <a:lnTo>
                  <a:pt x="1035" y="1708"/>
                </a:lnTo>
                <a:lnTo>
                  <a:pt x="1037" y="1695"/>
                </a:lnTo>
                <a:lnTo>
                  <a:pt x="1037" y="1681"/>
                </a:lnTo>
                <a:lnTo>
                  <a:pt x="1037" y="1668"/>
                </a:lnTo>
                <a:lnTo>
                  <a:pt x="1039" y="1666"/>
                </a:lnTo>
                <a:lnTo>
                  <a:pt x="1041" y="1664"/>
                </a:lnTo>
                <a:lnTo>
                  <a:pt x="1046" y="1662"/>
                </a:lnTo>
                <a:lnTo>
                  <a:pt x="1050" y="1662"/>
                </a:lnTo>
                <a:lnTo>
                  <a:pt x="1058" y="1662"/>
                </a:lnTo>
                <a:lnTo>
                  <a:pt x="1063" y="1664"/>
                </a:lnTo>
                <a:lnTo>
                  <a:pt x="1065" y="1666"/>
                </a:lnTo>
                <a:lnTo>
                  <a:pt x="1069" y="1674"/>
                </a:lnTo>
                <a:lnTo>
                  <a:pt x="1071" y="1681"/>
                </a:lnTo>
                <a:lnTo>
                  <a:pt x="1071" y="1687"/>
                </a:lnTo>
                <a:lnTo>
                  <a:pt x="1071" y="1706"/>
                </a:lnTo>
                <a:lnTo>
                  <a:pt x="1067" y="1723"/>
                </a:lnTo>
                <a:lnTo>
                  <a:pt x="1065" y="1742"/>
                </a:lnTo>
                <a:lnTo>
                  <a:pt x="1061" y="1759"/>
                </a:lnTo>
                <a:lnTo>
                  <a:pt x="1054" y="1776"/>
                </a:lnTo>
                <a:lnTo>
                  <a:pt x="1048" y="1791"/>
                </a:lnTo>
                <a:lnTo>
                  <a:pt x="1039" y="1805"/>
                </a:lnTo>
                <a:lnTo>
                  <a:pt x="1031" y="1820"/>
                </a:lnTo>
                <a:lnTo>
                  <a:pt x="1022" y="1833"/>
                </a:lnTo>
                <a:lnTo>
                  <a:pt x="1016" y="1839"/>
                </a:lnTo>
                <a:lnTo>
                  <a:pt x="1012" y="1844"/>
                </a:lnTo>
                <a:lnTo>
                  <a:pt x="1001" y="1854"/>
                </a:lnTo>
                <a:lnTo>
                  <a:pt x="989" y="1863"/>
                </a:lnTo>
                <a:lnTo>
                  <a:pt x="976" y="1869"/>
                </a:lnTo>
                <a:lnTo>
                  <a:pt x="963" y="1873"/>
                </a:lnTo>
                <a:lnTo>
                  <a:pt x="948" y="1877"/>
                </a:lnTo>
                <a:lnTo>
                  <a:pt x="934" y="1877"/>
                </a:lnTo>
                <a:close/>
                <a:moveTo>
                  <a:pt x="1164" y="1873"/>
                </a:moveTo>
                <a:lnTo>
                  <a:pt x="1160" y="1871"/>
                </a:lnTo>
                <a:lnTo>
                  <a:pt x="1152" y="1867"/>
                </a:lnTo>
                <a:lnTo>
                  <a:pt x="1135" y="1852"/>
                </a:lnTo>
                <a:lnTo>
                  <a:pt x="1113" y="1831"/>
                </a:lnTo>
                <a:lnTo>
                  <a:pt x="1096" y="1812"/>
                </a:lnTo>
                <a:lnTo>
                  <a:pt x="1088" y="1803"/>
                </a:lnTo>
                <a:lnTo>
                  <a:pt x="1084" y="1795"/>
                </a:lnTo>
                <a:lnTo>
                  <a:pt x="1080" y="1784"/>
                </a:lnTo>
                <a:lnTo>
                  <a:pt x="1077" y="1778"/>
                </a:lnTo>
                <a:lnTo>
                  <a:pt x="1077" y="1772"/>
                </a:lnTo>
                <a:lnTo>
                  <a:pt x="1077" y="1765"/>
                </a:lnTo>
                <a:lnTo>
                  <a:pt x="1080" y="1757"/>
                </a:lnTo>
                <a:lnTo>
                  <a:pt x="1084" y="1750"/>
                </a:lnTo>
                <a:lnTo>
                  <a:pt x="1088" y="1742"/>
                </a:lnTo>
                <a:lnTo>
                  <a:pt x="1101" y="1727"/>
                </a:lnTo>
                <a:lnTo>
                  <a:pt x="1118" y="1706"/>
                </a:lnTo>
                <a:lnTo>
                  <a:pt x="1160" y="1659"/>
                </a:lnTo>
                <a:lnTo>
                  <a:pt x="1166" y="1659"/>
                </a:lnTo>
                <a:lnTo>
                  <a:pt x="1173" y="1662"/>
                </a:lnTo>
                <a:lnTo>
                  <a:pt x="1177" y="1666"/>
                </a:lnTo>
                <a:lnTo>
                  <a:pt x="1181" y="1672"/>
                </a:lnTo>
                <a:lnTo>
                  <a:pt x="1183" y="1676"/>
                </a:lnTo>
                <a:lnTo>
                  <a:pt x="1181" y="1683"/>
                </a:lnTo>
                <a:lnTo>
                  <a:pt x="1179" y="1687"/>
                </a:lnTo>
                <a:lnTo>
                  <a:pt x="1177" y="1691"/>
                </a:lnTo>
                <a:lnTo>
                  <a:pt x="1147" y="1725"/>
                </a:lnTo>
                <a:lnTo>
                  <a:pt x="1130" y="1744"/>
                </a:lnTo>
                <a:lnTo>
                  <a:pt x="1118" y="1761"/>
                </a:lnTo>
                <a:lnTo>
                  <a:pt x="1113" y="1765"/>
                </a:lnTo>
                <a:lnTo>
                  <a:pt x="1113" y="1770"/>
                </a:lnTo>
                <a:lnTo>
                  <a:pt x="1113" y="1776"/>
                </a:lnTo>
                <a:lnTo>
                  <a:pt x="1118" y="1780"/>
                </a:lnTo>
                <a:lnTo>
                  <a:pt x="1128" y="1793"/>
                </a:lnTo>
                <a:lnTo>
                  <a:pt x="1145" y="1810"/>
                </a:lnTo>
                <a:lnTo>
                  <a:pt x="1164" y="1831"/>
                </a:lnTo>
                <a:lnTo>
                  <a:pt x="1183" y="1848"/>
                </a:lnTo>
                <a:lnTo>
                  <a:pt x="1185" y="1850"/>
                </a:lnTo>
                <a:lnTo>
                  <a:pt x="1185" y="1854"/>
                </a:lnTo>
                <a:lnTo>
                  <a:pt x="1185" y="1856"/>
                </a:lnTo>
                <a:lnTo>
                  <a:pt x="1183" y="1861"/>
                </a:lnTo>
                <a:lnTo>
                  <a:pt x="1179" y="1867"/>
                </a:lnTo>
                <a:lnTo>
                  <a:pt x="1173" y="1873"/>
                </a:lnTo>
                <a:lnTo>
                  <a:pt x="1168" y="1873"/>
                </a:lnTo>
                <a:lnTo>
                  <a:pt x="1164" y="1873"/>
                </a:lnTo>
                <a:close/>
                <a:moveTo>
                  <a:pt x="3215" y="694"/>
                </a:moveTo>
                <a:lnTo>
                  <a:pt x="3205" y="694"/>
                </a:lnTo>
                <a:lnTo>
                  <a:pt x="3196" y="692"/>
                </a:lnTo>
                <a:lnTo>
                  <a:pt x="3188" y="690"/>
                </a:lnTo>
                <a:lnTo>
                  <a:pt x="3179" y="686"/>
                </a:lnTo>
                <a:lnTo>
                  <a:pt x="3171" y="682"/>
                </a:lnTo>
                <a:lnTo>
                  <a:pt x="3165" y="677"/>
                </a:lnTo>
                <a:lnTo>
                  <a:pt x="3158" y="671"/>
                </a:lnTo>
                <a:lnTo>
                  <a:pt x="3152" y="663"/>
                </a:lnTo>
                <a:lnTo>
                  <a:pt x="3146" y="656"/>
                </a:lnTo>
                <a:lnTo>
                  <a:pt x="3139" y="648"/>
                </a:lnTo>
                <a:lnTo>
                  <a:pt x="3131" y="631"/>
                </a:lnTo>
                <a:lnTo>
                  <a:pt x="3129" y="620"/>
                </a:lnTo>
                <a:lnTo>
                  <a:pt x="3126" y="610"/>
                </a:lnTo>
                <a:lnTo>
                  <a:pt x="3124" y="599"/>
                </a:lnTo>
                <a:lnTo>
                  <a:pt x="3124" y="588"/>
                </a:lnTo>
                <a:lnTo>
                  <a:pt x="3124" y="578"/>
                </a:lnTo>
                <a:lnTo>
                  <a:pt x="3126" y="565"/>
                </a:lnTo>
                <a:lnTo>
                  <a:pt x="3129" y="555"/>
                </a:lnTo>
                <a:lnTo>
                  <a:pt x="3133" y="544"/>
                </a:lnTo>
                <a:lnTo>
                  <a:pt x="3135" y="533"/>
                </a:lnTo>
                <a:lnTo>
                  <a:pt x="3141" y="525"/>
                </a:lnTo>
                <a:lnTo>
                  <a:pt x="3146" y="516"/>
                </a:lnTo>
                <a:lnTo>
                  <a:pt x="3152" y="508"/>
                </a:lnTo>
                <a:lnTo>
                  <a:pt x="3158" y="500"/>
                </a:lnTo>
                <a:lnTo>
                  <a:pt x="3167" y="493"/>
                </a:lnTo>
                <a:lnTo>
                  <a:pt x="3175" y="487"/>
                </a:lnTo>
                <a:lnTo>
                  <a:pt x="3184" y="483"/>
                </a:lnTo>
                <a:lnTo>
                  <a:pt x="3192" y="478"/>
                </a:lnTo>
                <a:lnTo>
                  <a:pt x="3201" y="474"/>
                </a:lnTo>
                <a:lnTo>
                  <a:pt x="3211" y="472"/>
                </a:lnTo>
                <a:lnTo>
                  <a:pt x="3222" y="472"/>
                </a:lnTo>
                <a:lnTo>
                  <a:pt x="3232" y="474"/>
                </a:lnTo>
                <a:lnTo>
                  <a:pt x="3239" y="474"/>
                </a:lnTo>
                <a:lnTo>
                  <a:pt x="3243" y="476"/>
                </a:lnTo>
                <a:lnTo>
                  <a:pt x="3253" y="480"/>
                </a:lnTo>
                <a:lnTo>
                  <a:pt x="3260" y="489"/>
                </a:lnTo>
                <a:lnTo>
                  <a:pt x="3266" y="497"/>
                </a:lnTo>
                <a:lnTo>
                  <a:pt x="3270" y="506"/>
                </a:lnTo>
                <a:lnTo>
                  <a:pt x="3273" y="516"/>
                </a:lnTo>
                <a:lnTo>
                  <a:pt x="3275" y="529"/>
                </a:lnTo>
                <a:lnTo>
                  <a:pt x="3275" y="538"/>
                </a:lnTo>
                <a:lnTo>
                  <a:pt x="3273" y="544"/>
                </a:lnTo>
                <a:lnTo>
                  <a:pt x="3270" y="550"/>
                </a:lnTo>
                <a:lnTo>
                  <a:pt x="3268" y="559"/>
                </a:lnTo>
                <a:lnTo>
                  <a:pt x="3264" y="565"/>
                </a:lnTo>
                <a:lnTo>
                  <a:pt x="3260" y="571"/>
                </a:lnTo>
                <a:lnTo>
                  <a:pt x="3249" y="582"/>
                </a:lnTo>
                <a:lnTo>
                  <a:pt x="3243" y="588"/>
                </a:lnTo>
                <a:lnTo>
                  <a:pt x="3237" y="593"/>
                </a:lnTo>
                <a:lnTo>
                  <a:pt x="3222" y="601"/>
                </a:lnTo>
                <a:lnTo>
                  <a:pt x="3215" y="603"/>
                </a:lnTo>
                <a:lnTo>
                  <a:pt x="3207" y="605"/>
                </a:lnTo>
                <a:lnTo>
                  <a:pt x="3192" y="607"/>
                </a:lnTo>
                <a:lnTo>
                  <a:pt x="3186" y="605"/>
                </a:lnTo>
                <a:lnTo>
                  <a:pt x="3184" y="603"/>
                </a:lnTo>
                <a:lnTo>
                  <a:pt x="3182" y="601"/>
                </a:lnTo>
                <a:lnTo>
                  <a:pt x="3179" y="599"/>
                </a:lnTo>
                <a:lnTo>
                  <a:pt x="3177" y="595"/>
                </a:lnTo>
                <a:lnTo>
                  <a:pt x="3175" y="588"/>
                </a:lnTo>
                <a:lnTo>
                  <a:pt x="3177" y="582"/>
                </a:lnTo>
                <a:lnTo>
                  <a:pt x="3179" y="580"/>
                </a:lnTo>
                <a:lnTo>
                  <a:pt x="3182" y="578"/>
                </a:lnTo>
                <a:lnTo>
                  <a:pt x="3194" y="574"/>
                </a:lnTo>
                <a:lnTo>
                  <a:pt x="3205" y="569"/>
                </a:lnTo>
                <a:lnTo>
                  <a:pt x="3215" y="565"/>
                </a:lnTo>
                <a:lnTo>
                  <a:pt x="3226" y="557"/>
                </a:lnTo>
                <a:lnTo>
                  <a:pt x="3232" y="550"/>
                </a:lnTo>
                <a:lnTo>
                  <a:pt x="3237" y="546"/>
                </a:lnTo>
                <a:lnTo>
                  <a:pt x="3239" y="542"/>
                </a:lnTo>
                <a:lnTo>
                  <a:pt x="3241" y="533"/>
                </a:lnTo>
                <a:lnTo>
                  <a:pt x="3243" y="525"/>
                </a:lnTo>
                <a:lnTo>
                  <a:pt x="3243" y="519"/>
                </a:lnTo>
                <a:lnTo>
                  <a:pt x="3241" y="514"/>
                </a:lnTo>
                <a:lnTo>
                  <a:pt x="3239" y="512"/>
                </a:lnTo>
                <a:lnTo>
                  <a:pt x="3237" y="508"/>
                </a:lnTo>
                <a:lnTo>
                  <a:pt x="3232" y="506"/>
                </a:lnTo>
                <a:lnTo>
                  <a:pt x="3228" y="504"/>
                </a:lnTo>
                <a:lnTo>
                  <a:pt x="3218" y="502"/>
                </a:lnTo>
                <a:lnTo>
                  <a:pt x="3207" y="504"/>
                </a:lnTo>
                <a:lnTo>
                  <a:pt x="3203" y="506"/>
                </a:lnTo>
                <a:lnTo>
                  <a:pt x="3196" y="508"/>
                </a:lnTo>
                <a:lnTo>
                  <a:pt x="3192" y="512"/>
                </a:lnTo>
                <a:lnTo>
                  <a:pt x="3188" y="516"/>
                </a:lnTo>
                <a:lnTo>
                  <a:pt x="3177" y="527"/>
                </a:lnTo>
                <a:lnTo>
                  <a:pt x="3173" y="533"/>
                </a:lnTo>
                <a:lnTo>
                  <a:pt x="3169" y="540"/>
                </a:lnTo>
                <a:lnTo>
                  <a:pt x="3162" y="555"/>
                </a:lnTo>
                <a:lnTo>
                  <a:pt x="3160" y="569"/>
                </a:lnTo>
                <a:lnTo>
                  <a:pt x="3158" y="578"/>
                </a:lnTo>
                <a:lnTo>
                  <a:pt x="3158" y="586"/>
                </a:lnTo>
                <a:lnTo>
                  <a:pt x="3158" y="601"/>
                </a:lnTo>
                <a:lnTo>
                  <a:pt x="3160" y="610"/>
                </a:lnTo>
                <a:lnTo>
                  <a:pt x="3162" y="616"/>
                </a:lnTo>
                <a:lnTo>
                  <a:pt x="3167" y="629"/>
                </a:lnTo>
                <a:lnTo>
                  <a:pt x="3173" y="637"/>
                </a:lnTo>
                <a:lnTo>
                  <a:pt x="3182" y="648"/>
                </a:lnTo>
                <a:lnTo>
                  <a:pt x="3188" y="650"/>
                </a:lnTo>
                <a:lnTo>
                  <a:pt x="3192" y="654"/>
                </a:lnTo>
                <a:lnTo>
                  <a:pt x="3203" y="656"/>
                </a:lnTo>
                <a:lnTo>
                  <a:pt x="3209" y="658"/>
                </a:lnTo>
                <a:lnTo>
                  <a:pt x="3215" y="658"/>
                </a:lnTo>
                <a:lnTo>
                  <a:pt x="3228" y="656"/>
                </a:lnTo>
                <a:lnTo>
                  <a:pt x="3241" y="654"/>
                </a:lnTo>
                <a:lnTo>
                  <a:pt x="3245" y="652"/>
                </a:lnTo>
                <a:lnTo>
                  <a:pt x="3251" y="648"/>
                </a:lnTo>
                <a:lnTo>
                  <a:pt x="3262" y="641"/>
                </a:lnTo>
                <a:lnTo>
                  <a:pt x="3270" y="631"/>
                </a:lnTo>
                <a:lnTo>
                  <a:pt x="3279" y="620"/>
                </a:lnTo>
                <a:lnTo>
                  <a:pt x="3287" y="610"/>
                </a:lnTo>
                <a:lnTo>
                  <a:pt x="3294" y="597"/>
                </a:lnTo>
                <a:lnTo>
                  <a:pt x="3300" y="582"/>
                </a:lnTo>
                <a:lnTo>
                  <a:pt x="3306" y="569"/>
                </a:lnTo>
                <a:lnTo>
                  <a:pt x="3311" y="555"/>
                </a:lnTo>
                <a:lnTo>
                  <a:pt x="3313" y="540"/>
                </a:lnTo>
                <a:lnTo>
                  <a:pt x="3317" y="525"/>
                </a:lnTo>
                <a:lnTo>
                  <a:pt x="3317" y="510"/>
                </a:lnTo>
                <a:lnTo>
                  <a:pt x="3319" y="497"/>
                </a:lnTo>
                <a:lnTo>
                  <a:pt x="3317" y="485"/>
                </a:lnTo>
                <a:lnTo>
                  <a:pt x="3319" y="483"/>
                </a:lnTo>
                <a:lnTo>
                  <a:pt x="3323" y="480"/>
                </a:lnTo>
                <a:lnTo>
                  <a:pt x="3325" y="478"/>
                </a:lnTo>
                <a:lnTo>
                  <a:pt x="3332" y="478"/>
                </a:lnTo>
                <a:lnTo>
                  <a:pt x="3340" y="478"/>
                </a:lnTo>
                <a:lnTo>
                  <a:pt x="3342" y="480"/>
                </a:lnTo>
                <a:lnTo>
                  <a:pt x="3347" y="483"/>
                </a:lnTo>
                <a:lnTo>
                  <a:pt x="3351" y="491"/>
                </a:lnTo>
                <a:lnTo>
                  <a:pt x="3351" y="497"/>
                </a:lnTo>
                <a:lnTo>
                  <a:pt x="3351" y="504"/>
                </a:lnTo>
                <a:lnTo>
                  <a:pt x="3351" y="523"/>
                </a:lnTo>
                <a:lnTo>
                  <a:pt x="3349" y="540"/>
                </a:lnTo>
                <a:lnTo>
                  <a:pt x="3345" y="559"/>
                </a:lnTo>
                <a:lnTo>
                  <a:pt x="3340" y="576"/>
                </a:lnTo>
                <a:lnTo>
                  <a:pt x="3336" y="593"/>
                </a:lnTo>
                <a:lnTo>
                  <a:pt x="3330" y="607"/>
                </a:lnTo>
                <a:lnTo>
                  <a:pt x="3321" y="622"/>
                </a:lnTo>
                <a:lnTo>
                  <a:pt x="3313" y="637"/>
                </a:lnTo>
                <a:lnTo>
                  <a:pt x="3302" y="650"/>
                </a:lnTo>
                <a:lnTo>
                  <a:pt x="3298" y="654"/>
                </a:lnTo>
                <a:lnTo>
                  <a:pt x="3294" y="660"/>
                </a:lnTo>
                <a:lnTo>
                  <a:pt x="3281" y="671"/>
                </a:lnTo>
                <a:lnTo>
                  <a:pt x="3270" y="679"/>
                </a:lnTo>
                <a:lnTo>
                  <a:pt x="3258" y="686"/>
                </a:lnTo>
                <a:lnTo>
                  <a:pt x="3243" y="690"/>
                </a:lnTo>
                <a:lnTo>
                  <a:pt x="3230" y="694"/>
                </a:lnTo>
                <a:lnTo>
                  <a:pt x="3215" y="694"/>
                </a:lnTo>
                <a:close/>
                <a:moveTo>
                  <a:pt x="3446" y="690"/>
                </a:moveTo>
                <a:lnTo>
                  <a:pt x="3440" y="688"/>
                </a:lnTo>
                <a:lnTo>
                  <a:pt x="3431" y="684"/>
                </a:lnTo>
                <a:lnTo>
                  <a:pt x="3414" y="667"/>
                </a:lnTo>
                <a:lnTo>
                  <a:pt x="3395" y="648"/>
                </a:lnTo>
                <a:lnTo>
                  <a:pt x="3376" y="629"/>
                </a:lnTo>
                <a:lnTo>
                  <a:pt x="3370" y="618"/>
                </a:lnTo>
                <a:lnTo>
                  <a:pt x="3366" y="612"/>
                </a:lnTo>
                <a:lnTo>
                  <a:pt x="3359" y="599"/>
                </a:lnTo>
                <a:lnTo>
                  <a:pt x="3357" y="595"/>
                </a:lnTo>
                <a:lnTo>
                  <a:pt x="3357" y="588"/>
                </a:lnTo>
                <a:lnTo>
                  <a:pt x="3359" y="582"/>
                </a:lnTo>
                <a:lnTo>
                  <a:pt x="3361" y="574"/>
                </a:lnTo>
                <a:lnTo>
                  <a:pt x="3364" y="567"/>
                </a:lnTo>
                <a:lnTo>
                  <a:pt x="3370" y="559"/>
                </a:lnTo>
                <a:lnTo>
                  <a:pt x="3381" y="544"/>
                </a:lnTo>
                <a:lnTo>
                  <a:pt x="3400" y="523"/>
                </a:lnTo>
                <a:lnTo>
                  <a:pt x="3442" y="474"/>
                </a:lnTo>
                <a:lnTo>
                  <a:pt x="3446" y="476"/>
                </a:lnTo>
                <a:lnTo>
                  <a:pt x="3452" y="478"/>
                </a:lnTo>
                <a:lnTo>
                  <a:pt x="3459" y="483"/>
                </a:lnTo>
                <a:lnTo>
                  <a:pt x="3463" y="487"/>
                </a:lnTo>
                <a:lnTo>
                  <a:pt x="3463" y="493"/>
                </a:lnTo>
                <a:lnTo>
                  <a:pt x="3461" y="500"/>
                </a:lnTo>
                <a:lnTo>
                  <a:pt x="3461" y="504"/>
                </a:lnTo>
                <a:lnTo>
                  <a:pt x="3459" y="508"/>
                </a:lnTo>
                <a:lnTo>
                  <a:pt x="3429" y="542"/>
                </a:lnTo>
                <a:lnTo>
                  <a:pt x="3410" y="561"/>
                </a:lnTo>
                <a:lnTo>
                  <a:pt x="3397" y="578"/>
                </a:lnTo>
                <a:lnTo>
                  <a:pt x="3395" y="582"/>
                </a:lnTo>
                <a:lnTo>
                  <a:pt x="3393" y="586"/>
                </a:lnTo>
                <a:lnTo>
                  <a:pt x="3395" y="591"/>
                </a:lnTo>
                <a:lnTo>
                  <a:pt x="3397" y="597"/>
                </a:lnTo>
                <a:lnTo>
                  <a:pt x="3408" y="610"/>
                </a:lnTo>
                <a:lnTo>
                  <a:pt x="3425" y="627"/>
                </a:lnTo>
                <a:lnTo>
                  <a:pt x="3444" y="648"/>
                </a:lnTo>
                <a:lnTo>
                  <a:pt x="3463" y="665"/>
                </a:lnTo>
                <a:lnTo>
                  <a:pt x="3465" y="667"/>
                </a:lnTo>
                <a:lnTo>
                  <a:pt x="3467" y="671"/>
                </a:lnTo>
                <a:lnTo>
                  <a:pt x="3465" y="673"/>
                </a:lnTo>
                <a:lnTo>
                  <a:pt x="3465" y="677"/>
                </a:lnTo>
                <a:lnTo>
                  <a:pt x="3459" y="684"/>
                </a:lnTo>
                <a:lnTo>
                  <a:pt x="3452" y="688"/>
                </a:lnTo>
                <a:lnTo>
                  <a:pt x="3448" y="690"/>
                </a:lnTo>
                <a:lnTo>
                  <a:pt x="3446" y="690"/>
                </a:lnTo>
                <a:close/>
                <a:moveTo>
                  <a:pt x="3215" y="1287"/>
                </a:moveTo>
                <a:lnTo>
                  <a:pt x="3205" y="1285"/>
                </a:lnTo>
                <a:lnTo>
                  <a:pt x="3196" y="1285"/>
                </a:lnTo>
                <a:lnTo>
                  <a:pt x="3188" y="1281"/>
                </a:lnTo>
                <a:lnTo>
                  <a:pt x="3179" y="1278"/>
                </a:lnTo>
                <a:lnTo>
                  <a:pt x="3171" y="1274"/>
                </a:lnTo>
                <a:lnTo>
                  <a:pt x="3165" y="1268"/>
                </a:lnTo>
                <a:lnTo>
                  <a:pt x="3158" y="1262"/>
                </a:lnTo>
                <a:lnTo>
                  <a:pt x="3152" y="1255"/>
                </a:lnTo>
                <a:lnTo>
                  <a:pt x="3146" y="1247"/>
                </a:lnTo>
                <a:lnTo>
                  <a:pt x="3139" y="1240"/>
                </a:lnTo>
                <a:lnTo>
                  <a:pt x="3131" y="1221"/>
                </a:lnTo>
                <a:lnTo>
                  <a:pt x="3129" y="1211"/>
                </a:lnTo>
                <a:lnTo>
                  <a:pt x="3126" y="1202"/>
                </a:lnTo>
                <a:lnTo>
                  <a:pt x="3124" y="1192"/>
                </a:lnTo>
                <a:lnTo>
                  <a:pt x="3124" y="1179"/>
                </a:lnTo>
                <a:lnTo>
                  <a:pt x="3124" y="1168"/>
                </a:lnTo>
                <a:lnTo>
                  <a:pt x="3126" y="1158"/>
                </a:lnTo>
                <a:lnTo>
                  <a:pt x="3129" y="1147"/>
                </a:lnTo>
                <a:lnTo>
                  <a:pt x="3133" y="1137"/>
                </a:lnTo>
                <a:lnTo>
                  <a:pt x="3135" y="1126"/>
                </a:lnTo>
                <a:lnTo>
                  <a:pt x="3141" y="1115"/>
                </a:lnTo>
                <a:lnTo>
                  <a:pt x="3146" y="1107"/>
                </a:lnTo>
                <a:lnTo>
                  <a:pt x="3152" y="1099"/>
                </a:lnTo>
                <a:lnTo>
                  <a:pt x="3158" y="1092"/>
                </a:lnTo>
                <a:lnTo>
                  <a:pt x="3167" y="1084"/>
                </a:lnTo>
                <a:lnTo>
                  <a:pt x="3175" y="1077"/>
                </a:lnTo>
                <a:lnTo>
                  <a:pt x="3184" y="1073"/>
                </a:lnTo>
                <a:lnTo>
                  <a:pt x="3192" y="1069"/>
                </a:lnTo>
                <a:lnTo>
                  <a:pt x="3201" y="1067"/>
                </a:lnTo>
                <a:lnTo>
                  <a:pt x="3211" y="1065"/>
                </a:lnTo>
                <a:lnTo>
                  <a:pt x="3222" y="1065"/>
                </a:lnTo>
                <a:lnTo>
                  <a:pt x="3232" y="1065"/>
                </a:lnTo>
                <a:lnTo>
                  <a:pt x="3239" y="1067"/>
                </a:lnTo>
                <a:lnTo>
                  <a:pt x="3243" y="1069"/>
                </a:lnTo>
                <a:lnTo>
                  <a:pt x="3253" y="1073"/>
                </a:lnTo>
                <a:lnTo>
                  <a:pt x="3260" y="1079"/>
                </a:lnTo>
                <a:lnTo>
                  <a:pt x="3266" y="1088"/>
                </a:lnTo>
                <a:lnTo>
                  <a:pt x="3270" y="1099"/>
                </a:lnTo>
                <a:lnTo>
                  <a:pt x="3273" y="1109"/>
                </a:lnTo>
                <a:lnTo>
                  <a:pt x="3275" y="1122"/>
                </a:lnTo>
                <a:lnTo>
                  <a:pt x="3275" y="1128"/>
                </a:lnTo>
                <a:lnTo>
                  <a:pt x="3273" y="1137"/>
                </a:lnTo>
                <a:lnTo>
                  <a:pt x="3270" y="1143"/>
                </a:lnTo>
                <a:lnTo>
                  <a:pt x="3268" y="1149"/>
                </a:lnTo>
                <a:lnTo>
                  <a:pt x="3264" y="1158"/>
                </a:lnTo>
                <a:lnTo>
                  <a:pt x="3260" y="1164"/>
                </a:lnTo>
                <a:lnTo>
                  <a:pt x="3249" y="1175"/>
                </a:lnTo>
                <a:lnTo>
                  <a:pt x="3243" y="1179"/>
                </a:lnTo>
                <a:lnTo>
                  <a:pt x="3237" y="1185"/>
                </a:lnTo>
                <a:lnTo>
                  <a:pt x="3222" y="1192"/>
                </a:lnTo>
                <a:lnTo>
                  <a:pt x="3215" y="1194"/>
                </a:lnTo>
                <a:lnTo>
                  <a:pt x="3207" y="1196"/>
                </a:lnTo>
                <a:lnTo>
                  <a:pt x="3192" y="1198"/>
                </a:lnTo>
                <a:lnTo>
                  <a:pt x="3186" y="1196"/>
                </a:lnTo>
                <a:lnTo>
                  <a:pt x="3184" y="1196"/>
                </a:lnTo>
                <a:lnTo>
                  <a:pt x="3182" y="1194"/>
                </a:lnTo>
                <a:lnTo>
                  <a:pt x="3179" y="1190"/>
                </a:lnTo>
                <a:lnTo>
                  <a:pt x="3177" y="1187"/>
                </a:lnTo>
                <a:lnTo>
                  <a:pt x="3175" y="1179"/>
                </a:lnTo>
                <a:lnTo>
                  <a:pt x="3177" y="1173"/>
                </a:lnTo>
                <a:lnTo>
                  <a:pt x="3179" y="1170"/>
                </a:lnTo>
                <a:lnTo>
                  <a:pt x="3182" y="1168"/>
                </a:lnTo>
                <a:lnTo>
                  <a:pt x="3194" y="1166"/>
                </a:lnTo>
                <a:lnTo>
                  <a:pt x="3205" y="1162"/>
                </a:lnTo>
                <a:lnTo>
                  <a:pt x="3215" y="1156"/>
                </a:lnTo>
                <a:lnTo>
                  <a:pt x="3226" y="1149"/>
                </a:lnTo>
                <a:lnTo>
                  <a:pt x="3232" y="1141"/>
                </a:lnTo>
                <a:lnTo>
                  <a:pt x="3237" y="1137"/>
                </a:lnTo>
                <a:lnTo>
                  <a:pt x="3239" y="1132"/>
                </a:lnTo>
                <a:lnTo>
                  <a:pt x="3241" y="1124"/>
                </a:lnTo>
                <a:lnTo>
                  <a:pt x="3243" y="1115"/>
                </a:lnTo>
                <a:lnTo>
                  <a:pt x="3243" y="1111"/>
                </a:lnTo>
                <a:lnTo>
                  <a:pt x="3241" y="1107"/>
                </a:lnTo>
                <a:lnTo>
                  <a:pt x="3239" y="1103"/>
                </a:lnTo>
                <a:lnTo>
                  <a:pt x="3237" y="1101"/>
                </a:lnTo>
                <a:lnTo>
                  <a:pt x="3232" y="1096"/>
                </a:lnTo>
                <a:lnTo>
                  <a:pt x="3228" y="1094"/>
                </a:lnTo>
                <a:lnTo>
                  <a:pt x="3218" y="1094"/>
                </a:lnTo>
                <a:lnTo>
                  <a:pt x="3207" y="1096"/>
                </a:lnTo>
                <a:lnTo>
                  <a:pt x="3203" y="1099"/>
                </a:lnTo>
                <a:lnTo>
                  <a:pt x="3196" y="1101"/>
                </a:lnTo>
                <a:lnTo>
                  <a:pt x="3192" y="1105"/>
                </a:lnTo>
                <a:lnTo>
                  <a:pt x="3188" y="1109"/>
                </a:lnTo>
                <a:lnTo>
                  <a:pt x="3177" y="1120"/>
                </a:lnTo>
                <a:lnTo>
                  <a:pt x="3173" y="1124"/>
                </a:lnTo>
                <a:lnTo>
                  <a:pt x="3169" y="1130"/>
                </a:lnTo>
                <a:lnTo>
                  <a:pt x="3162" y="1145"/>
                </a:lnTo>
                <a:lnTo>
                  <a:pt x="3160" y="1162"/>
                </a:lnTo>
                <a:lnTo>
                  <a:pt x="3158" y="1170"/>
                </a:lnTo>
                <a:lnTo>
                  <a:pt x="3158" y="1179"/>
                </a:lnTo>
                <a:lnTo>
                  <a:pt x="3158" y="1194"/>
                </a:lnTo>
                <a:lnTo>
                  <a:pt x="3160" y="1200"/>
                </a:lnTo>
                <a:lnTo>
                  <a:pt x="3162" y="1206"/>
                </a:lnTo>
                <a:lnTo>
                  <a:pt x="3167" y="1219"/>
                </a:lnTo>
                <a:lnTo>
                  <a:pt x="3173" y="1230"/>
                </a:lnTo>
                <a:lnTo>
                  <a:pt x="3182" y="1238"/>
                </a:lnTo>
                <a:lnTo>
                  <a:pt x="3188" y="1242"/>
                </a:lnTo>
                <a:lnTo>
                  <a:pt x="3192" y="1245"/>
                </a:lnTo>
                <a:lnTo>
                  <a:pt x="3203" y="1249"/>
                </a:lnTo>
                <a:lnTo>
                  <a:pt x="3209" y="1249"/>
                </a:lnTo>
                <a:lnTo>
                  <a:pt x="3215" y="1251"/>
                </a:lnTo>
                <a:lnTo>
                  <a:pt x="3228" y="1249"/>
                </a:lnTo>
                <a:lnTo>
                  <a:pt x="3241" y="1245"/>
                </a:lnTo>
                <a:lnTo>
                  <a:pt x="3245" y="1242"/>
                </a:lnTo>
                <a:lnTo>
                  <a:pt x="3251" y="1240"/>
                </a:lnTo>
                <a:lnTo>
                  <a:pt x="3262" y="1232"/>
                </a:lnTo>
                <a:lnTo>
                  <a:pt x="3270" y="1223"/>
                </a:lnTo>
                <a:lnTo>
                  <a:pt x="3279" y="1213"/>
                </a:lnTo>
                <a:lnTo>
                  <a:pt x="3287" y="1200"/>
                </a:lnTo>
                <a:lnTo>
                  <a:pt x="3294" y="1187"/>
                </a:lnTo>
                <a:lnTo>
                  <a:pt x="3300" y="1175"/>
                </a:lnTo>
                <a:lnTo>
                  <a:pt x="3306" y="1160"/>
                </a:lnTo>
                <a:lnTo>
                  <a:pt x="3311" y="1145"/>
                </a:lnTo>
                <a:lnTo>
                  <a:pt x="3313" y="1132"/>
                </a:lnTo>
                <a:lnTo>
                  <a:pt x="3317" y="1118"/>
                </a:lnTo>
                <a:lnTo>
                  <a:pt x="3317" y="1103"/>
                </a:lnTo>
                <a:lnTo>
                  <a:pt x="3319" y="1090"/>
                </a:lnTo>
                <a:lnTo>
                  <a:pt x="3317" y="1077"/>
                </a:lnTo>
                <a:lnTo>
                  <a:pt x="3319" y="1073"/>
                </a:lnTo>
                <a:lnTo>
                  <a:pt x="3323" y="1071"/>
                </a:lnTo>
                <a:lnTo>
                  <a:pt x="3325" y="1069"/>
                </a:lnTo>
                <a:lnTo>
                  <a:pt x="3332" y="1069"/>
                </a:lnTo>
                <a:lnTo>
                  <a:pt x="3340" y="1071"/>
                </a:lnTo>
                <a:lnTo>
                  <a:pt x="3342" y="1073"/>
                </a:lnTo>
                <a:lnTo>
                  <a:pt x="3347" y="1075"/>
                </a:lnTo>
                <a:lnTo>
                  <a:pt x="3351" y="1082"/>
                </a:lnTo>
                <a:lnTo>
                  <a:pt x="3351" y="1088"/>
                </a:lnTo>
                <a:lnTo>
                  <a:pt x="3351" y="1094"/>
                </a:lnTo>
                <a:lnTo>
                  <a:pt x="3351" y="1113"/>
                </a:lnTo>
                <a:lnTo>
                  <a:pt x="3349" y="1132"/>
                </a:lnTo>
                <a:lnTo>
                  <a:pt x="3345" y="1149"/>
                </a:lnTo>
                <a:lnTo>
                  <a:pt x="3340" y="1166"/>
                </a:lnTo>
                <a:lnTo>
                  <a:pt x="3336" y="1183"/>
                </a:lnTo>
                <a:lnTo>
                  <a:pt x="3330" y="1200"/>
                </a:lnTo>
                <a:lnTo>
                  <a:pt x="3321" y="1215"/>
                </a:lnTo>
                <a:lnTo>
                  <a:pt x="3313" y="1228"/>
                </a:lnTo>
                <a:lnTo>
                  <a:pt x="3302" y="1240"/>
                </a:lnTo>
                <a:lnTo>
                  <a:pt x="3298" y="1247"/>
                </a:lnTo>
                <a:lnTo>
                  <a:pt x="3294" y="1253"/>
                </a:lnTo>
                <a:lnTo>
                  <a:pt x="3281" y="1262"/>
                </a:lnTo>
                <a:lnTo>
                  <a:pt x="3270" y="1270"/>
                </a:lnTo>
                <a:lnTo>
                  <a:pt x="3258" y="1276"/>
                </a:lnTo>
                <a:lnTo>
                  <a:pt x="3243" y="1283"/>
                </a:lnTo>
                <a:lnTo>
                  <a:pt x="3230" y="1285"/>
                </a:lnTo>
                <a:lnTo>
                  <a:pt x="3215" y="1287"/>
                </a:lnTo>
                <a:close/>
                <a:moveTo>
                  <a:pt x="3446" y="1283"/>
                </a:moveTo>
                <a:lnTo>
                  <a:pt x="3440" y="1281"/>
                </a:lnTo>
                <a:lnTo>
                  <a:pt x="3431" y="1274"/>
                </a:lnTo>
                <a:lnTo>
                  <a:pt x="3414" y="1259"/>
                </a:lnTo>
                <a:lnTo>
                  <a:pt x="3395" y="1240"/>
                </a:lnTo>
                <a:lnTo>
                  <a:pt x="3376" y="1219"/>
                </a:lnTo>
                <a:lnTo>
                  <a:pt x="3370" y="1211"/>
                </a:lnTo>
                <a:lnTo>
                  <a:pt x="3366" y="1204"/>
                </a:lnTo>
                <a:lnTo>
                  <a:pt x="3359" y="1192"/>
                </a:lnTo>
                <a:lnTo>
                  <a:pt x="3357" y="1185"/>
                </a:lnTo>
                <a:lnTo>
                  <a:pt x="3357" y="1179"/>
                </a:lnTo>
                <a:lnTo>
                  <a:pt x="3359" y="1173"/>
                </a:lnTo>
                <a:lnTo>
                  <a:pt x="3361" y="1166"/>
                </a:lnTo>
                <a:lnTo>
                  <a:pt x="3364" y="1158"/>
                </a:lnTo>
                <a:lnTo>
                  <a:pt x="3370" y="1149"/>
                </a:lnTo>
                <a:lnTo>
                  <a:pt x="3381" y="1135"/>
                </a:lnTo>
                <a:lnTo>
                  <a:pt x="3400" y="1115"/>
                </a:lnTo>
                <a:lnTo>
                  <a:pt x="3442" y="1067"/>
                </a:lnTo>
                <a:lnTo>
                  <a:pt x="3446" y="1067"/>
                </a:lnTo>
                <a:lnTo>
                  <a:pt x="3452" y="1069"/>
                </a:lnTo>
                <a:lnTo>
                  <a:pt x="3459" y="1073"/>
                </a:lnTo>
                <a:lnTo>
                  <a:pt x="3463" y="1079"/>
                </a:lnTo>
                <a:lnTo>
                  <a:pt x="3463" y="1086"/>
                </a:lnTo>
                <a:lnTo>
                  <a:pt x="3461" y="1092"/>
                </a:lnTo>
                <a:lnTo>
                  <a:pt x="3461" y="1094"/>
                </a:lnTo>
                <a:lnTo>
                  <a:pt x="3459" y="1099"/>
                </a:lnTo>
                <a:lnTo>
                  <a:pt x="3429" y="1132"/>
                </a:lnTo>
                <a:lnTo>
                  <a:pt x="3410" y="1154"/>
                </a:lnTo>
                <a:lnTo>
                  <a:pt x="3397" y="1168"/>
                </a:lnTo>
                <a:lnTo>
                  <a:pt x="3395" y="1173"/>
                </a:lnTo>
                <a:lnTo>
                  <a:pt x="3393" y="1179"/>
                </a:lnTo>
                <a:lnTo>
                  <a:pt x="3395" y="1183"/>
                </a:lnTo>
                <a:lnTo>
                  <a:pt x="3397" y="1190"/>
                </a:lnTo>
                <a:lnTo>
                  <a:pt x="3408" y="1202"/>
                </a:lnTo>
                <a:lnTo>
                  <a:pt x="3425" y="1219"/>
                </a:lnTo>
                <a:lnTo>
                  <a:pt x="3444" y="1238"/>
                </a:lnTo>
                <a:lnTo>
                  <a:pt x="3463" y="1257"/>
                </a:lnTo>
                <a:lnTo>
                  <a:pt x="3465" y="1259"/>
                </a:lnTo>
                <a:lnTo>
                  <a:pt x="3467" y="1262"/>
                </a:lnTo>
                <a:lnTo>
                  <a:pt x="3465" y="1266"/>
                </a:lnTo>
                <a:lnTo>
                  <a:pt x="3465" y="1268"/>
                </a:lnTo>
                <a:lnTo>
                  <a:pt x="3459" y="1276"/>
                </a:lnTo>
                <a:lnTo>
                  <a:pt x="3452" y="1281"/>
                </a:lnTo>
                <a:lnTo>
                  <a:pt x="3448" y="1283"/>
                </a:lnTo>
                <a:lnTo>
                  <a:pt x="3446" y="1283"/>
                </a:lnTo>
                <a:close/>
                <a:moveTo>
                  <a:pt x="3215" y="1877"/>
                </a:moveTo>
                <a:lnTo>
                  <a:pt x="3205" y="1877"/>
                </a:lnTo>
                <a:lnTo>
                  <a:pt x="3196" y="1875"/>
                </a:lnTo>
                <a:lnTo>
                  <a:pt x="3188" y="1873"/>
                </a:lnTo>
                <a:lnTo>
                  <a:pt x="3179" y="1869"/>
                </a:lnTo>
                <a:lnTo>
                  <a:pt x="3171" y="1865"/>
                </a:lnTo>
                <a:lnTo>
                  <a:pt x="3165" y="1861"/>
                </a:lnTo>
                <a:lnTo>
                  <a:pt x="3158" y="1854"/>
                </a:lnTo>
                <a:lnTo>
                  <a:pt x="3152" y="1848"/>
                </a:lnTo>
                <a:lnTo>
                  <a:pt x="3146" y="1839"/>
                </a:lnTo>
                <a:lnTo>
                  <a:pt x="3139" y="1831"/>
                </a:lnTo>
                <a:lnTo>
                  <a:pt x="3131" y="1814"/>
                </a:lnTo>
                <a:lnTo>
                  <a:pt x="3129" y="1803"/>
                </a:lnTo>
                <a:lnTo>
                  <a:pt x="3126" y="1793"/>
                </a:lnTo>
                <a:lnTo>
                  <a:pt x="3124" y="1782"/>
                </a:lnTo>
                <a:lnTo>
                  <a:pt x="3124" y="1772"/>
                </a:lnTo>
                <a:lnTo>
                  <a:pt x="3124" y="1761"/>
                </a:lnTo>
                <a:lnTo>
                  <a:pt x="3126" y="1748"/>
                </a:lnTo>
                <a:lnTo>
                  <a:pt x="3129" y="1738"/>
                </a:lnTo>
                <a:lnTo>
                  <a:pt x="3133" y="1727"/>
                </a:lnTo>
                <a:lnTo>
                  <a:pt x="3135" y="1719"/>
                </a:lnTo>
                <a:lnTo>
                  <a:pt x="3141" y="1708"/>
                </a:lnTo>
                <a:lnTo>
                  <a:pt x="3146" y="1700"/>
                </a:lnTo>
                <a:lnTo>
                  <a:pt x="3152" y="1691"/>
                </a:lnTo>
                <a:lnTo>
                  <a:pt x="3158" y="1683"/>
                </a:lnTo>
                <a:lnTo>
                  <a:pt x="3167" y="1676"/>
                </a:lnTo>
                <a:lnTo>
                  <a:pt x="3175" y="1670"/>
                </a:lnTo>
                <a:lnTo>
                  <a:pt x="3184" y="1666"/>
                </a:lnTo>
                <a:lnTo>
                  <a:pt x="3192" y="1662"/>
                </a:lnTo>
                <a:lnTo>
                  <a:pt x="3201" y="1657"/>
                </a:lnTo>
                <a:lnTo>
                  <a:pt x="3211" y="1655"/>
                </a:lnTo>
                <a:lnTo>
                  <a:pt x="3222" y="1655"/>
                </a:lnTo>
                <a:lnTo>
                  <a:pt x="3232" y="1657"/>
                </a:lnTo>
                <a:lnTo>
                  <a:pt x="3239" y="1657"/>
                </a:lnTo>
                <a:lnTo>
                  <a:pt x="3243" y="1659"/>
                </a:lnTo>
                <a:lnTo>
                  <a:pt x="3253" y="1666"/>
                </a:lnTo>
                <a:lnTo>
                  <a:pt x="3260" y="1672"/>
                </a:lnTo>
                <a:lnTo>
                  <a:pt x="3266" y="1681"/>
                </a:lnTo>
                <a:lnTo>
                  <a:pt x="3270" y="1689"/>
                </a:lnTo>
                <a:lnTo>
                  <a:pt x="3273" y="1702"/>
                </a:lnTo>
                <a:lnTo>
                  <a:pt x="3275" y="1712"/>
                </a:lnTo>
                <a:lnTo>
                  <a:pt x="3275" y="1721"/>
                </a:lnTo>
                <a:lnTo>
                  <a:pt x="3273" y="1727"/>
                </a:lnTo>
                <a:lnTo>
                  <a:pt x="3270" y="1736"/>
                </a:lnTo>
                <a:lnTo>
                  <a:pt x="3268" y="1742"/>
                </a:lnTo>
                <a:lnTo>
                  <a:pt x="3264" y="1748"/>
                </a:lnTo>
                <a:lnTo>
                  <a:pt x="3260" y="1755"/>
                </a:lnTo>
                <a:lnTo>
                  <a:pt x="3249" y="1767"/>
                </a:lnTo>
                <a:lnTo>
                  <a:pt x="3243" y="1772"/>
                </a:lnTo>
                <a:lnTo>
                  <a:pt x="3237" y="1776"/>
                </a:lnTo>
                <a:lnTo>
                  <a:pt x="3222" y="1784"/>
                </a:lnTo>
                <a:lnTo>
                  <a:pt x="3215" y="1786"/>
                </a:lnTo>
                <a:lnTo>
                  <a:pt x="3207" y="1789"/>
                </a:lnTo>
                <a:lnTo>
                  <a:pt x="3192" y="1791"/>
                </a:lnTo>
                <a:lnTo>
                  <a:pt x="3186" y="1789"/>
                </a:lnTo>
                <a:lnTo>
                  <a:pt x="3184" y="1786"/>
                </a:lnTo>
                <a:lnTo>
                  <a:pt x="3182" y="1784"/>
                </a:lnTo>
                <a:lnTo>
                  <a:pt x="3179" y="1782"/>
                </a:lnTo>
                <a:lnTo>
                  <a:pt x="3177" y="1778"/>
                </a:lnTo>
                <a:lnTo>
                  <a:pt x="3175" y="1772"/>
                </a:lnTo>
                <a:lnTo>
                  <a:pt x="3177" y="1765"/>
                </a:lnTo>
                <a:lnTo>
                  <a:pt x="3179" y="1763"/>
                </a:lnTo>
                <a:lnTo>
                  <a:pt x="3182" y="1761"/>
                </a:lnTo>
                <a:lnTo>
                  <a:pt x="3194" y="1759"/>
                </a:lnTo>
                <a:lnTo>
                  <a:pt x="3205" y="1753"/>
                </a:lnTo>
                <a:lnTo>
                  <a:pt x="3215" y="1748"/>
                </a:lnTo>
                <a:lnTo>
                  <a:pt x="3226" y="1740"/>
                </a:lnTo>
                <a:lnTo>
                  <a:pt x="3232" y="1734"/>
                </a:lnTo>
                <a:lnTo>
                  <a:pt x="3237" y="1729"/>
                </a:lnTo>
                <a:lnTo>
                  <a:pt x="3239" y="1725"/>
                </a:lnTo>
                <a:lnTo>
                  <a:pt x="3241" y="1717"/>
                </a:lnTo>
                <a:lnTo>
                  <a:pt x="3243" y="1708"/>
                </a:lnTo>
                <a:lnTo>
                  <a:pt x="3243" y="1704"/>
                </a:lnTo>
                <a:lnTo>
                  <a:pt x="3241" y="1698"/>
                </a:lnTo>
                <a:lnTo>
                  <a:pt x="3239" y="1695"/>
                </a:lnTo>
                <a:lnTo>
                  <a:pt x="3237" y="1691"/>
                </a:lnTo>
                <a:lnTo>
                  <a:pt x="3232" y="1689"/>
                </a:lnTo>
                <a:lnTo>
                  <a:pt x="3228" y="1687"/>
                </a:lnTo>
                <a:lnTo>
                  <a:pt x="3218" y="1685"/>
                </a:lnTo>
                <a:lnTo>
                  <a:pt x="3207" y="1687"/>
                </a:lnTo>
                <a:lnTo>
                  <a:pt x="3203" y="1689"/>
                </a:lnTo>
                <a:lnTo>
                  <a:pt x="3196" y="1691"/>
                </a:lnTo>
                <a:lnTo>
                  <a:pt x="3192" y="1695"/>
                </a:lnTo>
                <a:lnTo>
                  <a:pt x="3188" y="1700"/>
                </a:lnTo>
                <a:lnTo>
                  <a:pt x="3177" y="1710"/>
                </a:lnTo>
                <a:lnTo>
                  <a:pt x="3173" y="1717"/>
                </a:lnTo>
                <a:lnTo>
                  <a:pt x="3169" y="1723"/>
                </a:lnTo>
                <a:lnTo>
                  <a:pt x="3162" y="1738"/>
                </a:lnTo>
                <a:lnTo>
                  <a:pt x="3160" y="1753"/>
                </a:lnTo>
                <a:lnTo>
                  <a:pt x="3158" y="1761"/>
                </a:lnTo>
                <a:lnTo>
                  <a:pt x="3158" y="1770"/>
                </a:lnTo>
                <a:lnTo>
                  <a:pt x="3158" y="1784"/>
                </a:lnTo>
                <a:lnTo>
                  <a:pt x="3160" y="1793"/>
                </a:lnTo>
                <a:lnTo>
                  <a:pt x="3162" y="1799"/>
                </a:lnTo>
                <a:lnTo>
                  <a:pt x="3167" y="1812"/>
                </a:lnTo>
                <a:lnTo>
                  <a:pt x="3173" y="1822"/>
                </a:lnTo>
                <a:lnTo>
                  <a:pt x="3182" y="1831"/>
                </a:lnTo>
                <a:lnTo>
                  <a:pt x="3188" y="1833"/>
                </a:lnTo>
                <a:lnTo>
                  <a:pt x="3192" y="1837"/>
                </a:lnTo>
                <a:lnTo>
                  <a:pt x="3203" y="1841"/>
                </a:lnTo>
                <a:lnTo>
                  <a:pt x="3209" y="1841"/>
                </a:lnTo>
                <a:lnTo>
                  <a:pt x="3215" y="1841"/>
                </a:lnTo>
                <a:lnTo>
                  <a:pt x="3228" y="1841"/>
                </a:lnTo>
                <a:lnTo>
                  <a:pt x="3241" y="1837"/>
                </a:lnTo>
                <a:lnTo>
                  <a:pt x="3245" y="1835"/>
                </a:lnTo>
                <a:lnTo>
                  <a:pt x="3251" y="1831"/>
                </a:lnTo>
                <a:lnTo>
                  <a:pt x="3262" y="1825"/>
                </a:lnTo>
                <a:lnTo>
                  <a:pt x="3270" y="1814"/>
                </a:lnTo>
                <a:lnTo>
                  <a:pt x="3279" y="1803"/>
                </a:lnTo>
                <a:lnTo>
                  <a:pt x="3287" y="1793"/>
                </a:lnTo>
                <a:lnTo>
                  <a:pt x="3294" y="1780"/>
                </a:lnTo>
                <a:lnTo>
                  <a:pt x="3300" y="1765"/>
                </a:lnTo>
                <a:lnTo>
                  <a:pt x="3306" y="1753"/>
                </a:lnTo>
                <a:lnTo>
                  <a:pt x="3311" y="1738"/>
                </a:lnTo>
                <a:lnTo>
                  <a:pt x="3313" y="1723"/>
                </a:lnTo>
                <a:lnTo>
                  <a:pt x="3317" y="1708"/>
                </a:lnTo>
                <a:lnTo>
                  <a:pt x="3317" y="1695"/>
                </a:lnTo>
                <a:lnTo>
                  <a:pt x="3319" y="1681"/>
                </a:lnTo>
                <a:lnTo>
                  <a:pt x="3317" y="1668"/>
                </a:lnTo>
                <a:lnTo>
                  <a:pt x="3319" y="1666"/>
                </a:lnTo>
                <a:lnTo>
                  <a:pt x="3323" y="1664"/>
                </a:lnTo>
                <a:lnTo>
                  <a:pt x="3325" y="1662"/>
                </a:lnTo>
                <a:lnTo>
                  <a:pt x="3332" y="1662"/>
                </a:lnTo>
                <a:lnTo>
                  <a:pt x="3340" y="1662"/>
                </a:lnTo>
                <a:lnTo>
                  <a:pt x="3342" y="1664"/>
                </a:lnTo>
                <a:lnTo>
                  <a:pt x="3347" y="1666"/>
                </a:lnTo>
                <a:lnTo>
                  <a:pt x="3351" y="1674"/>
                </a:lnTo>
                <a:lnTo>
                  <a:pt x="3351" y="1681"/>
                </a:lnTo>
                <a:lnTo>
                  <a:pt x="3351" y="1687"/>
                </a:lnTo>
                <a:lnTo>
                  <a:pt x="3351" y="1706"/>
                </a:lnTo>
                <a:lnTo>
                  <a:pt x="3349" y="1723"/>
                </a:lnTo>
                <a:lnTo>
                  <a:pt x="3345" y="1742"/>
                </a:lnTo>
                <a:lnTo>
                  <a:pt x="3340" y="1759"/>
                </a:lnTo>
                <a:lnTo>
                  <a:pt x="3336" y="1776"/>
                </a:lnTo>
                <a:lnTo>
                  <a:pt x="3330" y="1791"/>
                </a:lnTo>
                <a:lnTo>
                  <a:pt x="3321" y="1805"/>
                </a:lnTo>
                <a:lnTo>
                  <a:pt x="3313" y="1820"/>
                </a:lnTo>
                <a:lnTo>
                  <a:pt x="3302" y="1833"/>
                </a:lnTo>
                <a:lnTo>
                  <a:pt x="3298" y="1839"/>
                </a:lnTo>
                <a:lnTo>
                  <a:pt x="3294" y="1844"/>
                </a:lnTo>
                <a:lnTo>
                  <a:pt x="3281" y="1854"/>
                </a:lnTo>
                <a:lnTo>
                  <a:pt x="3270" y="1863"/>
                </a:lnTo>
                <a:lnTo>
                  <a:pt x="3258" y="1869"/>
                </a:lnTo>
                <a:lnTo>
                  <a:pt x="3243" y="1873"/>
                </a:lnTo>
                <a:lnTo>
                  <a:pt x="3230" y="1877"/>
                </a:lnTo>
                <a:lnTo>
                  <a:pt x="3215" y="1877"/>
                </a:lnTo>
                <a:close/>
                <a:moveTo>
                  <a:pt x="3446" y="1873"/>
                </a:moveTo>
                <a:lnTo>
                  <a:pt x="3440" y="1871"/>
                </a:lnTo>
                <a:lnTo>
                  <a:pt x="3431" y="1867"/>
                </a:lnTo>
                <a:lnTo>
                  <a:pt x="3414" y="1852"/>
                </a:lnTo>
                <a:lnTo>
                  <a:pt x="3395" y="1831"/>
                </a:lnTo>
                <a:lnTo>
                  <a:pt x="3376" y="1812"/>
                </a:lnTo>
                <a:lnTo>
                  <a:pt x="3370" y="1803"/>
                </a:lnTo>
                <a:lnTo>
                  <a:pt x="3366" y="1795"/>
                </a:lnTo>
                <a:lnTo>
                  <a:pt x="3359" y="1784"/>
                </a:lnTo>
                <a:lnTo>
                  <a:pt x="3357" y="1778"/>
                </a:lnTo>
                <a:lnTo>
                  <a:pt x="3357" y="1772"/>
                </a:lnTo>
                <a:lnTo>
                  <a:pt x="3359" y="1765"/>
                </a:lnTo>
                <a:lnTo>
                  <a:pt x="3361" y="1757"/>
                </a:lnTo>
                <a:lnTo>
                  <a:pt x="3364" y="1750"/>
                </a:lnTo>
                <a:lnTo>
                  <a:pt x="3370" y="1742"/>
                </a:lnTo>
                <a:lnTo>
                  <a:pt x="3381" y="1727"/>
                </a:lnTo>
                <a:lnTo>
                  <a:pt x="3400" y="1706"/>
                </a:lnTo>
                <a:lnTo>
                  <a:pt x="3442" y="1659"/>
                </a:lnTo>
                <a:lnTo>
                  <a:pt x="3446" y="1659"/>
                </a:lnTo>
                <a:lnTo>
                  <a:pt x="3452" y="1662"/>
                </a:lnTo>
                <a:lnTo>
                  <a:pt x="3459" y="1666"/>
                </a:lnTo>
                <a:lnTo>
                  <a:pt x="3463" y="1672"/>
                </a:lnTo>
                <a:lnTo>
                  <a:pt x="3463" y="1676"/>
                </a:lnTo>
                <a:lnTo>
                  <a:pt x="3461" y="1683"/>
                </a:lnTo>
                <a:lnTo>
                  <a:pt x="3461" y="1687"/>
                </a:lnTo>
                <a:lnTo>
                  <a:pt x="3459" y="1691"/>
                </a:lnTo>
                <a:lnTo>
                  <a:pt x="3429" y="1725"/>
                </a:lnTo>
                <a:lnTo>
                  <a:pt x="3410" y="1744"/>
                </a:lnTo>
                <a:lnTo>
                  <a:pt x="3397" y="1761"/>
                </a:lnTo>
                <a:lnTo>
                  <a:pt x="3395" y="1765"/>
                </a:lnTo>
                <a:lnTo>
                  <a:pt x="3393" y="1770"/>
                </a:lnTo>
                <a:lnTo>
                  <a:pt x="3395" y="1776"/>
                </a:lnTo>
                <a:lnTo>
                  <a:pt x="3397" y="1780"/>
                </a:lnTo>
                <a:lnTo>
                  <a:pt x="3408" y="1793"/>
                </a:lnTo>
                <a:lnTo>
                  <a:pt x="3425" y="1810"/>
                </a:lnTo>
                <a:lnTo>
                  <a:pt x="3444" y="1831"/>
                </a:lnTo>
                <a:lnTo>
                  <a:pt x="3463" y="1848"/>
                </a:lnTo>
                <a:lnTo>
                  <a:pt x="3465" y="1850"/>
                </a:lnTo>
                <a:lnTo>
                  <a:pt x="3467" y="1854"/>
                </a:lnTo>
                <a:lnTo>
                  <a:pt x="3465" y="1856"/>
                </a:lnTo>
                <a:lnTo>
                  <a:pt x="3465" y="1861"/>
                </a:lnTo>
                <a:lnTo>
                  <a:pt x="3459" y="1867"/>
                </a:lnTo>
                <a:lnTo>
                  <a:pt x="3452" y="1873"/>
                </a:lnTo>
                <a:lnTo>
                  <a:pt x="3448" y="1873"/>
                </a:lnTo>
                <a:lnTo>
                  <a:pt x="3446" y="1873"/>
                </a:lnTo>
                <a:close/>
                <a:moveTo>
                  <a:pt x="1380" y="694"/>
                </a:moveTo>
                <a:lnTo>
                  <a:pt x="1370" y="694"/>
                </a:lnTo>
                <a:lnTo>
                  <a:pt x="1361" y="692"/>
                </a:lnTo>
                <a:lnTo>
                  <a:pt x="1353" y="690"/>
                </a:lnTo>
                <a:lnTo>
                  <a:pt x="1344" y="686"/>
                </a:lnTo>
                <a:lnTo>
                  <a:pt x="1336" y="682"/>
                </a:lnTo>
                <a:lnTo>
                  <a:pt x="1329" y="677"/>
                </a:lnTo>
                <a:lnTo>
                  <a:pt x="1323" y="671"/>
                </a:lnTo>
                <a:lnTo>
                  <a:pt x="1315" y="663"/>
                </a:lnTo>
                <a:lnTo>
                  <a:pt x="1310" y="656"/>
                </a:lnTo>
                <a:lnTo>
                  <a:pt x="1304" y="648"/>
                </a:lnTo>
                <a:lnTo>
                  <a:pt x="1295" y="631"/>
                </a:lnTo>
                <a:lnTo>
                  <a:pt x="1293" y="620"/>
                </a:lnTo>
                <a:lnTo>
                  <a:pt x="1291" y="610"/>
                </a:lnTo>
                <a:lnTo>
                  <a:pt x="1289" y="599"/>
                </a:lnTo>
                <a:lnTo>
                  <a:pt x="1289" y="588"/>
                </a:lnTo>
                <a:lnTo>
                  <a:pt x="1289" y="578"/>
                </a:lnTo>
                <a:lnTo>
                  <a:pt x="1291" y="565"/>
                </a:lnTo>
                <a:lnTo>
                  <a:pt x="1293" y="555"/>
                </a:lnTo>
                <a:lnTo>
                  <a:pt x="1295" y="544"/>
                </a:lnTo>
                <a:lnTo>
                  <a:pt x="1300" y="533"/>
                </a:lnTo>
                <a:lnTo>
                  <a:pt x="1306" y="525"/>
                </a:lnTo>
                <a:lnTo>
                  <a:pt x="1310" y="516"/>
                </a:lnTo>
                <a:lnTo>
                  <a:pt x="1317" y="508"/>
                </a:lnTo>
                <a:lnTo>
                  <a:pt x="1323" y="500"/>
                </a:lnTo>
                <a:lnTo>
                  <a:pt x="1331" y="493"/>
                </a:lnTo>
                <a:lnTo>
                  <a:pt x="1340" y="487"/>
                </a:lnTo>
                <a:lnTo>
                  <a:pt x="1348" y="483"/>
                </a:lnTo>
                <a:lnTo>
                  <a:pt x="1357" y="478"/>
                </a:lnTo>
                <a:lnTo>
                  <a:pt x="1365" y="474"/>
                </a:lnTo>
                <a:lnTo>
                  <a:pt x="1376" y="472"/>
                </a:lnTo>
                <a:lnTo>
                  <a:pt x="1384" y="472"/>
                </a:lnTo>
                <a:lnTo>
                  <a:pt x="1397" y="474"/>
                </a:lnTo>
                <a:lnTo>
                  <a:pt x="1403" y="474"/>
                </a:lnTo>
                <a:lnTo>
                  <a:pt x="1408" y="476"/>
                </a:lnTo>
                <a:lnTo>
                  <a:pt x="1416" y="480"/>
                </a:lnTo>
                <a:lnTo>
                  <a:pt x="1425" y="489"/>
                </a:lnTo>
                <a:lnTo>
                  <a:pt x="1431" y="497"/>
                </a:lnTo>
                <a:lnTo>
                  <a:pt x="1435" y="506"/>
                </a:lnTo>
                <a:lnTo>
                  <a:pt x="1437" y="516"/>
                </a:lnTo>
                <a:lnTo>
                  <a:pt x="1439" y="529"/>
                </a:lnTo>
                <a:lnTo>
                  <a:pt x="1439" y="538"/>
                </a:lnTo>
                <a:lnTo>
                  <a:pt x="1437" y="544"/>
                </a:lnTo>
                <a:lnTo>
                  <a:pt x="1435" y="550"/>
                </a:lnTo>
                <a:lnTo>
                  <a:pt x="1431" y="559"/>
                </a:lnTo>
                <a:lnTo>
                  <a:pt x="1429" y="565"/>
                </a:lnTo>
                <a:lnTo>
                  <a:pt x="1425" y="571"/>
                </a:lnTo>
                <a:lnTo>
                  <a:pt x="1414" y="582"/>
                </a:lnTo>
                <a:lnTo>
                  <a:pt x="1408" y="588"/>
                </a:lnTo>
                <a:lnTo>
                  <a:pt x="1401" y="593"/>
                </a:lnTo>
                <a:lnTo>
                  <a:pt x="1386" y="601"/>
                </a:lnTo>
                <a:lnTo>
                  <a:pt x="1380" y="603"/>
                </a:lnTo>
                <a:lnTo>
                  <a:pt x="1372" y="605"/>
                </a:lnTo>
                <a:lnTo>
                  <a:pt x="1357" y="607"/>
                </a:lnTo>
                <a:lnTo>
                  <a:pt x="1351" y="605"/>
                </a:lnTo>
                <a:lnTo>
                  <a:pt x="1348" y="603"/>
                </a:lnTo>
                <a:lnTo>
                  <a:pt x="1346" y="601"/>
                </a:lnTo>
                <a:lnTo>
                  <a:pt x="1344" y="599"/>
                </a:lnTo>
                <a:lnTo>
                  <a:pt x="1342" y="595"/>
                </a:lnTo>
                <a:lnTo>
                  <a:pt x="1340" y="588"/>
                </a:lnTo>
                <a:lnTo>
                  <a:pt x="1342" y="582"/>
                </a:lnTo>
                <a:lnTo>
                  <a:pt x="1344" y="580"/>
                </a:lnTo>
                <a:lnTo>
                  <a:pt x="1344" y="578"/>
                </a:lnTo>
                <a:lnTo>
                  <a:pt x="1359" y="574"/>
                </a:lnTo>
                <a:lnTo>
                  <a:pt x="1370" y="569"/>
                </a:lnTo>
                <a:lnTo>
                  <a:pt x="1380" y="565"/>
                </a:lnTo>
                <a:lnTo>
                  <a:pt x="1391" y="557"/>
                </a:lnTo>
                <a:lnTo>
                  <a:pt x="1397" y="550"/>
                </a:lnTo>
                <a:lnTo>
                  <a:pt x="1399" y="546"/>
                </a:lnTo>
                <a:lnTo>
                  <a:pt x="1403" y="542"/>
                </a:lnTo>
                <a:lnTo>
                  <a:pt x="1406" y="533"/>
                </a:lnTo>
                <a:lnTo>
                  <a:pt x="1408" y="525"/>
                </a:lnTo>
                <a:lnTo>
                  <a:pt x="1408" y="519"/>
                </a:lnTo>
                <a:lnTo>
                  <a:pt x="1406" y="514"/>
                </a:lnTo>
                <a:lnTo>
                  <a:pt x="1403" y="512"/>
                </a:lnTo>
                <a:lnTo>
                  <a:pt x="1401" y="508"/>
                </a:lnTo>
                <a:lnTo>
                  <a:pt x="1397" y="506"/>
                </a:lnTo>
                <a:lnTo>
                  <a:pt x="1393" y="504"/>
                </a:lnTo>
                <a:lnTo>
                  <a:pt x="1382" y="502"/>
                </a:lnTo>
                <a:lnTo>
                  <a:pt x="1372" y="504"/>
                </a:lnTo>
                <a:lnTo>
                  <a:pt x="1367" y="506"/>
                </a:lnTo>
                <a:lnTo>
                  <a:pt x="1361" y="508"/>
                </a:lnTo>
                <a:lnTo>
                  <a:pt x="1357" y="512"/>
                </a:lnTo>
                <a:lnTo>
                  <a:pt x="1351" y="516"/>
                </a:lnTo>
                <a:lnTo>
                  <a:pt x="1342" y="527"/>
                </a:lnTo>
                <a:lnTo>
                  <a:pt x="1338" y="533"/>
                </a:lnTo>
                <a:lnTo>
                  <a:pt x="1334" y="540"/>
                </a:lnTo>
                <a:lnTo>
                  <a:pt x="1327" y="555"/>
                </a:lnTo>
                <a:lnTo>
                  <a:pt x="1325" y="569"/>
                </a:lnTo>
                <a:lnTo>
                  <a:pt x="1323" y="578"/>
                </a:lnTo>
                <a:lnTo>
                  <a:pt x="1323" y="586"/>
                </a:lnTo>
                <a:lnTo>
                  <a:pt x="1323" y="601"/>
                </a:lnTo>
                <a:lnTo>
                  <a:pt x="1325" y="610"/>
                </a:lnTo>
                <a:lnTo>
                  <a:pt x="1327" y="616"/>
                </a:lnTo>
                <a:lnTo>
                  <a:pt x="1331" y="629"/>
                </a:lnTo>
                <a:lnTo>
                  <a:pt x="1338" y="637"/>
                </a:lnTo>
                <a:lnTo>
                  <a:pt x="1346" y="648"/>
                </a:lnTo>
                <a:lnTo>
                  <a:pt x="1353" y="650"/>
                </a:lnTo>
                <a:lnTo>
                  <a:pt x="1357" y="654"/>
                </a:lnTo>
                <a:lnTo>
                  <a:pt x="1367" y="656"/>
                </a:lnTo>
                <a:lnTo>
                  <a:pt x="1374" y="658"/>
                </a:lnTo>
                <a:lnTo>
                  <a:pt x="1380" y="658"/>
                </a:lnTo>
                <a:lnTo>
                  <a:pt x="1393" y="656"/>
                </a:lnTo>
                <a:lnTo>
                  <a:pt x="1406" y="654"/>
                </a:lnTo>
                <a:lnTo>
                  <a:pt x="1410" y="652"/>
                </a:lnTo>
                <a:lnTo>
                  <a:pt x="1416" y="648"/>
                </a:lnTo>
                <a:lnTo>
                  <a:pt x="1427" y="641"/>
                </a:lnTo>
                <a:lnTo>
                  <a:pt x="1435" y="631"/>
                </a:lnTo>
                <a:lnTo>
                  <a:pt x="1444" y="620"/>
                </a:lnTo>
                <a:lnTo>
                  <a:pt x="1452" y="610"/>
                </a:lnTo>
                <a:lnTo>
                  <a:pt x="1458" y="597"/>
                </a:lnTo>
                <a:lnTo>
                  <a:pt x="1465" y="582"/>
                </a:lnTo>
                <a:lnTo>
                  <a:pt x="1471" y="569"/>
                </a:lnTo>
                <a:lnTo>
                  <a:pt x="1475" y="555"/>
                </a:lnTo>
                <a:lnTo>
                  <a:pt x="1478" y="540"/>
                </a:lnTo>
                <a:lnTo>
                  <a:pt x="1482" y="525"/>
                </a:lnTo>
                <a:lnTo>
                  <a:pt x="1482" y="510"/>
                </a:lnTo>
                <a:lnTo>
                  <a:pt x="1484" y="497"/>
                </a:lnTo>
                <a:lnTo>
                  <a:pt x="1482" y="485"/>
                </a:lnTo>
                <a:lnTo>
                  <a:pt x="1484" y="483"/>
                </a:lnTo>
                <a:lnTo>
                  <a:pt x="1488" y="480"/>
                </a:lnTo>
                <a:lnTo>
                  <a:pt x="1490" y="478"/>
                </a:lnTo>
                <a:lnTo>
                  <a:pt x="1497" y="478"/>
                </a:lnTo>
                <a:lnTo>
                  <a:pt x="1505" y="478"/>
                </a:lnTo>
                <a:lnTo>
                  <a:pt x="1507" y="480"/>
                </a:lnTo>
                <a:lnTo>
                  <a:pt x="1511" y="483"/>
                </a:lnTo>
                <a:lnTo>
                  <a:pt x="1516" y="491"/>
                </a:lnTo>
                <a:lnTo>
                  <a:pt x="1516" y="497"/>
                </a:lnTo>
                <a:lnTo>
                  <a:pt x="1516" y="504"/>
                </a:lnTo>
                <a:lnTo>
                  <a:pt x="1516" y="523"/>
                </a:lnTo>
                <a:lnTo>
                  <a:pt x="1514" y="540"/>
                </a:lnTo>
                <a:lnTo>
                  <a:pt x="1509" y="559"/>
                </a:lnTo>
                <a:lnTo>
                  <a:pt x="1505" y="576"/>
                </a:lnTo>
                <a:lnTo>
                  <a:pt x="1501" y="593"/>
                </a:lnTo>
                <a:lnTo>
                  <a:pt x="1494" y="607"/>
                </a:lnTo>
                <a:lnTo>
                  <a:pt x="1486" y="622"/>
                </a:lnTo>
                <a:lnTo>
                  <a:pt x="1478" y="637"/>
                </a:lnTo>
                <a:lnTo>
                  <a:pt x="1467" y="650"/>
                </a:lnTo>
                <a:lnTo>
                  <a:pt x="1463" y="654"/>
                </a:lnTo>
                <a:lnTo>
                  <a:pt x="1456" y="660"/>
                </a:lnTo>
                <a:lnTo>
                  <a:pt x="1446" y="671"/>
                </a:lnTo>
                <a:lnTo>
                  <a:pt x="1435" y="679"/>
                </a:lnTo>
                <a:lnTo>
                  <a:pt x="1422" y="686"/>
                </a:lnTo>
                <a:lnTo>
                  <a:pt x="1408" y="690"/>
                </a:lnTo>
                <a:lnTo>
                  <a:pt x="1395" y="694"/>
                </a:lnTo>
                <a:lnTo>
                  <a:pt x="1380" y="694"/>
                </a:lnTo>
                <a:close/>
                <a:moveTo>
                  <a:pt x="1611" y="690"/>
                </a:moveTo>
                <a:lnTo>
                  <a:pt x="1605" y="688"/>
                </a:lnTo>
                <a:lnTo>
                  <a:pt x="1596" y="684"/>
                </a:lnTo>
                <a:lnTo>
                  <a:pt x="1579" y="667"/>
                </a:lnTo>
                <a:lnTo>
                  <a:pt x="1560" y="648"/>
                </a:lnTo>
                <a:lnTo>
                  <a:pt x="1541" y="629"/>
                </a:lnTo>
                <a:lnTo>
                  <a:pt x="1535" y="618"/>
                </a:lnTo>
                <a:lnTo>
                  <a:pt x="1530" y="612"/>
                </a:lnTo>
                <a:lnTo>
                  <a:pt x="1524" y="599"/>
                </a:lnTo>
                <a:lnTo>
                  <a:pt x="1522" y="595"/>
                </a:lnTo>
                <a:lnTo>
                  <a:pt x="1522" y="588"/>
                </a:lnTo>
                <a:lnTo>
                  <a:pt x="1522" y="582"/>
                </a:lnTo>
                <a:lnTo>
                  <a:pt x="1524" y="574"/>
                </a:lnTo>
                <a:lnTo>
                  <a:pt x="1528" y="567"/>
                </a:lnTo>
                <a:lnTo>
                  <a:pt x="1533" y="559"/>
                </a:lnTo>
                <a:lnTo>
                  <a:pt x="1545" y="544"/>
                </a:lnTo>
                <a:lnTo>
                  <a:pt x="1564" y="523"/>
                </a:lnTo>
                <a:lnTo>
                  <a:pt x="1605" y="474"/>
                </a:lnTo>
                <a:lnTo>
                  <a:pt x="1611" y="476"/>
                </a:lnTo>
                <a:lnTo>
                  <a:pt x="1617" y="478"/>
                </a:lnTo>
                <a:lnTo>
                  <a:pt x="1624" y="483"/>
                </a:lnTo>
                <a:lnTo>
                  <a:pt x="1628" y="487"/>
                </a:lnTo>
                <a:lnTo>
                  <a:pt x="1628" y="493"/>
                </a:lnTo>
                <a:lnTo>
                  <a:pt x="1626" y="500"/>
                </a:lnTo>
                <a:lnTo>
                  <a:pt x="1626" y="504"/>
                </a:lnTo>
                <a:lnTo>
                  <a:pt x="1624" y="508"/>
                </a:lnTo>
                <a:lnTo>
                  <a:pt x="1594" y="542"/>
                </a:lnTo>
                <a:lnTo>
                  <a:pt x="1575" y="561"/>
                </a:lnTo>
                <a:lnTo>
                  <a:pt x="1562" y="578"/>
                </a:lnTo>
                <a:lnTo>
                  <a:pt x="1560" y="582"/>
                </a:lnTo>
                <a:lnTo>
                  <a:pt x="1558" y="586"/>
                </a:lnTo>
                <a:lnTo>
                  <a:pt x="1560" y="591"/>
                </a:lnTo>
                <a:lnTo>
                  <a:pt x="1562" y="597"/>
                </a:lnTo>
                <a:lnTo>
                  <a:pt x="1573" y="610"/>
                </a:lnTo>
                <a:lnTo>
                  <a:pt x="1590" y="627"/>
                </a:lnTo>
                <a:lnTo>
                  <a:pt x="1609" y="648"/>
                </a:lnTo>
                <a:lnTo>
                  <a:pt x="1628" y="665"/>
                </a:lnTo>
                <a:lnTo>
                  <a:pt x="1630" y="667"/>
                </a:lnTo>
                <a:lnTo>
                  <a:pt x="1632" y="671"/>
                </a:lnTo>
                <a:lnTo>
                  <a:pt x="1630" y="673"/>
                </a:lnTo>
                <a:lnTo>
                  <a:pt x="1630" y="677"/>
                </a:lnTo>
                <a:lnTo>
                  <a:pt x="1624" y="684"/>
                </a:lnTo>
                <a:lnTo>
                  <a:pt x="1617" y="688"/>
                </a:lnTo>
                <a:lnTo>
                  <a:pt x="1613" y="690"/>
                </a:lnTo>
                <a:lnTo>
                  <a:pt x="1611" y="690"/>
                </a:lnTo>
                <a:close/>
                <a:moveTo>
                  <a:pt x="1380" y="1287"/>
                </a:moveTo>
                <a:lnTo>
                  <a:pt x="1370" y="1285"/>
                </a:lnTo>
                <a:lnTo>
                  <a:pt x="1361" y="1285"/>
                </a:lnTo>
                <a:lnTo>
                  <a:pt x="1353" y="1281"/>
                </a:lnTo>
                <a:lnTo>
                  <a:pt x="1344" y="1278"/>
                </a:lnTo>
                <a:lnTo>
                  <a:pt x="1336" y="1274"/>
                </a:lnTo>
                <a:lnTo>
                  <a:pt x="1329" y="1268"/>
                </a:lnTo>
                <a:lnTo>
                  <a:pt x="1323" y="1262"/>
                </a:lnTo>
                <a:lnTo>
                  <a:pt x="1315" y="1255"/>
                </a:lnTo>
                <a:lnTo>
                  <a:pt x="1310" y="1247"/>
                </a:lnTo>
                <a:lnTo>
                  <a:pt x="1304" y="1240"/>
                </a:lnTo>
                <a:lnTo>
                  <a:pt x="1295" y="1221"/>
                </a:lnTo>
                <a:lnTo>
                  <a:pt x="1293" y="1211"/>
                </a:lnTo>
                <a:lnTo>
                  <a:pt x="1291" y="1202"/>
                </a:lnTo>
                <a:lnTo>
                  <a:pt x="1289" y="1192"/>
                </a:lnTo>
                <a:lnTo>
                  <a:pt x="1289" y="1179"/>
                </a:lnTo>
                <a:lnTo>
                  <a:pt x="1289" y="1168"/>
                </a:lnTo>
                <a:lnTo>
                  <a:pt x="1291" y="1158"/>
                </a:lnTo>
                <a:lnTo>
                  <a:pt x="1293" y="1147"/>
                </a:lnTo>
                <a:lnTo>
                  <a:pt x="1295" y="1137"/>
                </a:lnTo>
                <a:lnTo>
                  <a:pt x="1300" y="1126"/>
                </a:lnTo>
                <a:lnTo>
                  <a:pt x="1306" y="1115"/>
                </a:lnTo>
                <a:lnTo>
                  <a:pt x="1310" y="1107"/>
                </a:lnTo>
                <a:lnTo>
                  <a:pt x="1317" y="1099"/>
                </a:lnTo>
                <a:lnTo>
                  <a:pt x="1323" y="1092"/>
                </a:lnTo>
                <a:lnTo>
                  <a:pt x="1331" y="1084"/>
                </a:lnTo>
                <a:lnTo>
                  <a:pt x="1340" y="1077"/>
                </a:lnTo>
                <a:lnTo>
                  <a:pt x="1348" y="1073"/>
                </a:lnTo>
                <a:lnTo>
                  <a:pt x="1357" y="1069"/>
                </a:lnTo>
                <a:lnTo>
                  <a:pt x="1365" y="1067"/>
                </a:lnTo>
                <a:lnTo>
                  <a:pt x="1376" y="1065"/>
                </a:lnTo>
                <a:lnTo>
                  <a:pt x="1384" y="1065"/>
                </a:lnTo>
                <a:lnTo>
                  <a:pt x="1397" y="1065"/>
                </a:lnTo>
                <a:lnTo>
                  <a:pt x="1403" y="1067"/>
                </a:lnTo>
                <a:lnTo>
                  <a:pt x="1408" y="1069"/>
                </a:lnTo>
                <a:lnTo>
                  <a:pt x="1416" y="1073"/>
                </a:lnTo>
                <a:lnTo>
                  <a:pt x="1425" y="1079"/>
                </a:lnTo>
                <a:lnTo>
                  <a:pt x="1431" y="1088"/>
                </a:lnTo>
                <a:lnTo>
                  <a:pt x="1435" y="1099"/>
                </a:lnTo>
                <a:lnTo>
                  <a:pt x="1437" y="1109"/>
                </a:lnTo>
                <a:lnTo>
                  <a:pt x="1439" y="1122"/>
                </a:lnTo>
                <a:lnTo>
                  <a:pt x="1439" y="1128"/>
                </a:lnTo>
                <a:lnTo>
                  <a:pt x="1437" y="1137"/>
                </a:lnTo>
                <a:lnTo>
                  <a:pt x="1435" y="1143"/>
                </a:lnTo>
                <a:lnTo>
                  <a:pt x="1431" y="1149"/>
                </a:lnTo>
                <a:lnTo>
                  <a:pt x="1429" y="1158"/>
                </a:lnTo>
                <a:lnTo>
                  <a:pt x="1425" y="1164"/>
                </a:lnTo>
                <a:lnTo>
                  <a:pt x="1414" y="1175"/>
                </a:lnTo>
                <a:lnTo>
                  <a:pt x="1408" y="1179"/>
                </a:lnTo>
                <a:lnTo>
                  <a:pt x="1401" y="1185"/>
                </a:lnTo>
                <a:lnTo>
                  <a:pt x="1386" y="1192"/>
                </a:lnTo>
                <a:lnTo>
                  <a:pt x="1380" y="1194"/>
                </a:lnTo>
                <a:lnTo>
                  <a:pt x="1372" y="1196"/>
                </a:lnTo>
                <a:lnTo>
                  <a:pt x="1357" y="1198"/>
                </a:lnTo>
                <a:lnTo>
                  <a:pt x="1351" y="1196"/>
                </a:lnTo>
                <a:lnTo>
                  <a:pt x="1348" y="1196"/>
                </a:lnTo>
                <a:lnTo>
                  <a:pt x="1346" y="1194"/>
                </a:lnTo>
                <a:lnTo>
                  <a:pt x="1344" y="1190"/>
                </a:lnTo>
                <a:lnTo>
                  <a:pt x="1342" y="1187"/>
                </a:lnTo>
                <a:lnTo>
                  <a:pt x="1340" y="1179"/>
                </a:lnTo>
                <a:lnTo>
                  <a:pt x="1342" y="1173"/>
                </a:lnTo>
                <a:lnTo>
                  <a:pt x="1344" y="1170"/>
                </a:lnTo>
                <a:lnTo>
                  <a:pt x="1344" y="1168"/>
                </a:lnTo>
                <a:lnTo>
                  <a:pt x="1359" y="1166"/>
                </a:lnTo>
                <a:lnTo>
                  <a:pt x="1370" y="1162"/>
                </a:lnTo>
                <a:lnTo>
                  <a:pt x="1380" y="1156"/>
                </a:lnTo>
                <a:lnTo>
                  <a:pt x="1391" y="1149"/>
                </a:lnTo>
                <a:lnTo>
                  <a:pt x="1397" y="1141"/>
                </a:lnTo>
                <a:lnTo>
                  <a:pt x="1399" y="1137"/>
                </a:lnTo>
                <a:lnTo>
                  <a:pt x="1403" y="1132"/>
                </a:lnTo>
                <a:lnTo>
                  <a:pt x="1406" y="1124"/>
                </a:lnTo>
                <a:lnTo>
                  <a:pt x="1408" y="1115"/>
                </a:lnTo>
                <a:lnTo>
                  <a:pt x="1408" y="1111"/>
                </a:lnTo>
                <a:lnTo>
                  <a:pt x="1406" y="1107"/>
                </a:lnTo>
                <a:lnTo>
                  <a:pt x="1403" y="1103"/>
                </a:lnTo>
                <a:lnTo>
                  <a:pt x="1401" y="1101"/>
                </a:lnTo>
                <a:lnTo>
                  <a:pt x="1397" y="1096"/>
                </a:lnTo>
                <a:lnTo>
                  <a:pt x="1393" y="1094"/>
                </a:lnTo>
                <a:lnTo>
                  <a:pt x="1382" y="1094"/>
                </a:lnTo>
                <a:lnTo>
                  <a:pt x="1372" y="1096"/>
                </a:lnTo>
                <a:lnTo>
                  <a:pt x="1367" y="1099"/>
                </a:lnTo>
                <a:lnTo>
                  <a:pt x="1361" y="1101"/>
                </a:lnTo>
                <a:lnTo>
                  <a:pt x="1357" y="1105"/>
                </a:lnTo>
                <a:lnTo>
                  <a:pt x="1351" y="1109"/>
                </a:lnTo>
                <a:lnTo>
                  <a:pt x="1342" y="1120"/>
                </a:lnTo>
                <a:lnTo>
                  <a:pt x="1338" y="1124"/>
                </a:lnTo>
                <a:lnTo>
                  <a:pt x="1334" y="1130"/>
                </a:lnTo>
                <a:lnTo>
                  <a:pt x="1327" y="1145"/>
                </a:lnTo>
                <a:lnTo>
                  <a:pt x="1325" y="1162"/>
                </a:lnTo>
                <a:lnTo>
                  <a:pt x="1323" y="1170"/>
                </a:lnTo>
                <a:lnTo>
                  <a:pt x="1323" y="1179"/>
                </a:lnTo>
                <a:lnTo>
                  <a:pt x="1323" y="1194"/>
                </a:lnTo>
                <a:lnTo>
                  <a:pt x="1325" y="1200"/>
                </a:lnTo>
                <a:lnTo>
                  <a:pt x="1327" y="1206"/>
                </a:lnTo>
                <a:lnTo>
                  <a:pt x="1331" y="1219"/>
                </a:lnTo>
                <a:lnTo>
                  <a:pt x="1338" y="1230"/>
                </a:lnTo>
                <a:lnTo>
                  <a:pt x="1346" y="1238"/>
                </a:lnTo>
                <a:lnTo>
                  <a:pt x="1353" y="1242"/>
                </a:lnTo>
                <a:lnTo>
                  <a:pt x="1357" y="1245"/>
                </a:lnTo>
                <a:lnTo>
                  <a:pt x="1367" y="1249"/>
                </a:lnTo>
                <a:lnTo>
                  <a:pt x="1374" y="1249"/>
                </a:lnTo>
                <a:lnTo>
                  <a:pt x="1380" y="1251"/>
                </a:lnTo>
                <a:lnTo>
                  <a:pt x="1393" y="1249"/>
                </a:lnTo>
                <a:lnTo>
                  <a:pt x="1406" y="1245"/>
                </a:lnTo>
                <a:lnTo>
                  <a:pt x="1410" y="1242"/>
                </a:lnTo>
                <a:lnTo>
                  <a:pt x="1416" y="1240"/>
                </a:lnTo>
                <a:lnTo>
                  <a:pt x="1427" y="1232"/>
                </a:lnTo>
                <a:lnTo>
                  <a:pt x="1435" y="1223"/>
                </a:lnTo>
                <a:lnTo>
                  <a:pt x="1444" y="1213"/>
                </a:lnTo>
                <a:lnTo>
                  <a:pt x="1452" y="1200"/>
                </a:lnTo>
                <a:lnTo>
                  <a:pt x="1458" y="1187"/>
                </a:lnTo>
                <a:lnTo>
                  <a:pt x="1465" y="1175"/>
                </a:lnTo>
                <a:lnTo>
                  <a:pt x="1471" y="1160"/>
                </a:lnTo>
                <a:lnTo>
                  <a:pt x="1475" y="1145"/>
                </a:lnTo>
                <a:lnTo>
                  <a:pt x="1478" y="1132"/>
                </a:lnTo>
                <a:lnTo>
                  <a:pt x="1482" y="1118"/>
                </a:lnTo>
                <a:lnTo>
                  <a:pt x="1482" y="1103"/>
                </a:lnTo>
                <a:lnTo>
                  <a:pt x="1484" y="1090"/>
                </a:lnTo>
                <a:lnTo>
                  <a:pt x="1482" y="1077"/>
                </a:lnTo>
                <a:lnTo>
                  <a:pt x="1484" y="1073"/>
                </a:lnTo>
                <a:lnTo>
                  <a:pt x="1488" y="1071"/>
                </a:lnTo>
                <a:lnTo>
                  <a:pt x="1490" y="1069"/>
                </a:lnTo>
                <a:lnTo>
                  <a:pt x="1497" y="1069"/>
                </a:lnTo>
                <a:lnTo>
                  <a:pt x="1505" y="1071"/>
                </a:lnTo>
                <a:lnTo>
                  <a:pt x="1507" y="1073"/>
                </a:lnTo>
                <a:lnTo>
                  <a:pt x="1511" y="1075"/>
                </a:lnTo>
                <a:lnTo>
                  <a:pt x="1516" y="1082"/>
                </a:lnTo>
                <a:lnTo>
                  <a:pt x="1516" y="1088"/>
                </a:lnTo>
                <a:lnTo>
                  <a:pt x="1516" y="1094"/>
                </a:lnTo>
                <a:lnTo>
                  <a:pt x="1516" y="1113"/>
                </a:lnTo>
                <a:lnTo>
                  <a:pt x="1514" y="1132"/>
                </a:lnTo>
                <a:lnTo>
                  <a:pt x="1509" y="1149"/>
                </a:lnTo>
                <a:lnTo>
                  <a:pt x="1505" y="1166"/>
                </a:lnTo>
                <a:lnTo>
                  <a:pt x="1501" y="1183"/>
                </a:lnTo>
                <a:lnTo>
                  <a:pt x="1494" y="1200"/>
                </a:lnTo>
                <a:lnTo>
                  <a:pt x="1486" y="1215"/>
                </a:lnTo>
                <a:lnTo>
                  <a:pt x="1478" y="1228"/>
                </a:lnTo>
                <a:lnTo>
                  <a:pt x="1467" y="1240"/>
                </a:lnTo>
                <a:lnTo>
                  <a:pt x="1463" y="1247"/>
                </a:lnTo>
                <a:lnTo>
                  <a:pt x="1456" y="1253"/>
                </a:lnTo>
                <a:lnTo>
                  <a:pt x="1446" y="1262"/>
                </a:lnTo>
                <a:lnTo>
                  <a:pt x="1435" y="1270"/>
                </a:lnTo>
                <a:lnTo>
                  <a:pt x="1422" y="1276"/>
                </a:lnTo>
                <a:lnTo>
                  <a:pt x="1408" y="1283"/>
                </a:lnTo>
                <a:lnTo>
                  <a:pt x="1395" y="1285"/>
                </a:lnTo>
                <a:lnTo>
                  <a:pt x="1380" y="1287"/>
                </a:lnTo>
                <a:close/>
                <a:moveTo>
                  <a:pt x="1611" y="1283"/>
                </a:moveTo>
                <a:lnTo>
                  <a:pt x="1605" y="1281"/>
                </a:lnTo>
                <a:lnTo>
                  <a:pt x="1596" y="1274"/>
                </a:lnTo>
                <a:lnTo>
                  <a:pt x="1579" y="1259"/>
                </a:lnTo>
                <a:lnTo>
                  <a:pt x="1560" y="1240"/>
                </a:lnTo>
                <a:lnTo>
                  <a:pt x="1541" y="1219"/>
                </a:lnTo>
                <a:lnTo>
                  <a:pt x="1535" y="1211"/>
                </a:lnTo>
                <a:lnTo>
                  <a:pt x="1530" y="1204"/>
                </a:lnTo>
                <a:lnTo>
                  <a:pt x="1524" y="1192"/>
                </a:lnTo>
                <a:lnTo>
                  <a:pt x="1522" y="1185"/>
                </a:lnTo>
                <a:lnTo>
                  <a:pt x="1522" y="1179"/>
                </a:lnTo>
                <a:lnTo>
                  <a:pt x="1522" y="1173"/>
                </a:lnTo>
                <a:lnTo>
                  <a:pt x="1524" y="1166"/>
                </a:lnTo>
                <a:lnTo>
                  <a:pt x="1528" y="1158"/>
                </a:lnTo>
                <a:lnTo>
                  <a:pt x="1533" y="1149"/>
                </a:lnTo>
                <a:lnTo>
                  <a:pt x="1545" y="1135"/>
                </a:lnTo>
                <a:lnTo>
                  <a:pt x="1564" y="1115"/>
                </a:lnTo>
                <a:lnTo>
                  <a:pt x="1605" y="1067"/>
                </a:lnTo>
                <a:lnTo>
                  <a:pt x="1611" y="1067"/>
                </a:lnTo>
                <a:lnTo>
                  <a:pt x="1617" y="1069"/>
                </a:lnTo>
                <a:lnTo>
                  <a:pt x="1624" y="1073"/>
                </a:lnTo>
                <a:lnTo>
                  <a:pt x="1628" y="1079"/>
                </a:lnTo>
                <a:lnTo>
                  <a:pt x="1628" y="1086"/>
                </a:lnTo>
                <a:lnTo>
                  <a:pt x="1626" y="1092"/>
                </a:lnTo>
                <a:lnTo>
                  <a:pt x="1626" y="1094"/>
                </a:lnTo>
                <a:lnTo>
                  <a:pt x="1624" y="1099"/>
                </a:lnTo>
                <a:lnTo>
                  <a:pt x="1594" y="1132"/>
                </a:lnTo>
                <a:lnTo>
                  <a:pt x="1575" y="1154"/>
                </a:lnTo>
                <a:lnTo>
                  <a:pt x="1562" y="1168"/>
                </a:lnTo>
                <a:lnTo>
                  <a:pt x="1560" y="1173"/>
                </a:lnTo>
                <a:lnTo>
                  <a:pt x="1558" y="1179"/>
                </a:lnTo>
                <a:lnTo>
                  <a:pt x="1560" y="1183"/>
                </a:lnTo>
                <a:lnTo>
                  <a:pt x="1562" y="1190"/>
                </a:lnTo>
                <a:lnTo>
                  <a:pt x="1573" y="1202"/>
                </a:lnTo>
                <a:lnTo>
                  <a:pt x="1590" y="1219"/>
                </a:lnTo>
                <a:lnTo>
                  <a:pt x="1609" y="1238"/>
                </a:lnTo>
                <a:lnTo>
                  <a:pt x="1628" y="1257"/>
                </a:lnTo>
                <a:lnTo>
                  <a:pt x="1630" y="1259"/>
                </a:lnTo>
                <a:lnTo>
                  <a:pt x="1632" y="1262"/>
                </a:lnTo>
                <a:lnTo>
                  <a:pt x="1630" y="1266"/>
                </a:lnTo>
                <a:lnTo>
                  <a:pt x="1630" y="1268"/>
                </a:lnTo>
                <a:lnTo>
                  <a:pt x="1624" y="1276"/>
                </a:lnTo>
                <a:lnTo>
                  <a:pt x="1617" y="1281"/>
                </a:lnTo>
                <a:lnTo>
                  <a:pt x="1613" y="1283"/>
                </a:lnTo>
                <a:lnTo>
                  <a:pt x="1611" y="1283"/>
                </a:lnTo>
                <a:close/>
                <a:moveTo>
                  <a:pt x="1380" y="1877"/>
                </a:moveTo>
                <a:lnTo>
                  <a:pt x="1370" y="1877"/>
                </a:lnTo>
                <a:lnTo>
                  <a:pt x="1361" y="1875"/>
                </a:lnTo>
                <a:lnTo>
                  <a:pt x="1353" y="1873"/>
                </a:lnTo>
                <a:lnTo>
                  <a:pt x="1344" y="1869"/>
                </a:lnTo>
                <a:lnTo>
                  <a:pt x="1336" y="1865"/>
                </a:lnTo>
                <a:lnTo>
                  <a:pt x="1329" y="1861"/>
                </a:lnTo>
                <a:lnTo>
                  <a:pt x="1323" y="1854"/>
                </a:lnTo>
                <a:lnTo>
                  <a:pt x="1315" y="1848"/>
                </a:lnTo>
                <a:lnTo>
                  <a:pt x="1310" y="1839"/>
                </a:lnTo>
                <a:lnTo>
                  <a:pt x="1304" y="1831"/>
                </a:lnTo>
                <a:lnTo>
                  <a:pt x="1295" y="1814"/>
                </a:lnTo>
                <a:lnTo>
                  <a:pt x="1293" y="1803"/>
                </a:lnTo>
                <a:lnTo>
                  <a:pt x="1291" y="1793"/>
                </a:lnTo>
                <a:lnTo>
                  <a:pt x="1289" y="1782"/>
                </a:lnTo>
                <a:lnTo>
                  <a:pt x="1289" y="1772"/>
                </a:lnTo>
                <a:lnTo>
                  <a:pt x="1289" y="1761"/>
                </a:lnTo>
                <a:lnTo>
                  <a:pt x="1291" y="1748"/>
                </a:lnTo>
                <a:lnTo>
                  <a:pt x="1293" y="1738"/>
                </a:lnTo>
                <a:lnTo>
                  <a:pt x="1295" y="1727"/>
                </a:lnTo>
                <a:lnTo>
                  <a:pt x="1300" y="1719"/>
                </a:lnTo>
                <a:lnTo>
                  <a:pt x="1306" y="1708"/>
                </a:lnTo>
                <a:lnTo>
                  <a:pt x="1310" y="1700"/>
                </a:lnTo>
                <a:lnTo>
                  <a:pt x="1317" y="1691"/>
                </a:lnTo>
                <a:lnTo>
                  <a:pt x="1323" y="1683"/>
                </a:lnTo>
                <a:lnTo>
                  <a:pt x="1331" y="1676"/>
                </a:lnTo>
                <a:lnTo>
                  <a:pt x="1340" y="1670"/>
                </a:lnTo>
                <a:lnTo>
                  <a:pt x="1348" y="1666"/>
                </a:lnTo>
                <a:lnTo>
                  <a:pt x="1357" y="1662"/>
                </a:lnTo>
                <a:lnTo>
                  <a:pt x="1365" y="1657"/>
                </a:lnTo>
                <a:lnTo>
                  <a:pt x="1376" y="1655"/>
                </a:lnTo>
                <a:lnTo>
                  <a:pt x="1384" y="1655"/>
                </a:lnTo>
                <a:lnTo>
                  <a:pt x="1397" y="1657"/>
                </a:lnTo>
                <a:lnTo>
                  <a:pt x="1403" y="1657"/>
                </a:lnTo>
                <a:lnTo>
                  <a:pt x="1408" y="1659"/>
                </a:lnTo>
                <a:lnTo>
                  <a:pt x="1416" y="1666"/>
                </a:lnTo>
                <a:lnTo>
                  <a:pt x="1425" y="1672"/>
                </a:lnTo>
                <a:lnTo>
                  <a:pt x="1431" y="1681"/>
                </a:lnTo>
                <a:lnTo>
                  <a:pt x="1435" y="1689"/>
                </a:lnTo>
                <a:lnTo>
                  <a:pt x="1437" y="1702"/>
                </a:lnTo>
                <a:lnTo>
                  <a:pt x="1439" y="1712"/>
                </a:lnTo>
                <a:lnTo>
                  <a:pt x="1439" y="1721"/>
                </a:lnTo>
                <a:lnTo>
                  <a:pt x="1437" y="1727"/>
                </a:lnTo>
                <a:lnTo>
                  <a:pt x="1435" y="1736"/>
                </a:lnTo>
                <a:lnTo>
                  <a:pt x="1431" y="1742"/>
                </a:lnTo>
                <a:lnTo>
                  <a:pt x="1429" y="1748"/>
                </a:lnTo>
                <a:lnTo>
                  <a:pt x="1425" y="1755"/>
                </a:lnTo>
                <a:lnTo>
                  <a:pt x="1414" y="1767"/>
                </a:lnTo>
                <a:lnTo>
                  <a:pt x="1408" y="1772"/>
                </a:lnTo>
                <a:lnTo>
                  <a:pt x="1401" y="1776"/>
                </a:lnTo>
                <a:lnTo>
                  <a:pt x="1386" y="1784"/>
                </a:lnTo>
                <a:lnTo>
                  <a:pt x="1380" y="1786"/>
                </a:lnTo>
                <a:lnTo>
                  <a:pt x="1372" y="1789"/>
                </a:lnTo>
                <a:lnTo>
                  <a:pt x="1357" y="1791"/>
                </a:lnTo>
                <a:lnTo>
                  <a:pt x="1351" y="1789"/>
                </a:lnTo>
                <a:lnTo>
                  <a:pt x="1348" y="1786"/>
                </a:lnTo>
                <a:lnTo>
                  <a:pt x="1346" y="1784"/>
                </a:lnTo>
                <a:lnTo>
                  <a:pt x="1344" y="1782"/>
                </a:lnTo>
                <a:lnTo>
                  <a:pt x="1342" y="1778"/>
                </a:lnTo>
                <a:lnTo>
                  <a:pt x="1340" y="1772"/>
                </a:lnTo>
                <a:lnTo>
                  <a:pt x="1342" y="1765"/>
                </a:lnTo>
                <a:lnTo>
                  <a:pt x="1344" y="1763"/>
                </a:lnTo>
                <a:lnTo>
                  <a:pt x="1344" y="1761"/>
                </a:lnTo>
                <a:lnTo>
                  <a:pt x="1359" y="1759"/>
                </a:lnTo>
                <a:lnTo>
                  <a:pt x="1370" y="1753"/>
                </a:lnTo>
                <a:lnTo>
                  <a:pt x="1380" y="1748"/>
                </a:lnTo>
                <a:lnTo>
                  <a:pt x="1391" y="1740"/>
                </a:lnTo>
                <a:lnTo>
                  <a:pt x="1397" y="1734"/>
                </a:lnTo>
                <a:lnTo>
                  <a:pt x="1399" y="1729"/>
                </a:lnTo>
                <a:lnTo>
                  <a:pt x="1403" y="1725"/>
                </a:lnTo>
                <a:lnTo>
                  <a:pt x="1406" y="1717"/>
                </a:lnTo>
                <a:lnTo>
                  <a:pt x="1408" y="1708"/>
                </a:lnTo>
                <a:lnTo>
                  <a:pt x="1408" y="1704"/>
                </a:lnTo>
                <a:lnTo>
                  <a:pt x="1406" y="1698"/>
                </a:lnTo>
                <a:lnTo>
                  <a:pt x="1403" y="1695"/>
                </a:lnTo>
                <a:lnTo>
                  <a:pt x="1401" y="1691"/>
                </a:lnTo>
                <a:lnTo>
                  <a:pt x="1397" y="1689"/>
                </a:lnTo>
                <a:lnTo>
                  <a:pt x="1393" y="1687"/>
                </a:lnTo>
                <a:lnTo>
                  <a:pt x="1382" y="1685"/>
                </a:lnTo>
                <a:lnTo>
                  <a:pt x="1372" y="1687"/>
                </a:lnTo>
                <a:lnTo>
                  <a:pt x="1367" y="1689"/>
                </a:lnTo>
                <a:lnTo>
                  <a:pt x="1361" y="1691"/>
                </a:lnTo>
                <a:lnTo>
                  <a:pt x="1357" y="1695"/>
                </a:lnTo>
                <a:lnTo>
                  <a:pt x="1351" y="1700"/>
                </a:lnTo>
                <a:lnTo>
                  <a:pt x="1342" y="1710"/>
                </a:lnTo>
                <a:lnTo>
                  <a:pt x="1338" y="1717"/>
                </a:lnTo>
                <a:lnTo>
                  <a:pt x="1334" y="1723"/>
                </a:lnTo>
                <a:lnTo>
                  <a:pt x="1327" y="1738"/>
                </a:lnTo>
                <a:lnTo>
                  <a:pt x="1325" y="1753"/>
                </a:lnTo>
                <a:lnTo>
                  <a:pt x="1323" y="1761"/>
                </a:lnTo>
                <a:lnTo>
                  <a:pt x="1323" y="1770"/>
                </a:lnTo>
                <a:lnTo>
                  <a:pt x="1323" y="1784"/>
                </a:lnTo>
                <a:lnTo>
                  <a:pt x="1325" y="1793"/>
                </a:lnTo>
                <a:lnTo>
                  <a:pt x="1327" y="1799"/>
                </a:lnTo>
                <a:lnTo>
                  <a:pt x="1331" y="1812"/>
                </a:lnTo>
                <a:lnTo>
                  <a:pt x="1338" y="1822"/>
                </a:lnTo>
                <a:lnTo>
                  <a:pt x="1346" y="1831"/>
                </a:lnTo>
                <a:lnTo>
                  <a:pt x="1353" y="1833"/>
                </a:lnTo>
                <a:lnTo>
                  <a:pt x="1357" y="1837"/>
                </a:lnTo>
                <a:lnTo>
                  <a:pt x="1367" y="1841"/>
                </a:lnTo>
                <a:lnTo>
                  <a:pt x="1374" y="1841"/>
                </a:lnTo>
                <a:lnTo>
                  <a:pt x="1380" y="1841"/>
                </a:lnTo>
                <a:lnTo>
                  <a:pt x="1393" y="1841"/>
                </a:lnTo>
                <a:lnTo>
                  <a:pt x="1406" y="1837"/>
                </a:lnTo>
                <a:lnTo>
                  <a:pt x="1410" y="1835"/>
                </a:lnTo>
                <a:lnTo>
                  <a:pt x="1416" y="1831"/>
                </a:lnTo>
                <a:lnTo>
                  <a:pt x="1427" y="1825"/>
                </a:lnTo>
                <a:lnTo>
                  <a:pt x="1435" y="1814"/>
                </a:lnTo>
                <a:lnTo>
                  <a:pt x="1444" y="1803"/>
                </a:lnTo>
                <a:lnTo>
                  <a:pt x="1452" y="1793"/>
                </a:lnTo>
                <a:lnTo>
                  <a:pt x="1458" y="1780"/>
                </a:lnTo>
                <a:lnTo>
                  <a:pt x="1465" y="1765"/>
                </a:lnTo>
                <a:lnTo>
                  <a:pt x="1471" y="1753"/>
                </a:lnTo>
                <a:lnTo>
                  <a:pt x="1475" y="1738"/>
                </a:lnTo>
                <a:lnTo>
                  <a:pt x="1478" y="1723"/>
                </a:lnTo>
                <a:lnTo>
                  <a:pt x="1482" y="1708"/>
                </a:lnTo>
                <a:lnTo>
                  <a:pt x="1482" y="1695"/>
                </a:lnTo>
                <a:lnTo>
                  <a:pt x="1484" y="1681"/>
                </a:lnTo>
                <a:lnTo>
                  <a:pt x="1482" y="1668"/>
                </a:lnTo>
                <a:lnTo>
                  <a:pt x="1484" y="1666"/>
                </a:lnTo>
                <a:lnTo>
                  <a:pt x="1488" y="1664"/>
                </a:lnTo>
                <a:lnTo>
                  <a:pt x="1490" y="1662"/>
                </a:lnTo>
                <a:lnTo>
                  <a:pt x="1497" y="1662"/>
                </a:lnTo>
                <a:lnTo>
                  <a:pt x="1505" y="1662"/>
                </a:lnTo>
                <a:lnTo>
                  <a:pt x="1507" y="1664"/>
                </a:lnTo>
                <a:lnTo>
                  <a:pt x="1511" y="1666"/>
                </a:lnTo>
                <a:lnTo>
                  <a:pt x="1516" y="1674"/>
                </a:lnTo>
                <a:lnTo>
                  <a:pt x="1516" y="1681"/>
                </a:lnTo>
                <a:lnTo>
                  <a:pt x="1516" y="1687"/>
                </a:lnTo>
                <a:lnTo>
                  <a:pt x="1516" y="1706"/>
                </a:lnTo>
                <a:lnTo>
                  <a:pt x="1514" y="1723"/>
                </a:lnTo>
                <a:lnTo>
                  <a:pt x="1509" y="1742"/>
                </a:lnTo>
                <a:lnTo>
                  <a:pt x="1505" y="1759"/>
                </a:lnTo>
                <a:lnTo>
                  <a:pt x="1501" y="1776"/>
                </a:lnTo>
                <a:lnTo>
                  <a:pt x="1494" y="1791"/>
                </a:lnTo>
                <a:lnTo>
                  <a:pt x="1486" y="1805"/>
                </a:lnTo>
                <a:lnTo>
                  <a:pt x="1478" y="1820"/>
                </a:lnTo>
                <a:lnTo>
                  <a:pt x="1467" y="1833"/>
                </a:lnTo>
                <a:lnTo>
                  <a:pt x="1463" y="1839"/>
                </a:lnTo>
                <a:lnTo>
                  <a:pt x="1456" y="1844"/>
                </a:lnTo>
                <a:lnTo>
                  <a:pt x="1446" y="1854"/>
                </a:lnTo>
                <a:lnTo>
                  <a:pt x="1435" y="1863"/>
                </a:lnTo>
                <a:lnTo>
                  <a:pt x="1422" y="1869"/>
                </a:lnTo>
                <a:lnTo>
                  <a:pt x="1408" y="1873"/>
                </a:lnTo>
                <a:lnTo>
                  <a:pt x="1395" y="1877"/>
                </a:lnTo>
                <a:lnTo>
                  <a:pt x="1380" y="1877"/>
                </a:lnTo>
                <a:close/>
                <a:moveTo>
                  <a:pt x="1611" y="1873"/>
                </a:moveTo>
                <a:lnTo>
                  <a:pt x="1605" y="1871"/>
                </a:lnTo>
                <a:lnTo>
                  <a:pt x="1596" y="1867"/>
                </a:lnTo>
                <a:lnTo>
                  <a:pt x="1579" y="1852"/>
                </a:lnTo>
                <a:lnTo>
                  <a:pt x="1560" y="1831"/>
                </a:lnTo>
                <a:lnTo>
                  <a:pt x="1541" y="1812"/>
                </a:lnTo>
                <a:lnTo>
                  <a:pt x="1535" y="1803"/>
                </a:lnTo>
                <a:lnTo>
                  <a:pt x="1530" y="1795"/>
                </a:lnTo>
                <a:lnTo>
                  <a:pt x="1524" y="1784"/>
                </a:lnTo>
                <a:lnTo>
                  <a:pt x="1522" y="1778"/>
                </a:lnTo>
                <a:lnTo>
                  <a:pt x="1522" y="1772"/>
                </a:lnTo>
                <a:lnTo>
                  <a:pt x="1522" y="1765"/>
                </a:lnTo>
                <a:lnTo>
                  <a:pt x="1524" y="1757"/>
                </a:lnTo>
                <a:lnTo>
                  <a:pt x="1528" y="1750"/>
                </a:lnTo>
                <a:lnTo>
                  <a:pt x="1533" y="1742"/>
                </a:lnTo>
                <a:lnTo>
                  <a:pt x="1545" y="1727"/>
                </a:lnTo>
                <a:lnTo>
                  <a:pt x="1564" y="1706"/>
                </a:lnTo>
                <a:lnTo>
                  <a:pt x="1605" y="1659"/>
                </a:lnTo>
                <a:lnTo>
                  <a:pt x="1611" y="1659"/>
                </a:lnTo>
                <a:lnTo>
                  <a:pt x="1617" y="1662"/>
                </a:lnTo>
                <a:lnTo>
                  <a:pt x="1624" y="1666"/>
                </a:lnTo>
                <a:lnTo>
                  <a:pt x="1628" y="1672"/>
                </a:lnTo>
                <a:lnTo>
                  <a:pt x="1628" y="1676"/>
                </a:lnTo>
                <a:lnTo>
                  <a:pt x="1626" y="1683"/>
                </a:lnTo>
                <a:lnTo>
                  <a:pt x="1626" y="1687"/>
                </a:lnTo>
                <a:lnTo>
                  <a:pt x="1624" y="1691"/>
                </a:lnTo>
                <a:lnTo>
                  <a:pt x="1594" y="1725"/>
                </a:lnTo>
                <a:lnTo>
                  <a:pt x="1575" y="1744"/>
                </a:lnTo>
                <a:lnTo>
                  <a:pt x="1562" y="1761"/>
                </a:lnTo>
                <a:lnTo>
                  <a:pt x="1560" y="1765"/>
                </a:lnTo>
                <a:lnTo>
                  <a:pt x="1558" y="1770"/>
                </a:lnTo>
                <a:lnTo>
                  <a:pt x="1560" y="1776"/>
                </a:lnTo>
                <a:lnTo>
                  <a:pt x="1562" y="1780"/>
                </a:lnTo>
                <a:lnTo>
                  <a:pt x="1573" y="1793"/>
                </a:lnTo>
                <a:lnTo>
                  <a:pt x="1590" y="1810"/>
                </a:lnTo>
                <a:lnTo>
                  <a:pt x="1609" y="1831"/>
                </a:lnTo>
                <a:lnTo>
                  <a:pt x="1628" y="1848"/>
                </a:lnTo>
                <a:lnTo>
                  <a:pt x="1630" y="1850"/>
                </a:lnTo>
                <a:lnTo>
                  <a:pt x="1632" y="1854"/>
                </a:lnTo>
                <a:lnTo>
                  <a:pt x="1630" y="1856"/>
                </a:lnTo>
                <a:lnTo>
                  <a:pt x="1630" y="1861"/>
                </a:lnTo>
                <a:lnTo>
                  <a:pt x="1624" y="1867"/>
                </a:lnTo>
                <a:lnTo>
                  <a:pt x="1617" y="1873"/>
                </a:lnTo>
                <a:lnTo>
                  <a:pt x="1613" y="1873"/>
                </a:lnTo>
                <a:lnTo>
                  <a:pt x="1611" y="1873"/>
                </a:lnTo>
                <a:close/>
                <a:moveTo>
                  <a:pt x="3613" y="679"/>
                </a:moveTo>
                <a:lnTo>
                  <a:pt x="3603" y="671"/>
                </a:lnTo>
                <a:lnTo>
                  <a:pt x="3594" y="663"/>
                </a:lnTo>
                <a:lnTo>
                  <a:pt x="3588" y="652"/>
                </a:lnTo>
                <a:lnTo>
                  <a:pt x="3582" y="641"/>
                </a:lnTo>
                <a:lnTo>
                  <a:pt x="3579" y="635"/>
                </a:lnTo>
                <a:lnTo>
                  <a:pt x="3577" y="629"/>
                </a:lnTo>
                <a:lnTo>
                  <a:pt x="3573" y="616"/>
                </a:lnTo>
                <a:lnTo>
                  <a:pt x="3571" y="603"/>
                </a:lnTo>
                <a:lnTo>
                  <a:pt x="3569" y="588"/>
                </a:lnTo>
                <a:lnTo>
                  <a:pt x="3571" y="574"/>
                </a:lnTo>
                <a:lnTo>
                  <a:pt x="3573" y="561"/>
                </a:lnTo>
                <a:lnTo>
                  <a:pt x="3577" y="546"/>
                </a:lnTo>
                <a:lnTo>
                  <a:pt x="3582" y="533"/>
                </a:lnTo>
                <a:lnTo>
                  <a:pt x="3588" y="523"/>
                </a:lnTo>
                <a:lnTo>
                  <a:pt x="3594" y="510"/>
                </a:lnTo>
                <a:lnTo>
                  <a:pt x="3603" y="502"/>
                </a:lnTo>
                <a:lnTo>
                  <a:pt x="3613" y="493"/>
                </a:lnTo>
                <a:lnTo>
                  <a:pt x="3613" y="544"/>
                </a:lnTo>
                <a:lnTo>
                  <a:pt x="3609" y="555"/>
                </a:lnTo>
                <a:lnTo>
                  <a:pt x="3607" y="565"/>
                </a:lnTo>
                <a:lnTo>
                  <a:pt x="3605" y="576"/>
                </a:lnTo>
                <a:lnTo>
                  <a:pt x="3603" y="586"/>
                </a:lnTo>
                <a:lnTo>
                  <a:pt x="3605" y="599"/>
                </a:lnTo>
                <a:lnTo>
                  <a:pt x="3607" y="610"/>
                </a:lnTo>
                <a:lnTo>
                  <a:pt x="3609" y="618"/>
                </a:lnTo>
                <a:lnTo>
                  <a:pt x="3613" y="629"/>
                </a:lnTo>
                <a:lnTo>
                  <a:pt x="3613" y="679"/>
                </a:lnTo>
                <a:close/>
                <a:moveTo>
                  <a:pt x="3613" y="1270"/>
                </a:moveTo>
                <a:lnTo>
                  <a:pt x="3603" y="1264"/>
                </a:lnTo>
                <a:lnTo>
                  <a:pt x="3594" y="1253"/>
                </a:lnTo>
                <a:lnTo>
                  <a:pt x="3588" y="1245"/>
                </a:lnTo>
                <a:lnTo>
                  <a:pt x="3582" y="1232"/>
                </a:lnTo>
                <a:lnTo>
                  <a:pt x="3579" y="1228"/>
                </a:lnTo>
                <a:lnTo>
                  <a:pt x="3577" y="1221"/>
                </a:lnTo>
                <a:lnTo>
                  <a:pt x="3573" y="1209"/>
                </a:lnTo>
                <a:lnTo>
                  <a:pt x="3571" y="1194"/>
                </a:lnTo>
                <a:lnTo>
                  <a:pt x="3569" y="1179"/>
                </a:lnTo>
                <a:lnTo>
                  <a:pt x="3571" y="1166"/>
                </a:lnTo>
                <a:lnTo>
                  <a:pt x="3573" y="1151"/>
                </a:lnTo>
                <a:lnTo>
                  <a:pt x="3577" y="1139"/>
                </a:lnTo>
                <a:lnTo>
                  <a:pt x="3582" y="1126"/>
                </a:lnTo>
                <a:lnTo>
                  <a:pt x="3588" y="1113"/>
                </a:lnTo>
                <a:lnTo>
                  <a:pt x="3594" y="1103"/>
                </a:lnTo>
                <a:lnTo>
                  <a:pt x="3603" y="1092"/>
                </a:lnTo>
                <a:lnTo>
                  <a:pt x="3613" y="1084"/>
                </a:lnTo>
                <a:lnTo>
                  <a:pt x="3613" y="1137"/>
                </a:lnTo>
                <a:lnTo>
                  <a:pt x="3609" y="1145"/>
                </a:lnTo>
                <a:lnTo>
                  <a:pt x="3607" y="1156"/>
                </a:lnTo>
                <a:lnTo>
                  <a:pt x="3605" y="1166"/>
                </a:lnTo>
                <a:lnTo>
                  <a:pt x="3603" y="1179"/>
                </a:lnTo>
                <a:lnTo>
                  <a:pt x="3605" y="1190"/>
                </a:lnTo>
                <a:lnTo>
                  <a:pt x="3607" y="1200"/>
                </a:lnTo>
                <a:lnTo>
                  <a:pt x="3609" y="1211"/>
                </a:lnTo>
                <a:lnTo>
                  <a:pt x="3613" y="1219"/>
                </a:lnTo>
                <a:lnTo>
                  <a:pt x="3613" y="1270"/>
                </a:lnTo>
                <a:close/>
                <a:moveTo>
                  <a:pt x="3613" y="1863"/>
                </a:moveTo>
                <a:lnTo>
                  <a:pt x="3603" y="1854"/>
                </a:lnTo>
                <a:lnTo>
                  <a:pt x="3594" y="1846"/>
                </a:lnTo>
                <a:lnTo>
                  <a:pt x="3588" y="1835"/>
                </a:lnTo>
                <a:lnTo>
                  <a:pt x="3582" y="1825"/>
                </a:lnTo>
                <a:lnTo>
                  <a:pt x="3579" y="1818"/>
                </a:lnTo>
                <a:lnTo>
                  <a:pt x="3577" y="1812"/>
                </a:lnTo>
                <a:lnTo>
                  <a:pt x="3573" y="1799"/>
                </a:lnTo>
                <a:lnTo>
                  <a:pt x="3571" y="1786"/>
                </a:lnTo>
                <a:lnTo>
                  <a:pt x="3569" y="1772"/>
                </a:lnTo>
                <a:lnTo>
                  <a:pt x="3571" y="1757"/>
                </a:lnTo>
                <a:lnTo>
                  <a:pt x="3573" y="1744"/>
                </a:lnTo>
                <a:lnTo>
                  <a:pt x="3577" y="1729"/>
                </a:lnTo>
                <a:lnTo>
                  <a:pt x="3582" y="1717"/>
                </a:lnTo>
                <a:lnTo>
                  <a:pt x="3588" y="1706"/>
                </a:lnTo>
                <a:lnTo>
                  <a:pt x="3594" y="1693"/>
                </a:lnTo>
                <a:lnTo>
                  <a:pt x="3603" y="1685"/>
                </a:lnTo>
                <a:lnTo>
                  <a:pt x="3613" y="1676"/>
                </a:lnTo>
                <a:lnTo>
                  <a:pt x="3613" y="1727"/>
                </a:lnTo>
                <a:lnTo>
                  <a:pt x="3609" y="1738"/>
                </a:lnTo>
                <a:lnTo>
                  <a:pt x="3607" y="1748"/>
                </a:lnTo>
                <a:lnTo>
                  <a:pt x="3605" y="1759"/>
                </a:lnTo>
                <a:lnTo>
                  <a:pt x="3603" y="1770"/>
                </a:lnTo>
                <a:lnTo>
                  <a:pt x="3605" y="1782"/>
                </a:lnTo>
                <a:lnTo>
                  <a:pt x="3607" y="1793"/>
                </a:lnTo>
                <a:lnTo>
                  <a:pt x="3609" y="1801"/>
                </a:lnTo>
                <a:lnTo>
                  <a:pt x="3613" y="1812"/>
                </a:lnTo>
                <a:lnTo>
                  <a:pt x="3613" y="1863"/>
                </a:lnTo>
                <a:close/>
                <a:moveTo>
                  <a:pt x="1653" y="2747"/>
                </a:moveTo>
                <a:lnTo>
                  <a:pt x="1645" y="2747"/>
                </a:lnTo>
                <a:lnTo>
                  <a:pt x="1636" y="2745"/>
                </a:lnTo>
                <a:lnTo>
                  <a:pt x="1628" y="2743"/>
                </a:lnTo>
                <a:lnTo>
                  <a:pt x="1619" y="2739"/>
                </a:lnTo>
                <a:lnTo>
                  <a:pt x="1611" y="2735"/>
                </a:lnTo>
                <a:lnTo>
                  <a:pt x="1602" y="2730"/>
                </a:lnTo>
                <a:lnTo>
                  <a:pt x="1596" y="2724"/>
                </a:lnTo>
                <a:lnTo>
                  <a:pt x="1590" y="2718"/>
                </a:lnTo>
                <a:lnTo>
                  <a:pt x="1583" y="2709"/>
                </a:lnTo>
                <a:lnTo>
                  <a:pt x="1579" y="2701"/>
                </a:lnTo>
                <a:lnTo>
                  <a:pt x="1571" y="2684"/>
                </a:lnTo>
                <a:lnTo>
                  <a:pt x="1569" y="2673"/>
                </a:lnTo>
                <a:lnTo>
                  <a:pt x="1564" y="2663"/>
                </a:lnTo>
                <a:lnTo>
                  <a:pt x="1564" y="2652"/>
                </a:lnTo>
                <a:lnTo>
                  <a:pt x="1564" y="2642"/>
                </a:lnTo>
                <a:lnTo>
                  <a:pt x="1564" y="2631"/>
                </a:lnTo>
                <a:lnTo>
                  <a:pt x="1564" y="2620"/>
                </a:lnTo>
                <a:lnTo>
                  <a:pt x="1569" y="2608"/>
                </a:lnTo>
                <a:lnTo>
                  <a:pt x="1571" y="2597"/>
                </a:lnTo>
                <a:lnTo>
                  <a:pt x="1575" y="2589"/>
                </a:lnTo>
                <a:lnTo>
                  <a:pt x="1579" y="2578"/>
                </a:lnTo>
                <a:lnTo>
                  <a:pt x="1585" y="2570"/>
                </a:lnTo>
                <a:lnTo>
                  <a:pt x="1592" y="2561"/>
                </a:lnTo>
                <a:lnTo>
                  <a:pt x="1598" y="2553"/>
                </a:lnTo>
                <a:lnTo>
                  <a:pt x="1607" y="2546"/>
                </a:lnTo>
                <a:lnTo>
                  <a:pt x="1613" y="2540"/>
                </a:lnTo>
                <a:lnTo>
                  <a:pt x="1621" y="2536"/>
                </a:lnTo>
                <a:lnTo>
                  <a:pt x="1630" y="2531"/>
                </a:lnTo>
                <a:lnTo>
                  <a:pt x="1641" y="2527"/>
                </a:lnTo>
                <a:lnTo>
                  <a:pt x="1649" y="2527"/>
                </a:lnTo>
                <a:lnTo>
                  <a:pt x="1660" y="2525"/>
                </a:lnTo>
                <a:lnTo>
                  <a:pt x="1672" y="2527"/>
                </a:lnTo>
                <a:lnTo>
                  <a:pt x="1676" y="2527"/>
                </a:lnTo>
                <a:lnTo>
                  <a:pt x="1683" y="2529"/>
                </a:lnTo>
                <a:lnTo>
                  <a:pt x="1691" y="2536"/>
                </a:lnTo>
                <a:lnTo>
                  <a:pt x="1700" y="2542"/>
                </a:lnTo>
                <a:lnTo>
                  <a:pt x="1706" y="2551"/>
                </a:lnTo>
                <a:lnTo>
                  <a:pt x="1710" y="2561"/>
                </a:lnTo>
                <a:lnTo>
                  <a:pt x="1712" y="2572"/>
                </a:lnTo>
                <a:lnTo>
                  <a:pt x="1715" y="2582"/>
                </a:lnTo>
                <a:lnTo>
                  <a:pt x="1712" y="2591"/>
                </a:lnTo>
                <a:lnTo>
                  <a:pt x="1712" y="2597"/>
                </a:lnTo>
                <a:lnTo>
                  <a:pt x="1710" y="2606"/>
                </a:lnTo>
                <a:lnTo>
                  <a:pt x="1706" y="2612"/>
                </a:lnTo>
                <a:lnTo>
                  <a:pt x="1702" y="2618"/>
                </a:lnTo>
                <a:lnTo>
                  <a:pt x="1698" y="2625"/>
                </a:lnTo>
                <a:lnTo>
                  <a:pt x="1687" y="2637"/>
                </a:lnTo>
                <a:lnTo>
                  <a:pt x="1681" y="2642"/>
                </a:lnTo>
                <a:lnTo>
                  <a:pt x="1674" y="2646"/>
                </a:lnTo>
                <a:lnTo>
                  <a:pt x="1662" y="2654"/>
                </a:lnTo>
                <a:lnTo>
                  <a:pt x="1653" y="2656"/>
                </a:lnTo>
                <a:lnTo>
                  <a:pt x="1647" y="2658"/>
                </a:lnTo>
                <a:lnTo>
                  <a:pt x="1632" y="2661"/>
                </a:lnTo>
                <a:lnTo>
                  <a:pt x="1626" y="2658"/>
                </a:lnTo>
                <a:lnTo>
                  <a:pt x="1621" y="2656"/>
                </a:lnTo>
                <a:lnTo>
                  <a:pt x="1619" y="2654"/>
                </a:lnTo>
                <a:lnTo>
                  <a:pt x="1617" y="2652"/>
                </a:lnTo>
                <a:lnTo>
                  <a:pt x="1617" y="2648"/>
                </a:lnTo>
                <a:lnTo>
                  <a:pt x="1615" y="2642"/>
                </a:lnTo>
                <a:lnTo>
                  <a:pt x="1617" y="2635"/>
                </a:lnTo>
                <a:lnTo>
                  <a:pt x="1617" y="2633"/>
                </a:lnTo>
                <a:lnTo>
                  <a:pt x="1619" y="2631"/>
                </a:lnTo>
                <a:lnTo>
                  <a:pt x="1632" y="2629"/>
                </a:lnTo>
                <a:lnTo>
                  <a:pt x="1645" y="2625"/>
                </a:lnTo>
                <a:lnTo>
                  <a:pt x="1655" y="2618"/>
                </a:lnTo>
                <a:lnTo>
                  <a:pt x="1664" y="2612"/>
                </a:lnTo>
                <a:lnTo>
                  <a:pt x="1672" y="2603"/>
                </a:lnTo>
                <a:lnTo>
                  <a:pt x="1674" y="2599"/>
                </a:lnTo>
                <a:lnTo>
                  <a:pt x="1676" y="2595"/>
                </a:lnTo>
                <a:lnTo>
                  <a:pt x="1681" y="2587"/>
                </a:lnTo>
                <a:lnTo>
                  <a:pt x="1683" y="2578"/>
                </a:lnTo>
                <a:lnTo>
                  <a:pt x="1681" y="2574"/>
                </a:lnTo>
                <a:lnTo>
                  <a:pt x="1681" y="2570"/>
                </a:lnTo>
                <a:lnTo>
                  <a:pt x="1679" y="2565"/>
                </a:lnTo>
                <a:lnTo>
                  <a:pt x="1674" y="2561"/>
                </a:lnTo>
                <a:lnTo>
                  <a:pt x="1672" y="2559"/>
                </a:lnTo>
                <a:lnTo>
                  <a:pt x="1668" y="2557"/>
                </a:lnTo>
                <a:lnTo>
                  <a:pt x="1657" y="2555"/>
                </a:lnTo>
                <a:lnTo>
                  <a:pt x="1647" y="2557"/>
                </a:lnTo>
                <a:lnTo>
                  <a:pt x="1641" y="2559"/>
                </a:lnTo>
                <a:lnTo>
                  <a:pt x="1636" y="2563"/>
                </a:lnTo>
                <a:lnTo>
                  <a:pt x="1630" y="2565"/>
                </a:lnTo>
                <a:lnTo>
                  <a:pt x="1626" y="2570"/>
                </a:lnTo>
                <a:lnTo>
                  <a:pt x="1617" y="2580"/>
                </a:lnTo>
                <a:lnTo>
                  <a:pt x="1613" y="2587"/>
                </a:lnTo>
                <a:lnTo>
                  <a:pt x="1609" y="2593"/>
                </a:lnTo>
                <a:lnTo>
                  <a:pt x="1602" y="2608"/>
                </a:lnTo>
                <a:lnTo>
                  <a:pt x="1598" y="2623"/>
                </a:lnTo>
                <a:lnTo>
                  <a:pt x="1598" y="2631"/>
                </a:lnTo>
                <a:lnTo>
                  <a:pt x="1596" y="2639"/>
                </a:lnTo>
                <a:lnTo>
                  <a:pt x="1598" y="2654"/>
                </a:lnTo>
                <a:lnTo>
                  <a:pt x="1600" y="2663"/>
                </a:lnTo>
                <a:lnTo>
                  <a:pt x="1600" y="2669"/>
                </a:lnTo>
                <a:lnTo>
                  <a:pt x="1607" y="2682"/>
                </a:lnTo>
                <a:lnTo>
                  <a:pt x="1613" y="2692"/>
                </a:lnTo>
                <a:lnTo>
                  <a:pt x="1621" y="2701"/>
                </a:lnTo>
                <a:lnTo>
                  <a:pt x="1626" y="2703"/>
                </a:lnTo>
                <a:lnTo>
                  <a:pt x="1632" y="2707"/>
                </a:lnTo>
                <a:lnTo>
                  <a:pt x="1643" y="2711"/>
                </a:lnTo>
                <a:lnTo>
                  <a:pt x="1649" y="2711"/>
                </a:lnTo>
                <a:lnTo>
                  <a:pt x="1655" y="2711"/>
                </a:lnTo>
                <a:lnTo>
                  <a:pt x="1668" y="2711"/>
                </a:lnTo>
                <a:lnTo>
                  <a:pt x="1679" y="2707"/>
                </a:lnTo>
                <a:lnTo>
                  <a:pt x="1685" y="2705"/>
                </a:lnTo>
                <a:lnTo>
                  <a:pt x="1691" y="2701"/>
                </a:lnTo>
                <a:lnTo>
                  <a:pt x="1700" y="2694"/>
                </a:lnTo>
                <a:lnTo>
                  <a:pt x="1710" y="2686"/>
                </a:lnTo>
                <a:lnTo>
                  <a:pt x="1719" y="2675"/>
                </a:lnTo>
                <a:lnTo>
                  <a:pt x="1727" y="2663"/>
                </a:lnTo>
                <a:lnTo>
                  <a:pt x="1734" y="2650"/>
                </a:lnTo>
                <a:lnTo>
                  <a:pt x="1740" y="2637"/>
                </a:lnTo>
                <a:lnTo>
                  <a:pt x="1744" y="2623"/>
                </a:lnTo>
                <a:lnTo>
                  <a:pt x="1748" y="2608"/>
                </a:lnTo>
                <a:lnTo>
                  <a:pt x="1753" y="2593"/>
                </a:lnTo>
                <a:lnTo>
                  <a:pt x="1755" y="2578"/>
                </a:lnTo>
                <a:lnTo>
                  <a:pt x="1757" y="2565"/>
                </a:lnTo>
                <a:lnTo>
                  <a:pt x="1757" y="2551"/>
                </a:lnTo>
                <a:lnTo>
                  <a:pt x="1757" y="2538"/>
                </a:lnTo>
                <a:lnTo>
                  <a:pt x="1759" y="2536"/>
                </a:lnTo>
                <a:lnTo>
                  <a:pt x="1761" y="2534"/>
                </a:lnTo>
                <a:lnTo>
                  <a:pt x="1765" y="2531"/>
                </a:lnTo>
                <a:lnTo>
                  <a:pt x="1770" y="2531"/>
                </a:lnTo>
                <a:lnTo>
                  <a:pt x="1778" y="2531"/>
                </a:lnTo>
                <a:lnTo>
                  <a:pt x="1782" y="2534"/>
                </a:lnTo>
                <a:lnTo>
                  <a:pt x="1784" y="2536"/>
                </a:lnTo>
                <a:lnTo>
                  <a:pt x="1789" y="2544"/>
                </a:lnTo>
                <a:lnTo>
                  <a:pt x="1791" y="2551"/>
                </a:lnTo>
                <a:lnTo>
                  <a:pt x="1791" y="2557"/>
                </a:lnTo>
                <a:lnTo>
                  <a:pt x="1791" y="2576"/>
                </a:lnTo>
                <a:lnTo>
                  <a:pt x="1789" y="2595"/>
                </a:lnTo>
                <a:lnTo>
                  <a:pt x="1784" y="2612"/>
                </a:lnTo>
                <a:lnTo>
                  <a:pt x="1780" y="2629"/>
                </a:lnTo>
                <a:lnTo>
                  <a:pt x="1774" y="2646"/>
                </a:lnTo>
                <a:lnTo>
                  <a:pt x="1768" y="2661"/>
                </a:lnTo>
                <a:lnTo>
                  <a:pt x="1761" y="2675"/>
                </a:lnTo>
                <a:lnTo>
                  <a:pt x="1751" y="2690"/>
                </a:lnTo>
                <a:lnTo>
                  <a:pt x="1742" y="2703"/>
                </a:lnTo>
                <a:lnTo>
                  <a:pt x="1738" y="2709"/>
                </a:lnTo>
                <a:lnTo>
                  <a:pt x="1732" y="2714"/>
                </a:lnTo>
                <a:lnTo>
                  <a:pt x="1721" y="2724"/>
                </a:lnTo>
                <a:lnTo>
                  <a:pt x="1708" y="2733"/>
                </a:lnTo>
                <a:lnTo>
                  <a:pt x="1696" y="2739"/>
                </a:lnTo>
                <a:lnTo>
                  <a:pt x="1683" y="2743"/>
                </a:lnTo>
                <a:lnTo>
                  <a:pt x="1668" y="2747"/>
                </a:lnTo>
                <a:lnTo>
                  <a:pt x="1653" y="2747"/>
                </a:lnTo>
                <a:close/>
                <a:moveTo>
                  <a:pt x="1884" y="2745"/>
                </a:moveTo>
                <a:lnTo>
                  <a:pt x="1880" y="2743"/>
                </a:lnTo>
                <a:lnTo>
                  <a:pt x="1871" y="2737"/>
                </a:lnTo>
                <a:lnTo>
                  <a:pt x="1854" y="2722"/>
                </a:lnTo>
                <a:lnTo>
                  <a:pt x="1833" y="2701"/>
                </a:lnTo>
                <a:lnTo>
                  <a:pt x="1816" y="2682"/>
                </a:lnTo>
                <a:lnTo>
                  <a:pt x="1808" y="2673"/>
                </a:lnTo>
                <a:lnTo>
                  <a:pt x="1804" y="2665"/>
                </a:lnTo>
                <a:lnTo>
                  <a:pt x="1799" y="2654"/>
                </a:lnTo>
                <a:lnTo>
                  <a:pt x="1797" y="2648"/>
                </a:lnTo>
                <a:lnTo>
                  <a:pt x="1797" y="2642"/>
                </a:lnTo>
                <a:lnTo>
                  <a:pt x="1797" y="2635"/>
                </a:lnTo>
                <a:lnTo>
                  <a:pt x="1799" y="2629"/>
                </a:lnTo>
                <a:lnTo>
                  <a:pt x="1804" y="2620"/>
                </a:lnTo>
                <a:lnTo>
                  <a:pt x="1808" y="2612"/>
                </a:lnTo>
                <a:lnTo>
                  <a:pt x="1820" y="2597"/>
                </a:lnTo>
                <a:lnTo>
                  <a:pt x="1837" y="2576"/>
                </a:lnTo>
                <a:lnTo>
                  <a:pt x="1880" y="2529"/>
                </a:lnTo>
                <a:lnTo>
                  <a:pt x="1886" y="2529"/>
                </a:lnTo>
                <a:lnTo>
                  <a:pt x="1892" y="2531"/>
                </a:lnTo>
                <a:lnTo>
                  <a:pt x="1897" y="2536"/>
                </a:lnTo>
                <a:lnTo>
                  <a:pt x="1901" y="2542"/>
                </a:lnTo>
                <a:lnTo>
                  <a:pt x="1903" y="2546"/>
                </a:lnTo>
                <a:lnTo>
                  <a:pt x="1901" y="2553"/>
                </a:lnTo>
                <a:lnTo>
                  <a:pt x="1899" y="2557"/>
                </a:lnTo>
                <a:lnTo>
                  <a:pt x="1897" y="2561"/>
                </a:lnTo>
                <a:lnTo>
                  <a:pt x="1867" y="2595"/>
                </a:lnTo>
                <a:lnTo>
                  <a:pt x="1850" y="2616"/>
                </a:lnTo>
                <a:lnTo>
                  <a:pt x="1837" y="2631"/>
                </a:lnTo>
                <a:lnTo>
                  <a:pt x="1833" y="2635"/>
                </a:lnTo>
                <a:lnTo>
                  <a:pt x="1833" y="2639"/>
                </a:lnTo>
                <a:lnTo>
                  <a:pt x="1835" y="2646"/>
                </a:lnTo>
                <a:lnTo>
                  <a:pt x="1837" y="2650"/>
                </a:lnTo>
                <a:lnTo>
                  <a:pt x="1848" y="2663"/>
                </a:lnTo>
                <a:lnTo>
                  <a:pt x="1865" y="2682"/>
                </a:lnTo>
                <a:lnTo>
                  <a:pt x="1884" y="2701"/>
                </a:lnTo>
                <a:lnTo>
                  <a:pt x="1903" y="2718"/>
                </a:lnTo>
                <a:lnTo>
                  <a:pt x="1905" y="2722"/>
                </a:lnTo>
                <a:lnTo>
                  <a:pt x="1905" y="2724"/>
                </a:lnTo>
                <a:lnTo>
                  <a:pt x="1905" y="2728"/>
                </a:lnTo>
                <a:lnTo>
                  <a:pt x="1903" y="2730"/>
                </a:lnTo>
                <a:lnTo>
                  <a:pt x="1899" y="2737"/>
                </a:lnTo>
                <a:lnTo>
                  <a:pt x="1892" y="2743"/>
                </a:lnTo>
                <a:lnTo>
                  <a:pt x="1888" y="2743"/>
                </a:lnTo>
                <a:lnTo>
                  <a:pt x="1884" y="2745"/>
                </a:lnTo>
                <a:close/>
                <a:moveTo>
                  <a:pt x="1653" y="3340"/>
                </a:moveTo>
                <a:lnTo>
                  <a:pt x="1645" y="3340"/>
                </a:lnTo>
                <a:lnTo>
                  <a:pt x="1636" y="3338"/>
                </a:lnTo>
                <a:lnTo>
                  <a:pt x="1628" y="3336"/>
                </a:lnTo>
                <a:lnTo>
                  <a:pt x="1619" y="3332"/>
                </a:lnTo>
                <a:lnTo>
                  <a:pt x="1611" y="3327"/>
                </a:lnTo>
                <a:lnTo>
                  <a:pt x="1602" y="3321"/>
                </a:lnTo>
                <a:lnTo>
                  <a:pt x="1596" y="3315"/>
                </a:lnTo>
                <a:lnTo>
                  <a:pt x="1590" y="3308"/>
                </a:lnTo>
                <a:lnTo>
                  <a:pt x="1583" y="3302"/>
                </a:lnTo>
                <a:lnTo>
                  <a:pt x="1579" y="3293"/>
                </a:lnTo>
                <a:lnTo>
                  <a:pt x="1571" y="3274"/>
                </a:lnTo>
                <a:lnTo>
                  <a:pt x="1569" y="3266"/>
                </a:lnTo>
                <a:lnTo>
                  <a:pt x="1564" y="3255"/>
                </a:lnTo>
                <a:lnTo>
                  <a:pt x="1564" y="3245"/>
                </a:lnTo>
                <a:lnTo>
                  <a:pt x="1564" y="3234"/>
                </a:lnTo>
                <a:lnTo>
                  <a:pt x="1564" y="3222"/>
                </a:lnTo>
                <a:lnTo>
                  <a:pt x="1564" y="3211"/>
                </a:lnTo>
                <a:lnTo>
                  <a:pt x="1569" y="3200"/>
                </a:lnTo>
                <a:lnTo>
                  <a:pt x="1571" y="3190"/>
                </a:lnTo>
                <a:lnTo>
                  <a:pt x="1575" y="3179"/>
                </a:lnTo>
                <a:lnTo>
                  <a:pt x="1579" y="3171"/>
                </a:lnTo>
                <a:lnTo>
                  <a:pt x="1585" y="3160"/>
                </a:lnTo>
                <a:lnTo>
                  <a:pt x="1592" y="3152"/>
                </a:lnTo>
                <a:lnTo>
                  <a:pt x="1598" y="3145"/>
                </a:lnTo>
                <a:lnTo>
                  <a:pt x="1607" y="3139"/>
                </a:lnTo>
                <a:lnTo>
                  <a:pt x="1613" y="3133"/>
                </a:lnTo>
                <a:lnTo>
                  <a:pt x="1621" y="3126"/>
                </a:lnTo>
                <a:lnTo>
                  <a:pt x="1630" y="3122"/>
                </a:lnTo>
                <a:lnTo>
                  <a:pt x="1641" y="3120"/>
                </a:lnTo>
                <a:lnTo>
                  <a:pt x="1649" y="3118"/>
                </a:lnTo>
                <a:lnTo>
                  <a:pt x="1660" y="3118"/>
                </a:lnTo>
                <a:lnTo>
                  <a:pt x="1672" y="3118"/>
                </a:lnTo>
                <a:lnTo>
                  <a:pt x="1676" y="3120"/>
                </a:lnTo>
                <a:lnTo>
                  <a:pt x="1683" y="3122"/>
                </a:lnTo>
                <a:lnTo>
                  <a:pt x="1691" y="3126"/>
                </a:lnTo>
                <a:lnTo>
                  <a:pt x="1700" y="3135"/>
                </a:lnTo>
                <a:lnTo>
                  <a:pt x="1706" y="3141"/>
                </a:lnTo>
                <a:lnTo>
                  <a:pt x="1710" y="3152"/>
                </a:lnTo>
                <a:lnTo>
                  <a:pt x="1712" y="3162"/>
                </a:lnTo>
                <a:lnTo>
                  <a:pt x="1715" y="3175"/>
                </a:lnTo>
                <a:lnTo>
                  <a:pt x="1712" y="3181"/>
                </a:lnTo>
                <a:lnTo>
                  <a:pt x="1712" y="3190"/>
                </a:lnTo>
                <a:lnTo>
                  <a:pt x="1710" y="3196"/>
                </a:lnTo>
                <a:lnTo>
                  <a:pt x="1706" y="3205"/>
                </a:lnTo>
                <a:lnTo>
                  <a:pt x="1702" y="3211"/>
                </a:lnTo>
                <a:lnTo>
                  <a:pt x="1698" y="3217"/>
                </a:lnTo>
                <a:lnTo>
                  <a:pt x="1687" y="3228"/>
                </a:lnTo>
                <a:lnTo>
                  <a:pt x="1681" y="3234"/>
                </a:lnTo>
                <a:lnTo>
                  <a:pt x="1674" y="3238"/>
                </a:lnTo>
                <a:lnTo>
                  <a:pt x="1662" y="3245"/>
                </a:lnTo>
                <a:lnTo>
                  <a:pt x="1653" y="3249"/>
                </a:lnTo>
                <a:lnTo>
                  <a:pt x="1647" y="3251"/>
                </a:lnTo>
                <a:lnTo>
                  <a:pt x="1632" y="3251"/>
                </a:lnTo>
                <a:lnTo>
                  <a:pt x="1626" y="3251"/>
                </a:lnTo>
                <a:lnTo>
                  <a:pt x="1621" y="3249"/>
                </a:lnTo>
                <a:lnTo>
                  <a:pt x="1619" y="3247"/>
                </a:lnTo>
                <a:lnTo>
                  <a:pt x="1617" y="3243"/>
                </a:lnTo>
                <a:lnTo>
                  <a:pt x="1617" y="3241"/>
                </a:lnTo>
                <a:lnTo>
                  <a:pt x="1615" y="3232"/>
                </a:lnTo>
                <a:lnTo>
                  <a:pt x="1617" y="3226"/>
                </a:lnTo>
                <a:lnTo>
                  <a:pt x="1617" y="3224"/>
                </a:lnTo>
                <a:lnTo>
                  <a:pt x="1619" y="3224"/>
                </a:lnTo>
                <a:lnTo>
                  <a:pt x="1632" y="3219"/>
                </a:lnTo>
                <a:lnTo>
                  <a:pt x="1645" y="3215"/>
                </a:lnTo>
                <a:lnTo>
                  <a:pt x="1655" y="3209"/>
                </a:lnTo>
                <a:lnTo>
                  <a:pt x="1664" y="3202"/>
                </a:lnTo>
                <a:lnTo>
                  <a:pt x="1672" y="3196"/>
                </a:lnTo>
                <a:lnTo>
                  <a:pt x="1674" y="3192"/>
                </a:lnTo>
                <a:lnTo>
                  <a:pt x="1676" y="3188"/>
                </a:lnTo>
                <a:lnTo>
                  <a:pt x="1681" y="3179"/>
                </a:lnTo>
                <a:lnTo>
                  <a:pt x="1683" y="3171"/>
                </a:lnTo>
                <a:lnTo>
                  <a:pt x="1681" y="3164"/>
                </a:lnTo>
                <a:lnTo>
                  <a:pt x="1681" y="3160"/>
                </a:lnTo>
                <a:lnTo>
                  <a:pt x="1679" y="3156"/>
                </a:lnTo>
                <a:lnTo>
                  <a:pt x="1674" y="3154"/>
                </a:lnTo>
                <a:lnTo>
                  <a:pt x="1672" y="3152"/>
                </a:lnTo>
                <a:lnTo>
                  <a:pt x="1668" y="3150"/>
                </a:lnTo>
                <a:lnTo>
                  <a:pt x="1657" y="3147"/>
                </a:lnTo>
                <a:lnTo>
                  <a:pt x="1647" y="3150"/>
                </a:lnTo>
                <a:lnTo>
                  <a:pt x="1641" y="3152"/>
                </a:lnTo>
                <a:lnTo>
                  <a:pt x="1636" y="3154"/>
                </a:lnTo>
                <a:lnTo>
                  <a:pt x="1630" y="3158"/>
                </a:lnTo>
                <a:lnTo>
                  <a:pt x="1626" y="3162"/>
                </a:lnTo>
                <a:lnTo>
                  <a:pt x="1617" y="3173"/>
                </a:lnTo>
                <a:lnTo>
                  <a:pt x="1613" y="3179"/>
                </a:lnTo>
                <a:lnTo>
                  <a:pt x="1609" y="3186"/>
                </a:lnTo>
                <a:lnTo>
                  <a:pt x="1602" y="3198"/>
                </a:lnTo>
                <a:lnTo>
                  <a:pt x="1598" y="3215"/>
                </a:lnTo>
                <a:lnTo>
                  <a:pt x="1598" y="3224"/>
                </a:lnTo>
                <a:lnTo>
                  <a:pt x="1596" y="3232"/>
                </a:lnTo>
                <a:lnTo>
                  <a:pt x="1598" y="3247"/>
                </a:lnTo>
                <a:lnTo>
                  <a:pt x="1600" y="3253"/>
                </a:lnTo>
                <a:lnTo>
                  <a:pt x="1600" y="3262"/>
                </a:lnTo>
                <a:lnTo>
                  <a:pt x="1607" y="3272"/>
                </a:lnTo>
                <a:lnTo>
                  <a:pt x="1613" y="3283"/>
                </a:lnTo>
                <a:lnTo>
                  <a:pt x="1621" y="3291"/>
                </a:lnTo>
                <a:lnTo>
                  <a:pt x="1626" y="3296"/>
                </a:lnTo>
                <a:lnTo>
                  <a:pt x="1632" y="3298"/>
                </a:lnTo>
                <a:lnTo>
                  <a:pt x="1643" y="3302"/>
                </a:lnTo>
                <a:lnTo>
                  <a:pt x="1649" y="3304"/>
                </a:lnTo>
                <a:lnTo>
                  <a:pt x="1655" y="3304"/>
                </a:lnTo>
                <a:lnTo>
                  <a:pt x="1668" y="3302"/>
                </a:lnTo>
                <a:lnTo>
                  <a:pt x="1679" y="3300"/>
                </a:lnTo>
                <a:lnTo>
                  <a:pt x="1685" y="3296"/>
                </a:lnTo>
                <a:lnTo>
                  <a:pt x="1691" y="3293"/>
                </a:lnTo>
                <a:lnTo>
                  <a:pt x="1700" y="3285"/>
                </a:lnTo>
                <a:lnTo>
                  <a:pt x="1710" y="3277"/>
                </a:lnTo>
                <a:lnTo>
                  <a:pt x="1719" y="3266"/>
                </a:lnTo>
                <a:lnTo>
                  <a:pt x="1727" y="3255"/>
                </a:lnTo>
                <a:lnTo>
                  <a:pt x="1734" y="3243"/>
                </a:lnTo>
                <a:lnTo>
                  <a:pt x="1740" y="3228"/>
                </a:lnTo>
                <a:lnTo>
                  <a:pt x="1744" y="3213"/>
                </a:lnTo>
                <a:lnTo>
                  <a:pt x="1748" y="3200"/>
                </a:lnTo>
                <a:lnTo>
                  <a:pt x="1753" y="3186"/>
                </a:lnTo>
                <a:lnTo>
                  <a:pt x="1755" y="3171"/>
                </a:lnTo>
                <a:lnTo>
                  <a:pt x="1757" y="3156"/>
                </a:lnTo>
                <a:lnTo>
                  <a:pt x="1757" y="3143"/>
                </a:lnTo>
                <a:lnTo>
                  <a:pt x="1757" y="3130"/>
                </a:lnTo>
                <a:lnTo>
                  <a:pt x="1759" y="3126"/>
                </a:lnTo>
                <a:lnTo>
                  <a:pt x="1761" y="3124"/>
                </a:lnTo>
                <a:lnTo>
                  <a:pt x="1765" y="3124"/>
                </a:lnTo>
                <a:lnTo>
                  <a:pt x="1770" y="3122"/>
                </a:lnTo>
                <a:lnTo>
                  <a:pt x="1778" y="3124"/>
                </a:lnTo>
                <a:lnTo>
                  <a:pt x="1782" y="3126"/>
                </a:lnTo>
                <a:lnTo>
                  <a:pt x="1784" y="3128"/>
                </a:lnTo>
                <a:lnTo>
                  <a:pt x="1789" y="3137"/>
                </a:lnTo>
                <a:lnTo>
                  <a:pt x="1791" y="3141"/>
                </a:lnTo>
                <a:lnTo>
                  <a:pt x="1791" y="3150"/>
                </a:lnTo>
                <a:lnTo>
                  <a:pt x="1791" y="3166"/>
                </a:lnTo>
                <a:lnTo>
                  <a:pt x="1789" y="3186"/>
                </a:lnTo>
                <a:lnTo>
                  <a:pt x="1784" y="3205"/>
                </a:lnTo>
                <a:lnTo>
                  <a:pt x="1780" y="3222"/>
                </a:lnTo>
                <a:lnTo>
                  <a:pt x="1774" y="3238"/>
                </a:lnTo>
                <a:lnTo>
                  <a:pt x="1768" y="3253"/>
                </a:lnTo>
                <a:lnTo>
                  <a:pt x="1761" y="3268"/>
                </a:lnTo>
                <a:lnTo>
                  <a:pt x="1751" y="3283"/>
                </a:lnTo>
                <a:lnTo>
                  <a:pt x="1742" y="3293"/>
                </a:lnTo>
                <a:lnTo>
                  <a:pt x="1738" y="3300"/>
                </a:lnTo>
                <a:lnTo>
                  <a:pt x="1732" y="3306"/>
                </a:lnTo>
                <a:lnTo>
                  <a:pt x="1721" y="3315"/>
                </a:lnTo>
                <a:lnTo>
                  <a:pt x="1708" y="3323"/>
                </a:lnTo>
                <a:lnTo>
                  <a:pt x="1696" y="3332"/>
                </a:lnTo>
                <a:lnTo>
                  <a:pt x="1683" y="3336"/>
                </a:lnTo>
                <a:lnTo>
                  <a:pt x="1668" y="3338"/>
                </a:lnTo>
                <a:lnTo>
                  <a:pt x="1653" y="3340"/>
                </a:lnTo>
                <a:close/>
                <a:moveTo>
                  <a:pt x="1884" y="3336"/>
                </a:moveTo>
                <a:lnTo>
                  <a:pt x="1880" y="3334"/>
                </a:lnTo>
                <a:lnTo>
                  <a:pt x="1871" y="3327"/>
                </a:lnTo>
                <a:lnTo>
                  <a:pt x="1854" y="3313"/>
                </a:lnTo>
                <a:lnTo>
                  <a:pt x="1833" y="3293"/>
                </a:lnTo>
                <a:lnTo>
                  <a:pt x="1816" y="3272"/>
                </a:lnTo>
                <a:lnTo>
                  <a:pt x="1808" y="3264"/>
                </a:lnTo>
                <a:lnTo>
                  <a:pt x="1804" y="3257"/>
                </a:lnTo>
                <a:lnTo>
                  <a:pt x="1799" y="3245"/>
                </a:lnTo>
                <a:lnTo>
                  <a:pt x="1797" y="3238"/>
                </a:lnTo>
                <a:lnTo>
                  <a:pt x="1797" y="3234"/>
                </a:lnTo>
                <a:lnTo>
                  <a:pt x="1797" y="3226"/>
                </a:lnTo>
                <a:lnTo>
                  <a:pt x="1799" y="3219"/>
                </a:lnTo>
                <a:lnTo>
                  <a:pt x="1804" y="3211"/>
                </a:lnTo>
                <a:lnTo>
                  <a:pt x="1808" y="3205"/>
                </a:lnTo>
                <a:lnTo>
                  <a:pt x="1820" y="3190"/>
                </a:lnTo>
                <a:lnTo>
                  <a:pt x="1837" y="3169"/>
                </a:lnTo>
                <a:lnTo>
                  <a:pt x="1880" y="3120"/>
                </a:lnTo>
                <a:lnTo>
                  <a:pt x="1886" y="3122"/>
                </a:lnTo>
                <a:lnTo>
                  <a:pt x="1892" y="3124"/>
                </a:lnTo>
                <a:lnTo>
                  <a:pt x="1897" y="3128"/>
                </a:lnTo>
                <a:lnTo>
                  <a:pt x="1901" y="3133"/>
                </a:lnTo>
                <a:lnTo>
                  <a:pt x="1903" y="3139"/>
                </a:lnTo>
                <a:lnTo>
                  <a:pt x="1901" y="3145"/>
                </a:lnTo>
                <a:lnTo>
                  <a:pt x="1899" y="3150"/>
                </a:lnTo>
                <a:lnTo>
                  <a:pt x="1897" y="3152"/>
                </a:lnTo>
                <a:lnTo>
                  <a:pt x="1867" y="3188"/>
                </a:lnTo>
                <a:lnTo>
                  <a:pt x="1850" y="3207"/>
                </a:lnTo>
                <a:lnTo>
                  <a:pt x="1837" y="3224"/>
                </a:lnTo>
                <a:lnTo>
                  <a:pt x="1833" y="3228"/>
                </a:lnTo>
                <a:lnTo>
                  <a:pt x="1833" y="3232"/>
                </a:lnTo>
                <a:lnTo>
                  <a:pt x="1835" y="3236"/>
                </a:lnTo>
                <a:lnTo>
                  <a:pt x="1837" y="3243"/>
                </a:lnTo>
                <a:lnTo>
                  <a:pt x="1848" y="3255"/>
                </a:lnTo>
                <a:lnTo>
                  <a:pt x="1865" y="3272"/>
                </a:lnTo>
                <a:lnTo>
                  <a:pt x="1884" y="3291"/>
                </a:lnTo>
                <a:lnTo>
                  <a:pt x="1903" y="3310"/>
                </a:lnTo>
                <a:lnTo>
                  <a:pt x="1905" y="3313"/>
                </a:lnTo>
                <a:lnTo>
                  <a:pt x="1905" y="3317"/>
                </a:lnTo>
                <a:lnTo>
                  <a:pt x="1905" y="3319"/>
                </a:lnTo>
                <a:lnTo>
                  <a:pt x="1903" y="3323"/>
                </a:lnTo>
                <a:lnTo>
                  <a:pt x="1899" y="3329"/>
                </a:lnTo>
                <a:lnTo>
                  <a:pt x="1892" y="3334"/>
                </a:lnTo>
                <a:lnTo>
                  <a:pt x="1888" y="3336"/>
                </a:lnTo>
                <a:lnTo>
                  <a:pt x="1884" y="3336"/>
                </a:lnTo>
                <a:close/>
                <a:moveTo>
                  <a:pt x="1744" y="3791"/>
                </a:moveTo>
                <a:lnTo>
                  <a:pt x="1751" y="3768"/>
                </a:lnTo>
                <a:lnTo>
                  <a:pt x="1755" y="3746"/>
                </a:lnTo>
                <a:lnTo>
                  <a:pt x="1757" y="3725"/>
                </a:lnTo>
                <a:lnTo>
                  <a:pt x="1757" y="3704"/>
                </a:lnTo>
                <a:lnTo>
                  <a:pt x="1759" y="3702"/>
                </a:lnTo>
                <a:lnTo>
                  <a:pt x="1761" y="3700"/>
                </a:lnTo>
                <a:lnTo>
                  <a:pt x="1765" y="3698"/>
                </a:lnTo>
                <a:lnTo>
                  <a:pt x="1770" y="3698"/>
                </a:lnTo>
                <a:lnTo>
                  <a:pt x="1778" y="3698"/>
                </a:lnTo>
                <a:lnTo>
                  <a:pt x="1782" y="3700"/>
                </a:lnTo>
                <a:lnTo>
                  <a:pt x="1784" y="3702"/>
                </a:lnTo>
                <a:lnTo>
                  <a:pt x="1789" y="3710"/>
                </a:lnTo>
                <a:lnTo>
                  <a:pt x="1791" y="3717"/>
                </a:lnTo>
                <a:lnTo>
                  <a:pt x="1791" y="3723"/>
                </a:lnTo>
                <a:lnTo>
                  <a:pt x="1791" y="3740"/>
                </a:lnTo>
                <a:lnTo>
                  <a:pt x="1789" y="3757"/>
                </a:lnTo>
                <a:lnTo>
                  <a:pt x="1787" y="3768"/>
                </a:lnTo>
                <a:lnTo>
                  <a:pt x="1784" y="3776"/>
                </a:lnTo>
                <a:lnTo>
                  <a:pt x="1780" y="3791"/>
                </a:lnTo>
                <a:lnTo>
                  <a:pt x="1748" y="3791"/>
                </a:lnTo>
                <a:lnTo>
                  <a:pt x="1744" y="3791"/>
                </a:lnTo>
                <a:close/>
                <a:moveTo>
                  <a:pt x="1569" y="3774"/>
                </a:moveTo>
                <a:lnTo>
                  <a:pt x="1571" y="3765"/>
                </a:lnTo>
                <a:lnTo>
                  <a:pt x="1573" y="3757"/>
                </a:lnTo>
                <a:lnTo>
                  <a:pt x="1577" y="3749"/>
                </a:lnTo>
                <a:lnTo>
                  <a:pt x="1581" y="3742"/>
                </a:lnTo>
                <a:lnTo>
                  <a:pt x="1590" y="3727"/>
                </a:lnTo>
                <a:lnTo>
                  <a:pt x="1602" y="3715"/>
                </a:lnTo>
                <a:lnTo>
                  <a:pt x="1615" y="3706"/>
                </a:lnTo>
                <a:lnTo>
                  <a:pt x="1621" y="3702"/>
                </a:lnTo>
                <a:lnTo>
                  <a:pt x="1628" y="3698"/>
                </a:lnTo>
                <a:lnTo>
                  <a:pt x="1636" y="3696"/>
                </a:lnTo>
                <a:lnTo>
                  <a:pt x="1645" y="3694"/>
                </a:lnTo>
                <a:lnTo>
                  <a:pt x="1660" y="3691"/>
                </a:lnTo>
                <a:lnTo>
                  <a:pt x="1672" y="3694"/>
                </a:lnTo>
                <a:lnTo>
                  <a:pt x="1676" y="3694"/>
                </a:lnTo>
                <a:lnTo>
                  <a:pt x="1683" y="3696"/>
                </a:lnTo>
                <a:lnTo>
                  <a:pt x="1691" y="3702"/>
                </a:lnTo>
                <a:lnTo>
                  <a:pt x="1700" y="3708"/>
                </a:lnTo>
                <a:lnTo>
                  <a:pt x="1706" y="3717"/>
                </a:lnTo>
                <a:lnTo>
                  <a:pt x="1710" y="3725"/>
                </a:lnTo>
                <a:lnTo>
                  <a:pt x="1712" y="3738"/>
                </a:lnTo>
                <a:lnTo>
                  <a:pt x="1715" y="3749"/>
                </a:lnTo>
                <a:lnTo>
                  <a:pt x="1712" y="3759"/>
                </a:lnTo>
                <a:lnTo>
                  <a:pt x="1710" y="3770"/>
                </a:lnTo>
                <a:lnTo>
                  <a:pt x="1706" y="3778"/>
                </a:lnTo>
                <a:lnTo>
                  <a:pt x="1700" y="3789"/>
                </a:lnTo>
                <a:lnTo>
                  <a:pt x="1683" y="3787"/>
                </a:lnTo>
                <a:lnTo>
                  <a:pt x="1655" y="3785"/>
                </a:lnTo>
                <a:lnTo>
                  <a:pt x="1662" y="3780"/>
                </a:lnTo>
                <a:lnTo>
                  <a:pt x="1666" y="3776"/>
                </a:lnTo>
                <a:lnTo>
                  <a:pt x="1670" y="3770"/>
                </a:lnTo>
                <a:lnTo>
                  <a:pt x="1674" y="3765"/>
                </a:lnTo>
                <a:lnTo>
                  <a:pt x="1679" y="3759"/>
                </a:lnTo>
                <a:lnTo>
                  <a:pt x="1681" y="3755"/>
                </a:lnTo>
                <a:lnTo>
                  <a:pt x="1681" y="3749"/>
                </a:lnTo>
                <a:lnTo>
                  <a:pt x="1683" y="3744"/>
                </a:lnTo>
                <a:lnTo>
                  <a:pt x="1681" y="3740"/>
                </a:lnTo>
                <a:lnTo>
                  <a:pt x="1681" y="3734"/>
                </a:lnTo>
                <a:lnTo>
                  <a:pt x="1679" y="3732"/>
                </a:lnTo>
                <a:lnTo>
                  <a:pt x="1674" y="3727"/>
                </a:lnTo>
                <a:lnTo>
                  <a:pt x="1672" y="3725"/>
                </a:lnTo>
                <a:lnTo>
                  <a:pt x="1668" y="3723"/>
                </a:lnTo>
                <a:lnTo>
                  <a:pt x="1657" y="3721"/>
                </a:lnTo>
                <a:lnTo>
                  <a:pt x="1649" y="3723"/>
                </a:lnTo>
                <a:lnTo>
                  <a:pt x="1641" y="3725"/>
                </a:lnTo>
                <a:lnTo>
                  <a:pt x="1632" y="3732"/>
                </a:lnTo>
                <a:lnTo>
                  <a:pt x="1624" y="3738"/>
                </a:lnTo>
                <a:lnTo>
                  <a:pt x="1617" y="3746"/>
                </a:lnTo>
                <a:lnTo>
                  <a:pt x="1611" y="3755"/>
                </a:lnTo>
                <a:lnTo>
                  <a:pt x="1605" y="3768"/>
                </a:lnTo>
                <a:lnTo>
                  <a:pt x="1600" y="3778"/>
                </a:lnTo>
                <a:lnTo>
                  <a:pt x="1569" y="3774"/>
                </a:lnTo>
                <a:close/>
                <a:moveTo>
                  <a:pt x="1799" y="3793"/>
                </a:moveTo>
                <a:lnTo>
                  <a:pt x="1804" y="3785"/>
                </a:lnTo>
                <a:lnTo>
                  <a:pt x="1808" y="3778"/>
                </a:lnTo>
                <a:lnTo>
                  <a:pt x="1820" y="3763"/>
                </a:lnTo>
                <a:lnTo>
                  <a:pt x="1837" y="3742"/>
                </a:lnTo>
                <a:lnTo>
                  <a:pt x="1880" y="3696"/>
                </a:lnTo>
                <a:lnTo>
                  <a:pt x="1886" y="3696"/>
                </a:lnTo>
                <a:lnTo>
                  <a:pt x="1892" y="3698"/>
                </a:lnTo>
                <a:lnTo>
                  <a:pt x="1897" y="3702"/>
                </a:lnTo>
                <a:lnTo>
                  <a:pt x="1901" y="3708"/>
                </a:lnTo>
                <a:lnTo>
                  <a:pt x="1903" y="3713"/>
                </a:lnTo>
                <a:lnTo>
                  <a:pt x="1901" y="3719"/>
                </a:lnTo>
                <a:lnTo>
                  <a:pt x="1899" y="3723"/>
                </a:lnTo>
                <a:lnTo>
                  <a:pt x="1897" y="3727"/>
                </a:lnTo>
                <a:lnTo>
                  <a:pt x="1869" y="3757"/>
                </a:lnTo>
                <a:lnTo>
                  <a:pt x="1839" y="3793"/>
                </a:lnTo>
                <a:lnTo>
                  <a:pt x="1814" y="3793"/>
                </a:lnTo>
                <a:lnTo>
                  <a:pt x="1799" y="3793"/>
                </a:lnTo>
                <a:close/>
                <a:moveTo>
                  <a:pt x="394" y="2589"/>
                </a:moveTo>
                <a:lnTo>
                  <a:pt x="398" y="2561"/>
                </a:lnTo>
                <a:lnTo>
                  <a:pt x="398" y="2538"/>
                </a:lnTo>
                <a:lnTo>
                  <a:pt x="400" y="2536"/>
                </a:lnTo>
                <a:lnTo>
                  <a:pt x="402" y="2534"/>
                </a:lnTo>
                <a:lnTo>
                  <a:pt x="406" y="2531"/>
                </a:lnTo>
                <a:lnTo>
                  <a:pt x="411" y="2531"/>
                </a:lnTo>
                <a:lnTo>
                  <a:pt x="419" y="2531"/>
                </a:lnTo>
                <a:lnTo>
                  <a:pt x="423" y="2534"/>
                </a:lnTo>
                <a:lnTo>
                  <a:pt x="425" y="2536"/>
                </a:lnTo>
                <a:lnTo>
                  <a:pt x="430" y="2544"/>
                </a:lnTo>
                <a:lnTo>
                  <a:pt x="432" y="2551"/>
                </a:lnTo>
                <a:lnTo>
                  <a:pt x="432" y="2557"/>
                </a:lnTo>
                <a:lnTo>
                  <a:pt x="430" y="2582"/>
                </a:lnTo>
                <a:lnTo>
                  <a:pt x="428" y="2597"/>
                </a:lnTo>
                <a:lnTo>
                  <a:pt x="425" y="2608"/>
                </a:lnTo>
                <a:lnTo>
                  <a:pt x="423" y="2620"/>
                </a:lnTo>
                <a:lnTo>
                  <a:pt x="419" y="2633"/>
                </a:lnTo>
                <a:lnTo>
                  <a:pt x="411" y="2656"/>
                </a:lnTo>
                <a:lnTo>
                  <a:pt x="404" y="2631"/>
                </a:lnTo>
                <a:lnTo>
                  <a:pt x="394" y="2589"/>
                </a:lnTo>
                <a:close/>
                <a:moveTo>
                  <a:pt x="525" y="2745"/>
                </a:moveTo>
                <a:lnTo>
                  <a:pt x="519" y="2743"/>
                </a:lnTo>
                <a:lnTo>
                  <a:pt x="512" y="2737"/>
                </a:lnTo>
                <a:lnTo>
                  <a:pt x="495" y="2722"/>
                </a:lnTo>
                <a:lnTo>
                  <a:pt x="474" y="2701"/>
                </a:lnTo>
                <a:lnTo>
                  <a:pt x="457" y="2682"/>
                </a:lnTo>
                <a:lnTo>
                  <a:pt x="449" y="2673"/>
                </a:lnTo>
                <a:lnTo>
                  <a:pt x="445" y="2665"/>
                </a:lnTo>
                <a:lnTo>
                  <a:pt x="440" y="2654"/>
                </a:lnTo>
                <a:lnTo>
                  <a:pt x="438" y="2648"/>
                </a:lnTo>
                <a:lnTo>
                  <a:pt x="438" y="2642"/>
                </a:lnTo>
                <a:lnTo>
                  <a:pt x="438" y="2635"/>
                </a:lnTo>
                <a:lnTo>
                  <a:pt x="440" y="2629"/>
                </a:lnTo>
                <a:lnTo>
                  <a:pt x="445" y="2620"/>
                </a:lnTo>
                <a:lnTo>
                  <a:pt x="449" y="2612"/>
                </a:lnTo>
                <a:lnTo>
                  <a:pt x="459" y="2597"/>
                </a:lnTo>
                <a:lnTo>
                  <a:pt x="478" y="2576"/>
                </a:lnTo>
                <a:lnTo>
                  <a:pt x="521" y="2529"/>
                </a:lnTo>
                <a:lnTo>
                  <a:pt x="527" y="2529"/>
                </a:lnTo>
                <a:lnTo>
                  <a:pt x="533" y="2531"/>
                </a:lnTo>
                <a:lnTo>
                  <a:pt x="538" y="2536"/>
                </a:lnTo>
                <a:lnTo>
                  <a:pt x="542" y="2542"/>
                </a:lnTo>
                <a:lnTo>
                  <a:pt x="544" y="2546"/>
                </a:lnTo>
                <a:lnTo>
                  <a:pt x="542" y="2553"/>
                </a:lnTo>
                <a:lnTo>
                  <a:pt x="540" y="2557"/>
                </a:lnTo>
                <a:lnTo>
                  <a:pt x="538" y="2561"/>
                </a:lnTo>
                <a:lnTo>
                  <a:pt x="508" y="2595"/>
                </a:lnTo>
                <a:lnTo>
                  <a:pt x="491" y="2616"/>
                </a:lnTo>
                <a:lnTo>
                  <a:pt x="476" y="2631"/>
                </a:lnTo>
                <a:lnTo>
                  <a:pt x="474" y="2635"/>
                </a:lnTo>
                <a:lnTo>
                  <a:pt x="474" y="2639"/>
                </a:lnTo>
                <a:lnTo>
                  <a:pt x="474" y="2646"/>
                </a:lnTo>
                <a:lnTo>
                  <a:pt x="478" y="2650"/>
                </a:lnTo>
                <a:lnTo>
                  <a:pt x="489" y="2663"/>
                </a:lnTo>
                <a:lnTo>
                  <a:pt x="506" y="2682"/>
                </a:lnTo>
                <a:lnTo>
                  <a:pt x="525" y="2701"/>
                </a:lnTo>
                <a:lnTo>
                  <a:pt x="544" y="2718"/>
                </a:lnTo>
                <a:lnTo>
                  <a:pt x="546" y="2722"/>
                </a:lnTo>
                <a:lnTo>
                  <a:pt x="546" y="2724"/>
                </a:lnTo>
                <a:lnTo>
                  <a:pt x="546" y="2728"/>
                </a:lnTo>
                <a:lnTo>
                  <a:pt x="544" y="2730"/>
                </a:lnTo>
                <a:lnTo>
                  <a:pt x="540" y="2737"/>
                </a:lnTo>
                <a:lnTo>
                  <a:pt x="531" y="2743"/>
                </a:lnTo>
                <a:lnTo>
                  <a:pt x="529" y="2743"/>
                </a:lnTo>
                <a:lnTo>
                  <a:pt x="525" y="2745"/>
                </a:lnTo>
                <a:close/>
                <a:moveTo>
                  <a:pt x="2576" y="2747"/>
                </a:moveTo>
                <a:lnTo>
                  <a:pt x="2566" y="2747"/>
                </a:lnTo>
                <a:lnTo>
                  <a:pt x="2557" y="2745"/>
                </a:lnTo>
                <a:lnTo>
                  <a:pt x="2549" y="2743"/>
                </a:lnTo>
                <a:lnTo>
                  <a:pt x="2540" y="2739"/>
                </a:lnTo>
                <a:lnTo>
                  <a:pt x="2532" y="2735"/>
                </a:lnTo>
                <a:lnTo>
                  <a:pt x="2525" y="2730"/>
                </a:lnTo>
                <a:lnTo>
                  <a:pt x="2517" y="2724"/>
                </a:lnTo>
                <a:lnTo>
                  <a:pt x="2511" y="2718"/>
                </a:lnTo>
                <a:lnTo>
                  <a:pt x="2506" y="2709"/>
                </a:lnTo>
                <a:lnTo>
                  <a:pt x="2500" y="2701"/>
                </a:lnTo>
                <a:lnTo>
                  <a:pt x="2491" y="2684"/>
                </a:lnTo>
                <a:lnTo>
                  <a:pt x="2489" y="2673"/>
                </a:lnTo>
                <a:lnTo>
                  <a:pt x="2487" y="2663"/>
                </a:lnTo>
                <a:lnTo>
                  <a:pt x="2485" y="2652"/>
                </a:lnTo>
                <a:lnTo>
                  <a:pt x="2485" y="2642"/>
                </a:lnTo>
                <a:lnTo>
                  <a:pt x="2485" y="2631"/>
                </a:lnTo>
                <a:lnTo>
                  <a:pt x="2487" y="2620"/>
                </a:lnTo>
                <a:lnTo>
                  <a:pt x="2489" y="2608"/>
                </a:lnTo>
                <a:lnTo>
                  <a:pt x="2491" y="2597"/>
                </a:lnTo>
                <a:lnTo>
                  <a:pt x="2496" y="2589"/>
                </a:lnTo>
                <a:lnTo>
                  <a:pt x="2502" y="2578"/>
                </a:lnTo>
                <a:lnTo>
                  <a:pt x="2506" y="2570"/>
                </a:lnTo>
                <a:lnTo>
                  <a:pt x="2513" y="2561"/>
                </a:lnTo>
                <a:lnTo>
                  <a:pt x="2519" y="2553"/>
                </a:lnTo>
                <a:lnTo>
                  <a:pt x="2527" y="2546"/>
                </a:lnTo>
                <a:lnTo>
                  <a:pt x="2536" y="2540"/>
                </a:lnTo>
                <a:lnTo>
                  <a:pt x="2544" y="2536"/>
                </a:lnTo>
                <a:lnTo>
                  <a:pt x="2553" y="2531"/>
                </a:lnTo>
                <a:lnTo>
                  <a:pt x="2561" y="2527"/>
                </a:lnTo>
                <a:lnTo>
                  <a:pt x="2572" y="2527"/>
                </a:lnTo>
                <a:lnTo>
                  <a:pt x="2580" y="2525"/>
                </a:lnTo>
                <a:lnTo>
                  <a:pt x="2593" y="2527"/>
                </a:lnTo>
                <a:lnTo>
                  <a:pt x="2599" y="2527"/>
                </a:lnTo>
                <a:lnTo>
                  <a:pt x="2604" y="2529"/>
                </a:lnTo>
                <a:lnTo>
                  <a:pt x="2612" y="2536"/>
                </a:lnTo>
                <a:lnTo>
                  <a:pt x="2621" y="2542"/>
                </a:lnTo>
                <a:lnTo>
                  <a:pt x="2627" y="2551"/>
                </a:lnTo>
                <a:lnTo>
                  <a:pt x="2631" y="2561"/>
                </a:lnTo>
                <a:lnTo>
                  <a:pt x="2633" y="2572"/>
                </a:lnTo>
                <a:lnTo>
                  <a:pt x="2635" y="2582"/>
                </a:lnTo>
                <a:lnTo>
                  <a:pt x="2635" y="2591"/>
                </a:lnTo>
                <a:lnTo>
                  <a:pt x="2633" y="2597"/>
                </a:lnTo>
                <a:lnTo>
                  <a:pt x="2631" y="2606"/>
                </a:lnTo>
                <a:lnTo>
                  <a:pt x="2627" y="2612"/>
                </a:lnTo>
                <a:lnTo>
                  <a:pt x="2625" y="2618"/>
                </a:lnTo>
                <a:lnTo>
                  <a:pt x="2621" y="2625"/>
                </a:lnTo>
                <a:lnTo>
                  <a:pt x="2610" y="2637"/>
                </a:lnTo>
                <a:lnTo>
                  <a:pt x="2604" y="2642"/>
                </a:lnTo>
                <a:lnTo>
                  <a:pt x="2597" y="2646"/>
                </a:lnTo>
                <a:lnTo>
                  <a:pt x="2582" y="2654"/>
                </a:lnTo>
                <a:lnTo>
                  <a:pt x="2576" y="2656"/>
                </a:lnTo>
                <a:lnTo>
                  <a:pt x="2568" y="2658"/>
                </a:lnTo>
                <a:lnTo>
                  <a:pt x="2553" y="2661"/>
                </a:lnTo>
                <a:lnTo>
                  <a:pt x="2546" y="2658"/>
                </a:lnTo>
                <a:lnTo>
                  <a:pt x="2544" y="2656"/>
                </a:lnTo>
                <a:lnTo>
                  <a:pt x="2542" y="2654"/>
                </a:lnTo>
                <a:lnTo>
                  <a:pt x="2540" y="2652"/>
                </a:lnTo>
                <a:lnTo>
                  <a:pt x="2538" y="2648"/>
                </a:lnTo>
                <a:lnTo>
                  <a:pt x="2536" y="2642"/>
                </a:lnTo>
                <a:lnTo>
                  <a:pt x="2538" y="2635"/>
                </a:lnTo>
                <a:lnTo>
                  <a:pt x="2538" y="2633"/>
                </a:lnTo>
                <a:lnTo>
                  <a:pt x="2540" y="2631"/>
                </a:lnTo>
                <a:lnTo>
                  <a:pt x="2555" y="2629"/>
                </a:lnTo>
                <a:lnTo>
                  <a:pt x="2566" y="2625"/>
                </a:lnTo>
                <a:lnTo>
                  <a:pt x="2576" y="2618"/>
                </a:lnTo>
                <a:lnTo>
                  <a:pt x="2587" y="2612"/>
                </a:lnTo>
                <a:lnTo>
                  <a:pt x="2593" y="2603"/>
                </a:lnTo>
                <a:lnTo>
                  <a:pt x="2595" y="2599"/>
                </a:lnTo>
                <a:lnTo>
                  <a:pt x="2599" y="2595"/>
                </a:lnTo>
                <a:lnTo>
                  <a:pt x="2602" y="2587"/>
                </a:lnTo>
                <a:lnTo>
                  <a:pt x="2604" y="2578"/>
                </a:lnTo>
                <a:lnTo>
                  <a:pt x="2604" y="2574"/>
                </a:lnTo>
                <a:lnTo>
                  <a:pt x="2602" y="2570"/>
                </a:lnTo>
                <a:lnTo>
                  <a:pt x="2599" y="2565"/>
                </a:lnTo>
                <a:lnTo>
                  <a:pt x="2597" y="2561"/>
                </a:lnTo>
                <a:lnTo>
                  <a:pt x="2593" y="2559"/>
                </a:lnTo>
                <a:lnTo>
                  <a:pt x="2589" y="2557"/>
                </a:lnTo>
                <a:lnTo>
                  <a:pt x="2578" y="2555"/>
                </a:lnTo>
                <a:lnTo>
                  <a:pt x="2568" y="2557"/>
                </a:lnTo>
                <a:lnTo>
                  <a:pt x="2563" y="2559"/>
                </a:lnTo>
                <a:lnTo>
                  <a:pt x="2557" y="2563"/>
                </a:lnTo>
                <a:lnTo>
                  <a:pt x="2553" y="2565"/>
                </a:lnTo>
                <a:lnTo>
                  <a:pt x="2546" y="2570"/>
                </a:lnTo>
                <a:lnTo>
                  <a:pt x="2538" y="2580"/>
                </a:lnTo>
                <a:lnTo>
                  <a:pt x="2534" y="2587"/>
                </a:lnTo>
                <a:lnTo>
                  <a:pt x="2530" y="2593"/>
                </a:lnTo>
                <a:lnTo>
                  <a:pt x="2523" y="2608"/>
                </a:lnTo>
                <a:lnTo>
                  <a:pt x="2519" y="2623"/>
                </a:lnTo>
                <a:lnTo>
                  <a:pt x="2519" y="2631"/>
                </a:lnTo>
                <a:lnTo>
                  <a:pt x="2519" y="2639"/>
                </a:lnTo>
                <a:lnTo>
                  <a:pt x="2519" y="2654"/>
                </a:lnTo>
                <a:lnTo>
                  <a:pt x="2521" y="2663"/>
                </a:lnTo>
                <a:lnTo>
                  <a:pt x="2523" y="2669"/>
                </a:lnTo>
                <a:lnTo>
                  <a:pt x="2527" y="2682"/>
                </a:lnTo>
                <a:lnTo>
                  <a:pt x="2534" y="2692"/>
                </a:lnTo>
                <a:lnTo>
                  <a:pt x="2542" y="2701"/>
                </a:lnTo>
                <a:lnTo>
                  <a:pt x="2549" y="2703"/>
                </a:lnTo>
                <a:lnTo>
                  <a:pt x="2553" y="2707"/>
                </a:lnTo>
                <a:lnTo>
                  <a:pt x="2563" y="2711"/>
                </a:lnTo>
                <a:lnTo>
                  <a:pt x="2570" y="2711"/>
                </a:lnTo>
                <a:lnTo>
                  <a:pt x="2576" y="2711"/>
                </a:lnTo>
                <a:lnTo>
                  <a:pt x="2589" y="2711"/>
                </a:lnTo>
                <a:lnTo>
                  <a:pt x="2602" y="2707"/>
                </a:lnTo>
                <a:lnTo>
                  <a:pt x="2606" y="2705"/>
                </a:lnTo>
                <a:lnTo>
                  <a:pt x="2612" y="2701"/>
                </a:lnTo>
                <a:lnTo>
                  <a:pt x="2623" y="2694"/>
                </a:lnTo>
                <a:lnTo>
                  <a:pt x="2631" y="2686"/>
                </a:lnTo>
                <a:lnTo>
                  <a:pt x="2640" y="2675"/>
                </a:lnTo>
                <a:lnTo>
                  <a:pt x="2648" y="2663"/>
                </a:lnTo>
                <a:lnTo>
                  <a:pt x="2654" y="2650"/>
                </a:lnTo>
                <a:lnTo>
                  <a:pt x="2661" y="2637"/>
                </a:lnTo>
                <a:lnTo>
                  <a:pt x="2667" y="2623"/>
                </a:lnTo>
                <a:lnTo>
                  <a:pt x="2671" y="2608"/>
                </a:lnTo>
                <a:lnTo>
                  <a:pt x="2673" y="2593"/>
                </a:lnTo>
                <a:lnTo>
                  <a:pt x="2676" y="2578"/>
                </a:lnTo>
                <a:lnTo>
                  <a:pt x="2678" y="2565"/>
                </a:lnTo>
                <a:lnTo>
                  <a:pt x="2678" y="2551"/>
                </a:lnTo>
                <a:lnTo>
                  <a:pt x="2678" y="2538"/>
                </a:lnTo>
                <a:lnTo>
                  <a:pt x="2680" y="2536"/>
                </a:lnTo>
                <a:lnTo>
                  <a:pt x="2682" y="2534"/>
                </a:lnTo>
                <a:lnTo>
                  <a:pt x="2686" y="2531"/>
                </a:lnTo>
                <a:lnTo>
                  <a:pt x="2693" y="2531"/>
                </a:lnTo>
                <a:lnTo>
                  <a:pt x="2701" y="2531"/>
                </a:lnTo>
                <a:lnTo>
                  <a:pt x="2703" y="2534"/>
                </a:lnTo>
                <a:lnTo>
                  <a:pt x="2707" y="2536"/>
                </a:lnTo>
                <a:lnTo>
                  <a:pt x="2712" y="2544"/>
                </a:lnTo>
                <a:lnTo>
                  <a:pt x="2712" y="2551"/>
                </a:lnTo>
                <a:lnTo>
                  <a:pt x="2712" y="2557"/>
                </a:lnTo>
                <a:lnTo>
                  <a:pt x="2712" y="2576"/>
                </a:lnTo>
                <a:lnTo>
                  <a:pt x="2709" y="2595"/>
                </a:lnTo>
                <a:lnTo>
                  <a:pt x="2705" y="2612"/>
                </a:lnTo>
                <a:lnTo>
                  <a:pt x="2701" y="2629"/>
                </a:lnTo>
                <a:lnTo>
                  <a:pt x="2697" y="2646"/>
                </a:lnTo>
                <a:lnTo>
                  <a:pt x="2688" y="2661"/>
                </a:lnTo>
                <a:lnTo>
                  <a:pt x="2682" y="2675"/>
                </a:lnTo>
                <a:lnTo>
                  <a:pt x="2673" y="2690"/>
                </a:lnTo>
                <a:lnTo>
                  <a:pt x="2663" y="2703"/>
                </a:lnTo>
                <a:lnTo>
                  <a:pt x="2659" y="2709"/>
                </a:lnTo>
                <a:lnTo>
                  <a:pt x="2652" y="2714"/>
                </a:lnTo>
                <a:lnTo>
                  <a:pt x="2642" y="2724"/>
                </a:lnTo>
                <a:lnTo>
                  <a:pt x="2631" y="2733"/>
                </a:lnTo>
                <a:lnTo>
                  <a:pt x="2618" y="2739"/>
                </a:lnTo>
                <a:lnTo>
                  <a:pt x="2604" y="2743"/>
                </a:lnTo>
                <a:lnTo>
                  <a:pt x="2591" y="2747"/>
                </a:lnTo>
                <a:lnTo>
                  <a:pt x="2576" y="2747"/>
                </a:lnTo>
                <a:close/>
                <a:moveTo>
                  <a:pt x="2807" y="2745"/>
                </a:moveTo>
                <a:lnTo>
                  <a:pt x="2801" y="2743"/>
                </a:lnTo>
                <a:lnTo>
                  <a:pt x="2792" y="2737"/>
                </a:lnTo>
                <a:lnTo>
                  <a:pt x="2775" y="2722"/>
                </a:lnTo>
                <a:lnTo>
                  <a:pt x="2756" y="2701"/>
                </a:lnTo>
                <a:lnTo>
                  <a:pt x="2737" y="2682"/>
                </a:lnTo>
                <a:lnTo>
                  <a:pt x="2731" y="2673"/>
                </a:lnTo>
                <a:lnTo>
                  <a:pt x="2726" y="2665"/>
                </a:lnTo>
                <a:lnTo>
                  <a:pt x="2720" y="2654"/>
                </a:lnTo>
                <a:lnTo>
                  <a:pt x="2718" y="2648"/>
                </a:lnTo>
                <a:lnTo>
                  <a:pt x="2718" y="2642"/>
                </a:lnTo>
                <a:lnTo>
                  <a:pt x="2718" y="2635"/>
                </a:lnTo>
                <a:lnTo>
                  <a:pt x="2720" y="2629"/>
                </a:lnTo>
                <a:lnTo>
                  <a:pt x="2724" y="2620"/>
                </a:lnTo>
                <a:lnTo>
                  <a:pt x="2729" y="2612"/>
                </a:lnTo>
                <a:lnTo>
                  <a:pt x="2741" y="2597"/>
                </a:lnTo>
                <a:lnTo>
                  <a:pt x="2758" y="2576"/>
                </a:lnTo>
                <a:lnTo>
                  <a:pt x="2801" y="2529"/>
                </a:lnTo>
                <a:lnTo>
                  <a:pt x="2807" y="2529"/>
                </a:lnTo>
                <a:lnTo>
                  <a:pt x="2813" y="2531"/>
                </a:lnTo>
                <a:lnTo>
                  <a:pt x="2820" y="2536"/>
                </a:lnTo>
                <a:lnTo>
                  <a:pt x="2822" y="2542"/>
                </a:lnTo>
                <a:lnTo>
                  <a:pt x="2824" y="2546"/>
                </a:lnTo>
                <a:lnTo>
                  <a:pt x="2822" y="2553"/>
                </a:lnTo>
                <a:lnTo>
                  <a:pt x="2822" y="2557"/>
                </a:lnTo>
                <a:lnTo>
                  <a:pt x="2817" y="2561"/>
                </a:lnTo>
                <a:lnTo>
                  <a:pt x="2788" y="2595"/>
                </a:lnTo>
                <a:lnTo>
                  <a:pt x="2771" y="2616"/>
                </a:lnTo>
                <a:lnTo>
                  <a:pt x="2758" y="2631"/>
                </a:lnTo>
                <a:lnTo>
                  <a:pt x="2756" y="2635"/>
                </a:lnTo>
                <a:lnTo>
                  <a:pt x="2754" y="2639"/>
                </a:lnTo>
                <a:lnTo>
                  <a:pt x="2756" y="2646"/>
                </a:lnTo>
                <a:lnTo>
                  <a:pt x="2758" y="2650"/>
                </a:lnTo>
                <a:lnTo>
                  <a:pt x="2769" y="2663"/>
                </a:lnTo>
                <a:lnTo>
                  <a:pt x="2786" y="2682"/>
                </a:lnTo>
                <a:lnTo>
                  <a:pt x="2805" y="2701"/>
                </a:lnTo>
                <a:lnTo>
                  <a:pt x="2824" y="2718"/>
                </a:lnTo>
                <a:lnTo>
                  <a:pt x="2826" y="2722"/>
                </a:lnTo>
                <a:lnTo>
                  <a:pt x="2828" y="2724"/>
                </a:lnTo>
                <a:lnTo>
                  <a:pt x="2826" y="2728"/>
                </a:lnTo>
                <a:lnTo>
                  <a:pt x="2826" y="2730"/>
                </a:lnTo>
                <a:lnTo>
                  <a:pt x="2820" y="2737"/>
                </a:lnTo>
                <a:lnTo>
                  <a:pt x="2813" y="2743"/>
                </a:lnTo>
                <a:lnTo>
                  <a:pt x="2809" y="2743"/>
                </a:lnTo>
                <a:lnTo>
                  <a:pt x="2807" y="2745"/>
                </a:lnTo>
                <a:close/>
                <a:moveTo>
                  <a:pt x="2576" y="3340"/>
                </a:moveTo>
                <a:lnTo>
                  <a:pt x="2566" y="3340"/>
                </a:lnTo>
                <a:lnTo>
                  <a:pt x="2557" y="3338"/>
                </a:lnTo>
                <a:lnTo>
                  <a:pt x="2549" y="3336"/>
                </a:lnTo>
                <a:lnTo>
                  <a:pt x="2540" y="3332"/>
                </a:lnTo>
                <a:lnTo>
                  <a:pt x="2532" y="3327"/>
                </a:lnTo>
                <a:lnTo>
                  <a:pt x="2525" y="3321"/>
                </a:lnTo>
                <a:lnTo>
                  <a:pt x="2517" y="3315"/>
                </a:lnTo>
                <a:lnTo>
                  <a:pt x="2511" y="3308"/>
                </a:lnTo>
                <a:lnTo>
                  <a:pt x="2506" y="3302"/>
                </a:lnTo>
                <a:lnTo>
                  <a:pt x="2500" y="3293"/>
                </a:lnTo>
                <a:lnTo>
                  <a:pt x="2491" y="3274"/>
                </a:lnTo>
                <a:lnTo>
                  <a:pt x="2489" y="3266"/>
                </a:lnTo>
                <a:lnTo>
                  <a:pt x="2487" y="3255"/>
                </a:lnTo>
                <a:lnTo>
                  <a:pt x="2485" y="3245"/>
                </a:lnTo>
                <a:lnTo>
                  <a:pt x="2485" y="3234"/>
                </a:lnTo>
                <a:lnTo>
                  <a:pt x="2485" y="3222"/>
                </a:lnTo>
                <a:lnTo>
                  <a:pt x="2487" y="3211"/>
                </a:lnTo>
                <a:lnTo>
                  <a:pt x="2489" y="3200"/>
                </a:lnTo>
                <a:lnTo>
                  <a:pt x="2491" y="3190"/>
                </a:lnTo>
                <a:lnTo>
                  <a:pt x="2496" y="3179"/>
                </a:lnTo>
                <a:lnTo>
                  <a:pt x="2502" y="3171"/>
                </a:lnTo>
                <a:lnTo>
                  <a:pt x="2506" y="3160"/>
                </a:lnTo>
                <a:lnTo>
                  <a:pt x="2513" y="3152"/>
                </a:lnTo>
                <a:lnTo>
                  <a:pt x="2519" y="3145"/>
                </a:lnTo>
                <a:lnTo>
                  <a:pt x="2527" y="3139"/>
                </a:lnTo>
                <a:lnTo>
                  <a:pt x="2536" y="3133"/>
                </a:lnTo>
                <a:lnTo>
                  <a:pt x="2544" y="3126"/>
                </a:lnTo>
                <a:lnTo>
                  <a:pt x="2553" y="3122"/>
                </a:lnTo>
                <a:lnTo>
                  <a:pt x="2561" y="3120"/>
                </a:lnTo>
                <a:lnTo>
                  <a:pt x="2572" y="3118"/>
                </a:lnTo>
                <a:lnTo>
                  <a:pt x="2580" y="3118"/>
                </a:lnTo>
                <a:lnTo>
                  <a:pt x="2593" y="3118"/>
                </a:lnTo>
                <a:lnTo>
                  <a:pt x="2599" y="3120"/>
                </a:lnTo>
                <a:lnTo>
                  <a:pt x="2604" y="3122"/>
                </a:lnTo>
                <a:lnTo>
                  <a:pt x="2612" y="3126"/>
                </a:lnTo>
                <a:lnTo>
                  <a:pt x="2621" y="3135"/>
                </a:lnTo>
                <a:lnTo>
                  <a:pt x="2627" y="3141"/>
                </a:lnTo>
                <a:lnTo>
                  <a:pt x="2631" y="3152"/>
                </a:lnTo>
                <a:lnTo>
                  <a:pt x="2633" y="3162"/>
                </a:lnTo>
                <a:lnTo>
                  <a:pt x="2635" y="3175"/>
                </a:lnTo>
                <a:lnTo>
                  <a:pt x="2635" y="3181"/>
                </a:lnTo>
                <a:lnTo>
                  <a:pt x="2633" y="3190"/>
                </a:lnTo>
                <a:lnTo>
                  <a:pt x="2631" y="3196"/>
                </a:lnTo>
                <a:lnTo>
                  <a:pt x="2627" y="3205"/>
                </a:lnTo>
                <a:lnTo>
                  <a:pt x="2625" y="3211"/>
                </a:lnTo>
                <a:lnTo>
                  <a:pt x="2621" y="3217"/>
                </a:lnTo>
                <a:lnTo>
                  <a:pt x="2610" y="3228"/>
                </a:lnTo>
                <a:lnTo>
                  <a:pt x="2604" y="3234"/>
                </a:lnTo>
                <a:lnTo>
                  <a:pt x="2597" y="3238"/>
                </a:lnTo>
                <a:lnTo>
                  <a:pt x="2582" y="3245"/>
                </a:lnTo>
                <a:lnTo>
                  <a:pt x="2576" y="3249"/>
                </a:lnTo>
                <a:lnTo>
                  <a:pt x="2568" y="3251"/>
                </a:lnTo>
                <a:lnTo>
                  <a:pt x="2553" y="3251"/>
                </a:lnTo>
                <a:lnTo>
                  <a:pt x="2546" y="3251"/>
                </a:lnTo>
                <a:lnTo>
                  <a:pt x="2544" y="3249"/>
                </a:lnTo>
                <a:lnTo>
                  <a:pt x="2542" y="3247"/>
                </a:lnTo>
                <a:lnTo>
                  <a:pt x="2540" y="3243"/>
                </a:lnTo>
                <a:lnTo>
                  <a:pt x="2538" y="3241"/>
                </a:lnTo>
                <a:lnTo>
                  <a:pt x="2536" y="3232"/>
                </a:lnTo>
                <a:lnTo>
                  <a:pt x="2538" y="3226"/>
                </a:lnTo>
                <a:lnTo>
                  <a:pt x="2538" y="3224"/>
                </a:lnTo>
                <a:lnTo>
                  <a:pt x="2540" y="3224"/>
                </a:lnTo>
                <a:lnTo>
                  <a:pt x="2555" y="3219"/>
                </a:lnTo>
                <a:lnTo>
                  <a:pt x="2566" y="3215"/>
                </a:lnTo>
                <a:lnTo>
                  <a:pt x="2576" y="3209"/>
                </a:lnTo>
                <a:lnTo>
                  <a:pt x="2587" y="3202"/>
                </a:lnTo>
                <a:lnTo>
                  <a:pt x="2593" y="3196"/>
                </a:lnTo>
                <a:lnTo>
                  <a:pt x="2595" y="3192"/>
                </a:lnTo>
                <a:lnTo>
                  <a:pt x="2599" y="3188"/>
                </a:lnTo>
                <a:lnTo>
                  <a:pt x="2602" y="3179"/>
                </a:lnTo>
                <a:lnTo>
                  <a:pt x="2604" y="3171"/>
                </a:lnTo>
                <a:lnTo>
                  <a:pt x="2604" y="3164"/>
                </a:lnTo>
                <a:lnTo>
                  <a:pt x="2602" y="3160"/>
                </a:lnTo>
                <a:lnTo>
                  <a:pt x="2599" y="3156"/>
                </a:lnTo>
                <a:lnTo>
                  <a:pt x="2597" y="3154"/>
                </a:lnTo>
                <a:lnTo>
                  <a:pt x="2593" y="3152"/>
                </a:lnTo>
                <a:lnTo>
                  <a:pt x="2589" y="3150"/>
                </a:lnTo>
                <a:lnTo>
                  <a:pt x="2578" y="3147"/>
                </a:lnTo>
                <a:lnTo>
                  <a:pt x="2568" y="3150"/>
                </a:lnTo>
                <a:lnTo>
                  <a:pt x="2563" y="3152"/>
                </a:lnTo>
                <a:lnTo>
                  <a:pt x="2557" y="3154"/>
                </a:lnTo>
                <a:lnTo>
                  <a:pt x="2553" y="3158"/>
                </a:lnTo>
                <a:lnTo>
                  <a:pt x="2546" y="3162"/>
                </a:lnTo>
                <a:lnTo>
                  <a:pt x="2538" y="3173"/>
                </a:lnTo>
                <a:lnTo>
                  <a:pt x="2534" y="3179"/>
                </a:lnTo>
                <a:lnTo>
                  <a:pt x="2530" y="3186"/>
                </a:lnTo>
                <a:lnTo>
                  <a:pt x="2523" y="3198"/>
                </a:lnTo>
                <a:lnTo>
                  <a:pt x="2519" y="3215"/>
                </a:lnTo>
                <a:lnTo>
                  <a:pt x="2519" y="3224"/>
                </a:lnTo>
                <a:lnTo>
                  <a:pt x="2519" y="3232"/>
                </a:lnTo>
                <a:lnTo>
                  <a:pt x="2519" y="3247"/>
                </a:lnTo>
                <a:lnTo>
                  <a:pt x="2521" y="3253"/>
                </a:lnTo>
                <a:lnTo>
                  <a:pt x="2523" y="3262"/>
                </a:lnTo>
                <a:lnTo>
                  <a:pt x="2527" y="3272"/>
                </a:lnTo>
                <a:lnTo>
                  <a:pt x="2534" y="3283"/>
                </a:lnTo>
                <a:lnTo>
                  <a:pt x="2542" y="3291"/>
                </a:lnTo>
                <a:lnTo>
                  <a:pt x="2549" y="3296"/>
                </a:lnTo>
                <a:lnTo>
                  <a:pt x="2553" y="3298"/>
                </a:lnTo>
                <a:lnTo>
                  <a:pt x="2563" y="3302"/>
                </a:lnTo>
                <a:lnTo>
                  <a:pt x="2570" y="3304"/>
                </a:lnTo>
                <a:lnTo>
                  <a:pt x="2576" y="3304"/>
                </a:lnTo>
                <a:lnTo>
                  <a:pt x="2589" y="3302"/>
                </a:lnTo>
                <a:lnTo>
                  <a:pt x="2602" y="3300"/>
                </a:lnTo>
                <a:lnTo>
                  <a:pt x="2606" y="3296"/>
                </a:lnTo>
                <a:lnTo>
                  <a:pt x="2612" y="3293"/>
                </a:lnTo>
                <a:lnTo>
                  <a:pt x="2623" y="3285"/>
                </a:lnTo>
                <a:lnTo>
                  <a:pt x="2631" y="3277"/>
                </a:lnTo>
                <a:lnTo>
                  <a:pt x="2640" y="3266"/>
                </a:lnTo>
                <a:lnTo>
                  <a:pt x="2648" y="3255"/>
                </a:lnTo>
                <a:lnTo>
                  <a:pt x="2654" y="3243"/>
                </a:lnTo>
                <a:lnTo>
                  <a:pt x="2661" y="3228"/>
                </a:lnTo>
                <a:lnTo>
                  <a:pt x="2667" y="3213"/>
                </a:lnTo>
                <a:lnTo>
                  <a:pt x="2671" y="3200"/>
                </a:lnTo>
                <a:lnTo>
                  <a:pt x="2673" y="3186"/>
                </a:lnTo>
                <a:lnTo>
                  <a:pt x="2676" y="3171"/>
                </a:lnTo>
                <a:lnTo>
                  <a:pt x="2678" y="3156"/>
                </a:lnTo>
                <a:lnTo>
                  <a:pt x="2678" y="3143"/>
                </a:lnTo>
                <a:lnTo>
                  <a:pt x="2678" y="3130"/>
                </a:lnTo>
                <a:lnTo>
                  <a:pt x="2680" y="3126"/>
                </a:lnTo>
                <a:lnTo>
                  <a:pt x="2682" y="3124"/>
                </a:lnTo>
                <a:lnTo>
                  <a:pt x="2686" y="3124"/>
                </a:lnTo>
                <a:lnTo>
                  <a:pt x="2693" y="3122"/>
                </a:lnTo>
                <a:lnTo>
                  <a:pt x="2701" y="3124"/>
                </a:lnTo>
                <a:lnTo>
                  <a:pt x="2703" y="3126"/>
                </a:lnTo>
                <a:lnTo>
                  <a:pt x="2707" y="3128"/>
                </a:lnTo>
                <a:lnTo>
                  <a:pt x="2712" y="3137"/>
                </a:lnTo>
                <a:lnTo>
                  <a:pt x="2712" y="3141"/>
                </a:lnTo>
                <a:lnTo>
                  <a:pt x="2712" y="3150"/>
                </a:lnTo>
                <a:lnTo>
                  <a:pt x="2712" y="3166"/>
                </a:lnTo>
                <a:lnTo>
                  <a:pt x="2709" y="3186"/>
                </a:lnTo>
                <a:lnTo>
                  <a:pt x="2705" y="3205"/>
                </a:lnTo>
                <a:lnTo>
                  <a:pt x="2701" y="3222"/>
                </a:lnTo>
                <a:lnTo>
                  <a:pt x="2697" y="3238"/>
                </a:lnTo>
                <a:lnTo>
                  <a:pt x="2688" y="3253"/>
                </a:lnTo>
                <a:lnTo>
                  <a:pt x="2682" y="3268"/>
                </a:lnTo>
                <a:lnTo>
                  <a:pt x="2673" y="3283"/>
                </a:lnTo>
                <a:lnTo>
                  <a:pt x="2663" y="3293"/>
                </a:lnTo>
                <a:lnTo>
                  <a:pt x="2659" y="3300"/>
                </a:lnTo>
                <a:lnTo>
                  <a:pt x="2652" y="3306"/>
                </a:lnTo>
                <a:lnTo>
                  <a:pt x="2642" y="3315"/>
                </a:lnTo>
                <a:lnTo>
                  <a:pt x="2631" y="3323"/>
                </a:lnTo>
                <a:lnTo>
                  <a:pt x="2618" y="3332"/>
                </a:lnTo>
                <a:lnTo>
                  <a:pt x="2604" y="3336"/>
                </a:lnTo>
                <a:lnTo>
                  <a:pt x="2591" y="3338"/>
                </a:lnTo>
                <a:lnTo>
                  <a:pt x="2576" y="3340"/>
                </a:lnTo>
                <a:close/>
                <a:moveTo>
                  <a:pt x="2807" y="3336"/>
                </a:moveTo>
                <a:lnTo>
                  <a:pt x="2801" y="3334"/>
                </a:lnTo>
                <a:lnTo>
                  <a:pt x="2792" y="3327"/>
                </a:lnTo>
                <a:lnTo>
                  <a:pt x="2775" y="3313"/>
                </a:lnTo>
                <a:lnTo>
                  <a:pt x="2756" y="3293"/>
                </a:lnTo>
                <a:lnTo>
                  <a:pt x="2737" y="3272"/>
                </a:lnTo>
                <a:lnTo>
                  <a:pt x="2731" y="3264"/>
                </a:lnTo>
                <a:lnTo>
                  <a:pt x="2726" y="3257"/>
                </a:lnTo>
                <a:lnTo>
                  <a:pt x="2720" y="3245"/>
                </a:lnTo>
                <a:lnTo>
                  <a:pt x="2718" y="3238"/>
                </a:lnTo>
                <a:lnTo>
                  <a:pt x="2718" y="3234"/>
                </a:lnTo>
                <a:lnTo>
                  <a:pt x="2718" y="3226"/>
                </a:lnTo>
                <a:lnTo>
                  <a:pt x="2720" y="3219"/>
                </a:lnTo>
                <a:lnTo>
                  <a:pt x="2724" y="3211"/>
                </a:lnTo>
                <a:lnTo>
                  <a:pt x="2729" y="3205"/>
                </a:lnTo>
                <a:lnTo>
                  <a:pt x="2741" y="3190"/>
                </a:lnTo>
                <a:lnTo>
                  <a:pt x="2758" y="3169"/>
                </a:lnTo>
                <a:lnTo>
                  <a:pt x="2801" y="3120"/>
                </a:lnTo>
                <a:lnTo>
                  <a:pt x="2807" y="3122"/>
                </a:lnTo>
                <a:lnTo>
                  <a:pt x="2813" y="3124"/>
                </a:lnTo>
                <a:lnTo>
                  <a:pt x="2820" y="3128"/>
                </a:lnTo>
                <a:lnTo>
                  <a:pt x="2822" y="3133"/>
                </a:lnTo>
                <a:lnTo>
                  <a:pt x="2824" y="3139"/>
                </a:lnTo>
                <a:lnTo>
                  <a:pt x="2822" y="3145"/>
                </a:lnTo>
                <a:lnTo>
                  <a:pt x="2822" y="3150"/>
                </a:lnTo>
                <a:lnTo>
                  <a:pt x="2817" y="3152"/>
                </a:lnTo>
                <a:lnTo>
                  <a:pt x="2788" y="3188"/>
                </a:lnTo>
                <a:lnTo>
                  <a:pt x="2771" y="3207"/>
                </a:lnTo>
                <a:lnTo>
                  <a:pt x="2758" y="3224"/>
                </a:lnTo>
                <a:lnTo>
                  <a:pt x="2756" y="3228"/>
                </a:lnTo>
                <a:lnTo>
                  <a:pt x="2754" y="3232"/>
                </a:lnTo>
                <a:lnTo>
                  <a:pt x="2756" y="3236"/>
                </a:lnTo>
                <a:lnTo>
                  <a:pt x="2758" y="3243"/>
                </a:lnTo>
                <a:lnTo>
                  <a:pt x="2769" y="3255"/>
                </a:lnTo>
                <a:lnTo>
                  <a:pt x="2786" y="3272"/>
                </a:lnTo>
                <a:lnTo>
                  <a:pt x="2805" y="3291"/>
                </a:lnTo>
                <a:lnTo>
                  <a:pt x="2824" y="3310"/>
                </a:lnTo>
                <a:lnTo>
                  <a:pt x="2826" y="3313"/>
                </a:lnTo>
                <a:lnTo>
                  <a:pt x="2828" y="3317"/>
                </a:lnTo>
                <a:lnTo>
                  <a:pt x="2826" y="3319"/>
                </a:lnTo>
                <a:lnTo>
                  <a:pt x="2826" y="3323"/>
                </a:lnTo>
                <a:lnTo>
                  <a:pt x="2820" y="3329"/>
                </a:lnTo>
                <a:lnTo>
                  <a:pt x="2813" y="3334"/>
                </a:lnTo>
                <a:lnTo>
                  <a:pt x="2809" y="3336"/>
                </a:lnTo>
                <a:lnTo>
                  <a:pt x="2807" y="3336"/>
                </a:lnTo>
                <a:close/>
                <a:moveTo>
                  <a:pt x="2665" y="3793"/>
                </a:moveTo>
                <a:lnTo>
                  <a:pt x="2671" y="3770"/>
                </a:lnTo>
                <a:lnTo>
                  <a:pt x="2676" y="3746"/>
                </a:lnTo>
                <a:lnTo>
                  <a:pt x="2678" y="3736"/>
                </a:lnTo>
                <a:lnTo>
                  <a:pt x="2678" y="3725"/>
                </a:lnTo>
                <a:lnTo>
                  <a:pt x="2678" y="3704"/>
                </a:lnTo>
                <a:lnTo>
                  <a:pt x="2680" y="3702"/>
                </a:lnTo>
                <a:lnTo>
                  <a:pt x="2682" y="3700"/>
                </a:lnTo>
                <a:lnTo>
                  <a:pt x="2686" y="3698"/>
                </a:lnTo>
                <a:lnTo>
                  <a:pt x="2693" y="3698"/>
                </a:lnTo>
                <a:lnTo>
                  <a:pt x="2701" y="3698"/>
                </a:lnTo>
                <a:lnTo>
                  <a:pt x="2703" y="3700"/>
                </a:lnTo>
                <a:lnTo>
                  <a:pt x="2707" y="3702"/>
                </a:lnTo>
                <a:lnTo>
                  <a:pt x="2712" y="3710"/>
                </a:lnTo>
                <a:lnTo>
                  <a:pt x="2712" y="3717"/>
                </a:lnTo>
                <a:lnTo>
                  <a:pt x="2712" y="3723"/>
                </a:lnTo>
                <a:lnTo>
                  <a:pt x="2712" y="3740"/>
                </a:lnTo>
                <a:lnTo>
                  <a:pt x="2709" y="3759"/>
                </a:lnTo>
                <a:lnTo>
                  <a:pt x="2707" y="3776"/>
                </a:lnTo>
                <a:lnTo>
                  <a:pt x="2703" y="3793"/>
                </a:lnTo>
                <a:lnTo>
                  <a:pt x="2665" y="3793"/>
                </a:lnTo>
                <a:close/>
                <a:moveTo>
                  <a:pt x="2485" y="3793"/>
                </a:moveTo>
                <a:lnTo>
                  <a:pt x="2489" y="3772"/>
                </a:lnTo>
                <a:lnTo>
                  <a:pt x="2494" y="3763"/>
                </a:lnTo>
                <a:lnTo>
                  <a:pt x="2496" y="3753"/>
                </a:lnTo>
                <a:lnTo>
                  <a:pt x="2500" y="3744"/>
                </a:lnTo>
                <a:lnTo>
                  <a:pt x="2506" y="3736"/>
                </a:lnTo>
                <a:lnTo>
                  <a:pt x="2511" y="3730"/>
                </a:lnTo>
                <a:lnTo>
                  <a:pt x="2517" y="3721"/>
                </a:lnTo>
                <a:lnTo>
                  <a:pt x="2523" y="3715"/>
                </a:lnTo>
                <a:lnTo>
                  <a:pt x="2532" y="3708"/>
                </a:lnTo>
                <a:lnTo>
                  <a:pt x="2538" y="3704"/>
                </a:lnTo>
                <a:lnTo>
                  <a:pt x="2546" y="3700"/>
                </a:lnTo>
                <a:lnTo>
                  <a:pt x="2555" y="3696"/>
                </a:lnTo>
                <a:lnTo>
                  <a:pt x="2563" y="3694"/>
                </a:lnTo>
                <a:lnTo>
                  <a:pt x="2572" y="3691"/>
                </a:lnTo>
                <a:lnTo>
                  <a:pt x="2580" y="3691"/>
                </a:lnTo>
                <a:lnTo>
                  <a:pt x="2593" y="3694"/>
                </a:lnTo>
                <a:lnTo>
                  <a:pt x="2599" y="3694"/>
                </a:lnTo>
                <a:lnTo>
                  <a:pt x="2604" y="3696"/>
                </a:lnTo>
                <a:lnTo>
                  <a:pt x="2612" y="3702"/>
                </a:lnTo>
                <a:lnTo>
                  <a:pt x="2621" y="3708"/>
                </a:lnTo>
                <a:lnTo>
                  <a:pt x="2627" y="3717"/>
                </a:lnTo>
                <a:lnTo>
                  <a:pt x="2631" y="3725"/>
                </a:lnTo>
                <a:lnTo>
                  <a:pt x="2633" y="3738"/>
                </a:lnTo>
                <a:lnTo>
                  <a:pt x="2635" y="3749"/>
                </a:lnTo>
                <a:lnTo>
                  <a:pt x="2633" y="3761"/>
                </a:lnTo>
                <a:lnTo>
                  <a:pt x="2631" y="3772"/>
                </a:lnTo>
                <a:lnTo>
                  <a:pt x="2625" y="3782"/>
                </a:lnTo>
                <a:lnTo>
                  <a:pt x="2618" y="3793"/>
                </a:lnTo>
                <a:lnTo>
                  <a:pt x="2602" y="3793"/>
                </a:lnTo>
                <a:lnTo>
                  <a:pt x="2559" y="3793"/>
                </a:lnTo>
                <a:lnTo>
                  <a:pt x="2570" y="3789"/>
                </a:lnTo>
                <a:lnTo>
                  <a:pt x="2578" y="3785"/>
                </a:lnTo>
                <a:lnTo>
                  <a:pt x="2585" y="3778"/>
                </a:lnTo>
                <a:lnTo>
                  <a:pt x="2591" y="3772"/>
                </a:lnTo>
                <a:lnTo>
                  <a:pt x="2597" y="3765"/>
                </a:lnTo>
                <a:lnTo>
                  <a:pt x="2599" y="3759"/>
                </a:lnTo>
                <a:lnTo>
                  <a:pt x="2602" y="3751"/>
                </a:lnTo>
                <a:lnTo>
                  <a:pt x="2604" y="3744"/>
                </a:lnTo>
                <a:lnTo>
                  <a:pt x="2604" y="3740"/>
                </a:lnTo>
                <a:lnTo>
                  <a:pt x="2602" y="3734"/>
                </a:lnTo>
                <a:lnTo>
                  <a:pt x="2599" y="3732"/>
                </a:lnTo>
                <a:lnTo>
                  <a:pt x="2597" y="3727"/>
                </a:lnTo>
                <a:lnTo>
                  <a:pt x="2593" y="3725"/>
                </a:lnTo>
                <a:lnTo>
                  <a:pt x="2589" y="3723"/>
                </a:lnTo>
                <a:lnTo>
                  <a:pt x="2578" y="3721"/>
                </a:lnTo>
                <a:lnTo>
                  <a:pt x="2570" y="3723"/>
                </a:lnTo>
                <a:lnTo>
                  <a:pt x="2566" y="3725"/>
                </a:lnTo>
                <a:lnTo>
                  <a:pt x="2559" y="3727"/>
                </a:lnTo>
                <a:lnTo>
                  <a:pt x="2551" y="3734"/>
                </a:lnTo>
                <a:lnTo>
                  <a:pt x="2542" y="3742"/>
                </a:lnTo>
                <a:lnTo>
                  <a:pt x="2534" y="3753"/>
                </a:lnTo>
                <a:lnTo>
                  <a:pt x="2532" y="3759"/>
                </a:lnTo>
                <a:lnTo>
                  <a:pt x="2527" y="3765"/>
                </a:lnTo>
                <a:lnTo>
                  <a:pt x="2525" y="3772"/>
                </a:lnTo>
                <a:lnTo>
                  <a:pt x="2523" y="3778"/>
                </a:lnTo>
                <a:lnTo>
                  <a:pt x="2519" y="3793"/>
                </a:lnTo>
                <a:lnTo>
                  <a:pt x="2485" y="3793"/>
                </a:lnTo>
                <a:close/>
                <a:moveTo>
                  <a:pt x="2722" y="3793"/>
                </a:moveTo>
                <a:lnTo>
                  <a:pt x="2724" y="3785"/>
                </a:lnTo>
                <a:lnTo>
                  <a:pt x="2729" y="3778"/>
                </a:lnTo>
                <a:lnTo>
                  <a:pt x="2741" y="3763"/>
                </a:lnTo>
                <a:lnTo>
                  <a:pt x="2758" y="3742"/>
                </a:lnTo>
                <a:lnTo>
                  <a:pt x="2801" y="3696"/>
                </a:lnTo>
                <a:lnTo>
                  <a:pt x="2807" y="3696"/>
                </a:lnTo>
                <a:lnTo>
                  <a:pt x="2813" y="3698"/>
                </a:lnTo>
                <a:lnTo>
                  <a:pt x="2820" y="3702"/>
                </a:lnTo>
                <a:lnTo>
                  <a:pt x="2822" y="3708"/>
                </a:lnTo>
                <a:lnTo>
                  <a:pt x="2824" y="3713"/>
                </a:lnTo>
                <a:lnTo>
                  <a:pt x="2822" y="3719"/>
                </a:lnTo>
                <a:lnTo>
                  <a:pt x="2822" y="3723"/>
                </a:lnTo>
                <a:lnTo>
                  <a:pt x="2817" y="3727"/>
                </a:lnTo>
                <a:lnTo>
                  <a:pt x="2792" y="3757"/>
                </a:lnTo>
                <a:lnTo>
                  <a:pt x="2775" y="3776"/>
                </a:lnTo>
                <a:lnTo>
                  <a:pt x="2762" y="3793"/>
                </a:lnTo>
                <a:lnTo>
                  <a:pt x="2722" y="3793"/>
                </a:lnTo>
                <a:close/>
                <a:moveTo>
                  <a:pt x="2113" y="2747"/>
                </a:moveTo>
                <a:lnTo>
                  <a:pt x="2104" y="2747"/>
                </a:lnTo>
                <a:lnTo>
                  <a:pt x="2093" y="2745"/>
                </a:lnTo>
                <a:lnTo>
                  <a:pt x="2085" y="2743"/>
                </a:lnTo>
                <a:lnTo>
                  <a:pt x="2077" y="2739"/>
                </a:lnTo>
                <a:lnTo>
                  <a:pt x="2070" y="2735"/>
                </a:lnTo>
                <a:lnTo>
                  <a:pt x="2062" y="2730"/>
                </a:lnTo>
                <a:lnTo>
                  <a:pt x="2055" y="2724"/>
                </a:lnTo>
                <a:lnTo>
                  <a:pt x="2049" y="2718"/>
                </a:lnTo>
                <a:lnTo>
                  <a:pt x="2043" y="2709"/>
                </a:lnTo>
                <a:lnTo>
                  <a:pt x="2038" y="2701"/>
                </a:lnTo>
                <a:lnTo>
                  <a:pt x="2030" y="2684"/>
                </a:lnTo>
                <a:lnTo>
                  <a:pt x="2026" y="2673"/>
                </a:lnTo>
                <a:lnTo>
                  <a:pt x="2024" y="2663"/>
                </a:lnTo>
                <a:lnTo>
                  <a:pt x="2022" y="2652"/>
                </a:lnTo>
                <a:lnTo>
                  <a:pt x="2022" y="2642"/>
                </a:lnTo>
                <a:lnTo>
                  <a:pt x="2022" y="2631"/>
                </a:lnTo>
                <a:lnTo>
                  <a:pt x="2024" y="2620"/>
                </a:lnTo>
                <a:lnTo>
                  <a:pt x="2026" y="2608"/>
                </a:lnTo>
                <a:lnTo>
                  <a:pt x="2030" y="2597"/>
                </a:lnTo>
                <a:lnTo>
                  <a:pt x="2034" y="2589"/>
                </a:lnTo>
                <a:lnTo>
                  <a:pt x="2038" y="2578"/>
                </a:lnTo>
                <a:lnTo>
                  <a:pt x="2045" y="2570"/>
                </a:lnTo>
                <a:lnTo>
                  <a:pt x="2049" y="2561"/>
                </a:lnTo>
                <a:lnTo>
                  <a:pt x="2058" y="2553"/>
                </a:lnTo>
                <a:lnTo>
                  <a:pt x="2064" y="2546"/>
                </a:lnTo>
                <a:lnTo>
                  <a:pt x="2072" y="2540"/>
                </a:lnTo>
                <a:lnTo>
                  <a:pt x="2081" y="2536"/>
                </a:lnTo>
                <a:lnTo>
                  <a:pt x="2089" y="2531"/>
                </a:lnTo>
                <a:lnTo>
                  <a:pt x="2100" y="2527"/>
                </a:lnTo>
                <a:lnTo>
                  <a:pt x="2108" y="2527"/>
                </a:lnTo>
                <a:lnTo>
                  <a:pt x="2119" y="2525"/>
                </a:lnTo>
                <a:lnTo>
                  <a:pt x="2129" y="2527"/>
                </a:lnTo>
                <a:lnTo>
                  <a:pt x="2136" y="2527"/>
                </a:lnTo>
                <a:lnTo>
                  <a:pt x="2140" y="2529"/>
                </a:lnTo>
                <a:lnTo>
                  <a:pt x="2151" y="2536"/>
                </a:lnTo>
                <a:lnTo>
                  <a:pt x="2157" y="2542"/>
                </a:lnTo>
                <a:lnTo>
                  <a:pt x="2163" y="2551"/>
                </a:lnTo>
                <a:lnTo>
                  <a:pt x="2168" y="2561"/>
                </a:lnTo>
                <a:lnTo>
                  <a:pt x="2172" y="2572"/>
                </a:lnTo>
                <a:lnTo>
                  <a:pt x="2172" y="2582"/>
                </a:lnTo>
                <a:lnTo>
                  <a:pt x="2172" y="2591"/>
                </a:lnTo>
                <a:lnTo>
                  <a:pt x="2170" y="2597"/>
                </a:lnTo>
                <a:lnTo>
                  <a:pt x="2168" y="2606"/>
                </a:lnTo>
                <a:lnTo>
                  <a:pt x="2165" y="2612"/>
                </a:lnTo>
                <a:lnTo>
                  <a:pt x="2161" y="2618"/>
                </a:lnTo>
                <a:lnTo>
                  <a:pt x="2157" y="2625"/>
                </a:lnTo>
                <a:lnTo>
                  <a:pt x="2146" y="2637"/>
                </a:lnTo>
                <a:lnTo>
                  <a:pt x="2140" y="2642"/>
                </a:lnTo>
                <a:lnTo>
                  <a:pt x="2134" y="2646"/>
                </a:lnTo>
                <a:lnTo>
                  <a:pt x="2119" y="2654"/>
                </a:lnTo>
                <a:lnTo>
                  <a:pt x="2113" y="2656"/>
                </a:lnTo>
                <a:lnTo>
                  <a:pt x="2104" y="2658"/>
                </a:lnTo>
                <a:lnTo>
                  <a:pt x="2089" y="2661"/>
                </a:lnTo>
                <a:lnTo>
                  <a:pt x="2083" y="2658"/>
                </a:lnTo>
                <a:lnTo>
                  <a:pt x="2081" y="2656"/>
                </a:lnTo>
                <a:lnTo>
                  <a:pt x="2079" y="2654"/>
                </a:lnTo>
                <a:lnTo>
                  <a:pt x="2077" y="2652"/>
                </a:lnTo>
                <a:lnTo>
                  <a:pt x="2074" y="2648"/>
                </a:lnTo>
                <a:lnTo>
                  <a:pt x="2074" y="2642"/>
                </a:lnTo>
                <a:lnTo>
                  <a:pt x="2074" y="2635"/>
                </a:lnTo>
                <a:lnTo>
                  <a:pt x="2077" y="2633"/>
                </a:lnTo>
                <a:lnTo>
                  <a:pt x="2079" y="2631"/>
                </a:lnTo>
                <a:lnTo>
                  <a:pt x="2091" y="2629"/>
                </a:lnTo>
                <a:lnTo>
                  <a:pt x="2104" y="2625"/>
                </a:lnTo>
                <a:lnTo>
                  <a:pt x="2115" y="2618"/>
                </a:lnTo>
                <a:lnTo>
                  <a:pt x="2123" y="2612"/>
                </a:lnTo>
                <a:lnTo>
                  <a:pt x="2129" y="2603"/>
                </a:lnTo>
                <a:lnTo>
                  <a:pt x="2134" y="2599"/>
                </a:lnTo>
                <a:lnTo>
                  <a:pt x="2136" y="2595"/>
                </a:lnTo>
                <a:lnTo>
                  <a:pt x="2140" y="2587"/>
                </a:lnTo>
                <a:lnTo>
                  <a:pt x="2140" y="2578"/>
                </a:lnTo>
                <a:lnTo>
                  <a:pt x="2140" y="2574"/>
                </a:lnTo>
                <a:lnTo>
                  <a:pt x="2138" y="2570"/>
                </a:lnTo>
                <a:lnTo>
                  <a:pt x="2136" y="2565"/>
                </a:lnTo>
                <a:lnTo>
                  <a:pt x="2134" y="2561"/>
                </a:lnTo>
                <a:lnTo>
                  <a:pt x="2129" y="2559"/>
                </a:lnTo>
                <a:lnTo>
                  <a:pt x="2125" y="2557"/>
                </a:lnTo>
                <a:lnTo>
                  <a:pt x="2117" y="2555"/>
                </a:lnTo>
                <a:lnTo>
                  <a:pt x="2106" y="2557"/>
                </a:lnTo>
                <a:lnTo>
                  <a:pt x="2100" y="2559"/>
                </a:lnTo>
                <a:lnTo>
                  <a:pt x="2096" y="2563"/>
                </a:lnTo>
                <a:lnTo>
                  <a:pt x="2089" y="2565"/>
                </a:lnTo>
                <a:lnTo>
                  <a:pt x="2085" y="2570"/>
                </a:lnTo>
                <a:lnTo>
                  <a:pt x="2074" y="2580"/>
                </a:lnTo>
                <a:lnTo>
                  <a:pt x="2070" y="2587"/>
                </a:lnTo>
                <a:lnTo>
                  <a:pt x="2068" y="2593"/>
                </a:lnTo>
                <a:lnTo>
                  <a:pt x="2062" y="2608"/>
                </a:lnTo>
                <a:lnTo>
                  <a:pt x="2058" y="2623"/>
                </a:lnTo>
                <a:lnTo>
                  <a:pt x="2055" y="2631"/>
                </a:lnTo>
                <a:lnTo>
                  <a:pt x="2055" y="2639"/>
                </a:lnTo>
                <a:lnTo>
                  <a:pt x="2058" y="2654"/>
                </a:lnTo>
                <a:lnTo>
                  <a:pt x="2058" y="2663"/>
                </a:lnTo>
                <a:lnTo>
                  <a:pt x="2060" y="2669"/>
                </a:lnTo>
                <a:lnTo>
                  <a:pt x="2064" y="2682"/>
                </a:lnTo>
                <a:lnTo>
                  <a:pt x="2072" y="2692"/>
                </a:lnTo>
                <a:lnTo>
                  <a:pt x="2081" y="2701"/>
                </a:lnTo>
                <a:lnTo>
                  <a:pt x="2085" y="2703"/>
                </a:lnTo>
                <a:lnTo>
                  <a:pt x="2089" y="2707"/>
                </a:lnTo>
                <a:lnTo>
                  <a:pt x="2102" y="2711"/>
                </a:lnTo>
                <a:lnTo>
                  <a:pt x="2108" y="2711"/>
                </a:lnTo>
                <a:lnTo>
                  <a:pt x="2115" y="2711"/>
                </a:lnTo>
                <a:lnTo>
                  <a:pt x="2125" y="2711"/>
                </a:lnTo>
                <a:lnTo>
                  <a:pt x="2138" y="2707"/>
                </a:lnTo>
                <a:lnTo>
                  <a:pt x="2144" y="2705"/>
                </a:lnTo>
                <a:lnTo>
                  <a:pt x="2149" y="2701"/>
                </a:lnTo>
                <a:lnTo>
                  <a:pt x="2159" y="2694"/>
                </a:lnTo>
                <a:lnTo>
                  <a:pt x="2170" y="2686"/>
                </a:lnTo>
                <a:lnTo>
                  <a:pt x="2178" y="2675"/>
                </a:lnTo>
                <a:lnTo>
                  <a:pt x="2185" y="2663"/>
                </a:lnTo>
                <a:lnTo>
                  <a:pt x="2193" y="2650"/>
                </a:lnTo>
                <a:lnTo>
                  <a:pt x="2199" y="2637"/>
                </a:lnTo>
                <a:lnTo>
                  <a:pt x="2204" y="2623"/>
                </a:lnTo>
                <a:lnTo>
                  <a:pt x="2208" y="2608"/>
                </a:lnTo>
                <a:lnTo>
                  <a:pt x="2212" y="2593"/>
                </a:lnTo>
                <a:lnTo>
                  <a:pt x="2214" y="2578"/>
                </a:lnTo>
                <a:lnTo>
                  <a:pt x="2216" y="2565"/>
                </a:lnTo>
                <a:lnTo>
                  <a:pt x="2216" y="2551"/>
                </a:lnTo>
                <a:lnTo>
                  <a:pt x="2216" y="2538"/>
                </a:lnTo>
                <a:lnTo>
                  <a:pt x="2216" y="2536"/>
                </a:lnTo>
                <a:lnTo>
                  <a:pt x="2221" y="2534"/>
                </a:lnTo>
                <a:lnTo>
                  <a:pt x="2225" y="2531"/>
                </a:lnTo>
                <a:lnTo>
                  <a:pt x="2229" y="2531"/>
                </a:lnTo>
                <a:lnTo>
                  <a:pt x="2237" y="2531"/>
                </a:lnTo>
                <a:lnTo>
                  <a:pt x="2242" y="2534"/>
                </a:lnTo>
                <a:lnTo>
                  <a:pt x="2244" y="2536"/>
                </a:lnTo>
                <a:lnTo>
                  <a:pt x="2248" y="2544"/>
                </a:lnTo>
                <a:lnTo>
                  <a:pt x="2250" y="2551"/>
                </a:lnTo>
                <a:lnTo>
                  <a:pt x="2250" y="2557"/>
                </a:lnTo>
                <a:lnTo>
                  <a:pt x="2248" y="2576"/>
                </a:lnTo>
                <a:lnTo>
                  <a:pt x="2246" y="2595"/>
                </a:lnTo>
                <a:lnTo>
                  <a:pt x="2244" y="2612"/>
                </a:lnTo>
                <a:lnTo>
                  <a:pt x="2240" y="2629"/>
                </a:lnTo>
                <a:lnTo>
                  <a:pt x="2233" y="2646"/>
                </a:lnTo>
                <a:lnTo>
                  <a:pt x="2227" y="2661"/>
                </a:lnTo>
                <a:lnTo>
                  <a:pt x="2218" y="2675"/>
                </a:lnTo>
                <a:lnTo>
                  <a:pt x="2210" y="2690"/>
                </a:lnTo>
                <a:lnTo>
                  <a:pt x="2201" y="2703"/>
                </a:lnTo>
                <a:lnTo>
                  <a:pt x="2195" y="2709"/>
                </a:lnTo>
                <a:lnTo>
                  <a:pt x="2191" y="2714"/>
                </a:lnTo>
                <a:lnTo>
                  <a:pt x="2178" y="2724"/>
                </a:lnTo>
                <a:lnTo>
                  <a:pt x="2168" y="2733"/>
                </a:lnTo>
                <a:lnTo>
                  <a:pt x="2155" y="2739"/>
                </a:lnTo>
                <a:lnTo>
                  <a:pt x="2142" y="2743"/>
                </a:lnTo>
                <a:lnTo>
                  <a:pt x="2127" y="2747"/>
                </a:lnTo>
                <a:lnTo>
                  <a:pt x="2113" y="2747"/>
                </a:lnTo>
                <a:close/>
                <a:moveTo>
                  <a:pt x="2343" y="2745"/>
                </a:moveTo>
                <a:lnTo>
                  <a:pt x="2337" y="2743"/>
                </a:lnTo>
                <a:lnTo>
                  <a:pt x="2328" y="2737"/>
                </a:lnTo>
                <a:lnTo>
                  <a:pt x="2312" y="2722"/>
                </a:lnTo>
                <a:lnTo>
                  <a:pt x="2292" y="2701"/>
                </a:lnTo>
                <a:lnTo>
                  <a:pt x="2273" y="2682"/>
                </a:lnTo>
                <a:lnTo>
                  <a:pt x="2267" y="2673"/>
                </a:lnTo>
                <a:lnTo>
                  <a:pt x="2263" y="2665"/>
                </a:lnTo>
                <a:lnTo>
                  <a:pt x="2256" y="2654"/>
                </a:lnTo>
                <a:lnTo>
                  <a:pt x="2256" y="2648"/>
                </a:lnTo>
                <a:lnTo>
                  <a:pt x="2254" y="2642"/>
                </a:lnTo>
                <a:lnTo>
                  <a:pt x="2256" y="2635"/>
                </a:lnTo>
                <a:lnTo>
                  <a:pt x="2259" y="2629"/>
                </a:lnTo>
                <a:lnTo>
                  <a:pt x="2261" y="2620"/>
                </a:lnTo>
                <a:lnTo>
                  <a:pt x="2267" y="2612"/>
                </a:lnTo>
                <a:lnTo>
                  <a:pt x="2278" y="2597"/>
                </a:lnTo>
                <a:lnTo>
                  <a:pt x="2297" y="2576"/>
                </a:lnTo>
                <a:lnTo>
                  <a:pt x="2339" y="2529"/>
                </a:lnTo>
                <a:lnTo>
                  <a:pt x="2345" y="2529"/>
                </a:lnTo>
                <a:lnTo>
                  <a:pt x="2352" y="2531"/>
                </a:lnTo>
                <a:lnTo>
                  <a:pt x="2356" y="2536"/>
                </a:lnTo>
                <a:lnTo>
                  <a:pt x="2360" y="2542"/>
                </a:lnTo>
                <a:lnTo>
                  <a:pt x="2360" y="2546"/>
                </a:lnTo>
                <a:lnTo>
                  <a:pt x="2360" y="2553"/>
                </a:lnTo>
                <a:lnTo>
                  <a:pt x="2358" y="2557"/>
                </a:lnTo>
                <a:lnTo>
                  <a:pt x="2356" y="2561"/>
                </a:lnTo>
                <a:lnTo>
                  <a:pt x="2326" y="2595"/>
                </a:lnTo>
                <a:lnTo>
                  <a:pt x="2307" y="2616"/>
                </a:lnTo>
                <a:lnTo>
                  <a:pt x="2295" y="2631"/>
                </a:lnTo>
                <a:lnTo>
                  <a:pt x="2292" y="2635"/>
                </a:lnTo>
                <a:lnTo>
                  <a:pt x="2292" y="2639"/>
                </a:lnTo>
                <a:lnTo>
                  <a:pt x="2292" y="2646"/>
                </a:lnTo>
                <a:lnTo>
                  <a:pt x="2297" y="2650"/>
                </a:lnTo>
                <a:lnTo>
                  <a:pt x="2307" y="2663"/>
                </a:lnTo>
                <a:lnTo>
                  <a:pt x="2324" y="2682"/>
                </a:lnTo>
                <a:lnTo>
                  <a:pt x="2343" y="2701"/>
                </a:lnTo>
                <a:lnTo>
                  <a:pt x="2362" y="2718"/>
                </a:lnTo>
                <a:lnTo>
                  <a:pt x="2362" y="2722"/>
                </a:lnTo>
                <a:lnTo>
                  <a:pt x="2364" y="2724"/>
                </a:lnTo>
                <a:lnTo>
                  <a:pt x="2364" y="2728"/>
                </a:lnTo>
                <a:lnTo>
                  <a:pt x="2362" y="2730"/>
                </a:lnTo>
                <a:lnTo>
                  <a:pt x="2358" y="2737"/>
                </a:lnTo>
                <a:lnTo>
                  <a:pt x="2350" y="2743"/>
                </a:lnTo>
                <a:lnTo>
                  <a:pt x="2348" y="2743"/>
                </a:lnTo>
                <a:lnTo>
                  <a:pt x="2343" y="2745"/>
                </a:lnTo>
                <a:close/>
                <a:moveTo>
                  <a:pt x="2113" y="3340"/>
                </a:moveTo>
                <a:lnTo>
                  <a:pt x="2104" y="3340"/>
                </a:lnTo>
                <a:lnTo>
                  <a:pt x="2093" y="3338"/>
                </a:lnTo>
                <a:lnTo>
                  <a:pt x="2085" y="3336"/>
                </a:lnTo>
                <a:lnTo>
                  <a:pt x="2077" y="3332"/>
                </a:lnTo>
                <a:lnTo>
                  <a:pt x="2070" y="3327"/>
                </a:lnTo>
                <a:lnTo>
                  <a:pt x="2062" y="3321"/>
                </a:lnTo>
                <a:lnTo>
                  <a:pt x="2055" y="3315"/>
                </a:lnTo>
                <a:lnTo>
                  <a:pt x="2049" y="3308"/>
                </a:lnTo>
                <a:lnTo>
                  <a:pt x="2043" y="3302"/>
                </a:lnTo>
                <a:lnTo>
                  <a:pt x="2038" y="3293"/>
                </a:lnTo>
                <a:lnTo>
                  <a:pt x="2030" y="3274"/>
                </a:lnTo>
                <a:lnTo>
                  <a:pt x="2026" y="3266"/>
                </a:lnTo>
                <a:lnTo>
                  <a:pt x="2024" y="3255"/>
                </a:lnTo>
                <a:lnTo>
                  <a:pt x="2022" y="3245"/>
                </a:lnTo>
                <a:lnTo>
                  <a:pt x="2022" y="3234"/>
                </a:lnTo>
                <a:lnTo>
                  <a:pt x="2022" y="3222"/>
                </a:lnTo>
                <a:lnTo>
                  <a:pt x="2024" y="3211"/>
                </a:lnTo>
                <a:lnTo>
                  <a:pt x="2026" y="3200"/>
                </a:lnTo>
                <a:lnTo>
                  <a:pt x="2030" y="3190"/>
                </a:lnTo>
                <a:lnTo>
                  <a:pt x="2034" y="3179"/>
                </a:lnTo>
                <a:lnTo>
                  <a:pt x="2038" y="3171"/>
                </a:lnTo>
                <a:lnTo>
                  <a:pt x="2045" y="3160"/>
                </a:lnTo>
                <a:lnTo>
                  <a:pt x="2049" y="3152"/>
                </a:lnTo>
                <a:lnTo>
                  <a:pt x="2058" y="3145"/>
                </a:lnTo>
                <a:lnTo>
                  <a:pt x="2064" y="3139"/>
                </a:lnTo>
                <a:lnTo>
                  <a:pt x="2072" y="3133"/>
                </a:lnTo>
                <a:lnTo>
                  <a:pt x="2081" y="3126"/>
                </a:lnTo>
                <a:lnTo>
                  <a:pt x="2089" y="3122"/>
                </a:lnTo>
                <a:lnTo>
                  <a:pt x="2100" y="3120"/>
                </a:lnTo>
                <a:lnTo>
                  <a:pt x="2108" y="3118"/>
                </a:lnTo>
                <a:lnTo>
                  <a:pt x="2119" y="3118"/>
                </a:lnTo>
                <a:lnTo>
                  <a:pt x="2129" y="3118"/>
                </a:lnTo>
                <a:lnTo>
                  <a:pt x="2136" y="3120"/>
                </a:lnTo>
                <a:lnTo>
                  <a:pt x="2140" y="3122"/>
                </a:lnTo>
                <a:lnTo>
                  <a:pt x="2151" y="3126"/>
                </a:lnTo>
                <a:lnTo>
                  <a:pt x="2157" y="3135"/>
                </a:lnTo>
                <a:lnTo>
                  <a:pt x="2163" y="3141"/>
                </a:lnTo>
                <a:lnTo>
                  <a:pt x="2168" y="3152"/>
                </a:lnTo>
                <a:lnTo>
                  <a:pt x="2172" y="3162"/>
                </a:lnTo>
                <a:lnTo>
                  <a:pt x="2172" y="3175"/>
                </a:lnTo>
                <a:lnTo>
                  <a:pt x="2172" y="3181"/>
                </a:lnTo>
                <a:lnTo>
                  <a:pt x="2170" y="3190"/>
                </a:lnTo>
                <a:lnTo>
                  <a:pt x="2168" y="3196"/>
                </a:lnTo>
                <a:lnTo>
                  <a:pt x="2165" y="3205"/>
                </a:lnTo>
                <a:lnTo>
                  <a:pt x="2161" y="3211"/>
                </a:lnTo>
                <a:lnTo>
                  <a:pt x="2157" y="3217"/>
                </a:lnTo>
                <a:lnTo>
                  <a:pt x="2146" y="3228"/>
                </a:lnTo>
                <a:lnTo>
                  <a:pt x="2140" y="3234"/>
                </a:lnTo>
                <a:lnTo>
                  <a:pt x="2134" y="3238"/>
                </a:lnTo>
                <a:lnTo>
                  <a:pt x="2119" y="3245"/>
                </a:lnTo>
                <a:lnTo>
                  <a:pt x="2113" y="3249"/>
                </a:lnTo>
                <a:lnTo>
                  <a:pt x="2104" y="3251"/>
                </a:lnTo>
                <a:lnTo>
                  <a:pt x="2089" y="3251"/>
                </a:lnTo>
                <a:lnTo>
                  <a:pt x="2083" y="3251"/>
                </a:lnTo>
                <a:lnTo>
                  <a:pt x="2081" y="3249"/>
                </a:lnTo>
                <a:lnTo>
                  <a:pt x="2079" y="3247"/>
                </a:lnTo>
                <a:lnTo>
                  <a:pt x="2077" y="3243"/>
                </a:lnTo>
                <a:lnTo>
                  <a:pt x="2074" y="3241"/>
                </a:lnTo>
                <a:lnTo>
                  <a:pt x="2074" y="3232"/>
                </a:lnTo>
                <a:lnTo>
                  <a:pt x="2074" y="3226"/>
                </a:lnTo>
                <a:lnTo>
                  <a:pt x="2077" y="3224"/>
                </a:lnTo>
                <a:lnTo>
                  <a:pt x="2079" y="3224"/>
                </a:lnTo>
                <a:lnTo>
                  <a:pt x="2091" y="3219"/>
                </a:lnTo>
                <a:lnTo>
                  <a:pt x="2104" y="3215"/>
                </a:lnTo>
                <a:lnTo>
                  <a:pt x="2115" y="3209"/>
                </a:lnTo>
                <a:lnTo>
                  <a:pt x="2123" y="3202"/>
                </a:lnTo>
                <a:lnTo>
                  <a:pt x="2129" y="3196"/>
                </a:lnTo>
                <a:lnTo>
                  <a:pt x="2134" y="3192"/>
                </a:lnTo>
                <a:lnTo>
                  <a:pt x="2136" y="3188"/>
                </a:lnTo>
                <a:lnTo>
                  <a:pt x="2140" y="3179"/>
                </a:lnTo>
                <a:lnTo>
                  <a:pt x="2140" y="3171"/>
                </a:lnTo>
                <a:lnTo>
                  <a:pt x="2140" y="3164"/>
                </a:lnTo>
                <a:lnTo>
                  <a:pt x="2138" y="3160"/>
                </a:lnTo>
                <a:lnTo>
                  <a:pt x="2136" y="3156"/>
                </a:lnTo>
                <a:lnTo>
                  <a:pt x="2134" y="3154"/>
                </a:lnTo>
                <a:lnTo>
                  <a:pt x="2129" y="3152"/>
                </a:lnTo>
                <a:lnTo>
                  <a:pt x="2125" y="3150"/>
                </a:lnTo>
                <a:lnTo>
                  <a:pt x="2117" y="3147"/>
                </a:lnTo>
                <a:lnTo>
                  <a:pt x="2106" y="3150"/>
                </a:lnTo>
                <a:lnTo>
                  <a:pt x="2100" y="3152"/>
                </a:lnTo>
                <a:lnTo>
                  <a:pt x="2096" y="3154"/>
                </a:lnTo>
                <a:lnTo>
                  <a:pt x="2089" y="3158"/>
                </a:lnTo>
                <a:lnTo>
                  <a:pt x="2085" y="3162"/>
                </a:lnTo>
                <a:lnTo>
                  <a:pt x="2074" y="3173"/>
                </a:lnTo>
                <a:lnTo>
                  <a:pt x="2070" y="3179"/>
                </a:lnTo>
                <a:lnTo>
                  <a:pt x="2068" y="3186"/>
                </a:lnTo>
                <a:lnTo>
                  <a:pt x="2062" y="3198"/>
                </a:lnTo>
                <a:lnTo>
                  <a:pt x="2058" y="3215"/>
                </a:lnTo>
                <a:lnTo>
                  <a:pt x="2055" y="3224"/>
                </a:lnTo>
                <a:lnTo>
                  <a:pt x="2055" y="3232"/>
                </a:lnTo>
                <a:lnTo>
                  <a:pt x="2058" y="3247"/>
                </a:lnTo>
                <a:lnTo>
                  <a:pt x="2058" y="3253"/>
                </a:lnTo>
                <a:lnTo>
                  <a:pt x="2060" y="3262"/>
                </a:lnTo>
                <a:lnTo>
                  <a:pt x="2064" y="3272"/>
                </a:lnTo>
                <a:lnTo>
                  <a:pt x="2072" y="3283"/>
                </a:lnTo>
                <a:lnTo>
                  <a:pt x="2081" y="3291"/>
                </a:lnTo>
                <a:lnTo>
                  <a:pt x="2085" y="3296"/>
                </a:lnTo>
                <a:lnTo>
                  <a:pt x="2089" y="3298"/>
                </a:lnTo>
                <a:lnTo>
                  <a:pt x="2102" y="3302"/>
                </a:lnTo>
                <a:lnTo>
                  <a:pt x="2108" y="3304"/>
                </a:lnTo>
                <a:lnTo>
                  <a:pt x="2115" y="3304"/>
                </a:lnTo>
                <a:lnTo>
                  <a:pt x="2125" y="3302"/>
                </a:lnTo>
                <a:lnTo>
                  <a:pt x="2138" y="3300"/>
                </a:lnTo>
                <a:lnTo>
                  <a:pt x="2144" y="3296"/>
                </a:lnTo>
                <a:lnTo>
                  <a:pt x="2149" y="3293"/>
                </a:lnTo>
                <a:lnTo>
                  <a:pt x="2159" y="3285"/>
                </a:lnTo>
                <a:lnTo>
                  <a:pt x="2170" y="3277"/>
                </a:lnTo>
                <a:lnTo>
                  <a:pt x="2178" y="3266"/>
                </a:lnTo>
                <a:lnTo>
                  <a:pt x="2185" y="3255"/>
                </a:lnTo>
                <a:lnTo>
                  <a:pt x="2193" y="3243"/>
                </a:lnTo>
                <a:lnTo>
                  <a:pt x="2199" y="3228"/>
                </a:lnTo>
                <a:lnTo>
                  <a:pt x="2204" y="3213"/>
                </a:lnTo>
                <a:lnTo>
                  <a:pt x="2208" y="3200"/>
                </a:lnTo>
                <a:lnTo>
                  <a:pt x="2212" y="3186"/>
                </a:lnTo>
                <a:lnTo>
                  <a:pt x="2214" y="3171"/>
                </a:lnTo>
                <a:lnTo>
                  <a:pt x="2216" y="3156"/>
                </a:lnTo>
                <a:lnTo>
                  <a:pt x="2216" y="3143"/>
                </a:lnTo>
                <a:lnTo>
                  <a:pt x="2216" y="3130"/>
                </a:lnTo>
                <a:lnTo>
                  <a:pt x="2216" y="3126"/>
                </a:lnTo>
                <a:lnTo>
                  <a:pt x="2221" y="3124"/>
                </a:lnTo>
                <a:lnTo>
                  <a:pt x="2225" y="3124"/>
                </a:lnTo>
                <a:lnTo>
                  <a:pt x="2229" y="3122"/>
                </a:lnTo>
                <a:lnTo>
                  <a:pt x="2237" y="3124"/>
                </a:lnTo>
                <a:lnTo>
                  <a:pt x="2242" y="3126"/>
                </a:lnTo>
                <a:lnTo>
                  <a:pt x="2244" y="3128"/>
                </a:lnTo>
                <a:lnTo>
                  <a:pt x="2248" y="3137"/>
                </a:lnTo>
                <a:lnTo>
                  <a:pt x="2250" y="3141"/>
                </a:lnTo>
                <a:lnTo>
                  <a:pt x="2250" y="3150"/>
                </a:lnTo>
                <a:lnTo>
                  <a:pt x="2248" y="3166"/>
                </a:lnTo>
                <a:lnTo>
                  <a:pt x="2246" y="3186"/>
                </a:lnTo>
                <a:lnTo>
                  <a:pt x="2244" y="3205"/>
                </a:lnTo>
                <a:lnTo>
                  <a:pt x="2240" y="3222"/>
                </a:lnTo>
                <a:lnTo>
                  <a:pt x="2233" y="3238"/>
                </a:lnTo>
                <a:lnTo>
                  <a:pt x="2227" y="3253"/>
                </a:lnTo>
                <a:lnTo>
                  <a:pt x="2218" y="3268"/>
                </a:lnTo>
                <a:lnTo>
                  <a:pt x="2210" y="3283"/>
                </a:lnTo>
                <a:lnTo>
                  <a:pt x="2201" y="3293"/>
                </a:lnTo>
                <a:lnTo>
                  <a:pt x="2195" y="3300"/>
                </a:lnTo>
                <a:lnTo>
                  <a:pt x="2191" y="3306"/>
                </a:lnTo>
                <a:lnTo>
                  <a:pt x="2178" y="3315"/>
                </a:lnTo>
                <a:lnTo>
                  <a:pt x="2168" y="3323"/>
                </a:lnTo>
                <a:lnTo>
                  <a:pt x="2155" y="3332"/>
                </a:lnTo>
                <a:lnTo>
                  <a:pt x="2142" y="3336"/>
                </a:lnTo>
                <a:lnTo>
                  <a:pt x="2127" y="3338"/>
                </a:lnTo>
                <a:lnTo>
                  <a:pt x="2113" y="3340"/>
                </a:lnTo>
                <a:close/>
                <a:moveTo>
                  <a:pt x="2343" y="3336"/>
                </a:moveTo>
                <a:lnTo>
                  <a:pt x="2337" y="3334"/>
                </a:lnTo>
                <a:lnTo>
                  <a:pt x="2328" y="3327"/>
                </a:lnTo>
                <a:lnTo>
                  <a:pt x="2312" y="3313"/>
                </a:lnTo>
                <a:lnTo>
                  <a:pt x="2292" y="3293"/>
                </a:lnTo>
                <a:lnTo>
                  <a:pt x="2273" y="3272"/>
                </a:lnTo>
                <a:lnTo>
                  <a:pt x="2267" y="3264"/>
                </a:lnTo>
                <a:lnTo>
                  <a:pt x="2263" y="3257"/>
                </a:lnTo>
                <a:lnTo>
                  <a:pt x="2256" y="3245"/>
                </a:lnTo>
                <a:lnTo>
                  <a:pt x="2256" y="3238"/>
                </a:lnTo>
                <a:lnTo>
                  <a:pt x="2254" y="3234"/>
                </a:lnTo>
                <a:lnTo>
                  <a:pt x="2256" y="3226"/>
                </a:lnTo>
                <a:lnTo>
                  <a:pt x="2259" y="3219"/>
                </a:lnTo>
                <a:lnTo>
                  <a:pt x="2261" y="3211"/>
                </a:lnTo>
                <a:lnTo>
                  <a:pt x="2267" y="3205"/>
                </a:lnTo>
                <a:lnTo>
                  <a:pt x="2278" y="3190"/>
                </a:lnTo>
                <a:lnTo>
                  <a:pt x="2297" y="3169"/>
                </a:lnTo>
                <a:lnTo>
                  <a:pt x="2339" y="3120"/>
                </a:lnTo>
                <a:lnTo>
                  <a:pt x="2345" y="3122"/>
                </a:lnTo>
                <a:lnTo>
                  <a:pt x="2352" y="3124"/>
                </a:lnTo>
                <a:lnTo>
                  <a:pt x="2356" y="3128"/>
                </a:lnTo>
                <a:lnTo>
                  <a:pt x="2360" y="3133"/>
                </a:lnTo>
                <a:lnTo>
                  <a:pt x="2360" y="3139"/>
                </a:lnTo>
                <a:lnTo>
                  <a:pt x="2360" y="3145"/>
                </a:lnTo>
                <a:lnTo>
                  <a:pt x="2358" y="3150"/>
                </a:lnTo>
                <a:lnTo>
                  <a:pt x="2356" y="3152"/>
                </a:lnTo>
                <a:lnTo>
                  <a:pt x="2326" y="3188"/>
                </a:lnTo>
                <a:lnTo>
                  <a:pt x="2307" y="3207"/>
                </a:lnTo>
                <a:lnTo>
                  <a:pt x="2295" y="3224"/>
                </a:lnTo>
                <a:lnTo>
                  <a:pt x="2292" y="3228"/>
                </a:lnTo>
                <a:lnTo>
                  <a:pt x="2292" y="3232"/>
                </a:lnTo>
                <a:lnTo>
                  <a:pt x="2292" y="3236"/>
                </a:lnTo>
                <a:lnTo>
                  <a:pt x="2297" y="3243"/>
                </a:lnTo>
                <a:lnTo>
                  <a:pt x="2307" y="3255"/>
                </a:lnTo>
                <a:lnTo>
                  <a:pt x="2324" y="3272"/>
                </a:lnTo>
                <a:lnTo>
                  <a:pt x="2343" y="3291"/>
                </a:lnTo>
                <a:lnTo>
                  <a:pt x="2362" y="3310"/>
                </a:lnTo>
                <a:lnTo>
                  <a:pt x="2362" y="3313"/>
                </a:lnTo>
                <a:lnTo>
                  <a:pt x="2364" y="3317"/>
                </a:lnTo>
                <a:lnTo>
                  <a:pt x="2364" y="3319"/>
                </a:lnTo>
                <a:lnTo>
                  <a:pt x="2362" y="3323"/>
                </a:lnTo>
                <a:lnTo>
                  <a:pt x="2358" y="3329"/>
                </a:lnTo>
                <a:lnTo>
                  <a:pt x="2350" y="3334"/>
                </a:lnTo>
                <a:lnTo>
                  <a:pt x="2348" y="3336"/>
                </a:lnTo>
                <a:lnTo>
                  <a:pt x="2343" y="3336"/>
                </a:lnTo>
                <a:close/>
                <a:moveTo>
                  <a:pt x="2201" y="3793"/>
                </a:moveTo>
                <a:lnTo>
                  <a:pt x="2210" y="3770"/>
                </a:lnTo>
                <a:lnTo>
                  <a:pt x="2214" y="3746"/>
                </a:lnTo>
                <a:lnTo>
                  <a:pt x="2214" y="3736"/>
                </a:lnTo>
                <a:lnTo>
                  <a:pt x="2216" y="3725"/>
                </a:lnTo>
                <a:lnTo>
                  <a:pt x="2216" y="3704"/>
                </a:lnTo>
                <a:lnTo>
                  <a:pt x="2216" y="3702"/>
                </a:lnTo>
                <a:lnTo>
                  <a:pt x="2221" y="3700"/>
                </a:lnTo>
                <a:lnTo>
                  <a:pt x="2225" y="3698"/>
                </a:lnTo>
                <a:lnTo>
                  <a:pt x="2229" y="3698"/>
                </a:lnTo>
                <a:lnTo>
                  <a:pt x="2237" y="3698"/>
                </a:lnTo>
                <a:lnTo>
                  <a:pt x="2242" y="3700"/>
                </a:lnTo>
                <a:lnTo>
                  <a:pt x="2244" y="3702"/>
                </a:lnTo>
                <a:lnTo>
                  <a:pt x="2248" y="3710"/>
                </a:lnTo>
                <a:lnTo>
                  <a:pt x="2250" y="3717"/>
                </a:lnTo>
                <a:lnTo>
                  <a:pt x="2250" y="3723"/>
                </a:lnTo>
                <a:lnTo>
                  <a:pt x="2248" y="3740"/>
                </a:lnTo>
                <a:lnTo>
                  <a:pt x="2246" y="3759"/>
                </a:lnTo>
                <a:lnTo>
                  <a:pt x="2244" y="3776"/>
                </a:lnTo>
                <a:lnTo>
                  <a:pt x="2240" y="3793"/>
                </a:lnTo>
                <a:lnTo>
                  <a:pt x="2201" y="3793"/>
                </a:lnTo>
                <a:close/>
                <a:moveTo>
                  <a:pt x="2024" y="3793"/>
                </a:moveTo>
                <a:lnTo>
                  <a:pt x="2024" y="3782"/>
                </a:lnTo>
                <a:lnTo>
                  <a:pt x="2026" y="3774"/>
                </a:lnTo>
                <a:lnTo>
                  <a:pt x="2030" y="3763"/>
                </a:lnTo>
                <a:lnTo>
                  <a:pt x="2034" y="3755"/>
                </a:lnTo>
                <a:lnTo>
                  <a:pt x="2043" y="3738"/>
                </a:lnTo>
                <a:lnTo>
                  <a:pt x="2055" y="3721"/>
                </a:lnTo>
                <a:lnTo>
                  <a:pt x="2062" y="3715"/>
                </a:lnTo>
                <a:lnTo>
                  <a:pt x="2068" y="3708"/>
                </a:lnTo>
                <a:lnTo>
                  <a:pt x="2077" y="3704"/>
                </a:lnTo>
                <a:lnTo>
                  <a:pt x="2083" y="3700"/>
                </a:lnTo>
                <a:lnTo>
                  <a:pt x="2091" y="3696"/>
                </a:lnTo>
                <a:lnTo>
                  <a:pt x="2100" y="3694"/>
                </a:lnTo>
                <a:lnTo>
                  <a:pt x="2108" y="3691"/>
                </a:lnTo>
                <a:lnTo>
                  <a:pt x="2119" y="3691"/>
                </a:lnTo>
                <a:lnTo>
                  <a:pt x="2129" y="3694"/>
                </a:lnTo>
                <a:lnTo>
                  <a:pt x="2136" y="3694"/>
                </a:lnTo>
                <a:lnTo>
                  <a:pt x="2140" y="3696"/>
                </a:lnTo>
                <a:lnTo>
                  <a:pt x="2151" y="3702"/>
                </a:lnTo>
                <a:lnTo>
                  <a:pt x="2157" y="3708"/>
                </a:lnTo>
                <a:lnTo>
                  <a:pt x="2163" y="3717"/>
                </a:lnTo>
                <a:lnTo>
                  <a:pt x="2168" y="3725"/>
                </a:lnTo>
                <a:lnTo>
                  <a:pt x="2172" y="3738"/>
                </a:lnTo>
                <a:lnTo>
                  <a:pt x="2172" y="3749"/>
                </a:lnTo>
                <a:lnTo>
                  <a:pt x="2172" y="3761"/>
                </a:lnTo>
                <a:lnTo>
                  <a:pt x="2168" y="3772"/>
                </a:lnTo>
                <a:lnTo>
                  <a:pt x="2163" y="3782"/>
                </a:lnTo>
                <a:lnTo>
                  <a:pt x="2155" y="3793"/>
                </a:lnTo>
                <a:lnTo>
                  <a:pt x="2096" y="3793"/>
                </a:lnTo>
                <a:lnTo>
                  <a:pt x="2106" y="3789"/>
                </a:lnTo>
                <a:lnTo>
                  <a:pt x="2115" y="3785"/>
                </a:lnTo>
                <a:lnTo>
                  <a:pt x="2121" y="3778"/>
                </a:lnTo>
                <a:lnTo>
                  <a:pt x="2127" y="3772"/>
                </a:lnTo>
                <a:lnTo>
                  <a:pt x="2134" y="3765"/>
                </a:lnTo>
                <a:lnTo>
                  <a:pt x="2138" y="3759"/>
                </a:lnTo>
                <a:lnTo>
                  <a:pt x="2140" y="3751"/>
                </a:lnTo>
                <a:lnTo>
                  <a:pt x="2140" y="3744"/>
                </a:lnTo>
                <a:lnTo>
                  <a:pt x="2140" y="3740"/>
                </a:lnTo>
                <a:lnTo>
                  <a:pt x="2138" y="3734"/>
                </a:lnTo>
                <a:lnTo>
                  <a:pt x="2136" y="3732"/>
                </a:lnTo>
                <a:lnTo>
                  <a:pt x="2134" y="3727"/>
                </a:lnTo>
                <a:lnTo>
                  <a:pt x="2129" y="3725"/>
                </a:lnTo>
                <a:lnTo>
                  <a:pt x="2125" y="3723"/>
                </a:lnTo>
                <a:lnTo>
                  <a:pt x="2117" y="3721"/>
                </a:lnTo>
                <a:lnTo>
                  <a:pt x="2106" y="3723"/>
                </a:lnTo>
                <a:lnTo>
                  <a:pt x="2102" y="3725"/>
                </a:lnTo>
                <a:lnTo>
                  <a:pt x="2098" y="3727"/>
                </a:lnTo>
                <a:lnTo>
                  <a:pt x="2087" y="3734"/>
                </a:lnTo>
                <a:lnTo>
                  <a:pt x="2079" y="3742"/>
                </a:lnTo>
                <a:lnTo>
                  <a:pt x="2070" y="3753"/>
                </a:lnTo>
                <a:lnTo>
                  <a:pt x="2068" y="3759"/>
                </a:lnTo>
                <a:lnTo>
                  <a:pt x="2064" y="3765"/>
                </a:lnTo>
                <a:lnTo>
                  <a:pt x="2060" y="3778"/>
                </a:lnTo>
                <a:lnTo>
                  <a:pt x="2058" y="3793"/>
                </a:lnTo>
                <a:lnTo>
                  <a:pt x="2024" y="3793"/>
                </a:lnTo>
                <a:close/>
                <a:moveTo>
                  <a:pt x="2259" y="3793"/>
                </a:moveTo>
                <a:lnTo>
                  <a:pt x="2263" y="3785"/>
                </a:lnTo>
                <a:lnTo>
                  <a:pt x="2267" y="3778"/>
                </a:lnTo>
                <a:lnTo>
                  <a:pt x="2278" y="3763"/>
                </a:lnTo>
                <a:lnTo>
                  <a:pt x="2297" y="3742"/>
                </a:lnTo>
                <a:lnTo>
                  <a:pt x="2339" y="3696"/>
                </a:lnTo>
                <a:lnTo>
                  <a:pt x="2345" y="3696"/>
                </a:lnTo>
                <a:lnTo>
                  <a:pt x="2352" y="3698"/>
                </a:lnTo>
                <a:lnTo>
                  <a:pt x="2356" y="3702"/>
                </a:lnTo>
                <a:lnTo>
                  <a:pt x="2360" y="3708"/>
                </a:lnTo>
                <a:lnTo>
                  <a:pt x="2360" y="3713"/>
                </a:lnTo>
                <a:lnTo>
                  <a:pt x="2360" y="3719"/>
                </a:lnTo>
                <a:lnTo>
                  <a:pt x="2358" y="3723"/>
                </a:lnTo>
                <a:lnTo>
                  <a:pt x="2356" y="3727"/>
                </a:lnTo>
                <a:lnTo>
                  <a:pt x="2328" y="3757"/>
                </a:lnTo>
                <a:lnTo>
                  <a:pt x="2312" y="3776"/>
                </a:lnTo>
                <a:lnTo>
                  <a:pt x="2299" y="3793"/>
                </a:lnTo>
                <a:lnTo>
                  <a:pt x="2259" y="3793"/>
                </a:lnTo>
                <a:close/>
                <a:moveTo>
                  <a:pt x="754" y="2747"/>
                </a:moveTo>
                <a:lnTo>
                  <a:pt x="743" y="2747"/>
                </a:lnTo>
                <a:lnTo>
                  <a:pt x="735" y="2745"/>
                </a:lnTo>
                <a:lnTo>
                  <a:pt x="726" y="2743"/>
                </a:lnTo>
                <a:lnTo>
                  <a:pt x="718" y="2739"/>
                </a:lnTo>
                <a:lnTo>
                  <a:pt x="709" y="2735"/>
                </a:lnTo>
                <a:lnTo>
                  <a:pt x="703" y="2730"/>
                </a:lnTo>
                <a:lnTo>
                  <a:pt x="696" y="2724"/>
                </a:lnTo>
                <a:lnTo>
                  <a:pt x="690" y="2718"/>
                </a:lnTo>
                <a:lnTo>
                  <a:pt x="684" y="2709"/>
                </a:lnTo>
                <a:lnTo>
                  <a:pt x="677" y="2701"/>
                </a:lnTo>
                <a:lnTo>
                  <a:pt x="669" y="2684"/>
                </a:lnTo>
                <a:lnTo>
                  <a:pt x="667" y="2673"/>
                </a:lnTo>
                <a:lnTo>
                  <a:pt x="665" y="2663"/>
                </a:lnTo>
                <a:lnTo>
                  <a:pt x="663" y="2652"/>
                </a:lnTo>
                <a:lnTo>
                  <a:pt x="663" y="2642"/>
                </a:lnTo>
                <a:lnTo>
                  <a:pt x="663" y="2631"/>
                </a:lnTo>
                <a:lnTo>
                  <a:pt x="665" y="2620"/>
                </a:lnTo>
                <a:lnTo>
                  <a:pt x="667" y="2608"/>
                </a:lnTo>
                <a:lnTo>
                  <a:pt x="671" y="2597"/>
                </a:lnTo>
                <a:lnTo>
                  <a:pt x="673" y="2589"/>
                </a:lnTo>
                <a:lnTo>
                  <a:pt x="679" y="2578"/>
                </a:lnTo>
                <a:lnTo>
                  <a:pt x="684" y="2570"/>
                </a:lnTo>
                <a:lnTo>
                  <a:pt x="690" y="2561"/>
                </a:lnTo>
                <a:lnTo>
                  <a:pt x="696" y="2553"/>
                </a:lnTo>
                <a:lnTo>
                  <a:pt x="705" y="2546"/>
                </a:lnTo>
                <a:lnTo>
                  <a:pt x="713" y="2540"/>
                </a:lnTo>
                <a:lnTo>
                  <a:pt x="722" y="2536"/>
                </a:lnTo>
                <a:lnTo>
                  <a:pt x="730" y="2531"/>
                </a:lnTo>
                <a:lnTo>
                  <a:pt x="739" y="2527"/>
                </a:lnTo>
                <a:lnTo>
                  <a:pt x="749" y="2527"/>
                </a:lnTo>
                <a:lnTo>
                  <a:pt x="760" y="2525"/>
                </a:lnTo>
                <a:lnTo>
                  <a:pt x="771" y="2527"/>
                </a:lnTo>
                <a:lnTo>
                  <a:pt x="777" y="2527"/>
                </a:lnTo>
                <a:lnTo>
                  <a:pt x="781" y="2529"/>
                </a:lnTo>
                <a:lnTo>
                  <a:pt x="792" y="2536"/>
                </a:lnTo>
                <a:lnTo>
                  <a:pt x="798" y="2542"/>
                </a:lnTo>
                <a:lnTo>
                  <a:pt x="804" y="2551"/>
                </a:lnTo>
                <a:lnTo>
                  <a:pt x="809" y="2561"/>
                </a:lnTo>
                <a:lnTo>
                  <a:pt x="813" y="2572"/>
                </a:lnTo>
                <a:lnTo>
                  <a:pt x="813" y="2582"/>
                </a:lnTo>
                <a:lnTo>
                  <a:pt x="813" y="2591"/>
                </a:lnTo>
                <a:lnTo>
                  <a:pt x="811" y="2597"/>
                </a:lnTo>
                <a:lnTo>
                  <a:pt x="809" y="2606"/>
                </a:lnTo>
                <a:lnTo>
                  <a:pt x="806" y="2612"/>
                </a:lnTo>
                <a:lnTo>
                  <a:pt x="802" y="2618"/>
                </a:lnTo>
                <a:lnTo>
                  <a:pt x="798" y="2625"/>
                </a:lnTo>
                <a:lnTo>
                  <a:pt x="787" y="2637"/>
                </a:lnTo>
                <a:lnTo>
                  <a:pt x="781" y="2642"/>
                </a:lnTo>
                <a:lnTo>
                  <a:pt x="775" y="2646"/>
                </a:lnTo>
                <a:lnTo>
                  <a:pt x="760" y="2654"/>
                </a:lnTo>
                <a:lnTo>
                  <a:pt x="754" y="2656"/>
                </a:lnTo>
                <a:lnTo>
                  <a:pt x="745" y="2658"/>
                </a:lnTo>
                <a:lnTo>
                  <a:pt x="730" y="2661"/>
                </a:lnTo>
                <a:lnTo>
                  <a:pt x="724" y="2658"/>
                </a:lnTo>
                <a:lnTo>
                  <a:pt x="722" y="2656"/>
                </a:lnTo>
                <a:lnTo>
                  <a:pt x="720" y="2654"/>
                </a:lnTo>
                <a:lnTo>
                  <a:pt x="718" y="2652"/>
                </a:lnTo>
                <a:lnTo>
                  <a:pt x="715" y="2648"/>
                </a:lnTo>
                <a:lnTo>
                  <a:pt x="715" y="2642"/>
                </a:lnTo>
                <a:lnTo>
                  <a:pt x="715" y="2635"/>
                </a:lnTo>
                <a:lnTo>
                  <a:pt x="718" y="2633"/>
                </a:lnTo>
                <a:lnTo>
                  <a:pt x="720" y="2631"/>
                </a:lnTo>
                <a:lnTo>
                  <a:pt x="732" y="2629"/>
                </a:lnTo>
                <a:lnTo>
                  <a:pt x="743" y="2625"/>
                </a:lnTo>
                <a:lnTo>
                  <a:pt x="754" y="2618"/>
                </a:lnTo>
                <a:lnTo>
                  <a:pt x="764" y="2612"/>
                </a:lnTo>
                <a:lnTo>
                  <a:pt x="771" y="2603"/>
                </a:lnTo>
                <a:lnTo>
                  <a:pt x="775" y="2599"/>
                </a:lnTo>
                <a:lnTo>
                  <a:pt x="777" y="2595"/>
                </a:lnTo>
                <a:lnTo>
                  <a:pt x="779" y="2587"/>
                </a:lnTo>
                <a:lnTo>
                  <a:pt x="781" y="2578"/>
                </a:lnTo>
                <a:lnTo>
                  <a:pt x="781" y="2574"/>
                </a:lnTo>
                <a:lnTo>
                  <a:pt x="779" y="2570"/>
                </a:lnTo>
                <a:lnTo>
                  <a:pt x="777" y="2565"/>
                </a:lnTo>
                <a:lnTo>
                  <a:pt x="775" y="2561"/>
                </a:lnTo>
                <a:lnTo>
                  <a:pt x="771" y="2559"/>
                </a:lnTo>
                <a:lnTo>
                  <a:pt x="766" y="2557"/>
                </a:lnTo>
                <a:lnTo>
                  <a:pt x="756" y="2555"/>
                </a:lnTo>
                <a:lnTo>
                  <a:pt x="745" y="2557"/>
                </a:lnTo>
                <a:lnTo>
                  <a:pt x="741" y="2559"/>
                </a:lnTo>
                <a:lnTo>
                  <a:pt x="735" y="2563"/>
                </a:lnTo>
                <a:lnTo>
                  <a:pt x="730" y="2565"/>
                </a:lnTo>
                <a:lnTo>
                  <a:pt x="726" y="2570"/>
                </a:lnTo>
                <a:lnTo>
                  <a:pt x="715" y="2580"/>
                </a:lnTo>
                <a:lnTo>
                  <a:pt x="711" y="2587"/>
                </a:lnTo>
                <a:lnTo>
                  <a:pt x="707" y="2593"/>
                </a:lnTo>
                <a:lnTo>
                  <a:pt x="703" y="2608"/>
                </a:lnTo>
                <a:lnTo>
                  <a:pt x="699" y="2623"/>
                </a:lnTo>
                <a:lnTo>
                  <a:pt x="696" y="2631"/>
                </a:lnTo>
                <a:lnTo>
                  <a:pt x="696" y="2639"/>
                </a:lnTo>
                <a:lnTo>
                  <a:pt x="696" y="2654"/>
                </a:lnTo>
                <a:lnTo>
                  <a:pt x="699" y="2663"/>
                </a:lnTo>
                <a:lnTo>
                  <a:pt x="701" y="2669"/>
                </a:lnTo>
                <a:lnTo>
                  <a:pt x="705" y="2682"/>
                </a:lnTo>
                <a:lnTo>
                  <a:pt x="711" y="2692"/>
                </a:lnTo>
                <a:lnTo>
                  <a:pt x="720" y="2701"/>
                </a:lnTo>
                <a:lnTo>
                  <a:pt x="726" y="2703"/>
                </a:lnTo>
                <a:lnTo>
                  <a:pt x="730" y="2707"/>
                </a:lnTo>
                <a:lnTo>
                  <a:pt x="741" y="2711"/>
                </a:lnTo>
                <a:lnTo>
                  <a:pt x="747" y="2711"/>
                </a:lnTo>
                <a:lnTo>
                  <a:pt x="754" y="2711"/>
                </a:lnTo>
                <a:lnTo>
                  <a:pt x="766" y="2711"/>
                </a:lnTo>
                <a:lnTo>
                  <a:pt x="779" y="2707"/>
                </a:lnTo>
                <a:lnTo>
                  <a:pt x="785" y="2705"/>
                </a:lnTo>
                <a:lnTo>
                  <a:pt x="790" y="2701"/>
                </a:lnTo>
                <a:lnTo>
                  <a:pt x="800" y="2694"/>
                </a:lnTo>
                <a:lnTo>
                  <a:pt x="809" y="2686"/>
                </a:lnTo>
                <a:lnTo>
                  <a:pt x="817" y="2675"/>
                </a:lnTo>
                <a:lnTo>
                  <a:pt x="826" y="2663"/>
                </a:lnTo>
                <a:lnTo>
                  <a:pt x="832" y="2650"/>
                </a:lnTo>
                <a:lnTo>
                  <a:pt x="838" y="2637"/>
                </a:lnTo>
                <a:lnTo>
                  <a:pt x="845" y="2623"/>
                </a:lnTo>
                <a:lnTo>
                  <a:pt x="849" y="2608"/>
                </a:lnTo>
                <a:lnTo>
                  <a:pt x="851" y="2593"/>
                </a:lnTo>
                <a:lnTo>
                  <a:pt x="855" y="2578"/>
                </a:lnTo>
                <a:lnTo>
                  <a:pt x="855" y="2565"/>
                </a:lnTo>
                <a:lnTo>
                  <a:pt x="857" y="2551"/>
                </a:lnTo>
                <a:lnTo>
                  <a:pt x="855" y="2538"/>
                </a:lnTo>
                <a:lnTo>
                  <a:pt x="857" y="2536"/>
                </a:lnTo>
                <a:lnTo>
                  <a:pt x="862" y="2534"/>
                </a:lnTo>
                <a:lnTo>
                  <a:pt x="866" y="2531"/>
                </a:lnTo>
                <a:lnTo>
                  <a:pt x="870" y="2531"/>
                </a:lnTo>
                <a:lnTo>
                  <a:pt x="878" y="2531"/>
                </a:lnTo>
                <a:lnTo>
                  <a:pt x="881" y="2534"/>
                </a:lnTo>
                <a:lnTo>
                  <a:pt x="885" y="2536"/>
                </a:lnTo>
                <a:lnTo>
                  <a:pt x="889" y="2544"/>
                </a:lnTo>
                <a:lnTo>
                  <a:pt x="889" y="2551"/>
                </a:lnTo>
                <a:lnTo>
                  <a:pt x="891" y="2557"/>
                </a:lnTo>
                <a:lnTo>
                  <a:pt x="889" y="2576"/>
                </a:lnTo>
                <a:lnTo>
                  <a:pt x="887" y="2595"/>
                </a:lnTo>
                <a:lnTo>
                  <a:pt x="883" y="2612"/>
                </a:lnTo>
                <a:lnTo>
                  <a:pt x="878" y="2629"/>
                </a:lnTo>
                <a:lnTo>
                  <a:pt x="874" y="2646"/>
                </a:lnTo>
                <a:lnTo>
                  <a:pt x="868" y="2661"/>
                </a:lnTo>
                <a:lnTo>
                  <a:pt x="859" y="2675"/>
                </a:lnTo>
                <a:lnTo>
                  <a:pt x="851" y="2690"/>
                </a:lnTo>
                <a:lnTo>
                  <a:pt x="840" y="2703"/>
                </a:lnTo>
                <a:lnTo>
                  <a:pt x="836" y="2709"/>
                </a:lnTo>
                <a:lnTo>
                  <a:pt x="832" y="2714"/>
                </a:lnTo>
                <a:lnTo>
                  <a:pt x="819" y="2724"/>
                </a:lnTo>
                <a:lnTo>
                  <a:pt x="809" y="2733"/>
                </a:lnTo>
                <a:lnTo>
                  <a:pt x="796" y="2739"/>
                </a:lnTo>
                <a:lnTo>
                  <a:pt x="781" y="2743"/>
                </a:lnTo>
                <a:lnTo>
                  <a:pt x="768" y="2747"/>
                </a:lnTo>
                <a:lnTo>
                  <a:pt x="754" y="2747"/>
                </a:lnTo>
                <a:close/>
                <a:moveTo>
                  <a:pt x="984" y="2745"/>
                </a:moveTo>
                <a:lnTo>
                  <a:pt x="978" y="2743"/>
                </a:lnTo>
                <a:lnTo>
                  <a:pt x="969" y="2737"/>
                </a:lnTo>
                <a:lnTo>
                  <a:pt x="953" y="2722"/>
                </a:lnTo>
                <a:lnTo>
                  <a:pt x="934" y="2701"/>
                </a:lnTo>
                <a:lnTo>
                  <a:pt x="914" y="2682"/>
                </a:lnTo>
                <a:lnTo>
                  <a:pt x="908" y="2673"/>
                </a:lnTo>
                <a:lnTo>
                  <a:pt x="904" y="2665"/>
                </a:lnTo>
                <a:lnTo>
                  <a:pt x="898" y="2654"/>
                </a:lnTo>
                <a:lnTo>
                  <a:pt x="895" y="2648"/>
                </a:lnTo>
                <a:lnTo>
                  <a:pt x="895" y="2642"/>
                </a:lnTo>
                <a:lnTo>
                  <a:pt x="898" y="2635"/>
                </a:lnTo>
                <a:lnTo>
                  <a:pt x="900" y="2629"/>
                </a:lnTo>
                <a:lnTo>
                  <a:pt x="902" y="2620"/>
                </a:lnTo>
                <a:lnTo>
                  <a:pt x="908" y="2612"/>
                </a:lnTo>
                <a:lnTo>
                  <a:pt x="919" y="2597"/>
                </a:lnTo>
                <a:lnTo>
                  <a:pt x="938" y="2576"/>
                </a:lnTo>
                <a:lnTo>
                  <a:pt x="980" y="2529"/>
                </a:lnTo>
                <a:lnTo>
                  <a:pt x="984" y="2529"/>
                </a:lnTo>
                <a:lnTo>
                  <a:pt x="991" y="2531"/>
                </a:lnTo>
                <a:lnTo>
                  <a:pt x="997" y="2536"/>
                </a:lnTo>
                <a:lnTo>
                  <a:pt x="1001" y="2542"/>
                </a:lnTo>
                <a:lnTo>
                  <a:pt x="1001" y="2546"/>
                </a:lnTo>
                <a:lnTo>
                  <a:pt x="999" y="2553"/>
                </a:lnTo>
                <a:lnTo>
                  <a:pt x="999" y="2557"/>
                </a:lnTo>
                <a:lnTo>
                  <a:pt x="997" y="2561"/>
                </a:lnTo>
                <a:lnTo>
                  <a:pt x="967" y="2595"/>
                </a:lnTo>
                <a:lnTo>
                  <a:pt x="948" y="2616"/>
                </a:lnTo>
                <a:lnTo>
                  <a:pt x="936" y="2631"/>
                </a:lnTo>
                <a:lnTo>
                  <a:pt x="934" y="2635"/>
                </a:lnTo>
                <a:lnTo>
                  <a:pt x="931" y="2639"/>
                </a:lnTo>
                <a:lnTo>
                  <a:pt x="934" y="2646"/>
                </a:lnTo>
                <a:lnTo>
                  <a:pt x="936" y="2650"/>
                </a:lnTo>
                <a:lnTo>
                  <a:pt x="948" y="2663"/>
                </a:lnTo>
                <a:lnTo>
                  <a:pt x="963" y="2682"/>
                </a:lnTo>
                <a:lnTo>
                  <a:pt x="982" y="2701"/>
                </a:lnTo>
                <a:lnTo>
                  <a:pt x="1001" y="2718"/>
                </a:lnTo>
                <a:lnTo>
                  <a:pt x="1003" y="2722"/>
                </a:lnTo>
                <a:lnTo>
                  <a:pt x="1005" y="2724"/>
                </a:lnTo>
                <a:lnTo>
                  <a:pt x="1003" y="2728"/>
                </a:lnTo>
                <a:lnTo>
                  <a:pt x="1003" y="2730"/>
                </a:lnTo>
                <a:lnTo>
                  <a:pt x="997" y="2737"/>
                </a:lnTo>
                <a:lnTo>
                  <a:pt x="991" y="2743"/>
                </a:lnTo>
                <a:lnTo>
                  <a:pt x="986" y="2743"/>
                </a:lnTo>
                <a:lnTo>
                  <a:pt x="984" y="2745"/>
                </a:lnTo>
                <a:close/>
                <a:moveTo>
                  <a:pt x="737" y="3300"/>
                </a:moveTo>
                <a:lnTo>
                  <a:pt x="745" y="3304"/>
                </a:lnTo>
                <a:lnTo>
                  <a:pt x="754" y="3304"/>
                </a:lnTo>
                <a:lnTo>
                  <a:pt x="766" y="3302"/>
                </a:lnTo>
                <a:lnTo>
                  <a:pt x="779" y="3300"/>
                </a:lnTo>
                <a:lnTo>
                  <a:pt x="785" y="3296"/>
                </a:lnTo>
                <a:lnTo>
                  <a:pt x="790" y="3293"/>
                </a:lnTo>
                <a:lnTo>
                  <a:pt x="800" y="3285"/>
                </a:lnTo>
                <a:lnTo>
                  <a:pt x="809" y="3277"/>
                </a:lnTo>
                <a:lnTo>
                  <a:pt x="817" y="3266"/>
                </a:lnTo>
                <a:lnTo>
                  <a:pt x="826" y="3255"/>
                </a:lnTo>
                <a:lnTo>
                  <a:pt x="832" y="3243"/>
                </a:lnTo>
                <a:lnTo>
                  <a:pt x="838" y="3228"/>
                </a:lnTo>
                <a:lnTo>
                  <a:pt x="845" y="3213"/>
                </a:lnTo>
                <a:lnTo>
                  <a:pt x="849" y="3200"/>
                </a:lnTo>
                <a:lnTo>
                  <a:pt x="851" y="3186"/>
                </a:lnTo>
                <a:lnTo>
                  <a:pt x="855" y="3171"/>
                </a:lnTo>
                <a:lnTo>
                  <a:pt x="855" y="3156"/>
                </a:lnTo>
                <a:lnTo>
                  <a:pt x="857" y="3143"/>
                </a:lnTo>
                <a:lnTo>
                  <a:pt x="855" y="3130"/>
                </a:lnTo>
                <a:lnTo>
                  <a:pt x="857" y="3126"/>
                </a:lnTo>
                <a:lnTo>
                  <a:pt x="862" y="3124"/>
                </a:lnTo>
                <a:lnTo>
                  <a:pt x="866" y="3124"/>
                </a:lnTo>
                <a:lnTo>
                  <a:pt x="870" y="3122"/>
                </a:lnTo>
                <a:lnTo>
                  <a:pt x="878" y="3124"/>
                </a:lnTo>
                <a:lnTo>
                  <a:pt x="881" y="3126"/>
                </a:lnTo>
                <a:lnTo>
                  <a:pt x="885" y="3128"/>
                </a:lnTo>
                <a:lnTo>
                  <a:pt x="889" y="3137"/>
                </a:lnTo>
                <a:lnTo>
                  <a:pt x="889" y="3141"/>
                </a:lnTo>
                <a:lnTo>
                  <a:pt x="891" y="3150"/>
                </a:lnTo>
                <a:lnTo>
                  <a:pt x="889" y="3166"/>
                </a:lnTo>
                <a:lnTo>
                  <a:pt x="887" y="3183"/>
                </a:lnTo>
                <a:lnTo>
                  <a:pt x="885" y="3200"/>
                </a:lnTo>
                <a:lnTo>
                  <a:pt x="881" y="3217"/>
                </a:lnTo>
                <a:lnTo>
                  <a:pt x="876" y="3232"/>
                </a:lnTo>
                <a:lnTo>
                  <a:pt x="870" y="3247"/>
                </a:lnTo>
                <a:lnTo>
                  <a:pt x="864" y="3262"/>
                </a:lnTo>
                <a:lnTo>
                  <a:pt x="855" y="3274"/>
                </a:lnTo>
                <a:lnTo>
                  <a:pt x="847" y="3287"/>
                </a:lnTo>
                <a:lnTo>
                  <a:pt x="838" y="3300"/>
                </a:lnTo>
                <a:lnTo>
                  <a:pt x="828" y="3308"/>
                </a:lnTo>
                <a:lnTo>
                  <a:pt x="817" y="3319"/>
                </a:lnTo>
                <a:lnTo>
                  <a:pt x="806" y="3325"/>
                </a:lnTo>
                <a:lnTo>
                  <a:pt x="794" y="3332"/>
                </a:lnTo>
                <a:lnTo>
                  <a:pt x="781" y="3336"/>
                </a:lnTo>
                <a:lnTo>
                  <a:pt x="768" y="3338"/>
                </a:lnTo>
                <a:lnTo>
                  <a:pt x="758" y="3327"/>
                </a:lnTo>
                <a:lnTo>
                  <a:pt x="737" y="3300"/>
                </a:lnTo>
                <a:close/>
                <a:moveTo>
                  <a:pt x="665" y="3209"/>
                </a:moveTo>
                <a:lnTo>
                  <a:pt x="667" y="3200"/>
                </a:lnTo>
                <a:lnTo>
                  <a:pt x="669" y="3192"/>
                </a:lnTo>
                <a:lnTo>
                  <a:pt x="673" y="3181"/>
                </a:lnTo>
                <a:lnTo>
                  <a:pt x="677" y="3173"/>
                </a:lnTo>
                <a:lnTo>
                  <a:pt x="686" y="3158"/>
                </a:lnTo>
                <a:lnTo>
                  <a:pt x="699" y="3145"/>
                </a:lnTo>
                <a:lnTo>
                  <a:pt x="705" y="3139"/>
                </a:lnTo>
                <a:lnTo>
                  <a:pt x="711" y="3133"/>
                </a:lnTo>
                <a:lnTo>
                  <a:pt x="718" y="3128"/>
                </a:lnTo>
                <a:lnTo>
                  <a:pt x="726" y="3124"/>
                </a:lnTo>
                <a:lnTo>
                  <a:pt x="735" y="3122"/>
                </a:lnTo>
                <a:lnTo>
                  <a:pt x="743" y="3120"/>
                </a:lnTo>
                <a:lnTo>
                  <a:pt x="749" y="3118"/>
                </a:lnTo>
                <a:lnTo>
                  <a:pt x="760" y="3118"/>
                </a:lnTo>
                <a:lnTo>
                  <a:pt x="771" y="3118"/>
                </a:lnTo>
                <a:lnTo>
                  <a:pt x="777" y="3120"/>
                </a:lnTo>
                <a:lnTo>
                  <a:pt x="781" y="3122"/>
                </a:lnTo>
                <a:lnTo>
                  <a:pt x="792" y="3126"/>
                </a:lnTo>
                <a:lnTo>
                  <a:pt x="798" y="3135"/>
                </a:lnTo>
                <a:lnTo>
                  <a:pt x="804" y="3141"/>
                </a:lnTo>
                <a:lnTo>
                  <a:pt x="809" y="3152"/>
                </a:lnTo>
                <a:lnTo>
                  <a:pt x="813" y="3162"/>
                </a:lnTo>
                <a:lnTo>
                  <a:pt x="813" y="3175"/>
                </a:lnTo>
                <a:lnTo>
                  <a:pt x="813" y="3181"/>
                </a:lnTo>
                <a:lnTo>
                  <a:pt x="811" y="3190"/>
                </a:lnTo>
                <a:lnTo>
                  <a:pt x="809" y="3196"/>
                </a:lnTo>
                <a:lnTo>
                  <a:pt x="806" y="3205"/>
                </a:lnTo>
                <a:lnTo>
                  <a:pt x="802" y="3211"/>
                </a:lnTo>
                <a:lnTo>
                  <a:pt x="798" y="3217"/>
                </a:lnTo>
                <a:lnTo>
                  <a:pt x="787" y="3228"/>
                </a:lnTo>
                <a:lnTo>
                  <a:pt x="781" y="3234"/>
                </a:lnTo>
                <a:lnTo>
                  <a:pt x="775" y="3238"/>
                </a:lnTo>
                <a:lnTo>
                  <a:pt x="760" y="3245"/>
                </a:lnTo>
                <a:lnTo>
                  <a:pt x="754" y="3249"/>
                </a:lnTo>
                <a:lnTo>
                  <a:pt x="745" y="3251"/>
                </a:lnTo>
                <a:lnTo>
                  <a:pt x="730" y="3251"/>
                </a:lnTo>
                <a:lnTo>
                  <a:pt x="724" y="3251"/>
                </a:lnTo>
                <a:lnTo>
                  <a:pt x="722" y="3249"/>
                </a:lnTo>
                <a:lnTo>
                  <a:pt x="720" y="3247"/>
                </a:lnTo>
                <a:lnTo>
                  <a:pt x="718" y="3243"/>
                </a:lnTo>
                <a:lnTo>
                  <a:pt x="715" y="3241"/>
                </a:lnTo>
                <a:lnTo>
                  <a:pt x="715" y="3232"/>
                </a:lnTo>
                <a:lnTo>
                  <a:pt x="715" y="3226"/>
                </a:lnTo>
                <a:lnTo>
                  <a:pt x="718" y="3224"/>
                </a:lnTo>
                <a:lnTo>
                  <a:pt x="720" y="3224"/>
                </a:lnTo>
                <a:lnTo>
                  <a:pt x="732" y="3219"/>
                </a:lnTo>
                <a:lnTo>
                  <a:pt x="743" y="3215"/>
                </a:lnTo>
                <a:lnTo>
                  <a:pt x="754" y="3209"/>
                </a:lnTo>
                <a:lnTo>
                  <a:pt x="764" y="3202"/>
                </a:lnTo>
                <a:lnTo>
                  <a:pt x="771" y="3196"/>
                </a:lnTo>
                <a:lnTo>
                  <a:pt x="775" y="3192"/>
                </a:lnTo>
                <a:lnTo>
                  <a:pt x="777" y="3188"/>
                </a:lnTo>
                <a:lnTo>
                  <a:pt x="779" y="3179"/>
                </a:lnTo>
                <a:lnTo>
                  <a:pt x="781" y="3171"/>
                </a:lnTo>
                <a:lnTo>
                  <a:pt x="781" y="3164"/>
                </a:lnTo>
                <a:lnTo>
                  <a:pt x="779" y="3160"/>
                </a:lnTo>
                <a:lnTo>
                  <a:pt x="777" y="3156"/>
                </a:lnTo>
                <a:lnTo>
                  <a:pt x="775" y="3154"/>
                </a:lnTo>
                <a:lnTo>
                  <a:pt x="771" y="3152"/>
                </a:lnTo>
                <a:lnTo>
                  <a:pt x="766" y="3150"/>
                </a:lnTo>
                <a:lnTo>
                  <a:pt x="756" y="3147"/>
                </a:lnTo>
                <a:lnTo>
                  <a:pt x="745" y="3150"/>
                </a:lnTo>
                <a:lnTo>
                  <a:pt x="741" y="3152"/>
                </a:lnTo>
                <a:lnTo>
                  <a:pt x="735" y="3154"/>
                </a:lnTo>
                <a:lnTo>
                  <a:pt x="730" y="3158"/>
                </a:lnTo>
                <a:lnTo>
                  <a:pt x="726" y="3162"/>
                </a:lnTo>
                <a:lnTo>
                  <a:pt x="715" y="3173"/>
                </a:lnTo>
                <a:lnTo>
                  <a:pt x="711" y="3179"/>
                </a:lnTo>
                <a:lnTo>
                  <a:pt x="707" y="3186"/>
                </a:lnTo>
                <a:lnTo>
                  <a:pt x="703" y="3198"/>
                </a:lnTo>
                <a:lnTo>
                  <a:pt x="699" y="3215"/>
                </a:lnTo>
                <a:lnTo>
                  <a:pt x="696" y="3224"/>
                </a:lnTo>
                <a:lnTo>
                  <a:pt x="696" y="3232"/>
                </a:lnTo>
                <a:lnTo>
                  <a:pt x="696" y="3243"/>
                </a:lnTo>
                <a:lnTo>
                  <a:pt x="699" y="3253"/>
                </a:lnTo>
                <a:lnTo>
                  <a:pt x="679" y="3228"/>
                </a:lnTo>
                <a:lnTo>
                  <a:pt x="665" y="3209"/>
                </a:lnTo>
                <a:close/>
                <a:moveTo>
                  <a:pt x="984" y="3336"/>
                </a:moveTo>
                <a:lnTo>
                  <a:pt x="978" y="3334"/>
                </a:lnTo>
                <a:lnTo>
                  <a:pt x="969" y="3327"/>
                </a:lnTo>
                <a:lnTo>
                  <a:pt x="953" y="3313"/>
                </a:lnTo>
                <a:lnTo>
                  <a:pt x="934" y="3293"/>
                </a:lnTo>
                <a:lnTo>
                  <a:pt x="914" y="3272"/>
                </a:lnTo>
                <a:lnTo>
                  <a:pt x="908" y="3264"/>
                </a:lnTo>
                <a:lnTo>
                  <a:pt x="904" y="3257"/>
                </a:lnTo>
                <a:lnTo>
                  <a:pt x="898" y="3245"/>
                </a:lnTo>
                <a:lnTo>
                  <a:pt x="895" y="3238"/>
                </a:lnTo>
                <a:lnTo>
                  <a:pt x="895" y="3234"/>
                </a:lnTo>
                <a:lnTo>
                  <a:pt x="898" y="3226"/>
                </a:lnTo>
                <a:lnTo>
                  <a:pt x="900" y="3219"/>
                </a:lnTo>
                <a:lnTo>
                  <a:pt x="902" y="3211"/>
                </a:lnTo>
                <a:lnTo>
                  <a:pt x="908" y="3205"/>
                </a:lnTo>
                <a:lnTo>
                  <a:pt x="919" y="3190"/>
                </a:lnTo>
                <a:lnTo>
                  <a:pt x="938" y="3169"/>
                </a:lnTo>
                <a:lnTo>
                  <a:pt x="980" y="3120"/>
                </a:lnTo>
                <a:lnTo>
                  <a:pt x="984" y="3122"/>
                </a:lnTo>
                <a:lnTo>
                  <a:pt x="991" y="3124"/>
                </a:lnTo>
                <a:lnTo>
                  <a:pt x="997" y="3128"/>
                </a:lnTo>
                <a:lnTo>
                  <a:pt x="1001" y="3133"/>
                </a:lnTo>
                <a:lnTo>
                  <a:pt x="1001" y="3139"/>
                </a:lnTo>
                <a:lnTo>
                  <a:pt x="999" y="3145"/>
                </a:lnTo>
                <a:lnTo>
                  <a:pt x="999" y="3150"/>
                </a:lnTo>
                <a:lnTo>
                  <a:pt x="997" y="3152"/>
                </a:lnTo>
                <a:lnTo>
                  <a:pt x="967" y="3188"/>
                </a:lnTo>
                <a:lnTo>
                  <a:pt x="948" y="3207"/>
                </a:lnTo>
                <a:lnTo>
                  <a:pt x="936" y="3224"/>
                </a:lnTo>
                <a:lnTo>
                  <a:pt x="934" y="3228"/>
                </a:lnTo>
                <a:lnTo>
                  <a:pt x="931" y="3232"/>
                </a:lnTo>
                <a:lnTo>
                  <a:pt x="934" y="3236"/>
                </a:lnTo>
                <a:lnTo>
                  <a:pt x="936" y="3243"/>
                </a:lnTo>
                <a:lnTo>
                  <a:pt x="948" y="3255"/>
                </a:lnTo>
                <a:lnTo>
                  <a:pt x="963" y="3272"/>
                </a:lnTo>
                <a:lnTo>
                  <a:pt x="982" y="3291"/>
                </a:lnTo>
                <a:lnTo>
                  <a:pt x="1001" y="3310"/>
                </a:lnTo>
                <a:lnTo>
                  <a:pt x="1003" y="3313"/>
                </a:lnTo>
                <a:lnTo>
                  <a:pt x="1005" y="3317"/>
                </a:lnTo>
                <a:lnTo>
                  <a:pt x="1003" y="3319"/>
                </a:lnTo>
                <a:lnTo>
                  <a:pt x="1003" y="3323"/>
                </a:lnTo>
                <a:lnTo>
                  <a:pt x="997" y="3329"/>
                </a:lnTo>
                <a:lnTo>
                  <a:pt x="991" y="3334"/>
                </a:lnTo>
                <a:lnTo>
                  <a:pt x="986" y="3336"/>
                </a:lnTo>
                <a:lnTo>
                  <a:pt x="984" y="3336"/>
                </a:lnTo>
                <a:close/>
                <a:moveTo>
                  <a:pt x="3033" y="2747"/>
                </a:moveTo>
                <a:lnTo>
                  <a:pt x="3025" y="2747"/>
                </a:lnTo>
                <a:lnTo>
                  <a:pt x="3016" y="2745"/>
                </a:lnTo>
                <a:lnTo>
                  <a:pt x="3008" y="2743"/>
                </a:lnTo>
                <a:lnTo>
                  <a:pt x="2999" y="2739"/>
                </a:lnTo>
                <a:lnTo>
                  <a:pt x="2991" y="2735"/>
                </a:lnTo>
                <a:lnTo>
                  <a:pt x="2983" y="2730"/>
                </a:lnTo>
                <a:lnTo>
                  <a:pt x="2976" y="2724"/>
                </a:lnTo>
                <a:lnTo>
                  <a:pt x="2970" y="2718"/>
                </a:lnTo>
                <a:lnTo>
                  <a:pt x="2963" y="2709"/>
                </a:lnTo>
                <a:lnTo>
                  <a:pt x="2959" y="2701"/>
                </a:lnTo>
                <a:lnTo>
                  <a:pt x="2951" y="2684"/>
                </a:lnTo>
                <a:lnTo>
                  <a:pt x="2947" y="2673"/>
                </a:lnTo>
                <a:lnTo>
                  <a:pt x="2944" y="2663"/>
                </a:lnTo>
                <a:lnTo>
                  <a:pt x="2944" y="2652"/>
                </a:lnTo>
                <a:lnTo>
                  <a:pt x="2944" y="2642"/>
                </a:lnTo>
                <a:lnTo>
                  <a:pt x="2944" y="2631"/>
                </a:lnTo>
                <a:lnTo>
                  <a:pt x="2944" y="2620"/>
                </a:lnTo>
                <a:lnTo>
                  <a:pt x="2949" y="2608"/>
                </a:lnTo>
                <a:lnTo>
                  <a:pt x="2951" y="2597"/>
                </a:lnTo>
                <a:lnTo>
                  <a:pt x="2955" y="2589"/>
                </a:lnTo>
                <a:lnTo>
                  <a:pt x="2959" y="2578"/>
                </a:lnTo>
                <a:lnTo>
                  <a:pt x="2966" y="2570"/>
                </a:lnTo>
                <a:lnTo>
                  <a:pt x="2972" y="2561"/>
                </a:lnTo>
                <a:lnTo>
                  <a:pt x="2978" y="2553"/>
                </a:lnTo>
                <a:lnTo>
                  <a:pt x="2987" y="2546"/>
                </a:lnTo>
                <a:lnTo>
                  <a:pt x="2993" y="2540"/>
                </a:lnTo>
                <a:lnTo>
                  <a:pt x="3002" y="2536"/>
                </a:lnTo>
                <a:lnTo>
                  <a:pt x="3010" y="2531"/>
                </a:lnTo>
                <a:lnTo>
                  <a:pt x="3021" y="2527"/>
                </a:lnTo>
                <a:lnTo>
                  <a:pt x="3029" y="2527"/>
                </a:lnTo>
                <a:lnTo>
                  <a:pt x="3040" y="2525"/>
                </a:lnTo>
                <a:lnTo>
                  <a:pt x="3052" y="2527"/>
                </a:lnTo>
                <a:lnTo>
                  <a:pt x="3057" y="2527"/>
                </a:lnTo>
                <a:lnTo>
                  <a:pt x="3063" y="2529"/>
                </a:lnTo>
                <a:lnTo>
                  <a:pt x="3071" y="2536"/>
                </a:lnTo>
                <a:lnTo>
                  <a:pt x="3080" y="2542"/>
                </a:lnTo>
                <a:lnTo>
                  <a:pt x="3086" y="2551"/>
                </a:lnTo>
                <a:lnTo>
                  <a:pt x="3091" y="2561"/>
                </a:lnTo>
                <a:lnTo>
                  <a:pt x="3093" y="2572"/>
                </a:lnTo>
                <a:lnTo>
                  <a:pt x="3093" y="2582"/>
                </a:lnTo>
                <a:lnTo>
                  <a:pt x="3093" y="2591"/>
                </a:lnTo>
                <a:lnTo>
                  <a:pt x="3093" y="2597"/>
                </a:lnTo>
                <a:lnTo>
                  <a:pt x="3091" y="2606"/>
                </a:lnTo>
                <a:lnTo>
                  <a:pt x="3086" y="2612"/>
                </a:lnTo>
                <a:lnTo>
                  <a:pt x="3082" y="2618"/>
                </a:lnTo>
                <a:lnTo>
                  <a:pt x="3078" y="2625"/>
                </a:lnTo>
                <a:lnTo>
                  <a:pt x="3067" y="2637"/>
                </a:lnTo>
                <a:lnTo>
                  <a:pt x="3061" y="2642"/>
                </a:lnTo>
                <a:lnTo>
                  <a:pt x="3055" y="2646"/>
                </a:lnTo>
                <a:lnTo>
                  <a:pt x="3042" y="2654"/>
                </a:lnTo>
                <a:lnTo>
                  <a:pt x="3033" y="2656"/>
                </a:lnTo>
                <a:lnTo>
                  <a:pt x="3027" y="2658"/>
                </a:lnTo>
                <a:lnTo>
                  <a:pt x="3012" y="2661"/>
                </a:lnTo>
                <a:lnTo>
                  <a:pt x="3006" y="2658"/>
                </a:lnTo>
                <a:lnTo>
                  <a:pt x="3002" y="2656"/>
                </a:lnTo>
                <a:lnTo>
                  <a:pt x="2999" y="2654"/>
                </a:lnTo>
                <a:lnTo>
                  <a:pt x="2997" y="2652"/>
                </a:lnTo>
                <a:lnTo>
                  <a:pt x="2997" y="2648"/>
                </a:lnTo>
                <a:lnTo>
                  <a:pt x="2995" y="2642"/>
                </a:lnTo>
                <a:lnTo>
                  <a:pt x="2997" y="2635"/>
                </a:lnTo>
                <a:lnTo>
                  <a:pt x="2997" y="2633"/>
                </a:lnTo>
                <a:lnTo>
                  <a:pt x="2999" y="2631"/>
                </a:lnTo>
                <a:lnTo>
                  <a:pt x="3012" y="2629"/>
                </a:lnTo>
                <a:lnTo>
                  <a:pt x="3025" y="2625"/>
                </a:lnTo>
                <a:lnTo>
                  <a:pt x="3035" y="2618"/>
                </a:lnTo>
                <a:lnTo>
                  <a:pt x="3044" y="2612"/>
                </a:lnTo>
                <a:lnTo>
                  <a:pt x="3052" y="2603"/>
                </a:lnTo>
                <a:lnTo>
                  <a:pt x="3055" y="2599"/>
                </a:lnTo>
                <a:lnTo>
                  <a:pt x="3057" y="2595"/>
                </a:lnTo>
                <a:lnTo>
                  <a:pt x="3061" y="2587"/>
                </a:lnTo>
                <a:lnTo>
                  <a:pt x="3063" y="2578"/>
                </a:lnTo>
                <a:lnTo>
                  <a:pt x="3061" y="2574"/>
                </a:lnTo>
                <a:lnTo>
                  <a:pt x="3061" y="2570"/>
                </a:lnTo>
                <a:lnTo>
                  <a:pt x="3059" y="2565"/>
                </a:lnTo>
                <a:lnTo>
                  <a:pt x="3055" y="2561"/>
                </a:lnTo>
                <a:lnTo>
                  <a:pt x="3052" y="2559"/>
                </a:lnTo>
                <a:lnTo>
                  <a:pt x="3048" y="2557"/>
                </a:lnTo>
                <a:lnTo>
                  <a:pt x="3038" y="2555"/>
                </a:lnTo>
                <a:lnTo>
                  <a:pt x="3027" y="2557"/>
                </a:lnTo>
                <a:lnTo>
                  <a:pt x="3021" y="2559"/>
                </a:lnTo>
                <a:lnTo>
                  <a:pt x="3016" y="2563"/>
                </a:lnTo>
                <a:lnTo>
                  <a:pt x="3010" y="2565"/>
                </a:lnTo>
                <a:lnTo>
                  <a:pt x="3006" y="2570"/>
                </a:lnTo>
                <a:lnTo>
                  <a:pt x="2997" y="2580"/>
                </a:lnTo>
                <a:lnTo>
                  <a:pt x="2993" y="2587"/>
                </a:lnTo>
                <a:lnTo>
                  <a:pt x="2989" y="2593"/>
                </a:lnTo>
                <a:lnTo>
                  <a:pt x="2983" y="2608"/>
                </a:lnTo>
                <a:lnTo>
                  <a:pt x="2978" y="2623"/>
                </a:lnTo>
                <a:lnTo>
                  <a:pt x="2978" y="2631"/>
                </a:lnTo>
                <a:lnTo>
                  <a:pt x="2976" y="2639"/>
                </a:lnTo>
                <a:lnTo>
                  <a:pt x="2978" y="2654"/>
                </a:lnTo>
                <a:lnTo>
                  <a:pt x="2980" y="2663"/>
                </a:lnTo>
                <a:lnTo>
                  <a:pt x="2980" y="2669"/>
                </a:lnTo>
                <a:lnTo>
                  <a:pt x="2987" y="2682"/>
                </a:lnTo>
                <a:lnTo>
                  <a:pt x="2993" y="2692"/>
                </a:lnTo>
                <a:lnTo>
                  <a:pt x="3002" y="2701"/>
                </a:lnTo>
                <a:lnTo>
                  <a:pt x="3006" y="2703"/>
                </a:lnTo>
                <a:lnTo>
                  <a:pt x="3012" y="2707"/>
                </a:lnTo>
                <a:lnTo>
                  <a:pt x="3023" y="2711"/>
                </a:lnTo>
                <a:lnTo>
                  <a:pt x="3029" y="2711"/>
                </a:lnTo>
                <a:lnTo>
                  <a:pt x="3035" y="2711"/>
                </a:lnTo>
                <a:lnTo>
                  <a:pt x="3048" y="2711"/>
                </a:lnTo>
                <a:lnTo>
                  <a:pt x="3059" y="2707"/>
                </a:lnTo>
                <a:lnTo>
                  <a:pt x="3065" y="2705"/>
                </a:lnTo>
                <a:lnTo>
                  <a:pt x="3071" y="2701"/>
                </a:lnTo>
                <a:lnTo>
                  <a:pt x="3080" y="2694"/>
                </a:lnTo>
                <a:lnTo>
                  <a:pt x="3091" y="2686"/>
                </a:lnTo>
                <a:lnTo>
                  <a:pt x="3099" y="2675"/>
                </a:lnTo>
                <a:lnTo>
                  <a:pt x="3107" y="2663"/>
                </a:lnTo>
                <a:lnTo>
                  <a:pt x="3114" y="2650"/>
                </a:lnTo>
                <a:lnTo>
                  <a:pt x="3120" y="2637"/>
                </a:lnTo>
                <a:lnTo>
                  <a:pt x="3124" y="2623"/>
                </a:lnTo>
                <a:lnTo>
                  <a:pt x="3129" y="2608"/>
                </a:lnTo>
                <a:lnTo>
                  <a:pt x="3133" y="2593"/>
                </a:lnTo>
                <a:lnTo>
                  <a:pt x="3135" y="2578"/>
                </a:lnTo>
                <a:lnTo>
                  <a:pt x="3137" y="2565"/>
                </a:lnTo>
                <a:lnTo>
                  <a:pt x="3137" y="2551"/>
                </a:lnTo>
                <a:lnTo>
                  <a:pt x="3137" y="2538"/>
                </a:lnTo>
                <a:lnTo>
                  <a:pt x="3139" y="2536"/>
                </a:lnTo>
                <a:lnTo>
                  <a:pt x="3141" y="2534"/>
                </a:lnTo>
                <a:lnTo>
                  <a:pt x="3146" y="2531"/>
                </a:lnTo>
                <a:lnTo>
                  <a:pt x="3150" y="2531"/>
                </a:lnTo>
                <a:lnTo>
                  <a:pt x="3158" y="2531"/>
                </a:lnTo>
                <a:lnTo>
                  <a:pt x="3162" y="2534"/>
                </a:lnTo>
                <a:lnTo>
                  <a:pt x="3165" y="2536"/>
                </a:lnTo>
                <a:lnTo>
                  <a:pt x="3169" y="2544"/>
                </a:lnTo>
                <a:lnTo>
                  <a:pt x="3171" y="2551"/>
                </a:lnTo>
                <a:lnTo>
                  <a:pt x="3171" y="2557"/>
                </a:lnTo>
                <a:lnTo>
                  <a:pt x="3171" y="2576"/>
                </a:lnTo>
                <a:lnTo>
                  <a:pt x="3169" y="2595"/>
                </a:lnTo>
                <a:lnTo>
                  <a:pt x="3165" y="2612"/>
                </a:lnTo>
                <a:lnTo>
                  <a:pt x="3160" y="2629"/>
                </a:lnTo>
                <a:lnTo>
                  <a:pt x="3154" y="2646"/>
                </a:lnTo>
                <a:lnTo>
                  <a:pt x="3148" y="2661"/>
                </a:lnTo>
                <a:lnTo>
                  <a:pt x="3141" y="2675"/>
                </a:lnTo>
                <a:lnTo>
                  <a:pt x="3131" y="2690"/>
                </a:lnTo>
                <a:lnTo>
                  <a:pt x="3122" y="2703"/>
                </a:lnTo>
                <a:lnTo>
                  <a:pt x="3118" y="2709"/>
                </a:lnTo>
                <a:lnTo>
                  <a:pt x="3112" y="2714"/>
                </a:lnTo>
                <a:lnTo>
                  <a:pt x="3101" y="2724"/>
                </a:lnTo>
                <a:lnTo>
                  <a:pt x="3088" y="2733"/>
                </a:lnTo>
                <a:lnTo>
                  <a:pt x="3076" y="2739"/>
                </a:lnTo>
                <a:lnTo>
                  <a:pt x="3063" y="2743"/>
                </a:lnTo>
                <a:lnTo>
                  <a:pt x="3048" y="2747"/>
                </a:lnTo>
                <a:lnTo>
                  <a:pt x="3033" y="2747"/>
                </a:lnTo>
                <a:close/>
                <a:moveTo>
                  <a:pt x="3264" y="2745"/>
                </a:moveTo>
                <a:lnTo>
                  <a:pt x="3260" y="2743"/>
                </a:lnTo>
                <a:lnTo>
                  <a:pt x="3251" y="2737"/>
                </a:lnTo>
                <a:lnTo>
                  <a:pt x="3234" y="2722"/>
                </a:lnTo>
                <a:lnTo>
                  <a:pt x="3213" y="2701"/>
                </a:lnTo>
                <a:lnTo>
                  <a:pt x="3196" y="2682"/>
                </a:lnTo>
                <a:lnTo>
                  <a:pt x="3188" y="2673"/>
                </a:lnTo>
                <a:lnTo>
                  <a:pt x="3184" y="2665"/>
                </a:lnTo>
                <a:lnTo>
                  <a:pt x="3179" y="2654"/>
                </a:lnTo>
                <a:lnTo>
                  <a:pt x="3177" y="2648"/>
                </a:lnTo>
                <a:lnTo>
                  <a:pt x="3177" y="2642"/>
                </a:lnTo>
                <a:lnTo>
                  <a:pt x="3177" y="2635"/>
                </a:lnTo>
                <a:lnTo>
                  <a:pt x="3179" y="2629"/>
                </a:lnTo>
                <a:lnTo>
                  <a:pt x="3184" y="2620"/>
                </a:lnTo>
                <a:lnTo>
                  <a:pt x="3188" y="2612"/>
                </a:lnTo>
                <a:lnTo>
                  <a:pt x="3201" y="2597"/>
                </a:lnTo>
                <a:lnTo>
                  <a:pt x="3218" y="2576"/>
                </a:lnTo>
                <a:lnTo>
                  <a:pt x="3260" y="2529"/>
                </a:lnTo>
                <a:lnTo>
                  <a:pt x="3266" y="2529"/>
                </a:lnTo>
                <a:lnTo>
                  <a:pt x="3273" y="2531"/>
                </a:lnTo>
                <a:lnTo>
                  <a:pt x="3277" y="2536"/>
                </a:lnTo>
                <a:lnTo>
                  <a:pt x="3281" y="2542"/>
                </a:lnTo>
                <a:lnTo>
                  <a:pt x="3283" y="2546"/>
                </a:lnTo>
                <a:lnTo>
                  <a:pt x="3281" y="2553"/>
                </a:lnTo>
                <a:lnTo>
                  <a:pt x="3279" y="2557"/>
                </a:lnTo>
                <a:lnTo>
                  <a:pt x="3277" y="2561"/>
                </a:lnTo>
                <a:lnTo>
                  <a:pt x="3247" y="2595"/>
                </a:lnTo>
                <a:lnTo>
                  <a:pt x="3230" y="2616"/>
                </a:lnTo>
                <a:lnTo>
                  <a:pt x="3218" y="2631"/>
                </a:lnTo>
                <a:lnTo>
                  <a:pt x="3213" y="2635"/>
                </a:lnTo>
                <a:lnTo>
                  <a:pt x="3213" y="2639"/>
                </a:lnTo>
                <a:lnTo>
                  <a:pt x="3215" y="2646"/>
                </a:lnTo>
                <a:lnTo>
                  <a:pt x="3218" y="2650"/>
                </a:lnTo>
                <a:lnTo>
                  <a:pt x="3228" y="2663"/>
                </a:lnTo>
                <a:lnTo>
                  <a:pt x="3245" y="2682"/>
                </a:lnTo>
                <a:lnTo>
                  <a:pt x="3264" y="2701"/>
                </a:lnTo>
                <a:lnTo>
                  <a:pt x="3283" y="2718"/>
                </a:lnTo>
                <a:lnTo>
                  <a:pt x="3285" y="2722"/>
                </a:lnTo>
                <a:lnTo>
                  <a:pt x="3285" y="2724"/>
                </a:lnTo>
                <a:lnTo>
                  <a:pt x="3285" y="2728"/>
                </a:lnTo>
                <a:lnTo>
                  <a:pt x="3283" y="2730"/>
                </a:lnTo>
                <a:lnTo>
                  <a:pt x="3279" y="2737"/>
                </a:lnTo>
                <a:lnTo>
                  <a:pt x="3273" y="2743"/>
                </a:lnTo>
                <a:lnTo>
                  <a:pt x="3268" y="2743"/>
                </a:lnTo>
                <a:lnTo>
                  <a:pt x="3264" y="2745"/>
                </a:lnTo>
                <a:close/>
                <a:moveTo>
                  <a:pt x="3033" y="3340"/>
                </a:moveTo>
                <a:lnTo>
                  <a:pt x="3025" y="3340"/>
                </a:lnTo>
                <a:lnTo>
                  <a:pt x="3016" y="3338"/>
                </a:lnTo>
                <a:lnTo>
                  <a:pt x="3008" y="3336"/>
                </a:lnTo>
                <a:lnTo>
                  <a:pt x="2999" y="3332"/>
                </a:lnTo>
                <a:lnTo>
                  <a:pt x="2991" y="3327"/>
                </a:lnTo>
                <a:lnTo>
                  <a:pt x="2983" y="3321"/>
                </a:lnTo>
                <a:lnTo>
                  <a:pt x="2976" y="3315"/>
                </a:lnTo>
                <a:lnTo>
                  <a:pt x="2970" y="3308"/>
                </a:lnTo>
                <a:lnTo>
                  <a:pt x="2963" y="3302"/>
                </a:lnTo>
                <a:lnTo>
                  <a:pt x="2959" y="3293"/>
                </a:lnTo>
                <a:lnTo>
                  <a:pt x="2951" y="3274"/>
                </a:lnTo>
                <a:lnTo>
                  <a:pt x="2947" y="3266"/>
                </a:lnTo>
                <a:lnTo>
                  <a:pt x="2944" y="3255"/>
                </a:lnTo>
                <a:lnTo>
                  <a:pt x="2944" y="3245"/>
                </a:lnTo>
                <a:lnTo>
                  <a:pt x="2944" y="3234"/>
                </a:lnTo>
                <a:lnTo>
                  <a:pt x="2944" y="3222"/>
                </a:lnTo>
                <a:lnTo>
                  <a:pt x="2944" y="3211"/>
                </a:lnTo>
                <a:lnTo>
                  <a:pt x="2949" y="3200"/>
                </a:lnTo>
                <a:lnTo>
                  <a:pt x="2951" y="3190"/>
                </a:lnTo>
                <a:lnTo>
                  <a:pt x="2955" y="3179"/>
                </a:lnTo>
                <a:lnTo>
                  <a:pt x="2959" y="3171"/>
                </a:lnTo>
                <a:lnTo>
                  <a:pt x="2966" y="3160"/>
                </a:lnTo>
                <a:lnTo>
                  <a:pt x="2972" y="3152"/>
                </a:lnTo>
                <a:lnTo>
                  <a:pt x="2978" y="3145"/>
                </a:lnTo>
                <a:lnTo>
                  <a:pt x="2987" y="3139"/>
                </a:lnTo>
                <a:lnTo>
                  <a:pt x="2993" y="3133"/>
                </a:lnTo>
                <a:lnTo>
                  <a:pt x="3002" y="3126"/>
                </a:lnTo>
                <a:lnTo>
                  <a:pt x="3010" y="3122"/>
                </a:lnTo>
                <a:lnTo>
                  <a:pt x="3021" y="3120"/>
                </a:lnTo>
                <a:lnTo>
                  <a:pt x="3029" y="3118"/>
                </a:lnTo>
                <a:lnTo>
                  <a:pt x="3040" y="3118"/>
                </a:lnTo>
                <a:lnTo>
                  <a:pt x="3052" y="3118"/>
                </a:lnTo>
                <a:lnTo>
                  <a:pt x="3057" y="3120"/>
                </a:lnTo>
                <a:lnTo>
                  <a:pt x="3063" y="3122"/>
                </a:lnTo>
                <a:lnTo>
                  <a:pt x="3071" y="3126"/>
                </a:lnTo>
                <a:lnTo>
                  <a:pt x="3080" y="3135"/>
                </a:lnTo>
                <a:lnTo>
                  <a:pt x="3086" y="3141"/>
                </a:lnTo>
                <a:lnTo>
                  <a:pt x="3091" y="3152"/>
                </a:lnTo>
                <a:lnTo>
                  <a:pt x="3093" y="3162"/>
                </a:lnTo>
                <a:lnTo>
                  <a:pt x="3093" y="3175"/>
                </a:lnTo>
                <a:lnTo>
                  <a:pt x="3093" y="3181"/>
                </a:lnTo>
                <a:lnTo>
                  <a:pt x="3093" y="3190"/>
                </a:lnTo>
                <a:lnTo>
                  <a:pt x="3091" y="3196"/>
                </a:lnTo>
                <a:lnTo>
                  <a:pt x="3086" y="3205"/>
                </a:lnTo>
                <a:lnTo>
                  <a:pt x="3082" y="3211"/>
                </a:lnTo>
                <a:lnTo>
                  <a:pt x="3078" y="3217"/>
                </a:lnTo>
                <a:lnTo>
                  <a:pt x="3067" y="3228"/>
                </a:lnTo>
                <a:lnTo>
                  <a:pt x="3061" y="3234"/>
                </a:lnTo>
                <a:lnTo>
                  <a:pt x="3055" y="3238"/>
                </a:lnTo>
                <a:lnTo>
                  <a:pt x="3042" y="3245"/>
                </a:lnTo>
                <a:lnTo>
                  <a:pt x="3033" y="3249"/>
                </a:lnTo>
                <a:lnTo>
                  <a:pt x="3027" y="3251"/>
                </a:lnTo>
                <a:lnTo>
                  <a:pt x="3012" y="3251"/>
                </a:lnTo>
                <a:lnTo>
                  <a:pt x="3006" y="3251"/>
                </a:lnTo>
                <a:lnTo>
                  <a:pt x="3002" y="3249"/>
                </a:lnTo>
                <a:lnTo>
                  <a:pt x="2999" y="3247"/>
                </a:lnTo>
                <a:lnTo>
                  <a:pt x="2997" y="3243"/>
                </a:lnTo>
                <a:lnTo>
                  <a:pt x="2997" y="3241"/>
                </a:lnTo>
                <a:lnTo>
                  <a:pt x="2995" y="3232"/>
                </a:lnTo>
                <a:lnTo>
                  <a:pt x="2997" y="3226"/>
                </a:lnTo>
                <a:lnTo>
                  <a:pt x="2997" y="3224"/>
                </a:lnTo>
                <a:lnTo>
                  <a:pt x="2999" y="3224"/>
                </a:lnTo>
                <a:lnTo>
                  <a:pt x="3012" y="3219"/>
                </a:lnTo>
                <a:lnTo>
                  <a:pt x="3025" y="3215"/>
                </a:lnTo>
                <a:lnTo>
                  <a:pt x="3035" y="3209"/>
                </a:lnTo>
                <a:lnTo>
                  <a:pt x="3044" y="3202"/>
                </a:lnTo>
                <a:lnTo>
                  <a:pt x="3052" y="3196"/>
                </a:lnTo>
                <a:lnTo>
                  <a:pt x="3055" y="3192"/>
                </a:lnTo>
                <a:lnTo>
                  <a:pt x="3057" y="3188"/>
                </a:lnTo>
                <a:lnTo>
                  <a:pt x="3061" y="3179"/>
                </a:lnTo>
                <a:lnTo>
                  <a:pt x="3063" y="3171"/>
                </a:lnTo>
                <a:lnTo>
                  <a:pt x="3061" y="3164"/>
                </a:lnTo>
                <a:lnTo>
                  <a:pt x="3061" y="3160"/>
                </a:lnTo>
                <a:lnTo>
                  <a:pt x="3059" y="3156"/>
                </a:lnTo>
                <a:lnTo>
                  <a:pt x="3055" y="3154"/>
                </a:lnTo>
                <a:lnTo>
                  <a:pt x="3052" y="3152"/>
                </a:lnTo>
                <a:lnTo>
                  <a:pt x="3048" y="3150"/>
                </a:lnTo>
                <a:lnTo>
                  <a:pt x="3038" y="3147"/>
                </a:lnTo>
                <a:lnTo>
                  <a:pt x="3027" y="3150"/>
                </a:lnTo>
                <a:lnTo>
                  <a:pt x="3021" y="3152"/>
                </a:lnTo>
                <a:lnTo>
                  <a:pt x="3016" y="3154"/>
                </a:lnTo>
                <a:lnTo>
                  <a:pt x="3010" y="3158"/>
                </a:lnTo>
                <a:lnTo>
                  <a:pt x="3006" y="3162"/>
                </a:lnTo>
                <a:lnTo>
                  <a:pt x="2997" y="3173"/>
                </a:lnTo>
                <a:lnTo>
                  <a:pt x="2993" y="3179"/>
                </a:lnTo>
                <a:lnTo>
                  <a:pt x="2989" y="3186"/>
                </a:lnTo>
                <a:lnTo>
                  <a:pt x="2983" y="3198"/>
                </a:lnTo>
                <a:lnTo>
                  <a:pt x="2978" y="3215"/>
                </a:lnTo>
                <a:lnTo>
                  <a:pt x="2978" y="3224"/>
                </a:lnTo>
                <a:lnTo>
                  <a:pt x="2976" y="3232"/>
                </a:lnTo>
                <a:lnTo>
                  <a:pt x="2978" y="3247"/>
                </a:lnTo>
                <a:lnTo>
                  <a:pt x="2980" y="3253"/>
                </a:lnTo>
                <a:lnTo>
                  <a:pt x="2980" y="3262"/>
                </a:lnTo>
                <a:lnTo>
                  <a:pt x="2987" y="3272"/>
                </a:lnTo>
                <a:lnTo>
                  <a:pt x="2993" y="3283"/>
                </a:lnTo>
                <a:lnTo>
                  <a:pt x="3002" y="3291"/>
                </a:lnTo>
                <a:lnTo>
                  <a:pt x="3006" y="3296"/>
                </a:lnTo>
                <a:lnTo>
                  <a:pt x="3012" y="3298"/>
                </a:lnTo>
                <a:lnTo>
                  <a:pt x="3023" y="3302"/>
                </a:lnTo>
                <a:lnTo>
                  <a:pt x="3029" y="3304"/>
                </a:lnTo>
                <a:lnTo>
                  <a:pt x="3035" y="3304"/>
                </a:lnTo>
                <a:lnTo>
                  <a:pt x="3048" y="3302"/>
                </a:lnTo>
                <a:lnTo>
                  <a:pt x="3059" y="3300"/>
                </a:lnTo>
                <a:lnTo>
                  <a:pt x="3065" y="3296"/>
                </a:lnTo>
                <a:lnTo>
                  <a:pt x="3071" y="3293"/>
                </a:lnTo>
                <a:lnTo>
                  <a:pt x="3080" y="3285"/>
                </a:lnTo>
                <a:lnTo>
                  <a:pt x="3091" y="3277"/>
                </a:lnTo>
                <a:lnTo>
                  <a:pt x="3099" y="3266"/>
                </a:lnTo>
                <a:lnTo>
                  <a:pt x="3107" y="3255"/>
                </a:lnTo>
                <a:lnTo>
                  <a:pt x="3114" y="3243"/>
                </a:lnTo>
                <a:lnTo>
                  <a:pt x="3120" y="3228"/>
                </a:lnTo>
                <a:lnTo>
                  <a:pt x="3124" y="3213"/>
                </a:lnTo>
                <a:lnTo>
                  <a:pt x="3129" y="3200"/>
                </a:lnTo>
                <a:lnTo>
                  <a:pt x="3133" y="3186"/>
                </a:lnTo>
                <a:lnTo>
                  <a:pt x="3135" y="3171"/>
                </a:lnTo>
                <a:lnTo>
                  <a:pt x="3137" y="3156"/>
                </a:lnTo>
                <a:lnTo>
                  <a:pt x="3137" y="3143"/>
                </a:lnTo>
                <a:lnTo>
                  <a:pt x="3137" y="3130"/>
                </a:lnTo>
                <a:lnTo>
                  <a:pt x="3139" y="3126"/>
                </a:lnTo>
                <a:lnTo>
                  <a:pt x="3141" y="3124"/>
                </a:lnTo>
                <a:lnTo>
                  <a:pt x="3146" y="3124"/>
                </a:lnTo>
                <a:lnTo>
                  <a:pt x="3150" y="3122"/>
                </a:lnTo>
                <a:lnTo>
                  <a:pt x="3158" y="3124"/>
                </a:lnTo>
                <a:lnTo>
                  <a:pt x="3162" y="3126"/>
                </a:lnTo>
                <a:lnTo>
                  <a:pt x="3165" y="3128"/>
                </a:lnTo>
                <a:lnTo>
                  <a:pt x="3169" y="3137"/>
                </a:lnTo>
                <a:lnTo>
                  <a:pt x="3171" y="3141"/>
                </a:lnTo>
                <a:lnTo>
                  <a:pt x="3171" y="3150"/>
                </a:lnTo>
                <a:lnTo>
                  <a:pt x="3171" y="3166"/>
                </a:lnTo>
                <a:lnTo>
                  <a:pt x="3169" y="3186"/>
                </a:lnTo>
                <a:lnTo>
                  <a:pt x="3165" y="3205"/>
                </a:lnTo>
                <a:lnTo>
                  <a:pt x="3160" y="3222"/>
                </a:lnTo>
                <a:lnTo>
                  <a:pt x="3154" y="3238"/>
                </a:lnTo>
                <a:lnTo>
                  <a:pt x="3148" y="3253"/>
                </a:lnTo>
                <a:lnTo>
                  <a:pt x="3141" y="3268"/>
                </a:lnTo>
                <a:lnTo>
                  <a:pt x="3131" y="3283"/>
                </a:lnTo>
                <a:lnTo>
                  <a:pt x="3122" y="3293"/>
                </a:lnTo>
                <a:lnTo>
                  <a:pt x="3118" y="3300"/>
                </a:lnTo>
                <a:lnTo>
                  <a:pt x="3112" y="3306"/>
                </a:lnTo>
                <a:lnTo>
                  <a:pt x="3101" y="3315"/>
                </a:lnTo>
                <a:lnTo>
                  <a:pt x="3088" y="3323"/>
                </a:lnTo>
                <a:lnTo>
                  <a:pt x="3076" y="3332"/>
                </a:lnTo>
                <a:lnTo>
                  <a:pt x="3063" y="3336"/>
                </a:lnTo>
                <a:lnTo>
                  <a:pt x="3048" y="3338"/>
                </a:lnTo>
                <a:lnTo>
                  <a:pt x="3033" y="3340"/>
                </a:lnTo>
                <a:close/>
                <a:moveTo>
                  <a:pt x="3264" y="3336"/>
                </a:moveTo>
                <a:lnTo>
                  <a:pt x="3260" y="3334"/>
                </a:lnTo>
                <a:lnTo>
                  <a:pt x="3251" y="3327"/>
                </a:lnTo>
                <a:lnTo>
                  <a:pt x="3234" y="3313"/>
                </a:lnTo>
                <a:lnTo>
                  <a:pt x="3213" y="3293"/>
                </a:lnTo>
                <a:lnTo>
                  <a:pt x="3196" y="3272"/>
                </a:lnTo>
                <a:lnTo>
                  <a:pt x="3188" y="3264"/>
                </a:lnTo>
                <a:lnTo>
                  <a:pt x="3184" y="3257"/>
                </a:lnTo>
                <a:lnTo>
                  <a:pt x="3179" y="3245"/>
                </a:lnTo>
                <a:lnTo>
                  <a:pt x="3177" y="3238"/>
                </a:lnTo>
                <a:lnTo>
                  <a:pt x="3177" y="3234"/>
                </a:lnTo>
                <a:lnTo>
                  <a:pt x="3177" y="3226"/>
                </a:lnTo>
                <a:lnTo>
                  <a:pt x="3179" y="3219"/>
                </a:lnTo>
                <a:lnTo>
                  <a:pt x="3184" y="3211"/>
                </a:lnTo>
                <a:lnTo>
                  <a:pt x="3188" y="3205"/>
                </a:lnTo>
                <a:lnTo>
                  <a:pt x="3201" y="3190"/>
                </a:lnTo>
                <a:lnTo>
                  <a:pt x="3218" y="3169"/>
                </a:lnTo>
                <a:lnTo>
                  <a:pt x="3260" y="3120"/>
                </a:lnTo>
                <a:lnTo>
                  <a:pt x="3266" y="3122"/>
                </a:lnTo>
                <a:lnTo>
                  <a:pt x="3273" y="3124"/>
                </a:lnTo>
                <a:lnTo>
                  <a:pt x="3277" y="3128"/>
                </a:lnTo>
                <a:lnTo>
                  <a:pt x="3281" y="3133"/>
                </a:lnTo>
                <a:lnTo>
                  <a:pt x="3283" y="3139"/>
                </a:lnTo>
                <a:lnTo>
                  <a:pt x="3281" y="3145"/>
                </a:lnTo>
                <a:lnTo>
                  <a:pt x="3279" y="3150"/>
                </a:lnTo>
                <a:lnTo>
                  <a:pt x="3277" y="3152"/>
                </a:lnTo>
                <a:lnTo>
                  <a:pt x="3247" y="3188"/>
                </a:lnTo>
                <a:lnTo>
                  <a:pt x="3230" y="3207"/>
                </a:lnTo>
                <a:lnTo>
                  <a:pt x="3218" y="3224"/>
                </a:lnTo>
                <a:lnTo>
                  <a:pt x="3213" y="3228"/>
                </a:lnTo>
                <a:lnTo>
                  <a:pt x="3213" y="3232"/>
                </a:lnTo>
                <a:lnTo>
                  <a:pt x="3215" y="3236"/>
                </a:lnTo>
                <a:lnTo>
                  <a:pt x="3218" y="3243"/>
                </a:lnTo>
                <a:lnTo>
                  <a:pt x="3228" y="3255"/>
                </a:lnTo>
                <a:lnTo>
                  <a:pt x="3245" y="3272"/>
                </a:lnTo>
                <a:lnTo>
                  <a:pt x="3264" y="3291"/>
                </a:lnTo>
                <a:lnTo>
                  <a:pt x="3283" y="3310"/>
                </a:lnTo>
                <a:lnTo>
                  <a:pt x="3285" y="3313"/>
                </a:lnTo>
                <a:lnTo>
                  <a:pt x="3285" y="3317"/>
                </a:lnTo>
                <a:lnTo>
                  <a:pt x="3285" y="3319"/>
                </a:lnTo>
                <a:lnTo>
                  <a:pt x="3283" y="3323"/>
                </a:lnTo>
                <a:lnTo>
                  <a:pt x="3279" y="3329"/>
                </a:lnTo>
                <a:lnTo>
                  <a:pt x="3273" y="3334"/>
                </a:lnTo>
                <a:lnTo>
                  <a:pt x="3268" y="3336"/>
                </a:lnTo>
                <a:lnTo>
                  <a:pt x="3264" y="3336"/>
                </a:lnTo>
                <a:close/>
                <a:moveTo>
                  <a:pt x="3124" y="3793"/>
                </a:moveTo>
                <a:lnTo>
                  <a:pt x="3131" y="3770"/>
                </a:lnTo>
                <a:lnTo>
                  <a:pt x="3135" y="3746"/>
                </a:lnTo>
                <a:lnTo>
                  <a:pt x="3137" y="3736"/>
                </a:lnTo>
                <a:lnTo>
                  <a:pt x="3137" y="3725"/>
                </a:lnTo>
                <a:lnTo>
                  <a:pt x="3137" y="3704"/>
                </a:lnTo>
                <a:lnTo>
                  <a:pt x="3139" y="3702"/>
                </a:lnTo>
                <a:lnTo>
                  <a:pt x="3141" y="3700"/>
                </a:lnTo>
                <a:lnTo>
                  <a:pt x="3146" y="3698"/>
                </a:lnTo>
                <a:lnTo>
                  <a:pt x="3150" y="3698"/>
                </a:lnTo>
                <a:lnTo>
                  <a:pt x="3158" y="3698"/>
                </a:lnTo>
                <a:lnTo>
                  <a:pt x="3162" y="3700"/>
                </a:lnTo>
                <a:lnTo>
                  <a:pt x="3165" y="3702"/>
                </a:lnTo>
                <a:lnTo>
                  <a:pt x="3169" y="3710"/>
                </a:lnTo>
                <a:lnTo>
                  <a:pt x="3171" y="3717"/>
                </a:lnTo>
                <a:lnTo>
                  <a:pt x="3171" y="3723"/>
                </a:lnTo>
                <a:lnTo>
                  <a:pt x="3171" y="3740"/>
                </a:lnTo>
                <a:lnTo>
                  <a:pt x="3169" y="3759"/>
                </a:lnTo>
                <a:lnTo>
                  <a:pt x="3165" y="3776"/>
                </a:lnTo>
                <a:lnTo>
                  <a:pt x="3160" y="3793"/>
                </a:lnTo>
                <a:lnTo>
                  <a:pt x="3139" y="3793"/>
                </a:lnTo>
                <a:lnTo>
                  <a:pt x="3124" y="3793"/>
                </a:lnTo>
                <a:close/>
                <a:moveTo>
                  <a:pt x="2944" y="3793"/>
                </a:moveTo>
                <a:lnTo>
                  <a:pt x="2949" y="3772"/>
                </a:lnTo>
                <a:lnTo>
                  <a:pt x="2951" y="3763"/>
                </a:lnTo>
                <a:lnTo>
                  <a:pt x="2955" y="3753"/>
                </a:lnTo>
                <a:lnTo>
                  <a:pt x="2959" y="3744"/>
                </a:lnTo>
                <a:lnTo>
                  <a:pt x="2963" y="3736"/>
                </a:lnTo>
                <a:lnTo>
                  <a:pt x="2970" y="3730"/>
                </a:lnTo>
                <a:lnTo>
                  <a:pt x="2976" y="3721"/>
                </a:lnTo>
                <a:lnTo>
                  <a:pt x="2983" y="3715"/>
                </a:lnTo>
                <a:lnTo>
                  <a:pt x="2989" y="3708"/>
                </a:lnTo>
                <a:lnTo>
                  <a:pt x="2997" y="3704"/>
                </a:lnTo>
                <a:lnTo>
                  <a:pt x="3006" y="3700"/>
                </a:lnTo>
                <a:lnTo>
                  <a:pt x="3014" y="3696"/>
                </a:lnTo>
                <a:lnTo>
                  <a:pt x="3023" y="3694"/>
                </a:lnTo>
                <a:lnTo>
                  <a:pt x="3031" y="3691"/>
                </a:lnTo>
                <a:lnTo>
                  <a:pt x="3040" y="3691"/>
                </a:lnTo>
                <a:lnTo>
                  <a:pt x="3052" y="3694"/>
                </a:lnTo>
                <a:lnTo>
                  <a:pt x="3057" y="3694"/>
                </a:lnTo>
                <a:lnTo>
                  <a:pt x="3063" y="3696"/>
                </a:lnTo>
                <a:lnTo>
                  <a:pt x="3071" y="3702"/>
                </a:lnTo>
                <a:lnTo>
                  <a:pt x="3080" y="3708"/>
                </a:lnTo>
                <a:lnTo>
                  <a:pt x="3086" y="3717"/>
                </a:lnTo>
                <a:lnTo>
                  <a:pt x="3091" y="3725"/>
                </a:lnTo>
                <a:lnTo>
                  <a:pt x="3093" y="3738"/>
                </a:lnTo>
                <a:lnTo>
                  <a:pt x="3093" y="3749"/>
                </a:lnTo>
                <a:lnTo>
                  <a:pt x="3093" y="3761"/>
                </a:lnTo>
                <a:lnTo>
                  <a:pt x="3088" y="3772"/>
                </a:lnTo>
                <a:lnTo>
                  <a:pt x="3084" y="3782"/>
                </a:lnTo>
                <a:lnTo>
                  <a:pt x="3078" y="3793"/>
                </a:lnTo>
                <a:lnTo>
                  <a:pt x="3019" y="3793"/>
                </a:lnTo>
                <a:lnTo>
                  <a:pt x="3027" y="3789"/>
                </a:lnTo>
                <a:lnTo>
                  <a:pt x="3035" y="3785"/>
                </a:lnTo>
                <a:lnTo>
                  <a:pt x="3044" y="3778"/>
                </a:lnTo>
                <a:lnTo>
                  <a:pt x="3050" y="3772"/>
                </a:lnTo>
                <a:lnTo>
                  <a:pt x="3055" y="3765"/>
                </a:lnTo>
                <a:lnTo>
                  <a:pt x="3059" y="3759"/>
                </a:lnTo>
                <a:lnTo>
                  <a:pt x="3061" y="3751"/>
                </a:lnTo>
                <a:lnTo>
                  <a:pt x="3063" y="3744"/>
                </a:lnTo>
                <a:lnTo>
                  <a:pt x="3061" y="3740"/>
                </a:lnTo>
                <a:lnTo>
                  <a:pt x="3061" y="3734"/>
                </a:lnTo>
                <a:lnTo>
                  <a:pt x="3059" y="3732"/>
                </a:lnTo>
                <a:lnTo>
                  <a:pt x="3055" y="3727"/>
                </a:lnTo>
                <a:lnTo>
                  <a:pt x="3052" y="3725"/>
                </a:lnTo>
                <a:lnTo>
                  <a:pt x="3048" y="3723"/>
                </a:lnTo>
                <a:lnTo>
                  <a:pt x="3038" y="3721"/>
                </a:lnTo>
                <a:lnTo>
                  <a:pt x="3027" y="3723"/>
                </a:lnTo>
                <a:lnTo>
                  <a:pt x="3023" y="3725"/>
                </a:lnTo>
                <a:lnTo>
                  <a:pt x="3019" y="3727"/>
                </a:lnTo>
                <a:lnTo>
                  <a:pt x="3010" y="3734"/>
                </a:lnTo>
                <a:lnTo>
                  <a:pt x="2999" y="3742"/>
                </a:lnTo>
                <a:lnTo>
                  <a:pt x="2993" y="3753"/>
                </a:lnTo>
                <a:lnTo>
                  <a:pt x="2989" y="3759"/>
                </a:lnTo>
                <a:lnTo>
                  <a:pt x="2987" y="3765"/>
                </a:lnTo>
                <a:lnTo>
                  <a:pt x="2983" y="3772"/>
                </a:lnTo>
                <a:lnTo>
                  <a:pt x="2980" y="3778"/>
                </a:lnTo>
                <a:lnTo>
                  <a:pt x="2978" y="3793"/>
                </a:lnTo>
                <a:lnTo>
                  <a:pt x="2944" y="3793"/>
                </a:lnTo>
                <a:close/>
                <a:moveTo>
                  <a:pt x="3179" y="3793"/>
                </a:moveTo>
                <a:lnTo>
                  <a:pt x="3184" y="3785"/>
                </a:lnTo>
                <a:lnTo>
                  <a:pt x="3188" y="3778"/>
                </a:lnTo>
                <a:lnTo>
                  <a:pt x="3201" y="3763"/>
                </a:lnTo>
                <a:lnTo>
                  <a:pt x="3218" y="3742"/>
                </a:lnTo>
                <a:lnTo>
                  <a:pt x="3260" y="3696"/>
                </a:lnTo>
                <a:lnTo>
                  <a:pt x="3266" y="3696"/>
                </a:lnTo>
                <a:lnTo>
                  <a:pt x="3273" y="3698"/>
                </a:lnTo>
                <a:lnTo>
                  <a:pt x="3277" y="3702"/>
                </a:lnTo>
                <a:lnTo>
                  <a:pt x="3281" y="3708"/>
                </a:lnTo>
                <a:lnTo>
                  <a:pt x="3283" y="3713"/>
                </a:lnTo>
                <a:lnTo>
                  <a:pt x="3281" y="3719"/>
                </a:lnTo>
                <a:lnTo>
                  <a:pt x="3279" y="3723"/>
                </a:lnTo>
                <a:lnTo>
                  <a:pt x="3277" y="3727"/>
                </a:lnTo>
                <a:lnTo>
                  <a:pt x="3251" y="3757"/>
                </a:lnTo>
                <a:lnTo>
                  <a:pt x="3234" y="3776"/>
                </a:lnTo>
                <a:lnTo>
                  <a:pt x="3220" y="3793"/>
                </a:lnTo>
                <a:lnTo>
                  <a:pt x="3179" y="3793"/>
                </a:lnTo>
                <a:close/>
                <a:moveTo>
                  <a:pt x="1198" y="2747"/>
                </a:moveTo>
                <a:lnTo>
                  <a:pt x="1190" y="2747"/>
                </a:lnTo>
                <a:lnTo>
                  <a:pt x="1181" y="2745"/>
                </a:lnTo>
                <a:lnTo>
                  <a:pt x="1173" y="2743"/>
                </a:lnTo>
                <a:lnTo>
                  <a:pt x="1164" y="2739"/>
                </a:lnTo>
                <a:lnTo>
                  <a:pt x="1156" y="2735"/>
                </a:lnTo>
                <a:lnTo>
                  <a:pt x="1147" y="2730"/>
                </a:lnTo>
                <a:lnTo>
                  <a:pt x="1141" y="2724"/>
                </a:lnTo>
                <a:lnTo>
                  <a:pt x="1135" y="2718"/>
                </a:lnTo>
                <a:lnTo>
                  <a:pt x="1128" y="2709"/>
                </a:lnTo>
                <a:lnTo>
                  <a:pt x="1124" y="2701"/>
                </a:lnTo>
                <a:lnTo>
                  <a:pt x="1116" y="2684"/>
                </a:lnTo>
                <a:lnTo>
                  <a:pt x="1111" y="2673"/>
                </a:lnTo>
                <a:lnTo>
                  <a:pt x="1109" y="2663"/>
                </a:lnTo>
                <a:lnTo>
                  <a:pt x="1109" y="2652"/>
                </a:lnTo>
                <a:lnTo>
                  <a:pt x="1109" y="2642"/>
                </a:lnTo>
                <a:lnTo>
                  <a:pt x="1109" y="2631"/>
                </a:lnTo>
                <a:lnTo>
                  <a:pt x="1109" y="2620"/>
                </a:lnTo>
                <a:lnTo>
                  <a:pt x="1113" y="2608"/>
                </a:lnTo>
                <a:lnTo>
                  <a:pt x="1116" y="2597"/>
                </a:lnTo>
                <a:lnTo>
                  <a:pt x="1120" y="2589"/>
                </a:lnTo>
                <a:lnTo>
                  <a:pt x="1124" y="2578"/>
                </a:lnTo>
                <a:lnTo>
                  <a:pt x="1130" y="2570"/>
                </a:lnTo>
                <a:lnTo>
                  <a:pt x="1137" y="2561"/>
                </a:lnTo>
                <a:lnTo>
                  <a:pt x="1143" y="2553"/>
                </a:lnTo>
                <a:lnTo>
                  <a:pt x="1149" y="2546"/>
                </a:lnTo>
                <a:lnTo>
                  <a:pt x="1158" y="2540"/>
                </a:lnTo>
                <a:lnTo>
                  <a:pt x="1166" y="2536"/>
                </a:lnTo>
                <a:lnTo>
                  <a:pt x="1175" y="2531"/>
                </a:lnTo>
                <a:lnTo>
                  <a:pt x="1185" y="2527"/>
                </a:lnTo>
                <a:lnTo>
                  <a:pt x="1194" y="2527"/>
                </a:lnTo>
                <a:lnTo>
                  <a:pt x="1204" y="2525"/>
                </a:lnTo>
                <a:lnTo>
                  <a:pt x="1217" y="2527"/>
                </a:lnTo>
                <a:lnTo>
                  <a:pt x="1221" y="2527"/>
                </a:lnTo>
                <a:lnTo>
                  <a:pt x="1228" y="2529"/>
                </a:lnTo>
                <a:lnTo>
                  <a:pt x="1236" y="2536"/>
                </a:lnTo>
                <a:lnTo>
                  <a:pt x="1245" y="2542"/>
                </a:lnTo>
                <a:lnTo>
                  <a:pt x="1251" y="2551"/>
                </a:lnTo>
                <a:lnTo>
                  <a:pt x="1255" y="2561"/>
                </a:lnTo>
                <a:lnTo>
                  <a:pt x="1257" y="2572"/>
                </a:lnTo>
                <a:lnTo>
                  <a:pt x="1257" y="2582"/>
                </a:lnTo>
                <a:lnTo>
                  <a:pt x="1257" y="2591"/>
                </a:lnTo>
                <a:lnTo>
                  <a:pt x="1257" y="2597"/>
                </a:lnTo>
                <a:lnTo>
                  <a:pt x="1253" y="2606"/>
                </a:lnTo>
                <a:lnTo>
                  <a:pt x="1251" y="2612"/>
                </a:lnTo>
                <a:lnTo>
                  <a:pt x="1247" y="2618"/>
                </a:lnTo>
                <a:lnTo>
                  <a:pt x="1243" y="2625"/>
                </a:lnTo>
                <a:lnTo>
                  <a:pt x="1232" y="2637"/>
                </a:lnTo>
                <a:lnTo>
                  <a:pt x="1226" y="2642"/>
                </a:lnTo>
                <a:lnTo>
                  <a:pt x="1219" y="2646"/>
                </a:lnTo>
                <a:lnTo>
                  <a:pt x="1207" y="2654"/>
                </a:lnTo>
                <a:lnTo>
                  <a:pt x="1198" y="2656"/>
                </a:lnTo>
                <a:lnTo>
                  <a:pt x="1192" y="2658"/>
                </a:lnTo>
                <a:lnTo>
                  <a:pt x="1177" y="2661"/>
                </a:lnTo>
                <a:lnTo>
                  <a:pt x="1171" y="2658"/>
                </a:lnTo>
                <a:lnTo>
                  <a:pt x="1166" y="2656"/>
                </a:lnTo>
                <a:lnTo>
                  <a:pt x="1164" y="2654"/>
                </a:lnTo>
                <a:lnTo>
                  <a:pt x="1162" y="2652"/>
                </a:lnTo>
                <a:lnTo>
                  <a:pt x="1162" y="2648"/>
                </a:lnTo>
                <a:lnTo>
                  <a:pt x="1160" y="2642"/>
                </a:lnTo>
                <a:lnTo>
                  <a:pt x="1160" y="2635"/>
                </a:lnTo>
                <a:lnTo>
                  <a:pt x="1162" y="2633"/>
                </a:lnTo>
                <a:lnTo>
                  <a:pt x="1164" y="2631"/>
                </a:lnTo>
                <a:lnTo>
                  <a:pt x="1177" y="2629"/>
                </a:lnTo>
                <a:lnTo>
                  <a:pt x="1190" y="2625"/>
                </a:lnTo>
                <a:lnTo>
                  <a:pt x="1200" y="2618"/>
                </a:lnTo>
                <a:lnTo>
                  <a:pt x="1209" y="2612"/>
                </a:lnTo>
                <a:lnTo>
                  <a:pt x="1217" y="2603"/>
                </a:lnTo>
                <a:lnTo>
                  <a:pt x="1219" y="2599"/>
                </a:lnTo>
                <a:lnTo>
                  <a:pt x="1221" y="2595"/>
                </a:lnTo>
                <a:lnTo>
                  <a:pt x="1226" y="2587"/>
                </a:lnTo>
                <a:lnTo>
                  <a:pt x="1226" y="2578"/>
                </a:lnTo>
                <a:lnTo>
                  <a:pt x="1226" y="2574"/>
                </a:lnTo>
                <a:lnTo>
                  <a:pt x="1226" y="2570"/>
                </a:lnTo>
                <a:lnTo>
                  <a:pt x="1224" y="2565"/>
                </a:lnTo>
                <a:lnTo>
                  <a:pt x="1219" y="2561"/>
                </a:lnTo>
                <a:lnTo>
                  <a:pt x="1217" y="2559"/>
                </a:lnTo>
                <a:lnTo>
                  <a:pt x="1213" y="2557"/>
                </a:lnTo>
                <a:lnTo>
                  <a:pt x="1202" y="2555"/>
                </a:lnTo>
                <a:lnTo>
                  <a:pt x="1192" y="2557"/>
                </a:lnTo>
                <a:lnTo>
                  <a:pt x="1185" y="2559"/>
                </a:lnTo>
                <a:lnTo>
                  <a:pt x="1181" y="2563"/>
                </a:lnTo>
                <a:lnTo>
                  <a:pt x="1175" y="2565"/>
                </a:lnTo>
                <a:lnTo>
                  <a:pt x="1171" y="2570"/>
                </a:lnTo>
                <a:lnTo>
                  <a:pt x="1162" y="2580"/>
                </a:lnTo>
                <a:lnTo>
                  <a:pt x="1158" y="2587"/>
                </a:lnTo>
                <a:lnTo>
                  <a:pt x="1154" y="2593"/>
                </a:lnTo>
                <a:lnTo>
                  <a:pt x="1147" y="2608"/>
                </a:lnTo>
                <a:lnTo>
                  <a:pt x="1143" y="2623"/>
                </a:lnTo>
                <a:lnTo>
                  <a:pt x="1143" y="2631"/>
                </a:lnTo>
                <a:lnTo>
                  <a:pt x="1141" y="2639"/>
                </a:lnTo>
                <a:lnTo>
                  <a:pt x="1143" y="2654"/>
                </a:lnTo>
                <a:lnTo>
                  <a:pt x="1145" y="2663"/>
                </a:lnTo>
                <a:lnTo>
                  <a:pt x="1145" y="2669"/>
                </a:lnTo>
                <a:lnTo>
                  <a:pt x="1152" y="2682"/>
                </a:lnTo>
                <a:lnTo>
                  <a:pt x="1158" y="2692"/>
                </a:lnTo>
                <a:lnTo>
                  <a:pt x="1166" y="2701"/>
                </a:lnTo>
                <a:lnTo>
                  <a:pt x="1171" y="2703"/>
                </a:lnTo>
                <a:lnTo>
                  <a:pt x="1177" y="2707"/>
                </a:lnTo>
                <a:lnTo>
                  <a:pt x="1188" y="2711"/>
                </a:lnTo>
                <a:lnTo>
                  <a:pt x="1194" y="2711"/>
                </a:lnTo>
                <a:lnTo>
                  <a:pt x="1200" y="2711"/>
                </a:lnTo>
                <a:lnTo>
                  <a:pt x="1213" y="2711"/>
                </a:lnTo>
                <a:lnTo>
                  <a:pt x="1224" y="2707"/>
                </a:lnTo>
                <a:lnTo>
                  <a:pt x="1230" y="2705"/>
                </a:lnTo>
                <a:lnTo>
                  <a:pt x="1236" y="2701"/>
                </a:lnTo>
                <a:lnTo>
                  <a:pt x="1245" y="2694"/>
                </a:lnTo>
                <a:lnTo>
                  <a:pt x="1255" y="2686"/>
                </a:lnTo>
                <a:lnTo>
                  <a:pt x="1264" y="2675"/>
                </a:lnTo>
                <a:lnTo>
                  <a:pt x="1272" y="2663"/>
                </a:lnTo>
                <a:lnTo>
                  <a:pt x="1279" y="2650"/>
                </a:lnTo>
                <a:lnTo>
                  <a:pt x="1285" y="2637"/>
                </a:lnTo>
                <a:lnTo>
                  <a:pt x="1289" y="2623"/>
                </a:lnTo>
                <a:lnTo>
                  <a:pt x="1293" y="2608"/>
                </a:lnTo>
                <a:lnTo>
                  <a:pt x="1298" y="2593"/>
                </a:lnTo>
                <a:lnTo>
                  <a:pt x="1300" y="2578"/>
                </a:lnTo>
                <a:lnTo>
                  <a:pt x="1302" y="2565"/>
                </a:lnTo>
                <a:lnTo>
                  <a:pt x="1302" y="2551"/>
                </a:lnTo>
                <a:lnTo>
                  <a:pt x="1302" y="2538"/>
                </a:lnTo>
                <a:lnTo>
                  <a:pt x="1304" y="2536"/>
                </a:lnTo>
                <a:lnTo>
                  <a:pt x="1306" y="2534"/>
                </a:lnTo>
                <a:lnTo>
                  <a:pt x="1310" y="2531"/>
                </a:lnTo>
                <a:lnTo>
                  <a:pt x="1315" y="2531"/>
                </a:lnTo>
                <a:lnTo>
                  <a:pt x="1323" y="2531"/>
                </a:lnTo>
                <a:lnTo>
                  <a:pt x="1327" y="2534"/>
                </a:lnTo>
                <a:lnTo>
                  <a:pt x="1329" y="2536"/>
                </a:lnTo>
                <a:lnTo>
                  <a:pt x="1334" y="2544"/>
                </a:lnTo>
                <a:lnTo>
                  <a:pt x="1336" y="2551"/>
                </a:lnTo>
                <a:lnTo>
                  <a:pt x="1336" y="2557"/>
                </a:lnTo>
                <a:lnTo>
                  <a:pt x="1336" y="2576"/>
                </a:lnTo>
                <a:lnTo>
                  <a:pt x="1334" y="2595"/>
                </a:lnTo>
                <a:lnTo>
                  <a:pt x="1329" y="2612"/>
                </a:lnTo>
                <a:lnTo>
                  <a:pt x="1325" y="2629"/>
                </a:lnTo>
                <a:lnTo>
                  <a:pt x="1319" y="2646"/>
                </a:lnTo>
                <a:lnTo>
                  <a:pt x="1312" y="2661"/>
                </a:lnTo>
                <a:lnTo>
                  <a:pt x="1304" y="2675"/>
                </a:lnTo>
                <a:lnTo>
                  <a:pt x="1295" y="2690"/>
                </a:lnTo>
                <a:lnTo>
                  <a:pt x="1287" y="2703"/>
                </a:lnTo>
                <a:lnTo>
                  <a:pt x="1283" y="2709"/>
                </a:lnTo>
                <a:lnTo>
                  <a:pt x="1276" y="2714"/>
                </a:lnTo>
                <a:lnTo>
                  <a:pt x="1266" y="2724"/>
                </a:lnTo>
                <a:lnTo>
                  <a:pt x="1253" y="2733"/>
                </a:lnTo>
                <a:lnTo>
                  <a:pt x="1240" y="2739"/>
                </a:lnTo>
                <a:lnTo>
                  <a:pt x="1228" y="2743"/>
                </a:lnTo>
                <a:lnTo>
                  <a:pt x="1213" y="2747"/>
                </a:lnTo>
                <a:lnTo>
                  <a:pt x="1198" y="2747"/>
                </a:lnTo>
                <a:close/>
                <a:moveTo>
                  <a:pt x="1429" y="2745"/>
                </a:moveTo>
                <a:lnTo>
                  <a:pt x="1425" y="2743"/>
                </a:lnTo>
                <a:lnTo>
                  <a:pt x="1416" y="2737"/>
                </a:lnTo>
                <a:lnTo>
                  <a:pt x="1399" y="2722"/>
                </a:lnTo>
                <a:lnTo>
                  <a:pt x="1378" y="2701"/>
                </a:lnTo>
                <a:lnTo>
                  <a:pt x="1361" y="2682"/>
                </a:lnTo>
                <a:lnTo>
                  <a:pt x="1353" y="2673"/>
                </a:lnTo>
                <a:lnTo>
                  <a:pt x="1348" y="2665"/>
                </a:lnTo>
                <a:lnTo>
                  <a:pt x="1344" y="2654"/>
                </a:lnTo>
                <a:lnTo>
                  <a:pt x="1342" y="2648"/>
                </a:lnTo>
                <a:lnTo>
                  <a:pt x="1342" y="2642"/>
                </a:lnTo>
                <a:lnTo>
                  <a:pt x="1342" y="2635"/>
                </a:lnTo>
                <a:lnTo>
                  <a:pt x="1344" y="2629"/>
                </a:lnTo>
                <a:lnTo>
                  <a:pt x="1348" y="2620"/>
                </a:lnTo>
                <a:lnTo>
                  <a:pt x="1353" y="2612"/>
                </a:lnTo>
                <a:lnTo>
                  <a:pt x="1365" y="2597"/>
                </a:lnTo>
                <a:lnTo>
                  <a:pt x="1382" y="2576"/>
                </a:lnTo>
                <a:lnTo>
                  <a:pt x="1425" y="2529"/>
                </a:lnTo>
                <a:lnTo>
                  <a:pt x="1431" y="2529"/>
                </a:lnTo>
                <a:lnTo>
                  <a:pt x="1437" y="2531"/>
                </a:lnTo>
                <a:lnTo>
                  <a:pt x="1442" y="2536"/>
                </a:lnTo>
                <a:lnTo>
                  <a:pt x="1446" y="2542"/>
                </a:lnTo>
                <a:lnTo>
                  <a:pt x="1448" y="2546"/>
                </a:lnTo>
                <a:lnTo>
                  <a:pt x="1446" y="2553"/>
                </a:lnTo>
                <a:lnTo>
                  <a:pt x="1444" y="2557"/>
                </a:lnTo>
                <a:lnTo>
                  <a:pt x="1442" y="2561"/>
                </a:lnTo>
                <a:lnTo>
                  <a:pt x="1412" y="2595"/>
                </a:lnTo>
                <a:lnTo>
                  <a:pt x="1395" y="2616"/>
                </a:lnTo>
                <a:lnTo>
                  <a:pt x="1382" y="2631"/>
                </a:lnTo>
                <a:lnTo>
                  <a:pt x="1378" y="2635"/>
                </a:lnTo>
                <a:lnTo>
                  <a:pt x="1378" y="2639"/>
                </a:lnTo>
                <a:lnTo>
                  <a:pt x="1378" y="2646"/>
                </a:lnTo>
                <a:lnTo>
                  <a:pt x="1382" y="2650"/>
                </a:lnTo>
                <a:lnTo>
                  <a:pt x="1393" y="2663"/>
                </a:lnTo>
                <a:lnTo>
                  <a:pt x="1410" y="2682"/>
                </a:lnTo>
                <a:lnTo>
                  <a:pt x="1429" y="2701"/>
                </a:lnTo>
                <a:lnTo>
                  <a:pt x="1448" y="2718"/>
                </a:lnTo>
                <a:lnTo>
                  <a:pt x="1450" y="2722"/>
                </a:lnTo>
                <a:lnTo>
                  <a:pt x="1450" y="2724"/>
                </a:lnTo>
                <a:lnTo>
                  <a:pt x="1450" y="2728"/>
                </a:lnTo>
                <a:lnTo>
                  <a:pt x="1448" y="2730"/>
                </a:lnTo>
                <a:lnTo>
                  <a:pt x="1444" y="2737"/>
                </a:lnTo>
                <a:lnTo>
                  <a:pt x="1437" y="2743"/>
                </a:lnTo>
                <a:lnTo>
                  <a:pt x="1433" y="2743"/>
                </a:lnTo>
                <a:lnTo>
                  <a:pt x="1429" y="2745"/>
                </a:lnTo>
                <a:close/>
                <a:moveTo>
                  <a:pt x="1198" y="3340"/>
                </a:moveTo>
                <a:lnTo>
                  <a:pt x="1190" y="3340"/>
                </a:lnTo>
                <a:lnTo>
                  <a:pt x="1181" y="3338"/>
                </a:lnTo>
                <a:lnTo>
                  <a:pt x="1173" y="3336"/>
                </a:lnTo>
                <a:lnTo>
                  <a:pt x="1164" y="3332"/>
                </a:lnTo>
                <a:lnTo>
                  <a:pt x="1156" y="3327"/>
                </a:lnTo>
                <a:lnTo>
                  <a:pt x="1147" y="3321"/>
                </a:lnTo>
                <a:lnTo>
                  <a:pt x="1141" y="3315"/>
                </a:lnTo>
                <a:lnTo>
                  <a:pt x="1135" y="3308"/>
                </a:lnTo>
                <a:lnTo>
                  <a:pt x="1128" y="3302"/>
                </a:lnTo>
                <a:lnTo>
                  <a:pt x="1124" y="3293"/>
                </a:lnTo>
                <a:lnTo>
                  <a:pt x="1116" y="3274"/>
                </a:lnTo>
                <a:lnTo>
                  <a:pt x="1111" y="3266"/>
                </a:lnTo>
                <a:lnTo>
                  <a:pt x="1109" y="3255"/>
                </a:lnTo>
                <a:lnTo>
                  <a:pt x="1109" y="3245"/>
                </a:lnTo>
                <a:lnTo>
                  <a:pt x="1109" y="3234"/>
                </a:lnTo>
                <a:lnTo>
                  <a:pt x="1109" y="3222"/>
                </a:lnTo>
                <a:lnTo>
                  <a:pt x="1109" y="3211"/>
                </a:lnTo>
                <a:lnTo>
                  <a:pt x="1113" y="3200"/>
                </a:lnTo>
                <a:lnTo>
                  <a:pt x="1116" y="3190"/>
                </a:lnTo>
                <a:lnTo>
                  <a:pt x="1120" y="3179"/>
                </a:lnTo>
                <a:lnTo>
                  <a:pt x="1124" y="3171"/>
                </a:lnTo>
                <a:lnTo>
                  <a:pt x="1130" y="3160"/>
                </a:lnTo>
                <a:lnTo>
                  <a:pt x="1137" y="3152"/>
                </a:lnTo>
                <a:lnTo>
                  <a:pt x="1143" y="3145"/>
                </a:lnTo>
                <a:lnTo>
                  <a:pt x="1149" y="3139"/>
                </a:lnTo>
                <a:lnTo>
                  <a:pt x="1158" y="3133"/>
                </a:lnTo>
                <a:lnTo>
                  <a:pt x="1166" y="3126"/>
                </a:lnTo>
                <a:lnTo>
                  <a:pt x="1175" y="3122"/>
                </a:lnTo>
                <a:lnTo>
                  <a:pt x="1185" y="3120"/>
                </a:lnTo>
                <a:lnTo>
                  <a:pt x="1194" y="3118"/>
                </a:lnTo>
                <a:lnTo>
                  <a:pt x="1204" y="3118"/>
                </a:lnTo>
                <a:lnTo>
                  <a:pt x="1217" y="3118"/>
                </a:lnTo>
                <a:lnTo>
                  <a:pt x="1221" y="3120"/>
                </a:lnTo>
                <a:lnTo>
                  <a:pt x="1228" y="3122"/>
                </a:lnTo>
                <a:lnTo>
                  <a:pt x="1236" y="3126"/>
                </a:lnTo>
                <a:lnTo>
                  <a:pt x="1245" y="3135"/>
                </a:lnTo>
                <a:lnTo>
                  <a:pt x="1251" y="3141"/>
                </a:lnTo>
                <a:lnTo>
                  <a:pt x="1255" y="3152"/>
                </a:lnTo>
                <a:lnTo>
                  <a:pt x="1257" y="3162"/>
                </a:lnTo>
                <a:lnTo>
                  <a:pt x="1257" y="3175"/>
                </a:lnTo>
                <a:lnTo>
                  <a:pt x="1257" y="3181"/>
                </a:lnTo>
                <a:lnTo>
                  <a:pt x="1257" y="3190"/>
                </a:lnTo>
                <a:lnTo>
                  <a:pt x="1253" y="3196"/>
                </a:lnTo>
                <a:lnTo>
                  <a:pt x="1251" y="3205"/>
                </a:lnTo>
                <a:lnTo>
                  <a:pt x="1247" y="3211"/>
                </a:lnTo>
                <a:lnTo>
                  <a:pt x="1243" y="3217"/>
                </a:lnTo>
                <a:lnTo>
                  <a:pt x="1232" y="3228"/>
                </a:lnTo>
                <a:lnTo>
                  <a:pt x="1226" y="3234"/>
                </a:lnTo>
                <a:lnTo>
                  <a:pt x="1219" y="3238"/>
                </a:lnTo>
                <a:lnTo>
                  <a:pt x="1207" y="3245"/>
                </a:lnTo>
                <a:lnTo>
                  <a:pt x="1198" y="3249"/>
                </a:lnTo>
                <a:lnTo>
                  <a:pt x="1192" y="3251"/>
                </a:lnTo>
                <a:lnTo>
                  <a:pt x="1177" y="3251"/>
                </a:lnTo>
                <a:lnTo>
                  <a:pt x="1171" y="3251"/>
                </a:lnTo>
                <a:lnTo>
                  <a:pt x="1166" y="3249"/>
                </a:lnTo>
                <a:lnTo>
                  <a:pt x="1164" y="3247"/>
                </a:lnTo>
                <a:lnTo>
                  <a:pt x="1162" y="3243"/>
                </a:lnTo>
                <a:lnTo>
                  <a:pt x="1162" y="3241"/>
                </a:lnTo>
                <a:lnTo>
                  <a:pt x="1160" y="3232"/>
                </a:lnTo>
                <a:lnTo>
                  <a:pt x="1160" y="3226"/>
                </a:lnTo>
                <a:lnTo>
                  <a:pt x="1162" y="3224"/>
                </a:lnTo>
                <a:lnTo>
                  <a:pt x="1164" y="3224"/>
                </a:lnTo>
                <a:lnTo>
                  <a:pt x="1177" y="3219"/>
                </a:lnTo>
                <a:lnTo>
                  <a:pt x="1190" y="3215"/>
                </a:lnTo>
                <a:lnTo>
                  <a:pt x="1200" y="3209"/>
                </a:lnTo>
                <a:lnTo>
                  <a:pt x="1209" y="3202"/>
                </a:lnTo>
                <a:lnTo>
                  <a:pt x="1217" y="3196"/>
                </a:lnTo>
                <a:lnTo>
                  <a:pt x="1219" y="3192"/>
                </a:lnTo>
                <a:lnTo>
                  <a:pt x="1221" y="3188"/>
                </a:lnTo>
                <a:lnTo>
                  <a:pt x="1226" y="3179"/>
                </a:lnTo>
                <a:lnTo>
                  <a:pt x="1226" y="3171"/>
                </a:lnTo>
                <a:lnTo>
                  <a:pt x="1226" y="3164"/>
                </a:lnTo>
                <a:lnTo>
                  <a:pt x="1226" y="3160"/>
                </a:lnTo>
                <a:lnTo>
                  <a:pt x="1224" y="3156"/>
                </a:lnTo>
                <a:lnTo>
                  <a:pt x="1219" y="3154"/>
                </a:lnTo>
                <a:lnTo>
                  <a:pt x="1217" y="3152"/>
                </a:lnTo>
                <a:lnTo>
                  <a:pt x="1213" y="3150"/>
                </a:lnTo>
                <a:lnTo>
                  <a:pt x="1202" y="3147"/>
                </a:lnTo>
                <a:lnTo>
                  <a:pt x="1192" y="3150"/>
                </a:lnTo>
                <a:lnTo>
                  <a:pt x="1185" y="3152"/>
                </a:lnTo>
                <a:lnTo>
                  <a:pt x="1181" y="3154"/>
                </a:lnTo>
                <a:lnTo>
                  <a:pt x="1175" y="3158"/>
                </a:lnTo>
                <a:lnTo>
                  <a:pt x="1171" y="3162"/>
                </a:lnTo>
                <a:lnTo>
                  <a:pt x="1162" y="3173"/>
                </a:lnTo>
                <a:lnTo>
                  <a:pt x="1158" y="3179"/>
                </a:lnTo>
                <a:lnTo>
                  <a:pt x="1154" y="3186"/>
                </a:lnTo>
                <a:lnTo>
                  <a:pt x="1147" y="3198"/>
                </a:lnTo>
                <a:lnTo>
                  <a:pt x="1143" y="3215"/>
                </a:lnTo>
                <a:lnTo>
                  <a:pt x="1143" y="3224"/>
                </a:lnTo>
                <a:lnTo>
                  <a:pt x="1141" y="3232"/>
                </a:lnTo>
                <a:lnTo>
                  <a:pt x="1143" y="3247"/>
                </a:lnTo>
                <a:lnTo>
                  <a:pt x="1145" y="3253"/>
                </a:lnTo>
                <a:lnTo>
                  <a:pt x="1145" y="3262"/>
                </a:lnTo>
                <a:lnTo>
                  <a:pt x="1152" y="3272"/>
                </a:lnTo>
                <a:lnTo>
                  <a:pt x="1158" y="3283"/>
                </a:lnTo>
                <a:lnTo>
                  <a:pt x="1166" y="3291"/>
                </a:lnTo>
                <a:lnTo>
                  <a:pt x="1171" y="3296"/>
                </a:lnTo>
                <a:lnTo>
                  <a:pt x="1177" y="3298"/>
                </a:lnTo>
                <a:lnTo>
                  <a:pt x="1188" y="3302"/>
                </a:lnTo>
                <a:lnTo>
                  <a:pt x="1194" y="3304"/>
                </a:lnTo>
                <a:lnTo>
                  <a:pt x="1200" y="3304"/>
                </a:lnTo>
                <a:lnTo>
                  <a:pt x="1213" y="3302"/>
                </a:lnTo>
                <a:lnTo>
                  <a:pt x="1224" y="3300"/>
                </a:lnTo>
                <a:lnTo>
                  <a:pt x="1230" y="3296"/>
                </a:lnTo>
                <a:lnTo>
                  <a:pt x="1236" y="3293"/>
                </a:lnTo>
                <a:lnTo>
                  <a:pt x="1245" y="3285"/>
                </a:lnTo>
                <a:lnTo>
                  <a:pt x="1255" y="3277"/>
                </a:lnTo>
                <a:lnTo>
                  <a:pt x="1264" y="3266"/>
                </a:lnTo>
                <a:lnTo>
                  <a:pt x="1272" y="3255"/>
                </a:lnTo>
                <a:lnTo>
                  <a:pt x="1279" y="3243"/>
                </a:lnTo>
                <a:lnTo>
                  <a:pt x="1285" y="3228"/>
                </a:lnTo>
                <a:lnTo>
                  <a:pt x="1289" y="3213"/>
                </a:lnTo>
                <a:lnTo>
                  <a:pt x="1293" y="3200"/>
                </a:lnTo>
                <a:lnTo>
                  <a:pt x="1298" y="3186"/>
                </a:lnTo>
                <a:lnTo>
                  <a:pt x="1300" y="3171"/>
                </a:lnTo>
                <a:lnTo>
                  <a:pt x="1302" y="3156"/>
                </a:lnTo>
                <a:lnTo>
                  <a:pt x="1302" y="3143"/>
                </a:lnTo>
                <a:lnTo>
                  <a:pt x="1302" y="3130"/>
                </a:lnTo>
                <a:lnTo>
                  <a:pt x="1304" y="3126"/>
                </a:lnTo>
                <a:lnTo>
                  <a:pt x="1306" y="3124"/>
                </a:lnTo>
                <a:lnTo>
                  <a:pt x="1310" y="3124"/>
                </a:lnTo>
                <a:lnTo>
                  <a:pt x="1315" y="3122"/>
                </a:lnTo>
                <a:lnTo>
                  <a:pt x="1323" y="3124"/>
                </a:lnTo>
                <a:lnTo>
                  <a:pt x="1327" y="3126"/>
                </a:lnTo>
                <a:lnTo>
                  <a:pt x="1329" y="3128"/>
                </a:lnTo>
                <a:lnTo>
                  <a:pt x="1334" y="3137"/>
                </a:lnTo>
                <a:lnTo>
                  <a:pt x="1336" y="3141"/>
                </a:lnTo>
                <a:lnTo>
                  <a:pt x="1336" y="3150"/>
                </a:lnTo>
                <a:lnTo>
                  <a:pt x="1336" y="3166"/>
                </a:lnTo>
                <a:lnTo>
                  <a:pt x="1334" y="3186"/>
                </a:lnTo>
                <a:lnTo>
                  <a:pt x="1329" y="3205"/>
                </a:lnTo>
                <a:lnTo>
                  <a:pt x="1325" y="3222"/>
                </a:lnTo>
                <a:lnTo>
                  <a:pt x="1319" y="3238"/>
                </a:lnTo>
                <a:lnTo>
                  <a:pt x="1312" y="3253"/>
                </a:lnTo>
                <a:lnTo>
                  <a:pt x="1304" y="3268"/>
                </a:lnTo>
                <a:lnTo>
                  <a:pt x="1295" y="3283"/>
                </a:lnTo>
                <a:lnTo>
                  <a:pt x="1287" y="3293"/>
                </a:lnTo>
                <a:lnTo>
                  <a:pt x="1283" y="3300"/>
                </a:lnTo>
                <a:lnTo>
                  <a:pt x="1276" y="3306"/>
                </a:lnTo>
                <a:lnTo>
                  <a:pt x="1266" y="3315"/>
                </a:lnTo>
                <a:lnTo>
                  <a:pt x="1253" y="3323"/>
                </a:lnTo>
                <a:lnTo>
                  <a:pt x="1240" y="3332"/>
                </a:lnTo>
                <a:lnTo>
                  <a:pt x="1228" y="3336"/>
                </a:lnTo>
                <a:lnTo>
                  <a:pt x="1213" y="3338"/>
                </a:lnTo>
                <a:lnTo>
                  <a:pt x="1198" y="3340"/>
                </a:lnTo>
                <a:close/>
                <a:moveTo>
                  <a:pt x="1429" y="3336"/>
                </a:moveTo>
                <a:lnTo>
                  <a:pt x="1425" y="3334"/>
                </a:lnTo>
                <a:lnTo>
                  <a:pt x="1416" y="3327"/>
                </a:lnTo>
                <a:lnTo>
                  <a:pt x="1399" y="3313"/>
                </a:lnTo>
                <a:lnTo>
                  <a:pt x="1378" y="3293"/>
                </a:lnTo>
                <a:lnTo>
                  <a:pt x="1361" y="3272"/>
                </a:lnTo>
                <a:lnTo>
                  <a:pt x="1353" y="3264"/>
                </a:lnTo>
                <a:lnTo>
                  <a:pt x="1348" y="3257"/>
                </a:lnTo>
                <a:lnTo>
                  <a:pt x="1344" y="3245"/>
                </a:lnTo>
                <a:lnTo>
                  <a:pt x="1342" y="3238"/>
                </a:lnTo>
                <a:lnTo>
                  <a:pt x="1342" y="3234"/>
                </a:lnTo>
                <a:lnTo>
                  <a:pt x="1342" y="3226"/>
                </a:lnTo>
                <a:lnTo>
                  <a:pt x="1344" y="3219"/>
                </a:lnTo>
                <a:lnTo>
                  <a:pt x="1348" y="3211"/>
                </a:lnTo>
                <a:lnTo>
                  <a:pt x="1353" y="3205"/>
                </a:lnTo>
                <a:lnTo>
                  <a:pt x="1365" y="3190"/>
                </a:lnTo>
                <a:lnTo>
                  <a:pt x="1382" y="3169"/>
                </a:lnTo>
                <a:lnTo>
                  <a:pt x="1425" y="3120"/>
                </a:lnTo>
                <a:lnTo>
                  <a:pt x="1431" y="3122"/>
                </a:lnTo>
                <a:lnTo>
                  <a:pt x="1437" y="3124"/>
                </a:lnTo>
                <a:lnTo>
                  <a:pt x="1442" y="3128"/>
                </a:lnTo>
                <a:lnTo>
                  <a:pt x="1446" y="3133"/>
                </a:lnTo>
                <a:lnTo>
                  <a:pt x="1448" y="3139"/>
                </a:lnTo>
                <a:lnTo>
                  <a:pt x="1446" y="3145"/>
                </a:lnTo>
                <a:lnTo>
                  <a:pt x="1444" y="3150"/>
                </a:lnTo>
                <a:lnTo>
                  <a:pt x="1442" y="3152"/>
                </a:lnTo>
                <a:lnTo>
                  <a:pt x="1412" y="3188"/>
                </a:lnTo>
                <a:lnTo>
                  <a:pt x="1395" y="3207"/>
                </a:lnTo>
                <a:lnTo>
                  <a:pt x="1382" y="3224"/>
                </a:lnTo>
                <a:lnTo>
                  <a:pt x="1378" y="3228"/>
                </a:lnTo>
                <a:lnTo>
                  <a:pt x="1378" y="3232"/>
                </a:lnTo>
                <a:lnTo>
                  <a:pt x="1378" y="3236"/>
                </a:lnTo>
                <a:lnTo>
                  <a:pt x="1382" y="3243"/>
                </a:lnTo>
                <a:lnTo>
                  <a:pt x="1393" y="3255"/>
                </a:lnTo>
                <a:lnTo>
                  <a:pt x="1410" y="3272"/>
                </a:lnTo>
                <a:lnTo>
                  <a:pt x="1429" y="3291"/>
                </a:lnTo>
                <a:lnTo>
                  <a:pt x="1448" y="3310"/>
                </a:lnTo>
                <a:lnTo>
                  <a:pt x="1450" y="3313"/>
                </a:lnTo>
                <a:lnTo>
                  <a:pt x="1450" y="3317"/>
                </a:lnTo>
                <a:lnTo>
                  <a:pt x="1450" y="3319"/>
                </a:lnTo>
                <a:lnTo>
                  <a:pt x="1448" y="3323"/>
                </a:lnTo>
                <a:lnTo>
                  <a:pt x="1444" y="3329"/>
                </a:lnTo>
                <a:lnTo>
                  <a:pt x="1437" y="3334"/>
                </a:lnTo>
                <a:lnTo>
                  <a:pt x="1433" y="3336"/>
                </a:lnTo>
                <a:lnTo>
                  <a:pt x="1429" y="3336"/>
                </a:lnTo>
                <a:close/>
                <a:moveTo>
                  <a:pt x="1302" y="3713"/>
                </a:moveTo>
                <a:lnTo>
                  <a:pt x="1302" y="3704"/>
                </a:lnTo>
                <a:lnTo>
                  <a:pt x="1304" y="3702"/>
                </a:lnTo>
                <a:lnTo>
                  <a:pt x="1306" y="3700"/>
                </a:lnTo>
                <a:lnTo>
                  <a:pt x="1310" y="3698"/>
                </a:lnTo>
                <a:lnTo>
                  <a:pt x="1315" y="3698"/>
                </a:lnTo>
                <a:lnTo>
                  <a:pt x="1323" y="3698"/>
                </a:lnTo>
                <a:lnTo>
                  <a:pt x="1327" y="3700"/>
                </a:lnTo>
                <a:lnTo>
                  <a:pt x="1329" y="3702"/>
                </a:lnTo>
                <a:lnTo>
                  <a:pt x="1334" y="3710"/>
                </a:lnTo>
                <a:lnTo>
                  <a:pt x="1336" y="3717"/>
                </a:lnTo>
                <a:lnTo>
                  <a:pt x="1336" y="3723"/>
                </a:lnTo>
                <a:lnTo>
                  <a:pt x="1319" y="3719"/>
                </a:lnTo>
                <a:lnTo>
                  <a:pt x="1302" y="3713"/>
                </a:lnTo>
                <a:close/>
                <a:moveTo>
                  <a:pt x="1386" y="3738"/>
                </a:moveTo>
                <a:lnTo>
                  <a:pt x="1406" y="3717"/>
                </a:lnTo>
                <a:lnTo>
                  <a:pt x="1425" y="3696"/>
                </a:lnTo>
                <a:lnTo>
                  <a:pt x="1431" y="3696"/>
                </a:lnTo>
                <a:lnTo>
                  <a:pt x="1437" y="3698"/>
                </a:lnTo>
                <a:lnTo>
                  <a:pt x="1442" y="3702"/>
                </a:lnTo>
                <a:lnTo>
                  <a:pt x="1446" y="3708"/>
                </a:lnTo>
                <a:lnTo>
                  <a:pt x="1448" y="3713"/>
                </a:lnTo>
                <a:lnTo>
                  <a:pt x="1446" y="3719"/>
                </a:lnTo>
                <a:lnTo>
                  <a:pt x="1444" y="3723"/>
                </a:lnTo>
                <a:lnTo>
                  <a:pt x="1442" y="3727"/>
                </a:lnTo>
                <a:lnTo>
                  <a:pt x="1425" y="3746"/>
                </a:lnTo>
                <a:lnTo>
                  <a:pt x="1412" y="3744"/>
                </a:lnTo>
                <a:lnTo>
                  <a:pt x="1386" y="3738"/>
                </a:lnTo>
                <a:close/>
                <a:moveTo>
                  <a:pt x="3480" y="2747"/>
                </a:moveTo>
                <a:lnTo>
                  <a:pt x="3469" y="2747"/>
                </a:lnTo>
                <a:lnTo>
                  <a:pt x="3461" y="2745"/>
                </a:lnTo>
                <a:lnTo>
                  <a:pt x="3452" y="2743"/>
                </a:lnTo>
                <a:lnTo>
                  <a:pt x="3444" y="2739"/>
                </a:lnTo>
                <a:lnTo>
                  <a:pt x="3436" y="2735"/>
                </a:lnTo>
                <a:lnTo>
                  <a:pt x="3429" y="2730"/>
                </a:lnTo>
                <a:lnTo>
                  <a:pt x="3423" y="2724"/>
                </a:lnTo>
                <a:lnTo>
                  <a:pt x="3416" y="2718"/>
                </a:lnTo>
                <a:lnTo>
                  <a:pt x="3410" y="2709"/>
                </a:lnTo>
                <a:lnTo>
                  <a:pt x="3404" y="2701"/>
                </a:lnTo>
                <a:lnTo>
                  <a:pt x="3395" y="2684"/>
                </a:lnTo>
                <a:lnTo>
                  <a:pt x="3393" y="2673"/>
                </a:lnTo>
                <a:lnTo>
                  <a:pt x="3391" y="2663"/>
                </a:lnTo>
                <a:lnTo>
                  <a:pt x="3389" y="2652"/>
                </a:lnTo>
                <a:lnTo>
                  <a:pt x="3389" y="2642"/>
                </a:lnTo>
                <a:lnTo>
                  <a:pt x="3389" y="2631"/>
                </a:lnTo>
                <a:lnTo>
                  <a:pt x="3391" y="2620"/>
                </a:lnTo>
                <a:lnTo>
                  <a:pt x="3393" y="2608"/>
                </a:lnTo>
                <a:lnTo>
                  <a:pt x="3397" y="2597"/>
                </a:lnTo>
                <a:lnTo>
                  <a:pt x="3400" y="2589"/>
                </a:lnTo>
                <a:lnTo>
                  <a:pt x="3406" y="2578"/>
                </a:lnTo>
                <a:lnTo>
                  <a:pt x="3410" y="2570"/>
                </a:lnTo>
                <a:lnTo>
                  <a:pt x="3416" y="2561"/>
                </a:lnTo>
                <a:lnTo>
                  <a:pt x="3425" y="2553"/>
                </a:lnTo>
                <a:lnTo>
                  <a:pt x="3431" y="2546"/>
                </a:lnTo>
                <a:lnTo>
                  <a:pt x="3440" y="2540"/>
                </a:lnTo>
                <a:lnTo>
                  <a:pt x="3448" y="2536"/>
                </a:lnTo>
                <a:lnTo>
                  <a:pt x="3457" y="2531"/>
                </a:lnTo>
                <a:lnTo>
                  <a:pt x="3465" y="2527"/>
                </a:lnTo>
                <a:lnTo>
                  <a:pt x="3476" y="2527"/>
                </a:lnTo>
                <a:lnTo>
                  <a:pt x="3486" y="2525"/>
                </a:lnTo>
                <a:lnTo>
                  <a:pt x="3497" y="2527"/>
                </a:lnTo>
                <a:lnTo>
                  <a:pt x="3503" y="2527"/>
                </a:lnTo>
                <a:lnTo>
                  <a:pt x="3508" y="2529"/>
                </a:lnTo>
                <a:lnTo>
                  <a:pt x="3518" y="2536"/>
                </a:lnTo>
                <a:lnTo>
                  <a:pt x="3524" y="2542"/>
                </a:lnTo>
                <a:lnTo>
                  <a:pt x="3531" y="2551"/>
                </a:lnTo>
                <a:lnTo>
                  <a:pt x="3535" y="2561"/>
                </a:lnTo>
                <a:lnTo>
                  <a:pt x="3539" y="2572"/>
                </a:lnTo>
                <a:lnTo>
                  <a:pt x="3539" y="2582"/>
                </a:lnTo>
                <a:lnTo>
                  <a:pt x="3539" y="2591"/>
                </a:lnTo>
                <a:lnTo>
                  <a:pt x="3537" y="2597"/>
                </a:lnTo>
                <a:lnTo>
                  <a:pt x="3535" y="2606"/>
                </a:lnTo>
                <a:lnTo>
                  <a:pt x="3533" y="2612"/>
                </a:lnTo>
                <a:lnTo>
                  <a:pt x="3529" y="2618"/>
                </a:lnTo>
                <a:lnTo>
                  <a:pt x="3524" y="2625"/>
                </a:lnTo>
                <a:lnTo>
                  <a:pt x="3514" y="2637"/>
                </a:lnTo>
                <a:lnTo>
                  <a:pt x="3508" y="2642"/>
                </a:lnTo>
                <a:lnTo>
                  <a:pt x="3501" y="2646"/>
                </a:lnTo>
                <a:lnTo>
                  <a:pt x="3486" y="2654"/>
                </a:lnTo>
                <a:lnTo>
                  <a:pt x="3480" y="2656"/>
                </a:lnTo>
                <a:lnTo>
                  <a:pt x="3472" y="2658"/>
                </a:lnTo>
                <a:lnTo>
                  <a:pt x="3457" y="2661"/>
                </a:lnTo>
                <a:lnTo>
                  <a:pt x="3450" y="2658"/>
                </a:lnTo>
                <a:lnTo>
                  <a:pt x="3448" y="2656"/>
                </a:lnTo>
                <a:lnTo>
                  <a:pt x="3446" y="2654"/>
                </a:lnTo>
                <a:lnTo>
                  <a:pt x="3444" y="2652"/>
                </a:lnTo>
                <a:lnTo>
                  <a:pt x="3442" y="2648"/>
                </a:lnTo>
                <a:lnTo>
                  <a:pt x="3442" y="2642"/>
                </a:lnTo>
                <a:lnTo>
                  <a:pt x="3442" y="2635"/>
                </a:lnTo>
                <a:lnTo>
                  <a:pt x="3444" y="2633"/>
                </a:lnTo>
                <a:lnTo>
                  <a:pt x="3446" y="2631"/>
                </a:lnTo>
                <a:lnTo>
                  <a:pt x="3459" y="2629"/>
                </a:lnTo>
                <a:lnTo>
                  <a:pt x="3469" y="2625"/>
                </a:lnTo>
                <a:lnTo>
                  <a:pt x="3480" y="2618"/>
                </a:lnTo>
                <a:lnTo>
                  <a:pt x="3491" y="2612"/>
                </a:lnTo>
                <a:lnTo>
                  <a:pt x="3497" y="2603"/>
                </a:lnTo>
                <a:lnTo>
                  <a:pt x="3501" y="2599"/>
                </a:lnTo>
                <a:lnTo>
                  <a:pt x="3503" y="2595"/>
                </a:lnTo>
                <a:lnTo>
                  <a:pt x="3505" y="2587"/>
                </a:lnTo>
                <a:lnTo>
                  <a:pt x="3508" y="2578"/>
                </a:lnTo>
                <a:lnTo>
                  <a:pt x="3508" y="2574"/>
                </a:lnTo>
                <a:lnTo>
                  <a:pt x="3505" y="2570"/>
                </a:lnTo>
                <a:lnTo>
                  <a:pt x="3503" y="2565"/>
                </a:lnTo>
                <a:lnTo>
                  <a:pt x="3501" y="2561"/>
                </a:lnTo>
                <a:lnTo>
                  <a:pt x="3497" y="2559"/>
                </a:lnTo>
                <a:lnTo>
                  <a:pt x="3493" y="2557"/>
                </a:lnTo>
                <a:lnTo>
                  <a:pt x="3482" y="2555"/>
                </a:lnTo>
                <a:lnTo>
                  <a:pt x="3472" y="2557"/>
                </a:lnTo>
                <a:lnTo>
                  <a:pt x="3467" y="2559"/>
                </a:lnTo>
                <a:lnTo>
                  <a:pt x="3461" y="2563"/>
                </a:lnTo>
                <a:lnTo>
                  <a:pt x="3457" y="2565"/>
                </a:lnTo>
                <a:lnTo>
                  <a:pt x="3452" y="2570"/>
                </a:lnTo>
                <a:lnTo>
                  <a:pt x="3442" y="2580"/>
                </a:lnTo>
                <a:lnTo>
                  <a:pt x="3438" y="2587"/>
                </a:lnTo>
                <a:lnTo>
                  <a:pt x="3433" y="2593"/>
                </a:lnTo>
                <a:lnTo>
                  <a:pt x="3429" y="2608"/>
                </a:lnTo>
                <a:lnTo>
                  <a:pt x="3425" y="2623"/>
                </a:lnTo>
                <a:lnTo>
                  <a:pt x="3423" y="2631"/>
                </a:lnTo>
                <a:lnTo>
                  <a:pt x="3423" y="2639"/>
                </a:lnTo>
                <a:lnTo>
                  <a:pt x="3423" y="2654"/>
                </a:lnTo>
                <a:lnTo>
                  <a:pt x="3425" y="2663"/>
                </a:lnTo>
                <a:lnTo>
                  <a:pt x="3427" y="2669"/>
                </a:lnTo>
                <a:lnTo>
                  <a:pt x="3431" y="2682"/>
                </a:lnTo>
                <a:lnTo>
                  <a:pt x="3438" y="2692"/>
                </a:lnTo>
                <a:lnTo>
                  <a:pt x="3446" y="2701"/>
                </a:lnTo>
                <a:lnTo>
                  <a:pt x="3452" y="2703"/>
                </a:lnTo>
                <a:lnTo>
                  <a:pt x="3457" y="2707"/>
                </a:lnTo>
                <a:lnTo>
                  <a:pt x="3467" y="2711"/>
                </a:lnTo>
                <a:lnTo>
                  <a:pt x="3474" y="2711"/>
                </a:lnTo>
                <a:lnTo>
                  <a:pt x="3480" y="2711"/>
                </a:lnTo>
                <a:lnTo>
                  <a:pt x="3493" y="2711"/>
                </a:lnTo>
                <a:lnTo>
                  <a:pt x="3505" y="2707"/>
                </a:lnTo>
                <a:lnTo>
                  <a:pt x="3512" y="2705"/>
                </a:lnTo>
                <a:lnTo>
                  <a:pt x="3516" y="2701"/>
                </a:lnTo>
                <a:lnTo>
                  <a:pt x="3527" y="2694"/>
                </a:lnTo>
                <a:lnTo>
                  <a:pt x="3535" y="2686"/>
                </a:lnTo>
                <a:lnTo>
                  <a:pt x="3543" y="2675"/>
                </a:lnTo>
                <a:lnTo>
                  <a:pt x="3552" y="2663"/>
                </a:lnTo>
                <a:lnTo>
                  <a:pt x="3558" y="2650"/>
                </a:lnTo>
                <a:lnTo>
                  <a:pt x="3565" y="2637"/>
                </a:lnTo>
                <a:lnTo>
                  <a:pt x="3571" y="2623"/>
                </a:lnTo>
                <a:lnTo>
                  <a:pt x="3575" y="2608"/>
                </a:lnTo>
                <a:lnTo>
                  <a:pt x="3577" y="2593"/>
                </a:lnTo>
                <a:lnTo>
                  <a:pt x="3582" y="2578"/>
                </a:lnTo>
                <a:lnTo>
                  <a:pt x="3582" y="2565"/>
                </a:lnTo>
                <a:lnTo>
                  <a:pt x="3584" y="2551"/>
                </a:lnTo>
                <a:lnTo>
                  <a:pt x="3582" y="2538"/>
                </a:lnTo>
                <a:lnTo>
                  <a:pt x="3584" y="2536"/>
                </a:lnTo>
                <a:lnTo>
                  <a:pt x="3588" y="2534"/>
                </a:lnTo>
                <a:lnTo>
                  <a:pt x="3592" y="2531"/>
                </a:lnTo>
                <a:lnTo>
                  <a:pt x="3596" y="2531"/>
                </a:lnTo>
                <a:lnTo>
                  <a:pt x="3601" y="2531"/>
                </a:lnTo>
                <a:lnTo>
                  <a:pt x="3605" y="2534"/>
                </a:lnTo>
                <a:lnTo>
                  <a:pt x="3609" y="2536"/>
                </a:lnTo>
                <a:lnTo>
                  <a:pt x="3613" y="2540"/>
                </a:lnTo>
                <a:lnTo>
                  <a:pt x="3613" y="2599"/>
                </a:lnTo>
                <a:lnTo>
                  <a:pt x="3609" y="2614"/>
                </a:lnTo>
                <a:lnTo>
                  <a:pt x="3605" y="2629"/>
                </a:lnTo>
                <a:lnTo>
                  <a:pt x="3601" y="2644"/>
                </a:lnTo>
                <a:lnTo>
                  <a:pt x="3596" y="2656"/>
                </a:lnTo>
                <a:lnTo>
                  <a:pt x="3590" y="2669"/>
                </a:lnTo>
                <a:lnTo>
                  <a:pt x="3582" y="2682"/>
                </a:lnTo>
                <a:lnTo>
                  <a:pt x="3575" y="2694"/>
                </a:lnTo>
                <a:lnTo>
                  <a:pt x="3567" y="2705"/>
                </a:lnTo>
                <a:lnTo>
                  <a:pt x="3558" y="2714"/>
                </a:lnTo>
                <a:lnTo>
                  <a:pt x="3548" y="2722"/>
                </a:lnTo>
                <a:lnTo>
                  <a:pt x="3537" y="2730"/>
                </a:lnTo>
                <a:lnTo>
                  <a:pt x="3527" y="2737"/>
                </a:lnTo>
                <a:lnTo>
                  <a:pt x="3516" y="2741"/>
                </a:lnTo>
                <a:lnTo>
                  <a:pt x="3505" y="2745"/>
                </a:lnTo>
                <a:lnTo>
                  <a:pt x="3493" y="2747"/>
                </a:lnTo>
                <a:lnTo>
                  <a:pt x="3480" y="2747"/>
                </a:lnTo>
                <a:close/>
                <a:moveTo>
                  <a:pt x="3480" y="3340"/>
                </a:moveTo>
                <a:lnTo>
                  <a:pt x="3469" y="3340"/>
                </a:lnTo>
                <a:lnTo>
                  <a:pt x="3461" y="3338"/>
                </a:lnTo>
                <a:lnTo>
                  <a:pt x="3452" y="3336"/>
                </a:lnTo>
                <a:lnTo>
                  <a:pt x="3444" y="3332"/>
                </a:lnTo>
                <a:lnTo>
                  <a:pt x="3436" y="3327"/>
                </a:lnTo>
                <a:lnTo>
                  <a:pt x="3429" y="3321"/>
                </a:lnTo>
                <a:lnTo>
                  <a:pt x="3423" y="3315"/>
                </a:lnTo>
                <a:lnTo>
                  <a:pt x="3416" y="3308"/>
                </a:lnTo>
                <a:lnTo>
                  <a:pt x="3410" y="3302"/>
                </a:lnTo>
                <a:lnTo>
                  <a:pt x="3404" y="3293"/>
                </a:lnTo>
                <a:lnTo>
                  <a:pt x="3395" y="3274"/>
                </a:lnTo>
                <a:lnTo>
                  <a:pt x="3393" y="3266"/>
                </a:lnTo>
                <a:lnTo>
                  <a:pt x="3391" y="3255"/>
                </a:lnTo>
                <a:lnTo>
                  <a:pt x="3389" y="3245"/>
                </a:lnTo>
                <a:lnTo>
                  <a:pt x="3389" y="3234"/>
                </a:lnTo>
                <a:lnTo>
                  <a:pt x="3389" y="3222"/>
                </a:lnTo>
                <a:lnTo>
                  <a:pt x="3391" y="3211"/>
                </a:lnTo>
                <a:lnTo>
                  <a:pt x="3393" y="3200"/>
                </a:lnTo>
                <a:lnTo>
                  <a:pt x="3397" y="3190"/>
                </a:lnTo>
                <a:lnTo>
                  <a:pt x="3400" y="3179"/>
                </a:lnTo>
                <a:lnTo>
                  <a:pt x="3406" y="3171"/>
                </a:lnTo>
                <a:lnTo>
                  <a:pt x="3410" y="3160"/>
                </a:lnTo>
                <a:lnTo>
                  <a:pt x="3416" y="3152"/>
                </a:lnTo>
                <a:lnTo>
                  <a:pt x="3425" y="3145"/>
                </a:lnTo>
                <a:lnTo>
                  <a:pt x="3431" y="3139"/>
                </a:lnTo>
                <a:lnTo>
                  <a:pt x="3440" y="3133"/>
                </a:lnTo>
                <a:lnTo>
                  <a:pt x="3448" y="3126"/>
                </a:lnTo>
                <a:lnTo>
                  <a:pt x="3457" y="3122"/>
                </a:lnTo>
                <a:lnTo>
                  <a:pt x="3465" y="3120"/>
                </a:lnTo>
                <a:lnTo>
                  <a:pt x="3476" y="3118"/>
                </a:lnTo>
                <a:lnTo>
                  <a:pt x="3486" y="3118"/>
                </a:lnTo>
                <a:lnTo>
                  <a:pt x="3497" y="3118"/>
                </a:lnTo>
                <a:lnTo>
                  <a:pt x="3503" y="3120"/>
                </a:lnTo>
                <a:lnTo>
                  <a:pt x="3508" y="3122"/>
                </a:lnTo>
                <a:lnTo>
                  <a:pt x="3518" y="3126"/>
                </a:lnTo>
                <a:lnTo>
                  <a:pt x="3524" y="3135"/>
                </a:lnTo>
                <a:lnTo>
                  <a:pt x="3531" y="3141"/>
                </a:lnTo>
                <a:lnTo>
                  <a:pt x="3535" y="3152"/>
                </a:lnTo>
                <a:lnTo>
                  <a:pt x="3539" y="3162"/>
                </a:lnTo>
                <a:lnTo>
                  <a:pt x="3539" y="3175"/>
                </a:lnTo>
                <a:lnTo>
                  <a:pt x="3539" y="3181"/>
                </a:lnTo>
                <a:lnTo>
                  <a:pt x="3537" y="3190"/>
                </a:lnTo>
                <a:lnTo>
                  <a:pt x="3535" y="3196"/>
                </a:lnTo>
                <a:lnTo>
                  <a:pt x="3533" y="3205"/>
                </a:lnTo>
                <a:lnTo>
                  <a:pt x="3529" y="3211"/>
                </a:lnTo>
                <a:lnTo>
                  <a:pt x="3524" y="3217"/>
                </a:lnTo>
                <a:lnTo>
                  <a:pt x="3514" y="3228"/>
                </a:lnTo>
                <a:lnTo>
                  <a:pt x="3508" y="3234"/>
                </a:lnTo>
                <a:lnTo>
                  <a:pt x="3501" y="3238"/>
                </a:lnTo>
                <a:lnTo>
                  <a:pt x="3486" y="3245"/>
                </a:lnTo>
                <a:lnTo>
                  <a:pt x="3480" y="3249"/>
                </a:lnTo>
                <a:lnTo>
                  <a:pt x="3472" y="3251"/>
                </a:lnTo>
                <a:lnTo>
                  <a:pt x="3457" y="3251"/>
                </a:lnTo>
                <a:lnTo>
                  <a:pt x="3450" y="3251"/>
                </a:lnTo>
                <a:lnTo>
                  <a:pt x="3448" y="3249"/>
                </a:lnTo>
                <a:lnTo>
                  <a:pt x="3446" y="3247"/>
                </a:lnTo>
                <a:lnTo>
                  <a:pt x="3444" y="3243"/>
                </a:lnTo>
                <a:lnTo>
                  <a:pt x="3442" y="3241"/>
                </a:lnTo>
                <a:lnTo>
                  <a:pt x="3442" y="3232"/>
                </a:lnTo>
                <a:lnTo>
                  <a:pt x="3442" y="3226"/>
                </a:lnTo>
                <a:lnTo>
                  <a:pt x="3444" y="3224"/>
                </a:lnTo>
                <a:lnTo>
                  <a:pt x="3446" y="3224"/>
                </a:lnTo>
                <a:lnTo>
                  <a:pt x="3459" y="3219"/>
                </a:lnTo>
                <a:lnTo>
                  <a:pt x="3469" y="3215"/>
                </a:lnTo>
                <a:lnTo>
                  <a:pt x="3480" y="3209"/>
                </a:lnTo>
                <a:lnTo>
                  <a:pt x="3491" y="3202"/>
                </a:lnTo>
                <a:lnTo>
                  <a:pt x="3497" y="3196"/>
                </a:lnTo>
                <a:lnTo>
                  <a:pt x="3501" y="3192"/>
                </a:lnTo>
                <a:lnTo>
                  <a:pt x="3503" y="3188"/>
                </a:lnTo>
                <a:lnTo>
                  <a:pt x="3505" y="3179"/>
                </a:lnTo>
                <a:lnTo>
                  <a:pt x="3508" y="3171"/>
                </a:lnTo>
                <a:lnTo>
                  <a:pt x="3508" y="3164"/>
                </a:lnTo>
                <a:lnTo>
                  <a:pt x="3505" y="3160"/>
                </a:lnTo>
                <a:lnTo>
                  <a:pt x="3503" y="3156"/>
                </a:lnTo>
                <a:lnTo>
                  <a:pt x="3501" y="3154"/>
                </a:lnTo>
                <a:lnTo>
                  <a:pt x="3497" y="3152"/>
                </a:lnTo>
                <a:lnTo>
                  <a:pt x="3493" y="3150"/>
                </a:lnTo>
                <a:lnTo>
                  <a:pt x="3482" y="3147"/>
                </a:lnTo>
                <a:lnTo>
                  <a:pt x="3472" y="3150"/>
                </a:lnTo>
                <a:lnTo>
                  <a:pt x="3467" y="3152"/>
                </a:lnTo>
                <a:lnTo>
                  <a:pt x="3461" y="3154"/>
                </a:lnTo>
                <a:lnTo>
                  <a:pt x="3457" y="3158"/>
                </a:lnTo>
                <a:lnTo>
                  <a:pt x="3452" y="3162"/>
                </a:lnTo>
                <a:lnTo>
                  <a:pt x="3442" y="3173"/>
                </a:lnTo>
                <a:lnTo>
                  <a:pt x="3438" y="3179"/>
                </a:lnTo>
                <a:lnTo>
                  <a:pt x="3433" y="3186"/>
                </a:lnTo>
                <a:lnTo>
                  <a:pt x="3429" y="3198"/>
                </a:lnTo>
                <a:lnTo>
                  <a:pt x="3425" y="3215"/>
                </a:lnTo>
                <a:lnTo>
                  <a:pt x="3423" y="3224"/>
                </a:lnTo>
                <a:lnTo>
                  <a:pt x="3423" y="3232"/>
                </a:lnTo>
                <a:lnTo>
                  <a:pt x="3423" y="3247"/>
                </a:lnTo>
                <a:lnTo>
                  <a:pt x="3425" y="3253"/>
                </a:lnTo>
                <a:lnTo>
                  <a:pt x="3427" y="3262"/>
                </a:lnTo>
                <a:lnTo>
                  <a:pt x="3431" y="3272"/>
                </a:lnTo>
                <a:lnTo>
                  <a:pt x="3438" y="3283"/>
                </a:lnTo>
                <a:lnTo>
                  <a:pt x="3446" y="3291"/>
                </a:lnTo>
                <a:lnTo>
                  <a:pt x="3452" y="3296"/>
                </a:lnTo>
                <a:lnTo>
                  <a:pt x="3457" y="3298"/>
                </a:lnTo>
                <a:lnTo>
                  <a:pt x="3467" y="3302"/>
                </a:lnTo>
                <a:lnTo>
                  <a:pt x="3474" y="3304"/>
                </a:lnTo>
                <a:lnTo>
                  <a:pt x="3480" y="3304"/>
                </a:lnTo>
                <a:lnTo>
                  <a:pt x="3493" y="3302"/>
                </a:lnTo>
                <a:lnTo>
                  <a:pt x="3505" y="3300"/>
                </a:lnTo>
                <a:lnTo>
                  <a:pt x="3512" y="3296"/>
                </a:lnTo>
                <a:lnTo>
                  <a:pt x="3516" y="3293"/>
                </a:lnTo>
                <a:lnTo>
                  <a:pt x="3527" y="3285"/>
                </a:lnTo>
                <a:lnTo>
                  <a:pt x="3535" y="3277"/>
                </a:lnTo>
                <a:lnTo>
                  <a:pt x="3543" y="3266"/>
                </a:lnTo>
                <a:lnTo>
                  <a:pt x="3552" y="3255"/>
                </a:lnTo>
                <a:lnTo>
                  <a:pt x="3558" y="3243"/>
                </a:lnTo>
                <a:lnTo>
                  <a:pt x="3565" y="3228"/>
                </a:lnTo>
                <a:lnTo>
                  <a:pt x="3571" y="3213"/>
                </a:lnTo>
                <a:lnTo>
                  <a:pt x="3575" y="3200"/>
                </a:lnTo>
                <a:lnTo>
                  <a:pt x="3577" y="3186"/>
                </a:lnTo>
                <a:lnTo>
                  <a:pt x="3582" y="3171"/>
                </a:lnTo>
                <a:lnTo>
                  <a:pt x="3582" y="3156"/>
                </a:lnTo>
                <a:lnTo>
                  <a:pt x="3584" y="3143"/>
                </a:lnTo>
                <a:lnTo>
                  <a:pt x="3582" y="3130"/>
                </a:lnTo>
                <a:lnTo>
                  <a:pt x="3584" y="3126"/>
                </a:lnTo>
                <a:lnTo>
                  <a:pt x="3588" y="3124"/>
                </a:lnTo>
                <a:lnTo>
                  <a:pt x="3592" y="3124"/>
                </a:lnTo>
                <a:lnTo>
                  <a:pt x="3596" y="3122"/>
                </a:lnTo>
                <a:lnTo>
                  <a:pt x="3601" y="3124"/>
                </a:lnTo>
                <a:lnTo>
                  <a:pt x="3605" y="3124"/>
                </a:lnTo>
                <a:lnTo>
                  <a:pt x="3609" y="3126"/>
                </a:lnTo>
                <a:lnTo>
                  <a:pt x="3613" y="3130"/>
                </a:lnTo>
                <a:lnTo>
                  <a:pt x="3613" y="3190"/>
                </a:lnTo>
                <a:lnTo>
                  <a:pt x="3609" y="3205"/>
                </a:lnTo>
                <a:lnTo>
                  <a:pt x="3605" y="3219"/>
                </a:lnTo>
                <a:lnTo>
                  <a:pt x="3601" y="3234"/>
                </a:lnTo>
                <a:lnTo>
                  <a:pt x="3596" y="3249"/>
                </a:lnTo>
                <a:lnTo>
                  <a:pt x="3590" y="3262"/>
                </a:lnTo>
                <a:lnTo>
                  <a:pt x="3582" y="3274"/>
                </a:lnTo>
                <a:lnTo>
                  <a:pt x="3575" y="3285"/>
                </a:lnTo>
                <a:lnTo>
                  <a:pt x="3567" y="3296"/>
                </a:lnTo>
                <a:lnTo>
                  <a:pt x="3558" y="3306"/>
                </a:lnTo>
                <a:lnTo>
                  <a:pt x="3548" y="3315"/>
                </a:lnTo>
                <a:lnTo>
                  <a:pt x="3537" y="3321"/>
                </a:lnTo>
                <a:lnTo>
                  <a:pt x="3527" y="3327"/>
                </a:lnTo>
                <a:lnTo>
                  <a:pt x="3516" y="3334"/>
                </a:lnTo>
                <a:lnTo>
                  <a:pt x="3505" y="3336"/>
                </a:lnTo>
                <a:lnTo>
                  <a:pt x="3493" y="3338"/>
                </a:lnTo>
                <a:lnTo>
                  <a:pt x="3480" y="3340"/>
                </a:lnTo>
                <a:close/>
                <a:moveTo>
                  <a:pt x="3569" y="3793"/>
                </a:moveTo>
                <a:lnTo>
                  <a:pt x="3575" y="3770"/>
                </a:lnTo>
                <a:lnTo>
                  <a:pt x="3579" y="3746"/>
                </a:lnTo>
                <a:lnTo>
                  <a:pt x="3582" y="3736"/>
                </a:lnTo>
                <a:lnTo>
                  <a:pt x="3584" y="3725"/>
                </a:lnTo>
                <a:lnTo>
                  <a:pt x="3582" y="3704"/>
                </a:lnTo>
                <a:lnTo>
                  <a:pt x="3584" y="3702"/>
                </a:lnTo>
                <a:lnTo>
                  <a:pt x="3588" y="3700"/>
                </a:lnTo>
                <a:lnTo>
                  <a:pt x="3592" y="3698"/>
                </a:lnTo>
                <a:lnTo>
                  <a:pt x="3596" y="3698"/>
                </a:lnTo>
                <a:lnTo>
                  <a:pt x="3601" y="3698"/>
                </a:lnTo>
                <a:lnTo>
                  <a:pt x="3605" y="3700"/>
                </a:lnTo>
                <a:lnTo>
                  <a:pt x="3609" y="3702"/>
                </a:lnTo>
                <a:lnTo>
                  <a:pt x="3613" y="3706"/>
                </a:lnTo>
                <a:lnTo>
                  <a:pt x="3613" y="3765"/>
                </a:lnTo>
                <a:lnTo>
                  <a:pt x="3609" y="3778"/>
                </a:lnTo>
                <a:lnTo>
                  <a:pt x="3607" y="3793"/>
                </a:lnTo>
                <a:lnTo>
                  <a:pt x="3569" y="3793"/>
                </a:lnTo>
                <a:close/>
                <a:moveTo>
                  <a:pt x="3389" y="3793"/>
                </a:moveTo>
                <a:lnTo>
                  <a:pt x="3393" y="3772"/>
                </a:lnTo>
                <a:lnTo>
                  <a:pt x="3397" y="3763"/>
                </a:lnTo>
                <a:lnTo>
                  <a:pt x="3402" y="3753"/>
                </a:lnTo>
                <a:lnTo>
                  <a:pt x="3406" y="3744"/>
                </a:lnTo>
                <a:lnTo>
                  <a:pt x="3410" y="3736"/>
                </a:lnTo>
                <a:lnTo>
                  <a:pt x="3416" y="3730"/>
                </a:lnTo>
                <a:lnTo>
                  <a:pt x="3421" y="3721"/>
                </a:lnTo>
                <a:lnTo>
                  <a:pt x="3429" y="3715"/>
                </a:lnTo>
                <a:lnTo>
                  <a:pt x="3436" y="3708"/>
                </a:lnTo>
                <a:lnTo>
                  <a:pt x="3442" y="3704"/>
                </a:lnTo>
                <a:lnTo>
                  <a:pt x="3450" y="3700"/>
                </a:lnTo>
                <a:lnTo>
                  <a:pt x="3459" y="3696"/>
                </a:lnTo>
                <a:lnTo>
                  <a:pt x="3467" y="3694"/>
                </a:lnTo>
                <a:lnTo>
                  <a:pt x="3476" y="3691"/>
                </a:lnTo>
                <a:lnTo>
                  <a:pt x="3486" y="3691"/>
                </a:lnTo>
                <a:lnTo>
                  <a:pt x="3497" y="3694"/>
                </a:lnTo>
                <a:lnTo>
                  <a:pt x="3503" y="3694"/>
                </a:lnTo>
                <a:lnTo>
                  <a:pt x="3508" y="3696"/>
                </a:lnTo>
                <a:lnTo>
                  <a:pt x="3518" y="3702"/>
                </a:lnTo>
                <a:lnTo>
                  <a:pt x="3524" y="3708"/>
                </a:lnTo>
                <a:lnTo>
                  <a:pt x="3531" y="3717"/>
                </a:lnTo>
                <a:lnTo>
                  <a:pt x="3535" y="3725"/>
                </a:lnTo>
                <a:lnTo>
                  <a:pt x="3539" y="3738"/>
                </a:lnTo>
                <a:lnTo>
                  <a:pt x="3539" y="3749"/>
                </a:lnTo>
                <a:lnTo>
                  <a:pt x="3537" y="3761"/>
                </a:lnTo>
                <a:lnTo>
                  <a:pt x="3535" y="3772"/>
                </a:lnTo>
                <a:lnTo>
                  <a:pt x="3529" y="3782"/>
                </a:lnTo>
                <a:lnTo>
                  <a:pt x="3522" y="3793"/>
                </a:lnTo>
                <a:lnTo>
                  <a:pt x="3463" y="3793"/>
                </a:lnTo>
                <a:lnTo>
                  <a:pt x="3474" y="3789"/>
                </a:lnTo>
                <a:lnTo>
                  <a:pt x="3482" y="3785"/>
                </a:lnTo>
                <a:lnTo>
                  <a:pt x="3488" y="3778"/>
                </a:lnTo>
                <a:lnTo>
                  <a:pt x="3495" y="3772"/>
                </a:lnTo>
                <a:lnTo>
                  <a:pt x="3501" y="3765"/>
                </a:lnTo>
                <a:lnTo>
                  <a:pt x="3503" y="3759"/>
                </a:lnTo>
                <a:lnTo>
                  <a:pt x="3508" y="3751"/>
                </a:lnTo>
                <a:lnTo>
                  <a:pt x="3508" y="3744"/>
                </a:lnTo>
                <a:lnTo>
                  <a:pt x="3508" y="3740"/>
                </a:lnTo>
                <a:lnTo>
                  <a:pt x="3505" y="3734"/>
                </a:lnTo>
                <a:lnTo>
                  <a:pt x="3503" y="3732"/>
                </a:lnTo>
                <a:lnTo>
                  <a:pt x="3501" y="3727"/>
                </a:lnTo>
                <a:lnTo>
                  <a:pt x="3497" y="3725"/>
                </a:lnTo>
                <a:lnTo>
                  <a:pt x="3493" y="3723"/>
                </a:lnTo>
                <a:lnTo>
                  <a:pt x="3482" y="3721"/>
                </a:lnTo>
                <a:lnTo>
                  <a:pt x="3474" y="3723"/>
                </a:lnTo>
                <a:lnTo>
                  <a:pt x="3469" y="3725"/>
                </a:lnTo>
                <a:lnTo>
                  <a:pt x="3463" y="3727"/>
                </a:lnTo>
                <a:lnTo>
                  <a:pt x="3455" y="3734"/>
                </a:lnTo>
                <a:lnTo>
                  <a:pt x="3446" y="3742"/>
                </a:lnTo>
                <a:lnTo>
                  <a:pt x="3438" y="3753"/>
                </a:lnTo>
                <a:lnTo>
                  <a:pt x="3436" y="3759"/>
                </a:lnTo>
                <a:lnTo>
                  <a:pt x="3431" y="3765"/>
                </a:lnTo>
                <a:lnTo>
                  <a:pt x="3429" y="3772"/>
                </a:lnTo>
                <a:lnTo>
                  <a:pt x="3427" y="3778"/>
                </a:lnTo>
                <a:lnTo>
                  <a:pt x="3423" y="3793"/>
                </a:lnTo>
                <a:lnTo>
                  <a:pt x="3389" y="3793"/>
                </a:lnTo>
                <a:close/>
                <a:moveTo>
                  <a:pt x="1835" y="2451"/>
                </a:moveTo>
                <a:lnTo>
                  <a:pt x="1825" y="2451"/>
                </a:lnTo>
                <a:lnTo>
                  <a:pt x="1816" y="2449"/>
                </a:lnTo>
                <a:lnTo>
                  <a:pt x="1808" y="2447"/>
                </a:lnTo>
                <a:lnTo>
                  <a:pt x="1799" y="2445"/>
                </a:lnTo>
                <a:lnTo>
                  <a:pt x="1791" y="2440"/>
                </a:lnTo>
                <a:lnTo>
                  <a:pt x="1784" y="2434"/>
                </a:lnTo>
                <a:lnTo>
                  <a:pt x="1778" y="2428"/>
                </a:lnTo>
                <a:lnTo>
                  <a:pt x="1772" y="2421"/>
                </a:lnTo>
                <a:lnTo>
                  <a:pt x="1765" y="2413"/>
                </a:lnTo>
                <a:lnTo>
                  <a:pt x="1759" y="2407"/>
                </a:lnTo>
                <a:lnTo>
                  <a:pt x="1751" y="2388"/>
                </a:lnTo>
                <a:lnTo>
                  <a:pt x="1748" y="2377"/>
                </a:lnTo>
                <a:lnTo>
                  <a:pt x="1746" y="2369"/>
                </a:lnTo>
                <a:lnTo>
                  <a:pt x="1744" y="2358"/>
                </a:lnTo>
                <a:lnTo>
                  <a:pt x="1744" y="2345"/>
                </a:lnTo>
                <a:lnTo>
                  <a:pt x="1744" y="2335"/>
                </a:lnTo>
                <a:lnTo>
                  <a:pt x="1746" y="2324"/>
                </a:lnTo>
                <a:lnTo>
                  <a:pt x="1748" y="2313"/>
                </a:lnTo>
                <a:lnTo>
                  <a:pt x="1753" y="2303"/>
                </a:lnTo>
                <a:lnTo>
                  <a:pt x="1755" y="2292"/>
                </a:lnTo>
                <a:lnTo>
                  <a:pt x="1761" y="2282"/>
                </a:lnTo>
                <a:lnTo>
                  <a:pt x="1765" y="2273"/>
                </a:lnTo>
                <a:lnTo>
                  <a:pt x="1772" y="2265"/>
                </a:lnTo>
                <a:lnTo>
                  <a:pt x="1778" y="2258"/>
                </a:lnTo>
                <a:lnTo>
                  <a:pt x="1787" y="2250"/>
                </a:lnTo>
                <a:lnTo>
                  <a:pt x="1795" y="2244"/>
                </a:lnTo>
                <a:lnTo>
                  <a:pt x="1804" y="2239"/>
                </a:lnTo>
                <a:lnTo>
                  <a:pt x="1812" y="2235"/>
                </a:lnTo>
                <a:lnTo>
                  <a:pt x="1820" y="2233"/>
                </a:lnTo>
                <a:lnTo>
                  <a:pt x="1831" y="2231"/>
                </a:lnTo>
                <a:lnTo>
                  <a:pt x="1842" y="2229"/>
                </a:lnTo>
                <a:lnTo>
                  <a:pt x="1852" y="2231"/>
                </a:lnTo>
                <a:lnTo>
                  <a:pt x="1859" y="2233"/>
                </a:lnTo>
                <a:lnTo>
                  <a:pt x="1863" y="2235"/>
                </a:lnTo>
                <a:lnTo>
                  <a:pt x="1873" y="2239"/>
                </a:lnTo>
                <a:lnTo>
                  <a:pt x="1880" y="2246"/>
                </a:lnTo>
                <a:lnTo>
                  <a:pt x="1886" y="2254"/>
                </a:lnTo>
                <a:lnTo>
                  <a:pt x="1890" y="2265"/>
                </a:lnTo>
                <a:lnTo>
                  <a:pt x="1892" y="2275"/>
                </a:lnTo>
                <a:lnTo>
                  <a:pt x="1895" y="2286"/>
                </a:lnTo>
                <a:lnTo>
                  <a:pt x="1895" y="2294"/>
                </a:lnTo>
                <a:lnTo>
                  <a:pt x="1892" y="2303"/>
                </a:lnTo>
                <a:lnTo>
                  <a:pt x="1890" y="2309"/>
                </a:lnTo>
                <a:lnTo>
                  <a:pt x="1888" y="2316"/>
                </a:lnTo>
                <a:lnTo>
                  <a:pt x="1884" y="2322"/>
                </a:lnTo>
                <a:lnTo>
                  <a:pt x="1880" y="2328"/>
                </a:lnTo>
                <a:lnTo>
                  <a:pt x="1869" y="2341"/>
                </a:lnTo>
                <a:lnTo>
                  <a:pt x="1863" y="2345"/>
                </a:lnTo>
                <a:lnTo>
                  <a:pt x="1856" y="2352"/>
                </a:lnTo>
                <a:lnTo>
                  <a:pt x="1842" y="2358"/>
                </a:lnTo>
                <a:lnTo>
                  <a:pt x="1835" y="2360"/>
                </a:lnTo>
                <a:lnTo>
                  <a:pt x="1827" y="2362"/>
                </a:lnTo>
                <a:lnTo>
                  <a:pt x="1812" y="2364"/>
                </a:lnTo>
                <a:lnTo>
                  <a:pt x="1806" y="2362"/>
                </a:lnTo>
                <a:lnTo>
                  <a:pt x="1804" y="2362"/>
                </a:lnTo>
                <a:lnTo>
                  <a:pt x="1801" y="2358"/>
                </a:lnTo>
                <a:lnTo>
                  <a:pt x="1799" y="2356"/>
                </a:lnTo>
                <a:lnTo>
                  <a:pt x="1797" y="2354"/>
                </a:lnTo>
                <a:lnTo>
                  <a:pt x="1797" y="2345"/>
                </a:lnTo>
                <a:lnTo>
                  <a:pt x="1797" y="2339"/>
                </a:lnTo>
                <a:lnTo>
                  <a:pt x="1799" y="2337"/>
                </a:lnTo>
                <a:lnTo>
                  <a:pt x="1801" y="2335"/>
                </a:lnTo>
                <a:lnTo>
                  <a:pt x="1814" y="2333"/>
                </a:lnTo>
                <a:lnTo>
                  <a:pt x="1825" y="2328"/>
                </a:lnTo>
                <a:lnTo>
                  <a:pt x="1835" y="2322"/>
                </a:lnTo>
                <a:lnTo>
                  <a:pt x="1846" y="2316"/>
                </a:lnTo>
                <a:lnTo>
                  <a:pt x="1852" y="2307"/>
                </a:lnTo>
                <a:lnTo>
                  <a:pt x="1856" y="2303"/>
                </a:lnTo>
                <a:lnTo>
                  <a:pt x="1859" y="2299"/>
                </a:lnTo>
                <a:lnTo>
                  <a:pt x="1861" y="2290"/>
                </a:lnTo>
                <a:lnTo>
                  <a:pt x="1863" y="2282"/>
                </a:lnTo>
                <a:lnTo>
                  <a:pt x="1863" y="2277"/>
                </a:lnTo>
                <a:lnTo>
                  <a:pt x="1861" y="2273"/>
                </a:lnTo>
                <a:lnTo>
                  <a:pt x="1859" y="2269"/>
                </a:lnTo>
                <a:lnTo>
                  <a:pt x="1856" y="2265"/>
                </a:lnTo>
                <a:lnTo>
                  <a:pt x="1852" y="2263"/>
                </a:lnTo>
                <a:lnTo>
                  <a:pt x="1848" y="2261"/>
                </a:lnTo>
                <a:lnTo>
                  <a:pt x="1837" y="2261"/>
                </a:lnTo>
                <a:lnTo>
                  <a:pt x="1827" y="2261"/>
                </a:lnTo>
                <a:lnTo>
                  <a:pt x="1823" y="2263"/>
                </a:lnTo>
                <a:lnTo>
                  <a:pt x="1816" y="2267"/>
                </a:lnTo>
                <a:lnTo>
                  <a:pt x="1812" y="2271"/>
                </a:lnTo>
                <a:lnTo>
                  <a:pt x="1808" y="2275"/>
                </a:lnTo>
                <a:lnTo>
                  <a:pt x="1797" y="2284"/>
                </a:lnTo>
                <a:lnTo>
                  <a:pt x="1793" y="2290"/>
                </a:lnTo>
                <a:lnTo>
                  <a:pt x="1789" y="2297"/>
                </a:lnTo>
                <a:lnTo>
                  <a:pt x="1782" y="2311"/>
                </a:lnTo>
                <a:lnTo>
                  <a:pt x="1780" y="2328"/>
                </a:lnTo>
                <a:lnTo>
                  <a:pt x="1778" y="2337"/>
                </a:lnTo>
                <a:lnTo>
                  <a:pt x="1778" y="2345"/>
                </a:lnTo>
                <a:lnTo>
                  <a:pt x="1778" y="2360"/>
                </a:lnTo>
                <a:lnTo>
                  <a:pt x="1780" y="2366"/>
                </a:lnTo>
                <a:lnTo>
                  <a:pt x="1782" y="2373"/>
                </a:lnTo>
                <a:lnTo>
                  <a:pt x="1787" y="2385"/>
                </a:lnTo>
                <a:lnTo>
                  <a:pt x="1793" y="2396"/>
                </a:lnTo>
                <a:lnTo>
                  <a:pt x="1801" y="2404"/>
                </a:lnTo>
                <a:lnTo>
                  <a:pt x="1808" y="2409"/>
                </a:lnTo>
                <a:lnTo>
                  <a:pt x="1812" y="2411"/>
                </a:lnTo>
                <a:lnTo>
                  <a:pt x="1823" y="2415"/>
                </a:lnTo>
                <a:lnTo>
                  <a:pt x="1829" y="2415"/>
                </a:lnTo>
                <a:lnTo>
                  <a:pt x="1835" y="2417"/>
                </a:lnTo>
                <a:lnTo>
                  <a:pt x="1848" y="2415"/>
                </a:lnTo>
                <a:lnTo>
                  <a:pt x="1861" y="2411"/>
                </a:lnTo>
                <a:lnTo>
                  <a:pt x="1865" y="2409"/>
                </a:lnTo>
                <a:lnTo>
                  <a:pt x="1871" y="2407"/>
                </a:lnTo>
                <a:lnTo>
                  <a:pt x="1882" y="2398"/>
                </a:lnTo>
                <a:lnTo>
                  <a:pt x="1890" y="2390"/>
                </a:lnTo>
                <a:lnTo>
                  <a:pt x="1899" y="2379"/>
                </a:lnTo>
                <a:lnTo>
                  <a:pt x="1907" y="2366"/>
                </a:lnTo>
                <a:lnTo>
                  <a:pt x="1914" y="2354"/>
                </a:lnTo>
                <a:lnTo>
                  <a:pt x="1920" y="2341"/>
                </a:lnTo>
                <a:lnTo>
                  <a:pt x="1926" y="2326"/>
                </a:lnTo>
                <a:lnTo>
                  <a:pt x="1931" y="2311"/>
                </a:lnTo>
                <a:lnTo>
                  <a:pt x="1933" y="2297"/>
                </a:lnTo>
                <a:lnTo>
                  <a:pt x="1937" y="2284"/>
                </a:lnTo>
                <a:lnTo>
                  <a:pt x="1937" y="2269"/>
                </a:lnTo>
                <a:lnTo>
                  <a:pt x="1939" y="2256"/>
                </a:lnTo>
                <a:lnTo>
                  <a:pt x="1937" y="2242"/>
                </a:lnTo>
                <a:lnTo>
                  <a:pt x="1939" y="2239"/>
                </a:lnTo>
                <a:lnTo>
                  <a:pt x="1943" y="2237"/>
                </a:lnTo>
                <a:lnTo>
                  <a:pt x="1945" y="2235"/>
                </a:lnTo>
                <a:lnTo>
                  <a:pt x="1952" y="2235"/>
                </a:lnTo>
                <a:lnTo>
                  <a:pt x="1960" y="2237"/>
                </a:lnTo>
                <a:lnTo>
                  <a:pt x="1962" y="2237"/>
                </a:lnTo>
                <a:lnTo>
                  <a:pt x="1966" y="2242"/>
                </a:lnTo>
                <a:lnTo>
                  <a:pt x="1971" y="2248"/>
                </a:lnTo>
                <a:lnTo>
                  <a:pt x="1971" y="2254"/>
                </a:lnTo>
                <a:lnTo>
                  <a:pt x="1971" y="2261"/>
                </a:lnTo>
                <a:lnTo>
                  <a:pt x="1971" y="2280"/>
                </a:lnTo>
                <a:lnTo>
                  <a:pt x="1969" y="2299"/>
                </a:lnTo>
                <a:lnTo>
                  <a:pt x="1964" y="2316"/>
                </a:lnTo>
                <a:lnTo>
                  <a:pt x="1960" y="2333"/>
                </a:lnTo>
                <a:lnTo>
                  <a:pt x="1956" y="2349"/>
                </a:lnTo>
                <a:lnTo>
                  <a:pt x="1950" y="2366"/>
                </a:lnTo>
                <a:lnTo>
                  <a:pt x="1941" y="2381"/>
                </a:lnTo>
                <a:lnTo>
                  <a:pt x="1933" y="2394"/>
                </a:lnTo>
                <a:lnTo>
                  <a:pt x="1922" y="2407"/>
                </a:lnTo>
                <a:lnTo>
                  <a:pt x="1918" y="2413"/>
                </a:lnTo>
                <a:lnTo>
                  <a:pt x="1914" y="2417"/>
                </a:lnTo>
                <a:lnTo>
                  <a:pt x="1901" y="2428"/>
                </a:lnTo>
                <a:lnTo>
                  <a:pt x="1890" y="2436"/>
                </a:lnTo>
                <a:lnTo>
                  <a:pt x="1878" y="2443"/>
                </a:lnTo>
                <a:lnTo>
                  <a:pt x="1863" y="2449"/>
                </a:lnTo>
                <a:lnTo>
                  <a:pt x="1850" y="2451"/>
                </a:lnTo>
                <a:lnTo>
                  <a:pt x="1835" y="2451"/>
                </a:lnTo>
                <a:close/>
                <a:moveTo>
                  <a:pt x="2066" y="2449"/>
                </a:moveTo>
                <a:lnTo>
                  <a:pt x="2060" y="2447"/>
                </a:lnTo>
                <a:lnTo>
                  <a:pt x="2051" y="2440"/>
                </a:lnTo>
                <a:lnTo>
                  <a:pt x="2034" y="2426"/>
                </a:lnTo>
                <a:lnTo>
                  <a:pt x="2015" y="2407"/>
                </a:lnTo>
                <a:lnTo>
                  <a:pt x="1996" y="2385"/>
                </a:lnTo>
                <a:lnTo>
                  <a:pt x="1990" y="2377"/>
                </a:lnTo>
                <a:lnTo>
                  <a:pt x="1986" y="2371"/>
                </a:lnTo>
                <a:lnTo>
                  <a:pt x="1979" y="2358"/>
                </a:lnTo>
                <a:lnTo>
                  <a:pt x="1977" y="2352"/>
                </a:lnTo>
                <a:lnTo>
                  <a:pt x="1977" y="2345"/>
                </a:lnTo>
                <a:lnTo>
                  <a:pt x="1979" y="2339"/>
                </a:lnTo>
                <a:lnTo>
                  <a:pt x="1981" y="2333"/>
                </a:lnTo>
                <a:lnTo>
                  <a:pt x="1983" y="2324"/>
                </a:lnTo>
                <a:lnTo>
                  <a:pt x="1990" y="2316"/>
                </a:lnTo>
                <a:lnTo>
                  <a:pt x="2000" y="2301"/>
                </a:lnTo>
                <a:lnTo>
                  <a:pt x="2019" y="2282"/>
                </a:lnTo>
                <a:lnTo>
                  <a:pt x="2062" y="2233"/>
                </a:lnTo>
                <a:lnTo>
                  <a:pt x="2066" y="2233"/>
                </a:lnTo>
                <a:lnTo>
                  <a:pt x="2072" y="2235"/>
                </a:lnTo>
                <a:lnTo>
                  <a:pt x="2079" y="2239"/>
                </a:lnTo>
                <a:lnTo>
                  <a:pt x="2083" y="2246"/>
                </a:lnTo>
                <a:lnTo>
                  <a:pt x="2083" y="2252"/>
                </a:lnTo>
                <a:lnTo>
                  <a:pt x="2081" y="2258"/>
                </a:lnTo>
                <a:lnTo>
                  <a:pt x="2081" y="2261"/>
                </a:lnTo>
                <a:lnTo>
                  <a:pt x="2079" y="2265"/>
                </a:lnTo>
                <a:lnTo>
                  <a:pt x="2049" y="2299"/>
                </a:lnTo>
                <a:lnTo>
                  <a:pt x="2030" y="2320"/>
                </a:lnTo>
                <a:lnTo>
                  <a:pt x="2017" y="2335"/>
                </a:lnTo>
                <a:lnTo>
                  <a:pt x="2015" y="2339"/>
                </a:lnTo>
                <a:lnTo>
                  <a:pt x="2013" y="2343"/>
                </a:lnTo>
                <a:lnTo>
                  <a:pt x="2015" y="2349"/>
                </a:lnTo>
                <a:lnTo>
                  <a:pt x="2017" y="2356"/>
                </a:lnTo>
                <a:lnTo>
                  <a:pt x="2028" y="2366"/>
                </a:lnTo>
                <a:lnTo>
                  <a:pt x="2045" y="2385"/>
                </a:lnTo>
                <a:lnTo>
                  <a:pt x="2064" y="2404"/>
                </a:lnTo>
                <a:lnTo>
                  <a:pt x="2083" y="2424"/>
                </a:lnTo>
                <a:lnTo>
                  <a:pt x="2085" y="2426"/>
                </a:lnTo>
                <a:lnTo>
                  <a:pt x="2087" y="2428"/>
                </a:lnTo>
                <a:lnTo>
                  <a:pt x="2085" y="2432"/>
                </a:lnTo>
                <a:lnTo>
                  <a:pt x="2085" y="2434"/>
                </a:lnTo>
                <a:lnTo>
                  <a:pt x="2079" y="2443"/>
                </a:lnTo>
                <a:lnTo>
                  <a:pt x="2072" y="2447"/>
                </a:lnTo>
                <a:lnTo>
                  <a:pt x="2068" y="2449"/>
                </a:lnTo>
                <a:lnTo>
                  <a:pt x="2066" y="2449"/>
                </a:lnTo>
                <a:close/>
                <a:moveTo>
                  <a:pt x="1835" y="3044"/>
                </a:moveTo>
                <a:lnTo>
                  <a:pt x="1825" y="3044"/>
                </a:lnTo>
                <a:lnTo>
                  <a:pt x="1816" y="3042"/>
                </a:lnTo>
                <a:lnTo>
                  <a:pt x="1808" y="3039"/>
                </a:lnTo>
                <a:lnTo>
                  <a:pt x="1799" y="3035"/>
                </a:lnTo>
                <a:lnTo>
                  <a:pt x="1791" y="3031"/>
                </a:lnTo>
                <a:lnTo>
                  <a:pt x="1784" y="3027"/>
                </a:lnTo>
                <a:lnTo>
                  <a:pt x="1778" y="3020"/>
                </a:lnTo>
                <a:lnTo>
                  <a:pt x="1772" y="3012"/>
                </a:lnTo>
                <a:lnTo>
                  <a:pt x="1765" y="3006"/>
                </a:lnTo>
                <a:lnTo>
                  <a:pt x="1759" y="2997"/>
                </a:lnTo>
                <a:lnTo>
                  <a:pt x="1751" y="2980"/>
                </a:lnTo>
                <a:lnTo>
                  <a:pt x="1748" y="2970"/>
                </a:lnTo>
                <a:lnTo>
                  <a:pt x="1746" y="2959"/>
                </a:lnTo>
                <a:lnTo>
                  <a:pt x="1744" y="2948"/>
                </a:lnTo>
                <a:lnTo>
                  <a:pt x="1744" y="2938"/>
                </a:lnTo>
                <a:lnTo>
                  <a:pt x="1744" y="2927"/>
                </a:lnTo>
                <a:lnTo>
                  <a:pt x="1746" y="2915"/>
                </a:lnTo>
                <a:lnTo>
                  <a:pt x="1748" y="2904"/>
                </a:lnTo>
                <a:lnTo>
                  <a:pt x="1753" y="2893"/>
                </a:lnTo>
                <a:lnTo>
                  <a:pt x="1755" y="2883"/>
                </a:lnTo>
                <a:lnTo>
                  <a:pt x="1761" y="2874"/>
                </a:lnTo>
                <a:lnTo>
                  <a:pt x="1765" y="2866"/>
                </a:lnTo>
                <a:lnTo>
                  <a:pt x="1772" y="2857"/>
                </a:lnTo>
                <a:lnTo>
                  <a:pt x="1778" y="2849"/>
                </a:lnTo>
                <a:lnTo>
                  <a:pt x="1787" y="2843"/>
                </a:lnTo>
                <a:lnTo>
                  <a:pt x="1795" y="2836"/>
                </a:lnTo>
                <a:lnTo>
                  <a:pt x="1804" y="2832"/>
                </a:lnTo>
                <a:lnTo>
                  <a:pt x="1812" y="2828"/>
                </a:lnTo>
                <a:lnTo>
                  <a:pt x="1820" y="2824"/>
                </a:lnTo>
                <a:lnTo>
                  <a:pt x="1831" y="2821"/>
                </a:lnTo>
                <a:lnTo>
                  <a:pt x="1842" y="2821"/>
                </a:lnTo>
                <a:lnTo>
                  <a:pt x="1852" y="2824"/>
                </a:lnTo>
                <a:lnTo>
                  <a:pt x="1859" y="2824"/>
                </a:lnTo>
                <a:lnTo>
                  <a:pt x="1863" y="2826"/>
                </a:lnTo>
                <a:lnTo>
                  <a:pt x="1873" y="2830"/>
                </a:lnTo>
                <a:lnTo>
                  <a:pt x="1880" y="2838"/>
                </a:lnTo>
                <a:lnTo>
                  <a:pt x="1886" y="2847"/>
                </a:lnTo>
                <a:lnTo>
                  <a:pt x="1890" y="2855"/>
                </a:lnTo>
                <a:lnTo>
                  <a:pt x="1892" y="2866"/>
                </a:lnTo>
                <a:lnTo>
                  <a:pt x="1895" y="2879"/>
                </a:lnTo>
                <a:lnTo>
                  <a:pt x="1895" y="2887"/>
                </a:lnTo>
                <a:lnTo>
                  <a:pt x="1892" y="2893"/>
                </a:lnTo>
                <a:lnTo>
                  <a:pt x="1890" y="2900"/>
                </a:lnTo>
                <a:lnTo>
                  <a:pt x="1888" y="2908"/>
                </a:lnTo>
                <a:lnTo>
                  <a:pt x="1884" y="2915"/>
                </a:lnTo>
                <a:lnTo>
                  <a:pt x="1880" y="2921"/>
                </a:lnTo>
                <a:lnTo>
                  <a:pt x="1869" y="2932"/>
                </a:lnTo>
                <a:lnTo>
                  <a:pt x="1863" y="2938"/>
                </a:lnTo>
                <a:lnTo>
                  <a:pt x="1856" y="2942"/>
                </a:lnTo>
                <a:lnTo>
                  <a:pt x="1842" y="2951"/>
                </a:lnTo>
                <a:lnTo>
                  <a:pt x="1835" y="2953"/>
                </a:lnTo>
                <a:lnTo>
                  <a:pt x="1827" y="2955"/>
                </a:lnTo>
                <a:lnTo>
                  <a:pt x="1812" y="2957"/>
                </a:lnTo>
                <a:lnTo>
                  <a:pt x="1806" y="2955"/>
                </a:lnTo>
                <a:lnTo>
                  <a:pt x="1804" y="2953"/>
                </a:lnTo>
                <a:lnTo>
                  <a:pt x="1801" y="2951"/>
                </a:lnTo>
                <a:lnTo>
                  <a:pt x="1799" y="2948"/>
                </a:lnTo>
                <a:lnTo>
                  <a:pt x="1797" y="2944"/>
                </a:lnTo>
                <a:lnTo>
                  <a:pt x="1797" y="2938"/>
                </a:lnTo>
                <a:lnTo>
                  <a:pt x="1797" y="2932"/>
                </a:lnTo>
                <a:lnTo>
                  <a:pt x="1799" y="2929"/>
                </a:lnTo>
                <a:lnTo>
                  <a:pt x="1801" y="2927"/>
                </a:lnTo>
                <a:lnTo>
                  <a:pt x="1814" y="2923"/>
                </a:lnTo>
                <a:lnTo>
                  <a:pt x="1825" y="2919"/>
                </a:lnTo>
                <a:lnTo>
                  <a:pt x="1835" y="2915"/>
                </a:lnTo>
                <a:lnTo>
                  <a:pt x="1846" y="2906"/>
                </a:lnTo>
                <a:lnTo>
                  <a:pt x="1852" y="2900"/>
                </a:lnTo>
                <a:lnTo>
                  <a:pt x="1856" y="2896"/>
                </a:lnTo>
                <a:lnTo>
                  <a:pt x="1859" y="2891"/>
                </a:lnTo>
                <a:lnTo>
                  <a:pt x="1861" y="2883"/>
                </a:lnTo>
                <a:lnTo>
                  <a:pt x="1863" y="2874"/>
                </a:lnTo>
                <a:lnTo>
                  <a:pt x="1863" y="2868"/>
                </a:lnTo>
                <a:lnTo>
                  <a:pt x="1861" y="2864"/>
                </a:lnTo>
                <a:lnTo>
                  <a:pt x="1859" y="2862"/>
                </a:lnTo>
                <a:lnTo>
                  <a:pt x="1856" y="2857"/>
                </a:lnTo>
                <a:lnTo>
                  <a:pt x="1852" y="2855"/>
                </a:lnTo>
                <a:lnTo>
                  <a:pt x="1848" y="2853"/>
                </a:lnTo>
                <a:lnTo>
                  <a:pt x="1837" y="2851"/>
                </a:lnTo>
                <a:lnTo>
                  <a:pt x="1827" y="2853"/>
                </a:lnTo>
                <a:lnTo>
                  <a:pt x="1823" y="2855"/>
                </a:lnTo>
                <a:lnTo>
                  <a:pt x="1816" y="2857"/>
                </a:lnTo>
                <a:lnTo>
                  <a:pt x="1812" y="2862"/>
                </a:lnTo>
                <a:lnTo>
                  <a:pt x="1808" y="2866"/>
                </a:lnTo>
                <a:lnTo>
                  <a:pt x="1797" y="2876"/>
                </a:lnTo>
                <a:lnTo>
                  <a:pt x="1793" y="2883"/>
                </a:lnTo>
                <a:lnTo>
                  <a:pt x="1789" y="2889"/>
                </a:lnTo>
                <a:lnTo>
                  <a:pt x="1782" y="2904"/>
                </a:lnTo>
                <a:lnTo>
                  <a:pt x="1780" y="2919"/>
                </a:lnTo>
                <a:lnTo>
                  <a:pt x="1778" y="2927"/>
                </a:lnTo>
                <a:lnTo>
                  <a:pt x="1778" y="2936"/>
                </a:lnTo>
                <a:lnTo>
                  <a:pt x="1778" y="2951"/>
                </a:lnTo>
                <a:lnTo>
                  <a:pt x="1780" y="2959"/>
                </a:lnTo>
                <a:lnTo>
                  <a:pt x="1782" y="2965"/>
                </a:lnTo>
                <a:lnTo>
                  <a:pt x="1787" y="2978"/>
                </a:lnTo>
                <a:lnTo>
                  <a:pt x="1793" y="2989"/>
                </a:lnTo>
                <a:lnTo>
                  <a:pt x="1801" y="2997"/>
                </a:lnTo>
                <a:lnTo>
                  <a:pt x="1808" y="2999"/>
                </a:lnTo>
                <a:lnTo>
                  <a:pt x="1812" y="3003"/>
                </a:lnTo>
                <a:lnTo>
                  <a:pt x="1823" y="3006"/>
                </a:lnTo>
                <a:lnTo>
                  <a:pt x="1829" y="3008"/>
                </a:lnTo>
                <a:lnTo>
                  <a:pt x="1835" y="3008"/>
                </a:lnTo>
                <a:lnTo>
                  <a:pt x="1848" y="3008"/>
                </a:lnTo>
                <a:lnTo>
                  <a:pt x="1861" y="3003"/>
                </a:lnTo>
                <a:lnTo>
                  <a:pt x="1865" y="3001"/>
                </a:lnTo>
                <a:lnTo>
                  <a:pt x="1871" y="2997"/>
                </a:lnTo>
                <a:lnTo>
                  <a:pt x="1882" y="2991"/>
                </a:lnTo>
                <a:lnTo>
                  <a:pt x="1890" y="2980"/>
                </a:lnTo>
                <a:lnTo>
                  <a:pt x="1899" y="2970"/>
                </a:lnTo>
                <a:lnTo>
                  <a:pt x="1907" y="2959"/>
                </a:lnTo>
                <a:lnTo>
                  <a:pt x="1914" y="2946"/>
                </a:lnTo>
                <a:lnTo>
                  <a:pt x="1920" y="2932"/>
                </a:lnTo>
                <a:lnTo>
                  <a:pt x="1926" y="2919"/>
                </a:lnTo>
                <a:lnTo>
                  <a:pt x="1931" y="2904"/>
                </a:lnTo>
                <a:lnTo>
                  <a:pt x="1933" y="2889"/>
                </a:lnTo>
                <a:lnTo>
                  <a:pt x="1937" y="2874"/>
                </a:lnTo>
                <a:lnTo>
                  <a:pt x="1937" y="2860"/>
                </a:lnTo>
                <a:lnTo>
                  <a:pt x="1939" y="2847"/>
                </a:lnTo>
                <a:lnTo>
                  <a:pt x="1937" y="2834"/>
                </a:lnTo>
                <a:lnTo>
                  <a:pt x="1939" y="2832"/>
                </a:lnTo>
                <a:lnTo>
                  <a:pt x="1943" y="2830"/>
                </a:lnTo>
                <a:lnTo>
                  <a:pt x="1945" y="2828"/>
                </a:lnTo>
                <a:lnTo>
                  <a:pt x="1952" y="2828"/>
                </a:lnTo>
                <a:lnTo>
                  <a:pt x="1960" y="2828"/>
                </a:lnTo>
                <a:lnTo>
                  <a:pt x="1962" y="2830"/>
                </a:lnTo>
                <a:lnTo>
                  <a:pt x="1966" y="2832"/>
                </a:lnTo>
                <a:lnTo>
                  <a:pt x="1971" y="2841"/>
                </a:lnTo>
                <a:lnTo>
                  <a:pt x="1971" y="2847"/>
                </a:lnTo>
                <a:lnTo>
                  <a:pt x="1971" y="2853"/>
                </a:lnTo>
                <a:lnTo>
                  <a:pt x="1971" y="2872"/>
                </a:lnTo>
                <a:lnTo>
                  <a:pt x="1969" y="2889"/>
                </a:lnTo>
                <a:lnTo>
                  <a:pt x="1964" y="2908"/>
                </a:lnTo>
                <a:lnTo>
                  <a:pt x="1960" y="2925"/>
                </a:lnTo>
                <a:lnTo>
                  <a:pt x="1956" y="2942"/>
                </a:lnTo>
                <a:lnTo>
                  <a:pt x="1950" y="2957"/>
                </a:lnTo>
                <a:lnTo>
                  <a:pt x="1941" y="2972"/>
                </a:lnTo>
                <a:lnTo>
                  <a:pt x="1933" y="2987"/>
                </a:lnTo>
                <a:lnTo>
                  <a:pt x="1922" y="2999"/>
                </a:lnTo>
                <a:lnTo>
                  <a:pt x="1918" y="3003"/>
                </a:lnTo>
                <a:lnTo>
                  <a:pt x="1914" y="3010"/>
                </a:lnTo>
                <a:lnTo>
                  <a:pt x="1901" y="3020"/>
                </a:lnTo>
                <a:lnTo>
                  <a:pt x="1890" y="3029"/>
                </a:lnTo>
                <a:lnTo>
                  <a:pt x="1878" y="3035"/>
                </a:lnTo>
                <a:lnTo>
                  <a:pt x="1863" y="3039"/>
                </a:lnTo>
                <a:lnTo>
                  <a:pt x="1850" y="3044"/>
                </a:lnTo>
                <a:lnTo>
                  <a:pt x="1835" y="3044"/>
                </a:lnTo>
                <a:close/>
                <a:moveTo>
                  <a:pt x="2066" y="3039"/>
                </a:moveTo>
                <a:lnTo>
                  <a:pt x="2060" y="3037"/>
                </a:lnTo>
                <a:lnTo>
                  <a:pt x="2051" y="3033"/>
                </a:lnTo>
                <a:lnTo>
                  <a:pt x="2034" y="3016"/>
                </a:lnTo>
                <a:lnTo>
                  <a:pt x="2015" y="2997"/>
                </a:lnTo>
                <a:lnTo>
                  <a:pt x="1996" y="2978"/>
                </a:lnTo>
                <a:lnTo>
                  <a:pt x="1990" y="2968"/>
                </a:lnTo>
                <a:lnTo>
                  <a:pt x="1986" y="2961"/>
                </a:lnTo>
                <a:lnTo>
                  <a:pt x="1979" y="2948"/>
                </a:lnTo>
                <a:lnTo>
                  <a:pt x="1977" y="2944"/>
                </a:lnTo>
                <a:lnTo>
                  <a:pt x="1977" y="2938"/>
                </a:lnTo>
                <a:lnTo>
                  <a:pt x="1979" y="2932"/>
                </a:lnTo>
                <a:lnTo>
                  <a:pt x="1981" y="2923"/>
                </a:lnTo>
                <a:lnTo>
                  <a:pt x="1983" y="2917"/>
                </a:lnTo>
                <a:lnTo>
                  <a:pt x="1990" y="2908"/>
                </a:lnTo>
                <a:lnTo>
                  <a:pt x="2000" y="2893"/>
                </a:lnTo>
                <a:lnTo>
                  <a:pt x="2019" y="2872"/>
                </a:lnTo>
                <a:lnTo>
                  <a:pt x="2062" y="2824"/>
                </a:lnTo>
                <a:lnTo>
                  <a:pt x="2066" y="2826"/>
                </a:lnTo>
                <a:lnTo>
                  <a:pt x="2072" y="2828"/>
                </a:lnTo>
                <a:lnTo>
                  <a:pt x="2079" y="2832"/>
                </a:lnTo>
                <a:lnTo>
                  <a:pt x="2083" y="2836"/>
                </a:lnTo>
                <a:lnTo>
                  <a:pt x="2083" y="2843"/>
                </a:lnTo>
                <a:lnTo>
                  <a:pt x="2081" y="2849"/>
                </a:lnTo>
                <a:lnTo>
                  <a:pt x="2081" y="2853"/>
                </a:lnTo>
                <a:lnTo>
                  <a:pt x="2079" y="2857"/>
                </a:lnTo>
                <a:lnTo>
                  <a:pt x="2049" y="2891"/>
                </a:lnTo>
                <a:lnTo>
                  <a:pt x="2030" y="2910"/>
                </a:lnTo>
                <a:lnTo>
                  <a:pt x="2017" y="2927"/>
                </a:lnTo>
                <a:lnTo>
                  <a:pt x="2015" y="2932"/>
                </a:lnTo>
                <a:lnTo>
                  <a:pt x="2013" y="2936"/>
                </a:lnTo>
                <a:lnTo>
                  <a:pt x="2015" y="2940"/>
                </a:lnTo>
                <a:lnTo>
                  <a:pt x="2017" y="2946"/>
                </a:lnTo>
                <a:lnTo>
                  <a:pt x="2028" y="2959"/>
                </a:lnTo>
                <a:lnTo>
                  <a:pt x="2045" y="2976"/>
                </a:lnTo>
                <a:lnTo>
                  <a:pt x="2064" y="2997"/>
                </a:lnTo>
                <a:lnTo>
                  <a:pt x="2083" y="3014"/>
                </a:lnTo>
                <a:lnTo>
                  <a:pt x="2085" y="3016"/>
                </a:lnTo>
                <a:lnTo>
                  <a:pt x="2087" y="3020"/>
                </a:lnTo>
                <a:lnTo>
                  <a:pt x="2085" y="3023"/>
                </a:lnTo>
                <a:lnTo>
                  <a:pt x="2085" y="3027"/>
                </a:lnTo>
                <a:lnTo>
                  <a:pt x="2079" y="3033"/>
                </a:lnTo>
                <a:lnTo>
                  <a:pt x="2072" y="3037"/>
                </a:lnTo>
                <a:lnTo>
                  <a:pt x="2068" y="3039"/>
                </a:lnTo>
                <a:lnTo>
                  <a:pt x="2066" y="3039"/>
                </a:lnTo>
                <a:close/>
                <a:moveTo>
                  <a:pt x="1835" y="3636"/>
                </a:moveTo>
                <a:lnTo>
                  <a:pt x="1825" y="3634"/>
                </a:lnTo>
                <a:lnTo>
                  <a:pt x="1816" y="3634"/>
                </a:lnTo>
                <a:lnTo>
                  <a:pt x="1808" y="3630"/>
                </a:lnTo>
                <a:lnTo>
                  <a:pt x="1799" y="3628"/>
                </a:lnTo>
                <a:lnTo>
                  <a:pt x="1791" y="3624"/>
                </a:lnTo>
                <a:lnTo>
                  <a:pt x="1784" y="3617"/>
                </a:lnTo>
                <a:lnTo>
                  <a:pt x="1778" y="3611"/>
                </a:lnTo>
                <a:lnTo>
                  <a:pt x="1772" y="3605"/>
                </a:lnTo>
                <a:lnTo>
                  <a:pt x="1765" y="3598"/>
                </a:lnTo>
                <a:lnTo>
                  <a:pt x="1759" y="3590"/>
                </a:lnTo>
                <a:lnTo>
                  <a:pt x="1751" y="3571"/>
                </a:lnTo>
                <a:lnTo>
                  <a:pt x="1748" y="3560"/>
                </a:lnTo>
                <a:lnTo>
                  <a:pt x="1746" y="3552"/>
                </a:lnTo>
                <a:lnTo>
                  <a:pt x="1744" y="3541"/>
                </a:lnTo>
                <a:lnTo>
                  <a:pt x="1744" y="3528"/>
                </a:lnTo>
                <a:lnTo>
                  <a:pt x="1744" y="3518"/>
                </a:lnTo>
                <a:lnTo>
                  <a:pt x="1746" y="3507"/>
                </a:lnTo>
                <a:lnTo>
                  <a:pt x="1748" y="3497"/>
                </a:lnTo>
                <a:lnTo>
                  <a:pt x="1753" y="3486"/>
                </a:lnTo>
                <a:lnTo>
                  <a:pt x="1755" y="3476"/>
                </a:lnTo>
                <a:lnTo>
                  <a:pt x="1761" y="3465"/>
                </a:lnTo>
                <a:lnTo>
                  <a:pt x="1765" y="3456"/>
                </a:lnTo>
                <a:lnTo>
                  <a:pt x="1772" y="3448"/>
                </a:lnTo>
                <a:lnTo>
                  <a:pt x="1778" y="3442"/>
                </a:lnTo>
                <a:lnTo>
                  <a:pt x="1787" y="3433"/>
                </a:lnTo>
                <a:lnTo>
                  <a:pt x="1795" y="3429"/>
                </a:lnTo>
                <a:lnTo>
                  <a:pt x="1804" y="3423"/>
                </a:lnTo>
                <a:lnTo>
                  <a:pt x="1812" y="3418"/>
                </a:lnTo>
                <a:lnTo>
                  <a:pt x="1820" y="3416"/>
                </a:lnTo>
                <a:lnTo>
                  <a:pt x="1831" y="3414"/>
                </a:lnTo>
                <a:lnTo>
                  <a:pt x="1842" y="3414"/>
                </a:lnTo>
                <a:lnTo>
                  <a:pt x="1852" y="3414"/>
                </a:lnTo>
                <a:lnTo>
                  <a:pt x="1859" y="3416"/>
                </a:lnTo>
                <a:lnTo>
                  <a:pt x="1863" y="3418"/>
                </a:lnTo>
                <a:lnTo>
                  <a:pt x="1873" y="3423"/>
                </a:lnTo>
                <a:lnTo>
                  <a:pt x="1880" y="3429"/>
                </a:lnTo>
                <a:lnTo>
                  <a:pt x="1886" y="3437"/>
                </a:lnTo>
                <a:lnTo>
                  <a:pt x="1890" y="3448"/>
                </a:lnTo>
                <a:lnTo>
                  <a:pt x="1892" y="3459"/>
                </a:lnTo>
                <a:lnTo>
                  <a:pt x="1895" y="3471"/>
                </a:lnTo>
                <a:lnTo>
                  <a:pt x="1895" y="3478"/>
                </a:lnTo>
                <a:lnTo>
                  <a:pt x="1892" y="3486"/>
                </a:lnTo>
                <a:lnTo>
                  <a:pt x="1890" y="3492"/>
                </a:lnTo>
                <a:lnTo>
                  <a:pt x="1888" y="3499"/>
                </a:lnTo>
                <a:lnTo>
                  <a:pt x="1884" y="3507"/>
                </a:lnTo>
                <a:lnTo>
                  <a:pt x="1880" y="3514"/>
                </a:lnTo>
                <a:lnTo>
                  <a:pt x="1869" y="3524"/>
                </a:lnTo>
                <a:lnTo>
                  <a:pt x="1863" y="3528"/>
                </a:lnTo>
                <a:lnTo>
                  <a:pt x="1856" y="3535"/>
                </a:lnTo>
                <a:lnTo>
                  <a:pt x="1842" y="3541"/>
                </a:lnTo>
                <a:lnTo>
                  <a:pt x="1835" y="3543"/>
                </a:lnTo>
                <a:lnTo>
                  <a:pt x="1827" y="3545"/>
                </a:lnTo>
                <a:lnTo>
                  <a:pt x="1812" y="3547"/>
                </a:lnTo>
                <a:lnTo>
                  <a:pt x="1806" y="3545"/>
                </a:lnTo>
                <a:lnTo>
                  <a:pt x="1804" y="3545"/>
                </a:lnTo>
                <a:lnTo>
                  <a:pt x="1801" y="3543"/>
                </a:lnTo>
                <a:lnTo>
                  <a:pt x="1799" y="3539"/>
                </a:lnTo>
                <a:lnTo>
                  <a:pt x="1797" y="3537"/>
                </a:lnTo>
                <a:lnTo>
                  <a:pt x="1797" y="3528"/>
                </a:lnTo>
                <a:lnTo>
                  <a:pt x="1797" y="3522"/>
                </a:lnTo>
                <a:lnTo>
                  <a:pt x="1799" y="3520"/>
                </a:lnTo>
                <a:lnTo>
                  <a:pt x="1801" y="3518"/>
                </a:lnTo>
                <a:lnTo>
                  <a:pt x="1814" y="3516"/>
                </a:lnTo>
                <a:lnTo>
                  <a:pt x="1825" y="3511"/>
                </a:lnTo>
                <a:lnTo>
                  <a:pt x="1835" y="3505"/>
                </a:lnTo>
                <a:lnTo>
                  <a:pt x="1846" y="3499"/>
                </a:lnTo>
                <a:lnTo>
                  <a:pt x="1852" y="3490"/>
                </a:lnTo>
                <a:lnTo>
                  <a:pt x="1856" y="3486"/>
                </a:lnTo>
                <a:lnTo>
                  <a:pt x="1859" y="3482"/>
                </a:lnTo>
                <a:lnTo>
                  <a:pt x="1861" y="3473"/>
                </a:lnTo>
                <a:lnTo>
                  <a:pt x="1863" y="3465"/>
                </a:lnTo>
                <a:lnTo>
                  <a:pt x="1863" y="3461"/>
                </a:lnTo>
                <a:lnTo>
                  <a:pt x="1861" y="3456"/>
                </a:lnTo>
                <a:lnTo>
                  <a:pt x="1859" y="3452"/>
                </a:lnTo>
                <a:lnTo>
                  <a:pt x="1856" y="3450"/>
                </a:lnTo>
                <a:lnTo>
                  <a:pt x="1852" y="3446"/>
                </a:lnTo>
                <a:lnTo>
                  <a:pt x="1848" y="3444"/>
                </a:lnTo>
                <a:lnTo>
                  <a:pt x="1837" y="3444"/>
                </a:lnTo>
                <a:lnTo>
                  <a:pt x="1827" y="3446"/>
                </a:lnTo>
                <a:lnTo>
                  <a:pt x="1823" y="3448"/>
                </a:lnTo>
                <a:lnTo>
                  <a:pt x="1816" y="3450"/>
                </a:lnTo>
                <a:lnTo>
                  <a:pt x="1812" y="3454"/>
                </a:lnTo>
                <a:lnTo>
                  <a:pt x="1808" y="3459"/>
                </a:lnTo>
                <a:lnTo>
                  <a:pt x="1797" y="3469"/>
                </a:lnTo>
                <a:lnTo>
                  <a:pt x="1793" y="3473"/>
                </a:lnTo>
                <a:lnTo>
                  <a:pt x="1789" y="3480"/>
                </a:lnTo>
                <a:lnTo>
                  <a:pt x="1782" y="3495"/>
                </a:lnTo>
                <a:lnTo>
                  <a:pt x="1780" y="3511"/>
                </a:lnTo>
                <a:lnTo>
                  <a:pt x="1778" y="3520"/>
                </a:lnTo>
                <a:lnTo>
                  <a:pt x="1778" y="3528"/>
                </a:lnTo>
                <a:lnTo>
                  <a:pt x="1778" y="3543"/>
                </a:lnTo>
                <a:lnTo>
                  <a:pt x="1780" y="3550"/>
                </a:lnTo>
                <a:lnTo>
                  <a:pt x="1782" y="3556"/>
                </a:lnTo>
                <a:lnTo>
                  <a:pt x="1787" y="3569"/>
                </a:lnTo>
                <a:lnTo>
                  <a:pt x="1793" y="3579"/>
                </a:lnTo>
                <a:lnTo>
                  <a:pt x="1801" y="3588"/>
                </a:lnTo>
                <a:lnTo>
                  <a:pt x="1808" y="3592"/>
                </a:lnTo>
                <a:lnTo>
                  <a:pt x="1812" y="3594"/>
                </a:lnTo>
                <a:lnTo>
                  <a:pt x="1823" y="3598"/>
                </a:lnTo>
                <a:lnTo>
                  <a:pt x="1829" y="3598"/>
                </a:lnTo>
                <a:lnTo>
                  <a:pt x="1835" y="3600"/>
                </a:lnTo>
                <a:lnTo>
                  <a:pt x="1848" y="3598"/>
                </a:lnTo>
                <a:lnTo>
                  <a:pt x="1861" y="3594"/>
                </a:lnTo>
                <a:lnTo>
                  <a:pt x="1865" y="3592"/>
                </a:lnTo>
                <a:lnTo>
                  <a:pt x="1871" y="3590"/>
                </a:lnTo>
                <a:lnTo>
                  <a:pt x="1882" y="3581"/>
                </a:lnTo>
                <a:lnTo>
                  <a:pt x="1890" y="3573"/>
                </a:lnTo>
                <a:lnTo>
                  <a:pt x="1899" y="3562"/>
                </a:lnTo>
                <a:lnTo>
                  <a:pt x="1907" y="3550"/>
                </a:lnTo>
                <a:lnTo>
                  <a:pt x="1914" y="3537"/>
                </a:lnTo>
                <a:lnTo>
                  <a:pt x="1920" y="3524"/>
                </a:lnTo>
                <a:lnTo>
                  <a:pt x="1926" y="3509"/>
                </a:lnTo>
                <a:lnTo>
                  <a:pt x="1931" y="3495"/>
                </a:lnTo>
                <a:lnTo>
                  <a:pt x="1933" y="3482"/>
                </a:lnTo>
                <a:lnTo>
                  <a:pt x="1937" y="3467"/>
                </a:lnTo>
                <a:lnTo>
                  <a:pt x="1937" y="3452"/>
                </a:lnTo>
                <a:lnTo>
                  <a:pt x="1939" y="3440"/>
                </a:lnTo>
                <a:lnTo>
                  <a:pt x="1937" y="3427"/>
                </a:lnTo>
                <a:lnTo>
                  <a:pt x="1939" y="3423"/>
                </a:lnTo>
                <a:lnTo>
                  <a:pt x="1943" y="3420"/>
                </a:lnTo>
                <a:lnTo>
                  <a:pt x="1945" y="3418"/>
                </a:lnTo>
                <a:lnTo>
                  <a:pt x="1952" y="3418"/>
                </a:lnTo>
                <a:lnTo>
                  <a:pt x="1960" y="3420"/>
                </a:lnTo>
                <a:lnTo>
                  <a:pt x="1962" y="3423"/>
                </a:lnTo>
                <a:lnTo>
                  <a:pt x="1966" y="3425"/>
                </a:lnTo>
                <a:lnTo>
                  <a:pt x="1971" y="3431"/>
                </a:lnTo>
                <a:lnTo>
                  <a:pt x="1971" y="3437"/>
                </a:lnTo>
                <a:lnTo>
                  <a:pt x="1971" y="3444"/>
                </a:lnTo>
                <a:lnTo>
                  <a:pt x="1971" y="3463"/>
                </a:lnTo>
                <a:lnTo>
                  <a:pt x="1969" y="3482"/>
                </a:lnTo>
                <a:lnTo>
                  <a:pt x="1964" y="3499"/>
                </a:lnTo>
                <a:lnTo>
                  <a:pt x="1960" y="3518"/>
                </a:lnTo>
                <a:lnTo>
                  <a:pt x="1956" y="3533"/>
                </a:lnTo>
                <a:lnTo>
                  <a:pt x="1950" y="3550"/>
                </a:lnTo>
                <a:lnTo>
                  <a:pt x="1941" y="3564"/>
                </a:lnTo>
                <a:lnTo>
                  <a:pt x="1933" y="3577"/>
                </a:lnTo>
                <a:lnTo>
                  <a:pt x="1922" y="3590"/>
                </a:lnTo>
                <a:lnTo>
                  <a:pt x="1918" y="3596"/>
                </a:lnTo>
                <a:lnTo>
                  <a:pt x="1914" y="3603"/>
                </a:lnTo>
                <a:lnTo>
                  <a:pt x="1901" y="3611"/>
                </a:lnTo>
                <a:lnTo>
                  <a:pt x="1890" y="3619"/>
                </a:lnTo>
                <a:lnTo>
                  <a:pt x="1878" y="3626"/>
                </a:lnTo>
                <a:lnTo>
                  <a:pt x="1863" y="3632"/>
                </a:lnTo>
                <a:lnTo>
                  <a:pt x="1850" y="3634"/>
                </a:lnTo>
                <a:lnTo>
                  <a:pt x="1835" y="3636"/>
                </a:lnTo>
                <a:close/>
                <a:moveTo>
                  <a:pt x="2066" y="3632"/>
                </a:moveTo>
                <a:lnTo>
                  <a:pt x="2060" y="3630"/>
                </a:lnTo>
                <a:lnTo>
                  <a:pt x="2051" y="3624"/>
                </a:lnTo>
                <a:lnTo>
                  <a:pt x="2034" y="3609"/>
                </a:lnTo>
                <a:lnTo>
                  <a:pt x="2015" y="3590"/>
                </a:lnTo>
                <a:lnTo>
                  <a:pt x="1996" y="3569"/>
                </a:lnTo>
                <a:lnTo>
                  <a:pt x="1990" y="3560"/>
                </a:lnTo>
                <a:lnTo>
                  <a:pt x="1986" y="3554"/>
                </a:lnTo>
                <a:lnTo>
                  <a:pt x="1979" y="3541"/>
                </a:lnTo>
                <a:lnTo>
                  <a:pt x="1977" y="3535"/>
                </a:lnTo>
                <a:lnTo>
                  <a:pt x="1977" y="3528"/>
                </a:lnTo>
                <a:lnTo>
                  <a:pt x="1979" y="3522"/>
                </a:lnTo>
                <a:lnTo>
                  <a:pt x="1981" y="3516"/>
                </a:lnTo>
                <a:lnTo>
                  <a:pt x="1983" y="3507"/>
                </a:lnTo>
                <a:lnTo>
                  <a:pt x="1990" y="3499"/>
                </a:lnTo>
                <a:lnTo>
                  <a:pt x="2000" y="3484"/>
                </a:lnTo>
                <a:lnTo>
                  <a:pt x="2019" y="3465"/>
                </a:lnTo>
                <a:lnTo>
                  <a:pt x="2062" y="3416"/>
                </a:lnTo>
                <a:lnTo>
                  <a:pt x="2066" y="3416"/>
                </a:lnTo>
                <a:lnTo>
                  <a:pt x="2072" y="3420"/>
                </a:lnTo>
                <a:lnTo>
                  <a:pt x="2079" y="3423"/>
                </a:lnTo>
                <a:lnTo>
                  <a:pt x="2083" y="3429"/>
                </a:lnTo>
                <a:lnTo>
                  <a:pt x="2083" y="3435"/>
                </a:lnTo>
                <a:lnTo>
                  <a:pt x="2081" y="3442"/>
                </a:lnTo>
                <a:lnTo>
                  <a:pt x="2081" y="3444"/>
                </a:lnTo>
                <a:lnTo>
                  <a:pt x="2079" y="3448"/>
                </a:lnTo>
                <a:lnTo>
                  <a:pt x="2049" y="3482"/>
                </a:lnTo>
                <a:lnTo>
                  <a:pt x="2030" y="3503"/>
                </a:lnTo>
                <a:lnTo>
                  <a:pt x="2017" y="3518"/>
                </a:lnTo>
                <a:lnTo>
                  <a:pt x="2015" y="3522"/>
                </a:lnTo>
                <a:lnTo>
                  <a:pt x="2013" y="3528"/>
                </a:lnTo>
                <a:lnTo>
                  <a:pt x="2015" y="3533"/>
                </a:lnTo>
                <a:lnTo>
                  <a:pt x="2017" y="3539"/>
                </a:lnTo>
                <a:lnTo>
                  <a:pt x="2028" y="3552"/>
                </a:lnTo>
                <a:lnTo>
                  <a:pt x="2045" y="3569"/>
                </a:lnTo>
                <a:lnTo>
                  <a:pt x="2064" y="3588"/>
                </a:lnTo>
                <a:lnTo>
                  <a:pt x="2083" y="3607"/>
                </a:lnTo>
                <a:lnTo>
                  <a:pt x="2085" y="3609"/>
                </a:lnTo>
                <a:lnTo>
                  <a:pt x="2087" y="3611"/>
                </a:lnTo>
                <a:lnTo>
                  <a:pt x="2085" y="3615"/>
                </a:lnTo>
                <a:lnTo>
                  <a:pt x="2085" y="3617"/>
                </a:lnTo>
                <a:lnTo>
                  <a:pt x="2079" y="3626"/>
                </a:lnTo>
                <a:lnTo>
                  <a:pt x="2072" y="3630"/>
                </a:lnTo>
                <a:lnTo>
                  <a:pt x="2068" y="3632"/>
                </a:lnTo>
                <a:lnTo>
                  <a:pt x="2066" y="3632"/>
                </a:lnTo>
                <a:close/>
                <a:moveTo>
                  <a:pt x="476" y="2451"/>
                </a:moveTo>
                <a:lnTo>
                  <a:pt x="466" y="2451"/>
                </a:lnTo>
                <a:lnTo>
                  <a:pt x="457" y="2449"/>
                </a:lnTo>
                <a:lnTo>
                  <a:pt x="449" y="2447"/>
                </a:lnTo>
                <a:lnTo>
                  <a:pt x="440" y="2445"/>
                </a:lnTo>
                <a:lnTo>
                  <a:pt x="432" y="2440"/>
                </a:lnTo>
                <a:lnTo>
                  <a:pt x="425" y="2434"/>
                </a:lnTo>
                <a:lnTo>
                  <a:pt x="417" y="2428"/>
                </a:lnTo>
                <a:lnTo>
                  <a:pt x="411" y="2421"/>
                </a:lnTo>
                <a:lnTo>
                  <a:pt x="406" y="2413"/>
                </a:lnTo>
                <a:lnTo>
                  <a:pt x="400" y="2407"/>
                </a:lnTo>
                <a:lnTo>
                  <a:pt x="392" y="2388"/>
                </a:lnTo>
                <a:lnTo>
                  <a:pt x="389" y="2377"/>
                </a:lnTo>
                <a:lnTo>
                  <a:pt x="387" y="2369"/>
                </a:lnTo>
                <a:lnTo>
                  <a:pt x="385" y="2358"/>
                </a:lnTo>
                <a:lnTo>
                  <a:pt x="385" y="2345"/>
                </a:lnTo>
                <a:lnTo>
                  <a:pt x="385" y="2335"/>
                </a:lnTo>
                <a:lnTo>
                  <a:pt x="387" y="2324"/>
                </a:lnTo>
                <a:lnTo>
                  <a:pt x="389" y="2313"/>
                </a:lnTo>
                <a:lnTo>
                  <a:pt x="392" y="2303"/>
                </a:lnTo>
                <a:lnTo>
                  <a:pt x="396" y="2292"/>
                </a:lnTo>
                <a:lnTo>
                  <a:pt x="402" y="2282"/>
                </a:lnTo>
                <a:lnTo>
                  <a:pt x="406" y="2273"/>
                </a:lnTo>
                <a:lnTo>
                  <a:pt x="413" y="2265"/>
                </a:lnTo>
                <a:lnTo>
                  <a:pt x="419" y="2258"/>
                </a:lnTo>
                <a:lnTo>
                  <a:pt x="428" y="2250"/>
                </a:lnTo>
                <a:lnTo>
                  <a:pt x="434" y="2244"/>
                </a:lnTo>
                <a:lnTo>
                  <a:pt x="442" y="2239"/>
                </a:lnTo>
                <a:lnTo>
                  <a:pt x="453" y="2235"/>
                </a:lnTo>
                <a:lnTo>
                  <a:pt x="461" y="2233"/>
                </a:lnTo>
                <a:lnTo>
                  <a:pt x="472" y="2231"/>
                </a:lnTo>
                <a:lnTo>
                  <a:pt x="481" y="2229"/>
                </a:lnTo>
                <a:lnTo>
                  <a:pt x="493" y="2231"/>
                </a:lnTo>
                <a:lnTo>
                  <a:pt x="500" y="2233"/>
                </a:lnTo>
                <a:lnTo>
                  <a:pt x="504" y="2235"/>
                </a:lnTo>
                <a:lnTo>
                  <a:pt x="512" y="2239"/>
                </a:lnTo>
                <a:lnTo>
                  <a:pt x="521" y="2246"/>
                </a:lnTo>
                <a:lnTo>
                  <a:pt x="527" y="2254"/>
                </a:lnTo>
                <a:lnTo>
                  <a:pt x="531" y="2265"/>
                </a:lnTo>
                <a:lnTo>
                  <a:pt x="533" y="2275"/>
                </a:lnTo>
                <a:lnTo>
                  <a:pt x="536" y="2286"/>
                </a:lnTo>
                <a:lnTo>
                  <a:pt x="533" y="2294"/>
                </a:lnTo>
                <a:lnTo>
                  <a:pt x="533" y="2303"/>
                </a:lnTo>
                <a:lnTo>
                  <a:pt x="531" y="2309"/>
                </a:lnTo>
                <a:lnTo>
                  <a:pt x="527" y="2316"/>
                </a:lnTo>
                <a:lnTo>
                  <a:pt x="525" y="2322"/>
                </a:lnTo>
                <a:lnTo>
                  <a:pt x="519" y="2328"/>
                </a:lnTo>
                <a:lnTo>
                  <a:pt x="508" y="2341"/>
                </a:lnTo>
                <a:lnTo>
                  <a:pt x="504" y="2345"/>
                </a:lnTo>
                <a:lnTo>
                  <a:pt x="497" y="2352"/>
                </a:lnTo>
                <a:lnTo>
                  <a:pt x="483" y="2358"/>
                </a:lnTo>
                <a:lnTo>
                  <a:pt x="476" y="2360"/>
                </a:lnTo>
                <a:lnTo>
                  <a:pt x="468" y="2362"/>
                </a:lnTo>
                <a:lnTo>
                  <a:pt x="453" y="2364"/>
                </a:lnTo>
                <a:lnTo>
                  <a:pt x="447" y="2362"/>
                </a:lnTo>
                <a:lnTo>
                  <a:pt x="445" y="2362"/>
                </a:lnTo>
                <a:lnTo>
                  <a:pt x="440" y="2358"/>
                </a:lnTo>
                <a:lnTo>
                  <a:pt x="440" y="2356"/>
                </a:lnTo>
                <a:lnTo>
                  <a:pt x="438" y="2354"/>
                </a:lnTo>
                <a:lnTo>
                  <a:pt x="436" y="2345"/>
                </a:lnTo>
                <a:lnTo>
                  <a:pt x="438" y="2339"/>
                </a:lnTo>
                <a:lnTo>
                  <a:pt x="438" y="2337"/>
                </a:lnTo>
                <a:lnTo>
                  <a:pt x="440" y="2335"/>
                </a:lnTo>
                <a:lnTo>
                  <a:pt x="453" y="2333"/>
                </a:lnTo>
                <a:lnTo>
                  <a:pt x="466" y="2328"/>
                </a:lnTo>
                <a:lnTo>
                  <a:pt x="476" y="2322"/>
                </a:lnTo>
                <a:lnTo>
                  <a:pt x="485" y="2316"/>
                </a:lnTo>
                <a:lnTo>
                  <a:pt x="493" y="2307"/>
                </a:lnTo>
                <a:lnTo>
                  <a:pt x="495" y="2303"/>
                </a:lnTo>
                <a:lnTo>
                  <a:pt x="500" y="2299"/>
                </a:lnTo>
                <a:lnTo>
                  <a:pt x="502" y="2290"/>
                </a:lnTo>
                <a:lnTo>
                  <a:pt x="504" y="2282"/>
                </a:lnTo>
                <a:lnTo>
                  <a:pt x="504" y="2277"/>
                </a:lnTo>
                <a:lnTo>
                  <a:pt x="502" y="2273"/>
                </a:lnTo>
                <a:lnTo>
                  <a:pt x="500" y="2269"/>
                </a:lnTo>
                <a:lnTo>
                  <a:pt x="497" y="2265"/>
                </a:lnTo>
                <a:lnTo>
                  <a:pt x="493" y="2263"/>
                </a:lnTo>
                <a:lnTo>
                  <a:pt x="489" y="2261"/>
                </a:lnTo>
                <a:lnTo>
                  <a:pt x="478" y="2261"/>
                </a:lnTo>
                <a:lnTo>
                  <a:pt x="468" y="2261"/>
                </a:lnTo>
                <a:lnTo>
                  <a:pt x="464" y="2263"/>
                </a:lnTo>
                <a:lnTo>
                  <a:pt x="457" y="2267"/>
                </a:lnTo>
                <a:lnTo>
                  <a:pt x="453" y="2271"/>
                </a:lnTo>
                <a:lnTo>
                  <a:pt x="447" y="2275"/>
                </a:lnTo>
                <a:lnTo>
                  <a:pt x="438" y="2284"/>
                </a:lnTo>
                <a:lnTo>
                  <a:pt x="434" y="2290"/>
                </a:lnTo>
                <a:lnTo>
                  <a:pt x="430" y="2297"/>
                </a:lnTo>
                <a:lnTo>
                  <a:pt x="423" y="2311"/>
                </a:lnTo>
                <a:lnTo>
                  <a:pt x="419" y="2328"/>
                </a:lnTo>
                <a:lnTo>
                  <a:pt x="419" y="2337"/>
                </a:lnTo>
                <a:lnTo>
                  <a:pt x="419" y="2345"/>
                </a:lnTo>
                <a:lnTo>
                  <a:pt x="419" y="2360"/>
                </a:lnTo>
                <a:lnTo>
                  <a:pt x="421" y="2366"/>
                </a:lnTo>
                <a:lnTo>
                  <a:pt x="423" y="2373"/>
                </a:lnTo>
                <a:lnTo>
                  <a:pt x="428" y="2385"/>
                </a:lnTo>
                <a:lnTo>
                  <a:pt x="434" y="2396"/>
                </a:lnTo>
                <a:lnTo>
                  <a:pt x="442" y="2404"/>
                </a:lnTo>
                <a:lnTo>
                  <a:pt x="447" y="2409"/>
                </a:lnTo>
                <a:lnTo>
                  <a:pt x="453" y="2411"/>
                </a:lnTo>
                <a:lnTo>
                  <a:pt x="464" y="2415"/>
                </a:lnTo>
                <a:lnTo>
                  <a:pt x="470" y="2415"/>
                </a:lnTo>
                <a:lnTo>
                  <a:pt x="476" y="2417"/>
                </a:lnTo>
                <a:lnTo>
                  <a:pt x="489" y="2415"/>
                </a:lnTo>
                <a:lnTo>
                  <a:pt x="502" y="2411"/>
                </a:lnTo>
                <a:lnTo>
                  <a:pt x="506" y="2409"/>
                </a:lnTo>
                <a:lnTo>
                  <a:pt x="512" y="2407"/>
                </a:lnTo>
                <a:lnTo>
                  <a:pt x="523" y="2398"/>
                </a:lnTo>
                <a:lnTo>
                  <a:pt x="531" y="2390"/>
                </a:lnTo>
                <a:lnTo>
                  <a:pt x="540" y="2379"/>
                </a:lnTo>
                <a:lnTo>
                  <a:pt x="548" y="2366"/>
                </a:lnTo>
                <a:lnTo>
                  <a:pt x="555" y="2354"/>
                </a:lnTo>
                <a:lnTo>
                  <a:pt x="561" y="2341"/>
                </a:lnTo>
                <a:lnTo>
                  <a:pt x="567" y="2326"/>
                </a:lnTo>
                <a:lnTo>
                  <a:pt x="572" y="2311"/>
                </a:lnTo>
                <a:lnTo>
                  <a:pt x="574" y="2297"/>
                </a:lnTo>
                <a:lnTo>
                  <a:pt x="576" y="2284"/>
                </a:lnTo>
                <a:lnTo>
                  <a:pt x="578" y="2269"/>
                </a:lnTo>
                <a:lnTo>
                  <a:pt x="578" y="2256"/>
                </a:lnTo>
                <a:lnTo>
                  <a:pt x="578" y="2242"/>
                </a:lnTo>
                <a:lnTo>
                  <a:pt x="580" y="2239"/>
                </a:lnTo>
                <a:lnTo>
                  <a:pt x="582" y="2237"/>
                </a:lnTo>
                <a:lnTo>
                  <a:pt x="586" y="2235"/>
                </a:lnTo>
                <a:lnTo>
                  <a:pt x="593" y="2235"/>
                </a:lnTo>
                <a:lnTo>
                  <a:pt x="599" y="2237"/>
                </a:lnTo>
                <a:lnTo>
                  <a:pt x="603" y="2237"/>
                </a:lnTo>
                <a:lnTo>
                  <a:pt x="608" y="2242"/>
                </a:lnTo>
                <a:lnTo>
                  <a:pt x="612" y="2248"/>
                </a:lnTo>
                <a:lnTo>
                  <a:pt x="612" y="2254"/>
                </a:lnTo>
                <a:lnTo>
                  <a:pt x="612" y="2261"/>
                </a:lnTo>
                <a:lnTo>
                  <a:pt x="612" y="2280"/>
                </a:lnTo>
                <a:lnTo>
                  <a:pt x="610" y="2299"/>
                </a:lnTo>
                <a:lnTo>
                  <a:pt x="605" y="2316"/>
                </a:lnTo>
                <a:lnTo>
                  <a:pt x="601" y="2333"/>
                </a:lnTo>
                <a:lnTo>
                  <a:pt x="595" y="2349"/>
                </a:lnTo>
                <a:lnTo>
                  <a:pt x="588" y="2366"/>
                </a:lnTo>
                <a:lnTo>
                  <a:pt x="582" y="2381"/>
                </a:lnTo>
                <a:lnTo>
                  <a:pt x="574" y="2394"/>
                </a:lnTo>
                <a:lnTo>
                  <a:pt x="563" y="2407"/>
                </a:lnTo>
                <a:lnTo>
                  <a:pt x="559" y="2413"/>
                </a:lnTo>
                <a:lnTo>
                  <a:pt x="552" y="2417"/>
                </a:lnTo>
                <a:lnTo>
                  <a:pt x="542" y="2428"/>
                </a:lnTo>
                <a:lnTo>
                  <a:pt x="529" y="2436"/>
                </a:lnTo>
                <a:lnTo>
                  <a:pt x="516" y="2443"/>
                </a:lnTo>
                <a:lnTo>
                  <a:pt x="504" y="2449"/>
                </a:lnTo>
                <a:lnTo>
                  <a:pt x="489" y="2451"/>
                </a:lnTo>
                <a:lnTo>
                  <a:pt x="476" y="2451"/>
                </a:lnTo>
                <a:close/>
                <a:moveTo>
                  <a:pt x="707" y="2449"/>
                </a:moveTo>
                <a:lnTo>
                  <a:pt x="701" y="2447"/>
                </a:lnTo>
                <a:lnTo>
                  <a:pt x="692" y="2440"/>
                </a:lnTo>
                <a:lnTo>
                  <a:pt x="675" y="2426"/>
                </a:lnTo>
                <a:lnTo>
                  <a:pt x="656" y="2407"/>
                </a:lnTo>
                <a:lnTo>
                  <a:pt x="637" y="2385"/>
                </a:lnTo>
                <a:lnTo>
                  <a:pt x="631" y="2377"/>
                </a:lnTo>
                <a:lnTo>
                  <a:pt x="624" y="2371"/>
                </a:lnTo>
                <a:lnTo>
                  <a:pt x="620" y="2358"/>
                </a:lnTo>
                <a:lnTo>
                  <a:pt x="618" y="2352"/>
                </a:lnTo>
                <a:lnTo>
                  <a:pt x="618" y="2345"/>
                </a:lnTo>
                <a:lnTo>
                  <a:pt x="618" y="2339"/>
                </a:lnTo>
                <a:lnTo>
                  <a:pt x="620" y="2333"/>
                </a:lnTo>
                <a:lnTo>
                  <a:pt x="624" y="2324"/>
                </a:lnTo>
                <a:lnTo>
                  <a:pt x="629" y="2316"/>
                </a:lnTo>
                <a:lnTo>
                  <a:pt x="641" y="2301"/>
                </a:lnTo>
                <a:lnTo>
                  <a:pt x="658" y="2282"/>
                </a:lnTo>
                <a:lnTo>
                  <a:pt x="701" y="2233"/>
                </a:lnTo>
                <a:lnTo>
                  <a:pt x="707" y="2233"/>
                </a:lnTo>
                <a:lnTo>
                  <a:pt x="713" y="2235"/>
                </a:lnTo>
                <a:lnTo>
                  <a:pt x="720" y="2239"/>
                </a:lnTo>
                <a:lnTo>
                  <a:pt x="722" y="2246"/>
                </a:lnTo>
                <a:lnTo>
                  <a:pt x="724" y="2252"/>
                </a:lnTo>
                <a:lnTo>
                  <a:pt x="722" y="2258"/>
                </a:lnTo>
                <a:lnTo>
                  <a:pt x="720" y="2261"/>
                </a:lnTo>
                <a:lnTo>
                  <a:pt x="718" y="2265"/>
                </a:lnTo>
                <a:lnTo>
                  <a:pt x="688" y="2299"/>
                </a:lnTo>
                <a:lnTo>
                  <a:pt x="671" y="2320"/>
                </a:lnTo>
                <a:lnTo>
                  <a:pt x="658" y="2335"/>
                </a:lnTo>
                <a:lnTo>
                  <a:pt x="656" y="2339"/>
                </a:lnTo>
                <a:lnTo>
                  <a:pt x="654" y="2343"/>
                </a:lnTo>
                <a:lnTo>
                  <a:pt x="656" y="2349"/>
                </a:lnTo>
                <a:lnTo>
                  <a:pt x="658" y="2356"/>
                </a:lnTo>
                <a:lnTo>
                  <a:pt x="669" y="2366"/>
                </a:lnTo>
                <a:lnTo>
                  <a:pt x="686" y="2385"/>
                </a:lnTo>
                <a:lnTo>
                  <a:pt x="705" y="2404"/>
                </a:lnTo>
                <a:lnTo>
                  <a:pt x="724" y="2424"/>
                </a:lnTo>
                <a:lnTo>
                  <a:pt x="726" y="2426"/>
                </a:lnTo>
                <a:lnTo>
                  <a:pt x="726" y="2428"/>
                </a:lnTo>
                <a:lnTo>
                  <a:pt x="726" y="2432"/>
                </a:lnTo>
                <a:lnTo>
                  <a:pt x="724" y="2434"/>
                </a:lnTo>
                <a:lnTo>
                  <a:pt x="720" y="2443"/>
                </a:lnTo>
                <a:lnTo>
                  <a:pt x="713" y="2447"/>
                </a:lnTo>
                <a:lnTo>
                  <a:pt x="709" y="2449"/>
                </a:lnTo>
                <a:lnTo>
                  <a:pt x="707" y="2449"/>
                </a:lnTo>
                <a:close/>
                <a:moveTo>
                  <a:pt x="527" y="2987"/>
                </a:moveTo>
                <a:lnTo>
                  <a:pt x="533" y="2980"/>
                </a:lnTo>
                <a:lnTo>
                  <a:pt x="540" y="2972"/>
                </a:lnTo>
                <a:lnTo>
                  <a:pt x="546" y="2963"/>
                </a:lnTo>
                <a:lnTo>
                  <a:pt x="550" y="2955"/>
                </a:lnTo>
                <a:lnTo>
                  <a:pt x="559" y="2936"/>
                </a:lnTo>
                <a:lnTo>
                  <a:pt x="567" y="2915"/>
                </a:lnTo>
                <a:lnTo>
                  <a:pt x="574" y="2893"/>
                </a:lnTo>
                <a:lnTo>
                  <a:pt x="576" y="2872"/>
                </a:lnTo>
                <a:lnTo>
                  <a:pt x="578" y="2853"/>
                </a:lnTo>
                <a:lnTo>
                  <a:pt x="578" y="2834"/>
                </a:lnTo>
                <a:lnTo>
                  <a:pt x="580" y="2832"/>
                </a:lnTo>
                <a:lnTo>
                  <a:pt x="582" y="2830"/>
                </a:lnTo>
                <a:lnTo>
                  <a:pt x="586" y="2828"/>
                </a:lnTo>
                <a:lnTo>
                  <a:pt x="593" y="2828"/>
                </a:lnTo>
                <a:lnTo>
                  <a:pt x="599" y="2828"/>
                </a:lnTo>
                <a:lnTo>
                  <a:pt x="603" y="2830"/>
                </a:lnTo>
                <a:lnTo>
                  <a:pt x="608" y="2832"/>
                </a:lnTo>
                <a:lnTo>
                  <a:pt x="612" y="2841"/>
                </a:lnTo>
                <a:lnTo>
                  <a:pt x="612" y="2847"/>
                </a:lnTo>
                <a:lnTo>
                  <a:pt x="612" y="2853"/>
                </a:lnTo>
                <a:lnTo>
                  <a:pt x="612" y="2879"/>
                </a:lnTo>
                <a:lnTo>
                  <a:pt x="608" y="2902"/>
                </a:lnTo>
                <a:lnTo>
                  <a:pt x="601" y="2927"/>
                </a:lnTo>
                <a:lnTo>
                  <a:pt x="597" y="2938"/>
                </a:lnTo>
                <a:lnTo>
                  <a:pt x="593" y="2948"/>
                </a:lnTo>
                <a:lnTo>
                  <a:pt x="584" y="2970"/>
                </a:lnTo>
                <a:lnTo>
                  <a:pt x="572" y="2989"/>
                </a:lnTo>
                <a:lnTo>
                  <a:pt x="565" y="2997"/>
                </a:lnTo>
                <a:lnTo>
                  <a:pt x="559" y="3003"/>
                </a:lnTo>
                <a:lnTo>
                  <a:pt x="550" y="3012"/>
                </a:lnTo>
                <a:lnTo>
                  <a:pt x="544" y="3018"/>
                </a:lnTo>
                <a:lnTo>
                  <a:pt x="533" y="2999"/>
                </a:lnTo>
                <a:lnTo>
                  <a:pt x="527" y="2987"/>
                </a:lnTo>
                <a:close/>
                <a:moveTo>
                  <a:pt x="459" y="2826"/>
                </a:moveTo>
                <a:lnTo>
                  <a:pt x="470" y="2821"/>
                </a:lnTo>
                <a:lnTo>
                  <a:pt x="481" y="2821"/>
                </a:lnTo>
                <a:lnTo>
                  <a:pt x="493" y="2824"/>
                </a:lnTo>
                <a:lnTo>
                  <a:pt x="500" y="2824"/>
                </a:lnTo>
                <a:lnTo>
                  <a:pt x="504" y="2826"/>
                </a:lnTo>
                <a:lnTo>
                  <a:pt x="512" y="2830"/>
                </a:lnTo>
                <a:lnTo>
                  <a:pt x="521" y="2838"/>
                </a:lnTo>
                <a:lnTo>
                  <a:pt x="527" y="2847"/>
                </a:lnTo>
                <a:lnTo>
                  <a:pt x="531" y="2855"/>
                </a:lnTo>
                <a:lnTo>
                  <a:pt x="533" y="2866"/>
                </a:lnTo>
                <a:lnTo>
                  <a:pt x="536" y="2879"/>
                </a:lnTo>
                <a:lnTo>
                  <a:pt x="533" y="2887"/>
                </a:lnTo>
                <a:lnTo>
                  <a:pt x="533" y="2896"/>
                </a:lnTo>
                <a:lnTo>
                  <a:pt x="527" y="2910"/>
                </a:lnTo>
                <a:lnTo>
                  <a:pt x="521" y="2919"/>
                </a:lnTo>
                <a:lnTo>
                  <a:pt x="516" y="2925"/>
                </a:lnTo>
                <a:lnTo>
                  <a:pt x="510" y="2932"/>
                </a:lnTo>
                <a:lnTo>
                  <a:pt x="504" y="2938"/>
                </a:lnTo>
                <a:lnTo>
                  <a:pt x="491" y="2908"/>
                </a:lnTo>
                <a:lnTo>
                  <a:pt x="489" y="2904"/>
                </a:lnTo>
                <a:lnTo>
                  <a:pt x="495" y="2898"/>
                </a:lnTo>
                <a:lnTo>
                  <a:pt x="500" y="2889"/>
                </a:lnTo>
                <a:lnTo>
                  <a:pt x="502" y="2881"/>
                </a:lnTo>
                <a:lnTo>
                  <a:pt x="504" y="2874"/>
                </a:lnTo>
                <a:lnTo>
                  <a:pt x="504" y="2868"/>
                </a:lnTo>
                <a:lnTo>
                  <a:pt x="502" y="2864"/>
                </a:lnTo>
                <a:lnTo>
                  <a:pt x="500" y="2862"/>
                </a:lnTo>
                <a:lnTo>
                  <a:pt x="497" y="2857"/>
                </a:lnTo>
                <a:lnTo>
                  <a:pt x="493" y="2855"/>
                </a:lnTo>
                <a:lnTo>
                  <a:pt x="489" y="2853"/>
                </a:lnTo>
                <a:lnTo>
                  <a:pt x="478" y="2851"/>
                </a:lnTo>
                <a:lnTo>
                  <a:pt x="470" y="2853"/>
                </a:lnTo>
                <a:lnTo>
                  <a:pt x="466" y="2841"/>
                </a:lnTo>
                <a:lnTo>
                  <a:pt x="459" y="2826"/>
                </a:lnTo>
                <a:close/>
                <a:moveTo>
                  <a:pt x="707" y="3039"/>
                </a:moveTo>
                <a:lnTo>
                  <a:pt x="701" y="3037"/>
                </a:lnTo>
                <a:lnTo>
                  <a:pt x="692" y="3033"/>
                </a:lnTo>
                <a:lnTo>
                  <a:pt x="675" y="3016"/>
                </a:lnTo>
                <a:lnTo>
                  <a:pt x="656" y="2997"/>
                </a:lnTo>
                <a:lnTo>
                  <a:pt x="637" y="2978"/>
                </a:lnTo>
                <a:lnTo>
                  <a:pt x="631" y="2968"/>
                </a:lnTo>
                <a:lnTo>
                  <a:pt x="624" y="2961"/>
                </a:lnTo>
                <a:lnTo>
                  <a:pt x="620" y="2948"/>
                </a:lnTo>
                <a:lnTo>
                  <a:pt x="618" y="2944"/>
                </a:lnTo>
                <a:lnTo>
                  <a:pt x="618" y="2938"/>
                </a:lnTo>
                <a:lnTo>
                  <a:pt x="618" y="2932"/>
                </a:lnTo>
                <a:lnTo>
                  <a:pt x="620" y="2923"/>
                </a:lnTo>
                <a:lnTo>
                  <a:pt x="624" y="2917"/>
                </a:lnTo>
                <a:lnTo>
                  <a:pt x="629" y="2908"/>
                </a:lnTo>
                <a:lnTo>
                  <a:pt x="641" y="2893"/>
                </a:lnTo>
                <a:lnTo>
                  <a:pt x="658" y="2872"/>
                </a:lnTo>
                <a:lnTo>
                  <a:pt x="701" y="2824"/>
                </a:lnTo>
                <a:lnTo>
                  <a:pt x="707" y="2826"/>
                </a:lnTo>
                <a:lnTo>
                  <a:pt x="713" y="2828"/>
                </a:lnTo>
                <a:lnTo>
                  <a:pt x="720" y="2832"/>
                </a:lnTo>
                <a:lnTo>
                  <a:pt x="722" y="2836"/>
                </a:lnTo>
                <a:lnTo>
                  <a:pt x="724" y="2843"/>
                </a:lnTo>
                <a:lnTo>
                  <a:pt x="722" y="2849"/>
                </a:lnTo>
                <a:lnTo>
                  <a:pt x="720" y="2853"/>
                </a:lnTo>
                <a:lnTo>
                  <a:pt x="718" y="2857"/>
                </a:lnTo>
                <a:lnTo>
                  <a:pt x="688" y="2891"/>
                </a:lnTo>
                <a:lnTo>
                  <a:pt x="671" y="2910"/>
                </a:lnTo>
                <a:lnTo>
                  <a:pt x="658" y="2927"/>
                </a:lnTo>
                <a:lnTo>
                  <a:pt x="656" y="2932"/>
                </a:lnTo>
                <a:lnTo>
                  <a:pt x="654" y="2936"/>
                </a:lnTo>
                <a:lnTo>
                  <a:pt x="656" y="2940"/>
                </a:lnTo>
                <a:lnTo>
                  <a:pt x="658" y="2946"/>
                </a:lnTo>
                <a:lnTo>
                  <a:pt x="669" y="2959"/>
                </a:lnTo>
                <a:lnTo>
                  <a:pt x="686" y="2976"/>
                </a:lnTo>
                <a:lnTo>
                  <a:pt x="705" y="2997"/>
                </a:lnTo>
                <a:lnTo>
                  <a:pt x="724" y="3014"/>
                </a:lnTo>
                <a:lnTo>
                  <a:pt x="726" y="3016"/>
                </a:lnTo>
                <a:lnTo>
                  <a:pt x="726" y="3020"/>
                </a:lnTo>
                <a:lnTo>
                  <a:pt x="726" y="3023"/>
                </a:lnTo>
                <a:lnTo>
                  <a:pt x="724" y="3027"/>
                </a:lnTo>
                <a:lnTo>
                  <a:pt x="720" y="3033"/>
                </a:lnTo>
                <a:lnTo>
                  <a:pt x="713" y="3037"/>
                </a:lnTo>
                <a:lnTo>
                  <a:pt x="709" y="3039"/>
                </a:lnTo>
                <a:lnTo>
                  <a:pt x="707" y="3039"/>
                </a:lnTo>
                <a:close/>
                <a:moveTo>
                  <a:pt x="2756" y="2451"/>
                </a:moveTo>
                <a:lnTo>
                  <a:pt x="2748" y="2451"/>
                </a:lnTo>
                <a:lnTo>
                  <a:pt x="2739" y="2449"/>
                </a:lnTo>
                <a:lnTo>
                  <a:pt x="2729" y="2447"/>
                </a:lnTo>
                <a:lnTo>
                  <a:pt x="2720" y="2445"/>
                </a:lnTo>
                <a:lnTo>
                  <a:pt x="2714" y="2440"/>
                </a:lnTo>
                <a:lnTo>
                  <a:pt x="2705" y="2434"/>
                </a:lnTo>
                <a:lnTo>
                  <a:pt x="2699" y="2428"/>
                </a:lnTo>
                <a:lnTo>
                  <a:pt x="2693" y="2421"/>
                </a:lnTo>
                <a:lnTo>
                  <a:pt x="2686" y="2413"/>
                </a:lnTo>
                <a:lnTo>
                  <a:pt x="2682" y="2407"/>
                </a:lnTo>
                <a:lnTo>
                  <a:pt x="2673" y="2388"/>
                </a:lnTo>
                <a:lnTo>
                  <a:pt x="2669" y="2377"/>
                </a:lnTo>
                <a:lnTo>
                  <a:pt x="2667" y="2369"/>
                </a:lnTo>
                <a:lnTo>
                  <a:pt x="2667" y="2358"/>
                </a:lnTo>
                <a:lnTo>
                  <a:pt x="2665" y="2345"/>
                </a:lnTo>
                <a:lnTo>
                  <a:pt x="2667" y="2335"/>
                </a:lnTo>
                <a:lnTo>
                  <a:pt x="2667" y="2324"/>
                </a:lnTo>
                <a:lnTo>
                  <a:pt x="2669" y="2313"/>
                </a:lnTo>
                <a:lnTo>
                  <a:pt x="2673" y="2303"/>
                </a:lnTo>
                <a:lnTo>
                  <a:pt x="2678" y="2292"/>
                </a:lnTo>
                <a:lnTo>
                  <a:pt x="2682" y="2282"/>
                </a:lnTo>
                <a:lnTo>
                  <a:pt x="2688" y="2273"/>
                </a:lnTo>
                <a:lnTo>
                  <a:pt x="2695" y="2265"/>
                </a:lnTo>
                <a:lnTo>
                  <a:pt x="2701" y="2258"/>
                </a:lnTo>
                <a:lnTo>
                  <a:pt x="2707" y="2250"/>
                </a:lnTo>
                <a:lnTo>
                  <a:pt x="2716" y="2244"/>
                </a:lnTo>
                <a:lnTo>
                  <a:pt x="2724" y="2239"/>
                </a:lnTo>
                <a:lnTo>
                  <a:pt x="2733" y="2235"/>
                </a:lnTo>
                <a:lnTo>
                  <a:pt x="2743" y="2233"/>
                </a:lnTo>
                <a:lnTo>
                  <a:pt x="2752" y="2231"/>
                </a:lnTo>
                <a:lnTo>
                  <a:pt x="2762" y="2229"/>
                </a:lnTo>
                <a:lnTo>
                  <a:pt x="2775" y="2231"/>
                </a:lnTo>
                <a:lnTo>
                  <a:pt x="2779" y="2233"/>
                </a:lnTo>
                <a:lnTo>
                  <a:pt x="2786" y="2235"/>
                </a:lnTo>
                <a:lnTo>
                  <a:pt x="2794" y="2239"/>
                </a:lnTo>
                <a:lnTo>
                  <a:pt x="2803" y="2246"/>
                </a:lnTo>
                <a:lnTo>
                  <a:pt x="2807" y="2254"/>
                </a:lnTo>
                <a:lnTo>
                  <a:pt x="2813" y="2265"/>
                </a:lnTo>
                <a:lnTo>
                  <a:pt x="2815" y="2275"/>
                </a:lnTo>
                <a:lnTo>
                  <a:pt x="2815" y="2286"/>
                </a:lnTo>
                <a:lnTo>
                  <a:pt x="2815" y="2294"/>
                </a:lnTo>
                <a:lnTo>
                  <a:pt x="2813" y="2303"/>
                </a:lnTo>
                <a:lnTo>
                  <a:pt x="2811" y="2309"/>
                </a:lnTo>
                <a:lnTo>
                  <a:pt x="2809" y="2316"/>
                </a:lnTo>
                <a:lnTo>
                  <a:pt x="2805" y="2322"/>
                </a:lnTo>
                <a:lnTo>
                  <a:pt x="2801" y="2328"/>
                </a:lnTo>
                <a:lnTo>
                  <a:pt x="2790" y="2341"/>
                </a:lnTo>
                <a:lnTo>
                  <a:pt x="2784" y="2345"/>
                </a:lnTo>
                <a:lnTo>
                  <a:pt x="2777" y="2352"/>
                </a:lnTo>
                <a:lnTo>
                  <a:pt x="2765" y="2358"/>
                </a:lnTo>
                <a:lnTo>
                  <a:pt x="2756" y="2360"/>
                </a:lnTo>
                <a:lnTo>
                  <a:pt x="2750" y="2362"/>
                </a:lnTo>
                <a:lnTo>
                  <a:pt x="2733" y="2364"/>
                </a:lnTo>
                <a:lnTo>
                  <a:pt x="2726" y="2362"/>
                </a:lnTo>
                <a:lnTo>
                  <a:pt x="2724" y="2362"/>
                </a:lnTo>
                <a:lnTo>
                  <a:pt x="2722" y="2358"/>
                </a:lnTo>
                <a:lnTo>
                  <a:pt x="2720" y="2356"/>
                </a:lnTo>
                <a:lnTo>
                  <a:pt x="2718" y="2354"/>
                </a:lnTo>
                <a:lnTo>
                  <a:pt x="2718" y="2345"/>
                </a:lnTo>
                <a:lnTo>
                  <a:pt x="2718" y="2339"/>
                </a:lnTo>
                <a:lnTo>
                  <a:pt x="2720" y="2337"/>
                </a:lnTo>
                <a:lnTo>
                  <a:pt x="2722" y="2335"/>
                </a:lnTo>
                <a:lnTo>
                  <a:pt x="2735" y="2333"/>
                </a:lnTo>
                <a:lnTo>
                  <a:pt x="2748" y="2328"/>
                </a:lnTo>
                <a:lnTo>
                  <a:pt x="2758" y="2322"/>
                </a:lnTo>
                <a:lnTo>
                  <a:pt x="2767" y="2316"/>
                </a:lnTo>
                <a:lnTo>
                  <a:pt x="2773" y="2307"/>
                </a:lnTo>
                <a:lnTo>
                  <a:pt x="2777" y="2303"/>
                </a:lnTo>
                <a:lnTo>
                  <a:pt x="2779" y="2299"/>
                </a:lnTo>
                <a:lnTo>
                  <a:pt x="2784" y="2290"/>
                </a:lnTo>
                <a:lnTo>
                  <a:pt x="2784" y="2282"/>
                </a:lnTo>
                <a:lnTo>
                  <a:pt x="2784" y="2277"/>
                </a:lnTo>
                <a:lnTo>
                  <a:pt x="2781" y="2273"/>
                </a:lnTo>
                <a:lnTo>
                  <a:pt x="2781" y="2269"/>
                </a:lnTo>
                <a:lnTo>
                  <a:pt x="2777" y="2265"/>
                </a:lnTo>
                <a:lnTo>
                  <a:pt x="2775" y="2263"/>
                </a:lnTo>
                <a:lnTo>
                  <a:pt x="2771" y="2261"/>
                </a:lnTo>
                <a:lnTo>
                  <a:pt x="2760" y="2261"/>
                </a:lnTo>
                <a:lnTo>
                  <a:pt x="2750" y="2261"/>
                </a:lnTo>
                <a:lnTo>
                  <a:pt x="2743" y="2263"/>
                </a:lnTo>
                <a:lnTo>
                  <a:pt x="2739" y="2267"/>
                </a:lnTo>
                <a:lnTo>
                  <a:pt x="2733" y="2271"/>
                </a:lnTo>
                <a:lnTo>
                  <a:pt x="2729" y="2275"/>
                </a:lnTo>
                <a:lnTo>
                  <a:pt x="2718" y="2284"/>
                </a:lnTo>
                <a:lnTo>
                  <a:pt x="2716" y="2290"/>
                </a:lnTo>
                <a:lnTo>
                  <a:pt x="2712" y="2297"/>
                </a:lnTo>
                <a:lnTo>
                  <a:pt x="2705" y="2311"/>
                </a:lnTo>
                <a:lnTo>
                  <a:pt x="2701" y="2328"/>
                </a:lnTo>
                <a:lnTo>
                  <a:pt x="2699" y="2337"/>
                </a:lnTo>
                <a:lnTo>
                  <a:pt x="2699" y="2345"/>
                </a:lnTo>
                <a:lnTo>
                  <a:pt x="2701" y="2360"/>
                </a:lnTo>
                <a:lnTo>
                  <a:pt x="2701" y="2366"/>
                </a:lnTo>
                <a:lnTo>
                  <a:pt x="2703" y="2373"/>
                </a:lnTo>
                <a:lnTo>
                  <a:pt x="2709" y="2385"/>
                </a:lnTo>
                <a:lnTo>
                  <a:pt x="2716" y="2396"/>
                </a:lnTo>
                <a:lnTo>
                  <a:pt x="2724" y="2404"/>
                </a:lnTo>
                <a:lnTo>
                  <a:pt x="2729" y="2409"/>
                </a:lnTo>
                <a:lnTo>
                  <a:pt x="2733" y="2411"/>
                </a:lnTo>
                <a:lnTo>
                  <a:pt x="2745" y="2415"/>
                </a:lnTo>
                <a:lnTo>
                  <a:pt x="2752" y="2415"/>
                </a:lnTo>
                <a:lnTo>
                  <a:pt x="2758" y="2417"/>
                </a:lnTo>
                <a:lnTo>
                  <a:pt x="2771" y="2415"/>
                </a:lnTo>
                <a:lnTo>
                  <a:pt x="2781" y="2411"/>
                </a:lnTo>
                <a:lnTo>
                  <a:pt x="2788" y="2409"/>
                </a:lnTo>
                <a:lnTo>
                  <a:pt x="2792" y="2407"/>
                </a:lnTo>
                <a:lnTo>
                  <a:pt x="2803" y="2398"/>
                </a:lnTo>
                <a:lnTo>
                  <a:pt x="2813" y="2390"/>
                </a:lnTo>
                <a:lnTo>
                  <a:pt x="2822" y="2379"/>
                </a:lnTo>
                <a:lnTo>
                  <a:pt x="2828" y="2366"/>
                </a:lnTo>
                <a:lnTo>
                  <a:pt x="2836" y="2354"/>
                </a:lnTo>
                <a:lnTo>
                  <a:pt x="2843" y="2341"/>
                </a:lnTo>
                <a:lnTo>
                  <a:pt x="2847" y="2326"/>
                </a:lnTo>
                <a:lnTo>
                  <a:pt x="2851" y="2311"/>
                </a:lnTo>
                <a:lnTo>
                  <a:pt x="2856" y="2297"/>
                </a:lnTo>
                <a:lnTo>
                  <a:pt x="2858" y="2284"/>
                </a:lnTo>
                <a:lnTo>
                  <a:pt x="2860" y="2269"/>
                </a:lnTo>
                <a:lnTo>
                  <a:pt x="2860" y="2256"/>
                </a:lnTo>
                <a:lnTo>
                  <a:pt x="2860" y="2242"/>
                </a:lnTo>
                <a:lnTo>
                  <a:pt x="2862" y="2239"/>
                </a:lnTo>
                <a:lnTo>
                  <a:pt x="2864" y="2237"/>
                </a:lnTo>
                <a:lnTo>
                  <a:pt x="2868" y="2235"/>
                </a:lnTo>
                <a:lnTo>
                  <a:pt x="2872" y="2235"/>
                </a:lnTo>
                <a:lnTo>
                  <a:pt x="2881" y="2237"/>
                </a:lnTo>
                <a:lnTo>
                  <a:pt x="2885" y="2237"/>
                </a:lnTo>
                <a:lnTo>
                  <a:pt x="2887" y="2242"/>
                </a:lnTo>
                <a:lnTo>
                  <a:pt x="2892" y="2248"/>
                </a:lnTo>
                <a:lnTo>
                  <a:pt x="2894" y="2254"/>
                </a:lnTo>
                <a:lnTo>
                  <a:pt x="2894" y="2261"/>
                </a:lnTo>
                <a:lnTo>
                  <a:pt x="2892" y="2280"/>
                </a:lnTo>
                <a:lnTo>
                  <a:pt x="2889" y="2299"/>
                </a:lnTo>
                <a:lnTo>
                  <a:pt x="2887" y="2316"/>
                </a:lnTo>
                <a:lnTo>
                  <a:pt x="2883" y="2333"/>
                </a:lnTo>
                <a:lnTo>
                  <a:pt x="2877" y="2349"/>
                </a:lnTo>
                <a:lnTo>
                  <a:pt x="2870" y="2366"/>
                </a:lnTo>
                <a:lnTo>
                  <a:pt x="2862" y="2381"/>
                </a:lnTo>
                <a:lnTo>
                  <a:pt x="2853" y="2394"/>
                </a:lnTo>
                <a:lnTo>
                  <a:pt x="2845" y="2407"/>
                </a:lnTo>
                <a:lnTo>
                  <a:pt x="2839" y="2413"/>
                </a:lnTo>
                <a:lnTo>
                  <a:pt x="2834" y="2417"/>
                </a:lnTo>
                <a:lnTo>
                  <a:pt x="2824" y="2428"/>
                </a:lnTo>
                <a:lnTo>
                  <a:pt x="2811" y="2436"/>
                </a:lnTo>
                <a:lnTo>
                  <a:pt x="2798" y="2443"/>
                </a:lnTo>
                <a:lnTo>
                  <a:pt x="2786" y="2449"/>
                </a:lnTo>
                <a:lnTo>
                  <a:pt x="2771" y="2451"/>
                </a:lnTo>
                <a:lnTo>
                  <a:pt x="2756" y="2451"/>
                </a:lnTo>
                <a:close/>
                <a:moveTo>
                  <a:pt x="2987" y="2449"/>
                </a:moveTo>
                <a:lnTo>
                  <a:pt x="2980" y="2447"/>
                </a:lnTo>
                <a:lnTo>
                  <a:pt x="2972" y="2440"/>
                </a:lnTo>
                <a:lnTo>
                  <a:pt x="2957" y="2426"/>
                </a:lnTo>
                <a:lnTo>
                  <a:pt x="2936" y="2407"/>
                </a:lnTo>
                <a:lnTo>
                  <a:pt x="2919" y="2385"/>
                </a:lnTo>
                <a:lnTo>
                  <a:pt x="2911" y="2377"/>
                </a:lnTo>
                <a:lnTo>
                  <a:pt x="2906" y="2371"/>
                </a:lnTo>
                <a:lnTo>
                  <a:pt x="2900" y="2358"/>
                </a:lnTo>
                <a:lnTo>
                  <a:pt x="2900" y="2352"/>
                </a:lnTo>
                <a:lnTo>
                  <a:pt x="2900" y="2345"/>
                </a:lnTo>
                <a:lnTo>
                  <a:pt x="2900" y="2339"/>
                </a:lnTo>
                <a:lnTo>
                  <a:pt x="2902" y="2333"/>
                </a:lnTo>
                <a:lnTo>
                  <a:pt x="2904" y="2324"/>
                </a:lnTo>
                <a:lnTo>
                  <a:pt x="2911" y="2316"/>
                </a:lnTo>
                <a:lnTo>
                  <a:pt x="2921" y="2301"/>
                </a:lnTo>
                <a:lnTo>
                  <a:pt x="2940" y="2282"/>
                </a:lnTo>
                <a:lnTo>
                  <a:pt x="2983" y="2233"/>
                </a:lnTo>
                <a:lnTo>
                  <a:pt x="2989" y="2233"/>
                </a:lnTo>
                <a:lnTo>
                  <a:pt x="2995" y="2235"/>
                </a:lnTo>
                <a:lnTo>
                  <a:pt x="2999" y="2239"/>
                </a:lnTo>
                <a:lnTo>
                  <a:pt x="3004" y="2246"/>
                </a:lnTo>
                <a:lnTo>
                  <a:pt x="3004" y="2252"/>
                </a:lnTo>
                <a:lnTo>
                  <a:pt x="3004" y="2258"/>
                </a:lnTo>
                <a:lnTo>
                  <a:pt x="3002" y="2261"/>
                </a:lnTo>
                <a:lnTo>
                  <a:pt x="2999" y="2265"/>
                </a:lnTo>
                <a:lnTo>
                  <a:pt x="2970" y="2299"/>
                </a:lnTo>
                <a:lnTo>
                  <a:pt x="2951" y="2320"/>
                </a:lnTo>
                <a:lnTo>
                  <a:pt x="2938" y="2335"/>
                </a:lnTo>
                <a:lnTo>
                  <a:pt x="2936" y="2339"/>
                </a:lnTo>
                <a:lnTo>
                  <a:pt x="2936" y="2343"/>
                </a:lnTo>
                <a:lnTo>
                  <a:pt x="2936" y="2349"/>
                </a:lnTo>
                <a:lnTo>
                  <a:pt x="2940" y="2356"/>
                </a:lnTo>
                <a:lnTo>
                  <a:pt x="2951" y="2366"/>
                </a:lnTo>
                <a:lnTo>
                  <a:pt x="2968" y="2385"/>
                </a:lnTo>
                <a:lnTo>
                  <a:pt x="2987" y="2404"/>
                </a:lnTo>
                <a:lnTo>
                  <a:pt x="3006" y="2424"/>
                </a:lnTo>
                <a:lnTo>
                  <a:pt x="3008" y="2426"/>
                </a:lnTo>
                <a:lnTo>
                  <a:pt x="3008" y="2428"/>
                </a:lnTo>
                <a:lnTo>
                  <a:pt x="3008" y="2432"/>
                </a:lnTo>
                <a:lnTo>
                  <a:pt x="3006" y="2434"/>
                </a:lnTo>
                <a:lnTo>
                  <a:pt x="3002" y="2443"/>
                </a:lnTo>
                <a:lnTo>
                  <a:pt x="2993" y="2447"/>
                </a:lnTo>
                <a:lnTo>
                  <a:pt x="2991" y="2449"/>
                </a:lnTo>
                <a:lnTo>
                  <a:pt x="2987" y="2449"/>
                </a:lnTo>
                <a:close/>
                <a:moveTo>
                  <a:pt x="2756" y="3044"/>
                </a:moveTo>
                <a:lnTo>
                  <a:pt x="2748" y="3044"/>
                </a:lnTo>
                <a:lnTo>
                  <a:pt x="2739" y="3042"/>
                </a:lnTo>
                <a:lnTo>
                  <a:pt x="2729" y="3039"/>
                </a:lnTo>
                <a:lnTo>
                  <a:pt x="2720" y="3035"/>
                </a:lnTo>
                <a:lnTo>
                  <a:pt x="2714" y="3031"/>
                </a:lnTo>
                <a:lnTo>
                  <a:pt x="2705" y="3027"/>
                </a:lnTo>
                <a:lnTo>
                  <a:pt x="2699" y="3020"/>
                </a:lnTo>
                <a:lnTo>
                  <a:pt x="2693" y="3012"/>
                </a:lnTo>
                <a:lnTo>
                  <a:pt x="2686" y="3006"/>
                </a:lnTo>
                <a:lnTo>
                  <a:pt x="2682" y="2997"/>
                </a:lnTo>
                <a:lnTo>
                  <a:pt x="2673" y="2980"/>
                </a:lnTo>
                <a:lnTo>
                  <a:pt x="2669" y="2970"/>
                </a:lnTo>
                <a:lnTo>
                  <a:pt x="2667" y="2959"/>
                </a:lnTo>
                <a:lnTo>
                  <a:pt x="2667" y="2948"/>
                </a:lnTo>
                <a:lnTo>
                  <a:pt x="2665" y="2938"/>
                </a:lnTo>
                <a:lnTo>
                  <a:pt x="2667" y="2927"/>
                </a:lnTo>
                <a:lnTo>
                  <a:pt x="2667" y="2915"/>
                </a:lnTo>
                <a:lnTo>
                  <a:pt x="2669" y="2904"/>
                </a:lnTo>
                <a:lnTo>
                  <a:pt x="2673" y="2893"/>
                </a:lnTo>
                <a:lnTo>
                  <a:pt x="2678" y="2883"/>
                </a:lnTo>
                <a:lnTo>
                  <a:pt x="2682" y="2874"/>
                </a:lnTo>
                <a:lnTo>
                  <a:pt x="2688" y="2866"/>
                </a:lnTo>
                <a:lnTo>
                  <a:pt x="2695" y="2857"/>
                </a:lnTo>
                <a:lnTo>
                  <a:pt x="2701" y="2849"/>
                </a:lnTo>
                <a:lnTo>
                  <a:pt x="2707" y="2843"/>
                </a:lnTo>
                <a:lnTo>
                  <a:pt x="2716" y="2836"/>
                </a:lnTo>
                <a:lnTo>
                  <a:pt x="2724" y="2832"/>
                </a:lnTo>
                <a:lnTo>
                  <a:pt x="2733" y="2828"/>
                </a:lnTo>
                <a:lnTo>
                  <a:pt x="2743" y="2824"/>
                </a:lnTo>
                <a:lnTo>
                  <a:pt x="2752" y="2821"/>
                </a:lnTo>
                <a:lnTo>
                  <a:pt x="2762" y="2821"/>
                </a:lnTo>
                <a:lnTo>
                  <a:pt x="2775" y="2824"/>
                </a:lnTo>
                <a:lnTo>
                  <a:pt x="2779" y="2824"/>
                </a:lnTo>
                <a:lnTo>
                  <a:pt x="2786" y="2826"/>
                </a:lnTo>
                <a:lnTo>
                  <a:pt x="2794" y="2830"/>
                </a:lnTo>
                <a:lnTo>
                  <a:pt x="2803" y="2838"/>
                </a:lnTo>
                <a:lnTo>
                  <a:pt x="2807" y="2847"/>
                </a:lnTo>
                <a:lnTo>
                  <a:pt x="2813" y="2855"/>
                </a:lnTo>
                <a:lnTo>
                  <a:pt x="2815" y="2866"/>
                </a:lnTo>
                <a:lnTo>
                  <a:pt x="2815" y="2879"/>
                </a:lnTo>
                <a:lnTo>
                  <a:pt x="2815" y="2887"/>
                </a:lnTo>
                <a:lnTo>
                  <a:pt x="2813" y="2893"/>
                </a:lnTo>
                <a:lnTo>
                  <a:pt x="2811" y="2900"/>
                </a:lnTo>
                <a:lnTo>
                  <a:pt x="2809" y="2908"/>
                </a:lnTo>
                <a:lnTo>
                  <a:pt x="2805" y="2915"/>
                </a:lnTo>
                <a:lnTo>
                  <a:pt x="2801" y="2921"/>
                </a:lnTo>
                <a:lnTo>
                  <a:pt x="2790" y="2932"/>
                </a:lnTo>
                <a:lnTo>
                  <a:pt x="2784" y="2938"/>
                </a:lnTo>
                <a:lnTo>
                  <a:pt x="2777" y="2942"/>
                </a:lnTo>
                <a:lnTo>
                  <a:pt x="2765" y="2951"/>
                </a:lnTo>
                <a:lnTo>
                  <a:pt x="2756" y="2953"/>
                </a:lnTo>
                <a:lnTo>
                  <a:pt x="2750" y="2955"/>
                </a:lnTo>
                <a:lnTo>
                  <a:pt x="2733" y="2957"/>
                </a:lnTo>
                <a:lnTo>
                  <a:pt x="2726" y="2955"/>
                </a:lnTo>
                <a:lnTo>
                  <a:pt x="2724" y="2953"/>
                </a:lnTo>
                <a:lnTo>
                  <a:pt x="2722" y="2951"/>
                </a:lnTo>
                <a:lnTo>
                  <a:pt x="2720" y="2948"/>
                </a:lnTo>
                <a:lnTo>
                  <a:pt x="2718" y="2944"/>
                </a:lnTo>
                <a:lnTo>
                  <a:pt x="2718" y="2938"/>
                </a:lnTo>
                <a:lnTo>
                  <a:pt x="2718" y="2932"/>
                </a:lnTo>
                <a:lnTo>
                  <a:pt x="2720" y="2929"/>
                </a:lnTo>
                <a:lnTo>
                  <a:pt x="2722" y="2927"/>
                </a:lnTo>
                <a:lnTo>
                  <a:pt x="2735" y="2923"/>
                </a:lnTo>
                <a:lnTo>
                  <a:pt x="2748" y="2919"/>
                </a:lnTo>
                <a:lnTo>
                  <a:pt x="2758" y="2915"/>
                </a:lnTo>
                <a:lnTo>
                  <a:pt x="2767" y="2906"/>
                </a:lnTo>
                <a:lnTo>
                  <a:pt x="2773" y="2900"/>
                </a:lnTo>
                <a:lnTo>
                  <a:pt x="2777" y="2896"/>
                </a:lnTo>
                <a:lnTo>
                  <a:pt x="2779" y="2891"/>
                </a:lnTo>
                <a:lnTo>
                  <a:pt x="2784" y="2883"/>
                </a:lnTo>
                <a:lnTo>
                  <a:pt x="2784" y="2874"/>
                </a:lnTo>
                <a:lnTo>
                  <a:pt x="2784" y="2868"/>
                </a:lnTo>
                <a:lnTo>
                  <a:pt x="2781" y="2864"/>
                </a:lnTo>
                <a:lnTo>
                  <a:pt x="2781" y="2862"/>
                </a:lnTo>
                <a:lnTo>
                  <a:pt x="2777" y="2857"/>
                </a:lnTo>
                <a:lnTo>
                  <a:pt x="2775" y="2855"/>
                </a:lnTo>
                <a:lnTo>
                  <a:pt x="2771" y="2853"/>
                </a:lnTo>
                <a:lnTo>
                  <a:pt x="2760" y="2851"/>
                </a:lnTo>
                <a:lnTo>
                  <a:pt x="2750" y="2853"/>
                </a:lnTo>
                <a:lnTo>
                  <a:pt x="2743" y="2855"/>
                </a:lnTo>
                <a:lnTo>
                  <a:pt x="2739" y="2857"/>
                </a:lnTo>
                <a:lnTo>
                  <a:pt x="2733" y="2862"/>
                </a:lnTo>
                <a:lnTo>
                  <a:pt x="2729" y="2866"/>
                </a:lnTo>
                <a:lnTo>
                  <a:pt x="2718" y="2876"/>
                </a:lnTo>
                <a:lnTo>
                  <a:pt x="2716" y="2883"/>
                </a:lnTo>
                <a:lnTo>
                  <a:pt x="2712" y="2889"/>
                </a:lnTo>
                <a:lnTo>
                  <a:pt x="2705" y="2904"/>
                </a:lnTo>
                <a:lnTo>
                  <a:pt x="2701" y="2919"/>
                </a:lnTo>
                <a:lnTo>
                  <a:pt x="2699" y="2927"/>
                </a:lnTo>
                <a:lnTo>
                  <a:pt x="2699" y="2936"/>
                </a:lnTo>
                <a:lnTo>
                  <a:pt x="2701" y="2951"/>
                </a:lnTo>
                <a:lnTo>
                  <a:pt x="2701" y="2959"/>
                </a:lnTo>
                <a:lnTo>
                  <a:pt x="2703" y="2965"/>
                </a:lnTo>
                <a:lnTo>
                  <a:pt x="2709" y="2978"/>
                </a:lnTo>
                <a:lnTo>
                  <a:pt x="2716" y="2989"/>
                </a:lnTo>
                <a:lnTo>
                  <a:pt x="2724" y="2997"/>
                </a:lnTo>
                <a:lnTo>
                  <a:pt x="2729" y="2999"/>
                </a:lnTo>
                <a:lnTo>
                  <a:pt x="2733" y="3003"/>
                </a:lnTo>
                <a:lnTo>
                  <a:pt x="2745" y="3006"/>
                </a:lnTo>
                <a:lnTo>
                  <a:pt x="2752" y="3008"/>
                </a:lnTo>
                <a:lnTo>
                  <a:pt x="2758" y="3008"/>
                </a:lnTo>
                <a:lnTo>
                  <a:pt x="2771" y="3008"/>
                </a:lnTo>
                <a:lnTo>
                  <a:pt x="2781" y="3003"/>
                </a:lnTo>
                <a:lnTo>
                  <a:pt x="2788" y="3001"/>
                </a:lnTo>
                <a:lnTo>
                  <a:pt x="2792" y="2997"/>
                </a:lnTo>
                <a:lnTo>
                  <a:pt x="2803" y="2991"/>
                </a:lnTo>
                <a:lnTo>
                  <a:pt x="2813" y="2980"/>
                </a:lnTo>
                <a:lnTo>
                  <a:pt x="2822" y="2970"/>
                </a:lnTo>
                <a:lnTo>
                  <a:pt x="2828" y="2959"/>
                </a:lnTo>
                <a:lnTo>
                  <a:pt x="2836" y="2946"/>
                </a:lnTo>
                <a:lnTo>
                  <a:pt x="2843" y="2932"/>
                </a:lnTo>
                <a:lnTo>
                  <a:pt x="2847" y="2919"/>
                </a:lnTo>
                <a:lnTo>
                  <a:pt x="2851" y="2904"/>
                </a:lnTo>
                <a:lnTo>
                  <a:pt x="2856" y="2889"/>
                </a:lnTo>
                <a:lnTo>
                  <a:pt x="2858" y="2874"/>
                </a:lnTo>
                <a:lnTo>
                  <a:pt x="2860" y="2860"/>
                </a:lnTo>
                <a:lnTo>
                  <a:pt x="2860" y="2847"/>
                </a:lnTo>
                <a:lnTo>
                  <a:pt x="2860" y="2834"/>
                </a:lnTo>
                <a:lnTo>
                  <a:pt x="2862" y="2832"/>
                </a:lnTo>
                <a:lnTo>
                  <a:pt x="2864" y="2830"/>
                </a:lnTo>
                <a:lnTo>
                  <a:pt x="2868" y="2828"/>
                </a:lnTo>
                <a:lnTo>
                  <a:pt x="2872" y="2828"/>
                </a:lnTo>
                <a:lnTo>
                  <a:pt x="2881" y="2828"/>
                </a:lnTo>
                <a:lnTo>
                  <a:pt x="2885" y="2830"/>
                </a:lnTo>
                <a:lnTo>
                  <a:pt x="2887" y="2832"/>
                </a:lnTo>
                <a:lnTo>
                  <a:pt x="2892" y="2841"/>
                </a:lnTo>
                <a:lnTo>
                  <a:pt x="2894" y="2847"/>
                </a:lnTo>
                <a:lnTo>
                  <a:pt x="2894" y="2853"/>
                </a:lnTo>
                <a:lnTo>
                  <a:pt x="2892" y="2872"/>
                </a:lnTo>
                <a:lnTo>
                  <a:pt x="2889" y="2889"/>
                </a:lnTo>
                <a:lnTo>
                  <a:pt x="2887" y="2908"/>
                </a:lnTo>
                <a:lnTo>
                  <a:pt x="2883" y="2925"/>
                </a:lnTo>
                <a:lnTo>
                  <a:pt x="2877" y="2942"/>
                </a:lnTo>
                <a:lnTo>
                  <a:pt x="2870" y="2957"/>
                </a:lnTo>
                <a:lnTo>
                  <a:pt x="2862" y="2972"/>
                </a:lnTo>
                <a:lnTo>
                  <a:pt x="2853" y="2987"/>
                </a:lnTo>
                <a:lnTo>
                  <a:pt x="2845" y="2999"/>
                </a:lnTo>
                <a:lnTo>
                  <a:pt x="2839" y="3003"/>
                </a:lnTo>
                <a:lnTo>
                  <a:pt x="2834" y="3010"/>
                </a:lnTo>
                <a:lnTo>
                  <a:pt x="2824" y="3020"/>
                </a:lnTo>
                <a:lnTo>
                  <a:pt x="2811" y="3029"/>
                </a:lnTo>
                <a:lnTo>
                  <a:pt x="2798" y="3035"/>
                </a:lnTo>
                <a:lnTo>
                  <a:pt x="2786" y="3039"/>
                </a:lnTo>
                <a:lnTo>
                  <a:pt x="2771" y="3044"/>
                </a:lnTo>
                <a:lnTo>
                  <a:pt x="2756" y="3044"/>
                </a:lnTo>
                <a:close/>
                <a:moveTo>
                  <a:pt x="2987" y="3039"/>
                </a:moveTo>
                <a:lnTo>
                  <a:pt x="2980" y="3037"/>
                </a:lnTo>
                <a:lnTo>
                  <a:pt x="2972" y="3033"/>
                </a:lnTo>
                <a:lnTo>
                  <a:pt x="2957" y="3016"/>
                </a:lnTo>
                <a:lnTo>
                  <a:pt x="2936" y="2997"/>
                </a:lnTo>
                <a:lnTo>
                  <a:pt x="2919" y="2978"/>
                </a:lnTo>
                <a:lnTo>
                  <a:pt x="2911" y="2968"/>
                </a:lnTo>
                <a:lnTo>
                  <a:pt x="2906" y="2961"/>
                </a:lnTo>
                <a:lnTo>
                  <a:pt x="2900" y="2948"/>
                </a:lnTo>
                <a:lnTo>
                  <a:pt x="2900" y="2944"/>
                </a:lnTo>
                <a:lnTo>
                  <a:pt x="2900" y="2938"/>
                </a:lnTo>
                <a:lnTo>
                  <a:pt x="2900" y="2932"/>
                </a:lnTo>
                <a:lnTo>
                  <a:pt x="2902" y="2923"/>
                </a:lnTo>
                <a:lnTo>
                  <a:pt x="2904" y="2917"/>
                </a:lnTo>
                <a:lnTo>
                  <a:pt x="2911" y="2908"/>
                </a:lnTo>
                <a:lnTo>
                  <a:pt x="2921" y="2893"/>
                </a:lnTo>
                <a:lnTo>
                  <a:pt x="2940" y="2872"/>
                </a:lnTo>
                <a:lnTo>
                  <a:pt x="2983" y="2824"/>
                </a:lnTo>
                <a:lnTo>
                  <a:pt x="2989" y="2826"/>
                </a:lnTo>
                <a:lnTo>
                  <a:pt x="2995" y="2828"/>
                </a:lnTo>
                <a:lnTo>
                  <a:pt x="2999" y="2832"/>
                </a:lnTo>
                <a:lnTo>
                  <a:pt x="3004" y="2836"/>
                </a:lnTo>
                <a:lnTo>
                  <a:pt x="3004" y="2843"/>
                </a:lnTo>
                <a:lnTo>
                  <a:pt x="3004" y="2849"/>
                </a:lnTo>
                <a:lnTo>
                  <a:pt x="3002" y="2853"/>
                </a:lnTo>
                <a:lnTo>
                  <a:pt x="2999" y="2857"/>
                </a:lnTo>
                <a:lnTo>
                  <a:pt x="2970" y="2891"/>
                </a:lnTo>
                <a:lnTo>
                  <a:pt x="2951" y="2910"/>
                </a:lnTo>
                <a:lnTo>
                  <a:pt x="2938" y="2927"/>
                </a:lnTo>
                <a:lnTo>
                  <a:pt x="2936" y="2932"/>
                </a:lnTo>
                <a:lnTo>
                  <a:pt x="2936" y="2936"/>
                </a:lnTo>
                <a:lnTo>
                  <a:pt x="2936" y="2940"/>
                </a:lnTo>
                <a:lnTo>
                  <a:pt x="2940" y="2946"/>
                </a:lnTo>
                <a:lnTo>
                  <a:pt x="2951" y="2959"/>
                </a:lnTo>
                <a:lnTo>
                  <a:pt x="2968" y="2976"/>
                </a:lnTo>
                <a:lnTo>
                  <a:pt x="2987" y="2997"/>
                </a:lnTo>
                <a:lnTo>
                  <a:pt x="3006" y="3014"/>
                </a:lnTo>
                <a:lnTo>
                  <a:pt x="3008" y="3016"/>
                </a:lnTo>
                <a:lnTo>
                  <a:pt x="3008" y="3020"/>
                </a:lnTo>
                <a:lnTo>
                  <a:pt x="3008" y="3023"/>
                </a:lnTo>
                <a:lnTo>
                  <a:pt x="3006" y="3027"/>
                </a:lnTo>
                <a:lnTo>
                  <a:pt x="3002" y="3033"/>
                </a:lnTo>
                <a:lnTo>
                  <a:pt x="2993" y="3037"/>
                </a:lnTo>
                <a:lnTo>
                  <a:pt x="2991" y="3039"/>
                </a:lnTo>
                <a:lnTo>
                  <a:pt x="2987" y="3039"/>
                </a:lnTo>
                <a:close/>
                <a:moveTo>
                  <a:pt x="2756" y="3636"/>
                </a:moveTo>
                <a:lnTo>
                  <a:pt x="2748" y="3634"/>
                </a:lnTo>
                <a:lnTo>
                  <a:pt x="2739" y="3634"/>
                </a:lnTo>
                <a:lnTo>
                  <a:pt x="2729" y="3630"/>
                </a:lnTo>
                <a:lnTo>
                  <a:pt x="2720" y="3628"/>
                </a:lnTo>
                <a:lnTo>
                  <a:pt x="2714" y="3624"/>
                </a:lnTo>
                <a:lnTo>
                  <a:pt x="2705" y="3617"/>
                </a:lnTo>
                <a:lnTo>
                  <a:pt x="2699" y="3611"/>
                </a:lnTo>
                <a:lnTo>
                  <a:pt x="2693" y="3605"/>
                </a:lnTo>
                <a:lnTo>
                  <a:pt x="2686" y="3598"/>
                </a:lnTo>
                <a:lnTo>
                  <a:pt x="2682" y="3590"/>
                </a:lnTo>
                <a:lnTo>
                  <a:pt x="2673" y="3571"/>
                </a:lnTo>
                <a:lnTo>
                  <a:pt x="2669" y="3560"/>
                </a:lnTo>
                <a:lnTo>
                  <a:pt x="2667" y="3552"/>
                </a:lnTo>
                <a:lnTo>
                  <a:pt x="2667" y="3541"/>
                </a:lnTo>
                <a:lnTo>
                  <a:pt x="2665" y="3528"/>
                </a:lnTo>
                <a:lnTo>
                  <a:pt x="2667" y="3518"/>
                </a:lnTo>
                <a:lnTo>
                  <a:pt x="2667" y="3507"/>
                </a:lnTo>
                <a:lnTo>
                  <a:pt x="2669" y="3497"/>
                </a:lnTo>
                <a:lnTo>
                  <a:pt x="2673" y="3486"/>
                </a:lnTo>
                <a:lnTo>
                  <a:pt x="2678" y="3476"/>
                </a:lnTo>
                <a:lnTo>
                  <a:pt x="2682" y="3465"/>
                </a:lnTo>
                <a:lnTo>
                  <a:pt x="2688" y="3456"/>
                </a:lnTo>
                <a:lnTo>
                  <a:pt x="2695" y="3448"/>
                </a:lnTo>
                <a:lnTo>
                  <a:pt x="2701" y="3442"/>
                </a:lnTo>
                <a:lnTo>
                  <a:pt x="2707" y="3433"/>
                </a:lnTo>
                <a:lnTo>
                  <a:pt x="2716" y="3429"/>
                </a:lnTo>
                <a:lnTo>
                  <a:pt x="2724" y="3423"/>
                </a:lnTo>
                <a:lnTo>
                  <a:pt x="2733" y="3418"/>
                </a:lnTo>
                <a:lnTo>
                  <a:pt x="2743" y="3416"/>
                </a:lnTo>
                <a:lnTo>
                  <a:pt x="2752" y="3414"/>
                </a:lnTo>
                <a:lnTo>
                  <a:pt x="2762" y="3414"/>
                </a:lnTo>
                <a:lnTo>
                  <a:pt x="2775" y="3414"/>
                </a:lnTo>
                <a:lnTo>
                  <a:pt x="2779" y="3416"/>
                </a:lnTo>
                <a:lnTo>
                  <a:pt x="2786" y="3418"/>
                </a:lnTo>
                <a:lnTo>
                  <a:pt x="2794" y="3423"/>
                </a:lnTo>
                <a:lnTo>
                  <a:pt x="2803" y="3429"/>
                </a:lnTo>
                <a:lnTo>
                  <a:pt x="2807" y="3437"/>
                </a:lnTo>
                <a:lnTo>
                  <a:pt x="2813" y="3448"/>
                </a:lnTo>
                <a:lnTo>
                  <a:pt x="2815" y="3459"/>
                </a:lnTo>
                <a:lnTo>
                  <a:pt x="2815" y="3471"/>
                </a:lnTo>
                <a:lnTo>
                  <a:pt x="2815" y="3478"/>
                </a:lnTo>
                <a:lnTo>
                  <a:pt x="2813" y="3486"/>
                </a:lnTo>
                <a:lnTo>
                  <a:pt x="2811" y="3492"/>
                </a:lnTo>
                <a:lnTo>
                  <a:pt x="2809" y="3499"/>
                </a:lnTo>
                <a:lnTo>
                  <a:pt x="2805" y="3507"/>
                </a:lnTo>
                <a:lnTo>
                  <a:pt x="2801" y="3514"/>
                </a:lnTo>
                <a:lnTo>
                  <a:pt x="2790" y="3524"/>
                </a:lnTo>
                <a:lnTo>
                  <a:pt x="2784" y="3528"/>
                </a:lnTo>
                <a:lnTo>
                  <a:pt x="2777" y="3535"/>
                </a:lnTo>
                <a:lnTo>
                  <a:pt x="2765" y="3541"/>
                </a:lnTo>
                <a:lnTo>
                  <a:pt x="2756" y="3543"/>
                </a:lnTo>
                <a:lnTo>
                  <a:pt x="2750" y="3545"/>
                </a:lnTo>
                <a:lnTo>
                  <a:pt x="2733" y="3547"/>
                </a:lnTo>
                <a:lnTo>
                  <a:pt x="2726" y="3545"/>
                </a:lnTo>
                <a:lnTo>
                  <a:pt x="2724" y="3545"/>
                </a:lnTo>
                <a:lnTo>
                  <a:pt x="2722" y="3543"/>
                </a:lnTo>
                <a:lnTo>
                  <a:pt x="2720" y="3539"/>
                </a:lnTo>
                <a:lnTo>
                  <a:pt x="2718" y="3537"/>
                </a:lnTo>
                <a:lnTo>
                  <a:pt x="2718" y="3528"/>
                </a:lnTo>
                <a:lnTo>
                  <a:pt x="2718" y="3522"/>
                </a:lnTo>
                <a:lnTo>
                  <a:pt x="2720" y="3520"/>
                </a:lnTo>
                <a:lnTo>
                  <a:pt x="2722" y="3518"/>
                </a:lnTo>
                <a:lnTo>
                  <a:pt x="2735" y="3516"/>
                </a:lnTo>
                <a:lnTo>
                  <a:pt x="2748" y="3511"/>
                </a:lnTo>
                <a:lnTo>
                  <a:pt x="2758" y="3505"/>
                </a:lnTo>
                <a:lnTo>
                  <a:pt x="2767" y="3499"/>
                </a:lnTo>
                <a:lnTo>
                  <a:pt x="2773" y="3490"/>
                </a:lnTo>
                <a:lnTo>
                  <a:pt x="2777" y="3486"/>
                </a:lnTo>
                <a:lnTo>
                  <a:pt x="2779" y="3482"/>
                </a:lnTo>
                <a:lnTo>
                  <a:pt x="2784" y="3473"/>
                </a:lnTo>
                <a:lnTo>
                  <a:pt x="2784" y="3465"/>
                </a:lnTo>
                <a:lnTo>
                  <a:pt x="2784" y="3461"/>
                </a:lnTo>
                <a:lnTo>
                  <a:pt x="2781" y="3456"/>
                </a:lnTo>
                <a:lnTo>
                  <a:pt x="2781" y="3452"/>
                </a:lnTo>
                <a:lnTo>
                  <a:pt x="2777" y="3450"/>
                </a:lnTo>
                <a:lnTo>
                  <a:pt x="2775" y="3446"/>
                </a:lnTo>
                <a:lnTo>
                  <a:pt x="2771" y="3444"/>
                </a:lnTo>
                <a:lnTo>
                  <a:pt x="2760" y="3444"/>
                </a:lnTo>
                <a:lnTo>
                  <a:pt x="2750" y="3446"/>
                </a:lnTo>
                <a:lnTo>
                  <a:pt x="2743" y="3448"/>
                </a:lnTo>
                <a:lnTo>
                  <a:pt x="2739" y="3450"/>
                </a:lnTo>
                <a:lnTo>
                  <a:pt x="2733" y="3454"/>
                </a:lnTo>
                <a:lnTo>
                  <a:pt x="2729" y="3459"/>
                </a:lnTo>
                <a:lnTo>
                  <a:pt x="2718" y="3469"/>
                </a:lnTo>
                <a:lnTo>
                  <a:pt x="2716" y="3473"/>
                </a:lnTo>
                <a:lnTo>
                  <a:pt x="2712" y="3480"/>
                </a:lnTo>
                <a:lnTo>
                  <a:pt x="2705" y="3495"/>
                </a:lnTo>
                <a:lnTo>
                  <a:pt x="2701" y="3511"/>
                </a:lnTo>
                <a:lnTo>
                  <a:pt x="2699" y="3520"/>
                </a:lnTo>
                <a:lnTo>
                  <a:pt x="2699" y="3528"/>
                </a:lnTo>
                <a:lnTo>
                  <a:pt x="2701" y="3543"/>
                </a:lnTo>
                <a:lnTo>
                  <a:pt x="2701" y="3550"/>
                </a:lnTo>
                <a:lnTo>
                  <a:pt x="2703" y="3556"/>
                </a:lnTo>
                <a:lnTo>
                  <a:pt x="2709" y="3569"/>
                </a:lnTo>
                <a:lnTo>
                  <a:pt x="2716" y="3579"/>
                </a:lnTo>
                <a:lnTo>
                  <a:pt x="2724" y="3588"/>
                </a:lnTo>
                <a:lnTo>
                  <a:pt x="2729" y="3592"/>
                </a:lnTo>
                <a:lnTo>
                  <a:pt x="2733" y="3594"/>
                </a:lnTo>
                <a:lnTo>
                  <a:pt x="2745" y="3598"/>
                </a:lnTo>
                <a:lnTo>
                  <a:pt x="2752" y="3598"/>
                </a:lnTo>
                <a:lnTo>
                  <a:pt x="2758" y="3600"/>
                </a:lnTo>
                <a:lnTo>
                  <a:pt x="2771" y="3598"/>
                </a:lnTo>
                <a:lnTo>
                  <a:pt x="2781" y="3594"/>
                </a:lnTo>
                <a:lnTo>
                  <a:pt x="2788" y="3592"/>
                </a:lnTo>
                <a:lnTo>
                  <a:pt x="2792" y="3590"/>
                </a:lnTo>
                <a:lnTo>
                  <a:pt x="2803" y="3581"/>
                </a:lnTo>
                <a:lnTo>
                  <a:pt x="2813" y="3573"/>
                </a:lnTo>
                <a:lnTo>
                  <a:pt x="2822" y="3562"/>
                </a:lnTo>
                <a:lnTo>
                  <a:pt x="2828" y="3550"/>
                </a:lnTo>
                <a:lnTo>
                  <a:pt x="2836" y="3537"/>
                </a:lnTo>
                <a:lnTo>
                  <a:pt x="2843" y="3524"/>
                </a:lnTo>
                <a:lnTo>
                  <a:pt x="2847" y="3509"/>
                </a:lnTo>
                <a:lnTo>
                  <a:pt x="2851" y="3495"/>
                </a:lnTo>
                <a:lnTo>
                  <a:pt x="2856" y="3482"/>
                </a:lnTo>
                <a:lnTo>
                  <a:pt x="2858" y="3467"/>
                </a:lnTo>
                <a:lnTo>
                  <a:pt x="2860" y="3452"/>
                </a:lnTo>
                <a:lnTo>
                  <a:pt x="2860" y="3440"/>
                </a:lnTo>
                <a:lnTo>
                  <a:pt x="2860" y="3427"/>
                </a:lnTo>
                <a:lnTo>
                  <a:pt x="2862" y="3423"/>
                </a:lnTo>
                <a:lnTo>
                  <a:pt x="2864" y="3420"/>
                </a:lnTo>
                <a:lnTo>
                  <a:pt x="2868" y="3418"/>
                </a:lnTo>
                <a:lnTo>
                  <a:pt x="2872" y="3418"/>
                </a:lnTo>
                <a:lnTo>
                  <a:pt x="2881" y="3420"/>
                </a:lnTo>
                <a:lnTo>
                  <a:pt x="2885" y="3423"/>
                </a:lnTo>
                <a:lnTo>
                  <a:pt x="2887" y="3425"/>
                </a:lnTo>
                <a:lnTo>
                  <a:pt x="2892" y="3431"/>
                </a:lnTo>
                <a:lnTo>
                  <a:pt x="2894" y="3437"/>
                </a:lnTo>
                <a:lnTo>
                  <a:pt x="2894" y="3444"/>
                </a:lnTo>
                <a:lnTo>
                  <a:pt x="2892" y="3463"/>
                </a:lnTo>
                <a:lnTo>
                  <a:pt x="2889" y="3482"/>
                </a:lnTo>
                <a:lnTo>
                  <a:pt x="2887" y="3499"/>
                </a:lnTo>
                <a:lnTo>
                  <a:pt x="2883" y="3518"/>
                </a:lnTo>
                <a:lnTo>
                  <a:pt x="2877" y="3533"/>
                </a:lnTo>
                <a:lnTo>
                  <a:pt x="2870" y="3550"/>
                </a:lnTo>
                <a:lnTo>
                  <a:pt x="2862" y="3564"/>
                </a:lnTo>
                <a:lnTo>
                  <a:pt x="2853" y="3577"/>
                </a:lnTo>
                <a:lnTo>
                  <a:pt x="2845" y="3590"/>
                </a:lnTo>
                <a:lnTo>
                  <a:pt x="2839" y="3596"/>
                </a:lnTo>
                <a:lnTo>
                  <a:pt x="2834" y="3603"/>
                </a:lnTo>
                <a:lnTo>
                  <a:pt x="2824" y="3611"/>
                </a:lnTo>
                <a:lnTo>
                  <a:pt x="2811" y="3619"/>
                </a:lnTo>
                <a:lnTo>
                  <a:pt x="2798" y="3626"/>
                </a:lnTo>
                <a:lnTo>
                  <a:pt x="2786" y="3632"/>
                </a:lnTo>
                <a:lnTo>
                  <a:pt x="2771" y="3634"/>
                </a:lnTo>
                <a:lnTo>
                  <a:pt x="2756" y="3636"/>
                </a:lnTo>
                <a:close/>
                <a:moveTo>
                  <a:pt x="2987" y="3632"/>
                </a:moveTo>
                <a:lnTo>
                  <a:pt x="2980" y="3630"/>
                </a:lnTo>
                <a:lnTo>
                  <a:pt x="2972" y="3624"/>
                </a:lnTo>
                <a:lnTo>
                  <a:pt x="2957" y="3609"/>
                </a:lnTo>
                <a:lnTo>
                  <a:pt x="2936" y="3590"/>
                </a:lnTo>
                <a:lnTo>
                  <a:pt x="2919" y="3569"/>
                </a:lnTo>
                <a:lnTo>
                  <a:pt x="2911" y="3560"/>
                </a:lnTo>
                <a:lnTo>
                  <a:pt x="2906" y="3554"/>
                </a:lnTo>
                <a:lnTo>
                  <a:pt x="2900" y="3541"/>
                </a:lnTo>
                <a:lnTo>
                  <a:pt x="2900" y="3535"/>
                </a:lnTo>
                <a:lnTo>
                  <a:pt x="2900" y="3528"/>
                </a:lnTo>
                <a:lnTo>
                  <a:pt x="2900" y="3522"/>
                </a:lnTo>
                <a:lnTo>
                  <a:pt x="2902" y="3516"/>
                </a:lnTo>
                <a:lnTo>
                  <a:pt x="2904" y="3507"/>
                </a:lnTo>
                <a:lnTo>
                  <a:pt x="2911" y="3499"/>
                </a:lnTo>
                <a:lnTo>
                  <a:pt x="2921" y="3484"/>
                </a:lnTo>
                <a:lnTo>
                  <a:pt x="2940" y="3465"/>
                </a:lnTo>
                <a:lnTo>
                  <a:pt x="2983" y="3416"/>
                </a:lnTo>
                <a:lnTo>
                  <a:pt x="2989" y="3416"/>
                </a:lnTo>
                <a:lnTo>
                  <a:pt x="2995" y="3420"/>
                </a:lnTo>
                <a:lnTo>
                  <a:pt x="2999" y="3423"/>
                </a:lnTo>
                <a:lnTo>
                  <a:pt x="3004" y="3429"/>
                </a:lnTo>
                <a:lnTo>
                  <a:pt x="3004" y="3435"/>
                </a:lnTo>
                <a:lnTo>
                  <a:pt x="3004" y="3442"/>
                </a:lnTo>
                <a:lnTo>
                  <a:pt x="3002" y="3444"/>
                </a:lnTo>
                <a:lnTo>
                  <a:pt x="2999" y="3448"/>
                </a:lnTo>
                <a:lnTo>
                  <a:pt x="2970" y="3482"/>
                </a:lnTo>
                <a:lnTo>
                  <a:pt x="2951" y="3503"/>
                </a:lnTo>
                <a:lnTo>
                  <a:pt x="2938" y="3518"/>
                </a:lnTo>
                <a:lnTo>
                  <a:pt x="2936" y="3522"/>
                </a:lnTo>
                <a:lnTo>
                  <a:pt x="2936" y="3528"/>
                </a:lnTo>
                <a:lnTo>
                  <a:pt x="2936" y="3533"/>
                </a:lnTo>
                <a:lnTo>
                  <a:pt x="2940" y="3539"/>
                </a:lnTo>
                <a:lnTo>
                  <a:pt x="2951" y="3552"/>
                </a:lnTo>
                <a:lnTo>
                  <a:pt x="2968" y="3569"/>
                </a:lnTo>
                <a:lnTo>
                  <a:pt x="2987" y="3588"/>
                </a:lnTo>
                <a:lnTo>
                  <a:pt x="3006" y="3607"/>
                </a:lnTo>
                <a:lnTo>
                  <a:pt x="3008" y="3609"/>
                </a:lnTo>
                <a:lnTo>
                  <a:pt x="3008" y="3611"/>
                </a:lnTo>
                <a:lnTo>
                  <a:pt x="3008" y="3615"/>
                </a:lnTo>
                <a:lnTo>
                  <a:pt x="3006" y="3617"/>
                </a:lnTo>
                <a:lnTo>
                  <a:pt x="3002" y="3626"/>
                </a:lnTo>
                <a:lnTo>
                  <a:pt x="2993" y="3630"/>
                </a:lnTo>
                <a:lnTo>
                  <a:pt x="2991" y="3632"/>
                </a:lnTo>
                <a:lnTo>
                  <a:pt x="2987" y="3632"/>
                </a:lnTo>
                <a:close/>
                <a:moveTo>
                  <a:pt x="2292" y="2451"/>
                </a:moveTo>
                <a:lnTo>
                  <a:pt x="2284" y="2451"/>
                </a:lnTo>
                <a:lnTo>
                  <a:pt x="2276" y="2449"/>
                </a:lnTo>
                <a:lnTo>
                  <a:pt x="2267" y="2447"/>
                </a:lnTo>
                <a:lnTo>
                  <a:pt x="2259" y="2445"/>
                </a:lnTo>
                <a:lnTo>
                  <a:pt x="2250" y="2440"/>
                </a:lnTo>
                <a:lnTo>
                  <a:pt x="2244" y="2434"/>
                </a:lnTo>
                <a:lnTo>
                  <a:pt x="2235" y="2428"/>
                </a:lnTo>
                <a:lnTo>
                  <a:pt x="2229" y="2421"/>
                </a:lnTo>
                <a:lnTo>
                  <a:pt x="2223" y="2413"/>
                </a:lnTo>
                <a:lnTo>
                  <a:pt x="2218" y="2407"/>
                </a:lnTo>
                <a:lnTo>
                  <a:pt x="2210" y="2388"/>
                </a:lnTo>
                <a:lnTo>
                  <a:pt x="2208" y="2377"/>
                </a:lnTo>
                <a:lnTo>
                  <a:pt x="2206" y="2369"/>
                </a:lnTo>
                <a:lnTo>
                  <a:pt x="2204" y="2358"/>
                </a:lnTo>
                <a:lnTo>
                  <a:pt x="2204" y="2345"/>
                </a:lnTo>
                <a:lnTo>
                  <a:pt x="2204" y="2335"/>
                </a:lnTo>
                <a:lnTo>
                  <a:pt x="2206" y="2324"/>
                </a:lnTo>
                <a:lnTo>
                  <a:pt x="2208" y="2313"/>
                </a:lnTo>
                <a:lnTo>
                  <a:pt x="2210" y="2303"/>
                </a:lnTo>
                <a:lnTo>
                  <a:pt x="2214" y="2292"/>
                </a:lnTo>
                <a:lnTo>
                  <a:pt x="2218" y="2282"/>
                </a:lnTo>
                <a:lnTo>
                  <a:pt x="2225" y="2273"/>
                </a:lnTo>
                <a:lnTo>
                  <a:pt x="2231" y="2265"/>
                </a:lnTo>
                <a:lnTo>
                  <a:pt x="2237" y="2258"/>
                </a:lnTo>
                <a:lnTo>
                  <a:pt x="2246" y="2250"/>
                </a:lnTo>
                <a:lnTo>
                  <a:pt x="2252" y="2244"/>
                </a:lnTo>
                <a:lnTo>
                  <a:pt x="2261" y="2239"/>
                </a:lnTo>
                <a:lnTo>
                  <a:pt x="2271" y="2235"/>
                </a:lnTo>
                <a:lnTo>
                  <a:pt x="2280" y="2233"/>
                </a:lnTo>
                <a:lnTo>
                  <a:pt x="2288" y="2231"/>
                </a:lnTo>
                <a:lnTo>
                  <a:pt x="2299" y="2229"/>
                </a:lnTo>
                <a:lnTo>
                  <a:pt x="2312" y="2231"/>
                </a:lnTo>
                <a:lnTo>
                  <a:pt x="2316" y="2233"/>
                </a:lnTo>
                <a:lnTo>
                  <a:pt x="2322" y="2235"/>
                </a:lnTo>
                <a:lnTo>
                  <a:pt x="2331" y="2239"/>
                </a:lnTo>
                <a:lnTo>
                  <a:pt x="2339" y="2246"/>
                </a:lnTo>
                <a:lnTo>
                  <a:pt x="2345" y="2254"/>
                </a:lnTo>
                <a:lnTo>
                  <a:pt x="2350" y="2265"/>
                </a:lnTo>
                <a:lnTo>
                  <a:pt x="2352" y="2275"/>
                </a:lnTo>
                <a:lnTo>
                  <a:pt x="2354" y="2286"/>
                </a:lnTo>
                <a:lnTo>
                  <a:pt x="2352" y="2294"/>
                </a:lnTo>
                <a:lnTo>
                  <a:pt x="2352" y="2303"/>
                </a:lnTo>
                <a:lnTo>
                  <a:pt x="2350" y="2309"/>
                </a:lnTo>
                <a:lnTo>
                  <a:pt x="2345" y="2316"/>
                </a:lnTo>
                <a:lnTo>
                  <a:pt x="2341" y="2322"/>
                </a:lnTo>
                <a:lnTo>
                  <a:pt x="2337" y="2328"/>
                </a:lnTo>
                <a:lnTo>
                  <a:pt x="2326" y="2341"/>
                </a:lnTo>
                <a:lnTo>
                  <a:pt x="2320" y="2345"/>
                </a:lnTo>
                <a:lnTo>
                  <a:pt x="2314" y="2352"/>
                </a:lnTo>
                <a:lnTo>
                  <a:pt x="2301" y="2358"/>
                </a:lnTo>
                <a:lnTo>
                  <a:pt x="2292" y="2360"/>
                </a:lnTo>
                <a:lnTo>
                  <a:pt x="2286" y="2362"/>
                </a:lnTo>
                <a:lnTo>
                  <a:pt x="2271" y="2364"/>
                </a:lnTo>
                <a:lnTo>
                  <a:pt x="2265" y="2362"/>
                </a:lnTo>
                <a:lnTo>
                  <a:pt x="2261" y="2362"/>
                </a:lnTo>
                <a:lnTo>
                  <a:pt x="2259" y="2358"/>
                </a:lnTo>
                <a:lnTo>
                  <a:pt x="2256" y="2356"/>
                </a:lnTo>
                <a:lnTo>
                  <a:pt x="2256" y="2354"/>
                </a:lnTo>
                <a:lnTo>
                  <a:pt x="2254" y="2345"/>
                </a:lnTo>
                <a:lnTo>
                  <a:pt x="2256" y="2339"/>
                </a:lnTo>
                <a:lnTo>
                  <a:pt x="2256" y="2337"/>
                </a:lnTo>
                <a:lnTo>
                  <a:pt x="2259" y="2335"/>
                </a:lnTo>
                <a:lnTo>
                  <a:pt x="2271" y="2333"/>
                </a:lnTo>
                <a:lnTo>
                  <a:pt x="2284" y="2328"/>
                </a:lnTo>
                <a:lnTo>
                  <a:pt x="2295" y="2322"/>
                </a:lnTo>
                <a:lnTo>
                  <a:pt x="2303" y="2316"/>
                </a:lnTo>
                <a:lnTo>
                  <a:pt x="2312" y="2307"/>
                </a:lnTo>
                <a:lnTo>
                  <a:pt x="2314" y="2303"/>
                </a:lnTo>
                <a:lnTo>
                  <a:pt x="2316" y="2299"/>
                </a:lnTo>
                <a:lnTo>
                  <a:pt x="2320" y="2290"/>
                </a:lnTo>
                <a:lnTo>
                  <a:pt x="2322" y="2282"/>
                </a:lnTo>
                <a:lnTo>
                  <a:pt x="2320" y="2277"/>
                </a:lnTo>
                <a:lnTo>
                  <a:pt x="2320" y="2273"/>
                </a:lnTo>
                <a:lnTo>
                  <a:pt x="2318" y="2269"/>
                </a:lnTo>
                <a:lnTo>
                  <a:pt x="2316" y="2265"/>
                </a:lnTo>
                <a:lnTo>
                  <a:pt x="2312" y="2263"/>
                </a:lnTo>
                <a:lnTo>
                  <a:pt x="2307" y="2261"/>
                </a:lnTo>
                <a:lnTo>
                  <a:pt x="2297" y="2261"/>
                </a:lnTo>
                <a:lnTo>
                  <a:pt x="2286" y="2261"/>
                </a:lnTo>
                <a:lnTo>
                  <a:pt x="2282" y="2263"/>
                </a:lnTo>
                <a:lnTo>
                  <a:pt x="2276" y="2267"/>
                </a:lnTo>
                <a:lnTo>
                  <a:pt x="2271" y="2271"/>
                </a:lnTo>
                <a:lnTo>
                  <a:pt x="2265" y="2275"/>
                </a:lnTo>
                <a:lnTo>
                  <a:pt x="2256" y="2284"/>
                </a:lnTo>
                <a:lnTo>
                  <a:pt x="2252" y="2290"/>
                </a:lnTo>
                <a:lnTo>
                  <a:pt x="2248" y="2297"/>
                </a:lnTo>
                <a:lnTo>
                  <a:pt x="2242" y="2311"/>
                </a:lnTo>
                <a:lnTo>
                  <a:pt x="2237" y="2328"/>
                </a:lnTo>
                <a:lnTo>
                  <a:pt x="2237" y="2337"/>
                </a:lnTo>
                <a:lnTo>
                  <a:pt x="2237" y="2345"/>
                </a:lnTo>
                <a:lnTo>
                  <a:pt x="2237" y="2360"/>
                </a:lnTo>
                <a:lnTo>
                  <a:pt x="2240" y="2366"/>
                </a:lnTo>
                <a:lnTo>
                  <a:pt x="2242" y="2373"/>
                </a:lnTo>
                <a:lnTo>
                  <a:pt x="2246" y="2385"/>
                </a:lnTo>
                <a:lnTo>
                  <a:pt x="2252" y="2396"/>
                </a:lnTo>
                <a:lnTo>
                  <a:pt x="2261" y="2404"/>
                </a:lnTo>
                <a:lnTo>
                  <a:pt x="2265" y="2409"/>
                </a:lnTo>
                <a:lnTo>
                  <a:pt x="2271" y="2411"/>
                </a:lnTo>
                <a:lnTo>
                  <a:pt x="2282" y="2415"/>
                </a:lnTo>
                <a:lnTo>
                  <a:pt x="2288" y="2415"/>
                </a:lnTo>
                <a:lnTo>
                  <a:pt x="2295" y="2417"/>
                </a:lnTo>
                <a:lnTo>
                  <a:pt x="2307" y="2415"/>
                </a:lnTo>
                <a:lnTo>
                  <a:pt x="2318" y="2411"/>
                </a:lnTo>
                <a:lnTo>
                  <a:pt x="2324" y="2409"/>
                </a:lnTo>
                <a:lnTo>
                  <a:pt x="2331" y="2407"/>
                </a:lnTo>
                <a:lnTo>
                  <a:pt x="2341" y="2398"/>
                </a:lnTo>
                <a:lnTo>
                  <a:pt x="2350" y="2390"/>
                </a:lnTo>
                <a:lnTo>
                  <a:pt x="2358" y="2379"/>
                </a:lnTo>
                <a:lnTo>
                  <a:pt x="2367" y="2366"/>
                </a:lnTo>
                <a:lnTo>
                  <a:pt x="2373" y="2354"/>
                </a:lnTo>
                <a:lnTo>
                  <a:pt x="2379" y="2341"/>
                </a:lnTo>
                <a:lnTo>
                  <a:pt x="2383" y="2326"/>
                </a:lnTo>
                <a:lnTo>
                  <a:pt x="2388" y="2311"/>
                </a:lnTo>
                <a:lnTo>
                  <a:pt x="2392" y="2297"/>
                </a:lnTo>
                <a:lnTo>
                  <a:pt x="2394" y="2284"/>
                </a:lnTo>
                <a:lnTo>
                  <a:pt x="2396" y="2269"/>
                </a:lnTo>
                <a:lnTo>
                  <a:pt x="2396" y="2256"/>
                </a:lnTo>
                <a:lnTo>
                  <a:pt x="2396" y="2242"/>
                </a:lnTo>
                <a:lnTo>
                  <a:pt x="2398" y="2239"/>
                </a:lnTo>
                <a:lnTo>
                  <a:pt x="2400" y="2237"/>
                </a:lnTo>
                <a:lnTo>
                  <a:pt x="2405" y="2235"/>
                </a:lnTo>
                <a:lnTo>
                  <a:pt x="2409" y="2235"/>
                </a:lnTo>
                <a:lnTo>
                  <a:pt x="2417" y="2237"/>
                </a:lnTo>
                <a:lnTo>
                  <a:pt x="2422" y="2237"/>
                </a:lnTo>
                <a:lnTo>
                  <a:pt x="2424" y="2242"/>
                </a:lnTo>
                <a:lnTo>
                  <a:pt x="2428" y="2248"/>
                </a:lnTo>
                <a:lnTo>
                  <a:pt x="2430" y="2254"/>
                </a:lnTo>
                <a:lnTo>
                  <a:pt x="2430" y="2261"/>
                </a:lnTo>
                <a:lnTo>
                  <a:pt x="2430" y="2280"/>
                </a:lnTo>
                <a:lnTo>
                  <a:pt x="2428" y="2299"/>
                </a:lnTo>
                <a:lnTo>
                  <a:pt x="2424" y="2316"/>
                </a:lnTo>
                <a:lnTo>
                  <a:pt x="2419" y="2333"/>
                </a:lnTo>
                <a:lnTo>
                  <a:pt x="2413" y="2349"/>
                </a:lnTo>
                <a:lnTo>
                  <a:pt x="2407" y="2366"/>
                </a:lnTo>
                <a:lnTo>
                  <a:pt x="2400" y="2381"/>
                </a:lnTo>
                <a:lnTo>
                  <a:pt x="2392" y="2394"/>
                </a:lnTo>
                <a:lnTo>
                  <a:pt x="2381" y="2407"/>
                </a:lnTo>
                <a:lnTo>
                  <a:pt x="2377" y="2413"/>
                </a:lnTo>
                <a:lnTo>
                  <a:pt x="2371" y="2417"/>
                </a:lnTo>
                <a:lnTo>
                  <a:pt x="2360" y="2428"/>
                </a:lnTo>
                <a:lnTo>
                  <a:pt x="2348" y="2436"/>
                </a:lnTo>
                <a:lnTo>
                  <a:pt x="2335" y="2443"/>
                </a:lnTo>
                <a:lnTo>
                  <a:pt x="2322" y="2449"/>
                </a:lnTo>
                <a:lnTo>
                  <a:pt x="2307" y="2451"/>
                </a:lnTo>
                <a:lnTo>
                  <a:pt x="2292" y="2451"/>
                </a:lnTo>
                <a:close/>
                <a:moveTo>
                  <a:pt x="2523" y="2449"/>
                </a:moveTo>
                <a:lnTo>
                  <a:pt x="2519" y="2447"/>
                </a:lnTo>
                <a:lnTo>
                  <a:pt x="2511" y="2440"/>
                </a:lnTo>
                <a:lnTo>
                  <a:pt x="2494" y="2426"/>
                </a:lnTo>
                <a:lnTo>
                  <a:pt x="2472" y="2407"/>
                </a:lnTo>
                <a:lnTo>
                  <a:pt x="2455" y="2385"/>
                </a:lnTo>
                <a:lnTo>
                  <a:pt x="2449" y="2377"/>
                </a:lnTo>
                <a:lnTo>
                  <a:pt x="2443" y="2371"/>
                </a:lnTo>
                <a:lnTo>
                  <a:pt x="2439" y="2358"/>
                </a:lnTo>
                <a:lnTo>
                  <a:pt x="2436" y="2352"/>
                </a:lnTo>
                <a:lnTo>
                  <a:pt x="2436" y="2345"/>
                </a:lnTo>
                <a:lnTo>
                  <a:pt x="2436" y="2339"/>
                </a:lnTo>
                <a:lnTo>
                  <a:pt x="2439" y="2333"/>
                </a:lnTo>
                <a:lnTo>
                  <a:pt x="2443" y="2324"/>
                </a:lnTo>
                <a:lnTo>
                  <a:pt x="2447" y="2316"/>
                </a:lnTo>
                <a:lnTo>
                  <a:pt x="2460" y="2301"/>
                </a:lnTo>
                <a:lnTo>
                  <a:pt x="2477" y="2282"/>
                </a:lnTo>
                <a:lnTo>
                  <a:pt x="2519" y="2233"/>
                </a:lnTo>
                <a:lnTo>
                  <a:pt x="2525" y="2233"/>
                </a:lnTo>
                <a:lnTo>
                  <a:pt x="2532" y="2235"/>
                </a:lnTo>
                <a:lnTo>
                  <a:pt x="2536" y="2239"/>
                </a:lnTo>
                <a:lnTo>
                  <a:pt x="2540" y="2246"/>
                </a:lnTo>
                <a:lnTo>
                  <a:pt x="2542" y="2252"/>
                </a:lnTo>
                <a:lnTo>
                  <a:pt x="2540" y="2258"/>
                </a:lnTo>
                <a:lnTo>
                  <a:pt x="2538" y="2261"/>
                </a:lnTo>
                <a:lnTo>
                  <a:pt x="2536" y="2265"/>
                </a:lnTo>
                <a:lnTo>
                  <a:pt x="2506" y="2299"/>
                </a:lnTo>
                <a:lnTo>
                  <a:pt x="2489" y="2320"/>
                </a:lnTo>
                <a:lnTo>
                  <a:pt x="2477" y="2335"/>
                </a:lnTo>
                <a:lnTo>
                  <a:pt x="2472" y="2339"/>
                </a:lnTo>
                <a:lnTo>
                  <a:pt x="2472" y="2343"/>
                </a:lnTo>
                <a:lnTo>
                  <a:pt x="2475" y="2349"/>
                </a:lnTo>
                <a:lnTo>
                  <a:pt x="2477" y="2356"/>
                </a:lnTo>
                <a:lnTo>
                  <a:pt x="2487" y="2366"/>
                </a:lnTo>
                <a:lnTo>
                  <a:pt x="2504" y="2385"/>
                </a:lnTo>
                <a:lnTo>
                  <a:pt x="2523" y="2404"/>
                </a:lnTo>
                <a:lnTo>
                  <a:pt x="2542" y="2424"/>
                </a:lnTo>
                <a:lnTo>
                  <a:pt x="2544" y="2426"/>
                </a:lnTo>
                <a:lnTo>
                  <a:pt x="2544" y="2428"/>
                </a:lnTo>
                <a:lnTo>
                  <a:pt x="2544" y="2432"/>
                </a:lnTo>
                <a:lnTo>
                  <a:pt x="2542" y="2434"/>
                </a:lnTo>
                <a:lnTo>
                  <a:pt x="2538" y="2443"/>
                </a:lnTo>
                <a:lnTo>
                  <a:pt x="2532" y="2447"/>
                </a:lnTo>
                <a:lnTo>
                  <a:pt x="2527" y="2449"/>
                </a:lnTo>
                <a:lnTo>
                  <a:pt x="2523" y="2449"/>
                </a:lnTo>
                <a:close/>
                <a:moveTo>
                  <a:pt x="2292" y="3044"/>
                </a:moveTo>
                <a:lnTo>
                  <a:pt x="2284" y="3044"/>
                </a:lnTo>
                <a:lnTo>
                  <a:pt x="2276" y="3042"/>
                </a:lnTo>
                <a:lnTo>
                  <a:pt x="2267" y="3039"/>
                </a:lnTo>
                <a:lnTo>
                  <a:pt x="2259" y="3035"/>
                </a:lnTo>
                <a:lnTo>
                  <a:pt x="2250" y="3031"/>
                </a:lnTo>
                <a:lnTo>
                  <a:pt x="2244" y="3027"/>
                </a:lnTo>
                <a:lnTo>
                  <a:pt x="2235" y="3020"/>
                </a:lnTo>
                <a:lnTo>
                  <a:pt x="2229" y="3012"/>
                </a:lnTo>
                <a:lnTo>
                  <a:pt x="2223" y="3006"/>
                </a:lnTo>
                <a:lnTo>
                  <a:pt x="2218" y="2997"/>
                </a:lnTo>
                <a:lnTo>
                  <a:pt x="2210" y="2980"/>
                </a:lnTo>
                <a:lnTo>
                  <a:pt x="2208" y="2970"/>
                </a:lnTo>
                <a:lnTo>
                  <a:pt x="2206" y="2959"/>
                </a:lnTo>
                <a:lnTo>
                  <a:pt x="2204" y="2948"/>
                </a:lnTo>
                <a:lnTo>
                  <a:pt x="2204" y="2938"/>
                </a:lnTo>
                <a:lnTo>
                  <a:pt x="2204" y="2927"/>
                </a:lnTo>
                <a:lnTo>
                  <a:pt x="2206" y="2915"/>
                </a:lnTo>
                <a:lnTo>
                  <a:pt x="2208" y="2904"/>
                </a:lnTo>
                <a:lnTo>
                  <a:pt x="2210" y="2893"/>
                </a:lnTo>
                <a:lnTo>
                  <a:pt x="2214" y="2883"/>
                </a:lnTo>
                <a:lnTo>
                  <a:pt x="2218" y="2874"/>
                </a:lnTo>
                <a:lnTo>
                  <a:pt x="2225" y="2866"/>
                </a:lnTo>
                <a:lnTo>
                  <a:pt x="2231" y="2857"/>
                </a:lnTo>
                <a:lnTo>
                  <a:pt x="2237" y="2849"/>
                </a:lnTo>
                <a:lnTo>
                  <a:pt x="2246" y="2843"/>
                </a:lnTo>
                <a:lnTo>
                  <a:pt x="2252" y="2836"/>
                </a:lnTo>
                <a:lnTo>
                  <a:pt x="2261" y="2832"/>
                </a:lnTo>
                <a:lnTo>
                  <a:pt x="2271" y="2828"/>
                </a:lnTo>
                <a:lnTo>
                  <a:pt x="2280" y="2824"/>
                </a:lnTo>
                <a:lnTo>
                  <a:pt x="2288" y="2821"/>
                </a:lnTo>
                <a:lnTo>
                  <a:pt x="2299" y="2821"/>
                </a:lnTo>
                <a:lnTo>
                  <a:pt x="2312" y="2824"/>
                </a:lnTo>
                <a:lnTo>
                  <a:pt x="2316" y="2824"/>
                </a:lnTo>
                <a:lnTo>
                  <a:pt x="2322" y="2826"/>
                </a:lnTo>
                <a:lnTo>
                  <a:pt x="2331" y="2830"/>
                </a:lnTo>
                <a:lnTo>
                  <a:pt x="2339" y="2838"/>
                </a:lnTo>
                <a:lnTo>
                  <a:pt x="2345" y="2847"/>
                </a:lnTo>
                <a:lnTo>
                  <a:pt x="2350" y="2855"/>
                </a:lnTo>
                <a:lnTo>
                  <a:pt x="2352" y="2866"/>
                </a:lnTo>
                <a:lnTo>
                  <a:pt x="2354" y="2879"/>
                </a:lnTo>
                <a:lnTo>
                  <a:pt x="2352" y="2887"/>
                </a:lnTo>
                <a:lnTo>
                  <a:pt x="2352" y="2893"/>
                </a:lnTo>
                <a:lnTo>
                  <a:pt x="2350" y="2900"/>
                </a:lnTo>
                <a:lnTo>
                  <a:pt x="2345" y="2908"/>
                </a:lnTo>
                <a:lnTo>
                  <a:pt x="2341" y="2915"/>
                </a:lnTo>
                <a:lnTo>
                  <a:pt x="2337" y="2921"/>
                </a:lnTo>
                <a:lnTo>
                  <a:pt x="2326" y="2932"/>
                </a:lnTo>
                <a:lnTo>
                  <a:pt x="2320" y="2938"/>
                </a:lnTo>
                <a:lnTo>
                  <a:pt x="2314" y="2942"/>
                </a:lnTo>
                <a:lnTo>
                  <a:pt x="2301" y="2951"/>
                </a:lnTo>
                <a:lnTo>
                  <a:pt x="2292" y="2953"/>
                </a:lnTo>
                <a:lnTo>
                  <a:pt x="2286" y="2955"/>
                </a:lnTo>
                <a:lnTo>
                  <a:pt x="2271" y="2957"/>
                </a:lnTo>
                <a:lnTo>
                  <a:pt x="2265" y="2955"/>
                </a:lnTo>
                <a:lnTo>
                  <a:pt x="2261" y="2953"/>
                </a:lnTo>
                <a:lnTo>
                  <a:pt x="2259" y="2951"/>
                </a:lnTo>
                <a:lnTo>
                  <a:pt x="2256" y="2948"/>
                </a:lnTo>
                <a:lnTo>
                  <a:pt x="2256" y="2944"/>
                </a:lnTo>
                <a:lnTo>
                  <a:pt x="2254" y="2938"/>
                </a:lnTo>
                <a:lnTo>
                  <a:pt x="2256" y="2932"/>
                </a:lnTo>
                <a:lnTo>
                  <a:pt x="2256" y="2929"/>
                </a:lnTo>
                <a:lnTo>
                  <a:pt x="2259" y="2927"/>
                </a:lnTo>
                <a:lnTo>
                  <a:pt x="2271" y="2923"/>
                </a:lnTo>
                <a:lnTo>
                  <a:pt x="2284" y="2919"/>
                </a:lnTo>
                <a:lnTo>
                  <a:pt x="2295" y="2915"/>
                </a:lnTo>
                <a:lnTo>
                  <a:pt x="2303" y="2906"/>
                </a:lnTo>
                <a:lnTo>
                  <a:pt x="2312" y="2900"/>
                </a:lnTo>
                <a:lnTo>
                  <a:pt x="2314" y="2896"/>
                </a:lnTo>
                <a:lnTo>
                  <a:pt x="2316" y="2891"/>
                </a:lnTo>
                <a:lnTo>
                  <a:pt x="2320" y="2883"/>
                </a:lnTo>
                <a:lnTo>
                  <a:pt x="2322" y="2874"/>
                </a:lnTo>
                <a:lnTo>
                  <a:pt x="2320" y="2868"/>
                </a:lnTo>
                <a:lnTo>
                  <a:pt x="2320" y="2864"/>
                </a:lnTo>
                <a:lnTo>
                  <a:pt x="2318" y="2862"/>
                </a:lnTo>
                <a:lnTo>
                  <a:pt x="2316" y="2857"/>
                </a:lnTo>
                <a:lnTo>
                  <a:pt x="2312" y="2855"/>
                </a:lnTo>
                <a:lnTo>
                  <a:pt x="2307" y="2853"/>
                </a:lnTo>
                <a:lnTo>
                  <a:pt x="2297" y="2851"/>
                </a:lnTo>
                <a:lnTo>
                  <a:pt x="2286" y="2853"/>
                </a:lnTo>
                <a:lnTo>
                  <a:pt x="2282" y="2855"/>
                </a:lnTo>
                <a:lnTo>
                  <a:pt x="2276" y="2857"/>
                </a:lnTo>
                <a:lnTo>
                  <a:pt x="2271" y="2862"/>
                </a:lnTo>
                <a:lnTo>
                  <a:pt x="2265" y="2866"/>
                </a:lnTo>
                <a:lnTo>
                  <a:pt x="2256" y="2876"/>
                </a:lnTo>
                <a:lnTo>
                  <a:pt x="2252" y="2883"/>
                </a:lnTo>
                <a:lnTo>
                  <a:pt x="2248" y="2889"/>
                </a:lnTo>
                <a:lnTo>
                  <a:pt x="2242" y="2904"/>
                </a:lnTo>
                <a:lnTo>
                  <a:pt x="2237" y="2919"/>
                </a:lnTo>
                <a:lnTo>
                  <a:pt x="2237" y="2927"/>
                </a:lnTo>
                <a:lnTo>
                  <a:pt x="2237" y="2936"/>
                </a:lnTo>
                <a:lnTo>
                  <a:pt x="2237" y="2951"/>
                </a:lnTo>
                <a:lnTo>
                  <a:pt x="2240" y="2959"/>
                </a:lnTo>
                <a:lnTo>
                  <a:pt x="2242" y="2965"/>
                </a:lnTo>
                <a:lnTo>
                  <a:pt x="2246" y="2978"/>
                </a:lnTo>
                <a:lnTo>
                  <a:pt x="2252" y="2989"/>
                </a:lnTo>
                <a:lnTo>
                  <a:pt x="2261" y="2997"/>
                </a:lnTo>
                <a:lnTo>
                  <a:pt x="2265" y="2999"/>
                </a:lnTo>
                <a:lnTo>
                  <a:pt x="2271" y="3003"/>
                </a:lnTo>
                <a:lnTo>
                  <a:pt x="2282" y="3006"/>
                </a:lnTo>
                <a:lnTo>
                  <a:pt x="2288" y="3008"/>
                </a:lnTo>
                <a:lnTo>
                  <a:pt x="2295" y="3008"/>
                </a:lnTo>
                <a:lnTo>
                  <a:pt x="2307" y="3008"/>
                </a:lnTo>
                <a:lnTo>
                  <a:pt x="2318" y="3003"/>
                </a:lnTo>
                <a:lnTo>
                  <a:pt x="2324" y="3001"/>
                </a:lnTo>
                <a:lnTo>
                  <a:pt x="2331" y="2997"/>
                </a:lnTo>
                <a:lnTo>
                  <a:pt x="2341" y="2991"/>
                </a:lnTo>
                <a:lnTo>
                  <a:pt x="2350" y="2980"/>
                </a:lnTo>
                <a:lnTo>
                  <a:pt x="2358" y="2970"/>
                </a:lnTo>
                <a:lnTo>
                  <a:pt x="2367" y="2959"/>
                </a:lnTo>
                <a:lnTo>
                  <a:pt x="2373" y="2946"/>
                </a:lnTo>
                <a:lnTo>
                  <a:pt x="2379" y="2932"/>
                </a:lnTo>
                <a:lnTo>
                  <a:pt x="2383" y="2919"/>
                </a:lnTo>
                <a:lnTo>
                  <a:pt x="2388" y="2904"/>
                </a:lnTo>
                <a:lnTo>
                  <a:pt x="2392" y="2889"/>
                </a:lnTo>
                <a:lnTo>
                  <a:pt x="2394" y="2874"/>
                </a:lnTo>
                <a:lnTo>
                  <a:pt x="2396" y="2860"/>
                </a:lnTo>
                <a:lnTo>
                  <a:pt x="2396" y="2847"/>
                </a:lnTo>
                <a:lnTo>
                  <a:pt x="2396" y="2834"/>
                </a:lnTo>
                <a:lnTo>
                  <a:pt x="2398" y="2832"/>
                </a:lnTo>
                <a:lnTo>
                  <a:pt x="2400" y="2830"/>
                </a:lnTo>
                <a:lnTo>
                  <a:pt x="2405" y="2828"/>
                </a:lnTo>
                <a:lnTo>
                  <a:pt x="2409" y="2828"/>
                </a:lnTo>
                <a:lnTo>
                  <a:pt x="2417" y="2828"/>
                </a:lnTo>
                <a:lnTo>
                  <a:pt x="2422" y="2830"/>
                </a:lnTo>
                <a:lnTo>
                  <a:pt x="2424" y="2832"/>
                </a:lnTo>
                <a:lnTo>
                  <a:pt x="2428" y="2841"/>
                </a:lnTo>
                <a:lnTo>
                  <a:pt x="2430" y="2847"/>
                </a:lnTo>
                <a:lnTo>
                  <a:pt x="2430" y="2853"/>
                </a:lnTo>
                <a:lnTo>
                  <a:pt x="2430" y="2872"/>
                </a:lnTo>
                <a:lnTo>
                  <a:pt x="2428" y="2889"/>
                </a:lnTo>
                <a:lnTo>
                  <a:pt x="2424" y="2908"/>
                </a:lnTo>
                <a:lnTo>
                  <a:pt x="2419" y="2925"/>
                </a:lnTo>
                <a:lnTo>
                  <a:pt x="2413" y="2942"/>
                </a:lnTo>
                <a:lnTo>
                  <a:pt x="2407" y="2957"/>
                </a:lnTo>
                <a:lnTo>
                  <a:pt x="2400" y="2972"/>
                </a:lnTo>
                <a:lnTo>
                  <a:pt x="2392" y="2987"/>
                </a:lnTo>
                <a:lnTo>
                  <a:pt x="2381" y="2999"/>
                </a:lnTo>
                <a:lnTo>
                  <a:pt x="2377" y="3003"/>
                </a:lnTo>
                <a:lnTo>
                  <a:pt x="2371" y="3010"/>
                </a:lnTo>
                <a:lnTo>
                  <a:pt x="2360" y="3020"/>
                </a:lnTo>
                <a:lnTo>
                  <a:pt x="2348" y="3029"/>
                </a:lnTo>
                <a:lnTo>
                  <a:pt x="2335" y="3035"/>
                </a:lnTo>
                <a:lnTo>
                  <a:pt x="2322" y="3039"/>
                </a:lnTo>
                <a:lnTo>
                  <a:pt x="2307" y="3044"/>
                </a:lnTo>
                <a:lnTo>
                  <a:pt x="2292" y="3044"/>
                </a:lnTo>
                <a:close/>
                <a:moveTo>
                  <a:pt x="2523" y="3039"/>
                </a:moveTo>
                <a:lnTo>
                  <a:pt x="2519" y="3037"/>
                </a:lnTo>
                <a:lnTo>
                  <a:pt x="2511" y="3033"/>
                </a:lnTo>
                <a:lnTo>
                  <a:pt x="2494" y="3016"/>
                </a:lnTo>
                <a:lnTo>
                  <a:pt x="2472" y="2997"/>
                </a:lnTo>
                <a:lnTo>
                  <a:pt x="2455" y="2978"/>
                </a:lnTo>
                <a:lnTo>
                  <a:pt x="2449" y="2968"/>
                </a:lnTo>
                <a:lnTo>
                  <a:pt x="2443" y="2961"/>
                </a:lnTo>
                <a:lnTo>
                  <a:pt x="2439" y="2948"/>
                </a:lnTo>
                <a:lnTo>
                  <a:pt x="2436" y="2944"/>
                </a:lnTo>
                <a:lnTo>
                  <a:pt x="2436" y="2938"/>
                </a:lnTo>
                <a:lnTo>
                  <a:pt x="2436" y="2932"/>
                </a:lnTo>
                <a:lnTo>
                  <a:pt x="2439" y="2923"/>
                </a:lnTo>
                <a:lnTo>
                  <a:pt x="2443" y="2917"/>
                </a:lnTo>
                <a:lnTo>
                  <a:pt x="2447" y="2908"/>
                </a:lnTo>
                <a:lnTo>
                  <a:pt x="2460" y="2893"/>
                </a:lnTo>
                <a:lnTo>
                  <a:pt x="2477" y="2872"/>
                </a:lnTo>
                <a:lnTo>
                  <a:pt x="2519" y="2824"/>
                </a:lnTo>
                <a:lnTo>
                  <a:pt x="2525" y="2826"/>
                </a:lnTo>
                <a:lnTo>
                  <a:pt x="2532" y="2828"/>
                </a:lnTo>
                <a:lnTo>
                  <a:pt x="2536" y="2832"/>
                </a:lnTo>
                <a:lnTo>
                  <a:pt x="2540" y="2836"/>
                </a:lnTo>
                <a:lnTo>
                  <a:pt x="2542" y="2843"/>
                </a:lnTo>
                <a:lnTo>
                  <a:pt x="2540" y="2849"/>
                </a:lnTo>
                <a:lnTo>
                  <a:pt x="2538" y="2853"/>
                </a:lnTo>
                <a:lnTo>
                  <a:pt x="2536" y="2857"/>
                </a:lnTo>
                <a:lnTo>
                  <a:pt x="2506" y="2891"/>
                </a:lnTo>
                <a:lnTo>
                  <a:pt x="2489" y="2910"/>
                </a:lnTo>
                <a:lnTo>
                  <a:pt x="2477" y="2927"/>
                </a:lnTo>
                <a:lnTo>
                  <a:pt x="2472" y="2932"/>
                </a:lnTo>
                <a:lnTo>
                  <a:pt x="2472" y="2936"/>
                </a:lnTo>
                <a:lnTo>
                  <a:pt x="2475" y="2940"/>
                </a:lnTo>
                <a:lnTo>
                  <a:pt x="2477" y="2946"/>
                </a:lnTo>
                <a:lnTo>
                  <a:pt x="2487" y="2959"/>
                </a:lnTo>
                <a:lnTo>
                  <a:pt x="2504" y="2976"/>
                </a:lnTo>
                <a:lnTo>
                  <a:pt x="2523" y="2997"/>
                </a:lnTo>
                <a:lnTo>
                  <a:pt x="2542" y="3014"/>
                </a:lnTo>
                <a:lnTo>
                  <a:pt x="2544" y="3016"/>
                </a:lnTo>
                <a:lnTo>
                  <a:pt x="2544" y="3020"/>
                </a:lnTo>
                <a:lnTo>
                  <a:pt x="2544" y="3023"/>
                </a:lnTo>
                <a:lnTo>
                  <a:pt x="2542" y="3027"/>
                </a:lnTo>
                <a:lnTo>
                  <a:pt x="2538" y="3033"/>
                </a:lnTo>
                <a:lnTo>
                  <a:pt x="2532" y="3037"/>
                </a:lnTo>
                <a:lnTo>
                  <a:pt x="2527" y="3039"/>
                </a:lnTo>
                <a:lnTo>
                  <a:pt x="2523" y="3039"/>
                </a:lnTo>
                <a:close/>
                <a:moveTo>
                  <a:pt x="2292" y="3636"/>
                </a:moveTo>
                <a:lnTo>
                  <a:pt x="2284" y="3634"/>
                </a:lnTo>
                <a:lnTo>
                  <a:pt x="2276" y="3634"/>
                </a:lnTo>
                <a:lnTo>
                  <a:pt x="2267" y="3630"/>
                </a:lnTo>
                <a:lnTo>
                  <a:pt x="2259" y="3628"/>
                </a:lnTo>
                <a:lnTo>
                  <a:pt x="2250" y="3624"/>
                </a:lnTo>
                <a:lnTo>
                  <a:pt x="2244" y="3617"/>
                </a:lnTo>
                <a:lnTo>
                  <a:pt x="2235" y="3611"/>
                </a:lnTo>
                <a:lnTo>
                  <a:pt x="2229" y="3605"/>
                </a:lnTo>
                <a:lnTo>
                  <a:pt x="2223" y="3598"/>
                </a:lnTo>
                <a:lnTo>
                  <a:pt x="2218" y="3590"/>
                </a:lnTo>
                <a:lnTo>
                  <a:pt x="2210" y="3571"/>
                </a:lnTo>
                <a:lnTo>
                  <a:pt x="2208" y="3560"/>
                </a:lnTo>
                <a:lnTo>
                  <a:pt x="2206" y="3552"/>
                </a:lnTo>
                <a:lnTo>
                  <a:pt x="2204" y="3541"/>
                </a:lnTo>
                <a:lnTo>
                  <a:pt x="2204" y="3528"/>
                </a:lnTo>
                <a:lnTo>
                  <a:pt x="2204" y="3518"/>
                </a:lnTo>
                <a:lnTo>
                  <a:pt x="2206" y="3507"/>
                </a:lnTo>
                <a:lnTo>
                  <a:pt x="2208" y="3497"/>
                </a:lnTo>
                <a:lnTo>
                  <a:pt x="2210" y="3486"/>
                </a:lnTo>
                <a:lnTo>
                  <a:pt x="2214" y="3476"/>
                </a:lnTo>
                <a:lnTo>
                  <a:pt x="2218" y="3465"/>
                </a:lnTo>
                <a:lnTo>
                  <a:pt x="2225" y="3456"/>
                </a:lnTo>
                <a:lnTo>
                  <a:pt x="2231" y="3448"/>
                </a:lnTo>
                <a:lnTo>
                  <a:pt x="2237" y="3442"/>
                </a:lnTo>
                <a:lnTo>
                  <a:pt x="2246" y="3433"/>
                </a:lnTo>
                <a:lnTo>
                  <a:pt x="2252" y="3429"/>
                </a:lnTo>
                <a:lnTo>
                  <a:pt x="2261" y="3423"/>
                </a:lnTo>
                <a:lnTo>
                  <a:pt x="2271" y="3418"/>
                </a:lnTo>
                <a:lnTo>
                  <a:pt x="2280" y="3416"/>
                </a:lnTo>
                <a:lnTo>
                  <a:pt x="2288" y="3414"/>
                </a:lnTo>
                <a:lnTo>
                  <a:pt x="2299" y="3414"/>
                </a:lnTo>
                <a:lnTo>
                  <a:pt x="2312" y="3414"/>
                </a:lnTo>
                <a:lnTo>
                  <a:pt x="2316" y="3416"/>
                </a:lnTo>
                <a:lnTo>
                  <a:pt x="2322" y="3418"/>
                </a:lnTo>
                <a:lnTo>
                  <a:pt x="2331" y="3423"/>
                </a:lnTo>
                <a:lnTo>
                  <a:pt x="2339" y="3429"/>
                </a:lnTo>
                <a:lnTo>
                  <a:pt x="2345" y="3437"/>
                </a:lnTo>
                <a:lnTo>
                  <a:pt x="2350" y="3448"/>
                </a:lnTo>
                <a:lnTo>
                  <a:pt x="2352" y="3459"/>
                </a:lnTo>
                <a:lnTo>
                  <a:pt x="2354" y="3471"/>
                </a:lnTo>
                <a:lnTo>
                  <a:pt x="2352" y="3478"/>
                </a:lnTo>
                <a:lnTo>
                  <a:pt x="2352" y="3486"/>
                </a:lnTo>
                <a:lnTo>
                  <a:pt x="2350" y="3492"/>
                </a:lnTo>
                <a:lnTo>
                  <a:pt x="2345" y="3499"/>
                </a:lnTo>
                <a:lnTo>
                  <a:pt x="2341" y="3507"/>
                </a:lnTo>
                <a:lnTo>
                  <a:pt x="2337" y="3514"/>
                </a:lnTo>
                <a:lnTo>
                  <a:pt x="2326" y="3524"/>
                </a:lnTo>
                <a:lnTo>
                  <a:pt x="2320" y="3528"/>
                </a:lnTo>
                <a:lnTo>
                  <a:pt x="2314" y="3535"/>
                </a:lnTo>
                <a:lnTo>
                  <a:pt x="2301" y="3541"/>
                </a:lnTo>
                <a:lnTo>
                  <a:pt x="2292" y="3543"/>
                </a:lnTo>
                <a:lnTo>
                  <a:pt x="2286" y="3545"/>
                </a:lnTo>
                <a:lnTo>
                  <a:pt x="2271" y="3547"/>
                </a:lnTo>
                <a:lnTo>
                  <a:pt x="2265" y="3545"/>
                </a:lnTo>
                <a:lnTo>
                  <a:pt x="2261" y="3545"/>
                </a:lnTo>
                <a:lnTo>
                  <a:pt x="2259" y="3543"/>
                </a:lnTo>
                <a:lnTo>
                  <a:pt x="2256" y="3539"/>
                </a:lnTo>
                <a:lnTo>
                  <a:pt x="2256" y="3537"/>
                </a:lnTo>
                <a:lnTo>
                  <a:pt x="2254" y="3528"/>
                </a:lnTo>
                <a:lnTo>
                  <a:pt x="2256" y="3522"/>
                </a:lnTo>
                <a:lnTo>
                  <a:pt x="2256" y="3520"/>
                </a:lnTo>
                <a:lnTo>
                  <a:pt x="2259" y="3518"/>
                </a:lnTo>
                <a:lnTo>
                  <a:pt x="2271" y="3516"/>
                </a:lnTo>
                <a:lnTo>
                  <a:pt x="2284" y="3511"/>
                </a:lnTo>
                <a:lnTo>
                  <a:pt x="2295" y="3505"/>
                </a:lnTo>
                <a:lnTo>
                  <a:pt x="2303" y="3499"/>
                </a:lnTo>
                <a:lnTo>
                  <a:pt x="2312" y="3490"/>
                </a:lnTo>
                <a:lnTo>
                  <a:pt x="2314" y="3486"/>
                </a:lnTo>
                <a:lnTo>
                  <a:pt x="2316" y="3482"/>
                </a:lnTo>
                <a:lnTo>
                  <a:pt x="2320" y="3473"/>
                </a:lnTo>
                <a:lnTo>
                  <a:pt x="2322" y="3465"/>
                </a:lnTo>
                <a:lnTo>
                  <a:pt x="2320" y="3461"/>
                </a:lnTo>
                <a:lnTo>
                  <a:pt x="2320" y="3456"/>
                </a:lnTo>
                <a:lnTo>
                  <a:pt x="2318" y="3452"/>
                </a:lnTo>
                <a:lnTo>
                  <a:pt x="2316" y="3450"/>
                </a:lnTo>
                <a:lnTo>
                  <a:pt x="2312" y="3446"/>
                </a:lnTo>
                <a:lnTo>
                  <a:pt x="2307" y="3444"/>
                </a:lnTo>
                <a:lnTo>
                  <a:pt x="2297" y="3444"/>
                </a:lnTo>
                <a:lnTo>
                  <a:pt x="2286" y="3446"/>
                </a:lnTo>
                <a:lnTo>
                  <a:pt x="2282" y="3448"/>
                </a:lnTo>
                <a:lnTo>
                  <a:pt x="2276" y="3450"/>
                </a:lnTo>
                <a:lnTo>
                  <a:pt x="2271" y="3454"/>
                </a:lnTo>
                <a:lnTo>
                  <a:pt x="2265" y="3459"/>
                </a:lnTo>
                <a:lnTo>
                  <a:pt x="2256" y="3469"/>
                </a:lnTo>
                <a:lnTo>
                  <a:pt x="2252" y="3473"/>
                </a:lnTo>
                <a:lnTo>
                  <a:pt x="2248" y="3480"/>
                </a:lnTo>
                <a:lnTo>
                  <a:pt x="2242" y="3495"/>
                </a:lnTo>
                <a:lnTo>
                  <a:pt x="2237" y="3511"/>
                </a:lnTo>
                <a:lnTo>
                  <a:pt x="2237" y="3520"/>
                </a:lnTo>
                <a:lnTo>
                  <a:pt x="2237" y="3528"/>
                </a:lnTo>
                <a:lnTo>
                  <a:pt x="2237" y="3543"/>
                </a:lnTo>
                <a:lnTo>
                  <a:pt x="2240" y="3550"/>
                </a:lnTo>
                <a:lnTo>
                  <a:pt x="2242" y="3556"/>
                </a:lnTo>
                <a:lnTo>
                  <a:pt x="2246" y="3569"/>
                </a:lnTo>
                <a:lnTo>
                  <a:pt x="2252" y="3579"/>
                </a:lnTo>
                <a:lnTo>
                  <a:pt x="2261" y="3588"/>
                </a:lnTo>
                <a:lnTo>
                  <a:pt x="2265" y="3592"/>
                </a:lnTo>
                <a:lnTo>
                  <a:pt x="2271" y="3594"/>
                </a:lnTo>
                <a:lnTo>
                  <a:pt x="2282" y="3598"/>
                </a:lnTo>
                <a:lnTo>
                  <a:pt x="2288" y="3598"/>
                </a:lnTo>
                <a:lnTo>
                  <a:pt x="2295" y="3600"/>
                </a:lnTo>
                <a:lnTo>
                  <a:pt x="2307" y="3598"/>
                </a:lnTo>
                <a:lnTo>
                  <a:pt x="2318" y="3594"/>
                </a:lnTo>
                <a:lnTo>
                  <a:pt x="2324" y="3592"/>
                </a:lnTo>
                <a:lnTo>
                  <a:pt x="2331" y="3590"/>
                </a:lnTo>
                <a:lnTo>
                  <a:pt x="2341" y="3581"/>
                </a:lnTo>
                <a:lnTo>
                  <a:pt x="2350" y="3573"/>
                </a:lnTo>
                <a:lnTo>
                  <a:pt x="2358" y="3562"/>
                </a:lnTo>
                <a:lnTo>
                  <a:pt x="2367" y="3550"/>
                </a:lnTo>
                <a:lnTo>
                  <a:pt x="2373" y="3537"/>
                </a:lnTo>
                <a:lnTo>
                  <a:pt x="2379" y="3524"/>
                </a:lnTo>
                <a:lnTo>
                  <a:pt x="2383" y="3509"/>
                </a:lnTo>
                <a:lnTo>
                  <a:pt x="2388" y="3495"/>
                </a:lnTo>
                <a:lnTo>
                  <a:pt x="2392" y="3482"/>
                </a:lnTo>
                <a:lnTo>
                  <a:pt x="2394" y="3467"/>
                </a:lnTo>
                <a:lnTo>
                  <a:pt x="2396" y="3452"/>
                </a:lnTo>
                <a:lnTo>
                  <a:pt x="2396" y="3440"/>
                </a:lnTo>
                <a:lnTo>
                  <a:pt x="2396" y="3427"/>
                </a:lnTo>
                <a:lnTo>
                  <a:pt x="2398" y="3423"/>
                </a:lnTo>
                <a:lnTo>
                  <a:pt x="2400" y="3420"/>
                </a:lnTo>
                <a:lnTo>
                  <a:pt x="2405" y="3418"/>
                </a:lnTo>
                <a:lnTo>
                  <a:pt x="2409" y="3418"/>
                </a:lnTo>
                <a:lnTo>
                  <a:pt x="2417" y="3420"/>
                </a:lnTo>
                <a:lnTo>
                  <a:pt x="2422" y="3423"/>
                </a:lnTo>
                <a:lnTo>
                  <a:pt x="2424" y="3425"/>
                </a:lnTo>
                <a:lnTo>
                  <a:pt x="2428" y="3431"/>
                </a:lnTo>
                <a:lnTo>
                  <a:pt x="2430" y="3437"/>
                </a:lnTo>
                <a:lnTo>
                  <a:pt x="2430" y="3444"/>
                </a:lnTo>
                <a:lnTo>
                  <a:pt x="2430" y="3463"/>
                </a:lnTo>
                <a:lnTo>
                  <a:pt x="2428" y="3482"/>
                </a:lnTo>
                <a:lnTo>
                  <a:pt x="2424" y="3499"/>
                </a:lnTo>
                <a:lnTo>
                  <a:pt x="2419" y="3518"/>
                </a:lnTo>
                <a:lnTo>
                  <a:pt x="2413" y="3533"/>
                </a:lnTo>
                <a:lnTo>
                  <a:pt x="2407" y="3550"/>
                </a:lnTo>
                <a:lnTo>
                  <a:pt x="2400" y="3564"/>
                </a:lnTo>
                <a:lnTo>
                  <a:pt x="2392" y="3577"/>
                </a:lnTo>
                <a:lnTo>
                  <a:pt x="2381" y="3590"/>
                </a:lnTo>
                <a:lnTo>
                  <a:pt x="2377" y="3596"/>
                </a:lnTo>
                <a:lnTo>
                  <a:pt x="2371" y="3603"/>
                </a:lnTo>
                <a:lnTo>
                  <a:pt x="2360" y="3611"/>
                </a:lnTo>
                <a:lnTo>
                  <a:pt x="2348" y="3619"/>
                </a:lnTo>
                <a:lnTo>
                  <a:pt x="2335" y="3626"/>
                </a:lnTo>
                <a:lnTo>
                  <a:pt x="2322" y="3632"/>
                </a:lnTo>
                <a:lnTo>
                  <a:pt x="2307" y="3634"/>
                </a:lnTo>
                <a:lnTo>
                  <a:pt x="2292" y="3636"/>
                </a:lnTo>
                <a:close/>
                <a:moveTo>
                  <a:pt x="2523" y="3632"/>
                </a:moveTo>
                <a:lnTo>
                  <a:pt x="2519" y="3630"/>
                </a:lnTo>
                <a:lnTo>
                  <a:pt x="2511" y="3624"/>
                </a:lnTo>
                <a:lnTo>
                  <a:pt x="2494" y="3609"/>
                </a:lnTo>
                <a:lnTo>
                  <a:pt x="2472" y="3590"/>
                </a:lnTo>
                <a:lnTo>
                  <a:pt x="2455" y="3569"/>
                </a:lnTo>
                <a:lnTo>
                  <a:pt x="2449" y="3560"/>
                </a:lnTo>
                <a:lnTo>
                  <a:pt x="2443" y="3554"/>
                </a:lnTo>
                <a:lnTo>
                  <a:pt x="2439" y="3541"/>
                </a:lnTo>
                <a:lnTo>
                  <a:pt x="2436" y="3535"/>
                </a:lnTo>
                <a:lnTo>
                  <a:pt x="2436" y="3528"/>
                </a:lnTo>
                <a:lnTo>
                  <a:pt x="2436" y="3522"/>
                </a:lnTo>
                <a:lnTo>
                  <a:pt x="2439" y="3516"/>
                </a:lnTo>
                <a:lnTo>
                  <a:pt x="2443" y="3507"/>
                </a:lnTo>
                <a:lnTo>
                  <a:pt x="2447" y="3499"/>
                </a:lnTo>
                <a:lnTo>
                  <a:pt x="2460" y="3484"/>
                </a:lnTo>
                <a:lnTo>
                  <a:pt x="2477" y="3465"/>
                </a:lnTo>
                <a:lnTo>
                  <a:pt x="2519" y="3416"/>
                </a:lnTo>
                <a:lnTo>
                  <a:pt x="2525" y="3416"/>
                </a:lnTo>
                <a:lnTo>
                  <a:pt x="2532" y="3420"/>
                </a:lnTo>
                <a:lnTo>
                  <a:pt x="2536" y="3423"/>
                </a:lnTo>
                <a:lnTo>
                  <a:pt x="2540" y="3429"/>
                </a:lnTo>
                <a:lnTo>
                  <a:pt x="2542" y="3435"/>
                </a:lnTo>
                <a:lnTo>
                  <a:pt x="2540" y="3442"/>
                </a:lnTo>
                <a:lnTo>
                  <a:pt x="2538" y="3444"/>
                </a:lnTo>
                <a:lnTo>
                  <a:pt x="2536" y="3448"/>
                </a:lnTo>
                <a:lnTo>
                  <a:pt x="2506" y="3482"/>
                </a:lnTo>
                <a:lnTo>
                  <a:pt x="2489" y="3503"/>
                </a:lnTo>
                <a:lnTo>
                  <a:pt x="2477" y="3518"/>
                </a:lnTo>
                <a:lnTo>
                  <a:pt x="2472" y="3522"/>
                </a:lnTo>
                <a:lnTo>
                  <a:pt x="2472" y="3528"/>
                </a:lnTo>
                <a:lnTo>
                  <a:pt x="2475" y="3533"/>
                </a:lnTo>
                <a:lnTo>
                  <a:pt x="2477" y="3539"/>
                </a:lnTo>
                <a:lnTo>
                  <a:pt x="2487" y="3552"/>
                </a:lnTo>
                <a:lnTo>
                  <a:pt x="2504" y="3569"/>
                </a:lnTo>
                <a:lnTo>
                  <a:pt x="2523" y="3588"/>
                </a:lnTo>
                <a:lnTo>
                  <a:pt x="2542" y="3607"/>
                </a:lnTo>
                <a:lnTo>
                  <a:pt x="2544" y="3609"/>
                </a:lnTo>
                <a:lnTo>
                  <a:pt x="2544" y="3611"/>
                </a:lnTo>
                <a:lnTo>
                  <a:pt x="2544" y="3615"/>
                </a:lnTo>
                <a:lnTo>
                  <a:pt x="2542" y="3617"/>
                </a:lnTo>
                <a:lnTo>
                  <a:pt x="2538" y="3626"/>
                </a:lnTo>
                <a:lnTo>
                  <a:pt x="2532" y="3630"/>
                </a:lnTo>
                <a:lnTo>
                  <a:pt x="2527" y="3632"/>
                </a:lnTo>
                <a:lnTo>
                  <a:pt x="2523" y="3632"/>
                </a:lnTo>
                <a:close/>
                <a:moveTo>
                  <a:pt x="934" y="2451"/>
                </a:moveTo>
                <a:lnTo>
                  <a:pt x="925" y="2451"/>
                </a:lnTo>
                <a:lnTo>
                  <a:pt x="917" y="2449"/>
                </a:lnTo>
                <a:lnTo>
                  <a:pt x="908" y="2447"/>
                </a:lnTo>
                <a:lnTo>
                  <a:pt x="900" y="2445"/>
                </a:lnTo>
                <a:lnTo>
                  <a:pt x="891" y="2440"/>
                </a:lnTo>
                <a:lnTo>
                  <a:pt x="883" y="2434"/>
                </a:lnTo>
                <a:lnTo>
                  <a:pt x="876" y="2428"/>
                </a:lnTo>
                <a:lnTo>
                  <a:pt x="870" y="2421"/>
                </a:lnTo>
                <a:lnTo>
                  <a:pt x="864" y="2413"/>
                </a:lnTo>
                <a:lnTo>
                  <a:pt x="859" y="2407"/>
                </a:lnTo>
                <a:lnTo>
                  <a:pt x="851" y="2388"/>
                </a:lnTo>
                <a:lnTo>
                  <a:pt x="847" y="2377"/>
                </a:lnTo>
                <a:lnTo>
                  <a:pt x="845" y="2369"/>
                </a:lnTo>
                <a:lnTo>
                  <a:pt x="845" y="2358"/>
                </a:lnTo>
                <a:lnTo>
                  <a:pt x="842" y="2345"/>
                </a:lnTo>
                <a:lnTo>
                  <a:pt x="845" y="2335"/>
                </a:lnTo>
                <a:lnTo>
                  <a:pt x="845" y="2324"/>
                </a:lnTo>
                <a:lnTo>
                  <a:pt x="847" y="2313"/>
                </a:lnTo>
                <a:lnTo>
                  <a:pt x="851" y="2303"/>
                </a:lnTo>
                <a:lnTo>
                  <a:pt x="855" y="2292"/>
                </a:lnTo>
                <a:lnTo>
                  <a:pt x="859" y="2282"/>
                </a:lnTo>
                <a:lnTo>
                  <a:pt x="866" y="2273"/>
                </a:lnTo>
                <a:lnTo>
                  <a:pt x="872" y="2265"/>
                </a:lnTo>
                <a:lnTo>
                  <a:pt x="878" y="2258"/>
                </a:lnTo>
                <a:lnTo>
                  <a:pt x="885" y="2250"/>
                </a:lnTo>
                <a:lnTo>
                  <a:pt x="893" y="2244"/>
                </a:lnTo>
                <a:lnTo>
                  <a:pt x="902" y="2239"/>
                </a:lnTo>
                <a:lnTo>
                  <a:pt x="910" y="2235"/>
                </a:lnTo>
                <a:lnTo>
                  <a:pt x="921" y="2233"/>
                </a:lnTo>
                <a:lnTo>
                  <a:pt x="929" y="2231"/>
                </a:lnTo>
                <a:lnTo>
                  <a:pt x="940" y="2229"/>
                </a:lnTo>
                <a:lnTo>
                  <a:pt x="953" y="2231"/>
                </a:lnTo>
                <a:lnTo>
                  <a:pt x="957" y="2233"/>
                </a:lnTo>
                <a:lnTo>
                  <a:pt x="963" y="2235"/>
                </a:lnTo>
                <a:lnTo>
                  <a:pt x="972" y="2239"/>
                </a:lnTo>
                <a:lnTo>
                  <a:pt x="980" y="2246"/>
                </a:lnTo>
                <a:lnTo>
                  <a:pt x="986" y="2254"/>
                </a:lnTo>
                <a:lnTo>
                  <a:pt x="991" y="2265"/>
                </a:lnTo>
                <a:lnTo>
                  <a:pt x="993" y="2275"/>
                </a:lnTo>
                <a:lnTo>
                  <a:pt x="993" y="2286"/>
                </a:lnTo>
                <a:lnTo>
                  <a:pt x="993" y="2294"/>
                </a:lnTo>
                <a:lnTo>
                  <a:pt x="991" y="2303"/>
                </a:lnTo>
                <a:lnTo>
                  <a:pt x="989" y="2309"/>
                </a:lnTo>
                <a:lnTo>
                  <a:pt x="986" y="2316"/>
                </a:lnTo>
                <a:lnTo>
                  <a:pt x="982" y="2322"/>
                </a:lnTo>
                <a:lnTo>
                  <a:pt x="978" y="2328"/>
                </a:lnTo>
                <a:lnTo>
                  <a:pt x="967" y="2341"/>
                </a:lnTo>
                <a:lnTo>
                  <a:pt x="961" y="2345"/>
                </a:lnTo>
                <a:lnTo>
                  <a:pt x="955" y="2352"/>
                </a:lnTo>
                <a:lnTo>
                  <a:pt x="942" y="2358"/>
                </a:lnTo>
                <a:lnTo>
                  <a:pt x="934" y="2360"/>
                </a:lnTo>
                <a:lnTo>
                  <a:pt x="927" y="2362"/>
                </a:lnTo>
                <a:lnTo>
                  <a:pt x="910" y="2364"/>
                </a:lnTo>
                <a:lnTo>
                  <a:pt x="906" y="2362"/>
                </a:lnTo>
                <a:lnTo>
                  <a:pt x="902" y="2362"/>
                </a:lnTo>
                <a:lnTo>
                  <a:pt x="900" y="2358"/>
                </a:lnTo>
                <a:lnTo>
                  <a:pt x="898" y="2356"/>
                </a:lnTo>
                <a:lnTo>
                  <a:pt x="898" y="2354"/>
                </a:lnTo>
                <a:lnTo>
                  <a:pt x="895" y="2345"/>
                </a:lnTo>
                <a:lnTo>
                  <a:pt x="895" y="2339"/>
                </a:lnTo>
                <a:lnTo>
                  <a:pt x="898" y="2337"/>
                </a:lnTo>
                <a:lnTo>
                  <a:pt x="900" y="2335"/>
                </a:lnTo>
                <a:lnTo>
                  <a:pt x="912" y="2333"/>
                </a:lnTo>
                <a:lnTo>
                  <a:pt x="925" y="2328"/>
                </a:lnTo>
                <a:lnTo>
                  <a:pt x="936" y="2322"/>
                </a:lnTo>
                <a:lnTo>
                  <a:pt x="944" y="2316"/>
                </a:lnTo>
                <a:lnTo>
                  <a:pt x="953" y="2307"/>
                </a:lnTo>
                <a:lnTo>
                  <a:pt x="955" y="2303"/>
                </a:lnTo>
                <a:lnTo>
                  <a:pt x="957" y="2299"/>
                </a:lnTo>
                <a:lnTo>
                  <a:pt x="961" y="2290"/>
                </a:lnTo>
                <a:lnTo>
                  <a:pt x="961" y="2282"/>
                </a:lnTo>
                <a:lnTo>
                  <a:pt x="961" y="2277"/>
                </a:lnTo>
                <a:lnTo>
                  <a:pt x="961" y="2273"/>
                </a:lnTo>
                <a:lnTo>
                  <a:pt x="959" y="2269"/>
                </a:lnTo>
                <a:lnTo>
                  <a:pt x="955" y="2265"/>
                </a:lnTo>
                <a:lnTo>
                  <a:pt x="953" y="2263"/>
                </a:lnTo>
                <a:lnTo>
                  <a:pt x="948" y="2261"/>
                </a:lnTo>
                <a:lnTo>
                  <a:pt x="938" y="2261"/>
                </a:lnTo>
                <a:lnTo>
                  <a:pt x="927" y="2261"/>
                </a:lnTo>
                <a:lnTo>
                  <a:pt x="921" y="2263"/>
                </a:lnTo>
                <a:lnTo>
                  <a:pt x="917" y="2267"/>
                </a:lnTo>
                <a:lnTo>
                  <a:pt x="910" y="2271"/>
                </a:lnTo>
                <a:lnTo>
                  <a:pt x="906" y="2275"/>
                </a:lnTo>
                <a:lnTo>
                  <a:pt x="898" y="2284"/>
                </a:lnTo>
                <a:lnTo>
                  <a:pt x="893" y="2290"/>
                </a:lnTo>
                <a:lnTo>
                  <a:pt x="889" y="2297"/>
                </a:lnTo>
                <a:lnTo>
                  <a:pt x="883" y="2311"/>
                </a:lnTo>
                <a:lnTo>
                  <a:pt x="878" y="2328"/>
                </a:lnTo>
                <a:lnTo>
                  <a:pt x="878" y="2337"/>
                </a:lnTo>
                <a:lnTo>
                  <a:pt x="876" y="2345"/>
                </a:lnTo>
                <a:lnTo>
                  <a:pt x="878" y="2360"/>
                </a:lnTo>
                <a:lnTo>
                  <a:pt x="878" y="2366"/>
                </a:lnTo>
                <a:lnTo>
                  <a:pt x="881" y="2373"/>
                </a:lnTo>
                <a:lnTo>
                  <a:pt x="887" y="2385"/>
                </a:lnTo>
                <a:lnTo>
                  <a:pt x="893" y="2396"/>
                </a:lnTo>
                <a:lnTo>
                  <a:pt x="902" y="2404"/>
                </a:lnTo>
                <a:lnTo>
                  <a:pt x="906" y="2409"/>
                </a:lnTo>
                <a:lnTo>
                  <a:pt x="910" y="2411"/>
                </a:lnTo>
                <a:lnTo>
                  <a:pt x="923" y="2415"/>
                </a:lnTo>
                <a:lnTo>
                  <a:pt x="929" y="2415"/>
                </a:lnTo>
                <a:lnTo>
                  <a:pt x="936" y="2417"/>
                </a:lnTo>
                <a:lnTo>
                  <a:pt x="948" y="2415"/>
                </a:lnTo>
                <a:lnTo>
                  <a:pt x="959" y="2411"/>
                </a:lnTo>
                <a:lnTo>
                  <a:pt x="965" y="2409"/>
                </a:lnTo>
                <a:lnTo>
                  <a:pt x="969" y="2407"/>
                </a:lnTo>
                <a:lnTo>
                  <a:pt x="980" y="2398"/>
                </a:lnTo>
                <a:lnTo>
                  <a:pt x="991" y="2390"/>
                </a:lnTo>
                <a:lnTo>
                  <a:pt x="999" y="2379"/>
                </a:lnTo>
                <a:lnTo>
                  <a:pt x="1008" y="2366"/>
                </a:lnTo>
                <a:lnTo>
                  <a:pt x="1014" y="2354"/>
                </a:lnTo>
                <a:lnTo>
                  <a:pt x="1020" y="2341"/>
                </a:lnTo>
                <a:lnTo>
                  <a:pt x="1025" y="2326"/>
                </a:lnTo>
                <a:lnTo>
                  <a:pt x="1029" y="2311"/>
                </a:lnTo>
                <a:lnTo>
                  <a:pt x="1033" y="2297"/>
                </a:lnTo>
                <a:lnTo>
                  <a:pt x="1035" y="2284"/>
                </a:lnTo>
                <a:lnTo>
                  <a:pt x="1037" y="2269"/>
                </a:lnTo>
                <a:lnTo>
                  <a:pt x="1037" y="2256"/>
                </a:lnTo>
                <a:lnTo>
                  <a:pt x="1037" y="2242"/>
                </a:lnTo>
                <a:lnTo>
                  <a:pt x="1039" y="2239"/>
                </a:lnTo>
                <a:lnTo>
                  <a:pt x="1041" y="2237"/>
                </a:lnTo>
                <a:lnTo>
                  <a:pt x="1046" y="2235"/>
                </a:lnTo>
                <a:lnTo>
                  <a:pt x="1050" y="2235"/>
                </a:lnTo>
                <a:lnTo>
                  <a:pt x="1058" y="2237"/>
                </a:lnTo>
                <a:lnTo>
                  <a:pt x="1063" y="2237"/>
                </a:lnTo>
                <a:lnTo>
                  <a:pt x="1065" y="2242"/>
                </a:lnTo>
                <a:lnTo>
                  <a:pt x="1069" y="2248"/>
                </a:lnTo>
                <a:lnTo>
                  <a:pt x="1071" y="2254"/>
                </a:lnTo>
                <a:lnTo>
                  <a:pt x="1071" y="2261"/>
                </a:lnTo>
                <a:lnTo>
                  <a:pt x="1071" y="2280"/>
                </a:lnTo>
                <a:lnTo>
                  <a:pt x="1067" y="2299"/>
                </a:lnTo>
                <a:lnTo>
                  <a:pt x="1065" y="2316"/>
                </a:lnTo>
                <a:lnTo>
                  <a:pt x="1061" y="2333"/>
                </a:lnTo>
                <a:lnTo>
                  <a:pt x="1054" y="2349"/>
                </a:lnTo>
                <a:lnTo>
                  <a:pt x="1048" y="2366"/>
                </a:lnTo>
                <a:lnTo>
                  <a:pt x="1039" y="2381"/>
                </a:lnTo>
                <a:lnTo>
                  <a:pt x="1031" y="2394"/>
                </a:lnTo>
                <a:lnTo>
                  <a:pt x="1022" y="2407"/>
                </a:lnTo>
                <a:lnTo>
                  <a:pt x="1016" y="2413"/>
                </a:lnTo>
                <a:lnTo>
                  <a:pt x="1012" y="2417"/>
                </a:lnTo>
                <a:lnTo>
                  <a:pt x="1001" y="2428"/>
                </a:lnTo>
                <a:lnTo>
                  <a:pt x="989" y="2436"/>
                </a:lnTo>
                <a:lnTo>
                  <a:pt x="976" y="2443"/>
                </a:lnTo>
                <a:lnTo>
                  <a:pt x="963" y="2449"/>
                </a:lnTo>
                <a:lnTo>
                  <a:pt x="948" y="2451"/>
                </a:lnTo>
                <a:lnTo>
                  <a:pt x="934" y="2451"/>
                </a:lnTo>
                <a:close/>
                <a:moveTo>
                  <a:pt x="1164" y="2449"/>
                </a:moveTo>
                <a:lnTo>
                  <a:pt x="1160" y="2447"/>
                </a:lnTo>
                <a:lnTo>
                  <a:pt x="1152" y="2440"/>
                </a:lnTo>
                <a:lnTo>
                  <a:pt x="1135" y="2426"/>
                </a:lnTo>
                <a:lnTo>
                  <a:pt x="1113" y="2407"/>
                </a:lnTo>
                <a:lnTo>
                  <a:pt x="1096" y="2385"/>
                </a:lnTo>
                <a:lnTo>
                  <a:pt x="1088" y="2377"/>
                </a:lnTo>
                <a:lnTo>
                  <a:pt x="1084" y="2371"/>
                </a:lnTo>
                <a:lnTo>
                  <a:pt x="1080" y="2358"/>
                </a:lnTo>
                <a:lnTo>
                  <a:pt x="1077" y="2352"/>
                </a:lnTo>
                <a:lnTo>
                  <a:pt x="1077" y="2345"/>
                </a:lnTo>
                <a:lnTo>
                  <a:pt x="1077" y="2339"/>
                </a:lnTo>
                <a:lnTo>
                  <a:pt x="1080" y="2333"/>
                </a:lnTo>
                <a:lnTo>
                  <a:pt x="1084" y="2324"/>
                </a:lnTo>
                <a:lnTo>
                  <a:pt x="1088" y="2316"/>
                </a:lnTo>
                <a:lnTo>
                  <a:pt x="1101" y="2301"/>
                </a:lnTo>
                <a:lnTo>
                  <a:pt x="1118" y="2282"/>
                </a:lnTo>
                <a:lnTo>
                  <a:pt x="1160" y="2233"/>
                </a:lnTo>
                <a:lnTo>
                  <a:pt x="1166" y="2233"/>
                </a:lnTo>
                <a:lnTo>
                  <a:pt x="1173" y="2235"/>
                </a:lnTo>
                <a:lnTo>
                  <a:pt x="1177" y="2239"/>
                </a:lnTo>
                <a:lnTo>
                  <a:pt x="1181" y="2246"/>
                </a:lnTo>
                <a:lnTo>
                  <a:pt x="1183" y="2252"/>
                </a:lnTo>
                <a:lnTo>
                  <a:pt x="1181" y="2258"/>
                </a:lnTo>
                <a:lnTo>
                  <a:pt x="1179" y="2261"/>
                </a:lnTo>
                <a:lnTo>
                  <a:pt x="1177" y="2265"/>
                </a:lnTo>
                <a:lnTo>
                  <a:pt x="1147" y="2299"/>
                </a:lnTo>
                <a:lnTo>
                  <a:pt x="1130" y="2320"/>
                </a:lnTo>
                <a:lnTo>
                  <a:pt x="1118" y="2335"/>
                </a:lnTo>
                <a:lnTo>
                  <a:pt x="1113" y="2339"/>
                </a:lnTo>
                <a:lnTo>
                  <a:pt x="1113" y="2343"/>
                </a:lnTo>
                <a:lnTo>
                  <a:pt x="1113" y="2349"/>
                </a:lnTo>
                <a:lnTo>
                  <a:pt x="1118" y="2356"/>
                </a:lnTo>
                <a:lnTo>
                  <a:pt x="1128" y="2366"/>
                </a:lnTo>
                <a:lnTo>
                  <a:pt x="1145" y="2385"/>
                </a:lnTo>
                <a:lnTo>
                  <a:pt x="1164" y="2404"/>
                </a:lnTo>
                <a:lnTo>
                  <a:pt x="1183" y="2424"/>
                </a:lnTo>
                <a:lnTo>
                  <a:pt x="1185" y="2426"/>
                </a:lnTo>
                <a:lnTo>
                  <a:pt x="1185" y="2428"/>
                </a:lnTo>
                <a:lnTo>
                  <a:pt x="1185" y="2432"/>
                </a:lnTo>
                <a:lnTo>
                  <a:pt x="1183" y="2434"/>
                </a:lnTo>
                <a:lnTo>
                  <a:pt x="1179" y="2443"/>
                </a:lnTo>
                <a:lnTo>
                  <a:pt x="1173" y="2447"/>
                </a:lnTo>
                <a:lnTo>
                  <a:pt x="1168" y="2449"/>
                </a:lnTo>
                <a:lnTo>
                  <a:pt x="1164" y="2449"/>
                </a:lnTo>
                <a:close/>
                <a:moveTo>
                  <a:pt x="934" y="3044"/>
                </a:moveTo>
                <a:lnTo>
                  <a:pt x="925" y="3044"/>
                </a:lnTo>
                <a:lnTo>
                  <a:pt x="917" y="3042"/>
                </a:lnTo>
                <a:lnTo>
                  <a:pt x="908" y="3039"/>
                </a:lnTo>
                <a:lnTo>
                  <a:pt x="900" y="3035"/>
                </a:lnTo>
                <a:lnTo>
                  <a:pt x="891" y="3031"/>
                </a:lnTo>
                <a:lnTo>
                  <a:pt x="883" y="3027"/>
                </a:lnTo>
                <a:lnTo>
                  <a:pt x="876" y="3020"/>
                </a:lnTo>
                <a:lnTo>
                  <a:pt x="870" y="3012"/>
                </a:lnTo>
                <a:lnTo>
                  <a:pt x="864" y="3006"/>
                </a:lnTo>
                <a:lnTo>
                  <a:pt x="859" y="2997"/>
                </a:lnTo>
                <a:lnTo>
                  <a:pt x="851" y="2980"/>
                </a:lnTo>
                <a:lnTo>
                  <a:pt x="847" y="2970"/>
                </a:lnTo>
                <a:lnTo>
                  <a:pt x="845" y="2959"/>
                </a:lnTo>
                <a:lnTo>
                  <a:pt x="845" y="2948"/>
                </a:lnTo>
                <a:lnTo>
                  <a:pt x="842" y="2938"/>
                </a:lnTo>
                <a:lnTo>
                  <a:pt x="845" y="2927"/>
                </a:lnTo>
                <a:lnTo>
                  <a:pt x="845" y="2915"/>
                </a:lnTo>
                <a:lnTo>
                  <a:pt x="847" y="2904"/>
                </a:lnTo>
                <a:lnTo>
                  <a:pt x="851" y="2893"/>
                </a:lnTo>
                <a:lnTo>
                  <a:pt x="855" y="2883"/>
                </a:lnTo>
                <a:lnTo>
                  <a:pt x="859" y="2874"/>
                </a:lnTo>
                <a:lnTo>
                  <a:pt x="866" y="2866"/>
                </a:lnTo>
                <a:lnTo>
                  <a:pt x="872" y="2857"/>
                </a:lnTo>
                <a:lnTo>
                  <a:pt x="878" y="2849"/>
                </a:lnTo>
                <a:lnTo>
                  <a:pt x="885" y="2843"/>
                </a:lnTo>
                <a:lnTo>
                  <a:pt x="893" y="2836"/>
                </a:lnTo>
                <a:lnTo>
                  <a:pt x="902" y="2832"/>
                </a:lnTo>
                <a:lnTo>
                  <a:pt x="910" y="2828"/>
                </a:lnTo>
                <a:lnTo>
                  <a:pt x="921" y="2824"/>
                </a:lnTo>
                <a:lnTo>
                  <a:pt x="929" y="2821"/>
                </a:lnTo>
                <a:lnTo>
                  <a:pt x="940" y="2821"/>
                </a:lnTo>
                <a:lnTo>
                  <a:pt x="953" y="2824"/>
                </a:lnTo>
                <a:lnTo>
                  <a:pt x="957" y="2824"/>
                </a:lnTo>
                <a:lnTo>
                  <a:pt x="963" y="2826"/>
                </a:lnTo>
                <a:lnTo>
                  <a:pt x="972" y="2830"/>
                </a:lnTo>
                <a:lnTo>
                  <a:pt x="980" y="2838"/>
                </a:lnTo>
                <a:lnTo>
                  <a:pt x="986" y="2847"/>
                </a:lnTo>
                <a:lnTo>
                  <a:pt x="991" y="2855"/>
                </a:lnTo>
                <a:lnTo>
                  <a:pt x="993" y="2866"/>
                </a:lnTo>
                <a:lnTo>
                  <a:pt x="993" y="2879"/>
                </a:lnTo>
                <a:lnTo>
                  <a:pt x="993" y="2887"/>
                </a:lnTo>
                <a:lnTo>
                  <a:pt x="991" y="2893"/>
                </a:lnTo>
                <a:lnTo>
                  <a:pt x="989" y="2900"/>
                </a:lnTo>
                <a:lnTo>
                  <a:pt x="986" y="2908"/>
                </a:lnTo>
                <a:lnTo>
                  <a:pt x="982" y="2915"/>
                </a:lnTo>
                <a:lnTo>
                  <a:pt x="978" y="2921"/>
                </a:lnTo>
                <a:lnTo>
                  <a:pt x="967" y="2932"/>
                </a:lnTo>
                <a:lnTo>
                  <a:pt x="961" y="2938"/>
                </a:lnTo>
                <a:lnTo>
                  <a:pt x="955" y="2942"/>
                </a:lnTo>
                <a:lnTo>
                  <a:pt x="942" y="2951"/>
                </a:lnTo>
                <a:lnTo>
                  <a:pt x="934" y="2953"/>
                </a:lnTo>
                <a:lnTo>
                  <a:pt x="927" y="2955"/>
                </a:lnTo>
                <a:lnTo>
                  <a:pt x="910" y="2957"/>
                </a:lnTo>
                <a:lnTo>
                  <a:pt x="906" y="2955"/>
                </a:lnTo>
                <a:lnTo>
                  <a:pt x="902" y="2953"/>
                </a:lnTo>
                <a:lnTo>
                  <a:pt x="900" y="2951"/>
                </a:lnTo>
                <a:lnTo>
                  <a:pt x="898" y="2948"/>
                </a:lnTo>
                <a:lnTo>
                  <a:pt x="898" y="2944"/>
                </a:lnTo>
                <a:lnTo>
                  <a:pt x="895" y="2938"/>
                </a:lnTo>
                <a:lnTo>
                  <a:pt x="895" y="2932"/>
                </a:lnTo>
                <a:lnTo>
                  <a:pt x="898" y="2929"/>
                </a:lnTo>
                <a:lnTo>
                  <a:pt x="900" y="2927"/>
                </a:lnTo>
                <a:lnTo>
                  <a:pt x="912" y="2923"/>
                </a:lnTo>
                <a:lnTo>
                  <a:pt x="925" y="2919"/>
                </a:lnTo>
                <a:lnTo>
                  <a:pt x="936" y="2915"/>
                </a:lnTo>
                <a:lnTo>
                  <a:pt x="944" y="2906"/>
                </a:lnTo>
                <a:lnTo>
                  <a:pt x="953" y="2900"/>
                </a:lnTo>
                <a:lnTo>
                  <a:pt x="955" y="2896"/>
                </a:lnTo>
                <a:lnTo>
                  <a:pt x="957" y="2891"/>
                </a:lnTo>
                <a:lnTo>
                  <a:pt x="961" y="2883"/>
                </a:lnTo>
                <a:lnTo>
                  <a:pt x="961" y="2874"/>
                </a:lnTo>
                <a:lnTo>
                  <a:pt x="961" y="2868"/>
                </a:lnTo>
                <a:lnTo>
                  <a:pt x="961" y="2864"/>
                </a:lnTo>
                <a:lnTo>
                  <a:pt x="959" y="2862"/>
                </a:lnTo>
                <a:lnTo>
                  <a:pt x="955" y="2857"/>
                </a:lnTo>
                <a:lnTo>
                  <a:pt x="953" y="2855"/>
                </a:lnTo>
                <a:lnTo>
                  <a:pt x="948" y="2853"/>
                </a:lnTo>
                <a:lnTo>
                  <a:pt x="938" y="2851"/>
                </a:lnTo>
                <a:lnTo>
                  <a:pt x="927" y="2853"/>
                </a:lnTo>
                <a:lnTo>
                  <a:pt x="921" y="2855"/>
                </a:lnTo>
                <a:lnTo>
                  <a:pt x="917" y="2857"/>
                </a:lnTo>
                <a:lnTo>
                  <a:pt x="910" y="2862"/>
                </a:lnTo>
                <a:lnTo>
                  <a:pt x="906" y="2866"/>
                </a:lnTo>
                <a:lnTo>
                  <a:pt x="898" y="2876"/>
                </a:lnTo>
                <a:lnTo>
                  <a:pt x="893" y="2883"/>
                </a:lnTo>
                <a:lnTo>
                  <a:pt x="889" y="2889"/>
                </a:lnTo>
                <a:lnTo>
                  <a:pt x="883" y="2904"/>
                </a:lnTo>
                <a:lnTo>
                  <a:pt x="878" y="2919"/>
                </a:lnTo>
                <a:lnTo>
                  <a:pt x="878" y="2927"/>
                </a:lnTo>
                <a:lnTo>
                  <a:pt x="876" y="2936"/>
                </a:lnTo>
                <a:lnTo>
                  <a:pt x="878" y="2951"/>
                </a:lnTo>
                <a:lnTo>
                  <a:pt x="878" y="2959"/>
                </a:lnTo>
                <a:lnTo>
                  <a:pt x="881" y="2965"/>
                </a:lnTo>
                <a:lnTo>
                  <a:pt x="887" y="2978"/>
                </a:lnTo>
                <a:lnTo>
                  <a:pt x="893" y="2989"/>
                </a:lnTo>
                <a:lnTo>
                  <a:pt x="902" y="2997"/>
                </a:lnTo>
                <a:lnTo>
                  <a:pt x="906" y="2999"/>
                </a:lnTo>
                <a:lnTo>
                  <a:pt x="910" y="3003"/>
                </a:lnTo>
                <a:lnTo>
                  <a:pt x="923" y="3006"/>
                </a:lnTo>
                <a:lnTo>
                  <a:pt x="929" y="3008"/>
                </a:lnTo>
                <a:lnTo>
                  <a:pt x="936" y="3008"/>
                </a:lnTo>
                <a:lnTo>
                  <a:pt x="948" y="3008"/>
                </a:lnTo>
                <a:lnTo>
                  <a:pt x="959" y="3003"/>
                </a:lnTo>
                <a:lnTo>
                  <a:pt x="965" y="3001"/>
                </a:lnTo>
                <a:lnTo>
                  <a:pt x="969" y="2997"/>
                </a:lnTo>
                <a:lnTo>
                  <a:pt x="980" y="2991"/>
                </a:lnTo>
                <a:lnTo>
                  <a:pt x="991" y="2980"/>
                </a:lnTo>
                <a:lnTo>
                  <a:pt x="999" y="2970"/>
                </a:lnTo>
                <a:lnTo>
                  <a:pt x="1008" y="2959"/>
                </a:lnTo>
                <a:lnTo>
                  <a:pt x="1014" y="2946"/>
                </a:lnTo>
                <a:lnTo>
                  <a:pt x="1020" y="2932"/>
                </a:lnTo>
                <a:lnTo>
                  <a:pt x="1025" y="2919"/>
                </a:lnTo>
                <a:lnTo>
                  <a:pt x="1029" y="2904"/>
                </a:lnTo>
                <a:lnTo>
                  <a:pt x="1033" y="2889"/>
                </a:lnTo>
                <a:lnTo>
                  <a:pt x="1035" y="2874"/>
                </a:lnTo>
                <a:lnTo>
                  <a:pt x="1037" y="2860"/>
                </a:lnTo>
                <a:lnTo>
                  <a:pt x="1037" y="2847"/>
                </a:lnTo>
                <a:lnTo>
                  <a:pt x="1037" y="2834"/>
                </a:lnTo>
                <a:lnTo>
                  <a:pt x="1039" y="2832"/>
                </a:lnTo>
                <a:lnTo>
                  <a:pt x="1041" y="2830"/>
                </a:lnTo>
                <a:lnTo>
                  <a:pt x="1046" y="2828"/>
                </a:lnTo>
                <a:lnTo>
                  <a:pt x="1050" y="2828"/>
                </a:lnTo>
                <a:lnTo>
                  <a:pt x="1058" y="2828"/>
                </a:lnTo>
                <a:lnTo>
                  <a:pt x="1063" y="2830"/>
                </a:lnTo>
                <a:lnTo>
                  <a:pt x="1065" y="2832"/>
                </a:lnTo>
                <a:lnTo>
                  <a:pt x="1069" y="2841"/>
                </a:lnTo>
                <a:lnTo>
                  <a:pt x="1071" y="2847"/>
                </a:lnTo>
                <a:lnTo>
                  <a:pt x="1071" y="2853"/>
                </a:lnTo>
                <a:lnTo>
                  <a:pt x="1071" y="2872"/>
                </a:lnTo>
                <a:lnTo>
                  <a:pt x="1067" y="2889"/>
                </a:lnTo>
                <a:lnTo>
                  <a:pt x="1065" y="2908"/>
                </a:lnTo>
                <a:lnTo>
                  <a:pt x="1061" y="2925"/>
                </a:lnTo>
                <a:lnTo>
                  <a:pt x="1054" y="2942"/>
                </a:lnTo>
                <a:lnTo>
                  <a:pt x="1048" y="2957"/>
                </a:lnTo>
                <a:lnTo>
                  <a:pt x="1039" y="2972"/>
                </a:lnTo>
                <a:lnTo>
                  <a:pt x="1031" y="2987"/>
                </a:lnTo>
                <a:lnTo>
                  <a:pt x="1022" y="2999"/>
                </a:lnTo>
                <a:lnTo>
                  <a:pt x="1016" y="3003"/>
                </a:lnTo>
                <a:lnTo>
                  <a:pt x="1012" y="3010"/>
                </a:lnTo>
                <a:lnTo>
                  <a:pt x="1001" y="3020"/>
                </a:lnTo>
                <a:lnTo>
                  <a:pt x="989" y="3029"/>
                </a:lnTo>
                <a:lnTo>
                  <a:pt x="976" y="3035"/>
                </a:lnTo>
                <a:lnTo>
                  <a:pt x="963" y="3039"/>
                </a:lnTo>
                <a:lnTo>
                  <a:pt x="948" y="3044"/>
                </a:lnTo>
                <a:lnTo>
                  <a:pt x="934" y="3044"/>
                </a:lnTo>
                <a:close/>
                <a:moveTo>
                  <a:pt x="1164" y="3039"/>
                </a:moveTo>
                <a:lnTo>
                  <a:pt x="1160" y="3037"/>
                </a:lnTo>
                <a:lnTo>
                  <a:pt x="1152" y="3033"/>
                </a:lnTo>
                <a:lnTo>
                  <a:pt x="1135" y="3016"/>
                </a:lnTo>
                <a:lnTo>
                  <a:pt x="1113" y="2997"/>
                </a:lnTo>
                <a:lnTo>
                  <a:pt x="1096" y="2978"/>
                </a:lnTo>
                <a:lnTo>
                  <a:pt x="1088" y="2968"/>
                </a:lnTo>
                <a:lnTo>
                  <a:pt x="1084" y="2961"/>
                </a:lnTo>
                <a:lnTo>
                  <a:pt x="1080" y="2948"/>
                </a:lnTo>
                <a:lnTo>
                  <a:pt x="1077" y="2944"/>
                </a:lnTo>
                <a:lnTo>
                  <a:pt x="1077" y="2938"/>
                </a:lnTo>
                <a:lnTo>
                  <a:pt x="1077" y="2932"/>
                </a:lnTo>
                <a:lnTo>
                  <a:pt x="1080" y="2923"/>
                </a:lnTo>
                <a:lnTo>
                  <a:pt x="1084" y="2917"/>
                </a:lnTo>
                <a:lnTo>
                  <a:pt x="1088" y="2908"/>
                </a:lnTo>
                <a:lnTo>
                  <a:pt x="1101" y="2893"/>
                </a:lnTo>
                <a:lnTo>
                  <a:pt x="1118" y="2872"/>
                </a:lnTo>
                <a:lnTo>
                  <a:pt x="1160" y="2824"/>
                </a:lnTo>
                <a:lnTo>
                  <a:pt x="1166" y="2826"/>
                </a:lnTo>
                <a:lnTo>
                  <a:pt x="1173" y="2828"/>
                </a:lnTo>
                <a:lnTo>
                  <a:pt x="1177" y="2832"/>
                </a:lnTo>
                <a:lnTo>
                  <a:pt x="1181" y="2836"/>
                </a:lnTo>
                <a:lnTo>
                  <a:pt x="1183" y="2843"/>
                </a:lnTo>
                <a:lnTo>
                  <a:pt x="1181" y="2849"/>
                </a:lnTo>
                <a:lnTo>
                  <a:pt x="1179" y="2853"/>
                </a:lnTo>
                <a:lnTo>
                  <a:pt x="1177" y="2857"/>
                </a:lnTo>
                <a:lnTo>
                  <a:pt x="1147" y="2891"/>
                </a:lnTo>
                <a:lnTo>
                  <a:pt x="1130" y="2910"/>
                </a:lnTo>
                <a:lnTo>
                  <a:pt x="1118" y="2927"/>
                </a:lnTo>
                <a:lnTo>
                  <a:pt x="1113" y="2932"/>
                </a:lnTo>
                <a:lnTo>
                  <a:pt x="1113" y="2936"/>
                </a:lnTo>
                <a:lnTo>
                  <a:pt x="1113" y="2940"/>
                </a:lnTo>
                <a:lnTo>
                  <a:pt x="1118" y="2946"/>
                </a:lnTo>
                <a:lnTo>
                  <a:pt x="1128" y="2959"/>
                </a:lnTo>
                <a:lnTo>
                  <a:pt x="1145" y="2976"/>
                </a:lnTo>
                <a:lnTo>
                  <a:pt x="1164" y="2997"/>
                </a:lnTo>
                <a:lnTo>
                  <a:pt x="1183" y="3014"/>
                </a:lnTo>
                <a:lnTo>
                  <a:pt x="1185" y="3016"/>
                </a:lnTo>
                <a:lnTo>
                  <a:pt x="1185" y="3020"/>
                </a:lnTo>
                <a:lnTo>
                  <a:pt x="1185" y="3023"/>
                </a:lnTo>
                <a:lnTo>
                  <a:pt x="1183" y="3027"/>
                </a:lnTo>
                <a:lnTo>
                  <a:pt x="1179" y="3033"/>
                </a:lnTo>
                <a:lnTo>
                  <a:pt x="1173" y="3037"/>
                </a:lnTo>
                <a:lnTo>
                  <a:pt x="1168" y="3039"/>
                </a:lnTo>
                <a:lnTo>
                  <a:pt x="1164" y="3039"/>
                </a:lnTo>
                <a:close/>
                <a:moveTo>
                  <a:pt x="1001" y="3558"/>
                </a:moveTo>
                <a:lnTo>
                  <a:pt x="1010" y="3543"/>
                </a:lnTo>
                <a:lnTo>
                  <a:pt x="1018" y="3528"/>
                </a:lnTo>
                <a:lnTo>
                  <a:pt x="1022" y="3520"/>
                </a:lnTo>
                <a:lnTo>
                  <a:pt x="1025" y="3511"/>
                </a:lnTo>
                <a:lnTo>
                  <a:pt x="1029" y="3492"/>
                </a:lnTo>
                <a:lnTo>
                  <a:pt x="1033" y="3476"/>
                </a:lnTo>
                <a:lnTo>
                  <a:pt x="1035" y="3459"/>
                </a:lnTo>
                <a:lnTo>
                  <a:pt x="1037" y="3442"/>
                </a:lnTo>
                <a:lnTo>
                  <a:pt x="1037" y="3427"/>
                </a:lnTo>
                <a:lnTo>
                  <a:pt x="1039" y="3423"/>
                </a:lnTo>
                <a:lnTo>
                  <a:pt x="1041" y="3420"/>
                </a:lnTo>
                <a:lnTo>
                  <a:pt x="1046" y="3418"/>
                </a:lnTo>
                <a:lnTo>
                  <a:pt x="1050" y="3418"/>
                </a:lnTo>
                <a:lnTo>
                  <a:pt x="1058" y="3420"/>
                </a:lnTo>
                <a:lnTo>
                  <a:pt x="1063" y="3423"/>
                </a:lnTo>
                <a:lnTo>
                  <a:pt x="1065" y="3425"/>
                </a:lnTo>
                <a:lnTo>
                  <a:pt x="1069" y="3431"/>
                </a:lnTo>
                <a:lnTo>
                  <a:pt x="1071" y="3437"/>
                </a:lnTo>
                <a:lnTo>
                  <a:pt x="1071" y="3444"/>
                </a:lnTo>
                <a:lnTo>
                  <a:pt x="1069" y="3463"/>
                </a:lnTo>
                <a:lnTo>
                  <a:pt x="1067" y="3482"/>
                </a:lnTo>
                <a:lnTo>
                  <a:pt x="1065" y="3501"/>
                </a:lnTo>
                <a:lnTo>
                  <a:pt x="1061" y="3518"/>
                </a:lnTo>
                <a:lnTo>
                  <a:pt x="1054" y="3535"/>
                </a:lnTo>
                <a:lnTo>
                  <a:pt x="1048" y="3550"/>
                </a:lnTo>
                <a:lnTo>
                  <a:pt x="1039" y="3564"/>
                </a:lnTo>
                <a:lnTo>
                  <a:pt x="1031" y="3579"/>
                </a:lnTo>
                <a:lnTo>
                  <a:pt x="1014" y="3569"/>
                </a:lnTo>
                <a:lnTo>
                  <a:pt x="1001" y="3558"/>
                </a:lnTo>
                <a:close/>
                <a:moveTo>
                  <a:pt x="938" y="3444"/>
                </a:moveTo>
                <a:lnTo>
                  <a:pt x="931" y="3444"/>
                </a:lnTo>
                <a:lnTo>
                  <a:pt x="927" y="3446"/>
                </a:lnTo>
                <a:lnTo>
                  <a:pt x="921" y="3448"/>
                </a:lnTo>
                <a:lnTo>
                  <a:pt x="914" y="3450"/>
                </a:lnTo>
                <a:lnTo>
                  <a:pt x="904" y="3459"/>
                </a:lnTo>
                <a:lnTo>
                  <a:pt x="895" y="3471"/>
                </a:lnTo>
                <a:lnTo>
                  <a:pt x="874" y="3452"/>
                </a:lnTo>
                <a:lnTo>
                  <a:pt x="872" y="3448"/>
                </a:lnTo>
                <a:lnTo>
                  <a:pt x="878" y="3442"/>
                </a:lnTo>
                <a:lnTo>
                  <a:pt x="885" y="3433"/>
                </a:lnTo>
                <a:lnTo>
                  <a:pt x="893" y="3429"/>
                </a:lnTo>
                <a:lnTo>
                  <a:pt x="902" y="3423"/>
                </a:lnTo>
                <a:lnTo>
                  <a:pt x="910" y="3418"/>
                </a:lnTo>
                <a:lnTo>
                  <a:pt x="921" y="3416"/>
                </a:lnTo>
                <a:lnTo>
                  <a:pt x="929" y="3414"/>
                </a:lnTo>
                <a:lnTo>
                  <a:pt x="940" y="3414"/>
                </a:lnTo>
                <a:lnTo>
                  <a:pt x="953" y="3414"/>
                </a:lnTo>
                <a:lnTo>
                  <a:pt x="957" y="3416"/>
                </a:lnTo>
                <a:lnTo>
                  <a:pt x="963" y="3418"/>
                </a:lnTo>
                <a:lnTo>
                  <a:pt x="972" y="3423"/>
                </a:lnTo>
                <a:lnTo>
                  <a:pt x="980" y="3429"/>
                </a:lnTo>
                <a:lnTo>
                  <a:pt x="986" y="3437"/>
                </a:lnTo>
                <a:lnTo>
                  <a:pt x="991" y="3448"/>
                </a:lnTo>
                <a:lnTo>
                  <a:pt x="993" y="3459"/>
                </a:lnTo>
                <a:lnTo>
                  <a:pt x="993" y="3471"/>
                </a:lnTo>
                <a:lnTo>
                  <a:pt x="993" y="3480"/>
                </a:lnTo>
                <a:lnTo>
                  <a:pt x="991" y="3486"/>
                </a:lnTo>
                <a:lnTo>
                  <a:pt x="989" y="3495"/>
                </a:lnTo>
                <a:lnTo>
                  <a:pt x="984" y="3503"/>
                </a:lnTo>
                <a:lnTo>
                  <a:pt x="980" y="3509"/>
                </a:lnTo>
                <a:lnTo>
                  <a:pt x="974" y="3518"/>
                </a:lnTo>
                <a:lnTo>
                  <a:pt x="967" y="3524"/>
                </a:lnTo>
                <a:lnTo>
                  <a:pt x="961" y="3531"/>
                </a:lnTo>
                <a:lnTo>
                  <a:pt x="934" y="3507"/>
                </a:lnTo>
                <a:lnTo>
                  <a:pt x="944" y="3499"/>
                </a:lnTo>
                <a:lnTo>
                  <a:pt x="950" y="3492"/>
                </a:lnTo>
                <a:lnTo>
                  <a:pt x="955" y="3488"/>
                </a:lnTo>
                <a:lnTo>
                  <a:pt x="957" y="3482"/>
                </a:lnTo>
                <a:lnTo>
                  <a:pt x="959" y="3478"/>
                </a:lnTo>
                <a:lnTo>
                  <a:pt x="961" y="3471"/>
                </a:lnTo>
                <a:lnTo>
                  <a:pt x="961" y="3465"/>
                </a:lnTo>
                <a:lnTo>
                  <a:pt x="961" y="3461"/>
                </a:lnTo>
                <a:lnTo>
                  <a:pt x="961" y="3456"/>
                </a:lnTo>
                <a:lnTo>
                  <a:pt x="959" y="3452"/>
                </a:lnTo>
                <a:lnTo>
                  <a:pt x="955" y="3450"/>
                </a:lnTo>
                <a:lnTo>
                  <a:pt x="953" y="3446"/>
                </a:lnTo>
                <a:lnTo>
                  <a:pt x="948" y="3444"/>
                </a:lnTo>
                <a:lnTo>
                  <a:pt x="938" y="3444"/>
                </a:lnTo>
                <a:close/>
                <a:moveTo>
                  <a:pt x="1164" y="3632"/>
                </a:moveTo>
                <a:lnTo>
                  <a:pt x="1160" y="3630"/>
                </a:lnTo>
                <a:lnTo>
                  <a:pt x="1152" y="3624"/>
                </a:lnTo>
                <a:lnTo>
                  <a:pt x="1135" y="3609"/>
                </a:lnTo>
                <a:lnTo>
                  <a:pt x="1113" y="3590"/>
                </a:lnTo>
                <a:lnTo>
                  <a:pt x="1096" y="3569"/>
                </a:lnTo>
                <a:lnTo>
                  <a:pt x="1088" y="3560"/>
                </a:lnTo>
                <a:lnTo>
                  <a:pt x="1084" y="3554"/>
                </a:lnTo>
                <a:lnTo>
                  <a:pt x="1080" y="3541"/>
                </a:lnTo>
                <a:lnTo>
                  <a:pt x="1077" y="3535"/>
                </a:lnTo>
                <a:lnTo>
                  <a:pt x="1077" y="3528"/>
                </a:lnTo>
                <a:lnTo>
                  <a:pt x="1077" y="3522"/>
                </a:lnTo>
                <a:lnTo>
                  <a:pt x="1080" y="3516"/>
                </a:lnTo>
                <a:lnTo>
                  <a:pt x="1084" y="3507"/>
                </a:lnTo>
                <a:lnTo>
                  <a:pt x="1088" y="3499"/>
                </a:lnTo>
                <a:lnTo>
                  <a:pt x="1101" y="3484"/>
                </a:lnTo>
                <a:lnTo>
                  <a:pt x="1118" y="3465"/>
                </a:lnTo>
                <a:lnTo>
                  <a:pt x="1160" y="3416"/>
                </a:lnTo>
                <a:lnTo>
                  <a:pt x="1166" y="3416"/>
                </a:lnTo>
                <a:lnTo>
                  <a:pt x="1173" y="3420"/>
                </a:lnTo>
                <a:lnTo>
                  <a:pt x="1177" y="3423"/>
                </a:lnTo>
                <a:lnTo>
                  <a:pt x="1181" y="3429"/>
                </a:lnTo>
                <a:lnTo>
                  <a:pt x="1183" y="3435"/>
                </a:lnTo>
                <a:lnTo>
                  <a:pt x="1181" y="3442"/>
                </a:lnTo>
                <a:lnTo>
                  <a:pt x="1179" y="3444"/>
                </a:lnTo>
                <a:lnTo>
                  <a:pt x="1177" y="3448"/>
                </a:lnTo>
                <a:lnTo>
                  <a:pt x="1147" y="3482"/>
                </a:lnTo>
                <a:lnTo>
                  <a:pt x="1130" y="3503"/>
                </a:lnTo>
                <a:lnTo>
                  <a:pt x="1118" y="3518"/>
                </a:lnTo>
                <a:lnTo>
                  <a:pt x="1113" y="3522"/>
                </a:lnTo>
                <a:lnTo>
                  <a:pt x="1113" y="3528"/>
                </a:lnTo>
                <a:lnTo>
                  <a:pt x="1113" y="3533"/>
                </a:lnTo>
                <a:lnTo>
                  <a:pt x="1118" y="3539"/>
                </a:lnTo>
                <a:lnTo>
                  <a:pt x="1128" y="3552"/>
                </a:lnTo>
                <a:lnTo>
                  <a:pt x="1145" y="3569"/>
                </a:lnTo>
                <a:lnTo>
                  <a:pt x="1164" y="3588"/>
                </a:lnTo>
                <a:lnTo>
                  <a:pt x="1183" y="3607"/>
                </a:lnTo>
                <a:lnTo>
                  <a:pt x="1185" y="3609"/>
                </a:lnTo>
                <a:lnTo>
                  <a:pt x="1185" y="3611"/>
                </a:lnTo>
                <a:lnTo>
                  <a:pt x="1185" y="3615"/>
                </a:lnTo>
                <a:lnTo>
                  <a:pt x="1183" y="3617"/>
                </a:lnTo>
                <a:lnTo>
                  <a:pt x="1179" y="3626"/>
                </a:lnTo>
                <a:lnTo>
                  <a:pt x="1173" y="3630"/>
                </a:lnTo>
                <a:lnTo>
                  <a:pt x="1168" y="3632"/>
                </a:lnTo>
                <a:lnTo>
                  <a:pt x="1164" y="3632"/>
                </a:lnTo>
                <a:close/>
                <a:moveTo>
                  <a:pt x="3215" y="2451"/>
                </a:moveTo>
                <a:lnTo>
                  <a:pt x="3205" y="2451"/>
                </a:lnTo>
                <a:lnTo>
                  <a:pt x="3196" y="2449"/>
                </a:lnTo>
                <a:lnTo>
                  <a:pt x="3188" y="2447"/>
                </a:lnTo>
                <a:lnTo>
                  <a:pt x="3179" y="2445"/>
                </a:lnTo>
                <a:lnTo>
                  <a:pt x="3171" y="2440"/>
                </a:lnTo>
                <a:lnTo>
                  <a:pt x="3165" y="2434"/>
                </a:lnTo>
                <a:lnTo>
                  <a:pt x="3158" y="2428"/>
                </a:lnTo>
                <a:lnTo>
                  <a:pt x="3152" y="2421"/>
                </a:lnTo>
                <a:lnTo>
                  <a:pt x="3146" y="2413"/>
                </a:lnTo>
                <a:lnTo>
                  <a:pt x="3139" y="2407"/>
                </a:lnTo>
                <a:lnTo>
                  <a:pt x="3131" y="2388"/>
                </a:lnTo>
                <a:lnTo>
                  <a:pt x="3129" y="2377"/>
                </a:lnTo>
                <a:lnTo>
                  <a:pt x="3126" y="2369"/>
                </a:lnTo>
                <a:lnTo>
                  <a:pt x="3124" y="2358"/>
                </a:lnTo>
                <a:lnTo>
                  <a:pt x="3124" y="2345"/>
                </a:lnTo>
                <a:lnTo>
                  <a:pt x="3124" y="2335"/>
                </a:lnTo>
                <a:lnTo>
                  <a:pt x="3126" y="2324"/>
                </a:lnTo>
                <a:lnTo>
                  <a:pt x="3129" y="2313"/>
                </a:lnTo>
                <a:lnTo>
                  <a:pt x="3133" y="2303"/>
                </a:lnTo>
                <a:lnTo>
                  <a:pt x="3135" y="2292"/>
                </a:lnTo>
                <a:lnTo>
                  <a:pt x="3141" y="2282"/>
                </a:lnTo>
                <a:lnTo>
                  <a:pt x="3146" y="2273"/>
                </a:lnTo>
                <a:lnTo>
                  <a:pt x="3152" y="2265"/>
                </a:lnTo>
                <a:lnTo>
                  <a:pt x="3158" y="2258"/>
                </a:lnTo>
                <a:lnTo>
                  <a:pt x="3167" y="2250"/>
                </a:lnTo>
                <a:lnTo>
                  <a:pt x="3175" y="2244"/>
                </a:lnTo>
                <a:lnTo>
                  <a:pt x="3184" y="2239"/>
                </a:lnTo>
                <a:lnTo>
                  <a:pt x="3192" y="2235"/>
                </a:lnTo>
                <a:lnTo>
                  <a:pt x="3201" y="2233"/>
                </a:lnTo>
                <a:lnTo>
                  <a:pt x="3211" y="2231"/>
                </a:lnTo>
                <a:lnTo>
                  <a:pt x="3222" y="2229"/>
                </a:lnTo>
                <a:lnTo>
                  <a:pt x="3232" y="2231"/>
                </a:lnTo>
                <a:lnTo>
                  <a:pt x="3239" y="2233"/>
                </a:lnTo>
                <a:lnTo>
                  <a:pt x="3243" y="2235"/>
                </a:lnTo>
                <a:lnTo>
                  <a:pt x="3253" y="2239"/>
                </a:lnTo>
                <a:lnTo>
                  <a:pt x="3260" y="2246"/>
                </a:lnTo>
                <a:lnTo>
                  <a:pt x="3266" y="2254"/>
                </a:lnTo>
                <a:lnTo>
                  <a:pt x="3270" y="2265"/>
                </a:lnTo>
                <a:lnTo>
                  <a:pt x="3273" y="2275"/>
                </a:lnTo>
                <a:lnTo>
                  <a:pt x="3275" y="2286"/>
                </a:lnTo>
                <a:lnTo>
                  <a:pt x="3275" y="2294"/>
                </a:lnTo>
                <a:lnTo>
                  <a:pt x="3273" y="2303"/>
                </a:lnTo>
                <a:lnTo>
                  <a:pt x="3270" y="2309"/>
                </a:lnTo>
                <a:lnTo>
                  <a:pt x="3268" y="2316"/>
                </a:lnTo>
                <a:lnTo>
                  <a:pt x="3264" y="2322"/>
                </a:lnTo>
                <a:lnTo>
                  <a:pt x="3260" y="2328"/>
                </a:lnTo>
                <a:lnTo>
                  <a:pt x="3249" y="2341"/>
                </a:lnTo>
                <a:lnTo>
                  <a:pt x="3243" y="2345"/>
                </a:lnTo>
                <a:lnTo>
                  <a:pt x="3237" y="2352"/>
                </a:lnTo>
                <a:lnTo>
                  <a:pt x="3222" y="2358"/>
                </a:lnTo>
                <a:lnTo>
                  <a:pt x="3215" y="2360"/>
                </a:lnTo>
                <a:lnTo>
                  <a:pt x="3207" y="2362"/>
                </a:lnTo>
                <a:lnTo>
                  <a:pt x="3192" y="2364"/>
                </a:lnTo>
                <a:lnTo>
                  <a:pt x="3186" y="2362"/>
                </a:lnTo>
                <a:lnTo>
                  <a:pt x="3184" y="2362"/>
                </a:lnTo>
                <a:lnTo>
                  <a:pt x="3182" y="2358"/>
                </a:lnTo>
                <a:lnTo>
                  <a:pt x="3179" y="2356"/>
                </a:lnTo>
                <a:lnTo>
                  <a:pt x="3177" y="2354"/>
                </a:lnTo>
                <a:lnTo>
                  <a:pt x="3175" y="2345"/>
                </a:lnTo>
                <a:lnTo>
                  <a:pt x="3177" y="2339"/>
                </a:lnTo>
                <a:lnTo>
                  <a:pt x="3179" y="2337"/>
                </a:lnTo>
                <a:lnTo>
                  <a:pt x="3182" y="2335"/>
                </a:lnTo>
                <a:lnTo>
                  <a:pt x="3194" y="2333"/>
                </a:lnTo>
                <a:lnTo>
                  <a:pt x="3205" y="2328"/>
                </a:lnTo>
                <a:lnTo>
                  <a:pt x="3215" y="2322"/>
                </a:lnTo>
                <a:lnTo>
                  <a:pt x="3226" y="2316"/>
                </a:lnTo>
                <a:lnTo>
                  <a:pt x="3232" y="2307"/>
                </a:lnTo>
                <a:lnTo>
                  <a:pt x="3237" y="2303"/>
                </a:lnTo>
                <a:lnTo>
                  <a:pt x="3239" y="2299"/>
                </a:lnTo>
                <a:lnTo>
                  <a:pt x="3241" y="2290"/>
                </a:lnTo>
                <a:lnTo>
                  <a:pt x="3243" y="2282"/>
                </a:lnTo>
                <a:lnTo>
                  <a:pt x="3243" y="2277"/>
                </a:lnTo>
                <a:lnTo>
                  <a:pt x="3241" y="2273"/>
                </a:lnTo>
                <a:lnTo>
                  <a:pt x="3239" y="2269"/>
                </a:lnTo>
                <a:lnTo>
                  <a:pt x="3237" y="2265"/>
                </a:lnTo>
                <a:lnTo>
                  <a:pt x="3232" y="2263"/>
                </a:lnTo>
                <a:lnTo>
                  <a:pt x="3228" y="2261"/>
                </a:lnTo>
                <a:lnTo>
                  <a:pt x="3218" y="2261"/>
                </a:lnTo>
                <a:lnTo>
                  <a:pt x="3207" y="2261"/>
                </a:lnTo>
                <a:lnTo>
                  <a:pt x="3203" y="2263"/>
                </a:lnTo>
                <a:lnTo>
                  <a:pt x="3196" y="2267"/>
                </a:lnTo>
                <a:lnTo>
                  <a:pt x="3192" y="2271"/>
                </a:lnTo>
                <a:lnTo>
                  <a:pt x="3188" y="2275"/>
                </a:lnTo>
                <a:lnTo>
                  <a:pt x="3177" y="2284"/>
                </a:lnTo>
                <a:lnTo>
                  <a:pt x="3173" y="2290"/>
                </a:lnTo>
                <a:lnTo>
                  <a:pt x="3169" y="2297"/>
                </a:lnTo>
                <a:lnTo>
                  <a:pt x="3162" y="2311"/>
                </a:lnTo>
                <a:lnTo>
                  <a:pt x="3160" y="2328"/>
                </a:lnTo>
                <a:lnTo>
                  <a:pt x="3158" y="2337"/>
                </a:lnTo>
                <a:lnTo>
                  <a:pt x="3158" y="2345"/>
                </a:lnTo>
                <a:lnTo>
                  <a:pt x="3158" y="2360"/>
                </a:lnTo>
                <a:lnTo>
                  <a:pt x="3160" y="2366"/>
                </a:lnTo>
                <a:lnTo>
                  <a:pt x="3162" y="2373"/>
                </a:lnTo>
                <a:lnTo>
                  <a:pt x="3167" y="2385"/>
                </a:lnTo>
                <a:lnTo>
                  <a:pt x="3173" y="2396"/>
                </a:lnTo>
                <a:lnTo>
                  <a:pt x="3182" y="2404"/>
                </a:lnTo>
                <a:lnTo>
                  <a:pt x="3188" y="2409"/>
                </a:lnTo>
                <a:lnTo>
                  <a:pt x="3192" y="2411"/>
                </a:lnTo>
                <a:lnTo>
                  <a:pt x="3203" y="2415"/>
                </a:lnTo>
                <a:lnTo>
                  <a:pt x="3209" y="2415"/>
                </a:lnTo>
                <a:lnTo>
                  <a:pt x="3215" y="2417"/>
                </a:lnTo>
                <a:lnTo>
                  <a:pt x="3228" y="2415"/>
                </a:lnTo>
                <a:lnTo>
                  <a:pt x="3241" y="2411"/>
                </a:lnTo>
                <a:lnTo>
                  <a:pt x="3245" y="2409"/>
                </a:lnTo>
                <a:lnTo>
                  <a:pt x="3251" y="2407"/>
                </a:lnTo>
                <a:lnTo>
                  <a:pt x="3262" y="2398"/>
                </a:lnTo>
                <a:lnTo>
                  <a:pt x="3270" y="2390"/>
                </a:lnTo>
                <a:lnTo>
                  <a:pt x="3279" y="2379"/>
                </a:lnTo>
                <a:lnTo>
                  <a:pt x="3287" y="2366"/>
                </a:lnTo>
                <a:lnTo>
                  <a:pt x="3294" y="2354"/>
                </a:lnTo>
                <a:lnTo>
                  <a:pt x="3300" y="2341"/>
                </a:lnTo>
                <a:lnTo>
                  <a:pt x="3306" y="2326"/>
                </a:lnTo>
                <a:lnTo>
                  <a:pt x="3311" y="2311"/>
                </a:lnTo>
                <a:lnTo>
                  <a:pt x="3313" y="2297"/>
                </a:lnTo>
                <a:lnTo>
                  <a:pt x="3317" y="2284"/>
                </a:lnTo>
                <a:lnTo>
                  <a:pt x="3317" y="2269"/>
                </a:lnTo>
                <a:lnTo>
                  <a:pt x="3319" y="2256"/>
                </a:lnTo>
                <a:lnTo>
                  <a:pt x="3317" y="2242"/>
                </a:lnTo>
                <a:lnTo>
                  <a:pt x="3319" y="2239"/>
                </a:lnTo>
                <a:lnTo>
                  <a:pt x="3323" y="2237"/>
                </a:lnTo>
                <a:lnTo>
                  <a:pt x="3325" y="2235"/>
                </a:lnTo>
                <a:lnTo>
                  <a:pt x="3332" y="2235"/>
                </a:lnTo>
                <a:lnTo>
                  <a:pt x="3340" y="2237"/>
                </a:lnTo>
                <a:lnTo>
                  <a:pt x="3342" y="2237"/>
                </a:lnTo>
                <a:lnTo>
                  <a:pt x="3347" y="2242"/>
                </a:lnTo>
                <a:lnTo>
                  <a:pt x="3351" y="2248"/>
                </a:lnTo>
                <a:lnTo>
                  <a:pt x="3351" y="2254"/>
                </a:lnTo>
                <a:lnTo>
                  <a:pt x="3351" y="2261"/>
                </a:lnTo>
                <a:lnTo>
                  <a:pt x="3351" y="2280"/>
                </a:lnTo>
                <a:lnTo>
                  <a:pt x="3349" y="2299"/>
                </a:lnTo>
                <a:lnTo>
                  <a:pt x="3345" y="2316"/>
                </a:lnTo>
                <a:lnTo>
                  <a:pt x="3340" y="2333"/>
                </a:lnTo>
                <a:lnTo>
                  <a:pt x="3336" y="2349"/>
                </a:lnTo>
                <a:lnTo>
                  <a:pt x="3330" y="2366"/>
                </a:lnTo>
                <a:lnTo>
                  <a:pt x="3321" y="2381"/>
                </a:lnTo>
                <a:lnTo>
                  <a:pt x="3313" y="2394"/>
                </a:lnTo>
                <a:lnTo>
                  <a:pt x="3302" y="2407"/>
                </a:lnTo>
                <a:lnTo>
                  <a:pt x="3298" y="2413"/>
                </a:lnTo>
                <a:lnTo>
                  <a:pt x="3294" y="2417"/>
                </a:lnTo>
                <a:lnTo>
                  <a:pt x="3281" y="2428"/>
                </a:lnTo>
                <a:lnTo>
                  <a:pt x="3270" y="2436"/>
                </a:lnTo>
                <a:lnTo>
                  <a:pt x="3258" y="2443"/>
                </a:lnTo>
                <a:lnTo>
                  <a:pt x="3243" y="2449"/>
                </a:lnTo>
                <a:lnTo>
                  <a:pt x="3230" y="2451"/>
                </a:lnTo>
                <a:lnTo>
                  <a:pt x="3215" y="2451"/>
                </a:lnTo>
                <a:close/>
                <a:moveTo>
                  <a:pt x="3446" y="2449"/>
                </a:moveTo>
                <a:lnTo>
                  <a:pt x="3440" y="2447"/>
                </a:lnTo>
                <a:lnTo>
                  <a:pt x="3431" y="2440"/>
                </a:lnTo>
                <a:lnTo>
                  <a:pt x="3414" y="2426"/>
                </a:lnTo>
                <a:lnTo>
                  <a:pt x="3395" y="2407"/>
                </a:lnTo>
                <a:lnTo>
                  <a:pt x="3376" y="2385"/>
                </a:lnTo>
                <a:lnTo>
                  <a:pt x="3370" y="2377"/>
                </a:lnTo>
                <a:lnTo>
                  <a:pt x="3366" y="2371"/>
                </a:lnTo>
                <a:lnTo>
                  <a:pt x="3359" y="2358"/>
                </a:lnTo>
                <a:lnTo>
                  <a:pt x="3357" y="2352"/>
                </a:lnTo>
                <a:lnTo>
                  <a:pt x="3357" y="2345"/>
                </a:lnTo>
                <a:lnTo>
                  <a:pt x="3359" y="2339"/>
                </a:lnTo>
                <a:lnTo>
                  <a:pt x="3361" y="2333"/>
                </a:lnTo>
                <a:lnTo>
                  <a:pt x="3364" y="2324"/>
                </a:lnTo>
                <a:lnTo>
                  <a:pt x="3370" y="2316"/>
                </a:lnTo>
                <a:lnTo>
                  <a:pt x="3381" y="2301"/>
                </a:lnTo>
                <a:lnTo>
                  <a:pt x="3400" y="2282"/>
                </a:lnTo>
                <a:lnTo>
                  <a:pt x="3442" y="2233"/>
                </a:lnTo>
                <a:lnTo>
                  <a:pt x="3446" y="2233"/>
                </a:lnTo>
                <a:lnTo>
                  <a:pt x="3452" y="2235"/>
                </a:lnTo>
                <a:lnTo>
                  <a:pt x="3459" y="2239"/>
                </a:lnTo>
                <a:lnTo>
                  <a:pt x="3463" y="2246"/>
                </a:lnTo>
                <a:lnTo>
                  <a:pt x="3463" y="2252"/>
                </a:lnTo>
                <a:lnTo>
                  <a:pt x="3461" y="2258"/>
                </a:lnTo>
                <a:lnTo>
                  <a:pt x="3461" y="2261"/>
                </a:lnTo>
                <a:lnTo>
                  <a:pt x="3459" y="2265"/>
                </a:lnTo>
                <a:lnTo>
                  <a:pt x="3429" y="2299"/>
                </a:lnTo>
                <a:lnTo>
                  <a:pt x="3410" y="2320"/>
                </a:lnTo>
                <a:lnTo>
                  <a:pt x="3397" y="2335"/>
                </a:lnTo>
                <a:lnTo>
                  <a:pt x="3395" y="2339"/>
                </a:lnTo>
                <a:lnTo>
                  <a:pt x="3393" y="2343"/>
                </a:lnTo>
                <a:lnTo>
                  <a:pt x="3395" y="2349"/>
                </a:lnTo>
                <a:lnTo>
                  <a:pt x="3397" y="2356"/>
                </a:lnTo>
                <a:lnTo>
                  <a:pt x="3408" y="2366"/>
                </a:lnTo>
                <a:lnTo>
                  <a:pt x="3425" y="2385"/>
                </a:lnTo>
                <a:lnTo>
                  <a:pt x="3444" y="2404"/>
                </a:lnTo>
                <a:lnTo>
                  <a:pt x="3463" y="2424"/>
                </a:lnTo>
                <a:lnTo>
                  <a:pt x="3465" y="2426"/>
                </a:lnTo>
                <a:lnTo>
                  <a:pt x="3467" y="2428"/>
                </a:lnTo>
                <a:lnTo>
                  <a:pt x="3465" y="2432"/>
                </a:lnTo>
                <a:lnTo>
                  <a:pt x="3465" y="2434"/>
                </a:lnTo>
                <a:lnTo>
                  <a:pt x="3459" y="2443"/>
                </a:lnTo>
                <a:lnTo>
                  <a:pt x="3452" y="2447"/>
                </a:lnTo>
                <a:lnTo>
                  <a:pt x="3448" y="2449"/>
                </a:lnTo>
                <a:lnTo>
                  <a:pt x="3446" y="2449"/>
                </a:lnTo>
                <a:close/>
                <a:moveTo>
                  <a:pt x="3215" y="3044"/>
                </a:moveTo>
                <a:lnTo>
                  <a:pt x="3205" y="3044"/>
                </a:lnTo>
                <a:lnTo>
                  <a:pt x="3196" y="3042"/>
                </a:lnTo>
                <a:lnTo>
                  <a:pt x="3188" y="3039"/>
                </a:lnTo>
                <a:lnTo>
                  <a:pt x="3179" y="3035"/>
                </a:lnTo>
                <a:lnTo>
                  <a:pt x="3171" y="3031"/>
                </a:lnTo>
                <a:lnTo>
                  <a:pt x="3165" y="3027"/>
                </a:lnTo>
                <a:lnTo>
                  <a:pt x="3158" y="3020"/>
                </a:lnTo>
                <a:lnTo>
                  <a:pt x="3152" y="3012"/>
                </a:lnTo>
                <a:lnTo>
                  <a:pt x="3146" y="3006"/>
                </a:lnTo>
                <a:lnTo>
                  <a:pt x="3139" y="2997"/>
                </a:lnTo>
                <a:lnTo>
                  <a:pt x="3131" y="2980"/>
                </a:lnTo>
                <a:lnTo>
                  <a:pt x="3129" y="2970"/>
                </a:lnTo>
                <a:lnTo>
                  <a:pt x="3126" y="2959"/>
                </a:lnTo>
                <a:lnTo>
                  <a:pt x="3124" y="2948"/>
                </a:lnTo>
                <a:lnTo>
                  <a:pt x="3124" y="2938"/>
                </a:lnTo>
                <a:lnTo>
                  <a:pt x="3124" y="2927"/>
                </a:lnTo>
                <a:lnTo>
                  <a:pt x="3126" y="2915"/>
                </a:lnTo>
                <a:lnTo>
                  <a:pt x="3129" y="2904"/>
                </a:lnTo>
                <a:lnTo>
                  <a:pt x="3133" y="2893"/>
                </a:lnTo>
                <a:lnTo>
                  <a:pt x="3135" y="2883"/>
                </a:lnTo>
                <a:lnTo>
                  <a:pt x="3141" y="2874"/>
                </a:lnTo>
                <a:lnTo>
                  <a:pt x="3146" y="2866"/>
                </a:lnTo>
                <a:lnTo>
                  <a:pt x="3152" y="2857"/>
                </a:lnTo>
                <a:lnTo>
                  <a:pt x="3158" y="2849"/>
                </a:lnTo>
                <a:lnTo>
                  <a:pt x="3167" y="2843"/>
                </a:lnTo>
                <a:lnTo>
                  <a:pt x="3175" y="2836"/>
                </a:lnTo>
                <a:lnTo>
                  <a:pt x="3184" y="2832"/>
                </a:lnTo>
                <a:lnTo>
                  <a:pt x="3192" y="2828"/>
                </a:lnTo>
                <a:lnTo>
                  <a:pt x="3201" y="2824"/>
                </a:lnTo>
                <a:lnTo>
                  <a:pt x="3211" y="2821"/>
                </a:lnTo>
                <a:lnTo>
                  <a:pt x="3222" y="2821"/>
                </a:lnTo>
                <a:lnTo>
                  <a:pt x="3232" y="2824"/>
                </a:lnTo>
                <a:lnTo>
                  <a:pt x="3239" y="2824"/>
                </a:lnTo>
                <a:lnTo>
                  <a:pt x="3243" y="2826"/>
                </a:lnTo>
                <a:lnTo>
                  <a:pt x="3253" y="2830"/>
                </a:lnTo>
                <a:lnTo>
                  <a:pt x="3260" y="2838"/>
                </a:lnTo>
                <a:lnTo>
                  <a:pt x="3266" y="2847"/>
                </a:lnTo>
                <a:lnTo>
                  <a:pt x="3270" y="2855"/>
                </a:lnTo>
                <a:lnTo>
                  <a:pt x="3273" y="2866"/>
                </a:lnTo>
                <a:lnTo>
                  <a:pt x="3275" y="2879"/>
                </a:lnTo>
                <a:lnTo>
                  <a:pt x="3275" y="2887"/>
                </a:lnTo>
                <a:lnTo>
                  <a:pt x="3273" y="2893"/>
                </a:lnTo>
                <a:lnTo>
                  <a:pt x="3270" y="2900"/>
                </a:lnTo>
                <a:lnTo>
                  <a:pt x="3268" y="2908"/>
                </a:lnTo>
                <a:lnTo>
                  <a:pt x="3264" y="2915"/>
                </a:lnTo>
                <a:lnTo>
                  <a:pt x="3260" y="2921"/>
                </a:lnTo>
                <a:lnTo>
                  <a:pt x="3249" y="2932"/>
                </a:lnTo>
                <a:lnTo>
                  <a:pt x="3243" y="2938"/>
                </a:lnTo>
                <a:lnTo>
                  <a:pt x="3237" y="2942"/>
                </a:lnTo>
                <a:lnTo>
                  <a:pt x="3222" y="2951"/>
                </a:lnTo>
                <a:lnTo>
                  <a:pt x="3215" y="2953"/>
                </a:lnTo>
                <a:lnTo>
                  <a:pt x="3207" y="2955"/>
                </a:lnTo>
                <a:lnTo>
                  <a:pt x="3192" y="2957"/>
                </a:lnTo>
                <a:lnTo>
                  <a:pt x="3186" y="2955"/>
                </a:lnTo>
                <a:lnTo>
                  <a:pt x="3184" y="2953"/>
                </a:lnTo>
                <a:lnTo>
                  <a:pt x="3182" y="2951"/>
                </a:lnTo>
                <a:lnTo>
                  <a:pt x="3179" y="2948"/>
                </a:lnTo>
                <a:lnTo>
                  <a:pt x="3177" y="2944"/>
                </a:lnTo>
                <a:lnTo>
                  <a:pt x="3175" y="2938"/>
                </a:lnTo>
                <a:lnTo>
                  <a:pt x="3177" y="2932"/>
                </a:lnTo>
                <a:lnTo>
                  <a:pt x="3179" y="2929"/>
                </a:lnTo>
                <a:lnTo>
                  <a:pt x="3182" y="2927"/>
                </a:lnTo>
                <a:lnTo>
                  <a:pt x="3194" y="2923"/>
                </a:lnTo>
                <a:lnTo>
                  <a:pt x="3205" y="2919"/>
                </a:lnTo>
                <a:lnTo>
                  <a:pt x="3215" y="2915"/>
                </a:lnTo>
                <a:lnTo>
                  <a:pt x="3226" y="2906"/>
                </a:lnTo>
                <a:lnTo>
                  <a:pt x="3232" y="2900"/>
                </a:lnTo>
                <a:lnTo>
                  <a:pt x="3237" y="2896"/>
                </a:lnTo>
                <a:lnTo>
                  <a:pt x="3239" y="2891"/>
                </a:lnTo>
                <a:lnTo>
                  <a:pt x="3241" y="2883"/>
                </a:lnTo>
                <a:lnTo>
                  <a:pt x="3243" y="2874"/>
                </a:lnTo>
                <a:lnTo>
                  <a:pt x="3243" y="2868"/>
                </a:lnTo>
                <a:lnTo>
                  <a:pt x="3241" y="2864"/>
                </a:lnTo>
                <a:lnTo>
                  <a:pt x="3239" y="2862"/>
                </a:lnTo>
                <a:lnTo>
                  <a:pt x="3237" y="2857"/>
                </a:lnTo>
                <a:lnTo>
                  <a:pt x="3232" y="2855"/>
                </a:lnTo>
                <a:lnTo>
                  <a:pt x="3228" y="2853"/>
                </a:lnTo>
                <a:lnTo>
                  <a:pt x="3218" y="2851"/>
                </a:lnTo>
                <a:lnTo>
                  <a:pt x="3207" y="2853"/>
                </a:lnTo>
                <a:lnTo>
                  <a:pt x="3203" y="2855"/>
                </a:lnTo>
                <a:lnTo>
                  <a:pt x="3196" y="2857"/>
                </a:lnTo>
                <a:lnTo>
                  <a:pt x="3192" y="2862"/>
                </a:lnTo>
                <a:lnTo>
                  <a:pt x="3188" y="2866"/>
                </a:lnTo>
                <a:lnTo>
                  <a:pt x="3177" y="2876"/>
                </a:lnTo>
                <a:lnTo>
                  <a:pt x="3173" y="2883"/>
                </a:lnTo>
                <a:lnTo>
                  <a:pt x="3169" y="2889"/>
                </a:lnTo>
                <a:lnTo>
                  <a:pt x="3162" y="2904"/>
                </a:lnTo>
                <a:lnTo>
                  <a:pt x="3160" y="2919"/>
                </a:lnTo>
                <a:lnTo>
                  <a:pt x="3158" y="2927"/>
                </a:lnTo>
                <a:lnTo>
                  <a:pt x="3158" y="2936"/>
                </a:lnTo>
                <a:lnTo>
                  <a:pt x="3158" y="2951"/>
                </a:lnTo>
                <a:lnTo>
                  <a:pt x="3160" y="2959"/>
                </a:lnTo>
                <a:lnTo>
                  <a:pt x="3162" y="2965"/>
                </a:lnTo>
                <a:lnTo>
                  <a:pt x="3167" y="2978"/>
                </a:lnTo>
                <a:lnTo>
                  <a:pt x="3173" y="2989"/>
                </a:lnTo>
                <a:lnTo>
                  <a:pt x="3182" y="2997"/>
                </a:lnTo>
                <a:lnTo>
                  <a:pt x="3188" y="2999"/>
                </a:lnTo>
                <a:lnTo>
                  <a:pt x="3192" y="3003"/>
                </a:lnTo>
                <a:lnTo>
                  <a:pt x="3203" y="3006"/>
                </a:lnTo>
                <a:lnTo>
                  <a:pt x="3209" y="3008"/>
                </a:lnTo>
                <a:lnTo>
                  <a:pt x="3215" y="3008"/>
                </a:lnTo>
                <a:lnTo>
                  <a:pt x="3228" y="3008"/>
                </a:lnTo>
                <a:lnTo>
                  <a:pt x="3241" y="3003"/>
                </a:lnTo>
                <a:lnTo>
                  <a:pt x="3245" y="3001"/>
                </a:lnTo>
                <a:lnTo>
                  <a:pt x="3251" y="2997"/>
                </a:lnTo>
                <a:lnTo>
                  <a:pt x="3262" y="2991"/>
                </a:lnTo>
                <a:lnTo>
                  <a:pt x="3270" y="2980"/>
                </a:lnTo>
                <a:lnTo>
                  <a:pt x="3279" y="2970"/>
                </a:lnTo>
                <a:lnTo>
                  <a:pt x="3287" y="2959"/>
                </a:lnTo>
                <a:lnTo>
                  <a:pt x="3294" y="2946"/>
                </a:lnTo>
                <a:lnTo>
                  <a:pt x="3300" y="2932"/>
                </a:lnTo>
                <a:lnTo>
                  <a:pt x="3306" y="2919"/>
                </a:lnTo>
                <a:lnTo>
                  <a:pt x="3311" y="2904"/>
                </a:lnTo>
                <a:lnTo>
                  <a:pt x="3313" y="2889"/>
                </a:lnTo>
                <a:lnTo>
                  <a:pt x="3317" y="2874"/>
                </a:lnTo>
                <a:lnTo>
                  <a:pt x="3317" y="2860"/>
                </a:lnTo>
                <a:lnTo>
                  <a:pt x="3319" y="2847"/>
                </a:lnTo>
                <a:lnTo>
                  <a:pt x="3317" y="2834"/>
                </a:lnTo>
                <a:lnTo>
                  <a:pt x="3319" y="2832"/>
                </a:lnTo>
                <a:lnTo>
                  <a:pt x="3323" y="2830"/>
                </a:lnTo>
                <a:lnTo>
                  <a:pt x="3325" y="2828"/>
                </a:lnTo>
                <a:lnTo>
                  <a:pt x="3332" y="2828"/>
                </a:lnTo>
                <a:lnTo>
                  <a:pt x="3340" y="2828"/>
                </a:lnTo>
                <a:lnTo>
                  <a:pt x="3342" y="2830"/>
                </a:lnTo>
                <a:lnTo>
                  <a:pt x="3347" y="2832"/>
                </a:lnTo>
                <a:lnTo>
                  <a:pt x="3351" y="2841"/>
                </a:lnTo>
                <a:lnTo>
                  <a:pt x="3351" y="2847"/>
                </a:lnTo>
                <a:lnTo>
                  <a:pt x="3351" y="2853"/>
                </a:lnTo>
                <a:lnTo>
                  <a:pt x="3351" y="2872"/>
                </a:lnTo>
                <a:lnTo>
                  <a:pt x="3349" y="2889"/>
                </a:lnTo>
                <a:lnTo>
                  <a:pt x="3345" y="2908"/>
                </a:lnTo>
                <a:lnTo>
                  <a:pt x="3340" y="2925"/>
                </a:lnTo>
                <a:lnTo>
                  <a:pt x="3336" y="2942"/>
                </a:lnTo>
                <a:lnTo>
                  <a:pt x="3330" y="2957"/>
                </a:lnTo>
                <a:lnTo>
                  <a:pt x="3321" y="2972"/>
                </a:lnTo>
                <a:lnTo>
                  <a:pt x="3313" y="2987"/>
                </a:lnTo>
                <a:lnTo>
                  <a:pt x="3302" y="2999"/>
                </a:lnTo>
                <a:lnTo>
                  <a:pt x="3298" y="3003"/>
                </a:lnTo>
                <a:lnTo>
                  <a:pt x="3294" y="3010"/>
                </a:lnTo>
                <a:lnTo>
                  <a:pt x="3281" y="3020"/>
                </a:lnTo>
                <a:lnTo>
                  <a:pt x="3270" y="3029"/>
                </a:lnTo>
                <a:lnTo>
                  <a:pt x="3258" y="3035"/>
                </a:lnTo>
                <a:lnTo>
                  <a:pt x="3243" y="3039"/>
                </a:lnTo>
                <a:lnTo>
                  <a:pt x="3230" y="3044"/>
                </a:lnTo>
                <a:lnTo>
                  <a:pt x="3215" y="3044"/>
                </a:lnTo>
                <a:close/>
                <a:moveTo>
                  <a:pt x="3446" y="3039"/>
                </a:moveTo>
                <a:lnTo>
                  <a:pt x="3440" y="3037"/>
                </a:lnTo>
                <a:lnTo>
                  <a:pt x="3431" y="3033"/>
                </a:lnTo>
                <a:lnTo>
                  <a:pt x="3414" y="3016"/>
                </a:lnTo>
                <a:lnTo>
                  <a:pt x="3395" y="2997"/>
                </a:lnTo>
                <a:lnTo>
                  <a:pt x="3376" y="2978"/>
                </a:lnTo>
                <a:lnTo>
                  <a:pt x="3370" y="2968"/>
                </a:lnTo>
                <a:lnTo>
                  <a:pt x="3366" y="2961"/>
                </a:lnTo>
                <a:lnTo>
                  <a:pt x="3359" y="2948"/>
                </a:lnTo>
                <a:lnTo>
                  <a:pt x="3357" y="2944"/>
                </a:lnTo>
                <a:lnTo>
                  <a:pt x="3357" y="2938"/>
                </a:lnTo>
                <a:lnTo>
                  <a:pt x="3359" y="2932"/>
                </a:lnTo>
                <a:lnTo>
                  <a:pt x="3361" y="2923"/>
                </a:lnTo>
                <a:lnTo>
                  <a:pt x="3364" y="2917"/>
                </a:lnTo>
                <a:lnTo>
                  <a:pt x="3370" y="2908"/>
                </a:lnTo>
                <a:lnTo>
                  <a:pt x="3381" y="2893"/>
                </a:lnTo>
                <a:lnTo>
                  <a:pt x="3400" y="2872"/>
                </a:lnTo>
                <a:lnTo>
                  <a:pt x="3442" y="2824"/>
                </a:lnTo>
                <a:lnTo>
                  <a:pt x="3446" y="2826"/>
                </a:lnTo>
                <a:lnTo>
                  <a:pt x="3452" y="2828"/>
                </a:lnTo>
                <a:lnTo>
                  <a:pt x="3459" y="2832"/>
                </a:lnTo>
                <a:lnTo>
                  <a:pt x="3463" y="2836"/>
                </a:lnTo>
                <a:lnTo>
                  <a:pt x="3463" y="2843"/>
                </a:lnTo>
                <a:lnTo>
                  <a:pt x="3461" y="2849"/>
                </a:lnTo>
                <a:lnTo>
                  <a:pt x="3461" y="2853"/>
                </a:lnTo>
                <a:lnTo>
                  <a:pt x="3459" y="2857"/>
                </a:lnTo>
                <a:lnTo>
                  <a:pt x="3429" y="2891"/>
                </a:lnTo>
                <a:lnTo>
                  <a:pt x="3410" y="2910"/>
                </a:lnTo>
                <a:lnTo>
                  <a:pt x="3397" y="2927"/>
                </a:lnTo>
                <a:lnTo>
                  <a:pt x="3395" y="2932"/>
                </a:lnTo>
                <a:lnTo>
                  <a:pt x="3393" y="2936"/>
                </a:lnTo>
                <a:lnTo>
                  <a:pt x="3395" y="2940"/>
                </a:lnTo>
                <a:lnTo>
                  <a:pt x="3397" y="2946"/>
                </a:lnTo>
                <a:lnTo>
                  <a:pt x="3408" y="2959"/>
                </a:lnTo>
                <a:lnTo>
                  <a:pt x="3425" y="2976"/>
                </a:lnTo>
                <a:lnTo>
                  <a:pt x="3444" y="2997"/>
                </a:lnTo>
                <a:lnTo>
                  <a:pt x="3463" y="3014"/>
                </a:lnTo>
                <a:lnTo>
                  <a:pt x="3465" y="3016"/>
                </a:lnTo>
                <a:lnTo>
                  <a:pt x="3467" y="3020"/>
                </a:lnTo>
                <a:lnTo>
                  <a:pt x="3465" y="3023"/>
                </a:lnTo>
                <a:lnTo>
                  <a:pt x="3465" y="3027"/>
                </a:lnTo>
                <a:lnTo>
                  <a:pt x="3459" y="3033"/>
                </a:lnTo>
                <a:lnTo>
                  <a:pt x="3452" y="3037"/>
                </a:lnTo>
                <a:lnTo>
                  <a:pt x="3448" y="3039"/>
                </a:lnTo>
                <a:lnTo>
                  <a:pt x="3446" y="3039"/>
                </a:lnTo>
                <a:close/>
                <a:moveTo>
                  <a:pt x="3215" y="3636"/>
                </a:moveTo>
                <a:lnTo>
                  <a:pt x="3205" y="3634"/>
                </a:lnTo>
                <a:lnTo>
                  <a:pt x="3196" y="3634"/>
                </a:lnTo>
                <a:lnTo>
                  <a:pt x="3188" y="3630"/>
                </a:lnTo>
                <a:lnTo>
                  <a:pt x="3179" y="3628"/>
                </a:lnTo>
                <a:lnTo>
                  <a:pt x="3171" y="3624"/>
                </a:lnTo>
                <a:lnTo>
                  <a:pt x="3165" y="3617"/>
                </a:lnTo>
                <a:lnTo>
                  <a:pt x="3158" y="3611"/>
                </a:lnTo>
                <a:lnTo>
                  <a:pt x="3152" y="3605"/>
                </a:lnTo>
                <a:lnTo>
                  <a:pt x="3146" y="3598"/>
                </a:lnTo>
                <a:lnTo>
                  <a:pt x="3139" y="3590"/>
                </a:lnTo>
                <a:lnTo>
                  <a:pt x="3131" y="3571"/>
                </a:lnTo>
                <a:lnTo>
                  <a:pt x="3129" y="3560"/>
                </a:lnTo>
                <a:lnTo>
                  <a:pt x="3126" y="3552"/>
                </a:lnTo>
                <a:lnTo>
                  <a:pt x="3124" y="3541"/>
                </a:lnTo>
                <a:lnTo>
                  <a:pt x="3124" y="3528"/>
                </a:lnTo>
                <a:lnTo>
                  <a:pt x="3124" y="3518"/>
                </a:lnTo>
                <a:lnTo>
                  <a:pt x="3126" y="3507"/>
                </a:lnTo>
                <a:lnTo>
                  <a:pt x="3129" y="3497"/>
                </a:lnTo>
                <a:lnTo>
                  <a:pt x="3133" y="3486"/>
                </a:lnTo>
                <a:lnTo>
                  <a:pt x="3135" y="3476"/>
                </a:lnTo>
                <a:lnTo>
                  <a:pt x="3141" y="3465"/>
                </a:lnTo>
                <a:lnTo>
                  <a:pt x="3146" y="3456"/>
                </a:lnTo>
                <a:lnTo>
                  <a:pt x="3152" y="3448"/>
                </a:lnTo>
                <a:lnTo>
                  <a:pt x="3158" y="3442"/>
                </a:lnTo>
                <a:lnTo>
                  <a:pt x="3167" y="3433"/>
                </a:lnTo>
                <a:lnTo>
                  <a:pt x="3175" y="3429"/>
                </a:lnTo>
                <a:lnTo>
                  <a:pt x="3184" y="3423"/>
                </a:lnTo>
                <a:lnTo>
                  <a:pt x="3192" y="3418"/>
                </a:lnTo>
                <a:lnTo>
                  <a:pt x="3201" y="3416"/>
                </a:lnTo>
                <a:lnTo>
                  <a:pt x="3211" y="3414"/>
                </a:lnTo>
                <a:lnTo>
                  <a:pt x="3222" y="3414"/>
                </a:lnTo>
                <a:lnTo>
                  <a:pt x="3232" y="3414"/>
                </a:lnTo>
                <a:lnTo>
                  <a:pt x="3239" y="3416"/>
                </a:lnTo>
                <a:lnTo>
                  <a:pt x="3243" y="3418"/>
                </a:lnTo>
                <a:lnTo>
                  <a:pt x="3253" y="3423"/>
                </a:lnTo>
                <a:lnTo>
                  <a:pt x="3260" y="3429"/>
                </a:lnTo>
                <a:lnTo>
                  <a:pt x="3266" y="3437"/>
                </a:lnTo>
                <a:lnTo>
                  <a:pt x="3270" y="3448"/>
                </a:lnTo>
                <a:lnTo>
                  <a:pt x="3273" y="3459"/>
                </a:lnTo>
                <a:lnTo>
                  <a:pt x="3275" y="3471"/>
                </a:lnTo>
                <a:lnTo>
                  <a:pt x="3275" y="3478"/>
                </a:lnTo>
                <a:lnTo>
                  <a:pt x="3273" y="3486"/>
                </a:lnTo>
                <a:lnTo>
                  <a:pt x="3270" y="3492"/>
                </a:lnTo>
                <a:lnTo>
                  <a:pt x="3268" y="3499"/>
                </a:lnTo>
                <a:lnTo>
                  <a:pt x="3264" y="3507"/>
                </a:lnTo>
                <a:lnTo>
                  <a:pt x="3260" y="3514"/>
                </a:lnTo>
                <a:lnTo>
                  <a:pt x="3249" y="3524"/>
                </a:lnTo>
                <a:lnTo>
                  <a:pt x="3243" y="3528"/>
                </a:lnTo>
                <a:lnTo>
                  <a:pt x="3237" y="3535"/>
                </a:lnTo>
                <a:lnTo>
                  <a:pt x="3222" y="3541"/>
                </a:lnTo>
                <a:lnTo>
                  <a:pt x="3215" y="3543"/>
                </a:lnTo>
                <a:lnTo>
                  <a:pt x="3207" y="3545"/>
                </a:lnTo>
                <a:lnTo>
                  <a:pt x="3192" y="3547"/>
                </a:lnTo>
                <a:lnTo>
                  <a:pt x="3186" y="3545"/>
                </a:lnTo>
                <a:lnTo>
                  <a:pt x="3184" y="3545"/>
                </a:lnTo>
                <a:lnTo>
                  <a:pt x="3182" y="3543"/>
                </a:lnTo>
                <a:lnTo>
                  <a:pt x="3179" y="3539"/>
                </a:lnTo>
                <a:lnTo>
                  <a:pt x="3177" y="3537"/>
                </a:lnTo>
                <a:lnTo>
                  <a:pt x="3175" y="3528"/>
                </a:lnTo>
                <a:lnTo>
                  <a:pt x="3177" y="3522"/>
                </a:lnTo>
                <a:lnTo>
                  <a:pt x="3179" y="3520"/>
                </a:lnTo>
                <a:lnTo>
                  <a:pt x="3182" y="3518"/>
                </a:lnTo>
                <a:lnTo>
                  <a:pt x="3194" y="3516"/>
                </a:lnTo>
                <a:lnTo>
                  <a:pt x="3205" y="3511"/>
                </a:lnTo>
                <a:lnTo>
                  <a:pt x="3215" y="3505"/>
                </a:lnTo>
                <a:lnTo>
                  <a:pt x="3226" y="3499"/>
                </a:lnTo>
                <a:lnTo>
                  <a:pt x="3232" y="3490"/>
                </a:lnTo>
                <a:lnTo>
                  <a:pt x="3237" y="3486"/>
                </a:lnTo>
                <a:lnTo>
                  <a:pt x="3239" y="3482"/>
                </a:lnTo>
                <a:lnTo>
                  <a:pt x="3241" y="3473"/>
                </a:lnTo>
                <a:lnTo>
                  <a:pt x="3243" y="3465"/>
                </a:lnTo>
                <a:lnTo>
                  <a:pt x="3243" y="3461"/>
                </a:lnTo>
                <a:lnTo>
                  <a:pt x="3241" y="3456"/>
                </a:lnTo>
                <a:lnTo>
                  <a:pt x="3239" y="3452"/>
                </a:lnTo>
                <a:lnTo>
                  <a:pt x="3237" y="3450"/>
                </a:lnTo>
                <a:lnTo>
                  <a:pt x="3232" y="3446"/>
                </a:lnTo>
                <a:lnTo>
                  <a:pt x="3228" y="3444"/>
                </a:lnTo>
                <a:lnTo>
                  <a:pt x="3218" y="3444"/>
                </a:lnTo>
                <a:lnTo>
                  <a:pt x="3207" y="3446"/>
                </a:lnTo>
                <a:lnTo>
                  <a:pt x="3203" y="3448"/>
                </a:lnTo>
                <a:lnTo>
                  <a:pt x="3196" y="3450"/>
                </a:lnTo>
                <a:lnTo>
                  <a:pt x="3192" y="3454"/>
                </a:lnTo>
                <a:lnTo>
                  <a:pt x="3188" y="3459"/>
                </a:lnTo>
                <a:lnTo>
                  <a:pt x="3177" y="3469"/>
                </a:lnTo>
                <a:lnTo>
                  <a:pt x="3173" y="3473"/>
                </a:lnTo>
                <a:lnTo>
                  <a:pt x="3169" y="3480"/>
                </a:lnTo>
                <a:lnTo>
                  <a:pt x="3162" y="3495"/>
                </a:lnTo>
                <a:lnTo>
                  <a:pt x="3160" y="3511"/>
                </a:lnTo>
                <a:lnTo>
                  <a:pt x="3158" y="3520"/>
                </a:lnTo>
                <a:lnTo>
                  <a:pt x="3158" y="3528"/>
                </a:lnTo>
                <a:lnTo>
                  <a:pt x="3158" y="3543"/>
                </a:lnTo>
                <a:lnTo>
                  <a:pt x="3160" y="3550"/>
                </a:lnTo>
                <a:lnTo>
                  <a:pt x="3162" y="3556"/>
                </a:lnTo>
                <a:lnTo>
                  <a:pt x="3167" y="3569"/>
                </a:lnTo>
                <a:lnTo>
                  <a:pt x="3173" y="3579"/>
                </a:lnTo>
                <a:lnTo>
                  <a:pt x="3182" y="3588"/>
                </a:lnTo>
                <a:lnTo>
                  <a:pt x="3188" y="3592"/>
                </a:lnTo>
                <a:lnTo>
                  <a:pt x="3192" y="3594"/>
                </a:lnTo>
                <a:lnTo>
                  <a:pt x="3203" y="3598"/>
                </a:lnTo>
                <a:lnTo>
                  <a:pt x="3209" y="3598"/>
                </a:lnTo>
                <a:lnTo>
                  <a:pt x="3215" y="3600"/>
                </a:lnTo>
                <a:lnTo>
                  <a:pt x="3228" y="3598"/>
                </a:lnTo>
                <a:lnTo>
                  <a:pt x="3241" y="3594"/>
                </a:lnTo>
                <a:lnTo>
                  <a:pt x="3245" y="3592"/>
                </a:lnTo>
                <a:lnTo>
                  <a:pt x="3251" y="3590"/>
                </a:lnTo>
                <a:lnTo>
                  <a:pt x="3262" y="3581"/>
                </a:lnTo>
                <a:lnTo>
                  <a:pt x="3270" y="3573"/>
                </a:lnTo>
                <a:lnTo>
                  <a:pt x="3279" y="3562"/>
                </a:lnTo>
                <a:lnTo>
                  <a:pt x="3287" y="3550"/>
                </a:lnTo>
                <a:lnTo>
                  <a:pt x="3294" y="3537"/>
                </a:lnTo>
                <a:lnTo>
                  <a:pt x="3300" y="3524"/>
                </a:lnTo>
                <a:lnTo>
                  <a:pt x="3306" y="3509"/>
                </a:lnTo>
                <a:lnTo>
                  <a:pt x="3311" y="3495"/>
                </a:lnTo>
                <a:lnTo>
                  <a:pt x="3313" y="3482"/>
                </a:lnTo>
                <a:lnTo>
                  <a:pt x="3317" y="3467"/>
                </a:lnTo>
                <a:lnTo>
                  <a:pt x="3317" y="3452"/>
                </a:lnTo>
                <a:lnTo>
                  <a:pt x="3319" y="3440"/>
                </a:lnTo>
                <a:lnTo>
                  <a:pt x="3317" y="3427"/>
                </a:lnTo>
                <a:lnTo>
                  <a:pt x="3319" y="3423"/>
                </a:lnTo>
                <a:lnTo>
                  <a:pt x="3323" y="3420"/>
                </a:lnTo>
                <a:lnTo>
                  <a:pt x="3325" y="3418"/>
                </a:lnTo>
                <a:lnTo>
                  <a:pt x="3332" y="3418"/>
                </a:lnTo>
                <a:lnTo>
                  <a:pt x="3340" y="3420"/>
                </a:lnTo>
                <a:lnTo>
                  <a:pt x="3342" y="3423"/>
                </a:lnTo>
                <a:lnTo>
                  <a:pt x="3347" y="3425"/>
                </a:lnTo>
                <a:lnTo>
                  <a:pt x="3351" y="3431"/>
                </a:lnTo>
                <a:lnTo>
                  <a:pt x="3351" y="3437"/>
                </a:lnTo>
                <a:lnTo>
                  <a:pt x="3351" y="3444"/>
                </a:lnTo>
                <a:lnTo>
                  <a:pt x="3351" y="3463"/>
                </a:lnTo>
                <a:lnTo>
                  <a:pt x="3349" y="3482"/>
                </a:lnTo>
                <a:lnTo>
                  <a:pt x="3345" y="3499"/>
                </a:lnTo>
                <a:lnTo>
                  <a:pt x="3340" y="3518"/>
                </a:lnTo>
                <a:lnTo>
                  <a:pt x="3336" y="3533"/>
                </a:lnTo>
                <a:lnTo>
                  <a:pt x="3330" y="3550"/>
                </a:lnTo>
                <a:lnTo>
                  <a:pt x="3321" y="3564"/>
                </a:lnTo>
                <a:lnTo>
                  <a:pt x="3313" y="3577"/>
                </a:lnTo>
                <a:lnTo>
                  <a:pt x="3302" y="3590"/>
                </a:lnTo>
                <a:lnTo>
                  <a:pt x="3298" y="3596"/>
                </a:lnTo>
                <a:lnTo>
                  <a:pt x="3294" y="3603"/>
                </a:lnTo>
                <a:lnTo>
                  <a:pt x="3281" y="3611"/>
                </a:lnTo>
                <a:lnTo>
                  <a:pt x="3270" y="3619"/>
                </a:lnTo>
                <a:lnTo>
                  <a:pt x="3258" y="3626"/>
                </a:lnTo>
                <a:lnTo>
                  <a:pt x="3243" y="3632"/>
                </a:lnTo>
                <a:lnTo>
                  <a:pt x="3230" y="3634"/>
                </a:lnTo>
                <a:lnTo>
                  <a:pt x="3215" y="3636"/>
                </a:lnTo>
                <a:close/>
                <a:moveTo>
                  <a:pt x="3446" y="3632"/>
                </a:moveTo>
                <a:lnTo>
                  <a:pt x="3440" y="3630"/>
                </a:lnTo>
                <a:lnTo>
                  <a:pt x="3431" y="3624"/>
                </a:lnTo>
                <a:lnTo>
                  <a:pt x="3414" y="3609"/>
                </a:lnTo>
                <a:lnTo>
                  <a:pt x="3395" y="3590"/>
                </a:lnTo>
                <a:lnTo>
                  <a:pt x="3376" y="3569"/>
                </a:lnTo>
                <a:lnTo>
                  <a:pt x="3370" y="3560"/>
                </a:lnTo>
                <a:lnTo>
                  <a:pt x="3366" y="3554"/>
                </a:lnTo>
                <a:lnTo>
                  <a:pt x="3359" y="3541"/>
                </a:lnTo>
                <a:lnTo>
                  <a:pt x="3357" y="3535"/>
                </a:lnTo>
                <a:lnTo>
                  <a:pt x="3357" y="3528"/>
                </a:lnTo>
                <a:lnTo>
                  <a:pt x="3359" y="3522"/>
                </a:lnTo>
                <a:lnTo>
                  <a:pt x="3361" y="3516"/>
                </a:lnTo>
                <a:lnTo>
                  <a:pt x="3364" y="3507"/>
                </a:lnTo>
                <a:lnTo>
                  <a:pt x="3370" y="3499"/>
                </a:lnTo>
                <a:lnTo>
                  <a:pt x="3381" y="3484"/>
                </a:lnTo>
                <a:lnTo>
                  <a:pt x="3400" y="3465"/>
                </a:lnTo>
                <a:lnTo>
                  <a:pt x="3442" y="3416"/>
                </a:lnTo>
                <a:lnTo>
                  <a:pt x="3446" y="3416"/>
                </a:lnTo>
                <a:lnTo>
                  <a:pt x="3452" y="3420"/>
                </a:lnTo>
                <a:lnTo>
                  <a:pt x="3459" y="3423"/>
                </a:lnTo>
                <a:lnTo>
                  <a:pt x="3463" y="3429"/>
                </a:lnTo>
                <a:lnTo>
                  <a:pt x="3463" y="3435"/>
                </a:lnTo>
                <a:lnTo>
                  <a:pt x="3461" y="3442"/>
                </a:lnTo>
                <a:lnTo>
                  <a:pt x="3461" y="3444"/>
                </a:lnTo>
                <a:lnTo>
                  <a:pt x="3459" y="3448"/>
                </a:lnTo>
                <a:lnTo>
                  <a:pt x="3429" y="3482"/>
                </a:lnTo>
                <a:lnTo>
                  <a:pt x="3410" y="3503"/>
                </a:lnTo>
                <a:lnTo>
                  <a:pt x="3397" y="3518"/>
                </a:lnTo>
                <a:lnTo>
                  <a:pt x="3395" y="3522"/>
                </a:lnTo>
                <a:lnTo>
                  <a:pt x="3393" y="3528"/>
                </a:lnTo>
                <a:lnTo>
                  <a:pt x="3395" y="3533"/>
                </a:lnTo>
                <a:lnTo>
                  <a:pt x="3397" y="3539"/>
                </a:lnTo>
                <a:lnTo>
                  <a:pt x="3408" y="3552"/>
                </a:lnTo>
                <a:lnTo>
                  <a:pt x="3425" y="3569"/>
                </a:lnTo>
                <a:lnTo>
                  <a:pt x="3444" y="3588"/>
                </a:lnTo>
                <a:lnTo>
                  <a:pt x="3463" y="3607"/>
                </a:lnTo>
                <a:lnTo>
                  <a:pt x="3465" y="3609"/>
                </a:lnTo>
                <a:lnTo>
                  <a:pt x="3467" y="3611"/>
                </a:lnTo>
                <a:lnTo>
                  <a:pt x="3465" y="3615"/>
                </a:lnTo>
                <a:lnTo>
                  <a:pt x="3465" y="3617"/>
                </a:lnTo>
                <a:lnTo>
                  <a:pt x="3459" y="3626"/>
                </a:lnTo>
                <a:lnTo>
                  <a:pt x="3452" y="3630"/>
                </a:lnTo>
                <a:lnTo>
                  <a:pt x="3448" y="3632"/>
                </a:lnTo>
                <a:lnTo>
                  <a:pt x="3446" y="3632"/>
                </a:lnTo>
                <a:close/>
                <a:moveTo>
                  <a:pt x="1380" y="2451"/>
                </a:moveTo>
                <a:lnTo>
                  <a:pt x="1370" y="2451"/>
                </a:lnTo>
                <a:lnTo>
                  <a:pt x="1361" y="2449"/>
                </a:lnTo>
                <a:lnTo>
                  <a:pt x="1353" y="2447"/>
                </a:lnTo>
                <a:lnTo>
                  <a:pt x="1344" y="2445"/>
                </a:lnTo>
                <a:lnTo>
                  <a:pt x="1336" y="2440"/>
                </a:lnTo>
                <a:lnTo>
                  <a:pt x="1329" y="2434"/>
                </a:lnTo>
                <a:lnTo>
                  <a:pt x="1323" y="2428"/>
                </a:lnTo>
                <a:lnTo>
                  <a:pt x="1315" y="2421"/>
                </a:lnTo>
                <a:lnTo>
                  <a:pt x="1310" y="2413"/>
                </a:lnTo>
                <a:lnTo>
                  <a:pt x="1304" y="2407"/>
                </a:lnTo>
                <a:lnTo>
                  <a:pt x="1295" y="2388"/>
                </a:lnTo>
                <a:lnTo>
                  <a:pt x="1293" y="2377"/>
                </a:lnTo>
                <a:lnTo>
                  <a:pt x="1291" y="2369"/>
                </a:lnTo>
                <a:lnTo>
                  <a:pt x="1289" y="2358"/>
                </a:lnTo>
                <a:lnTo>
                  <a:pt x="1289" y="2345"/>
                </a:lnTo>
                <a:lnTo>
                  <a:pt x="1289" y="2335"/>
                </a:lnTo>
                <a:lnTo>
                  <a:pt x="1291" y="2324"/>
                </a:lnTo>
                <a:lnTo>
                  <a:pt x="1293" y="2313"/>
                </a:lnTo>
                <a:lnTo>
                  <a:pt x="1295" y="2303"/>
                </a:lnTo>
                <a:lnTo>
                  <a:pt x="1300" y="2292"/>
                </a:lnTo>
                <a:lnTo>
                  <a:pt x="1306" y="2282"/>
                </a:lnTo>
                <a:lnTo>
                  <a:pt x="1310" y="2273"/>
                </a:lnTo>
                <a:lnTo>
                  <a:pt x="1317" y="2265"/>
                </a:lnTo>
                <a:lnTo>
                  <a:pt x="1323" y="2258"/>
                </a:lnTo>
                <a:lnTo>
                  <a:pt x="1331" y="2250"/>
                </a:lnTo>
                <a:lnTo>
                  <a:pt x="1340" y="2244"/>
                </a:lnTo>
                <a:lnTo>
                  <a:pt x="1348" y="2239"/>
                </a:lnTo>
                <a:lnTo>
                  <a:pt x="1357" y="2235"/>
                </a:lnTo>
                <a:lnTo>
                  <a:pt x="1365" y="2233"/>
                </a:lnTo>
                <a:lnTo>
                  <a:pt x="1376" y="2231"/>
                </a:lnTo>
                <a:lnTo>
                  <a:pt x="1384" y="2229"/>
                </a:lnTo>
                <a:lnTo>
                  <a:pt x="1397" y="2231"/>
                </a:lnTo>
                <a:lnTo>
                  <a:pt x="1403" y="2233"/>
                </a:lnTo>
                <a:lnTo>
                  <a:pt x="1408" y="2235"/>
                </a:lnTo>
                <a:lnTo>
                  <a:pt x="1416" y="2239"/>
                </a:lnTo>
                <a:lnTo>
                  <a:pt x="1425" y="2246"/>
                </a:lnTo>
                <a:lnTo>
                  <a:pt x="1431" y="2254"/>
                </a:lnTo>
                <a:lnTo>
                  <a:pt x="1435" y="2265"/>
                </a:lnTo>
                <a:lnTo>
                  <a:pt x="1437" y="2275"/>
                </a:lnTo>
                <a:lnTo>
                  <a:pt x="1439" y="2286"/>
                </a:lnTo>
                <a:lnTo>
                  <a:pt x="1439" y="2294"/>
                </a:lnTo>
                <a:lnTo>
                  <a:pt x="1437" y="2303"/>
                </a:lnTo>
                <a:lnTo>
                  <a:pt x="1435" y="2309"/>
                </a:lnTo>
                <a:lnTo>
                  <a:pt x="1431" y="2316"/>
                </a:lnTo>
                <a:lnTo>
                  <a:pt x="1429" y="2322"/>
                </a:lnTo>
                <a:lnTo>
                  <a:pt x="1425" y="2328"/>
                </a:lnTo>
                <a:lnTo>
                  <a:pt x="1414" y="2341"/>
                </a:lnTo>
                <a:lnTo>
                  <a:pt x="1408" y="2345"/>
                </a:lnTo>
                <a:lnTo>
                  <a:pt x="1401" y="2352"/>
                </a:lnTo>
                <a:lnTo>
                  <a:pt x="1386" y="2358"/>
                </a:lnTo>
                <a:lnTo>
                  <a:pt x="1380" y="2360"/>
                </a:lnTo>
                <a:lnTo>
                  <a:pt x="1372" y="2362"/>
                </a:lnTo>
                <a:lnTo>
                  <a:pt x="1357" y="2364"/>
                </a:lnTo>
                <a:lnTo>
                  <a:pt x="1351" y="2362"/>
                </a:lnTo>
                <a:lnTo>
                  <a:pt x="1348" y="2362"/>
                </a:lnTo>
                <a:lnTo>
                  <a:pt x="1346" y="2358"/>
                </a:lnTo>
                <a:lnTo>
                  <a:pt x="1344" y="2356"/>
                </a:lnTo>
                <a:lnTo>
                  <a:pt x="1342" y="2354"/>
                </a:lnTo>
                <a:lnTo>
                  <a:pt x="1340" y="2345"/>
                </a:lnTo>
                <a:lnTo>
                  <a:pt x="1342" y="2339"/>
                </a:lnTo>
                <a:lnTo>
                  <a:pt x="1344" y="2337"/>
                </a:lnTo>
                <a:lnTo>
                  <a:pt x="1344" y="2335"/>
                </a:lnTo>
                <a:lnTo>
                  <a:pt x="1359" y="2333"/>
                </a:lnTo>
                <a:lnTo>
                  <a:pt x="1370" y="2328"/>
                </a:lnTo>
                <a:lnTo>
                  <a:pt x="1380" y="2322"/>
                </a:lnTo>
                <a:lnTo>
                  <a:pt x="1391" y="2316"/>
                </a:lnTo>
                <a:lnTo>
                  <a:pt x="1397" y="2307"/>
                </a:lnTo>
                <a:lnTo>
                  <a:pt x="1399" y="2303"/>
                </a:lnTo>
                <a:lnTo>
                  <a:pt x="1403" y="2299"/>
                </a:lnTo>
                <a:lnTo>
                  <a:pt x="1406" y="2290"/>
                </a:lnTo>
                <a:lnTo>
                  <a:pt x="1408" y="2282"/>
                </a:lnTo>
                <a:lnTo>
                  <a:pt x="1408" y="2277"/>
                </a:lnTo>
                <a:lnTo>
                  <a:pt x="1406" y="2273"/>
                </a:lnTo>
                <a:lnTo>
                  <a:pt x="1403" y="2269"/>
                </a:lnTo>
                <a:lnTo>
                  <a:pt x="1401" y="2265"/>
                </a:lnTo>
                <a:lnTo>
                  <a:pt x="1397" y="2263"/>
                </a:lnTo>
                <a:lnTo>
                  <a:pt x="1393" y="2261"/>
                </a:lnTo>
                <a:lnTo>
                  <a:pt x="1382" y="2261"/>
                </a:lnTo>
                <a:lnTo>
                  <a:pt x="1372" y="2261"/>
                </a:lnTo>
                <a:lnTo>
                  <a:pt x="1367" y="2263"/>
                </a:lnTo>
                <a:lnTo>
                  <a:pt x="1361" y="2267"/>
                </a:lnTo>
                <a:lnTo>
                  <a:pt x="1357" y="2271"/>
                </a:lnTo>
                <a:lnTo>
                  <a:pt x="1351" y="2275"/>
                </a:lnTo>
                <a:lnTo>
                  <a:pt x="1342" y="2284"/>
                </a:lnTo>
                <a:lnTo>
                  <a:pt x="1338" y="2290"/>
                </a:lnTo>
                <a:lnTo>
                  <a:pt x="1334" y="2297"/>
                </a:lnTo>
                <a:lnTo>
                  <a:pt x="1327" y="2311"/>
                </a:lnTo>
                <a:lnTo>
                  <a:pt x="1325" y="2328"/>
                </a:lnTo>
                <a:lnTo>
                  <a:pt x="1323" y="2337"/>
                </a:lnTo>
                <a:lnTo>
                  <a:pt x="1323" y="2345"/>
                </a:lnTo>
                <a:lnTo>
                  <a:pt x="1323" y="2360"/>
                </a:lnTo>
                <a:lnTo>
                  <a:pt x="1325" y="2366"/>
                </a:lnTo>
                <a:lnTo>
                  <a:pt x="1327" y="2373"/>
                </a:lnTo>
                <a:lnTo>
                  <a:pt x="1331" y="2385"/>
                </a:lnTo>
                <a:lnTo>
                  <a:pt x="1338" y="2396"/>
                </a:lnTo>
                <a:lnTo>
                  <a:pt x="1346" y="2404"/>
                </a:lnTo>
                <a:lnTo>
                  <a:pt x="1353" y="2409"/>
                </a:lnTo>
                <a:lnTo>
                  <a:pt x="1357" y="2411"/>
                </a:lnTo>
                <a:lnTo>
                  <a:pt x="1367" y="2415"/>
                </a:lnTo>
                <a:lnTo>
                  <a:pt x="1374" y="2415"/>
                </a:lnTo>
                <a:lnTo>
                  <a:pt x="1380" y="2417"/>
                </a:lnTo>
                <a:lnTo>
                  <a:pt x="1393" y="2415"/>
                </a:lnTo>
                <a:lnTo>
                  <a:pt x="1406" y="2411"/>
                </a:lnTo>
                <a:lnTo>
                  <a:pt x="1410" y="2409"/>
                </a:lnTo>
                <a:lnTo>
                  <a:pt x="1416" y="2407"/>
                </a:lnTo>
                <a:lnTo>
                  <a:pt x="1427" y="2398"/>
                </a:lnTo>
                <a:lnTo>
                  <a:pt x="1435" y="2390"/>
                </a:lnTo>
                <a:lnTo>
                  <a:pt x="1444" y="2379"/>
                </a:lnTo>
                <a:lnTo>
                  <a:pt x="1452" y="2366"/>
                </a:lnTo>
                <a:lnTo>
                  <a:pt x="1458" y="2354"/>
                </a:lnTo>
                <a:lnTo>
                  <a:pt x="1465" y="2341"/>
                </a:lnTo>
                <a:lnTo>
                  <a:pt x="1471" y="2326"/>
                </a:lnTo>
                <a:lnTo>
                  <a:pt x="1475" y="2311"/>
                </a:lnTo>
                <a:lnTo>
                  <a:pt x="1478" y="2297"/>
                </a:lnTo>
                <a:lnTo>
                  <a:pt x="1482" y="2284"/>
                </a:lnTo>
                <a:lnTo>
                  <a:pt x="1482" y="2269"/>
                </a:lnTo>
                <a:lnTo>
                  <a:pt x="1484" y="2256"/>
                </a:lnTo>
                <a:lnTo>
                  <a:pt x="1482" y="2242"/>
                </a:lnTo>
                <a:lnTo>
                  <a:pt x="1484" y="2239"/>
                </a:lnTo>
                <a:lnTo>
                  <a:pt x="1488" y="2237"/>
                </a:lnTo>
                <a:lnTo>
                  <a:pt x="1490" y="2235"/>
                </a:lnTo>
                <a:lnTo>
                  <a:pt x="1497" y="2235"/>
                </a:lnTo>
                <a:lnTo>
                  <a:pt x="1505" y="2237"/>
                </a:lnTo>
                <a:lnTo>
                  <a:pt x="1507" y="2237"/>
                </a:lnTo>
                <a:lnTo>
                  <a:pt x="1511" y="2242"/>
                </a:lnTo>
                <a:lnTo>
                  <a:pt x="1516" y="2248"/>
                </a:lnTo>
                <a:lnTo>
                  <a:pt x="1516" y="2254"/>
                </a:lnTo>
                <a:lnTo>
                  <a:pt x="1516" y="2261"/>
                </a:lnTo>
                <a:lnTo>
                  <a:pt x="1516" y="2280"/>
                </a:lnTo>
                <a:lnTo>
                  <a:pt x="1514" y="2299"/>
                </a:lnTo>
                <a:lnTo>
                  <a:pt x="1509" y="2316"/>
                </a:lnTo>
                <a:lnTo>
                  <a:pt x="1505" y="2333"/>
                </a:lnTo>
                <a:lnTo>
                  <a:pt x="1501" y="2349"/>
                </a:lnTo>
                <a:lnTo>
                  <a:pt x="1494" y="2366"/>
                </a:lnTo>
                <a:lnTo>
                  <a:pt x="1486" y="2381"/>
                </a:lnTo>
                <a:lnTo>
                  <a:pt x="1478" y="2394"/>
                </a:lnTo>
                <a:lnTo>
                  <a:pt x="1467" y="2407"/>
                </a:lnTo>
                <a:lnTo>
                  <a:pt x="1463" y="2413"/>
                </a:lnTo>
                <a:lnTo>
                  <a:pt x="1456" y="2417"/>
                </a:lnTo>
                <a:lnTo>
                  <a:pt x="1446" y="2428"/>
                </a:lnTo>
                <a:lnTo>
                  <a:pt x="1435" y="2436"/>
                </a:lnTo>
                <a:lnTo>
                  <a:pt x="1422" y="2443"/>
                </a:lnTo>
                <a:lnTo>
                  <a:pt x="1408" y="2449"/>
                </a:lnTo>
                <a:lnTo>
                  <a:pt x="1395" y="2451"/>
                </a:lnTo>
                <a:lnTo>
                  <a:pt x="1380" y="2451"/>
                </a:lnTo>
                <a:close/>
                <a:moveTo>
                  <a:pt x="1611" y="2449"/>
                </a:moveTo>
                <a:lnTo>
                  <a:pt x="1605" y="2447"/>
                </a:lnTo>
                <a:lnTo>
                  <a:pt x="1596" y="2440"/>
                </a:lnTo>
                <a:lnTo>
                  <a:pt x="1579" y="2426"/>
                </a:lnTo>
                <a:lnTo>
                  <a:pt x="1560" y="2407"/>
                </a:lnTo>
                <a:lnTo>
                  <a:pt x="1541" y="2385"/>
                </a:lnTo>
                <a:lnTo>
                  <a:pt x="1535" y="2377"/>
                </a:lnTo>
                <a:lnTo>
                  <a:pt x="1530" y="2371"/>
                </a:lnTo>
                <a:lnTo>
                  <a:pt x="1524" y="2358"/>
                </a:lnTo>
                <a:lnTo>
                  <a:pt x="1522" y="2352"/>
                </a:lnTo>
                <a:lnTo>
                  <a:pt x="1522" y="2345"/>
                </a:lnTo>
                <a:lnTo>
                  <a:pt x="1522" y="2339"/>
                </a:lnTo>
                <a:lnTo>
                  <a:pt x="1524" y="2333"/>
                </a:lnTo>
                <a:lnTo>
                  <a:pt x="1528" y="2324"/>
                </a:lnTo>
                <a:lnTo>
                  <a:pt x="1533" y="2316"/>
                </a:lnTo>
                <a:lnTo>
                  <a:pt x="1545" y="2301"/>
                </a:lnTo>
                <a:lnTo>
                  <a:pt x="1564" y="2282"/>
                </a:lnTo>
                <a:lnTo>
                  <a:pt x="1605" y="2233"/>
                </a:lnTo>
                <a:lnTo>
                  <a:pt x="1611" y="2233"/>
                </a:lnTo>
                <a:lnTo>
                  <a:pt x="1617" y="2235"/>
                </a:lnTo>
                <a:lnTo>
                  <a:pt x="1624" y="2239"/>
                </a:lnTo>
                <a:lnTo>
                  <a:pt x="1628" y="2246"/>
                </a:lnTo>
                <a:lnTo>
                  <a:pt x="1628" y="2252"/>
                </a:lnTo>
                <a:lnTo>
                  <a:pt x="1626" y="2258"/>
                </a:lnTo>
                <a:lnTo>
                  <a:pt x="1626" y="2261"/>
                </a:lnTo>
                <a:lnTo>
                  <a:pt x="1624" y="2265"/>
                </a:lnTo>
                <a:lnTo>
                  <a:pt x="1594" y="2299"/>
                </a:lnTo>
                <a:lnTo>
                  <a:pt x="1575" y="2320"/>
                </a:lnTo>
                <a:lnTo>
                  <a:pt x="1562" y="2335"/>
                </a:lnTo>
                <a:lnTo>
                  <a:pt x="1560" y="2339"/>
                </a:lnTo>
                <a:lnTo>
                  <a:pt x="1558" y="2343"/>
                </a:lnTo>
                <a:lnTo>
                  <a:pt x="1560" y="2349"/>
                </a:lnTo>
                <a:lnTo>
                  <a:pt x="1562" y="2356"/>
                </a:lnTo>
                <a:lnTo>
                  <a:pt x="1573" y="2366"/>
                </a:lnTo>
                <a:lnTo>
                  <a:pt x="1590" y="2385"/>
                </a:lnTo>
                <a:lnTo>
                  <a:pt x="1609" y="2404"/>
                </a:lnTo>
                <a:lnTo>
                  <a:pt x="1628" y="2424"/>
                </a:lnTo>
                <a:lnTo>
                  <a:pt x="1630" y="2426"/>
                </a:lnTo>
                <a:lnTo>
                  <a:pt x="1632" y="2428"/>
                </a:lnTo>
                <a:lnTo>
                  <a:pt x="1630" y="2432"/>
                </a:lnTo>
                <a:lnTo>
                  <a:pt x="1630" y="2434"/>
                </a:lnTo>
                <a:lnTo>
                  <a:pt x="1624" y="2443"/>
                </a:lnTo>
                <a:lnTo>
                  <a:pt x="1617" y="2447"/>
                </a:lnTo>
                <a:lnTo>
                  <a:pt x="1613" y="2449"/>
                </a:lnTo>
                <a:lnTo>
                  <a:pt x="1611" y="2449"/>
                </a:lnTo>
                <a:close/>
                <a:moveTo>
                  <a:pt x="1380" y="3044"/>
                </a:moveTo>
                <a:lnTo>
                  <a:pt x="1370" y="3044"/>
                </a:lnTo>
                <a:lnTo>
                  <a:pt x="1361" y="3042"/>
                </a:lnTo>
                <a:lnTo>
                  <a:pt x="1353" y="3039"/>
                </a:lnTo>
                <a:lnTo>
                  <a:pt x="1344" y="3035"/>
                </a:lnTo>
                <a:lnTo>
                  <a:pt x="1336" y="3031"/>
                </a:lnTo>
                <a:lnTo>
                  <a:pt x="1329" y="3027"/>
                </a:lnTo>
                <a:lnTo>
                  <a:pt x="1323" y="3020"/>
                </a:lnTo>
                <a:lnTo>
                  <a:pt x="1315" y="3012"/>
                </a:lnTo>
                <a:lnTo>
                  <a:pt x="1310" y="3006"/>
                </a:lnTo>
                <a:lnTo>
                  <a:pt x="1304" y="2997"/>
                </a:lnTo>
                <a:lnTo>
                  <a:pt x="1295" y="2980"/>
                </a:lnTo>
                <a:lnTo>
                  <a:pt x="1293" y="2970"/>
                </a:lnTo>
                <a:lnTo>
                  <a:pt x="1291" y="2959"/>
                </a:lnTo>
                <a:lnTo>
                  <a:pt x="1289" y="2948"/>
                </a:lnTo>
                <a:lnTo>
                  <a:pt x="1289" y="2938"/>
                </a:lnTo>
                <a:lnTo>
                  <a:pt x="1289" y="2927"/>
                </a:lnTo>
                <a:lnTo>
                  <a:pt x="1291" y="2915"/>
                </a:lnTo>
                <a:lnTo>
                  <a:pt x="1293" y="2904"/>
                </a:lnTo>
                <a:lnTo>
                  <a:pt x="1295" y="2893"/>
                </a:lnTo>
                <a:lnTo>
                  <a:pt x="1300" y="2883"/>
                </a:lnTo>
                <a:lnTo>
                  <a:pt x="1306" y="2874"/>
                </a:lnTo>
                <a:lnTo>
                  <a:pt x="1310" y="2866"/>
                </a:lnTo>
                <a:lnTo>
                  <a:pt x="1317" y="2857"/>
                </a:lnTo>
                <a:lnTo>
                  <a:pt x="1323" y="2849"/>
                </a:lnTo>
                <a:lnTo>
                  <a:pt x="1331" y="2843"/>
                </a:lnTo>
                <a:lnTo>
                  <a:pt x="1340" y="2836"/>
                </a:lnTo>
                <a:lnTo>
                  <a:pt x="1348" y="2832"/>
                </a:lnTo>
                <a:lnTo>
                  <a:pt x="1357" y="2828"/>
                </a:lnTo>
                <a:lnTo>
                  <a:pt x="1365" y="2824"/>
                </a:lnTo>
                <a:lnTo>
                  <a:pt x="1376" y="2821"/>
                </a:lnTo>
                <a:lnTo>
                  <a:pt x="1384" y="2821"/>
                </a:lnTo>
                <a:lnTo>
                  <a:pt x="1397" y="2824"/>
                </a:lnTo>
                <a:lnTo>
                  <a:pt x="1403" y="2824"/>
                </a:lnTo>
                <a:lnTo>
                  <a:pt x="1408" y="2826"/>
                </a:lnTo>
                <a:lnTo>
                  <a:pt x="1416" y="2830"/>
                </a:lnTo>
                <a:lnTo>
                  <a:pt x="1425" y="2838"/>
                </a:lnTo>
                <a:lnTo>
                  <a:pt x="1431" y="2847"/>
                </a:lnTo>
                <a:lnTo>
                  <a:pt x="1435" y="2855"/>
                </a:lnTo>
                <a:lnTo>
                  <a:pt x="1437" y="2866"/>
                </a:lnTo>
                <a:lnTo>
                  <a:pt x="1439" y="2879"/>
                </a:lnTo>
                <a:lnTo>
                  <a:pt x="1439" y="2887"/>
                </a:lnTo>
                <a:lnTo>
                  <a:pt x="1437" y="2893"/>
                </a:lnTo>
                <a:lnTo>
                  <a:pt x="1435" y="2900"/>
                </a:lnTo>
                <a:lnTo>
                  <a:pt x="1431" y="2908"/>
                </a:lnTo>
                <a:lnTo>
                  <a:pt x="1429" y="2915"/>
                </a:lnTo>
                <a:lnTo>
                  <a:pt x="1425" y="2921"/>
                </a:lnTo>
                <a:lnTo>
                  <a:pt x="1414" y="2932"/>
                </a:lnTo>
                <a:lnTo>
                  <a:pt x="1408" y="2938"/>
                </a:lnTo>
                <a:lnTo>
                  <a:pt x="1401" y="2942"/>
                </a:lnTo>
                <a:lnTo>
                  <a:pt x="1386" y="2951"/>
                </a:lnTo>
                <a:lnTo>
                  <a:pt x="1380" y="2953"/>
                </a:lnTo>
                <a:lnTo>
                  <a:pt x="1372" y="2955"/>
                </a:lnTo>
                <a:lnTo>
                  <a:pt x="1357" y="2957"/>
                </a:lnTo>
                <a:lnTo>
                  <a:pt x="1351" y="2955"/>
                </a:lnTo>
                <a:lnTo>
                  <a:pt x="1348" y="2953"/>
                </a:lnTo>
                <a:lnTo>
                  <a:pt x="1346" y="2951"/>
                </a:lnTo>
                <a:lnTo>
                  <a:pt x="1344" y="2948"/>
                </a:lnTo>
                <a:lnTo>
                  <a:pt x="1342" y="2944"/>
                </a:lnTo>
                <a:lnTo>
                  <a:pt x="1340" y="2938"/>
                </a:lnTo>
                <a:lnTo>
                  <a:pt x="1342" y="2932"/>
                </a:lnTo>
                <a:lnTo>
                  <a:pt x="1344" y="2929"/>
                </a:lnTo>
                <a:lnTo>
                  <a:pt x="1344" y="2927"/>
                </a:lnTo>
                <a:lnTo>
                  <a:pt x="1359" y="2923"/>
                </a:lnTo>
                <a:lnTo>
                  <a:pt x="1370" y="2919"/>
                </a:lnTo>
                <a:lnTo>
                  <a:pt x="1380" y="2915"/>
                </a:lnTo>
                <a:lnTo>
                  <a:pt x="1391" y="2906"/>
                </a:lnTo>
                <a:lnTo>
                  <a:pt x="1397" y="2900"/>
                </a:lnTo>
                <a:lnTo>
                  <a:pt x="1399" y="2896"/>
                </a:lnTo>
                <a:lnTo>
                  <a:pt x="1403" y="2891"/>
                </a:lnTo>
                <a:lnTo>
                  <a:pt x="1406" y="2883"/>
                </a:lnTo>
                <a:lnTo>
                  <a:pt x="1408" y="2874"/>
                </a:lnTo>
                <a:lnTo>
                  <a:pt x="1408" y="2868"/>
                </a:lnTo>
                <a:lnTo>
                  <a:pt x="1406" y="2864"/>
                </a:lnTo>
                <a:lnTo>
                  <a:pt x="1403" y="2862"/>
                </a:lnTo>
                <a:lnTo>
                  <a:pt x="1401" y="2857"/>
                </a:lnTo>
                <a:lnTo>
                  <a:pt x="1397" y="2855"/>
                </a:lnTo>
                <a:lnTo>
                  <a:pt x="1393" y="2853"/>
                </a:lnTo>
                <a:lnTo>
                  <a:pt x="1382" y="2851"/>
                </a:lnTo>
                <a:lnTo>
                  <a:pt x="1372" y="2853"/>
                </a:lnTo>
                <a:lnTo>
                  <a:pt x="1367" y="2855"/>
                </a:lnTo>
                <a:lnTo>
                  <a:pt x="1361" y="2857"/>
                </a:lnTo>
                <a:lnTo>
                  <a:pt x="1357" y="2862"/>
                </a:lnTo>
                <a:lnTo>
                  <a:pt x="1351" y="2866"/>
                </a:lnTo>
                <a:lnTo>
                  <a:pt x="1342" y="2876"/>
                </a:lnTo>
                <a:lnTo>
                  <a:pt x="1338" y="2883"/>
                </a:lnTo>
                <a:lnTo>
                  <a:pt x="1334" y="2889"/>
                </a:lnTo>
                <a:lnTo>
                  <a:pt x="1327" y="2904"/>
                </a:lnTo>
                <a:lnTo>
                  <a:pt x="1325" y="2919"/>
                </a:lnTo>
                <a:lnTo>
                  <a:pt x="1323" y="2927"/>
                </a:lnTo>
                <a:lnTo>
                  <a:pt x="1323" y="2936"/>
                </a:lnTo>
                <a:lnTo>
                  <a:pt x="1323" y="2951"/>
                </a:lnTo>
                <a:lnTo>
                  <a:pt x="1325" y="2959"/>
                </a:lnTo>
                <a:lnTo>
                  <a:pt x="1327" y="2965"/>
                </a:lnTo>
                <a:lnTo>
                  <a:pt x="1331" y="2978"/>
                </a:lnTo>
                <a:lnTo>
                  <a:pt x="1338" y="2989"/>
                </a:lnTo>
                <a:lnTo>
                  <a:pt x="1346" y="2997"/>
                </a:lnTo>
                <a:lnTo>
                  <a:pt x="1353" y="2999"/>
                </a:lnTo>
                <a:lnTo>
                  <a:pt x="1357" y="3003"/>
                </a:lnTo>
                <a:lnTo>
                  <a:pt x="1367" y="3006"/>
                </a:lnTo>
                <a:lnTo>
                  <a:pt x="1374" y="3008"/>
                </a:lnTo>
                <a:lnTo>
                  <a:pt x="1380" y="3008"/>
                </a:lnTo>
                <a:lnTo>
                  <a:pt x="1393" y="3008"/>
                </a:lnTo>
                <a:lnTo>
                  <a:pt x="1406" y="3003"/>
                </a:lnTo>
                <a:lnTo>
                  <a:pt x="1410" y="3001"/>
                </a:lnTo>
                <a:lnTo>
                  <a:pt x="1416" y="2997"/>
                </a:lnTo>
                <a:lnTo>
                  <a:pt x="1427" y="2991"/>
                </a:lnTo>
                <a:lnTo>
                  <a:pt x="1435" y="2980"/>
                </a:lnTo>
                <a:lnTo>
                  <a:pt x="1444" y="2970"/>
                </a:lnTo>
                <a:lnTo>
                  <a:pt x="1452" y="2959"/>
                </a:lnTo>
                <a:lnTo>
                  <a:pt x="1458" y="2946"/>
                </a:lnTo>
                <a:lnTo>
                  <a:pt x="1465" y="2932"/>
                </a:lnTo>
                <a:lnTo>
                  <a:pt x="1471" y="2919"/>
                </a:lnTo>
                <a:lnTo>
                  <a:pt x="1475" y="2904"/>
                </a:lnTo>
                <a:lnTo>
                  <a:pt x="1478" y="2889"/>
                </a:lnTo>
                <a:lnTo>
                  <a:pt x="1482" y="2874"/>
                </a:lnTo>
                <a:lnTo>
                  <a:pt x="1482" y="2860"/>
                </a:lnTo>
                <a:lnTo>
                  <a:pt x="1484" y="2847"/>
                </a:lnTo>
                <a:lnTo>
                  <a:pt x="1482" y="2834"/>
                </a:lnTo>
                <a:lnTo>
                  <a:pt x="1484" y="2832"/>
                </a:lnTo>
                <a:lnTo>
                  <a:pt x="1488" y="2830"/>
                </a:lnTo>
                <a:lnTo>
                  <a:pt x="1490" y="2828"/>
                </a:lnTo>
                <a:lnTo>
                  <a:pt x="1497" y="2828"/>
                </a:lnTo>
                <a:lnTo>
                  <a:pt x="1505" y="2828"/>
                </a:lnTo>
                <a:lnTo>
                  <a:pt x="1507" y="2830"/>
                </a:lnTo>
                <a:lnTo>
                  <a:pt x="1511" y="2832"/>
                </a:lnTo>
                <a:lnTo>
                  <a:pt x="1516" y="2841"/>
                </a:lnTo>
                <a:lnTo>
                  <a:pt x="1516" y="2847"/>
                </a:lnTo>
                <a:lnTo>
                  <a:pt x="1516" y="2853"/>
                </a:lnTo>
                <a:lnTo>
                  <a:pt x="1516" y="2872"/>
                </a:lnTo>
                <a:lnTo>
                  <a:pt x="1514" y="2889"/>
                </a:lnTo>
                <a:lnTo>
                  <a:pt x="1509" y="2908"/>
                </a:lnTo>
                <a:lnTo>
                  <a:pt x="1505" y="2925"/>
                </a:lnTo>
                <a:lnTo>
                  <a:pt x="1501" y="2942"/>
                </a:lnTo>
                <a:lnTo>
                  <a:pt x="1494" y="2957"/>
                </a:lnTo>
                <a:lnTo>
                  <a:pt x="1486" y="2972"/>
                </a:lnTo>
                <a:lnTo>
                  <a:pt x="1478" y="2987"/>
                </a:lnTo>
                <a:lnTo>
                  <a:pt x="1467" y="2999"/>
                </a:lnTo>
                <a:lnTo>
                  <a:pt x="1463" y="3003"/>
                </a:lnTo>
                <a:lnTo>
                  <a:pt x="1456" y="3010"/>
                </a:lnTo>
                <a:lnTo>
                  <a:pt x="1446" y="3020"/>
                </a:lnTo>
                <a:lnTo>
                  <a:pt x="1435" y="3029"/>
                </a:lnTo>
                <a:lnTo>
                  <a:pt x="1422" y="3035"/>
                </a:lnTo>
                <a:lnTo>
                  <a:pt x="1408" y="3039"/>
                </a:lnTo>
                <a:lnTo>
                  <a:pt x="1395" y="3044"/>
                </a:lnTo>
                <a:lnTo>
                  <a:pt x="1380" y="3044"/>
                </a:lnTo>
                <a:close/>
                <a:moveTo>
                  <a:pt x="1611" y="3039"/>
                </a:moveTo>
                <a:lnTo>
                  <a:pt x="1605" y="3037"/>
                </a:lnTo>
                <a:lnTo>
                  <a:pt x="1596" y="3033"/>
                </a:lnTo>
                <a:lnTo>
                  <a:pt x="1579" y="3016"/>
                </a:lnTo>
                <a:lnTo>
                  <a:pt x="1560" y="2997"/>
                </a:lnTo>
                <a:lnTo>
                  <a:pt x="1541" y="2978"/>
                </a:lnTo>
                <a:lnTo>
                  <a:pt x="1535" y="2968"/>
                </a:lnTo>
                <a:lnTo>
                  <a:pt x="1530" y="2961"/>
                </a:lnTo>
                <a:lnTo>
                  <a:pt x="1524" y="2948"/>
                </a:lnTo>
                <a:lnTo>
                  <a:pt x="1522" y="2944"/>
                </a:lnTo>
                <a:lnTo>
                  <a:pt x="1522" y="2938"/>
                </a:lnTo>
                <a:lnTo>
                  <a:pt x="1522" y="2932"/>
                </a:lnTo>
                <a:lnTo>
                  <a:pt x="1524" y="2923"/>
                </a:lnTo>
                <a:lnTo>
                  <a:pt x="1528" y="2917"/>
                </a:lnTo>
                <a:lnTo>
                  <a:pt x="1533" y="2908"/>
                </a:lnTo>
                <a:lnTo>
                  <a:pt x="1545" y="2893"/>
                </a:lnTo>
                <a:lnTo>
                  <a:pt x="1564" y="2872"/>
                </a:lnTo>
                <a:lnTo>
                  <a:pt x="1605" y="2824"/>
                </a:lnTo>
                <a:lnTo>
                  <a:pt x="1611" y="2826"/>
                </a:lnTo>
                <a:lnTo>
                  <a:pt x="1617" y="2828"/>
                </a:lnTo>
                <a:lnTo>
                  <a:pt x="1624" y="2832"/>
                </a:lnTo>
                <a:lnTo>
                  <a:pt x="1628" y="2836"/>
                </a:lnTo>
                <a:lnTo>
                  <a:pt x="1628" y="2843"/>
                </a:lnTo>
                <a:lnTo>
                  <a:pt x="1626" y="2849"/>
                </a:lnTo>
                <a:lnTo>
                  <a:pt x="1626" y="2853"/>
                </a:lnTo>
                <a:lnTo>
                  <a:pt x="1624" y="2857"/>
                </a:lnTo>
                <a:lnTo>
                  <a:pt x="1594" y="2891"/>
                </a:lnTo>
                <a:lnTo>
                  <a:pt x="1575" y="2910"/>
                </a:lnTo>
                <a:lnTo>
                  <a:pt x="1562" y="2927"/>
                </a:lnTo>
                <a:lnTo>
                  <a:pt x="1560" y="2932"/>
                </a:lnTo>
                <a:lnTo>
                  <a:pt x="1558" y="2936"/>
                </a:lnTo>
                <a:lnTo>
                  <a:pt x="1560" y="2940"/>
                </a:lnTo>
                <a:lnTo>
                  <a:pt x="1562" y="2946"/>
                </a:lnTo>
                <a:lnTo>
                  <a:pt x="1573" y="2959"/>
                </a:lnTo>
                <a:lnTo>
                  <a:pt x="1590" y="2976"/>
                </a:lnTo>
                <a:lnTo>
                  <a:pt x="1609" y="2997"/>
                </a:lnTo>
                <a:lnTo>
                  <a:pt x="1628" y="3014"/>
                </a:lnTo>
                <a:lnTo>
                  <a:pt x="1630" y="3016"/>
                </a:lnTo>
                <a:lnTo>
                  <a:pt x="1632" y="3020"/>
                </a:lnTo>
                <a:lnTo>
                  <a:pt x="1630" y="3023"/>
                </a:lnTo>
                <a:lnTo>
                  <a:pt x="1630" y="3027"/>
                </a:lnTo>
                <a:lnTo>
                  <a:pt x="1624" y="3033"/>
                </a:lnTo>
                <a:lnTo>
                  <a:pt x="1617" y="3037"/>
                </a:lnTo>
                <a:lnTo>
                  <a:pt x="1613" y="3039"/>
                </a:lnTo>
                <a:lnTo>
                  <a:pt x="1611" y="3039"/>
                </a:lnTo>
                <a:close/>
                <a:moveTo>
                  <a:pt x="1380" y="3636"/>
                </a:moveTo>
                <a:lnTo>
                  <a:pt x="1370" y="3634"/>
                </a:lnTo>
                <a:lnTo>
                  <a:pt x="1361" y="3634"/>
                </a:lnTo>
                <a:lnTo>
                  <a:pt x="1353" y="3630"/>
                </a:lnTo>
                <a:lnTo>
                  <a:pt x="1344" y="3628"/>
                </a:lnTo>
                <a:lnTo>
                  <a:pt x="1336" y="3624"/>
                </a:lnTo>
                <a:lnTo>
                  <a:pt x="1329" y="3617"/>
                </a:lnTo>
                <a:lnTo>
                  <a:pt x="1323" y="3611"/>
                </a:lnTo>
                <a:lnTo>
                  <a:pt x="1315" y="3605"/>
                </a:lnTo>
                <a:lnTo>
                  <a:pt x="1310" y="3598"/>
                </a:lnTo>
                <a:lnTo>
                  <a:pt x="1304" y="3590"/>
                </a:lnTo>
                <a:lnTo>
                  <a:pt x="1295" y="3571"/>
                </a:lnTo>
                <a:lnTo>
                  <a:pt x="1293" y="3560"/>
                </a:lnTo>
                <a:lnTo>
                  <a:pt x="1291" y="3552"/>
                </a:lnTo>
                <a:lnTo>
                  <a:pt x="1289" y="3541"/>
                </a:lnTo>
                <a:lnTo>
                  <a:pt x="1289" y="3528"/>
                </a:lnTo>
                <a:lnTo>
                  <a:pt x="1289" y="3518"/>
                </a:lnTo>
                <a:lnTo>
                  <a:pt x="1291" y="3507"/>
                </a:lnTo>
                <a:lnTo>
                  <a:pt x="1293" y="3497"/>
                </a:lnTo>
                <a:lnTo>
                  <a:pt x="1295" y="3486"/>
                </a:lnTo>
                <a:lnTo>
                  <a:pt x="1300" y="3476"/>
                </a:lnTo>
                <a:lnTo>
                  <a:pt x="1306" y="3465"/>
                </a:lnTo>
                <a:lnTo>
                  <a:pt x="1310" y="3456"/>
                </a:lnTo>
                <a:lnTo>
                  <a:pt x="1317" y="3448"/>
                </a:lnTo>
                <a:lnTo>
                  <a:pt x="1323" y="3442"/>
                </a:lnTo>
                <a:lnTo>
                  <a:pt x="1331" y="3433"/>
                </a:lnTo>
                <a:lnTo>
                  <a:pt x="1340" y="3429"/>
                </a:lnTo>
                <a:lnTo>
                  <a:pt x="1348" y="3423"/>
                </a:lnTo>
                <a:lnTo>
                  <a:pt x="1357" y="3418"/>
                </a:lnTo>
                <a:lnTo>
                  <a:pt x="1365" y="3416"/>
                </a:lnTo>
                <a:lnTo>
                  <a:pt x="1376" y="3414"/>
                </a:lnTo>
                <a:lnTo>
                  <a:pt x="1384" y="3414"/>
                </a:lnTo>
                <a:lnTo>
                  <a:pt x="1397" y="3414"/>
                </a:lnTo>
                <a:lnTo>
                  <a:pt x="1403" y="3416"/>
                </a:lnTo>
                <a:lnTo>
                  <a:pt x="1408" y="3418"/>
                </a:lnTo>
                <a:lnTo>
                  <a:pt x="1416" y="3423"/>
                </a:lnTo>
                <a:lnTo>
                  <a:pt x="1425" y="3429"/>
                </a:lnTo>
                <a:lnTo>
                  <a:pt x="1431" y="3437"/>
                </a:lnTo>
                <a:lnTo>
                  <a:pt x="1435" y="3448"/>
                </a:lnTo>
                <a:lnTo>
                  <a:pt x="1437" y="3459"/>
                </a:lnTo>
                <a:lnTo>
                  <a:pt x="1439" y="3471"/>
                </a:lnTo>
                <a:lnTo>
                  <a:pt x="1439" y="3478"/>
                </a:lnTo>
                <a:lnTo>
                  <a:pt x="1437" y="3486"/>
                </a:lnTo>
                <a:lnTo>
                  <a:pt x="1435" y="3492"/>
                </a:lnTo>
                <a:lnTo>
                  <a:pt x="1431" y="3499"/>
                </a:lnTo>
                <a:lnTo>
                  <a:pt x="1429" y="3507"/>
                </a:lnTo>
                <a:lnTo>
                  <a:pt x="1425" y="3514"/>
                </a:lnTo>
                <a:lnTo>
                  <a:pt x="1414" y="3524"/>
                </a:lnTo>
                <a:lnTo>
                  <a:pt x="1408" y="3528"/>
                </a:lnTo>
                <a:lnTo>
                  <a:pt x="1401" y="3535"/>
                </a:lnTo>
                <a:lnTo>
                  <a:pt x="1386" y="3541"/>
                </a:lnTo>
                <a:lnTo>
                  <a:pt x="1380" y="3543"/>
                </a:lnTo>
                <a:lnTo>
                  <a:pt x="1372" y="3545"/>
                </a:lnTo>
                <a:lnTo>
                  <a:pt x="1357" y="3547"/>
                </a:lnTo>
                <a:lnTo>
                  <a:pt x="1351" y="3545"/>
                </a:lnTo>
                <a:lnTo>
                  <a:pt x="1348" y="3545"/>
                </a:lnTo>
                <a:lnTo>
                  <a:pt x="1346" y="3543"/>
                </a:lnTo>
                <a:lnTo>
                  <a:pt x="1344" y="3539"/>
                </a:lnTo>
                <a:lnTo>
                  <a:pt x="1342" y="3537"/>
                </a:lnTo>
                <a:lnTo>
                  <a:pt x="1340" y="3528"/>
                </a:lnTo>
                <a:lnTo>
                  <a:pt x="1342" y="3522"/>
                </a:lnTo>
                <a:lnTo>
                  <a:pt x="1344" y="3520"/>
                </a:lnTo>
                <a:lnTo>
                  <a:pt x="1344" y="3518"/>
                </a:lnTo>
                <a:lnTo>
                  <a:pt x="1359" y="3516"/>
                </a:lnTo>
                <a:lnTo>
                  <a:pt x="1370" y="3511"/>
                </a:lnTo>
                <a:lnTo>
                  <a:pt x="1380" y="3505"/>
                </a:lnTo>
                <a:lnTo>
                  <a:pt x="1391" y="3499"/>
                </a:lnTo>
                <a:lnTo>
                  <a:pt x="1397" y="3490"/>
                </a:lnTo>
                <a:lnTo>
                  <a:pt x="1399" y="3486"/>
                </a:lnTo>
                <a:lnTo>
                  <a:pt x="1403" y="3482"/>
                </a:lnTo>
                <a:lnTo>
                  <a:pt x="1406" y="3473"/>
                </a:lnTo>
                <a:lnTo>
                  <a:pt x="1408" y="3465"/>
                </a:lnTo>
                <a:lnTo>
                  <a:pt x="1408" y="3461"/>
                </a:lnTo>
                <a:lnTo>
                  <a:pt x="1406" y="3456"/>
                </a:lnTo>
                <a:lnTo>
                  <a:pt x="1403" y="3452"/>
                </a:lnTo>
                <a:lnTo>
                  <a:pt x="1401" y="3450"/>
                </a:lnTo>
                <a:lnTo>
                  <a:pt x="1397" y="3446"/>
                </a:lnTo>
                <a:lnTo>
                  <a:pt x="1393" y="3444"/>
                </a:lnTo>
                <a:lnTo>
                  <a:pt x="1382" y="3444"/>
                </a:lnTo>
                <a:lnTo>
                  <a:pt x="1372" y="3446"/>
                </a:lnTo>
                <a:lnTo>
                  <a:pt x="1367" y="3448"/>
                </a:lnTo>
                <a:lnTo>
                  <a:pt x="1361" y="3450"/>
                </a:lnTo>
                <a:lnTo>
                  <a:pt x="1357" y="3454"/>
                </a:lnTo>
                <a:lnTo>
                  <a:pt x="1351" y="3459"/>
                </a:lnTo>
                <a:lnTo>
                  <a:pt x="1342" y="3469"/>
                </a:lnTo>
                <a:lnTo>
                  <a:pt x="1338" y="3473"/>
                </a:lnTo>
                <a:lnTo>
                  <a:pt x="1334" y="3480"/>
                </a:lnTo>
                <a:lnTo>
                  <a:pt x="1327" y="3495"/>
                </a:lnTo>
                <a:lnTo>
                  <a:pt x="1325" y="3511"/>
                </a:lnTo>
                <a:lnTo>
                  <a:pt x="1323" y="3520"/>
                </a:lnTo>
                <a:lnTo>
                  <a:pt x="1323" y="3528"/>
                </a:lnTo>
                <a:lnTo>
                  <a:pt x="1323" y="3543"/>
                </a:lnTo>
                <a:lnTo>
                  <a:pt x="1325" y="3550"/>
                </a:lnTo>
                <a:lnTo>
                  <a:pt x="1327" y="3556"/>
                </a:lnTo>
                <a:lnTo>
                  <a:pt x="1331" y="3569"/>
                </a:lnTo>
                <a:lnTo>
                  <a:pt x="1338" y="3579"/>
                </a:lnTo>
                <a:lnTo>
                  <a:pt x="1346" y="3588"/>
                </a:lnTo>
                <a:lnTo>
                  <a:pt x="1353" y="3592"/>
                </a:lnTo>
                <a:lnTo>
                  <a:pt x="1357" y="3594"/>
                </a:lnTo>
                <a:lnTo>
                  <a:pt x="1367" y="3598"/>
                </a:lnTo>
                <a:lnTo>
                  <a:pt x="1374" y="3598"/>
                </a:lnTo>
                <a:lnTo>
                  <a:pt x="1380" y="3600"/>
                </a:lnTo>
                <a:lnTo>
                  <a:pt x="1393" y="3598"/>
                </a:lnTo>
                <a:lnTo>
                  <a:pt x="1406" y="3594"/>
                </a:lnTo>
                <a:lnTo>
                  <a:pt x="1410" y="3592"/>
                </a:lnTo>
                <a:lnTo>
                  <a:pt x="1416" y="3590"/>
                </a:lnTo>
                <a:lnTo>
                  <a:pt x="1427" y="3581"/>
                </a:lnTo>
                <a:lnTo>
                  <a:pt x="1435" y="3573"/>
                </a:lnTo>
                <a:lnTo>
                  <a:pt x="1444" y="3562"/>
                </a:lnTo>
                <a:lnTo>
                  <a:pt x="1452" y="3550"/>
                </a:lnTo>
                <a:lnTo>
                  <a:pt x="1458" y="3537"/>
                </a:lnTo>
                <a:lnTo>
                  <a:pt x="1465" y="3524"/>
                </a:lnTo>
                <a:lnTo>
                  <a:pt x="1471" y="3509"/>
                </a:lnTo>
                <a:lnTo>
                  <a:pt x="1475" y="3495"/>
                </a:lnTo>
                <a:lnTo>
                  <a:pt x="1478" y="3482"/>
                </a:lnTo>
                <a:lnTo>
                  <a:pt x="1482" y="3467"/>
                </a:lnTo>
                <a:lnTo>
                  <a:pt x="1482" y="3452"/>
                </a:lnTo>
                <a:lnTo>
                  <a:pt x="1484" y="3440"/>
                </a:lnTo>
                <a:lnTo>
                  <a:pt x="1482" y="3427"/>
                </a:lnTo>
                <a:lnTo>
                  <a:pt x="1484" y="3423"/>
                </a:lnTo>
                <a:lnTo>
                  <a:pt x="1488" y="3420"/>
                </a:lnTo>
                <a:lnTo>
                  <a:pt x="1490" y="3418"/>
                </a:lnTo>
                <a:lnTo>
                  <a:pt x="1497" y="3418"/>
                </a:lnTo>
                <a:lnTo>
                  <a:pt x="1505" y="3420"/>
                </a:lnTo>
                <a:lnTo>
                  <a:pt x="1507" y="3423"/>
                </a:lnTo>
                <a:lnTo>
                  <a:pt x="1511" y="3425"/>
                </a:lnTo>
                <a:lnTo>
                  <a:pt x="1516" y="3431"/>
                </a:lnTo>
                <a:lnTo>
                  <a:pt x="1516" y="3437"/>
                </a:lnTo>
                <a:lnTo>
                  <a:pt x="1516" y="3444"/>
                </a:lnTo>
                <a:lnTo>
                  <a:pt x="1516" y="3463"/>
                </a:lnTo>
                <a:lnTo>
                  <a:pt x="1514" y="3482"/>
                </a:lnTo>
                <a:lnTo>
                  <a:pt x="1509" y="3499"/>
                </a:lnTo>
                <a:lnTo>
                  <a:pt x="1505" y="3518"/>
                </a:lnTo>
                <a:lnTo>
                  <a:pt x="1501" y="3533"/>
                </a:lnTo>
                <a:lnTo>
                  <a:pt x="1494" y="3550"/>
                </a:lnTo>
                <a:lnTo>
                  <a:pt x="1486" y="3564"/>
                </a:lnTo>
                <a:lnTo>
                  <a:pt x="1478" y="3577"/>
                </a:lnTo>
                <a:lnTo>
                  <a:pt x="1467" y="3590"/>
                </a:lnTo>
                <a:lnTo>
                  <a:pt x="1463" y="3596"/>
                </a:lnTo>
                <a:lnTo>
                  <a:pt x="1456" y="3603"/>
                </a:lnTo>
                <a:lnTo>
                  <a:pt x="1446" y="3611"/>
                </a:lnTo>
                <a:lnTo>
                  <a:pt x="1435" y="3619"/>
                </a:lnTo>
                <a:lnTo>
                  <a:pt x="1422" y="3626"/>
                </a:lnTo>
                <a:lnTo>
                  <a:pt x="1408" y="3632"/>
                </a:lnTo>
                <a:lnTo>
                  <a:pt x="1395" y="3634"/>
                </a:lnTo>
                <a:lnTo>
                  <a:pt x="1380" y="3636"/>
                </a:lnTo>
                <a:close/>
                <a:moveTo>
                  <a:pt x="1611" y="3632"/>
                </a:moveTo>
                <a:lnTo>
                  <a:pt x="1605" y="3630"/>
                </a:lnTo>
                <a:lnTo>
                  <a:pt x="1596" y="3624"/>
                </a:lnTo>
                <a:lnTo>
                  <a:pt x="1579" y="3609"/>
                </a:lnTo>
                <a:lnTo>
                  <a:pt x="1560" y="3590"/>
                </a:lnTo>
                <a:lnTo>
                  <a:pt x="1541" y="3569"/>
                </a:lnTo>
                <a:lnTo>
                  <a:pt x="1535" y="3560"/>
                </a:lnTo>
                <a:lnTo>
                  <a:pt x="1530" y="3554"/>
                </a:lnTo>
                <a:lnTo>
                  <a:pt x="1524" y="3541"/>
                </a:lnTo>
                <a:lnTo>
                  <a:pt x="1522" y="3535"/>
                </a:lnTo>
                <a:lnTo>
                  <a:pt x="1522" y="3528"/>
                </a:lnTo>
                <a:lnTo>
                  <a:pt x="1522" y="3522"/>
                </a:lnTo>
                <a:lnTo>
                  <a:pt x="1524" y="3516"/>
                </a:lnTo>
                <a:lnTo>
                  <a:pt x="1528" y="3507"/>
                </a:lnTo>
                <a:lnTo>
                  <a:pt x="1533" y="3499"/>
                </a:lnTo>
                <a:lnTo>
                  <a:pt x="1545" y="3484"/>
                </a:lnTo>
                <a:lnTo>
                  <a:pt x="1564" y="3465"/>
                </a:lnTo>
                <a:lnTo>
                  <a:pt x="1605" y="3416"/>
                </a:lnTo>
                <a:lnTo>
                  <a:pt x="1611" y="3416"/>
                </a:lnTo>
                <a:lnTo>
                  <a:pt x="1617" y="3420"/>
                </a:lnTo>
                <a:lnTo>
                  <a:pt x="1624" y="3423"/>
                </a:lnTo>
                <a:lnTo>
                  <a:pt x="1628" y="3429"/>
                </a:lnTo>
                <a:lnTo>
                  <a:pt x="1628" y="3435"/>
                </a:lnTo>
                <a:lnTo>
                  <a:pt x="1626" y="3442"/>
                </a:lnTo>
                <a:lnTo>
                  <a:pt x="1626" y="3444"/>
                </a:lnTo>
                <a:lnTo>
                  <a:pt x="1624" y="3448"/>
                </a:lnTo>
                <a:lnTo>
                  <a:pt x="1594" y="3482"/>
                </a:lnTo>
                <a:lnTo>
                  <a:pt x="1575" y="3503"/>
                </a:lnTo>
                <a:lnTo>
                  <a:pt x="1562" y="3518"/>
                </a:lnTo>
                <a:lnTo>
                  <a:pt x="1560" y="3522"/>
                </a:lnTo>
                <a:lnTo>
                  <a:pt x="1558" y="3528"/>
                </a:lnTo>
                <a:lnTo>
                  <a:pt x="1560" y="3533"/>
                </a:lnTo>
                <a:lnTo>
                  <a:pt x="1562" y="3539"/>
                </a:lnTo>
                <a:lnTo>
                  <a:pt x="1573" y="3552"/>
                </a:lnTo>
                <a:lnTo>
                  <a:pt x="1590" y="3569"/>
                </a:lnTo>
                <a:lnTo>
                  <a:pt x="1609" y="3588"/>
                </a:lnTo>
                <a:lnTo>
                  <a:pt x="1628" y="3607"/>
                </a:lnTo>
                <a:lnTo>
                  <a:pt x="1630" y="3609"/>
                </a:lnTo>
                <a:lnTo>
                  <a:pt x="1632" y="3611"/>
                </a:lnTo>
                <a:lnTo>
                  <a:pt x="1630" y="3615"/>
                </a:lnTo>
                <a:lnTo>
                  <a:pt x="1630" y="3617"/>
                </a:lnTo>
                <a:lnTo>
                  <a:pt x="1624" y="3626"/>
                </a:lnTo>
                <a:lnTo>
                  <a:pt x="1617" y="3630"/>
                </a:lnTo>
                <a:lnTo>
                  <a:pt x="1613" y="3632"/>
                </a:lnTo>
                <a:lnTo>
                  <a:pt x="1611" y="3632"/>
                </a:lnTo>
                <a:close/>
                <a:moveTo>
                  <a:pt x="3613" y="2436"/>
                </a:moveTo>
                <a:lnTo>
                  <a:pt x="3603" y="2428"/>
                </a:lnTo>
                <a:lnTo>
                  <a:pt x="3594" y="2419"/>
                </a:lnTo>
                <a:lnTo>
                  <a:pt x="3588" y="2411"/>
                </a:lnTo>
                <a:lnTo>
                  <a:pt x="3582" y="2398"/>
                </a:lnTo>
                <a:lnTo>
                  <a:pt x="3579" y="2392"/>
                </a:lnTo>
                <a:lnTo>
                  <a:pt x="3577" y="2388"/>
                </a:lnTo>
                <a:lnTo>
                  <a:pt x="3573" y="2373"/>
                </a:lnTo>
                <a:lnTo>
                  <a:pt x="3571" y="2360"/>
                </a:lnTo>
                <a:lnTo>
                  <a:pt x="3569" y="2345"/>
                </a:lnTo>
                <a:lnTo>
                  <a:pt x="3571" y="2333"/>
                </a:lnTo>
                <a:lnTo>
                  <a:pt x="3573" y="2318"/>
                </a:lnTo>
                <a:lnTo>
                  <a:pt x="3577" y="2305"/>
                </a:lnTo>
                <a:lnTo>
                  <a:pt x="3582" y="2292"/>
                </a:lnTo>
                <a:lnTo>
                  <a:pt x="3588" y="2280"/>
                </a:lnTo>
                <a:lnTo>
                  <a:pt x="3594" y="2269"/>
                </a:lnTo>
                <a:lnTo>
                  <a:pt x="3603" y="2258"/>
                </a:lnTo>
                <a:lnTo>
                  <a:pt x="3613" y="2250"/>
                </a:lnTo>
                <a:lnTo>
                  <a:pt x="3613" y="2303"/>
                </a:lnTo>
                <a:lnTo>
                  <a:pt x="3609" y="2311"/>
                </a:lnTo>
                <a:lnTo>
                  <a:pt x="3607" y="2322"/>
                </a:lnTo>
                <a:lnTo>
                  <a:pt x="3605" y="2333"/>
                </a:lnTo>
                <a:lnTo>
                  <a:pt x="3603" y="2345"/>
                </a:lnTo>
                <a:lnTo>
                  <a:pt x="3605" y="2356"/>
                </a:lnTo>
                <a:lnTo>
                  <a:pt x="3607" y="2366"/>
                </a:lnTo>
                <a:lnTo>
                  <a:pt x="3609" y="2377"/>
                </a:lnTo>
                <a:lnTo>
                  <a:pt x="3613" y="2385"/>
                </a:lnTo>
                <a:lnTo>
                  <a:pt x="3613" y="2436"/>
                </a:lnTo>
                <a:close/>
                <a:moveTo>
                  <a:pt x="3613" y="3029"/>
                </a:moveTo>
                <a:lnTo>
                  <a:pt x="3603" y="3020"/>
                </a:lnTo>
                <a:lnTo>
                  <a:pt x="3594" y="3012"/>
                </a:lnTo>
                <a:lnTo>
                  <a:pt x="3588" y="3001"/>
                </a:lnTo>
                <a:lnTo>
                  <a:pt x="3582" y="2991"/>
                </a:lnTo>
                <a:lnTo>
                  <a:pt x="3579" y="2984"/>
                </a:lnTo>
                <a:lnTo>
                  <a:pt x="3577" y="2978"/>
                </a:lnTo>
                <a:lnTo>
                  <a:pt x="3573" y="2965"/>
                </a:lnTo>
                <a:lnTo>
                  <a:pt x="3571" y="2953"/>
                </a:lnTo>
                <a:lnTo>
                  <a:pt x="3569" y="2938"/>
                </a:lnTo>
                <a:lnTo>
                  <a:pt x="3571" y="2923"/>
                </a:lnTo>
                <a:lnTo>
                  <a:pt x="3573" y="2910"/>
                </a:lnTo>
                <a:lnTo>
                  <a:pt x="3577" y="2896"/>
                </a:lnTo>
                <a:lnTo>
                  <a:pt x="3582" y="2883"/>
                </a:lnTo>
                <a:lnTo>
                  <a:pt x="3588" y="2872"/>
                </a:lnTo>
                <a:lnTo>
                  <a:pt x="3594" y="2860"/>
                </a:lnTo>
                <a:lnTo>
                  <a:pt x="3603" y="2851"/>
                </a:lnTo>
                <a:lnTo>
                  <a:pt x="3613" y="2843"/>
                </a:lnTo>
                <a:lnTo>
                  <a:pt x="3613" y="2893"/>
                </a:lnTo>
                <a:lnTo>
                  <a:pt x="3609" y="2904"/>
                </a:lnTo>
                <a:lnTo>
                  <a:pt x="3607" y="2915"/>
                </a:lnTo>
                <a:lnTo>
                  <a:pt x="3605" y="2925"/>
                </a:lnTo>
                <a:lnTo>
                  <a:pt x="3603" y="2936"/>
                </a:lnTo>
                <a:lnTo>
                  <a:pt x="3605" y="2948"/>
                </a:lnTo>
                <a:lnTo>
                  <a:pt x="3607" y="2959"/>
                </a:lnTo>
                <a:lnTo>
                  <a:pt x="3609" y="2968"/>
                </a:lnTo>
                <a:lnTo>
                  <a:pt x="3613" y="2978"/>
                </a:lnTo>
                <a:lnTo>
                  <a:pt x="3613" y="3029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60935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ags" Target="../tags/tag1.xml"/><Relationship Id="rId18" Type="http://schemas.openxmlformats.org/officeDocument/2006/relationships/image" Target="../media/image12.svg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2.xml"/><Relationship Id="rId17" Type="http://schemas.openxmlformats.org/officeDocument/2006/relationships/image" Target="../media/image11.png"/><Relationship Id="rId2" Type="http://schemas.openxmlformats.org/officeDocument/2006/relationships/slideLayout" Target="../slideLayouts/slideLayout49.xml"/><Relationship Id="rId16" Type="http://schemas.openxmlformats.org/officeDocument/2006/relationships/image" Target="../media/image1.png"/><Relationship Id="rId20" Type="http://schemas.openxmlformats.org/officeDocument/2006/relationships/image" Target="../media/image14.svg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10.emf"/><Relationship Id="rId10" Type="http://schemas.openxmlformats.org/officeDocument/2006/relationships/slideLayout" Target="../slideLayouts/slideLayout57.xml"/><Relationship Id="rId19" Type="http://schemas.openxmlformats.org/officeDocument/2006/relationships/image" Target="../media/image13.png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9" Type="http://schemas.openxmlformats.org/officeDocument/2006/relationships/slideLayout" Target="../slideLayouts/slideLayout97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34" Type="http://schemas.openxmlformats.org/officeDocument/2006/relationships/slideLayout" Target="../slideLayouts/slideLayout92.xml"/><Relationship Id="rId42" Type="http://schemas.openxmlformats.org/officeDocument/2006/relationships/slideLayout" Target="../slideLayouts/slideLayout100.xml"/><Relationship Id="rId47" Type="http://schemas.openxmlformats.org/officeDocument/2006/relationships/slideLayout" Target="../slideLayouts/slideLayout105.xml"/><Relationship Id="rId50" Type="http://schemas.openxmlformats.org/officeDocument/2006/relationships/image" Target="../media/image1.png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33" Type="http://schemas.openxmlformats.org/officeDocument/2006/relationships/slideLayout" Target="../slideLayouts/slideLayout91.xml"/><Relationship Id="rId38" Type="http://schemas.openxmlformats.org/officeDocument/2006/relationships/slideLayout" Target="../slideLayouts/slideLayout96.xml"/><Relationship Id="rId46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slideLayout" Target="../slideLayouts/slideLayout87.xml"/><Relationship Id="rId41" Type="http://schemas.openxmlformats.org/officeDocument/2006/relationships/slideLayout" Target="../slideLayouts/slideLayout99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slideLayout" Target="../slideLayouts/slideLayout90.xml"/><Relationship Id="rId37" Type="http://schemas.openxmlformats.org/officeDocument/2006/relationships/slideLayout" Target="../slideLayouts/slideLayout95.xml"/><Relationship Id="rId40" Type="http://schemas.openxmlformats.org/officeDocument/2006/relationships/slideLayout" Target="../slideLayouts/slideLayout98.xml"/><Relationship Id="rId45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36" Type="http://schemas.openxmlformats.org/officeDocument/2006/relationships/slideLayout" Target="../slideLayouts/slideLayout94.xml"/><Relationship Id="rId49" Type="http://schemas.openxmlformats.org/officeDocument/2006/relationships/theme" Target="../theme/theme3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slideLayout" Target="../slideLayouts/slideLayout89.xml"/><Relationship Id="rId44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slideLayout" Target="../slideLayouts/slideLayout88.xml"/><Relationship Id="rId35" Type="http://schemas.openxmlformats.org/officeDocument/2006/relationships/slideLayout" Target="../slideLayouts/slideLayout93.xml"/><Relationship Id="rId43" Type="http://schemas.openxmlformats.org/officeDocument/2006/relationships/slideLayout" Target="../slideLayouts/slideLayout101.xml"/><Relationship Id="rId48" Type="http://schemas.openxmlformats.org/officeDocument/2006/relationships/slideLayout" Target="../slideLayouts/slideLayout106.xml"/><Relationship Id="rId8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>
            <a:extLst>
              <a:ext uri="{FF2B5EF4-FFF2-40B4-BE49-F238E27FC236}">
                <a16:creationId xmlns:a16="http://schemas.microsoft.com/office/drawing/2014/main" id="{ED1D5F28-D6A6-4E66-8A30-C757CB8657A8}"/>
              </a:ext>
            </a:extLst>
          </p:cNvPr>
          <p:cNvSpPr>
            <a:spLocks noEditPoints="1"/>
          </p:cNvSpPr>
          <p:nvPr userDrawn="1"/>
        </p:nvSpPr>
        <p:spPr bwMode="auto">
          <a:xfrm flipV="1">
            <a:off x="7608168" y="0"/>
            <a:ext cx="4583832" cy="2270479"/>
          </a:xfrm>
          <a:custGeom>
            <a:avLst/>
            <a:gdLst>
              <a:gd name="T0" fmla="*/ 3697 w 4811"/>
              <a:gd name="T1" fmla="*/ 2229 h 2383"/>
              <a:gd name="T2" fmla="*/ 4135 w 4811"/>
              <a:gd name="T3" fmla="*/ 2292 h 2383"/>
              <a:gd name="T4" fmla="*/ 4664 w 4811"/>
              <a:gd name="T5" fmla="*/ 925 h 2383"/>
              <a:gd name="T6" fmla="*/ 4243 w 4811"/>
              <a:gd name="T7" fmla="*/ 833 h 2383"/>
              <a:gd name="T8" fmla="*/ 3838 w 4811"/>
              <a:gd name="T9" fmla="*/ 694 h 2383"/>
              <a:gd name="T10" fmla="*/ 3455 w 4811"/>
              <a:gd name="T11" fmla="*/ 502 h 2383"/>
              <a:gd name="T12" fmla="*/ 3177 w 4811"/>
              <a:gd name="T13" fmla="*/ 365 h 2383"/>
              <a:gd name="T14" fmla="*/ 3047 w 4811"/>
              <a:gd name="T15" fmla="*/ 284 h 2383"/>
              <a:gd name="T16" fmla="*/ 444 w 4811"/>
              <a:gd name="T17" fmla="*/ 1728 h 2383"/>
              <a:gd name="T18" fmla="*/ 569 w 4811"/>
              <a:gd name="T19" fmla="*/ 1649 h 2383"/>
              <a:gd name="T20" fmla="*/ 2935 w 4811"/>
              <a:gd name="T21" fmla="*/ 245 h 2383"/>
              <a:gd name="T22" fmla="*/ 1360 w 4811"/>
              <a:gd name="T23" fmla="*/ 1024 h 2383"/>
              <a:gd name="T24" fmla="*/ 2672 w 4811"/>
              <a:gd name="T25" fmla="*/ 135 h 2383"/>
              <a:gd name="T26" fmla="*/ 1444 w 4811"/>
              <a:gd name="T27" fmla="*/ 614 h 2383"/>
              <a:gd name="T28" fmla="*/ 1457 w 4811"/>
              <a:gd name="T29" fmla="*/ 469 h 2383"/>
              <a:gd name="T30" fmla="*/ 1962 w 4811"/>
              <a:gd name="T31" fmla="*/ 44 h 2383"/>
              <a:gd name="T32" fmla="*/ 1697 w 4811"/>
              <a:gd name="T33" fmla="*/ 121 h 2383"/>
              <a:gd name="T34" fmla="*/ 4512 w 4811"/>
              <a:gd name="T35" fmla="*/ 1220 h 2383"/>
              <a:gd name="T36" fmla="*/ 4105 w 4811"/>
              <a:gd name="T37" fmla="*/ 1077 h 2383"/>
              <a:gd name="T38" fmla="*/ 3709 w 4811"/>
              <a:gd name="T39" fmla="*/ 878 h 2383"/>
              <a:gd name="T40" fmla="*/ 3339 w 4811"/>
              <a:gd name="T41" fmla="*/ 673 h 2383"/>
              <a:gd name="T42" fmla="*/ 733 w 4811"/>
              <a:gd name="T43" fmla="*/ 2077 h 2383"/>
              <a:gd name="T44" fmla="*/ 835 w 4811"/>
              <a:gd name="T45" fmla="*/ 1990 h 2383"/>
              <a:gd name="T46" fmla="*/ 1324 w 4811"/>
              <a:gd name="T47" fmla="*/ 1694 h 2383"/>
              <a:gd name="T48" fmla="*/ 1522 w 4811"/>
              <a:gd name="T49" fmla="*/ 1503 h 2383"/>
              <a:gd name="T50" fmla="*/ 1660 w 4811"/>
              <a:gd name="T51" fmla="*/ 1239 h 2383"/>
              <a:gd name="T52" fmla="*/ 2781 w 4811"/>
              <a:gd name="T53" fmla="*/ 439 h 2383"/>
              <a:gd name="T54" fmla="*/ 1718 w 4811"/>
              <a:gd name="T55" fmla="*/ 811 h 2383"/>
              <a:gd name="T56" fmla="*/ 2218 w 4811"/>
              <a:gd name="T57" fmla="*/ 385 h 2383"/>
              <a:gd name="T58" fmla="*/ 1945 w 4811"/>
              <a:gd name="T59" fmla="*/ 469 h 2383"/>
              <a:gd name="T60" fmla="*/ 4617 w 4811"/>
              <a:gd name="T61" fmla="*/ 1533 h 2383"/>
              <a:gd name="T62" fmla="*/ 4100 w 4811"/>
              <a:gd name="T63" fmla="*/ 1288 h 2383"/>
              <a:gd name="T64" fmla="*/ 3735 w 4811"/>
              <a:gd name="T65" fmla="*/ 1088 h 2383"/>
              <a:gd name="T66" fmla="*/ 1488 w 4811"/>
              <a:gd name="T67" fmla="*/ 2147 h 2383"/>
              <a:gd name="T68" fmla="*/ 1615 w 4811"/>
              <a:gd name="T69" fmla="*/ 2081 h 2383"/>
              <a:gd name="T70" fmla="*/ 1818 w 4811"/>
              <a:gd name="T71" fmla="*/ 1874 h 2383"/>
              <a:gd name="T72" fmla="*/ 1949 w 4811"/>
              <a:gd name="T73" fmla="*/ 1628 h 2383"/>
              <a:gd name="T74" fmla="*/ 3075 w 4811"/>
              <a:gd name="T75" fmla="*/ 825 h 2383"/>
              <a:gd name="T76" fmla="*/ 2789 w 4811"/>
              <a:gd name="T77" fmla="*/ 776 h 2383"/>
              <a:gd name="T78" fmla="*/ 2035 w 4811"/>
              <a:gd name="T79" fmla="*/ 1065 h 2383"/>
              <a:gd name="T80" fmla="*/ 2114 w 4811"/>
              <a:gd name="T81" fmla="*/ 937 h 2383"/>
              <a:gd name="T82" fmla="*/ 4637 w 4811"/>
              <a:gd name="T83" fmla="*/ 1805 h 2383"/>
              <a:gd name="T84" fmla="*/ 4260 w 4811"/>
              <a:gd name="T85" fmla="*/ 1606 h 2383"/>
              <a:gd name="T86" fmla="*/ 3874 w 4811"/>
              <a:gd name="T87" fmla="*/ 1413 h 2383"/>
              <a:gd name="T88" fmla="*/ 2085 w 4811"/>
              <a:gd name="T89" fmla="*/ 2254 h 2383"/>
              <a:gd name="T90" fmla="*/ 2215 w 4811"/>
              <a:gd name="T91" fmla="*/ 2003 h 2383"/>
              <a:gd name="T92" fmla="*/ 3342 w 4811"/>
              <a:gd name="T93" fmla="*/ 1195 h 2383"/>
              <a:gd name="T94" fmla="*/ 3056 w 4811"/>
              <a:gd name="T95" fmla="*/ 1147 h 2383"/>
              <a:gd name="T96" fmla="*/ 2302 w 4811"/>
              <a:gd name="T97" fmla="*/ 1435 h 2383"/>
              <a:gd name="T98" fmla="*/ 2381 w 4811"/>
              <a:gd name="T99" fmla="*/ 1308 h 2383"/>
              <a:gd name="T100" fmla="*/ 4653 w 4811"/>
              <a:gd name="T101" fmla="*/ 2048 h 2383"/>
              <a:gd name="T102" fmla="*/ 4272 w 4811"/>
              <a:gd name="T103" fmla="*/ 1845 h 2383"/>
              <a:gd name="T104" fmla="*/ 3878 w 4811"/>
              <a:gd name="T105" fmla="*/ 1665 h 2383"/>
              <a:gd name="T106" fmla="*/ 2513 w 4811"/>
              <a:gd name="T107" fmla="*/ 2232 h 2383"/>
              <a:gd name="T108" fmla="*/ 3462 w 4811"/>
              <a:gd name="T109" fmla="*/ 1541 h 2383"/>
              <a:gd name="T110" fmla="*/ 3181 w 4811"/>
              <a:gd name="T111" fmla="*/ 1508 h 2383"/>
              <a:gd name="T112" fmla="*/ 2893 w 4811"/>
              <a:gd name="T113" fmla="*/ 1559 h 2383"/>
              <a:gd name="T114" fmla="*/ 4793 w 4811"/>
              <a:gd name="T115" fmla="*/ 2346 h 2383"/>
              <a:gd name="T116" fmla="*/ 4402 w 4811"/>
              <a:gd name="T117" fmla="*/ 2133 h 2383"/>
              <a:gd name="T118" fmla="*/ 4008 w 4811"/>
              <a:gd name="T119" fmla="*/ 1967 h 2383"/>
              <a:gd name="T120" fmla="*/ 3592 w 4811"/>
              <a:gd name="T121" fmla="*/ 1871 h 2383"/>
              <a:gd name="T122" fmla="*/ 2838 w 4811"/>
              <a:gd name="T123" fmla="*/ 2167 h 2383"/>
              <a:gd name="T124" fmla="*/ 2915 w 4811"/>
              <a:gd name="T125" fmla="*/ 2051 h 2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11" h="2383">
                <a:moveTo>
                  <a:pt x="3277" y="2328"/>
                </a:moveTo>
                <a:lnTo>
                  <a:pt x="3280" y="2327"/>
                </a:lnTo>
                <a:lnTo>
                  <a:pt x="3283" y="2326"/>
                </a:lnTo>
                <a:lnTo>
                  <a:pt x="3286" y="2326"/>
                </a:lnTo>
                <a:lnTo>
                  <a:pt x="3289" y="2327"/>
                </a:lnTo>
                <a:lnTo>
                  <a:pt x="3292" y="2328"/>
                </a:lnTo>
                <a:lnTo>
                  <a:pt x="3294" y="2330"/>
                </a:lnTo>
                <a:lnTo>
                  <a:pt x="3295" y="2331"/>
                </a:lnTo>
                <a:lnTo>
                  <a:pt x="3296" y="2332"/>
                </a:lnTo>
                <a:lnTo>
                  <a:pt x="3298" y="2334"/>
                </a:lnTo>
                <a:lnTo>
                  <a:pt x="3299" y="2340"/>
                </a:lnTo>
                <a:lnTo>
                  <a:pt x="3299" y="2343"/>
                </a:lnTo>
                <a:lnTo>
                  <a:pt x="3299" y="2345"/>
                </a:lnTo>
                <a:lnTo>
                  <a:pt x="3298" y="2348"/>
                </a:lnTo>
                <a:lnTo>
                  <a:pt x="3296" y="2350"/>
                </a:lnTo>
                <a:lnTo>
                  <a:pt x="3294" y="2352"/>
                </a:lnTo>
                <a:lnTo>
                  <a:pt x="3292" y="2354"/>
                </a:lnTo>
                <a:lnTo>
                  <a:pt x="3289" y="2355"/>
                </a:lnTo>
                <a:lnTo>
                  <a:pt x="3286" y="2356"/>
                </a:lnTo>
                <a:lnTo>
                  <a:pt x="3282" y="2356"/>
                </a:lnTo>
                <a:lnTo>
                  <a:pt x="3280" y="2355"/>
                </a:lnTo>
                <a:lnTo>
                  <a:pt x="3277" y="2354"/>
                </a:lnTo>
                <a:lnTo>
                  <a:pt x="3274" y="2352"/>
                </a:lnTo>
                <a:lnTo>
                  <a:pt x="3273" y="2351"/>
                </a:lnTo>
                <a:lnTo>
                  <a:pt x="3272" y="2350"/>
                </a:lnTo>
                <a:lnTo>
                  <a:pt x="3271" y="2347"/>
                </a:lnTo>
                <a:lnTo>
                  <a:pt x="3269" y="2342"/>
                </a:lnTo>
                <a:lnTo>
                  <a:pt x="3269" y="2339"/>
                </a:lnTo>
                <a:lnTo>
                  <a:pt x="3270" y="2336"/>
                </a:lnTo>
                <a:lnTo>
                  <a:pt x="3271" y="2334"/>
                </a:lnTo>
                <a:lnTo>
                  <a:pt x="3273" y="2332"/>
                </a:lnTo>
                <a:lnTo>
                  <a:pt x="3274" y="2329"/>
                </a:lnTo>
                <a:lnTo>
                  <a:pt x="3277" y="2328"/>
                </a:lnTo>
                <a:close/>
                <a:moveTo>
                  <a:pt x="3411" y="2276"/>
                </a:moveTo>
                <a:lnTo>
                  <a:pt x="3414" y="2274"/>
                </a:lnTo>
                <a:lnTo>
                  <a:pt x="3417" y="2274"/>
                </a:lnTo>
                <a:lnTo>
                  <a:pt x="3420" y="2274"/>
                </a:lnTo>
                <a:lnTo>
                  <a:pt x="3423" y="2274"/>
                </a:lnTo>
                <a:lnTo>
                  <a:pt x="3425" y="2275"/>
                </a:lnTo>
                <a:lnTo>
                  <a:pt x="3428" y="2277"/>
                </a:lnTo>
                <a:lnTo>
                  <a:pt x="3430" y="2279"/>
                </a:lnTo>
                <a:lnTo>
                  <a:pt x="3431" y="2281"/>
                </a:lnTo>
                <a:lnTo>
                  <a:pt x="3433" y="2284"/>
                </a:lnTo>
                <a:lnTo>
                  <a:pt x="3433" y="2289"/>
                </a:lnTo>
                <a:lnTo>
                  <a:pt x="3433" y="2292"/>
                </a:lnTo>
                <a:lnTo>
                  <a:pt x="3432" y="2294"/>
                </a:lnTo>
                <a:lnTo>
                  <a:pt x="3431" y="2296"/>
                </a:lnTo>
                <a:lnTo>
                  <a:pt x="3430" y="2298"/>
                </a:lnTo>
                <a:lnTo>
                  <a:pt x="3428" y="2300"/>
                </a:lnTo>
                <a:lnTo>
                  <a:pt x="3426" y="2302"/>
                </a:lnTo>
                <a:lnTo>
                  <a:pt x="3423" y="2303"/>
                </a:lnTo>
                <a:lnTo>
                  <a:pt x="3420" y="2304"/>
                </a:lnTo>
                <a:lnTo>
                  <a:pt x="3417" y="2304"/>
                </a:lnTo>
                <a:lnTo>
                  <a:pt x="3414" y="2303"/>
                </a:lnTo>
                <a:lnTo>
                  <a:pt x="3411" y="2302"/>
                </a:lnTo>
                <a:lnTo>
                  <a:pt x="3409" y="2300"/>
                </a:lnTo>
                <a:lnTo>
                  <a:pt x="3407" y="2298"/>
                </a:lnTo>
                <a:lnTo>
                  <a:pt x="3405" y="2296"/>
                </a:lnTo>
                <a:lnTo>
                  <a:pt x="3404" y="2293"/>
                </a:lnTo>
                <a:lnTo>
                  <a:pt x="3403" y="2288"/>
                </a:lnTo>
                <a:lnTo>
                  <a:pt x="3404" y="2285"/>
                </a:lnTo>
                <a:lnTo>
                  <a:pt x="3404" y="2283"/>
                </a:lnTo>
                <a:lnTo>
                  <a:pt x="3405" y="2281"/>
                </a:lnTo>
                <a:lnTo>
                  <a:pt x="3407" y="2279"/>
                </a:lnTo>
                <a:lnTo>
                  <a:pt x="3409" y="2277"/>
                </a:lnTo>
                <a:lnTo>
                  <a:pt x="3411" y="2276"/>
                </a:lnTo>
                <a:close/>
                <a:moveTo>
                  <a:pt x="3551" y="2243"/>
                </a:moveTo>
                <a:lnTo>
                  <a:pt x="3553" y="2242"/>
                </a:lnTo>
                <a:lnTo>
                  <a:pt x="3556" y="2241"/>
                </a:lnTo>
                <a:lnTo>
                  <a:pt x="3559" y="2241"/>
                </a:lnTo>
                <a:lnTo>
                  <a:pt x="3562" y="2241"/>
                </a:lnTo>
                <a:lnTo>
                  <a:pt x="3565" y="2242"/>
                </a:lnTo>
                <a:lnTo>
                  <a:pt x="3567" y="2244"/>
                </a:lnTo>
                <a:lnTo>
                  <a:pt x="3569" y="2246"/>
                </a:lnTo>
                <a:lnTo>
                  <a:pt x="3571" y="2248"/>
                </a:lnTo>
                <a:lnTo>
                  <a:pt x="3572" y="2251"/>
                </a:lnTo>
                <a:lnTo>
                  <a:pt x="3573" y="2254"/>
                </a:lnTo>
                <a:lnTo>
                  <a:pt x="3573" y="2258"/>
                </a:lnTo>
                <a:lnTo>
                  <a:pt x="3572" y="2263"/>
                </a:lnTo>
                <a:lnTo>
                  <a:pt x="3569" y="2266"/>
                </a:lnTo>
                <a:lnTo>
                  <a:pt x="3566" y="2269"/>
                </a:lnTo>
                <a:lnTo>
                  <a:pt x="3563" y="2270"/>
                </a:lnTo>
                <a:lnTo>
                  <a:pt x="3561" y="2271"/>
                </a:lnTo>
                <a:lnTo>
                  <a:pt x="3557" y="2271"/>
                </a:lnTo>
                <a:lnTo>
                  <a:pt x="3555" y="2271"/>
                </a:lnTo>
                <a:lnTo>
                  <a:pt x="3552" y="2270"/>
                </a:lnTo>
                <a:lnTo>
                  <a:pt x="3549" y="2268"/>
                </a:lnTo>
                <a:lnTo>
                  <a:pt x="3547" y="2266"/>
                </a:lnTo>
                <a:lnTo>
                  <a:pt x="3545" y="2264"/>
                </a:lnTo>
                <a:lnTo>
                  <a:pt x="3544" y="2261"/>
                </a:lnTo>
                <a:lnTo>
                  <a:pt x="3543" y="2258"/>
                </a:lnTo>
                <a:lnTo>
                  <a:pt x="3543" y="2254"/>
                </a:lnTo>
                <a:lnTo>
                  <a:pt x="3545" y="2249"/>
                </a:lnTo>
                <a:lnTo>
                  <a:pt x="3547" y="2246"/>
                </a:lnTo>
                <a:lnTo>
                  <a:pt x="3551" y="2243"/>
                </a:lnTo>
                <a:close/>
                <a:moveTo>
                  <a:pt x="3694" y="2230"/>
                </a:moveTo>
                <a:lnTo>
                  <a:pt x="3697" y="2229"/>
                </a:lnTo>
                <a:lnTo>
                  <a:pt x="3701" y="2228"/>
                </a:lnTo>
                <a:lnTo>
                  <a:pt x="3704" y="2229"/>
                </a:lnTo>
                <a:lnTo>
                  <a:pt x="3707" y="2229"/>
                </a:lnTo>
                <a:lnTo>
                  <a:pt x="3710" y="2231"/>
                </a:lnTo>
                <a:lnTo>
                  <a:pt x="3712" y="2233"/>
                </a:lnTo>
                <a:lnTo>
                  <a:pt x="3714" y="2235"/>
                </a:lnTo>
                <a:lnTo>
                  <a:pt x="3715" y="2237"/>
                </a:lnTo>
                <a:lnTo>
                  <a:pt x="3716" y="2240"/>
                </a:lnTo>
                <a:lnTo>
                  <a:pt x="3716" y="2243"/>
                </a:lnTo>
                <a:lnTo>
                  <a:pt x="3716" y="2247"/>
                </a:lnTo>
                <a:lnTo>
                  <a:pt x="3714" y="2251"/>
                </a:lnTo>
                <a:lnTo>
                  <a:pt x="3712" y="2254"/>
                </a:lnTo>
                <a:lnTo>
                  <a:pt x="3709" y="2256"/>
                </a:lnTo>
                <a:lnTo>
                  <a:pt x="3705" y="2258"/>
                </a:lnTo>
                <a:lnTo>
                  <a:pt x="3702" y="2258"/>
                </a:lnTo>
                <a:lnTo>
                  <a:pt x="3699" y="2258"/>
                </a:lnTo>
                <a:lnTo>
                  <a:pt x="3696" y="2257"/>
                </a:lnTo>
                <a:lnTo>
                  <a:pt x="3693" y="2256"/>
                </a:lnTo>
                <a:lnTo>
                  <a:pt x="3691" y="2254"/>
                </a:lnTo>
                <a:lnTo>
                  <a:pt x="3689" y="2252"/>
                </a:lnTo>
                <a:lnTo>
                  <a:pt x="3688" y="2250"/>
                </a:lnTo>
                <a:lnTo>
                  <a:pt x="3687" y="2247"/>
                </a:lnTo>
                <a:lnTo>
                  <a:pt x="3686" y="2244"/>
                </a:lnTo>
                <a:lnTo>
                  <a:pt x="3687" y="2240"/>
                </a:lnTo>
                <a:lnTo>
                  <a:pt x="3688" y="2236"/>
                </a:lnTo>
                <a:lnTo>
                  <a:pt x="3691" y="2233"/>
                </a:lnTo>
                <a:lnTo>
                  <a:pt x="3694" y="2230"/>
                </a:lnTo>
                <a:close/>
                <a:moveTo>
                  <a:pt x="3838" y="2236"/>
                </a:moveTo>
                <a:lnTo>
                  <a:pt x="3842" y="2235"/>
                </a:lnTo>
                <a:lnTo>
                  <a:pt x="3844" y="2234"/>
                </a:lnTo>
                <a:lnTo>
                  <a:pt x="3847" y="2234"/>
                </a:lnTo>
                <a:lnTo>
                  <a:pt x="3850" y="2235"/>
                </a:lnTo>
                <a:lnTo>
                  <a:pt x="3852" y="2236"/>
                </a:lnTo>
                <a:lnTo>
                  <a:pt x="3855" y="2238"/>
                </a:lnTo>
                <a:lnTo>
                  <a:pt x="3857" y="2240"/>
                </a:lnTo>
                <a:lnTo>
                  <a:pt x="3858" y="2241"/>
                </a:lnTo>
                <a:lnTo>
                  <a:pt x="3858" y="2242"/>
                </a:lnTo>
                <a:lnTo>
                  <a:pt x="3859" y="2245"/>
                </a:lnTo>
                <a:lnTo>
                  <a:pt x="3860" y="2248"/>
                </a:lnTo>
                <a:lnTo>
                  <a:pt x="3860" y="2251"/>
                </a:lnTo>
                <a:lnTo>
                  <a:pt x="3859" y="2254"/>
                </a:lnTo>
                <a:lnTo>
                  <a:pt x="3858" y="2258"/>
                </a:lnTo>
                <a:lnTo>
                  <a:pt x="3855" y="2260"/>
                </a:lnTo>
                <a:lnTo>
                  <a:pt x="3853" y="2262"/>
                </a:lnTo>
                <a:lnTo>
                  <a:pt x="3848" y="2264"/>
                </a:lnTo>
                <a:lnTo>
                  <a:pt x="3846" y="2264"/>
                </a:lnTo>
                <a:lnTo>
                  <a:pt x="3844" y="2264"/>
                </a:lnTo>
                <a:lnTo>
                  <a:pt x="3841" y="2264"/>
                </a:lnTo>
                <a:lnTo>
                  <a:pt x="3838" y="2263"/>
                </a:lnTo>
                <a:lnTo>
                  <a:pt x="3835" y="2261"/>
                </a:lnTo>
                <a:lnTo>
                  <a:pt x="3833" y="2259"/>
                </a:lnTo>
                <a:lnTo>
                  <a:pt x="3833" y="2258"/>
                </a:lnTo>
                <a:lnTo>
                  <a:pt x="3832" y="2256"/>
                </a:lnTo>
                <a:lnTo>
                  <a:pt x="3831" y="2254"/>
                </a:lnTo>
                <a:lnTo>
                  <a:pt x="3830" y="2251"/>
                </a:lnTo>
                <a:lnTo>
                  <a:pt x="3830" y="2248"/>
                </a:lnTo>
                <a:lnTo>
                  <a:pt x="3831" y="2244"/>
                </a:lnTo>
                <a:lnTo>
                  <a:pt x="3832" y="2241"/>
                </a:lnTo>
                <a:lnTo>
                  <a:pt x="3835" y="2238"/>
                </a:lnTo>
                <a:lnTo>
                  <a:pt x="3838" y="2236"/>
                </a:lnTo>
                <a:close/>
                <a:moveTo>
                  <a:pt x="3980" y="2258"/>
                </a:moveTo>
                <a:lnTo>
                  <a:pt x="3982" y="2257"/>
                </a:lnTo>
                <a:lnTo>
                  <a:pt x="3985" y="2256"/>
                </a:lnTo>
                <a:lnTo>
                  <a:pt x="3990" y="2256"/>
                </a:lnTo>
                <a:lnTo>
                  <a:pt x="3993" y="2257"/>
                </a:lnTo>
                <a:lnTo>
                  <a:pt x="3996" y="2258"/>
                </a:lnTo>
                <a:lnTo>
                  <a:pt x="3998" y="2260"/>
                </a:lnTo>
                <a:lnTo>
                  <a:pt x="4000" y="2263"/>
                </a:lnTo>
                <a:lnTo>
                  <a:pt x="4001" y="2265"/>
                </a:lnTo>
                <a:lnTo>
                  <a:pt x="4002" y="2268"/>
                </a:lnTo>
                <a:lnTo>
                  <a:pt x="4002" y="2271"/>
                </a:lnTo>
                <a:lnTo>
                  <a:pt x="4002" y="2274"/>
                </a:lnTo>
                <a:lnTo>
                  <a:pt x="4001" y="2277"/>
                </a:lnTo>
                <a:lnTo>
                  <a:pt x="3999" y="2280"/>
                </a:lnTo>
                <a:lnTo>
                  <a:pt x="3997" y="2282"/>
                </a:lnTo>
                <a:lnTo>
                  <a:pt x="3995" y="2284"/>
                </a:lnTo>
                <a:lnTo>
                  <a:pt x="3992" y="2285"/>
                </a:lnTo>
                <a:lnTo>
                  <a:pt x="3990" y="2286"/>
                </a:lnTo>
                <a:lnTo>
                  <a:pt x="3984" y="2286"/>
                </a:lnTo>
                <a:lnTo>
                  <a:pt x="3981" y="2285"/>
                </a:lnTo>
                <a:lnTo>
                  <a:pt x="3979" y="2283"/>
                </a:lnTo>
                <a:lnTo>
                  <a:pt x="3977" y="2281"/>
                </a:lnTo>
                <a:lnTo>
                  <a:pt x="3975" y="2279"/>
                </a:lnTo>
                <a:lnTo>
                  <a:pt x="3973" y="2277"/>
                </a:lnTo>
                <a:lnTo>
                  <a:pt x="3972" y="2274"/>
                </a:lnTo>
                <a:lnTo>
                  <a:pt x="3972" y="2271"/>
                </a:lnTo>
                <a:lnTo>
                  <a:pt x="3972" y="2268"/>
                </a:lnTo>
                <a:lnTo>
                  <a:pt x="3973" y="2265"/>
                </a:lnTo>
                <a:lnTo>
                  <a:pt x="3975" y="2262"/>
                </a:lnTo>
                <a:lnTo>
                  <a:pt x="3977" y="2260"/>
                </a:lnTo>
                <a:lnTo>
                  <a:pt x="3980" y="2258"/>
                </a:lnTo>
                <a:close/>
                <a:moveTo>
                  <a:pt x="4121" y="2292"/>
                </a:moveTo>
                <a:lnTo>
                  <a:pt x="4123" y="2291"/>
                </a:lnTo>
                <a:lnTo>
                  <a:pt x="4126" y="2290"/>
                </a:lnTo>
                <a:lnTo>
                  <a:pt x="4129" y="2290"/>
                </a:lnTo>
                <a:lnTo>
                  <a:pt x="4132" y="2290"/>
                </a:lnTo>
                <a:lnTo>
                  <a:pt x="4135" y="2292"/>
                </a:lnTo>
                <a:lnTo>
                  <a:pt x="4137" y="2293"/>
                </a:lnTo>
                <a:lnTo>
                  <a:pt x="4140" y="2295"/>
                </a:lnTo>
                <a:lnTo>
                  <a:pt x="4141" y="2298"/>
                </a:lnTo>
                <a:lnTo>
                  <a:pt x="4142" y="2300"/>
                </a:lnTo>
                <a:lnTo>
                  <a:pt x="4143" y="2303"/>
                </a:lnTo>
                <a:lnTo>
                  <a:pt x="4143" y="2306"/>
                </a:lnTo>
                <a:lnTo>
                  <a:pt x="4143" y="2309"/>
                </a:lnTo>
                <a:lnTo>
                  <a:pt x="4141" y="2312"/>
                </a:lnTo>
                <a:lnTo>
                  <a:pt x="4140" y="2314"/>
                </a:lnTo>
                <a:lnTo>
                  <a:pt x="4138" y="2316"/>
                </a:lnTo>
                <a:lnTo>
                  <a:pt x="4136" y="2318"/>
                </a:lnTo>
                <a:lnTo>
                  <a:pt x="4133" y="2319"/>
                </a:lnTo>
                <a:lnTo>
                  <a:pt x="4130" y="2320"/>
                </a:lnTo>
                <a:lnTo>
                  <a:pt x="4127" y="2320"/>
                </a:lnTo>
                <a:lnTo>
                  <a:pt x="4124" y="2319"/>
                </a:lnTo>
                <a:lnTo>
                  <a:pt x="4121" y="2318"/>
                </a:lnTo>
                <a:lnTo>
                  <a:pt x="4119" y="2317"/>
                </a:lnTo>
                <a:lnTo>
                  <a:pt x="4117" y="2315"/>
                </a:lnTo>
                <a:lnTo>
                  <a:pt x="4115" y="2312"/>
                </a:lnTo>
                <a:lnTo>
                  <a:pt x="4114" y="2310"/>
                </a:lnTo>
                <a:lnTo>
                  <a:pt x="4113" y="2307"/>
                </a:lnTo>
                <a:lnTo>
                  <a:pt x="4113" y="2304"/>
                </a:lnTo>
                <a:lnTo>
                  <a:pt x="4114" y="2301"/>
                </a:lnTo>
                <a:lnTo>
                  <a:pt x="4115" y="2298"/>
                </a:lnTo>
                <a:lnTo>
                  <a:pt x="4116" y="2296"/>
                </a:lnTo>
                <a:lnTo>
                  <a:pt x="4118" y="2294"/>
                </a:lnTo>
                <a:lnTo>
                  <a:pt x="4121" y="2292"/>
                </a:lnTo>
                <a:close/>
                <a:moveTo>
                  <a:pt x="4258" y="2336"/>
                </a:moveTo>
                <a:lnTo>
                  <a:pt x="4261" y="2334"/>
                </a:lnTo>
                <a:lnTo>
                  <a:pt x="4264" y="2334"/>
                </a:lnTo>
                <a:lnTo>
                  <a:pt x="4267" y="2334"/>
                </a:lnTo>
                <a:lnTo>
                  <a:pt x="4270" y="2334"/>
                </a:lnTo>
                <a:lnTo>
                  <a:pt x="4273" y="2336"/>
                </a:lnTo>
                <a:lnTo>
                  <a:pt x="4275" y="2338"/>
                </a:lnTo>
                <a:lnTo>
                  <a:pt x="4277" y="2340"/>
                </a:lnTo>
                <a:lnTo>
                  <a:pt x="4279" y="2342"/>
                </a:lnTo>
                <a:lnTo>
                  <a:pt x="4280" y="2348"/>
                </a:lnTo>
                <a:lnTo>
                  <a:pt x="4279" y="2354"/>
                </a:lnTo>
                <a:lnTo>
                  <a:pt x="4278" y="2356"/>
                </a:lnTo>
                <a:lnTo>
                  <a:pt x="4277" y="2358"/>
                </a:lnTo>
                <a:lnTo>
                  <a:pt x="4275" y="2360"/>
                </a:lnTo>
                <a:lnTo>
                  <a:pt x="4273" y="2362"/>
                </a:lnTo>
                <a:lnTo>
                  <a:pt x="4270" y="2363"/>
                </a:lnTo>
                <a:lnTo>
                  <a:pt x="4267" y="2364"/>
                </a:lnTo>
                <a:lnTo>
                  <a:pt x="4263" y="2364"/>
                </a:lnTo>
                <a:lnTo>
                  <a:pt x="4260" y="2363"/>
                </a:lnTo>
                <a:lnTo>
                  <a:pt x="4257" y="2362"/>
                </a:lnTo>
                <a:lnTo>
                  <a:pt x="4255" y="2360"/>
                </a:lnTo>
                <a:lnTo>
                  <a:pt x="4253" y="2358"/>
                </a:lnTo>
                <a:lnTo>
                  <a:pt x="4252" y="2355"/>
                </a:lnTo>
                <a:lnTo>
                  <a:pt x="4250" y="2350"/>
                </a:lnTo>
                <a:lnTo>
                  <a:pt x="4251" y="2344"/>
                </a:lnTo>
                <a:lnTo>
                  <a:pt x="4252" y="2341"/>
                </a:lnTo>
                <a:lnTo>
                  <a:pt x="4254" y="2339"/>
                </a:lnTo>
                <a:lnTo>
                  <a:pt x="4255" y="2337"/>
                </a:lnTo>
                <a:lnTo>
                  <a:pt x="4258" y="2336"/>
                </a:lnTo>
                <a:close/>
                <a:moveTo>
                  <a:pt x="4787" y="946"/>
                </a:moveTo>
                <a:lnTo>
                  <a:pt x="4790" y="945"/>
                </a:lnTo>
                <a:lnTo>
                  <a:pt x="4792" y="944"/>
                </a:lnTo>
                <a:lnTo>
                  <a:pt x="4795" y="944"/>
                </a:lnTo>
                <a:lnTo>
                  <a:pt x="4798" y="944"/>
                </a:lnTo>
                <a:lnTo>
                  <a:pt x="4801" y="945"/>
                </a:lnTo>
                <a:lnTo>
                  <a:pt x="4804" y="946"/>
                </a:lnTo>
                <a:lnTo>
                  <a:pt x="4806" y="948"/>
                </a:lnTo>
                <a:lnTo>
                  <a:pt x="4808" y="950"/>
                </a:lnTo>
                <a:lnTo>
                  <a:pt x="4810" y="953"/>
                </a:lnTo>
                <a:lnTo>
                  <a:pt x="4811" y="956"/>
                </a:lnTo>
                <a:lnTo>
                  <a:pt x="4811" y="959"/>
                </a:lnTo>
                <a:lnTo>
                  <a:pt x="4811" y="962"/>
                </a:lnTo>
                <a:lnTo>
                  <a:pt x="4810" y="966"/>
                </a:lnTo>
                <a:lnTo>
                  <a:pt x="4808" y="969"/>
                </a:lnTo>
                <a:lnTo>
                  <a:pt x="4806" y="972"/>
                </a:lnTo>
                <a:lnTo>
                  <a:pt x="4803" y="974"/>
                </a:lnTo>
                <a:lnTo>
                  <a:pt x="4801" y="975"/>
                </a:lnTo>
                <a:lnTo>
                  <a:pt x="4798" y="976"/>
                </a:lnTo>
                <a:lnTo>
                  <a:pt x="4796" y="976"/>
                </a:lnTo>
                <a:lnTo>
                  <a:pt x="4793" y="976"/>
                </a:lnTo>
                <a:lnTo>
                  <a:pt x="4790" y="975"/>
                </a:lnTo>
                <a:lnTo>
                  <a:pt x="4787" y="974"/>
                </a:lnTo>
                <a:lnTo>
                  <a:pt x="4785" y="972"/>
                </a:lnTo>
                <a:lnTo>
                  <a:pt x="4782" y="969"/>
                </a:lnTo>
                <a:lnTo>
                  <a:pt x="4781" y="967"/>
                </a:lnTo>
                <a:lnTo>
                  <a:pt x="4780" y="964"/>
                </a:lnTo>
                <a:lnTo>
                  <a:pt x="4779" y="961"/>
                </a:lnTo>
                <a:lnTo>
                  <a:pt x="4780" y="958"/>
                </a:lnTo>
                <a:lnTo>
                  <a:pt x="4780" y="954"/>
                </a:lnTo>
                <a:lnTo>
                  <a:pt x="4782" y="951"/>
                </a:lnTo>
                <a:lnTo>
                  <a:pt x="4785" y="948"/>
                </a:lnTo>
                <a:lnTo>
                  <a:pt x="4787" y="946"/>
                </a:lnTo>
                <a:close/>
                <a:moveTo>
                  <a:pt x="4645" y="923"/>
                </a:moveTo>
                <a:lnTo>
                  <a:pt x="4648" y="922"/>
                </a:lnTo>
                <a:lnTo>
                  <a:pt x="4650" y="921"/>
                </a:lnTo>
                <a:lnTo>
                  <a:pt x="4656" y="921"/>
                </a:lnTo>
                <a:lnTo>
                  <a:pt x="4659" y="922"/>
                </a:lnTo>
                <a:lnTo>
                  <a:pt x="4660" y="923"/>
                </a:lnTo>
                <a:lnTo>
                  <a:pt x="4662" y="923"/>
                </a:lnTo>
                <a:lnTo>
                  <a:pt x="4664" y="925"/>
                </a:lnTo>
                <a:lnTo>
                  <a:pt x="4666" y="928"/>
                </a:lnTo>
                <a:lnTo>
                  <a:pt x="4668" y="930"/>
                </a:lnTo>
                <a:lnTo>
                  <a:pt x="4669" y="933"/>
                </a:lnTo>
                <a:lnTo>
                  <a:pt x="4669" y="936"/>
                </a:lnTo>
                <a:lnTo>
                  <a:pt x="4669" y="940"/>
                </a:lnTo>
                <a:lnTo>
                  <a:pt x="4668" y="943"/>
                </a:lnTo>
                <a:lnTo>
                  <a:pt x="4666" y="946"/>
                </a:lnTo>
                <a:lnTo>
                  <a:pt x="4664" y="949"/>
                </a:lnTo>
                <a:lnTo>
                  <a:pt x="4661" y="951"/>
                </a:lnTo>
                <a:lnTo>
                  <a:pt x="4659" y="952"/>
                </a:lnTo>
                <a:lnTo>
                  <a:pt x="4656" y="953"/>
                </a:lnTo>
                <a:lnTo>
                  <a:pt x="4650" y="953"/>
                </a:lnTo>
                <a:lnTo>
                  <a:pt x="4647" y="952"/>
                </a:lnTo>
                <a:lnTo>
                  <a:pt x="4646" y="951"/>
                </a:lnTo>
                <a:lnTo>
                  <a:pt x="4644" y="950"/>
                </a:lnTo>
                <a:lnTo>
                  <a:pt x="4642" y="948"/>
                </a:lnTo>
                <a:lnTo>
                  <a:pt x="4640" y="946"/>
                </a:lnTo>
                <a:lnTo>
                  <a:pt x="4638" y="943"/>
                </a:lnTo>
                <a:lnTo>
                  <a:pt x="4637" y="940"/>
                </a:lnTo>
                <a:lnTo>
                  <a:pt x="4637" y="937"/>
                </a:lnTo>
                <a:lnTo>
                  <a:pt x="4637" y="934"/>
                </a:lnTo>
                <a:lnTo>
                  <a:pt x="4638" y="931"/>
                </a:lnTo>
                <a:lnTo>
                  <a:pt x="4640" y="928"/>
                </a:lnTo>
                <a:lnTo>
                  <a:pt x="4642" y="925"/>
                </a:lnTo>
                <a:lnTo>
                  <a:pt x="4645" y="923"/>
                </a:lnTo>
                <a:close/>
                <a:moveTo>
                  <a:pt x="4503" y="896"/>
                </a:moveTo>
                <a:lnTo>
                  <a:pt x="4506" y="895"/>
                </a:lnTo>
                <a:lnTo>
                  <a:pt x="4509" y="894"/>
                </a:lnTo>
                <a:lnTo>
                  <a:pt x="4515" y="894"/>
                </a:lnTo>
                <a:lnTo>
                  <a:pt x="4518" y="895"/>
                </a:lnTo>
                <a:lnTo>
                  <a:pt x="4521" y="897"/>
                </a:lnTo>
                <a:lnTo>
                  <a:pt x="4523" y="899"/>
                </a:lnTo>
                <a:lnTo>
                  <a:pt x="4525" y="901"/>
                </a:lnTo>
                <a:lnTo>
                  <a:pt x="4526" y="904"/>
                </a:lnTo>
                <a:lnTo>
                  <a:pt x="4527" y="907"/>
                </a:lnTo>
                <a:lnTo>
                  <a:pt x="4527" y="910"/>
                </a:lnTo>
                <a:lnTo>
                  <a:pt x="4527" y="913"/>
                </a:lnTo>
                <a:lnTo>
                  <a:pt x="4526" y="916"/>
                </a:lnTo>
                <a:lnTo>
                  <a:pt x="4524" y="919"/>
                </a:lnTo>
                <a:lnTo>
                  <a:pt x="4522" y="922"/>
                </a:lnTo>
                <a:lnTo>
                  <a:pt x="4519" y="924"/>
                </a:lnTo>
                <a:lnTo>
                  <a:pt x="4517" y="925"/>
                </a:lnTo>
                <a:lnTo>
                  <a:pt x="4514" y="926"/>
                </a:lnTo>
                <a:lnTo>
                  <a:pt x="4508" y="926"/>
                </a:lnTo>
                <a:lnTo>
                  <a:pt x="4505" y="925"/>
                </a:lnTo>
                <a:lnTo>
                  <a:pt x="4502" y="923"/>
                </a:lnTo>
                <a:lnTo>
                  <a:pt x="4500" y="921"/>
                </a:lnTo>
                <a:lnTo>
                  <a:pt x="4498" y="919"/>
                </a:lnTo>
                <a:lnTo>
                  <a:pt x="4497" y="916"/>
                </a:lnTo>
                <a:lnTo>
                  <a:pt x="4496" y="913"/>
                </a:lnTo>
                <a:lnTo>
                  <a:pt x="4495" y="910"/>
                </a:lnTo>
                <a:lnTo>
                  <a:pt x="4496" y="907"/>
                </a:lnTo>
                <a:lnTo>
                  <a:pt x="4497" y="903"/>
                </a:lnTo>
                <a:lnTo>
                  <a:pt x="4499" y="900"/>
                </a:lnTo>
                <a:lnTo>
                  <a:pt x="4501" y="898"/>
                </a:lnTo>
                <a:lnTo>
                  <a:pt x="4503" y="896"/>
                </a:lnTo>
                <a:close/>
                <a:moveTo>
                  <a:pt x="4363" y="865"/>
                </a:moveTo>
                <a:lnTo>
                  <a:pt x="4365" y="864"/>
                </a:lnTo>
                <a:lnTo>
                  <a:pt x="4368" y="863"/>
                </a:lnTo>
                <a:lnTo>
                  <a:pt x="4371" y="863"/>
                </a:lnTo>
                <a:lnTo>
                  <a:pt x="4374" y="863"/>
                </a:lnTo>
                <a:lnTo>
                  <a:pt x="4377" y="864"/>
                </a:lnTo>
                <a:lnTo>
                  <a:pt x="4380" y="866"/>
                </a:lnTo>
                <a:lnTo>
                  <a:pt x="4382" y="868"/>
                </a:lnTo>
                <a:lnTo>
                  <a:pt x="4384" y="870"/>
                </a:lnTo>
                <a:lnTo>
                  <a:pt x="4386" y="873"/>
                </a:lnTo>
                <a:lnTo>
                  <a:pt x="4386" y="876"/>
                </a:lnTo>
                <a:lnTo>
                  <a:pt x="4387" y="879"/>
                </a:lnTo>
                <a:lnTo>
                  <a:pt x="4386" y="882"/>
                </a:lnTo>
                <a:lnTo>
                  <a:pt x="4385" y="886"/>
                </a:lnTo>
                <a:lnTo>
                  <a:pt x="4383" y="888"/>
                </a:lnTo>
                <a:lnTo>
                  <a:pt x="4381" y="891"/>
                </a:lnTo>
                <a:lnTo>
                  <a:pt x="4379" y="893"/>
                </a:lnTo>
                <a:lnTo>
                  <a:pt x="4376" y="894"/>
                </a:lnTo>
                <a:lnTo>
                  <a:pt x="4373" y="895"/>
                </a:lnTo>
                <a:lnTo>
                  <a:pt x="4370" y="895"/>
                </a:lnTo>
                <a:lnTo>
                  <a:pt x="4367" y="894"/>
                </a:lnTo>
                <a:lnTo>
                  <a:pt x="4364" y="893"/>
                </a:lnTo>
                <a:lnTo>
                  <a:pt x="4361" y="892"/>
                </a:lnTo>
                <a:lnTo>
                  <a:pt x="4359" y="890"/>
                </a:lnTo>
                <a:lnTo>
                  <a:pt x="4357" y="887"/>
                </a:lnTo>
                <a:lnTo>
                  <a:pt x="4356" y="884"/>
                </a:lnTo>
                <a:lnTo>
                  <a:pt x="4355" y="881"/>
                </a:lnTo>
                <a:lnTo>
                  <a:pt x="4355" y="878"/>
                </a:lnTo>
                <a:lnTo>
                  <a:pt x="4355" y="875"/>
                </a:lnTo>
                <a:lnTo>
                  <a:pt x="4356" y="872"/>
                </a:lnTo>
                <a:lnTo>
                  <a:pt x="4358" y="869"/>
                </a:lnTo>
                <a:lnTo>
                  <a:pt x="4360" y="867"/>
                </a:lnTo>
                <a:lnTo>
                  <a:pt x="4363" y="865"/>
                </a:lnTo>
                <a:close/>
                <a:moveTo>
                  <a:pt x="4223" y="829"/>
                </a:moveTo>
                <a:lnTo>
                  <a:pt x="4226" y="828"/>
                </a:lnTo>
                <a:lnTo>
                  <a:pt x="4229" y="827"/>
                </a:lnTo>
                <a:lnTo>
                  <a:pt x="4232" y="827"/>
                </a:lnTo>
                <a:lnTo>
                  <a:pt x="4235" y="828"/>
                </a:lnTo>
                <a:lnTo>
                  <a:pt x="4238" y="829"/>
                </a:lnTo>
                <a:lnTo>
                  <a:pt x="4241" y="831"/>
                </a:lnTo>
                <a:lnTo>
                  <a:pt x="4243" y="833"/>
                </a:lnTo>
                <a:lnTo>
                  <a:pt x="4245" y="835"/>
                </a:lnTo>
                <a:lnTo>
                  <a:pt x="4246" y="838"/>
                </a:lnTo>
                <a:lnTo>
                  <a:pt x="4247" y="841"/>
                </a:lnTo>
                <a:lnTo>
                  <a:pt x="4247" y="844"/>
                </a:lnTo>
                <a:lnTo>
                  <a:pt x="4246" y="847"/>
                </a:lnTo>
                <a:lnTo>
                  <a:pt x="4245" y="850"/>
                </a:lnTo>
                <a:lnTo>
                  <a:pt x="4244" y="853"/>
                </a:lnTo>
                <a:lnTo>
                  <a:pt x="4241" y="855"/>
                </a:lnTo>
                <a:lnTo>
                  <a:pt x="4239" y="857"/>
                </a:lnTo>
                <a:lnTo>
                  <a:pt x="4236" y="858"/>
                </a:lnTo>
                <a:lnTo>
                  <a:pt x="4233" y="859"/>
                </a:lnTo>
                <a:lnTo>
                  <a:pt x="4230" y="859"/>
                </a:lnTo>
                <a:lnTo>
                  <a:pt x="4227" y="859"/>
                </a:lnTo>
                <a:lnTo>
                  <a:pt x="4224" y="857"/>
                </a:lnTo>
                <a:lnTo>
                  <a:pt x="4221" y="856"/>
                </a:lnTo>
                <a:lnTo>
                  <a:pt x="4219" y="854"/>
                </a:lnTo>
                <a:lnTo>
                  <a:pt x="4217" y="851"/>
                </a:lnTo>
                <a:lnTo>
                  <a:pt x="4216" y="848"/>
                </a:lnTo>
                <a:lnTo>
                  <a:pt x="4215" y="845"/>
                </a:lnTo>
                <a:lnTo>
                  <a:pt x="4215" y="842"/>
                </a:lnTo>
                <a:lnTo>
                  <a:pt x="4216" y="839"/>
                </a:lnTo>
                <a:lnTo>
                  <a:pt x="4217" y="836"/>
                </a:lnTo>
                <a:lnTo>
                  <a:pt x="4218" y="833"/>
                </a:lnTo>
                <a:lnTo>
                  <a:pt x="4221" y="831"/>
                </a:lnTo>
                <a:lnTo>
                  <a:pt x="4223" y="829"/>
                </a:lnTo>
                <a:close/>
                <a:moveTo>
                  <a:pt x="4085" y="788"/>
                </a:moveTo>
                <a:lnTo>
                  <a:pt x="4088" y="787"/>
                </a:lnTo>
                <a:lnTo>
                  <a:pt x="4091" y="786"/>
                </a:lnTo>
                <a:lnTo>
                  <a:pt x="4094" y="786"/>
                </a:lnTo>
                <a:lnTo>
                  <a:pt x="4098" y="787"/>
                </a:lnTo>
                <a:lnTo>
                  <a:pt x="4101" y="788"/>
                </a:lnTo>
                <a:lnTo>
                  <a:pt x="4103" y="790"/>
                </a:lnTo>
                <a:lnTo>
                  <a:pt x="4105" y="792"/>
                </a:lnTo>
                <a:lnTo>
                  <a:pt x="4107" y="795"/>
                </a:lnTo>
                <a:lnTo>
                  <a:pt x="4108" y="798"/>
                </a:lnTo>
                <a:lnTo>
                  <a:pt x="4109" y="801"/>
                </a:lnTo>
                <a:lnTo>
                  <a:pt x="4109" y="804"/>
                </a:lnTo>
                <a:lnTo>
                  <a:pt x="4108" y="807"/>
                </a:lnTo>
                <a:lnTo>
                  <a:pt x="4107" y="810"/>
                </a:lnTo>
                <a:lnTo>
                  <a:pt x="4105" y="812"/>
                </a:lnTo>
                <a:lnTo>
                  <a:pt x="4103" y="814"/>
                </a:lnTo>
                <a:lnTo>
                  <a:pt x="4101" y="816"/>
                </a:lnTo>
                <a:lnTo>
                  <a:pt x="4098" y="817"/>
                </a:lnTo>
                <a:lnTo>
                  <a:pt x="4095" y="818"/>
                </a:lnTo>
                <a:lnTo>
                  <a:pt x="4091" y="818"/>
                </a:lnTo>
                <a:lnTo>
                  <a:pt x="4088" y="817"/>
                </a:lnTo>
                <a:lnTo>
                  <a:pt x="4085" y="816"/>
                </a:lnTo>
                <a:lnTo>
                  <a:pt x="4082" y="814"/>
                </a:lnTo>
                <a:lnTo>
                  <a:pt x="4080" y="812"/>
                </a:lnTo>
                <a:lnTo>
                  <a:pt x="4079" y="809"/>
                </a:lnTo>
                <a:lnTo>
                  <a:pt x="4077" y="807"/>
                </a:lnTo>
                <a:lnTo>
                  <a:pt x="4077" y="804"/>
                </a:lnTo>
                <a:lnTo>
                  <a:pt x="4077" y="800"/>
                </a:lnTo>
                <a:lnTo>
                  <a:pt x="4078" y="797"/>
                </a:lnTo>
                <a:lnTo>
                  <a:pt x="4079" y="794"/>
                </a:lnTo>
                <a:lnTo>
                  <a:pt x="4080" y="792"/>
                </a:lnTo>
                <a:lnTo>
                  <a:pt x="4082" y="790"/>
                </a:lnTo>
                <a:lnTo>
                  <a:pt x="4085" y="788"/>
                </a:lnTo>
                <a:close/>
                <a:moveTo>
                  <a:pt x="3948" y="741"/>
                </a:moveTo>
                <a:lnTo>
                  <a:pt x="3951" y="739"/>
                </a:lnTo>
                <a:lnTo>
                  <a:pt x="3954" y="739"/>
                </a:lnTo>
                <a:lnTo>
                  <a:pt x="3958" y="739"/>
                </a:lnTo>
                <a:lnTo>
                  <a:pt x="3961" y="740"/>
                </a:lnTo>
                <a:lnTo>
                  <a:pt x="3964" y="741"/>
                </a:lnTo>
                <a:lnTo>
                  <a:pt x="3967" y="743"/>
                </a:lnTo>
                <a:lnTo>
                  <a:pt x="3969" y="745"/>
                </a:lnTo>
                <a:lnTo>
                  <a:pt x="3970" y="748"/>
                </a:lnTo>
                <a:lnTo>
                  <a:pt x="3971" y="751"/>
                </a:lnTo>
                <a:lnTo>
                  <a:pt x="3972" y="754"/>
                </a:lnTo>
                <a:lnTo>
                  <a:pt x="3971" y="757"/>
                </a:lnTo>
                <a:lnTo>
                  <a:pt x="3971" y="760"/>
                </a:lnTo>
                <a:lnTo>
                  <a:pt x="3968" y="765"/>
                </a:lnTo>
                <a:lnTo>
                  <a:pt x="3964" y="769"/>
                </a:lnTo>
                <a:lnTo>
                  <a:pt x="3960" y="770"/>
                </a:lnTo>
                <a:lnTo>
                  <a:pt x="3957" y="771"/>
                </a:lnTo>
                <a:lnTo>
                  <a:pt x="3954" y="771"/>
                </a:lnTo>
                <a:lnTo>
                  <a:pt x="3950" y="770"/>
                </a:lnTo>
                <a:lnTo>
                  <a:pt x="3947" y="768"/>
                </a:lnTo>
                <a:lnTo>
                  <a:pt x="3945" y="766"/>
                </a:lnTo>
                <a:lnTo>
                  <a:pt x="3943" y="764"/>
                </a:lnTo>
                <a:lnTo>
                  <a:pt x="3941" y="761"/>
                </a:lnTo>
                <a:lnTo>
                  <a:pt x="3940" y="758"/>
                </a:lnTo>
                <a:lnTo>
                  <a:pt x="3940" y="755"/>
                </a:lnTo>
                <a:lnTo>
                  <a:pt x="3940" y="752"/>
                </a:lnTo>
                <a:lnTo>
                  <a:pt x="3941" y="749"/>
                </a:lnTo>
                <a:lnTo>
                  <a:pt x="3944" y="744"/>
                </a:lnTo>
                <a:lnTo>
                  <a:pt x="3948" y="741"/>
                </a:lnTo>
                <a:close/>
                <a:moveTo>
                  <a:pt x="3815" y="685"/>
                </a:moveTo>
                <a:lnTo>
                  <a:pt x="3816" y="684"/>
                </a:lnTo>
                <a:lnTo>
                  <a:pt x="3818" y="684"/>
                </a:lnTo>
                <a:lnTo>
                  <a:pt x="3822" y="683"/>
                </a:lnTo>
                <a:lnTo>
                  <a:pt x="3826" y="683"/>
                </a:lnTo>
                <a:lnTo>
                  <a:pt x="3829" y="685"/>
                </a:lnTo>
                <a:lnTo>
                  <a:pt x="3832" y="686"/>
                </a:lnTo>
                <a:lnTo>
                  <a:pt x="3834" y="688"/>
                </a:lnTo>
                <a:lnTo>
                  <a:pt x="3836" y="691"/>
                </a:lnTo>
                <a:lnTo>
                  <a:pt x="3838" y="694"/>
                </a:lnTo>
                <a:lnTo>
                  <a:pt x="3838" y="697"/>
                </a:lnTo>
                <a:lnTo>
                  <a:pt x="3839" y="700"/>
                </a:lnTo>
                <a:lnTo>
                  <a:pt x="3838" y="703"/>
                </a:lnTo>
                <a:lnTo>
                  <a:pt x="3837" y="706"/>
                </a:lnTo>
                <a:lnTo>
                  <a:pt x="3834" y="710"/>
                </a:lnTo>
                <a:lnTo>
                  <a:pt x="3833" y="712"/>
                </a:lnTo>
                <a:lnTo>
                  <a:pt x="3831" y="713"/>
                </a:lnTo>
                <a:lnTo>
                  <a:pt x="3829" y="714"/>
                </a:lnTo>
                <a:lnTo>
                  <a:pt x="3827" y="715"/>
                </a:lnTo>
                <a:lnTo>
                  <a:pt x="3823" y="715"/>
                </a:lnTo>
                <a:lnTo>
                  <a:pt x="3820" y="715"/>
                </a:lnTo>
                <a:lnTo>
                  <a:pt x="3816" y="714"/>
                </a:lnTo>
                <a:lnTo>
                  <a:pt x="3813" y="712"/>
                </a:lnTo>
                <a:lnTo>
                  <a:pt x="3811" y="710"/>
                </a:lnTo>
                <a:lnTo>
                  <a:pt x="3809" y="707"/>
                </a:lnTo>
                <a:lnTo>
                  <a:pt x="3808" y="705"/>
                </a:lnTo>
                <a:lnTo>
                  <a:pt x="3807" y="702"/>
                </a:lnTo>
                <a:lnTo>
                  <a:pt x="3807" y="699"/>
                </a:lnTo>
                <a:lnTo>
                  <a:pt x="3807" y="696"/>
                </a:lnTo>
                <a:lnTo>
                  <a:pt x="3808" y="692"/>
                </a:lnTo>
                <a:lnTo>
                  <a:pt x="3811" y="688"/>
                </a:lnTo>
                <a:lnTo>
                  <a:pt x="3813" y="687"/>
                </a:lnTo>
                <a:lnTo>
                  <a:pt x="3815" y="685"/>
                </a:lnTo>
                <a:close/>
                <a:moveTo>
                  <a:pt x="3687" y="619"/>
                </a:moveTo>
                <a:lnTo>
                  <a:pt x="3691" y="617"/>
                </a:lnTo>
                <a:lnTo>
                  <a:pt x="3695" y="617"/>
                </a:lnTo>
                <a:lnTo>
                  <a:pt x="3699" y="617"/>
                </a:lnTo>
                <a:lnTo>
                  <a:pt x="3703" y="619"/>
                </a:lnTo>
                <a:lnTo>
                  <a:pt x="3705" y="621"/>
                </a:lnTo>
                <a:lnTo>
                  <a:pt x="3707" y="623"/>
                </a:lnTo>
                <a:lnTo>
                  <a:pt x="3709" y="626"/>
                </a:lnTo>
                <a:lnTo>
                  <a:pt x="3710" y="629"/>
                </a:lnTo>
                <a:lnTo>
                  <a:pt x="3711" y="632"/>
                </a:lnTo>
                <a:lnTo>
                  <a:pt x="3711" y="635"/>
                </a:lnTo>
                <a:lnTo>
                  <a:pt x="3710" y="638"/>
                </a:lnTo>
                <a:lnTo>
                  <a:pt x="3709" y="641"/>
                </a:lnTo>
                <a:lnTo>
                  <a:pt x="3706" y="644"/>
                </a:lnTo>
                <a:lnTo>
                  <a:pt x="3703" y="647"/>
                </a:lnTo>
                <a:lnTo>
                  <a:pt x="3699" y="648"/>
                </a:lnTo>
                <a:lnTo>
                  <a:pt x="3695" y="649"/>
                </a:lnTo>
                <a:lnTo>
                  <a:pt x="3691" y="648"/>
                </a:lnTo>
                <a:lnTo>
                  <a:pt x="3687" y="647"/>
                </a:lnTo>
                <a:lnTo>
                  <a:pt x="3684" y="645"/>
                </a:lnTo>
                <a:lnTo>
                  <a:pt x="3682" y="643"/>
                </a:lnTo>
                <a:lnTo>
                  <a:pt x="3680" y="640"/>
                </a:lnTo>
                <a:lnTo>
                  <a:pt x="3679" y="637"/>
                </a:lnTo>
                <a:lnTo>
                  <a:pt x="3679" y="634"/>
                </a:lnTo>
                <a:lnTo>
                  <a:pt x="3679" y="631"/>
                </a:lnTo>
                <a:lnTo>
                  <a:pt x="3680" y="628"/>
                </a:lnTo>
                <a:lnTo>
                  <a:pt x="3681" y="625"/>
                </a:lnTo>
                <a:lnTo>
                  <a:pt x="3683" y="621"/>
                </a:lnTo>
                <a:lnTo>
                  <a:pt x="3687" y="619"/>
                </a:lnTo>
                <a:close/>
                <a:moveTo>
                  <a:pt x="3561" y="547"/>
                </a:moveTo>
                <a:lnTo>
                  <a:pt x="3565" y="545"/>
                </a:lnTo>
                <a:lnTo>
                  <a:pt x="3569" y="545"/>
                </a:lnTo>
                <a:lnTo>
                  <a:pt x="3573" y="545"/>
                </a:lnTo>
                <a:lnTo>
                  <a:pt x="3577" y="547"/>
                </a:lnTo>
                <a:lnTo>
                  <a:pt x="3580" y="549"/>
                </a:lnTo>
                <a:lnTo>
                  <a:pt x="3582" y="551"/>
                </a:lnTo>
                <a:lnTo>
                  <a:pt x="3584" y="554"/>
                </a:lnTo>
                <a:lnTo>
                  <a:pt x="3585" y="556"/>
                </a:lnTo>
                <a:lnTo>
                  <a:pt x="3585" y="560"/>
                </a:lnTo>
                <a:lnTo>
                  <a:pt x="3585" y="563"/>
                </a:lnTo>
                <a:lnTo>
                  <a:pt x="3585" y="566"/>
                </a:lnTo>
                <a:lnTo>
                  <a:pt x="3583" y="569"/>
                </a:lnTo>
                <a:lnTo>
                  <a:pt x="3581" y="572"/>
                </a:lnTo>
                <a:lnTo>
                  <a:pt x="3578" y="575"/>
                </a:lnTo>
                <a:lnTo>
                  <a:pt x="3574" y="576"/>
                </a:lnTo>
                <a:lnTo>
                  <a:pt x="3570" y="577"/>
                </a:lnTo>
                <a:lnTo>
                  <a:pt x="3566" y="576"/>
                </a:lnTo>
                <a:lnTo>
                  <a:pt x="3562" y="575"/>
                </a:lnTo>
                <a:lnTo>
                  <a:pt x="3559" y="573"/>
                </a:lnTo>
                <a:lnTo>
                  <a:pt x="3557" y="571"/>
                </a:lnTo>
                <a:lnTo>
                  <a:pt x="3555" y="568"/>
                </a:lnTo>
                <a:lnTo>
                  <a:pt x="3554" y="565"/>
                </a:lnTo>
                <a:lnTo>
                  <a:pt x="3554" y="562"/>
                </a:lnTo>
                <a:lnTo>
                  <a:pt x="3554" y="559"/>
                </a:lnTo>
                <a:lnTo>
                  <a:pt x="3554" y="556"/>
                </a:lnTo>
                <a:lnTo>
                  <a:pt x="3556" y="553"/>
                </a:lnTo>
                <a:lnTo>
                  <a:pt x="3558" y="550"/>
                </a:lnTo>
                <a:lnTo>
                  <a:pt x="3561" y="547"/>
                </a:lnTo>
                <a:close/>
                <a:moveTo>
                  <a:pt x="3436" y="477"/>
                </a:moveTo>
                <a:lnTo>
                  <a:pt x="3439" y="475"/>
                </a:lnTo>
                <a:lnTo>
                  <a:pt x="3443" y="475"/>
                </a:lnTo>
                <a:lnTo>
                  <a:pt x="3445" y="475"/>
                </a:lnTo>
                <a:lnTo>
                  <a:pt x="3447" y="475"/>
                </a:lnTo>
                <a:lnTo>
                  <a:pt x="3451" y="477"/>
                </a:lnTo>
                <a:lnTo>
                  <a:pt x="3454" y="479"/>
                </a:lnTo>
                <a:lnTo>
                  <a:pt x="3456" y="481"/>
                </a:lnTo>
                <a:lnTo>
                  <a:pt x="3458" y="483"/>
                </a:lnTo>
                <a:lnTo>
                  <a:pt x="3459" y="486"/>
                </a:lnTo>
                <a:lnTo>
                  <a:pt x="3460" y="489"/>
                </a:lnTo>
                <a:lnTo>
                  <a:pt x="3460" y="492"/>
                </a:lnTo>
                <a:lnTo>
                  <a:pt x="3459" y="495"/>
                </a:lnTo>
                <a:lnTo>
                  <a:pt x="3458" y="498"/>
                </a:lnTo>
                <a:lnTo>
                  <a:pt x="3457" y="500"/>
                </a:lnTo>
                <a:lnTo>
                  <a:pt x="3455" y="502"/>
                </a:lnTo>
                <a:lnTo>
                  <a:pt x="3452" y="505"/>
                </a:lnTo>
                <a:lnTo>
                  <a:pt x="3448" y="506"/>
                </a:lnTo>
                <a:lnTo>
                  <a:pt x="3444" y="507"/>
                </a:lnTo>
                <a:lnTo>
                  <a:pt x="3442" y="507"/>
                </a:lnTo>
                <a:lnTo>
                  <a:pt x="3440" y="506"/>
                </a:lnTo>
                <a:lnTo>
                  <a:pt x="3436" y="505"/>
                </a:lnTo>
                <a:lnTo>
                  <a:pt x="3433" y="503"/>
                </a:lnTo>
                <a:lnTo>
                  <a:pt x="3431" y="501"/>
                </a:lnTo>
                <a:lnTo>
                  <a:pt x="3429" y="498"/>
                </a:lnTo>
                <a:lnTo>
                  <a:pt x="3428" y="495"/>
                </a:lnTo>
                <a:lnTo>
                  <a:pt x="3428" y="492"/>
                </a:lnTo>
                <a:lnTo>
                  <a:pt x="3428" y="489"/>
                </a:lnTo>
                <a:lnTo>
                  <a:pt x="3428" y="486"/>
                </a:lnTo>
                <a:lnTo>
                  <a:pt x="3430" y="483"/>
                </a:lnTo>
                <a:lnTo>
                  <a:pt x="3431" y="481"/>
                </a:lnTo>
                <a:lnTo>
                  <a:pt x="3432" y="479"/>
                </a:lnTo>
                <a:lnTo>
                  <a:pt x="3436" y="477"/>
                </a:lnTo>
                <a:close/>
                <a:moveTo>
                  <a:pt x="3309" y="408"/>
                </a:moveTo>
                <a:lnTo>
                  <a:pt x="3313" y="407"/>
                </a:lnTo>
                <a:lnTo>
                  <a:pt x="3317" y="406"/>
                </a:lnTo>
                <a:lnTo>
                  <a:pt x="3319" y="406"/>
                </a:lnTo>
                <a:lnTo>
                  <a:pt x="3321" y="406"/>
                </a:lnTo>
                <a:lnTo>
                  <a:pt x="3325" y="408"/>
                </a:lnTo>
                <a:lnTo>
                  <a:pt x="3327" y="410"/>
                </a:lnTo>
                <a:lnTo>
                  <a:pt x="3330" y="412"/>
                </a:lnTo>
                <a:lnTo>
                  <a:pt x="3331" y="415"/>
                </a:lnTo>
                <a:lnTo>
                  <a:pt x="3332" y="417"/>
                </a:lnTo>
                <a:lnTo>
                  <a:pt x="3333" y="423"/>
                </a:lnTo>
                <a:lnTo>
                  <a:pt x="3333" y="427"/>
                </a:lnTo>
                <a:lnTo>
                  <a:pt x="3331" y="430"/>
                </a:lnTo>
                <a:lnTo>
                  <a:pt x="3329" y="433"/>
                </a:lnTo>
                <a:lnTo>
                  <a:pt x="3325" y="436"/>
                </a:lnTo>
                <a:lnTo>
                  <a:pt x="3322" y="437"/>
                </a:lnTo>
                <a:lnTo>
                  <a:pt x="3318" y="438"/>
                </a:lnTo>
                <a:lnTo>
                  <a:pt x="3316" y="438"/>
                </a:lnTo>
                <a:lnTo>
                  <a:pt x="3314" y="438"/>
                </a:lnTo>
                <a:lnTo>
                  <a:pt x="3310" y="436"/>
                </a:lnTo>
                <a:lnTo>
                  <a:pt x="3307" y="434"/>
                </a:lnTo>
                <a:lnTo>
                  <a:pt x="3305" y="432"/>
                </a:lnTo>
                <a:lnTo>
                  <a:pt x="3303" y="429"/>
                </a:lnTo>
                <a:lnTo>
                  <a:pt x="3302" y="427"/>
                </a:lnTo>
                <a:lnTo>
                  <a:pt x="3301" y="421"/>
                </a:lnTo>
                <a:lnTo>
                  <a:pt x="3302" y="417"/>
                </a:lnTo>
                <a:lnTo>
                  <a:pt x="3303" y="414"/>
                </a:lnTo>
                <a:lnTo>
                  <a:pt x="3306" y="411"/>
                </a:lnTo>
                <a:lnTo>
                  <a:pt x="3309" y="408"/>
                </a:lnTo>
                <a:close/>
                <a:moveTo>
                  <a:pt x="8" y="2264"/>
                </a:moveTo>
                <a:lnTo>
                  <a:pt x="11" y="2262"/>
                </a:lnTo>
                <a:lnTo>
                  <a:pt x="15" y="2262"/>
                </a:lnTo>
                <a:lnTo>
                  <a:pt x="19" y="2262"/>
                </a:lnTo>
                <a:lnTo>
                  <a:pt x="22" y="2263"/>
                </a:lnTo>
                <a:lnTo>
                  <a:pt x="25" y="2264"/>
                </a:lnTo>
                <a:lnTo>
                  <a:pt x="28" y="2266"/>
                </a:lnTo>
                <a:lnTo>
                  <a:pt x="30" y="2269"/>
                </a:lnTo>
                <a:lnTo>
                  <a:pt x="31" y="2272"/>
                </a:lnTo>
                <a:lnTo>
                  <a:pt x="32" y="2275"/>
                </a:lnTo>
                <a:lnTo>
                  <a:pt x="32" y="2278"/>
                </a:lnTo>
                <a:lnTo>
                  <a:pt x="32" y="2281"/>
                </a:lnTo>
                <a:lnTo>
                  <a:pt x="31" y="2284"/>
                </a:lnTo>
                <a:lnTo>
                  <a:pt x="28" y="2288"/>
                </a:lnTo>
                <a:lnTo>
                  <a:pt x="24" y="2291"/>
                </a:lnTo>
                <a:lnTo>
                  <a:pt x="21" y="2293"/>
                </a:lnTo>
                <a:lnTo>
                  <a:pt x="17" y="2293"/>
                </a:lnTo>
                <a:lnTo>
                  <a:pt x="14" y="2293"/>
                </a:lnTo>
                <a:lnTo>
                  <a:pt x="10" y="2292"/>
                </a:lnTo>
                <a:lnTo>
                  <a:pt x="7" y="2291"/>
                </a:lnTo>
                <a:lnTo>
                  <a:pt x="5" y="2289"/>
                </a:lnTo>
                <a:lnTo>
                  <a:pt x="3" y="2286"/>
                </a:lnTo>
                <a:lnTo>
                  <a:pt x="1" y="2283"/>
                </a:lnTo>
                <a:lnTo>
                  <a:pt x="0" y="2280"/>
                </a:lnTo>
                <a:lnTo>
                  <a:pt x="0" y="2277"/>
                </a:lnTo>
                <a:lnTo>
                  <a:pt x="0" y="2274"/>
                </a:lnTo>
                <a:lnTo>
                  <a:pt x="1" y="2271"/>
                </a:lnTo>
                <a:lnTo>
                  <a:pt x="4" y="2267"/>
                </a:lnTo>
                <a:lnTo>
                  <a:pt x="8" y="2264"/>
                </a:lnTo>
                <a:close/>
                <a:moveTo>
                  <a:pt x="3182" y="341"/>
                </a:moveTo>
                <a:lnTo>
                  <a:pt x="3185" y="340"/>
                </a:lnTo>
                <a:lnTo>
                  <a:pt x="3189" y="339"/>
                </a:lnTo>
                <a:lnTo>
                  <a:pt x="3193" y="339"/>
                </a:lnTo>
                <a:lnTo>
                  <a:pt x="3197" y="341"/>
                </a:lnTo>
                <a:lnTo>
                  <a:pt x="3200" y="343"/>
                </a:lnTo>
                <a:lnTo>
                  <a:pt x="3202" y="345"/>
                </a:lnTo>
                <a:lnTo>
                  <a:pt x="3204" y="347"/>
                </a:lnTo>
                <a:lnTo>
                  <a:pt x="3205" y="350"/>
                </a:lnTo>
                <a:lnTo>
                  <a:pt x="3206" y="353"/>
                </a:lnTo>
                <a:lnTo>
                  <a:pt x="3206" y="356"/>
                </a:lnTo>
                <a:lnTo>
                  <a:pt x="3205" y="359"/>
                </a:lnTo>
                <a:lnTo>
                  <a:pt x="3204" y="362"/>
                </a:lnTo>
                <a:lnTo>
                  <a:pt x="3203" y="364"/>
                </a:lnTo>
                <a:lnTo>
                  <a:pt x="3201" y="366"/>
                </a:lnTo>
                <a:lnTo>
                  <a:pt x="3198" y="369"/>
                </a:lnTo>
                <a:lnTo>
                  <a:pt x="3194" y="370"/>
                </a:lnTo>
                <a:lnTo>
                  <a:pt x="3190" y="371"/>
                </a:lnTo>
                <a:lnTo>
                  <a:pt x="3186" y="371"/>
                </a:lnTo>
                <a:lnTo>
                  <a:pt x="3182" y="369"/>
                </a:lnTo>
                <a:lnTo>
                  <a:pt x="3180" y="368"/>
                </a:lnTo>
                <a:lnTo>
                  <a:pt x="3177" y="365"/>
                </a:lnTo>
                <a:lnTo>
                  <a:pt x="3176" y="363"/>
                </a:lnTo>
                <a:lnTo>
                  <a:pt x="3174" y="360"/>
                </a:lnTo>
                <a:lnTo>
                  <a:pt x="3174" y="357"/>
                </a:lnTo>
                <a:lnTo>
                  <a:pt x="3174" y="354"/>
                </a:lnTo>
                <a:lnTo>
                  <a:pt x="3174" y="351"/>
                </a:lnTo>
                <a:lnTo>
                  <a:pt x="3175" y="348"/>
                </a:lnTo>
                <a:lnTo>
                  <a:pt x="3177" y="346"/>
                </a:lnTo>
                <a:lnTo>
                  <a:pt x="3178" y="344"/>
                </a:lnTo>
                <a:lnTo>
                  <a:pt x="3182" y="341"/>
                </a:lnTo>
                <a:close/>
                <a:moveTo>
                  <a:pt x="72" y="2135"/>
                </a:moveTo>
                <a:lnTo>
                  <a:pt x="76" y="2133"/>
                </a:lnTo>
                <a:lnTo>
                  <a:pt x="80" y="2133"/>
                </a:lnTo>
                <a:lnTo>
                  <a:pt x="84" y="2133"/>
                </a:lnTo>
                <a:lnTo>
                  <a:pt x="88" y="2135"/>
                </a:lnTo>
                <a:lnTo>
                  <a:pt x="90" y="2136"/>
                </a:lnTo>
                <a:lnTo>
                  <a:pt x="92" y="2139"/>
                </a:lnTo>
                <a:lnTo>
                  <a:pt x="94" y="2141"/>
                </a:lnTo>
                <a:lnTo>
                  <a:pt x="95" y="2144"/>
                </a:lnTo>
                <a:lnTo>
                  <a:pt x="96" y="2147"/>
                </a:lnTo>
                <a:lnTo>
                  <a:pt x="96" y="2150"/>
                </a:lnTo>
                <a:lnTo>
                  <a:pt x="95" y="2153"/>
                </a:lnTo>
                <a:lnTo>
                  <a:pt x="94" y="2156"/>
                </a:lnTo>
                <a:lnTo>
                  <a:pt x="91" y="2160"/>
                </a:lnTo>
                <a:lnTo>
                  <a:pt x="88" y="2162"/>
                </a:lnTo>
                <a:lnTo>
                  <a:pt x="84" y="2164"/>
                </a:lnTo>
                <a:lnTo>
                  <a:pt x="80" y="2165"/>
                </a:lnTo>
                <a:lnTo>
                  <a:pt x="76" y="2164"/>
                </a:lnTo>
                <a:lnTo>
                  <a:pt x="72" y="2162"/>
                </a:lnTo>
                <a:lnTo>
                  <a:pt x="69" y="2161"/>
                </a:lnTo>
                <a:lnTo>
                  <a:pt x="67" y="2158"/>
                </a:lnTo>
                <a:lnTo>
                  <a:pt x="66" y="2156"/>
                </a:lnTo>
                <a:lnTo>
                  <a:pt x="64" y="2153"/>
                </a:lnTo>
                <a:lnTo>
                  <a:pt x="64" y="2150"/>
                </a:lnTo>
                <a:lnTo>
                  <a:pt x="64" y="2147"/>
                </a:lnTo>
                <a:lnTo>
                  <a:pt x="65" y="2144"/>
                </a:lnTo>
                <a:lnTo>
                  <a:pt x="66" y="2141"/>
                </a:lnTo>
                <a:lnTo>
                  <a:pt x="68" y="2137"/>
                </a:lnTo>
                <a:lnTo>
                  <a:pt x="72" y="2135"/>
                </a:lnTo>
                <a:close/>
                <a:moveTo>
                  <a:pt x="149" y="2013"/>
                </a:moveTo>
                <a:lnTo>
                  <a:pt x="153" y="2012"/>
                </a:lnTo>
                <a:lnTo>
                  <a:pt x="157" y="2011"/>
                </a:lnTo>
                <a:lnTo>
                  <a:pt x="162" y="2012"/>
                </a:lnTo>
                <a:lnTo>
                  <a:pt x="166" y="2014"/>
                </a:lnTo>
                <a:lnTo>
                  <a:pt x="169" y="2016"/>
                </a:lnTo>
                <a:lnTo>
                  <a:pt x="170" y="2019"/>
                </a:lnTo>
                <a:lnTo>
                  <a:pt x="172" y="2022"/>
                </a:lnTo>
                <a:lnTo>
                  <a:pt x="173" y="2024"/>
                </a:lnTo>
                <a:lnTo>
                  <a:pt x="173" y="2028"/>
                </a:lnTo>
                <a:lnTo>
                  <a:pt x="172" y="2031"/>
                </a:lnTo>
                <a:lnTo>
                  <a:pt x="172" y="2034"/>
                </a:lnTo>
                <a:lnTo>
                  <a:pt x="170" y="2036"/>
                </a:lnTo>
                <a:lnTo>
                  <a:pt x="168" y="2039"/>
                </a:lnTo>
                <a:lnTo>
                  <a:pt x="165" y="2041"/>
                </a:lnTo>
                <a:lnTo>
                  <a:pt x="161" y="2043"/>
                </a:lnTo>
                <a:lnTo>
                  <a:pt x="156" y="2043"/>
                </a:lnTo>
                <a:lnTo>
                  <a:pt x="152" y="2042"/>
                </a:lnTo>
                <a:lnTo>
                  <a:pt x="148" y="2040"/>
                </a:lnTo>
                <a:lnTo>
                  <a:pt x="145" y="2038"/>
                </a:lnTo>
                <a:lnTo>
                  <a:pt x="143" y="2036"/>
                </a:lnTo>
                <a:lnTo>
                  <a:pt x="142" y="2033"/>
                </a:lnTo>
                <a:lnTo>
                  <a:pt x="141" y="2030"/>
                </a:lnTo>
                <a:lnTo>
                  <a:pt x="141" y="2027"/>
                </a:lnTo>
                <a:lnTo>
                  <a:pt x="141" y="2024"/>
                </a:lnTo>
                <a:lnTo>
                  <a:pt x="142" y="2021"/>
                </a:lnTo>
                <a:lnTo>
                  <a:pt x="144" y="2018"/>
                </a:lnTo>
                <a:lnTo>
                  <a:pt x="146" y="2015"/>
                </a:lnTo>
                <a:lnTo>
                  <a:pt x="149" y="2013"/>
                </a:lnTo>
                <a:close/>
                <a:moveTo>
                  <a:pt x="3053" y="277"/>
                </a:moveTo>
                <a:lnTo>
                  <a:pt x="3055" y="276"/>
                </a:lnTo>
                <a:lnTo>
                  <a:pt x="3056" y="275"/>
                </a:lnTo>
                <a:lnTo>
                  <a:pt x="3060" y="275"/>
                </a:lnTo>
                <a:lnTo>
                  <a:pt x="3064" y="275"/>
                </a:lnTo>
                <a:lnTo>
                  <a:pt x="3068" y="276"/>
                </a:lnTo>
                <a:lnTo>
                  <a:pt x="3071" y="278"/>
                </a:lnTo>
                <a:lnTo>
                  <a:pt x="3073" y="280"/>
                </a:lnTo>
                <a:lnTo>
                  <a:pt x="3075" y="283"/>
                </a:lnTo>
                <a:lnTo>
                  <a:pt x="3076" y="285"/>
                </a:lnTo>
                <a:lnTo>
                  <a:pt x="3077" y="288"/>
                </a:lnTo>
                <a:lnTo>
                  <a:pt x="3077" y="291"/>
                </a:lnTo>
                <a:lnTo>
                  <a:pt x="3076" y="295"/>
                </a:lnTo>
                <a:lnTo>
                  <a:pt x="3075" y="298"/>
                </a:lnTo>
                <a:lnTo>
                  <a:pt x="3073" y="302"/>
                </a:lnTo>
                <a:lnTo>
                  <a:pt x="3071" y="303"/>
                </a:lnTo>
                <a:lnTo>
                  <a:pt x="3069" y="304"/>
                </a:lnTo>
                <a:lnTo>
                  <a:pt x="3067" y="305"/>
                </a:lnTo>
                <a:lnTo>
                  <a:pt x="3065" y="306"/>
                </a:lnTo>
                <a:lnTo>
                  <a:pt x="3062" y="307"/>
                </a:lnTo>
                <a:lnTo>
                  <a:pt x="3058" y="306"/>
                </a:lnTo>
                <a:lnTo>
                  <a:pt x="3054" y="305"/>
                </a:lnTo>
                <a:lnTo>
                  <a:pt x="3051" y="303"/>
                </a:lnTo>
                <a:lnTo>
                  <a:pt x="3049" y="301"/>
                </a:lnTo>
                <a:lnTo>
                  <a:pt x="3047" y="299"/>
                </a:lnTo>
                <a:lnTo>
                  <a:pt x="3046" y="296"/>
                </a:lnTo>
                <a:lnTo>
                  <a:pt x="3045" y="293"/>
                </a:lnTo>
                <a:lnTo>
                  <a:pt x="3045" y="290"/>
                </a:lnTo>
                <a:lnTo>
                  <a:pt x="3045" y="287"/>
                </a:lnTo>
                <a:lnTo>
                  <a:pt x="3047" y="284"/>
                </a:lnTo>
                <a:lnTo>
                  <a:pt x="3049" y="280"/>
                </a:lnTo>
                <a:lnTo>
                  <a:pt x="3051" y="278"/>
                </a:lnTo>
                <a:lnTo>
                  <a:pt x="3053" y="277"/>
                </a:lnTo>
                <a:close/>
                <a:moveTo>
                  <a:pt x="238" y="1901"/>
                </a:moveTo>
                <a:lnTo>
                  <a:pt x="240" y="1900"/>
                </a:lnTo>
                <a:lnTo>
                  <a:pt x="243" y="1899"/>
                </a:lnTo>
                <a:lnTo>
                  <a:pt x="245" y="1899"/>
                </a:lnTo>
                <a:lnTo>
                  <a:pt x="248" y="1899"/>
                </a:lnTo>
                <a:lnTo>
                  <a:pt x="250" y="1899"/>
                </a:lnTo>
                <a:lnTo>
                  <a:pt x="252" y="1900"/>
                </a:lnTo>
                <a:lnTo>
                  <a:pt x="255" y="1901"/>
                </a:lnTo>
                <a:lnTo>
                  <a:pt x="257" y="1902"/>
                </a:lnTo>
                <a:lnTo>
                  <a:pt x="259" y="1905"/>
                </a:lnTo>
                <a:lnTo>
                  <a:pt x="261" y="1908"/>
                </a:lnTo>
                <a:lnTo>
                  <a:pt x="262" y="1910"/>
                </a:lnTo>
                <a:lnTo>
                  <a:pt x="262" y="1913"/>
                </a:lnTo>
                <a:lnTo>
                  <a:pt x="262" y="1917"/>
                </a:lnTo>
                <a:lnTo>
                  <a:pt x="261" y="1920"/>
                </a:lnTo>
                <a:lnTo>
                  <a:pt x="260" y="1922"/>
                </a:lnTo>
                <a:lnTo>
                  <a:pt x="258" y="1925"/>
                </a:lnTo>
                <a:lnTo>
                  <a:pt x="256" y="1927"/>
                </a:lnTo>
                <a:lnTo>
                  <a:pt x="254" y="1928"/>
                </a:lnTo>
                <a:lnTo>
                  <a:pt x="252" y="1929"/>
                </a:lnTo>
                <a:lnTo>
                  <a:pt x="250" y="1930"/>
                </a:lnTo>
                <a:lnTo>
                  <a:pt x="247" y="1930"/>
                </a:lnTo>
                <a:lnTo>
                  <a:pt x="245" y="1930"/>
                </a:lnTo>
                <a:lnTo>
                  <a:pt x="242" y="1930"/>
                </a:lnTo>
                <a:lnTo>
                  <a:pt x="240" y="1929"/>
                </a:lnTo>
                <a:lnTo>
                  <a:pt x="238" y="1928"/>
                </a:lnTo>
                <a:lnTo>
                  <a:pt x="236" y="1927"/>
                </a:lnTo>
                <a:lnTo>
                  <a:pt x="233" y="1924"/>
                </a:lnTo>
                <a:lnTo>
                  <a:pt x="232" y="1921"/>
                </a:lnTo>
                <a:lnTo>
                  <a:pt x="231" y="1919"/>
                </a:lnTo>
                <a:lnTo>
                  <a:pt x="230" y="1916"/>
                </a:lnTo>
                <a:lnTo>
                  <a:pt x="230" y="1912"/>
                </a:lnTo>
                <a:lnTo>
                  <a:pt x="231" y="1909"/>
                </a:lnTo>
                <a:lnTo>
                  <a:pt x="232" y="1907"/>
                </a:lnTo>
                <a:lnTo>
                  <a:pt x="234" y="1904"/>
                </a:lnTo>
                <a:lnTo>
                  <a:pt x="236" y="1902"/>
                </a:lnTo>
                <a:lnTo>
                  <a:pt x="238" y="1901"/>
                </a:lnTo>
                <a:close/>
                <a:moveTo>
                  <a:pt x="338" y="1797"/>
                </a:moveTo>
                <a:lnTo>
                  <a:pt x="341" y="1796"/>
                </a:lnTo>
                <a:lnTo>
                  <a:pt x="343" y="1796"/>
                </a:lnTo>
                <a:lnTo>
                  <a:pt x="349" y="1796"/>
                </a:lnTo>
                <a:lnTo>
                  <a:pt x="351" y="1796"/>
                </a:lnTo>
                <a:lnTo>
                  <a:pt x="354" y="1797"/>
                </a:lnTo>
                <a:lnTo>
                  <a:pt x="358" y="1800"/>
                </a:lnTo>
                <a:lnTo>
                  <a:pt x="360" y="1803"/>
                </a:lnTo>
                <a:lnTo>
                  <a:pt x="361" y="1806"/>
                </a:lnTo>
                <a:lnTo>
                  <a:pt x="362" y="1809"/>
                </a:lnTo>
                <a:lnTo>
                  <a:pt x="362" y="1812"/>
                </a:lnTo>
                <a:lnTo>
                  <a:pt x="362" y="1815"/>
                </a:lnTo>
                <a:lnTo>
                  <a:pt x="361" y="1818"/>
                </a:lnTo>
                <a:lnTo>
                  <a:pt x="359" y="1821"/>
                </a:lnTo>
                <a:lnTo>
                  <a:pt x="357" y="1823"/>
                </a:lnTo>
                <a:lnTo>
                  <a:pt x="354" y="1825"/>
                </a:lnTo>
                <a:lnTo>
                  <a:pt x="352" y="1826"/>
                </a:lnTo>
                <a:lnTo>
                  <a:pt x="349" y="1827"/>
                </a:lnTo>
                <a:lnTo>
                  <a:pt x="344" y="1827"/>
                </a:lnTo>
                <a:lnTo>
                  <a:pt x="341" y="1827"/>
                </a:lnTo>
                <a:lnTo>
                  <a:pt x="339" y="1826"/>
                </a:lnTo>
                <a:lnTo>
                  <a:pt x="337" y="1824"/>
                </a:lnTo>
                <a:lnTo>
                  <a:pt x="335" y="1822"/>
                </a:lnTo>
                <a:lnTo>
                  <a:pt x="333" y="1820"/>
                </a:lnTo>
                <a:lnTo>
                  <a:pt x="331" y="1817"/>
                </a:lnTo>
                <a:lnTo>
                  <a:pt x="331" y="1814"/>
                </a:lnTo>
                <a:lnTo>
                  <a:pt x="330" y="1811"/>
                </a:lnTo>
                <a:lnTo>
                  <a:pt x="331" y="1808"/>
                </a:lnTo>
                <a:lnTo>
                  <a:pt x="332" y="1805"/>
                </a:lnTo>
                <a:lnTo>
                  <a:pt x="333" y="1802"/>
                </a:lnTo>
                <a:lnTo>
                  <a:pt x="335" y="1800"/>
                </a:lnTo>
                <a:lnTo>
                  <a:pt x="338" y="1797"/>
                </a:lnTo>
                <a:close/>
                <a:moveTo>
                  <a:pt x="448" y="1703"/>
                </a:moveTo>
                <a:lnTo>
                  <a:pt x="450" y="1702"/>
                </a:lnTo>
                <a:lnTo>
                  <a:pt x="453" y="1701"/>
                </a:lnTo>
                <a:lnTo>
                  <a:pt x="459" y="1701"/>
                </a:lnTo>
                <a:lnTo>
                  <a:pt x="461" y="1702"/>
                </a:lnTo>
                <a:lnTo>
                  <a:pt x="464" y="1703"/>
                </a:lnTo>
                <a:lnTo>
                  <a:pt x="466" y="1705"/>
                </a:lnTo>
                <a:lnTo>
                  <a:pt x="467" y="1706"/>
                </a:lnTo>
                <a:lnTo>
                  <a:pt x="468" y="1707"/>
                </a:lnTo>
                <a:lnTo>
                  <a:pt x="470" y="1710"/>
                </a:lnTo>
                <a:lnTo>
                  <a:pt x="471" y="1713"/>
                </a:lnTo>
                <a:lnTo>
                  <a:pt x="472" y="1716"/>
                </a:lnTo>
                <a:lnTo>
                  <a:pt x="471" y="1719"/>
                </a:lnTo>
                <a:lnTo>
                  <a:pt x="471" y="1722"/>
                </a:lnTo>
                <a:lnTo>
                  <a:pt x="470" y="1725"/>
                </a:lnTo>
                <a:lnTo>
                  <a:pt x="468" y="1727"/>
                </a:lnTo>
                <a:lnTo>
                  <a:pt x="465" y="1730"/>
                </a:lnTo>
                <a:lnTo>
                  <a:pt x="464" y="1731"/>
                </a:lnTo>
                <a:lnTo>
                  <a:pt x="461" y="1732"/>
                </a:lnTo>
                <a:lnTo>
                  <a:pt x="458" y="1733"/>
                </a:lnTo>
                <a:lnTo>
                  <a:pt x="453" y="1733"/>
                </a:lnTo>
                <a:lnTo>
                  <a:pt x="450" y="1732"/>
                </a:lnTo>
                <a:lnTo>
                  <a:pt x="447" y="1731"/>
                </a:lnTo>
                <a:lnTo>
                  <a:pt x="445" y="1729"/>
                </a:lnTo>
                <a:lnTo>
                  <a:pt x="444" y="1728"/>
                </a:lnTo>
                <a:lnTo>
                  <a:pt x="443" y="1727"/>
                </a:lnTo>
                <a:lnTo>
                  <a:pt x="441" y="1724"/>
                </a:lnTo>
                <a:lnTo>
                  <a:pt x="440" y="1721"/>
                </a:lnTo>
                <a:lnTo>
                  <a:pt x="440" y="1718"/>
                </a:lnTo>
                <a:lnTo>
                  <a:pt x="440" y="1715"/>
                </a:lnTo>
                <a:lnTo>
                  <a:pt x="440" y="1712"/>
                </a:lnTo>
                <a:lnTo>
                  <a:pt x="442" y="1709"/>
                </a:lnTo>
                <a:lnTo>
                  <a:pt x="443" y="1707"/>
                </a:lnTo>
                <a:lnTo>
                  <a:pt x="446" y="1704"/>
                </a:lnTo>
                <a:lnTo>
                  <a:pt x="448" y="1703"/>
                </a:lnTo>
                <a:close/>
                <a:moveTo>
                  <a:pt x="816" y="1477"/>
                </a:moveTo>
                <a:lnTo>
                  <a:pt x="819" y="1476"/>
                </a:lnTo>
                <a:lnTo>
                  <a:pt x="822" y="1475"/>
                </a:lnTo>
                <a:lnTo>
                  <a:pt x="825" y="1475"/>
                </a:lnTo>
                <a:lnTo>
                  <a:pt x="828" y="1476"/>
                </a:lnTo>
                <a:lnTo>
                  <a:pt x="831" y="1477"/>
                </a:lnTo>
                <a:lnTo>
                  <a:pt x="834" y="1479"/>
                </a:lnTo>
                <a:lnTo>
                  <a:pt x="836" y="1481"/>
                </a:lnTo>
                <a:lnTo>
                  <a:pt x="838" y="1483"/>
                </a:lnTo>
                <a:lnTo>
                  <a:pt x="839" y="1486"/>
                </a:lnTo>
                <a:lnTo>
                  <a:pt x="840" y="1489"/>
                </a:lnTo>
                <a:lnTo>
                  <a:pt x="840" y="1492"/>
                </a:lnTo>
                <a:lnTo>
                  <a:pt x="839" y="1495"/>
                </a:lnTo>
                <a:lnTo>
                  <a:pt x="838" y="1498"/>
                </a:lnTo>
                <a:lnTo>
                  <a:pt x="836" y="1501"/>
                </a:lnTo>
                <a:lnTo>
                  <a:pt x="834" y="1503"/>
                </a:lnTo>
                <a:lnTo>
                  <a:pt x="832" y="1505"/>
                </a:lnTo>
                <a:lnTo>
                  <a:pt x="829" y="1506"/>
                </a:lnTo>
                <a:lnTo>
                  <a:pt x="825" y="1507"/>
                </a:lnTo>
                <a:lnTo>
                  <a:pt x="822" y="1507"/>
                </a:lnTo>
                <a:lnTo>
                  <a:pt x="819" y="1506"/>
                </a:lnTo>
                <a:lnTo>
                  <a:pt x="816" y="1505"/>
                </a:lnTo>
                <a:lnTo>
                  <a:pt x="814" y="1504"/>
                </a:lnTo>
                <a:lnTo>
                  <a:pt x="811" y="1501"/>
                </a:lnTo>
                <a:lnTo>
                  <a:pt x="810" y="1499"/>
                </a:lnTo>
                <a:lnTo>
                  <a:pt x="808" y="1496"/>
                </a:lnTo>
                <a:lnTo>
                  <a:pt x="808" y="1493"/>
                </a:lnTo>
                <a:lnTo>
                  <a:pt x="808" y="1490"/>
                </a:lnTo>
                <a:lnTo>
                  <a:pt x="808" y="1487"/>
                </a:lnTo>
                <a:lnTo>
                  <a:pt x="809" y="1484"/>
                </a:lnTo>
                <a:lnTo>
                  <a:pt x="811" y="1481"/>
                </a:lnTo>
                <a:lnTo>
                  <a:pt x="813" y="1479"/>
                </a:lnTo>
                <a:lnTo>
                  <a:pt x="816" y="1477"/>
                </a:lnTo>
                <a:close/>
                <a:moveTo>
                  <a:pt x="940" y="1405"/>
                </a:moveTo>
                <a:lnTo>
                  <a:pt x="943" y="1403"/>
                </a:lnTo>
                <a:lnTo>
                  <a:pt x="946" y="1403"/>
                </a:lnTo>
                <a:lnTo>
                  <a:pt x="949" y="1402"/>
                </a:lnTo>
                <a:lnTo>
                  <a:pt x="952" y="1403"/>
                </a:lnTo>
                <a:lnTo>
                  <a:pt x="954" y="1404"/>
                </a:lnTo>
                <a:lnTo>
                  <a:pt x="957" y="1405"/>
                </a:lnTo>
                <a:lnTo>
                  <a:pt x="959" y="1407"/>
                </a:lnTo>
                <a:lnTo>
                  <a:pt x="961" y="1410"/>
                </a:lnTo>
                <a:lnTo>
                  <a:pt x="963" y="1413"/>
                </a:lnTo>
                <a:lnTo>
                  <a:pt x="964" y="1416"/>
                </a:lnTo>
                <a:lnTo>
                  <a:pt x="964" y="1419"/>
                </a:lnTo>
                <a:lnTo>
                  <a:pt x="963" y="1422"/>
                </a:lnTo>
                <a:lnTo>
                  <a:pt x="962" y="1425"/>
                </a:lnTo>
                <a:lnTo>
                  <a:pt x="961" y="1428"/>
                </a:lnTo>
                <a:lnTo>
                  <a:pt x="959" y="1430"/>
                </a:lnTo>
                <a:lnTo>
                  <a:pt x="956" y="1432"/>
                </a:lnTo>
                <a:lnTo>
                  <a:pt x="953" y="1433"/>
                </a:lnTo>
                <a:lnTo>
                  <a:pt x="950" y="1434"/>
                </a:lnTo>
                <a:lnTo>
                  <a:pt x="947" y="1434"/>
                </a:lnTo>
                <a:lnTo>
                  <a:pt x="944" y="1434"/>
                </a:lnTo>
                <a:lnTo>
                  <a:pt x="941" y="1433"/>
                </a:lnTo>
                <a:lnTo>
                  <a:pt x="939" y="1431"/>
                </a:lnTo>
                <a:lnTo>
                  <a:pt x="936" y="1429"/>
                </a:lnTo>
                <a:lnTo>
                  <a:pt x="934" y="1427"/>
                </a:lnTo>
                <a:lnTo>
                  <a:pt x="933" y="1424"/>
                </a:lnTo>
                <a:lnTo>
                  <a:pt x="932" y="1421"/>
                </a:lnTo>
                <a:lnTo>
                  <a:pt x="932" y="1418"/>
                </a:lnTo>
                <a:lnTo>
                  <a:pt x="932" y="1415"/>
                </a:lnTo>
                <a:lnTo>
                  <a:pt x="933" y="1412"/>
                </a:lnTo>
                <a:lnTo>
                  <a:pt x="935" y="1409"/>
                </a:lnTo>
                <a:lnTo>
                  <a:pt x="937" y="1407"/>
                </a:lnTo>
                <a:lnTo>
                  <a:pt x="939" y="1405"/>
                </a:lnTo>
                <a:lnTo>
                  <a:pt x="940" y="1405"/>
                </a:lnTo>
                <a:close/>
                <a:moveTo>
                  <a:pt x="564" y="1619"/>
                </a:moveTo>
                <a:lnTo>
                  <a:pt x="567" y="1618"/>
                </a:lnTo>
                <a:lnTo>
                  <a:pt x="570" y="1617"/>
                </a:lnTo>
                <a:lnTo>
                  <a:pt x="573" y="1617"/>
                </a:lnTo>
                <a:lnTo>
                  <a:pt x="576" y="1618"/>
                </a:lnTo>
                <a:lnTo>
                  <a:pt x="579" y="1619"/>
                </a:lnTo>
                <a:lnTo>
                  <a:pt x="581" y="1620"/>
                </a:lnTo>
                <a:lnTo>
                  <a:pt x="584" y="1622"/>
                </a:lnTo>
                <a:lnTo>
                  <a:pt x="586" y="1624"/>
                </a:lnTo>
                <a:lnTo>
                  <a:pt x="587" y="1627"/>
                </a:lnTo>
                <a:lnTo>
                  <a:pt x="588" y="1630"/>
                </a:lnTo>
                <a:lnTo>
                  <a:pt x="588" y="1633"/>
                </a:lnTo>
                <a:lnTo>
                  <a:pt x="588" y="1636"/>
                </a:lnTo>
                <a:lnTo>
                  <a:pt x="587" y="1639"/>
                </a:lnTo>
                <a:lnTo>
                  <a:pt x="586" y="1642"/>
                </a:lnTo>
                <a:lnTo>
                  <a:pt x="584" y="1645"/>
                </a:lnTo>
                <a:lnTo>
                  <a:pt x="581" y="1647"/>
                </a:lnTo>
                <a:lnTo>
                  <a:pt x="578" y="1648"/>
                </a:lnTo>
                <a:lnTo>
                  <a:pt x="575" y="1649"/>
                </a:lnTo>
                <a:lnTo>
                  <a:pt x="569" y="1649"/>
                </a:lnTo>
                <a:lnTo>
                  <a:pt x="566" y="1648"/>
                </a:lnTo>
                <a:lnTo>
                  <a:pt x="563" y="1646"/>
                </a:lnTo>
                <a:lnTo>
                  <a:pt x="561" y="1644"/>
                </a:lnTo>
                <a:lnTo>
                  <a:pt x="559" y="1642"/>
                </a:lnTo>
                <a:lnTo>
                  <a:pt x="558" y="1639"/>
                </a:lnTo>
                <a:lnTo>
                  <a:pt x="557" y="1636"/>
                </a:lnTo>
                <a:lnTo>
                  <a:pt x="556" y="1633"/>
                </a:lnTo>
                <a:lnTo>
                  <a:pt x="557" y="1630"/>
                </a:lnTo>
                <a:lnTo>
                  <a:pt x="558" y="1627"/>
                </a:lnTo>
                <a:lnTo>
                  <a:pt x="559" y="1624"/>
                </a:lnTo>
                <a:lnTo>
                  <a:pt x="561" y="1622"/>
                </a:lnTo>
                <a:lnTo>
                  <a:pt x="564" y="1620"/>
                </a:lnTo>
                <a:lnTo>
                  <a:pt x="564" y="1619"/>
                </a:lnTo>
                <a:close/>
                <a:moveTo>
                  <a:pt x="687" y="1545"/>
                </a:moveTo>
                <a:lnTo>
                  <a:pt x="690" y="1543"/>
                </a:lnTo>
                <a:lnTo>
                  <a:pt x="694" y="1543"/>
                </a:lnTo>
                <a:lnTo>
                  <a:pt x="697" y="1543"/>
                </a:lnTo>
                <a:lnTo>
                  <a:pt x="700" y="1543"/>
                </a:lnTo>
                <a:lnTo>
                  <a:pt x="703" y="1544"/>
                </a:lnTo>
                <a:lnTo>
                  <a:pt x="705" y="1546"/>
                </a:lnTo>
                <a:lnTo>
                  <a:pt x="708" y="1548"/>
                </a:lnTo>
                <a:lnTo>
                  <a:pt x="709" y="1551"/>
                </a:lnTo>
                <a:lnTo>
                  <a:pt x="711" y="1554"/>
                </a:lnTo>
                <a:lnTo>
                  <a:pt x="711" y="1557"/>
                </a:lnTo>
                <a:lnTo>
                  <a:pt x="711" y="1560"/>
                </a:lnTo>
                <a:lnTo>
                  <a:pt x="711" y="1563"/>
                </a:lnTo>
                <a:lnTo>
                  <a:pt x="710" y="1566"/>
                </a:lnTo>
                <a:lnTo>
                  <a:pt x="708" y="1568"/>
                </a:lnTo>
                <a:lnTo>
                  <a:pt x="706" y="1571"/>
                </a:lnTo>
                <a:lnTo>
                  <a:pt x="703" y="1572"/>
                </a:lnTo>
                <a:lnTo>
                  <a:pt x="700" y="1574"/>
                </a:lnTo>
                <a:lnTo>
                  <a:pt x="697" y="1574"/>
                </a:lnTo>
                <a:lnTo>
                  <a:pt x="694" y="1574"/>
                </a:lnTo>
                <a:lnTo>
                  <a:pt x="691" y="1574"/>
                </a:lnTo>
                <a:lnTo>
                  <a:pt x="688" y="1573"/>
                </a:lnTo>
                <a:lnTo>
                  <a:pt x="686" y="1571"/>
                </a:lnTo>
                <a:lnTo>
                  <a:pt x="683" y="1569"/>
                </a:lnTo>
                <a:lnTo>
                  <a:pt x="681" y="1566"/>
                </a:lnTo>
                <a:lnTo>
                  <a:pt x="680" y="1563"/>
                </a:lnTo>
                <a:lnTo>
                  <a:pt x="680" y="1560"/>
                </a:lnTo>
                <a:lnTo>
                  <a:pt x="679" y="1557"/>
                </a:lnTo>
                <a:lnTo>
                  <a:pt x="680" y="1554"/>
                </a:lnTo>
                <a:lnTo>
                  <a:pt x="681" y="1551"/>
                </a:lnTo>
                <a:lnTo>
                  <a:pt x="683" y="1549"/>
                </a:lnTo>
                <a:lnTo>
                  <a:pt x="685" y="1547"/>
                </a:lnTo>
                <a:lnTo>
                  <a:pt x="687" y="1545"/>
                </a:lnTo>
                <a:close/>
                <a:moveTo>
                  <a:pt x="1058" y="1323"/>
                </a:moveTo>
                <a:lnTo>
                  <a:pt x="1060" y="1321"/>
                </a:lnTo>
                <a:lnTo>
                  <a:pt x="1063" y="1321"/>
                </a:lnTo>
                <a:lnTo>
                  <a:pt x="1069" y="1321"/>
                </a:lnTo>
                <a:lnTo>
                  <a:pt x="1071" y="1321"/>
                </a:lnTo>
                <a:lnTo>
                  <a:pt x="1074" y="1323"/>
                </a:lnTo>
                <a:lnTo>
                  <a:pt x="1076" y="1324"/>
                </a:lnTo>
                <a:lnTo>
                  <a:pt x="1078" y="1327"/>
                </a:lnTo>
                <a:lnTo>
                  <a:pt x="1080" y="1329"/>
                </a:lnTo>
                <a:lnTo>
                  <a:pt x="1081" y="1332"/>
                </a:lnTo>
                <a:lnTo>
                  <a:pt x="1082" y="1335"/>
                </a:lnTo>
                <a:lnTo>
                  <a:pt x="1081" y="1338"/>
                </a:lnTo>
                <a:lnTo>
                  <a:pt x="1081" y="1341"/>
                </a:lnTo>
                <a:lnTo>
                  <a:pt x="1080" y="1344"/>
                </a:lnTo>
                <a:lnTo>
                  <a:pt x="1078" y="1347"/>
                </a:lnTo>
                <a:lnTo>
                  <a:pt x="1075" y="1349"/>
                </a:lnTo>
                <a:lnTo>
                  <a:pt x="1074" y="1350"/>
                </a:lnTo>
                <a:lnTo>
                  <a:pt x="1071" y="1351"/>
                </a:lnTo>
                <a:lnTo>
                  <a:pt x="1068" y="1352"/>
                </a:lnTo>
                <a:lnTo>
                  <a:pt x="1063" y="1352"/>
                </a:lnTo>
                <a:lnTo>
                  <a:pt x="1060" y="1351"/>
                </a:lnTo>
                <a:lnTo>
                  <a:pt x="1057" y="1350"/>
                </a:lnTo>
                <a:lnTo>
                  <a:pt x="1055" y="1348"/>
                </a:lnTo>
                <a:lnTo>
                  <a:pt x="1053" y="1346"/>
                </a:lnTo>
                <a:lnTo>
                  <a:pt x="1051" y="1343"/>
                </a:lnTo>
                <a:lnTo>
                  <a:pt x="1050" y="1340"/>
                </a:lnTo>
                <a:lnTo>
                  <a:pt x="1050" y="1337"/>
                </a:lnTo>
                <a:lnTo>
                  <a:pt x="1050" y="1334"/>
                </a:lnTo>
                <a:lnTo>
                  <a:pt x="1050" y="1331"/>
                </a:lnTo>
                <a:lnTo>
                  <a:pt x="1052" y="1328"/>
                </a:lnTo>
                <a:lnTo>
                  <a:pt x="1054" y="1326"/>
                </a:lnTo>
                <a:lnTo>
                  <a:pt x="1056" y="1324"/>
                </a:lnTo>
                <a:lnTo>
                  <a:pt x="1058" y="1323"/>
                </a:lnTo>
                <a:close/>
                <a:moveTo>
                  <a:pt x="2923" y="216"/>
                </a:moveTo>
                <a:lnTo>
                  <a:pt x="2926" y="214"/>
                </a:lnTo>
                <a:lnTo>
                  <a:pt x="2930" y="213"/>
                </a:lnTo>
                <a:lnTo>
                  <a:pt x="2933" y="214"/>
                </a:lnTo>
                <a:lnTo>
                  <a:pt x="2935" y="214"/>
                </a:lnTo>
                <a:lnTo>
                  <a:pt x="2937" y="215"/>
                </a:lnTo>
                <a:lnTo>
                  <a:pt x="2940" y="216"/>
                </a:lnTo>
                <a:lnTo>
                  <a:pt x="2942" y="219"/>
                </a:lnTo>
                <a:lnTo>
                  <a:pt x="2944" y="221"/>
                </a:lnTo>
                <a:lnTo>
                  <a:pt x="2946" y="224"/>
                </a:lnTo>
                <a:lnTo>
                  <a:pt x="2946" y="227"/>
                </a:lnTo>
                <a:lnTo>
                  <a:pt x="2947" y="230"/>
                </a:lnTo>
                <a:lnTo>
                  <a:pt x="2946" y="233"/>
                </a:lnTo>
                <a:lnTo>
                  <a:pt x="2945" y="236"/>
                </a:lnTo>
                <a:lnTo>
                  <a:pt x="2942" y="240"/>
                </a:lnTo>
                <a:lnTo>
                  <a:pt x="2941" y="242"/>
                </a:lnTo>
                <a:lnTo>
                  <a:pt x="2939" y="243"/>
                </a:lnTo>
                <a:lnTo>
                  <a:pt x="2935" y="245"/>
                </a:lnTo>
                <a:lnTo>
                  <a:pt x="2932" y="245"/>
                </a:lnTo>
                <a:lnTo>
                  <a:pt x="2928" y="245"/>
                </a:lnTo>
                <a:lnTo>
                  <a:pt x="2926" y="245"/>
                </a:lnTo>
                <a:lnTo>
                  <a:pt x="2924" y="244"/>
                </a:lnTo>
                <a:lnTo>
                  <a:pt x="2921" y="242"/>
                </a:lnTo>
                <a:lnTo>
                  <a:pt x="2919" y="240"/>
                </a:lnTo>
                <a:lnTo>
                  <a:pt x="2917" y="238"/>
                </a:lnTo>
                <a:lnTo>
                  <a:pt x="2916" y="235"/>
                </a:lnTo>
                <a:lnTo>
                  <a:pt x="2915" y="232"/>
                </a:lnTo>
                <a:lnTo>
                  <a:pt x="2915" y="229"/>
                </a:lnTo>
                <a:lnTo>
                  <a:pt x="2915" y="226"/>
                </a:lnTo>
                <a:lnTo>
                  <a:pt x="2916" y="223"/>
                </a:lnTo>
                <a:lnTo>
                  <a:pt x="2919" y="219"/>
                </a:lnTo>
                <a:lnTo>
                  <a:pt x="2921" y="217"/>
                </a:lnTo>
                <a:lnTo>
                  <a:pt x="2923" y="216"/>
                </a:lnTo>
                <a:close/>
                <a:moveTo>
                  <a:pt x="1167" y="1229"/>
                </a:moveTo>
                <a:lnTo>
                  <a:pt x="1169" y="1228"/>
                </a:lnTo>
                <a:lnTo>
                  <a:pt x="1171" y="1227"/>
                </a:lnTo>
                <a:lnTo>
                  <a:pt x="1174" y="1227"/>
                </a:lnTo>
                <a:lnTo>
                  <a:pt x="1177" y="1227"/>
                </a:lnTo>
                <a:lnTo>
                  <a:pt x="1179" y="1228"/>
                </a:lnTo>
                <a:lnTo>
                  <a:pt x="1182" y="1229"/>
                </a:lnTo>
                <a:lnTo>
                  <a:pt x="1184" y="1230"/>
                </a:lnTo>
                <a:lnTo>
                  <a:pt x="1186" y="1232"/>
                </a:lnTo>
                <a:lnTo>
                  <a:pt x="1188" y="1234"/>
                </a:lnTo>
                <a:lnTo>
                  <a:pt x="1189" y="1237"/>
                </a:lnTo>
                <a:lnTo>
                  <a:pt x="1190" y="1240"/>
                </a:lnTo>
                <a:lnTo>
                  <a:pt x="1191" y="1243"/>
                </a:lnTo>
                <a:lnTo>
                  <a:pt x="1190" y="1246"/>
                </a:lnTo>
                <a:lnTo>
                  <a:pt x="1189" y="1249"/>
                </a:lnTo>
                <a:lnTo>
                  <a:pt x="1188" y="1252"/>
                </a:lnTo>
                <a:lnTo>
                  <a:pt x="1186" y="1254"/>
                </a:lnTo>
                <a:lnTo>
                  <a:pt x="1182" y="1257"/>
                </a:lnTo>
                <a:lnTo>
                  <a:pt x="1180" y="1258"/>
                </a:lnTo>
                <a:lnTo>
                  <a:pt x="1178" y="1259"/>
                </a:lnTo>
                <a:lnTo>
                  <a:pt x="1175" y="1259"/>
                </a:lnTo>
                <a:lnTo>
                  <a:pt x="1172" y="1259"/>
                </a:lnTo>
                <a:lnTo>
                  <a:pt x="1170" y="1258"/>
                </a:lnTo>
                <a:lnTo>
                  <a:pt x="1167" y="1257"/>
                </a:lnTo>
                <a:lnTo>
                  <a:pt x="1165" y="1256"/>
                </a:lnTo>
                <a:lnTo>
                  <a:pt x="1163" y="1254"/>
                </a:lnTo>
                <a:lnTo>
                  <a:pt x="1161" y="1251"/>
                </a:lnTo>
                <a:lnTo>
                  <a:pt x="1160" y="1249"/>
                </a:lnTo>
                <a:lnTo>
                  <a:pt x="1159" y="1246"/>
                </a:lnTo>
                <a:lnTo>
                  <a:pt x="1159" y="1243"/>
                </a:lnTo>
                <a:lnTo>
                  <a:pt x="1159" y="1240"/>
                </a:lnTo>
                <a:lnTo>
                  <a:pt x="1160" y="1237"/>
                </a:lnTo>
                <a:lnTo>
                  <a:pt x="1161" y="1234"/>
                </a:lnTo>
                <a:lnTo>
                  <a:pt x="1163" y="1231"/>
                </a:lnTo>
                <a:lnTo>
                  <a:pt x="1167" y="1229"/>
                </a:lnTo>
                <a:close/>
                <a:moveTo>
                  <a:pt x="1262" y="1122"/>
                </a:moveTo>
                <a:lnTo>
                  <a:pt x="1266" y="1120"/>
                </a:lnTo>
                <a:lnTo>
                  <a:pt x="1271" y="1120"/>
                </a:lnTo>
                <a:lnTo>
                  <a:pt x="1273" y="1120"/>
                </a:lnTo>
                <a:lnTo>
                  <a:pt x="1276" y="1121"/>
                </a:lnTo>
                <a:lnTo>
                  <a:pt x="1278" y="1122"/>
                </a:lnTo>
                <a:lnTo>
                  <a:pt x="1280" y="1123"/>
                </a:lnTo>
                <a:lnTo>
                  <a:pt x="1282" y="1125"/>
                </a:lnTo>
                <a:lnTo>
                  <a:pt x="1284" y="1128"/>
                </a:lnTo>
                <a:lnTo>
                  <a:pt x="1285" y="1131"/>
                </a:lnTo>
                <a:lnTo>
                  <a:pt x="1286" y="1134"/>
                </a:lnTo>
                <a:lnTo>
                  <a:pt x="1286" y="1137"/>
                </a:lnTo>
                <a:lnTo>
                  <a:pt x="1286" y="1140"/>
                </a:lnTo>
                <a:lnTo>
                  <a:pt x="1285" y="1143"/>
                </a:lnTo>
                <a:lnTo>
                  <a:pt x="1283" y="1146"/>
                </a:lnTo>
                <a:lnTo>
                  <a:pt x="1281" y="1148"/>
                </a:lnTo>
                <a:lnTo>
                  <a:pt x="1278" y="1150"/>
                </a:lnTo>
                <a:lnTo>
                  <a:pt x="1274" y="1151"/>
                </a:lnTo>
                <a:lnTo>
                  <a:pt x="1269" y="1152"/>
                </a:lnTo>
                <a:lnTo>
                  <a:pt x="1267" y="1152"/>
                </a:lnTo>
                <a:lnTo>
                  <a:pt x="1265" y="1151"/>
                </a:lnTo>
                <a:lnTo>
                  <a:pt x="1263" y="1150"/>
                </a:lnTo>
                <a:lnTo>
                  <a:pt x="1260" y="1149"/>
                </a:lnTo>
                <a:lnTo>
                  <a:pt x="1258" y="1146"/>
                </a:lnTo>
                <a:lnTo>
                  <a:pt x="1256" y="1144"/>
                </a:lnTo>
                <a:lnTo>
                  <a:pt x="1255" y="1141"/>
                </a:lnTo>
                <a:lnTo>
                  <a:pt x="1254" y="1138"/>
                </a:lnTo>
                <a:lnTo>
                  <a:pt x="1254" y="1135"/>
                </a:lnTo>
                <a:lnTo>
                  <a:pt x="1255" y="1132"/>
                </a:lnTo>
                <a:lnTo>
                  <a:pt x="1256" y="1129"/>
                </a:lnTo>
                <a:lnTo>
                  <a:pt x="1257" y="1126"/>
                </a:lnTo>
                <a:lnTo>
                  <a:pt x="1260" y="1124"/>
                </a:lnTo>
                <a:lnTo>
                  <a:pt x="1262" y="1122"/>
                </a:lnTo>
                <a:close/>
                <a:moveTo>
                  <a:pt x="1339" y="1001"/>
                </a:moveTo>
                <a:lnTo>
                  <a:pt x="1343" y="999"/>
                </a:lnTo>
                <a:lnTo>
                  <a:pt x="1347" y="999"/>
                </a:lnTo>
                <a:lnTo>
                  <a:pt x="1351" y="999"/>
                </a:lnTo>
                <a:lnTo>
                  <a:pt x="1354" y="1001"/>
                </a:lnTo>
                <a:lnTo>
                  <a:pt x="1357" y="1002"/>
                </a:lnTo>
                <a:lnTo>
                  <a:pt x="1359" y="1005"/>
                </a:lnTo>
                <a:lnTo>
                  <a:pt x="1361" y="1007"/>
                </a:lnTo>
                <a:lnTo>
                  <a:pt x="1362" y="1010"/>
                </a:lnTo>
                <a:lnTo>
                  <a:pt x="1363" y="1013"/>
                </a:lnTo>
                <a:lnTo>
                  <a:pt x="1363" y="1016"/>
                </a:lnTo>
                <a:lnTo>
                  <a:pt x="1363" y="1019"/>
                </a:lnTo>
                <a:lnTo>
                  <a:pt x="1361" y="1022"/>
                </a:lnTo>
                <a:lnTo>
                  <a:pt x="1360" y="1024"/>
                </a:lnTo>
                <a:lnTo>
                  <a:pt x="1359" y="1026"/>
                </a:lnTo>
                <a:lnTo>
                  <a:pt x="1355" y="1029"/>
                </a:lnTo>
                <a:lnTo>
                  <a:pt x="1352" y="1030"/>
                </a:lnTo>
                <a:lnTo>
                  <a:pt x="1348" y="1031"/>
                </a:lnTo>
                <a:lnTo>
                  <a:pt x="1344" y="1030"/>
                </a:lnTo>
                <a:lnTo>
                  <a:pt x="1340" y="1029"/>
                </a:lnTo>
                <a:lnTo>
                  <a:pt x="1337" y="1027"/>
                </a:lnTo>
                <a:lnTo>
                  <a:pt x="1335" y="1025"/>
                </a:lnTo>
                <a:lnTo>
                  <a:pt x="1333" y="1023"/>
                </a:lnTo>
                <a:lnTo>
                  <a:pt x="1332" y="1020"/>
                </a:lnTo>
                <a:lnTo>
                  <a:pt x="1331" y="1014"/>
                </a:lnTo>
                <a:lnTo>
                  <a:pt x="1332" y="1011"/>
                </a:lnTo>
                <a:lnTo>
                  <a:pt x="1333" y="1008"/>
                </a:lnTo>
                <a:lnTo>
                  <a:pt x="1334" y="1006"/>
                </a:lnTo>
                <a:lnTo>
                  <a:pt x="1336" y="1004"/>
                </a:lnTo>
                <a:lnTo>
                  <a:pt x="1339" y="1001"/>
                </a:lnTo>
                <a:close/>
                <a:moveTo>
                  <a:pt x="2790" y="159"/>
                </a:moveTo>
                <a:lnTo>
                  <a:pt x="2794" y="157"/>
                </a:lnTo>
                <a:lnTo>
                  <a:pt x="2797" y="157"/>
                </a:lnTo>
                <a:lnTo>
                  <a:pt x="2801" y="157"/>
                </a:lnTo>
                <a:lnTo>
                  <a:pt x="2804" y="158"/>
                </a:lnTo>
                <a:lnTo>
                  <a:pt x="2807" y="159"/>
                </a:lnTo>
                <a:lnTo>
                  <a:pt x="2810" y="161"/>
                </a:lnTo>
                <a:lnTo>
                  <a:pt x="2812" y="164"/>
                </a:lnTo>
                <a:lnTo>
                  <a:pt x="2813" y="166"/>
                </a:lnTo>
                <a:lnTo>
                  <a:pt x="2814" y="169"/>
                </a:lnTo>
                <a:lnTo>
                  <a:pt x="2814" y="172"/>
                </a:lnTo>
                <a:lnTo>
                  <a:pt x="2814" y="175"/>
                </a:lnTo>
                <a:lnTo>
                  <a:pt x="2813" y="179"/>
                </a:lnTo>
                <a:lnTo>
                  <a:pt x="2810" y="183"/>
                </a:lnTo>
                <a:lnTo>
                  <a:pt x="2808" y="185"/>
                </a:lnTo>
                <a:lnTo>
                  <a:pt x="2806" y="186"/>
                </a:lnTo>
                <a:lnTo>
                  <a:pt x="2803" y="188"/>
                </a:lnTo>
                <a:lnTo>
                  <a:pt x="2800" y="189"/>
                </a:lnTo>
                <a:lnTo>
                  <a:pt x="2796" y="188"/>
                </a:lnTo>
                <a:lnTo>
                  <a:pt x="2792" y="187"/>
                </a:lnTo>
                <a:lnTo>
                  <a:pt x="2789" y="186"/>
                </a:lnTo>
                <a:lnTo>
                  <a:pt x="2787" y="184"/>
                </a:lnTo>
                <a:lnTo>
                  <a:pt x="2785" y="181"/>
                </a:lnTo>
                <a:lnTo>
                  <a:pt x="2784" y="179"/>
                </a:lnTo>
                <a:lnTo>
                  <a:pt x="2783" y="176"/>
                </a:lnTo>
                <a:lnTo>
                  <a:pt x="2782" y="173"/>
                </a:lnTo>
                <a:lnTo>
                  <a:pt x="2783" y="170"/>
                </a:lnTo>
                <a:lnTo>
                  <a:pt x="2784" y="167"/>
                </a:lnTo>
                <a:lnTo>
                  <a:pt x="2786" y="162"/>
                </a:lnTo>
                <a:lnTo>
                  <a:pt x="2788" y="160"/>
                </a:lnTo>
                <a:lnTo>
                  <a:pt x="2790" y="159"/>
                </a:lnTo>
                <a:close/>
                <a:moveTo>
                  <a:pt x="1393" y="868"/>
                </a:moveTo>
                <a:lnTo>
                  <a:pt x="1396" y="867"/>
                </a:lnTo>
                <a:lnTo>
                  <a:pt x="1399" y="866"/>
                </a:lnTo>
                <a:lnTo>
                  <a:pt x="1402" y="866"/>
                </a:lnTo>
                <a:lnTo>
                  <a:pt x="1405" y="866"/>
                </a:lnTo>
                <a:lnTo>
                  <a:pt x="1408" y="868"/>
                </a:lnTo>
                <a:lnTo>
                  <a:pt x="1411" y="869"/>
                </a:lnTo>
                <a:lnTo>
                  <a:pt x="1413" y="872"/>
                </a:lnTo>
                <a:lnTo>
                  <a:pt x="1415" y="874"/>
                </a:lnTo>
                <a:lnTo>
                  <a:pt x="1416" y="877"/>
                </a:lnTo>
                <a:lnTo>
                  <a:pt x="1417" y="880"/>
                </a:lnTo>
                <a:lnTo>
                  <a:pt x="1417" y="883"/>
                </a:lnTo>
                <a:lnTo>
                  <a:pt x="1416" y="886"/>
                </a:lnTo>
                <a:lnTo>
                  <a:pt x="1415" y="889"/>
                </a:lnTo>
                <a:lnTo>
                  <a:pt x="1413" y="892"/>
                </a:lnTo>
                <a:lnTo>
                  <a:pt x="1411" y="894"/>
                </a:lnTo>
                <a:lnTo>
                  <a:pt x="1409" y="896"/>
                </a:lnTo>
                <a:lnTo>
                  <a:pt x="1406" y="897"/>
                </a:lnTo>
                <a:lnTo>
                  <a:pt x="1403" y="898"/>
                </a:lnTo>
                <a:lnTo>
                  <a:pt x="1399" y="898"/>
                </a:lnTo>
                <a:lnTo>
                  <a:pt x="1396" y="897"/>
                </a:lnTo>
                <a:lnTo>
                  <a:pt x="1393" y="896"/>
                </a:lnTo>
                <a:lnTo>
                  <a:pt x="1391" y="894"/>
                </a:lnTo>
                <a:lnTo>
                  <a:pt x="1388" y="892"/>
                </a:lnTo>
                <a:lnTo>
                  <a:pt x="1387" y="889"/>
                </a:lnTo>
                <a:lnTo>
                  <a:pt x="1385" y="886"/>
                </a:lnTo>
                <a:lnTo>
                  <a:pt x="1385" y="883"/>
                </a:lnTo>
                <a:lnTo>
                  <a:pt x="1385" y="880"/>
                </a:lnTo>
                <a:lnTo>
                  <a:pt x="1385" y="877"/>
                </a:lnTo>
                <a:lnTo>
                  <a:pt x="1387" y="874"/>
                </a:lnTo>
                <a:lnTo>
                  <a:pt x="1388" y="872"/>
                </a:lnTo>
                <a:lnTo>
                  <a:pt x="1390" y="870"/>
                </a:lnTo>
                <a:lnTo>
                  <a:pt x="1393" y="868"/>
                </a:lnTo>
                <a:close/>
                <a:moveTo>
                  <a:pt x="2656" y="107"/>
                </a:moveTo>
                <a:lnTo>
                  <a:pt x="2659" y="106"/>
                </a:lnTo>
                <a:lnTo>
                  <a:pt x="2662" y="105"/>
                </a:lnTo>
                <a:lnTo>
                  <a:pt x="2666" y="105"/>
                </a:lnTo>
                <a:lnTo>
                  <a:pt x="2669" y="106"/>
                </a:lnTo>
                <a:lnTo>
                  <a:pt x="2672" y="108"/>
                </a:lnTo>
                <a:lnTo>
                  <a:pt x="2675" y="109"/>
                </a:lnTo>
                <a:lnTo>
                  <a:pt x="2677" y="112"/>
                </a:lnTo>
                <a:lnTo>
                  <a:pt x="2678" y="114"/>
                </a:lnTo>
                <a:lnTo>
                  <a:pt x="2679" y="117"/>
                </a:lnTo>
                <a:lnTo>
                  <a:pt x="2680" y="120"/>
                </a:lnTo>
                <a:lnTo>
                  <a:pt x="2680" y="123"/>
                </a:lnTo>
                <a:lnTo>
                  <a:pt x="2679" y="127"/>
                </a:lnTo>
                <a:lnTo>
                  <a:pt x="2678" y="129"/>
                </a:lnTo>
                <a:lnTo>
                  <a:pt x="2676" y="132"/>
                </a:lnTo>
                <a:lnTo>
                  <a:pt x="2674" y="134"/>
                </a:lnTo>
                <a:lnTo>
                  <a:pt x="2672" y="135"/>
                </a:lnTo>
                <a:lnTo>
                  <a:pt x="2669" y="137"/>
                </a:lnTo>
                <a:lnTo>
                  <a:pt x="2665" y="137"/>
                </a:lnTo>
                <a:lnTo>
                  <a:pt x="2662" y="137"/>
                </a:lnTo>
                <a:lnTo>
                  <a:pt x="2659" y="136"/>
                </a:lnTo>
                <a:lnTo>
                  <a:pt x="2656" y="135"/>
                </a:lnTo>
                <a:lnTo>
                  <a:pt x="2653" y="133"/>
                </a:lnTo>
                <a:lnTo>
                  <a:pt x="2651" y="131"/>
                </a:lnTo>
                <a:lnTo>
                  <a:pt x="2649" y="128"/>
                </a:lnTo>
                <a:lnTo>
                  <a:pt x="2648" y="125"/>
                </a:lnTo>
                <a:lnTo>
                  <a:pt x="2648" y="122"/>
                </a:lnTo>
                <a:lnTo>
                  <a:pt x="2648" y="119"/>
                </a:lnTo>
                <a:lnTo>
                  <a:pt x="2649" y="116"/>
                </a:lnTo>
                <a:lnTo>
                  <a:pt x="2652" y="111"/>
                </a:lnTo>
                <a:lnTo>
                  <a:pt x="2654" y="109"/>
                </a:lnTo>
                <a:lnTo>
                  <a:pt x="2656" y="107"/>
                </a:lnTo>
                <a:close/>
                <a:moveTo>
                  <a:pt x="1423" y="727"/>
                </a:moveTo>
                <a:lnTo>
                  <a:pt x="1428" y="726"/>
                </a:lnTo>
                <a:lnTo>
                  <a:pt x="1431" y="725"/>
                </a:lnTo>
                <a:lnTo>
                  <a:pt x="1433" y="725"/>
                </a:lnTo>
                <a:lnTo>
                  <a:pt x="1436" y="726"/>
                </a:lnTo>
                <a:lnTo>
                  <a:pt x="1439" y="728"/>
                </a:lnTo>
                <a:lnTo>
                  <a:pt x="1442" y="729"/>
                </a:lnTo>
                <a:lnTo>
                  <a:pt x="1444" y="732"/>
                </a:lnTo>
                <a:lnTo>
                  <a:pt x="1445" y="734"/>
                </a:lnTo>
                <a:lnTo>
                  <a:pt x="1446" y="737"/>
                </a:lnTo>
                <a:lnTo>
                  <a:pt x="1447" y="740"/>
                </a:lnTo>
                <a:lnTo>
                  <a:pt x="1447" y="744"/>
                </a:lnTo>
                <a:lnTo>
                  <a:pt x="1446" y="747"/>
                </a:lnTo>
                <a:lnTo>
                  <a:pt x="1444" y="750"/>
                </a:lnTo>
                <a:lnTo>
                  <a:pt x="1442" y="753"/>
                </a:lnTo>
                <a:lnTo>
                  <a:pt x="1439" y="755"/>
                </a:lnTo>
                <a:lnTo>
                  <a:pt x="1434" y="757"/>
                </a:lnTo>
                <a:lnTo>
                  <a:pt x="1431" y="757"/>
                </a:lnTo>
                <a:lnTo>
                  <a:pt x="1429" y="757"/>
                </a:lnTo>
                <a:lnTo>
                  <a:pt x="1426" y="756"/>
                </a:lnTo>
                <a:lnTo>
                  <a:pt x="1423" y="755"/>
                </a:lnTo>
                <a:lnTo>
                  <a:pt x="1420" y="753"/>
                </a:lnTo>
                <a:lnTo>
                  <a:pt x="1418" y="751"/>
                </a:lnTo>
                <a:lnTo>
                  <a:pt x="1417" y="748"/>
                </a:lnTo>
                <a:lnTo>
                  <a:pt x="1416" y="745"/>
                </a:lnTo>
                <a:lnTo>
                  <a:pt x="1415" y="742"/>
                </a:lnTo>
                <a:lnTo>
                  <a:pt x="1415" y="739"/>
                </a:lnTo>
                <a:lnTo>
                  <a:pt x="1416" y="735"/>
                </a:lnTo>
                <a:lnTo>
                  <a:pt x="1418" y="732"/>
                </a:lnTo>
                <a:lnTo>
                  <a:pt x="1420" y="729"/>
                </a:lnTo>
                <a:lnTo>
                  <a:pt x="1423" y="727"/>
                </a:lnTo>
                <a:close/>
                <a:moveTo>
                  <a:pt x="2519" y="64"/>
                </a:moveTo>
                <a:lnTo>
                  <a:pt x="2522" y="62"/>
                </a:lnTo>
                <a:lnTo>
                  <a:pt x="2525" y="62"/>
                </a:lnTo>
                <a:lnTo>
                  <a:pt x="2528" y="62"/>
                </a:lnTo>
                <a:lnTo>
                  <a:pt x="2531" y="62"/>
                </a:lnTo>
                <a:lnTo>
                  <a:pt x="2534" y="63"/>
                </a:lnTo>
                <a:lnTo>
                  <a:pt x="2537" y="65"/>
                </a:lnTo>
                <a:lnTo>
                  <a:pt x="2539" y="67"/>
                </a:lnTo>
                <a:lnTo>
                  <a:pt x="2541" y="70"/>
                </a:lnTo>
                <a:lnTo>
                  <a:pt x="2542" y="73"/>
                </a:lnTo>
                <a:lnTo>
                  <a:pt x="2543" y="76"/>
                </a:lnTo>
                <a:lnTo>
                  <a:pt x="2543" y="79"/>
                </a:lnTo>
                <a:lnTo>
                  <a:pt x="2542" y="82"/>
                </a:lnTo>
                <a:lnTo>
                  <a:pt x="2541" y="85"/>
                </a:lnTo>
                <a:lnTo>
                  <a:pt x="2539" y="87"/>
                </a:lnTo>
                <a:lnTo>
                  <a:pt x="2537" y="90"/>
                </a:lnTo>
                <a:lnTo>
                  <a:pt x="2535" y="91"/>
                </a:lnTo>
                <a:lnTo>
                  <a:pt x="2532" y="93"/>
                </a:lnTo>
                <a:lnTo>
                  <a:pt x="2529" y="93"/>
                </a:lnTo>
                <a:lnTo>
                  <a:pt x="2526" y="93"/>
                </a:lnTo>
                <a:lnTo>
                  <a:pt x="2522" y="93"/>
                </a:lnTo>
                <a:lnTo>
                  <a:pt x="2519" y="92"/>
                </a:lnTo>
                <a:lnTo>
                  <a:pt x="2517" y="90"/>
                </a:lnTo>
                <a:lnTo>
                  <a:pt x="2514" y="88"/>
                </a:lnTo>
                <a:lnTo>
                  <a:pt x="2513" y="85"/>
                </a:lnTo>
                <a:lnTo>
                  <a:pt x="2512" y="83"/>
                </a:lnTo>
                <a:lnTo>
                  <a:pt x="2511" y="79"/>
                </a:lnTo>
                <a:lnTo>
                  <a:pt x="2511" y="76"/>
                </a:lnTo>
                <a:lnTo>
                  <a:pt x="2511" y="73"/>
                </a:lnTo>
                <a:lnTo>
                  <a:pt x="2513" y="70"/>
                </a:lnTo>
                <a:lnTo>
                  <a:pt x="2514" y="68"/>
                </a:lnTo>
                <a:lnTo>
                  <a:pt x="2516" y="65"/>
                </a:lnTo>
                <a:lnTo>
                  <a:pt x="2519" y="64"/>
                </a:lnTo>
                <a:close/>
                <a:moveTo>
                  <a:pt x="1437" y="583"/>
                </a:moveTo>
                <a:lnTo>
                  <a:pt x="1441" y="581"/>
                </a:lnTo>
                <a:lnTo>
                  <a:pt x="1446" y="581"/>
                </a:lnTo>
                <a:lnTo>
                  <a:pt x="1449" y="582"/>
                </a:lnTo>
                <a:lnTo>
                  <a:pt x="1452" y="583"/>
                </a:lnTo>
                <a:lnTo>
                  <a:pt x="1455" y="584"/>
                </a:lnTo>
                <a:lnTo>
                  <a:pt x="1457" y="586"/>
                </a:lnTo>
                <a:lnTo>
                  <a:pt x="1459" y="589"/>
                </a:lnTo>
                <a:lnTo>
                  <a:pt x="1460" y="592"/>
                </a:lnTo>
                <a:lnTo>
                  <a:pt x="1461" y="596"/>
                </a:lnTo>
                <a:lnTo>
                  <a:pt x="1461" y="599"/>
                </a:lnTo>
                <a:lnTo>
                  <a:pt x="1461" y="601"/>
                </a:lnTo>
                <a:lnTo>
                  <a:pt x="1460" y="603"/>
                </a:lnTo>
                <a:lnTo>
                  <a:pt x="1458" y="607"/>
                </a:lnTo>
                <a:lnTo>
                  <a:pt x="1456" y="610"/>
                </a:lnTo>
                <a:lnTo>
                  <a:pt x="1453" y="612"/>
                </a:lnTo>
                <a:lnTo>
                  <a:pt x="1449" y="614"/>
                </a:lnTo>
                <a:lnTo>
                  <a:pt x="1444" y="614"/>
                </a:lnTo>
                <a:lnTo>
                  <a:pt x="1441" y="613"/>
                </a:lnTo>
                <a:lnTo>
                  <a:pt x="1438" y="612"/>
                </a:lnTo>
                <a:lnTo>
                  <a:pt x="1435" y="611"/>
                </a:lnTo>
                <a:lnTo>
                  <a:pt x="1433" y="608"/>
                </a:lnTo>
                <a:lnTo>
                  <a:pt x="1431" y="606"/>
                </a:lnTo>
                <a:lnTo>
                  <a:pt x="1430" y="603"/>
                </a:lnTo>
                <a:lnTo>
                  <a:pt x="1429" y="600"/>
                </a:lnTo>
                <a:lnTo>
                  <a:pt x="1429" y="597"/>
                </a:lnTo>
                <a:lnTo>
                  <a:pt x="1429" y="595"/>
                </a:lnTo>
                <a:lnTo>
                  <a:pt x="1430" y="592"/>
                </a:lnTo>
                <a:lnTo>
                  <a:pt x="1431" y="588"/>
                </a:lnTo>
                <a:lnTo>
                  <a:pt x="1434" y="585"/>
                </a:lnTo>
                <a:lnTo>
                  <a:pt x="1437" y="583"/>
                </a:lnTo>
                <a:close/>
                <a:moveTo>
                  <a:pt x="2378" y="30"/>
                </a:moveTo>
                <a:lnTo>
                  <a:pt x="2380" y="28"/>
                </a:lnTo>
                <a:lnTo>
                  <a:pt x="2383" y="28"/>
                </a:lnTo>
                <a:lnTo>
                  <a:pt x="2389" y="28"/>
                </a:lnTo>
                <a:lnTo>
                  <a:pt x="2392" y="29"/>
                </a:lnTo>
                <a:lnTo>
                  <a:pt x="2395" y="30"/>
                </a:lnTo>
                <a:lnTo>
                  <a:pt x="2397" y="32"/>
                </a:lnTo>
                <a:lnTo>
                  <a:pt x="2399" y="35"/>
                </a:lnTo>
                <a:lnTo>
                  <a:pt x="2401" y="37"/>
                </a:lnTo>
                <a:lnTo>
                  <a:pt x="2402" y="40"/>
                </a:lnTo>
                <a:lnTo>
                  <a:pt x="2402" y="43"/>
                </a:lnTo>
                <a:lnTo>
                  <a:pt x="2402" y="47"/>
                </a:lnTo>
                <a:lnTo>
                  <a:pt x="2401" y="50"/>
                </a:lnTo>
                <a:lnTo>
                  <a:pt x="2399" y="53"/>
                </a:lnTo>
                <a:lnTo>
                  <a:pt x="2397" y="55"/>
                </a:lnTo>
                <a:lnTo>
                  <a:pt x="2394" y="57"/>
                </a:lnTo>
                <a:lnTo>
                  <a:pt x="2391" y="58"/>
                </a:lnTo>
                <a:lnTo>
                  <a:pt x="2389" y="59"/>
                </a:lnTo>
                <a:lnTo>
                  <a:pt x="2383" y="59"/>
                </a:lnTo>
                <a:lnTo>
                  <a:pt x="2380" y="58"/>
                </a:lnTo>
                <a:lnTo>
                  <a:pt x="2377" y="57"/>
                </a:lnTo>
                <a:lnTo>
                  <a:pt x="2375" y="55"/>
                </a:lnTo>
                <a:lnTo>
                  <a:pt x="2373" y="52"/>
                </a:lnTo>
                <a:lnTo>
                  <a:pt x="2371" y="50"/>
                </a:lnTo>
                <a:lnTo>
                  <a:pt x="2370" y="47"/>
                </a:lnTo>
                <a:lnTo>
                  <a:pt x="2370" y="44"/>
                </a:lnTo>
                <a:lnTo>
                  <a:pt x="2370" y="40"/>
                </a:lnTo>
                <a:lnTo>
                  <a:pt x="2371" y="37"/>
                </a:lnTo>
                <a:lnTo>
                  <a:pt x="2373" y="34"/>
                </a:lnTo>
                <a:lnTo>
                  <a:pt x="2375" y="32"/>
                </a:lnTo>
                <a:lnTo>
                  <a:pt x="2378" y="30"/>
                </a:lnTo>
                <a:close/>
                <a:moveTo>
                  <a:pt x="2236" y="8"/>
                </a:moveTo>
                <a:lnTo>
                  <a:pt x="2238" y="7"/>
                </a:lnTo>
                <a:lnTo>
                  <a:pt x="2240" y="6"/>
                </a:lnTo>
                <a:lnTo>
                  <a:pt x="2243" y="6"/>
                </a:lnTo>
                <a:lnTo>
                  <a:pt x="2245" y="6"/>
                </a:lnTo>
                <a:lnTo>
                  <a:pt x="2248" y="7"/>
                </a:lnTo>
                <a:lnTo>
                  <a:pt x="2251" y="8"/>
                </a:lnTo>
                <a:lnTo>
                  <a:pt x="2254" y="10"/>
                </a:lnTo>
                <a:lnTo>
                  <a:pt x="2256" y="12"/>
                </a:lnTo>
                <a:lnTo>
                  <a:pt x="2258" y="14"/>
                </a:lnTo>
                <a:lnTo>
                  <a:pt x="2259" y="17"/>
                </a:lnTo>
                <a:lnTo>
                  <a:pt x="2260" y="20"/>
                </a:lnTo>
                <a:lnTo>
                  <a:pt x="2260" y="23"/>
                </a:lnTo>
                <a:lnTo>
                  <a:pt x="2259" y="27"/>
                </a:lnTo>
                <a:lnTo>
                  <a:pt x="2257" y="31"/>
                </a:lnTo>
                <a:lnTo>
                  <a:pt x="2255" y="34"/>
                </a:lnTo>
                <a:lnTo>
                  <a:pt x="2252" y="36"/>
                </a:lnTo>
                <a:lnTo>
                  <a:pt x="2250" y="37"/>
                </a:lnTo>
                <a:lnTo>
                  <a:pt x="2247" y="38"/>
                </a:lnTo>
                <a:lnTo>
                  <a:pt x="2245" y="38"/>
                </a:lnTo>
                <a:lnTo>
                  <a:pt x="2242" y="38"/>
                </a:lnTo>
                <a:lnTo>
                  <a:pt x="2239" y="37"/>
                </a:lnTo>
                <a:lnTo>
                  <a:pt x="2236" y="36"/>
                </a:lnTo>
                <a:lnTo>
                  <a:pt x="2233" y="34"/>
                </a:lnTo>
                <a:lnTo>
                  <a:pt x="2231" y="32"/>
                </a:lnTo>
                <a:lnTo>
                  <a:pt x="2230" y="30"/>
                </a:lnTo>
                <a:lnTo>
                  <a:pt x="2228" y="27"/>
                </a:lnTo>
                <a:lnTo>
                  <a:pt x="2228" y="24"/>
                </a:lnTo>
                <a:lnTo>
                  <a:pt x="2228" y="20"/>
                </a:lnTo>
                <a:lnTo>
                  <a:pt x="2229" y="17"/>
                </a:lnTo>
                <a:lnTo>
                  <a:pt x="2230" y="13"/>
                </a:lnTo>
                <a:lnTo>
                  <a:pt x="2233" y="10"/>
                </a:lnTo>
                <a:lnTo>
                  <a:pt x="2236" y="8"/>
                </a:lnTo>
                <a:close/>
                <a:moveTo>
                  <a:pt x="1449" y="440"/>
                </a:moveTo>
                <a:lnTo>
                  <a:pt x="1451" y="439"/>
                </a:lnTo>
                <a:lnTo>
                  <a:pt x="1453" y="438"/>
                </a:lnTo>
                <a:lnTo>
                  <a:pt x="1456" y="437"/>
                </a:lnTo>
                <a:lnTo>
                  <a:pt x="1459" y="438"/>
                </a:lnTo>
                <a:lnTo>
                  <a:pt x="1462" y="438"/>
                </a:lnTo>
                <a:lnTo>
                  <a:pt x="1465" y="440"/>
                </a:lnTo>
                <a:lnTo>
                  <a:pt x="1467" y="441"/>
                </a:lnTo>
                <a:lnTo>
                  <a:pt x="1469" y="444"/>
                </a:lnTo>
                <a:lnTo>
                  <a:pt x="1471" y="446"/>
                </a:lnTo>
                <a:lnTo>
                  <a:pt x="1472" y="449"/>
                </a:lnTo>
                <a:lnTo>
                  <a:pt x="1473" y="452"/>
                </a:lnTo>
                <a:lnTo>
                  <a:pt x="1473" y="455"/>
                </a:lnTo>
                <a:lnTo>
                  <a:pt x="1472" y="459"/>
                </a:lnTo>
                <a:lnTo>
                  <a:pt x="1470" y="462"/>
                </a:lnTo>
                <a:lnTo>
                  <a:pt x="1468" y="465"/>
                </a:lnTo>
                <a:lnTo>
                  <a:pt x="1465" y="467"/>
                </a:lnTo>
                <a:lnTo>
                  <a:pt x="1462" y="468"/>
                </a:lnTo>
                <a:lnTo>
                  <a:pt x="1460" y="469"/>
                </a:lnTo>
                <a:lnTo>
                  <a:pt x="1457" y="469"/>
                </a:lnTo>
                <a:lnTo>
                  <a:pt x="1455" y="469"/>
                </a:lnTo>
                <a:lnTo>
                  <a:pt x="1452" y="469"/>
                </a:lnTo>
                <a:lnTo>
                  <a:pt x="1449" y="467"/>
                </a:lnTo>
                <a:lnTo>
                  <a:pt x="1446" y="466"/>
                </a:lnTo>
                <a:lnTo>
                  <a:pt x="1444" y="463"/>
                </a:lnTo>
                <a:lnTo>
                  <a:pt x="1442" y="461"/>
                </a:lnTo>
                <a:lnTo>
                  <a:pt x="1441" y="458"/>
                </a:lnTo>
                <a:lnTo>
                  <a:pt x="1441" y="455"/>
                </a:lnTo>
                <a:lnTo>
                  <a:pt x="1441" y="452"/>
                </a:lnTo>
                <a:lnTo>
                  <a:pt x="1442" y="448"/>
                </a:lnTo>
                <a:lnTo>
                  <a:pt x="1443" y="445"/>
                </a:lnTo>
                <a:lnTo>
                  <a:pt x="1446" y="442"/>
                </a:lnTo>
                <a:lnTo>
                  <a:pt x="1449" y="440"/>
                </a:lnTo>
                <a:close/>
                <a:moveTo>
                  <a:pt x="2092" y="2"/>
                </a:moveTo>
                <a:lnTo>
                  <a:pt x="2094" y="1"/>
                </a:lnTo>
                <a:lnTo>
                  <a:pt x="2096" y="1"/>
                </a:lnTo>
                <a:lnTo>
                  <a:pt x="2100" y="0"/>
                </a:lnTo>
                <a:lnTo>
                  <a:pt x="2103" y="0"/>
                </a:lnTo>
                <a:lnTo>
                  <a:pt x="2106" y="1"/>
                </a:lnTo>
                <a:lnTo>
                  <a:pt x="2107" y="2"/>
                </a:lnTo>
                <a:lnTo>
                  <a:pt x="2109" y="3"/>
                </a:lnTo>
                <a:lnTo>
                  <a:pt x="2111" y="4"/>
                </a:lnTo>
                <a:lnTo>
                  <a:pt x="2113" y="7"/>
                </a:lnTo>
                <a:lnTo>
                  <a:pt x="2115" y="9"/>
                </a:lnTo>
                <a:lnTo>
                  <a:pt x="2116" y="12"/>
                </a:lnTo>
                <a:lnTo>
                  <a:pt x="2116" y="16"/>
                </a:lnTo>
                <a:lnTo>
                  <a:pt x="2116" y="20"/>
                </a:lnTo>
                <a:lnTo>
                  <a:pt x="2115" y="22"/>
                </a:lnTo>
                <a:lnTo>
                  <a:pt x="2114" y="24"/>
                </a:lnTo>
                <a:lnTo>
                  <a:pt x="2111" y="27"/>
                </a:lnTo>
                <a:lnTo>
                  <a:pt x="2108" y="30"/>
                </a:lnTo>
                <a:lnTo>
                  <a:pt x="2106" y="31"/>
                </a:lnTo>
                <a:lnTo>
                  <a:pt x="2104" y="31"/>
                </a:lnTo>
                <a:lnTo>
                  <a:pt x="2100" y="32"/>
                </a:lnTo>
                <a:lnTo>
                  <a:pt x="2097" y="32"/>
                </a:lnTo>
                <a:lnTo>
                  <a:pt x="2094" y="31"/>
                </a:lnTo>
                <a:lnTo>
                  <a:pt x="2093" y="30"/>
                </a:lnTo>
                <a:lnTo>
                  <a:pt x="2091" y="29"/>
                </a:lnTo>
                <a:lnTo>
                  <a:pt x="2089" y="28"/>
                </a:lnTo>
                <a:lnTo>
                  <a:pt x="2087" y="25"/>
                </a:lnTo>
                <a:lnTo>
                  <a:pt x="2085" y="23"/>
                </a:lnTo>
                <a:lnTo>
                  <a:pt x="2084" y="20"/>
                </a:lnTo>
                <a:lnTo>
                  <a:pt x="2084" y="16"/>
                </a:lnTo>
                <a:lnTo>
                  <a:pt x="2085" y="12"/>
                </a:lnTo>
                <a:lnTo>
                  <a:pt x="2085" y="10"/>
                </a:lnTo>
                <a:lnTo>
                  <a:pt x="2086" y="8"/>
                </a:lnTo>
                <a:lnTo>
                  <a:pt x="2089" y="5"/>
                </a:lnTo>
                <a:lnTo>
                  <a:pt x="2092" y="2"/>
                </a:lnTo>
                <a:close/>
                <a:moveTo>
                  <a:pt x="1480" y="300"/>
                </a:moveTo>
                <a:lnTo>
                  <a:pt x="1483" y="298"/>
                </a:lnTo>
                <a:lnTo>
                  <a:pt x="1487" y="298"/>
                </a:lnTo>
                <a:lnTo>
                  <a:pt x="1490" y="298"/>
                </a:lnTo>
                <a:lnTo>
                  <a:pt x="1494" y="299"/>
                </a:lnTo>
                <a:lnTo>
                  <a:pt x="1497" y="300"/>
                </a:lnTo>
                <a:lnTo>
                  <a:pt x="1499" y="302"/>
                </a:lnTo>
                <a:lnTo>
                  <a:pt x="1501" y="304"/>
                </a:lnTo>
                <a:lnTo>
                  <a:pt x="1503" y="307"/>
                </a:lnTo>
                <a:lnTo>
                  <a:pt x="1504" y="310"/>
                </a:lnTo>
                <a:lnTo>
                  <a:pt x="1504" y="313"/>
                </a:lnTo>
                <a:lnTo>
                  <a:pt x="1504" y="316"/>
                </a:lnTo>
                <a:lnTo>
                  <a:pt x="1503" y="319"/>
                </a:lnTo>
                <a:lnTo>
                  <a:pt x="1500" y="324"/>
                </a:lnTo>
                <a:lnTo>
                  <a:pt x="1496" y="327"/>
                </a:lnTo>
                <a:lnTo>
                  <a:pt x="1493" y="329"/>
                </a:lnTo>
                <a:lnTo>
                  <a:pt x="1490" y="330"/>
                </a:lnTo>
                <a:lnTo>
                  <a:pt x="1486" y="329"/>
                </a:lnTo>
                <a:lnTo>
                  <a:pt x="1483" y="329"/>
                </a:lnTo>
                <a:lnTo>
                  <a:pt x="1480" y="327"/>
                </a:lnTo>
                <a:lnTo>
                  <a:pt x="1477" y="325"/>
                </a:lnTo>
                <a:lnTo>
                  <a:pt x="1475" y="323"/>
                </a:lnTo>
                <a:lnTo>
                  <a:pt x="1474" y="320"/>
                </a:lnTo>
                <a:lnTo>
                  <a:pt x="1473" y="317"/>
                </a:lnTo>
                <a:lnTo>
                  <a:pt x="1472" y="314"/>
                </a:lnTo>
                <a:lnTo>
                  <a:pt x="1472" y="311"/>
                </a:lnTo>
                <a:lnTo>
                  <a:pt x="1473" y="308"/>
                </a:lnTo>
                <a:lnTo>
                  <a:pt x="1476" y="303"/>
                </a:lnTo>
                <a:lnTo>
                  <a:pt x="1480" y="300"/>
                </a:lnTo>
                <a:close/>
                <a:moveTo>
                  <a:pt x="1949" y="15"/>
                </a:moveTo>
                <a:lnTo>
                  <a:pt x="1951" y="14"/>
                </a:lnTo>
                <a:lnTo>
                  <a:pt x="1954" y="13"/>
                </a:lnTo>
                <a:lnTo>
                  <a:pt x="1958" y="13"/>
                </a:lnTo>
                <a:lnTo>
                  <a:pt x="1961" y="13"/>
                </a:lnTo>
                <a:lnTo>
                  <a:pt x="1964" y="14"/>
                </a:lnTo>
                <a:lnTo>
                  <a:pt x="1966" y="16"/>
                </a:lnTo>
                <a:lnTo>
                  <a:pt x="1969" y="18"/>
                </a:lnTo>
                <a:lnTo>
                  <a:pt x="1970" y="20"/>
                </a:lnTo>
                <a:lnTo>
                  <a:pt x="1972" y="23"/>
                </a:lnTo>
                <a:lnTo>
                  <a:pt x="1972" y="25"/>
                </a:lnTo>
                <a:lnTo>
                  <a:pt x="1973" y="26"/>
                </a:lnTo>
                <a:lnTo>
                  <a:pt x="1973" y="31"/>
                </a:lnTo>
                <a:lnTo>
                  <a:pt x="1972" y="33"/>
                </a:lnTo>
                <a:lnTo>
                  <a:pt x="1971" y="36"/>
                </a:lnTo>
                <a:lnTo>
                  <a:pt x="1970" y="38"/>
                </a:lnTo>
                <a:lnTo>
                  <a:pt x="1969" y="40"/>
                </a:lnTo>
                <a:lnTo>
                  <a:pt x="1967" y="41"/>
                </a:lnTo>
                <a:lnTo>
                  <a:pt x="1965" y="42"/>
                </a:lnTo>
                <a:lnTo>
                  <a:pt x="1962" y="44"/>
                </a:lnTo>
                <a:lnTo>
                  <a:pt x="1959" y="44"/>
                </a:lnTo>
                <a:lnTo>
                  <a:pt x="1956" y="45"/>
                </a:lnTo>
                <a:lnTo>
                  <a:pt x="1953" y="44"/>
                </a:lnTo>
                <a:lnTo>
                  <a:pt x="1950" y="43"/>
                </a:lnTo>
                <a:lnTo>
                  <a:pt x="1947" y="42"/>
                </a:lnTo>
                <a:lnTo>
                  <a:pt x="1945" y="40"/>
                </a:lnTo>
                <a:lnTo>
                  <a:pt x="1943" y="37"/>
                </a:lnTo>
                <a:lnTo>
                  <a:pt x="1942" y="34"/>
                </a:lnTo>
                <a:lnTo>
                  <a:pt x="1941" y="33"/>
                </a:lnTo>
                <a:lnTo>
                  <a:pt x="1941" y="31"/>
                </a:lnTo>
                <a:lnTo>
                  <a:pt x="1941" y="26"/>
                </a:lnTo>
                <a:lnTo>
                  <a:pt x="1942" y="24"/>
                </a:lnTo>
                <a:lnTo>
                  <a:pt x="1942" y="22"/>
                </a:lnTo>
                <a:lnTo>
                  <a:pt x="1944" y="20"/>
                </a:lnTo>
                <a:lnTo>
                  <a:pt x="1945" y="18"/>
                </a:lnTo>
                <a:lnTo>
                  <a:pt x="1947" y="16"/>
                </a:lnTo>
                <a:lnTo>
                  <a:pt x="1949" y="15"/>
                </a:lnTo>
                <a:close/>
                <a:moveTo>
                  <a:pt x="1809" y="47"/>
                </a:moveTo>
                <a:lnTo>
                  <a:pt x="1812" y="46"/>
                </a:lnTo>
                <a:lnTo>
                  <a:pt x="1815" y="45"/>
                </a:lnTo>
                <a:lnTo>
                  <a:pt x="1819" y="45"/>
                </a:lnTo>
                <a:lnTo>
                  <a:pt x="1822" y="46"/>
                </a:lnTo>
                <a:lnTo>
                  <a:pt x="1824" y="47"/>
                </a:lnTo>
                <a:lnTo>
                  <a:pt x="1827" y="49"/>
                </a:lnTo>
                <a:lnTo>
                  <a:pt x="1829" y="51"/>
                </a:lnTo>
                <a:lnTo>
                  <a:pt x="1831" y="53"/>
                </a:lnTo>
                <a:lnTo>
                  <a:pt x="1832" y="56"/>
                </a:lnTo>
                <a:lnTo>
                  <a:pt x="1833" y="62"/>
                </a:lnTo>
                <a:lnTo>
                  <a:pt x="1833" y="65"/>
                </a:lnTo>
                <a:lnTo>
                  <a:pt x="1832" y="67"/>
                </a:lnTo>
                <a:lnTo>
                  <a:pt x="1831" y="69"/>
                </a:lnTo>
                <a:lnTo>
                  <a:pt x="1829" y="72"/>
                </a:lnTo>
                <a:lnTo>
                  <a:pt x="1825" y="75"/>
                </a:lnTo>
                <a:lnTo>
                  <a:pt x="1822" y="76"/>
                </a:lnTo>
                <a:lnTo>
                  <a:pt x="1819" y="77"/>
                </a:lnTo>
                <a:lnTo>
                  <a:pt x="1815" y="77"/>
                </a:lnTo>
                <a:lnTo>
                  <a:pt x="1812" y="77"/>
                </a:lnTo>
                <a:lnTo>
                  <a:pt x="1810" y="75"/>
                </a:lnTo>
                <a:lnTo>
                  <a:pt x="1807" y="74"/>
                </a:lnTo>
                <a:lnTo>
                  <a:pt x="1805" y="72"/>
                </a:lnTo>
                <a:lnTo>
                  <a:pt x="1803" y="69"/>
                </a:lnTo>
                <a:lnTo>
                  <a:pt x="1802" y="66"/>
                </a:lnTo>
                <a:lnTo>
                  <a:pt x="1801" y="60"/>
                </a:lnTo>
                <a:lnTo>
                  <a:pt x="1801" y="58"/>
                </a:lnTo>
                <a:lnTo>
                  <a:pt x="1802" y="55"/>
                </a:lnTo>
                <a:lnTo>
                  <a:pt x="1803" y="53"/>
                </a:lnTo>
                <a:lnTo>
                  <a:pt x="1805" y="51"/>
                </a:lnTo>
                <a:lnTo>
                  <a:pt x="1809" y="47"/>
                </a:lnTo>
                <a:close/>
                <a:moveTo>
                  <a:pt x="1557" y="180"/>
                </a:moveTo>
                <a:lnTo>
                  <a:pt x="1560" y="179"/>
                </a:lnTo>
                <a:lnTo>
                  <a:pt x="1562" y="179"/>
                </a:lnTo>
                <a:lnTo>
                  <a:pt x="1565" y="178"/>
                </a:lnTo>
                <a:lnTo>
                  <a:pt x="1567" y="178"/>
                </a:lnTo>
                <a:lnTo>
                  <a:pt x="1570" y="179"/>
                </a:lnTo>
                <a:lnTo>
                  <a:pt x="1572" y="180"/>
                </a:lnTo>
                <a:lnTo>
                  <a:pt x="1575" y="181"/>
                </a:lnTo>
                <a:lnTo>
                  <a:pt x="1577" y="183"/>
                </a:lnTo>
                <a:lnTo>
                  <a:pt x="1579" y="186"/>
                </a:lnTo>
                <a:lnTo>
                  <a:pt x="1580" y="188"/>
                </a:lnTo>
                <a:lnTo>
                  <a:pt x="1581" y="191"/>
                </a:lnTo>
                <a:lnTo>
                  <a:pt x="1581" y="194"/>
                </a:lnTo>
                <a:lnTo>
                  <a:pt x="1581" y="197"/>
                </a:lnTo>
                <a:lnTo>
                  <a:pt x="1580" y="200"/>
                </a:lnTo>
                <a:lnTo>
                  <a:pt x="1579" y="203"/>
                </a:lnTo>
                <a:lnTo>
                  <a:pt x="1577" y="206"/>
                </a:lnTo>
                <a:lnTo>
                  <a:pt x="1573" y="208"/>
                </a:lnTo>
                <a:lnTo>
                  <a:pt x="1571" y="209"/>
                </a:lnTo>
                <a:lnTo>
                  <a:pt x="1568" y="210"/>
                </a:lnTo>
                <a:lnTo>
                  <a:pt x="1566" y="210"/>
                </a:lnTo>
                <a:lnTo>
                  <a:pt x="1563" y="210"/>
                </a:lnTo>
                <a:lnTo>
                  <a:pt x="1561" y="210"/>
                </a:lnTo>
                <a:lnTo>
                  <a:pt x="1558" y="209"/>
                </a:lnTo>
                <a:lnTo>
                  <a:pt x="1556" y="207"/>
                </a:lnTo>
                <a:lnTo>
                  <a:pt x="1554" y="206"/>
                </a:lnTo>
                <a:lnTo>
                  <a:pt x="1552" y="203"/>
                </a:lnTo>
                <a:lnTo>
                  <a:pt x="1550" y="200"/>
                </a:lnTo>
                <a:lnTo>
                  <a:pt x="1550" y="197"/>
                </a:lnTo>
                <a:lnTo>
                  <a:pt x="1549" y="194"/>
                </a:lnTo>
                <a:lnTo>
                  <a:pt x="1550" y="191"/>
                </a:lnTo>
                <a:lnTo>
                  <a:pt x="1551" y="188"/>
                </a:lnTo>
                <a:lnTo>
                  <a:pt x="1552" y="185"/>
                </a:lnTo>
                <a:lnTo>
                  <a:pt x="1554" y="183"/>
                </a:lnTo>
                <a:lnTo>
                  <a:pt x="1557" y="180"/>
                </a:lnTo>
                <a:close/>
                <a:moveTo>
                  <a:pt x="1675" y="100"/>
                </a:moveTo>
                <a:lnTo>
                  <a:pt x="1678" y="98"/>
                </a:lnTo>
                <a:lnTo>
                  <a:pt x="1682" y="98"/>
                </a:lnTo>
                <a:lnTo>
                  <a:pt x="1685" y="98"/>
                </a:lnTo>
                <a:lnTo>
                  <a:pt x="1688" y="98"/>
                </a:lnTo>
                <a:lnTo>
                  <a:pt x="1691" y="100"/>
                </a:lnTo>
                <a:lnTo>
                  <a:pt x="1694" y="101"/>
                </a:lnTo>
                <a:lnTo>
                  <a:pt x="1696" y="104"/>
                </a:lnTo>
                <a:lnTo>
                  <a:pt x="1697" y="106"/>
                </a:lnTo>
                <a:lnTo>
                  <a:pt x="1699" y="109"/>
                </a:lnTo>
                <a:lnTo>
                  <a:pt x="1699" y="112"/>
                </a:lnTo>
                <a:lnTo>
                  <a:pt x="1699" y="115"/>
                </a:lnTo>
                <a:lnTo>
                  <a:pt x="1698" y="118"/>
                </a:lnTo>
                <a:lnTo>
                  <a:pt x="1697" y="121"/>
                </a:lnTo>
                <a:lnTo>
                  <a:pt x="1696" y="123"/>
                </a:lnTo>
                <a:lnTo>
                  <a:pt x="1694" y="126"/>
                </a:lnTo>
                <a:lnTo>
                  <a:pt x="1691" y="127"/>
                </a:lnTo>
                <a:lnTo>
                  <a:pt x="1688" y="129"/>
                </a:lnTo>
                <a:lnTo>
                  <a:pt x="1684" y="129"/>
                </a:lnTo>
                <a:lnTo>
                  <a:pt x="1681" y="129"/>
                </a:lnTo>
                <a:lnTo>
                  <a:pt x="1678" y="129"/>
                </a:lnTo>
                <a:lnTo>
                  <a:pt x="1675" y="127"/>
                </a:lnTo>
                <a:lnTo>
                  <a:pt x="1673" y="125"/>
                </a:lnTo>
                <a:lnTo>
                  <a:pt x="1670" y="123"/>
                </a:lnTo>
                <a:lnTo>
                  <a:pt x="1669" y="120"/>
                </a:lnTo>
                <a:lnTo>
                  <a:pt x="1668" y="118"/>
                </a:lnTo>
                <a:lnTo>
                  <a:pt x="1667" y="115"/>
                </a:lnTo>
                <a:lnTo>
                  <a:pt x="1667" y="112"/>
                </a:lnTo>
                <a:lnTo>
                  <a:pt x="1668" y="109"/>
                </a:lnTo>
                <a:lnTo>
                  <a:pt x="1669" y="106"/>
                </a:lnTo>
                <a:lnTo>
                  <a:pt x="1670" y="104"/>
                </a:lnTo>
                <a:lnTo>
                  <a:pt x="1673" y="101"/>
                </a:lnTo>
                <a:lnTo>
                  <a:pt x="1675" y="100"/>
                </a:lnTo>
                <a:close/>
                <a:moveTo>
                  <a:pt x="4769" y="1270"/>
                </a:moveTo>
                <a:lnTo>
                  <a:pt x="4772" y="1269"/>
                </a:lnTo>
                <a:lnTo>
                  <a:pt x="4775" y="1268"/>
                </a:lnTo>
                <a:lnTo>
                  <a:pt x="4780" y="1268"/>
                </a:lnTo>
                <a:lnTo>
                  <a:pt x="4783" y="1269"/>
                </a:lnTo>
                <a:lnTo>
                  <a:pt x="4786" y="1271"/>
                </a:lnTo>
                <a:lnTo>
                  <a:pt x="4789" y="1273"/>
                </a:lnTo>
                <a:lnTo>
                  <a:pt x="4790" y="1275"/>
                </a:lnTo>
                <a:lnTo>
                  <a:pt x="4792" y="1278"/>
                </a:lnTo>
                <a:lnTo>
                  <a:pt x="4793" y="1281"/>
                </a:lnTo>
                <a:lnTo>
                  <a:pt x="4793" y="1284"/>
                </a:lnTo>
                <a:lnTo>
                  <a:pt x="4793" y="1287"/>
                </a:lnTo>
                <a:lnTo>
                  <a:pt x="4792" y="1290"/>
                </a:lnTo>
                <a:lnTo>
                  <a:pt x="4790" y="1293"/>
                </a:lnTo>
                <a:lnTo>
                  <a:pt x="4788" y="1296"/>
                </a:lnTo>
                <a:lnTo>
                  <a:pt x="4785" y="1298"/>
                </a:lnTo>
                <a:lnTo>
                  <a:pt x="4783" y="1299"/>
                </a:lnTo>
                <a:lnTo>
                  <a:pt x="4780" y="1300"/>
                </a:lnTo>
                <a:lnTo>
                  <a:pt x="4777" y="1300"/>
                </a:lnTo>
                <a:lnTo>
                  <a:pt x="4774" y="1299"/>
                </a:lnTo>
                <a:lnTo>
                  <a:pt x="4771" y="1298"/>
                </a:lnTo>
                <a:lnTo>
                  <a:pt x="4768" y="1297"/>
                </a:lnTo>
                <a:lnTo>
                  <a:pt x="4766" y="1295"/>
                </a:lnTo>
                <a:lnTo>
                  <a:pt x="4764" y="1293"/>
                </a:lnTo>
                <a:lnTo>
                  <a:pt x="4762" y="1290"/>
                </a:lnTo>
                <a:lnTo>
                  <a:pt x="4762" y="1287"/>
                </a:lnTo>
                <a:lnTo>
                  <a:pt x="4761" y="1284"/>
                </a:lnTo>
                <a:lnTo>
                  <a:pt x="4762" y="1281"/>
                </a:lnTo>
                <a:lnTo>
                  <a:pt x="4763" y="1277"/>
                </a:lnTo>
                <a:lnTo>
                  <a:pt x="4764" y="1275"/>
                </a:lnTo>
                <a:lnTo>
                  <a:pt x="4767" y="1272"/>
                </a:lnTo>
                <a:lnTo>
                  <a:pt x="4769" y="1270"/>
                </a:lnTo>
                <a:close/>
                <a:moveTo>
                  <a:pt x="4629" y="1238"/>
                </a:moveTo>
                <a:lnTo>
                  <a:pt x="4631" y="1237"/>
                </a:lnTo>
                <a:lnTo>
                  <a:pt x="4634" y="1237"/>
                </a:lnTo>
                <a:lnTo>
                  <a:pt x="4637" y="1236"/>
                </a:lnTo>
                <a:lnTo>
                  <a:pt x="4640" y="1237"/>
                </a:lnTo>
                <a:lnTo>
                  <a:pt x="4643" y="1238"/>
                </a:lnTo>
                <a:lnTo>
                  <a:pt x="4646" y="1239"/>
                </a:lnTo>
                <a:lnTo>
                  <a:pt x="4648" y="1242"/>
                </a:lnTo>
                <a:lnTo>
                  <a:pt x="4650" y="1244"/>
                </a:lnTo>
                <a:lnTo>
                  <a:pt x="4651" y="1247"/>
                </a:lnTo>
                <a:lnTo>
                  <a:pt x="4652" y="1250"/>
                </a:lnTo>
                <a:lnTo>
                  <a:pt x="4652" y="1253"/>
                </a:lnTo>
                <a:lnTo>
                  <a:pt x="4652" y="1256"/>
                </a:lnTo>
                <a:lnTo>
                  <a:pt x="4651" y="1259"/>
                </a:lnTo>
                <a:lnTo>
                  <a:pt x="4649" y="1262"/>
                </a:lnTo>
                <a:lnTo>
                  <a:pt x="4647" y="1264"/>
                </a:lnTo>
                <a:lnTo>
                  <a:pt x="4644" y="1266"/>
                </a:lnTo>
                <a:lnTo>
                  <a:pt x="4642" y="1267"/>
                </a:lnTo>
                <a:lnTo>
                  <a:pt x="4639" y="1268"/>
                </a:lnTo>
                <a:lnTo>
                  <a:pt x="4636" y="1268"/>
                </a:lnTo>
                <a:lnTo>
                  <a:pt x="4633" y="1268"/>
                </a:lnTo>
                <a:lnTo>
                  <a:pt x="4630" y="1267"/>
                </a:lnTo>
                <a:lnTo>
                  <a:pt x="4627" y="1265"/>
                </a:lnTo>
                <a:lnTo>
                  <a:pt x="4625" y="1263"/>
                </a:lnTo>
                <a:lnTo>
                  <a:pt x="4623" y="1260"/>
                </a:lnTo>
                <a:lnTo>
                  <a:pt x="4622" y="1258"/>
                </a:lnTo>
                <a:lnTo>
                  <a:pt x="4621" y="1255"/>
                </a:lnTo>
                <a:lnTo>
                  <a:pt x="4621" y="1252"/>
                </a:lnTo>
                <a:lnTo>
                  <a:pt x="4621" y="1248"/>
                </a:lnTo>
                <a:lnTo>
                  <a:pt x="4622" y="1245"/>
                </a:lnTo>
                <a:lnTo>
                  <a:pt x="4624" y="1243"/>
                </a:lnTo>
                <a:lnTo>
                  <a:pt x="4626" y="1240"/>
                </a:lnTo>
                <a:lnTo>
                  <a:pt x="4629" y="1238"/>
                </a:lnTo>
                <a:close/>
                <a:moveTo>
                  <a:pt x="4489" y="1202"/>
                </a:moveTo>
                <a:lnTo>
                  <a:pt x="4492" y="1201"/>
                </a:lnTo>
                <a:lnTo>
                  <a:pt x="4495" y="1200"/>
                </a:lnTo>
                <a:lnTo>
                  <a:pt x="4498" y="1200"/>
                </a:lnTo>
                <a:lnTo>
                  <a:pt x="4501" y="1201"/>
                </a:lnTo>
                <a:lnTo>
                  <a:pt x="4504" y="1202"/>
                </a:lnTo>
                <a:lnTo>
                  <a:pt x="4507" y="1203"/>
                </a:lnTo>
                <a:lnTo>
                  <a:pt x="4509" y="1206"/>
                </a:lnTo>
                <a:lnTo>
                  <a:pt x="4511" y="1208"/>
                </a:lnTo>
                <a:lnTo>
                  <a:pt x="4512" y="1211"/>
                </a:lnTo>
                <a:lnTo>
                  <a:pt x="4513" y="1214"/>
                </a:lnTo>
                <a:lnTo>
                  <a:pt x="4513" y="1217"/>
                </a:lnTo>
                <a:lnTo>
                  <a:pt x="4512" y="1220"/>
                </a:lnTo>
                <a:lnTo>
                  <a:pt x="4511" y="1223"/>
                </a:lnTo>
                <a:lnTo>
                  <a:pt x="4509" y="1226"/>
                </a:lnTo>
                <a:lnTo>
                  <a:pt x="4507" y="1228"/>
                </a:lnTo>
                <a:lnTo>
                  <a:pt x="4505" y="1230"/>
                </a:lnTo>
                <a:lnTo>
                  <a:pt x="4502" y="1231"/>
                </a:lnTo>
                <a:lnTo>
                  <a:pt x="4499" y="1232"/>
                </a:lnTo>
                <a:lnTo>
                  <a:pt x="4496" y="1232"/>
                </a:lnTo>
                <a:lnTo>
                  <a:pt x="4493" y="1231"/>
                </a:lnTo>
                <a:lnTo>
                  <a:pt x="4490" y="1230"/>
                </a:lnTo>
                <a:lnTo>
                  <a:pt x="4487" y="1228"/>
                </a:lnTo>
                <a:lnTo>
                  <a:pt x="4485" y="1226"/>
                </a:lnTo>
                <a:lnTo>
                  <a:pt x="4483" y="1224"/>
                </a:lnTo>
                <a:lnTo>
                  <a:pt x="4482" y="1221"/>
                </a:lnTo>
                <a:lnTo>
                  <a:pt x="4481" y="1218"/>
                </a:lnTo>
                <a:lnTo>
                  <a:pt x="4481" y="1215"/>
                </a:lnTo>
                <a:lnTo>
                  <a:pt x="4482" y="1212"/>
                </a:lnTo>
                <a:lnTo>
                  <a:pt x="4483" y="1209"/>
                </a:lnTo>
                <a:lnTo>
                  <a:pt x="4485" y="1206"/>
                </a:lnTo>
                <a:lnTo>
                  <a:pt x="4487" y="1204"/>
                </a:lnTo>
                <a:lnTo>
                  <a:pt x="4489" y="1202"/>
                </a:lnTo>
                <a:close/>
                <a:moveTo>
                  <a:pt x="4351" y="1161"/>
                </a:moveTo>
                <a:lnTo>
                  <a:pt x="4354" y="1159"/>
                </a:lnTo>
                <a:lnTo>
                  <a:pt x="4357" y="1158"/>
                </a:lnTo>
                <a:lnTo>
                  <a:pt x="4361" y="1158"/>
                </a:lnTo>
                <a:lnTo>
                  <a:pt x="4364" y="1159"/>
                </a:lnTo>
                <a:lnTo>
                  <a:pt x="4367" y="1160"/>
                </a:lnTo>
                <a:lnTo>
                  <a:pt x="4369" y="1162"/>
                </a:lnTo>
                <a:lnTo>
                  <a:pt x="4372" y="1164"/>
                </a:lnTo>
                <a:lnTo>
                  <a:pt x="4373" y="1167"/>
                </a:lnTo>
                <a:lnTo>
                  <a:pt x="4374" y="1170"/>
                </a:lnTo>
                <a:lnTo>
                  <a:pt x="4375" y="1173"/>
                </a:lnTo>
                <a:lnTo>
                  <a:pt x="4375" y="1176"/>
                </a:lnTo>
                <a:lnTo>
                  <a:pt x="4374" y="1179"/>
                </a:lnTo>
                <a:lnTo>
                  <a:pt x="4373" y="1182"/>
                </a:lnTo>
                <a:lnTo>
                  <a:pt x="4371" y="1184"/>
                </a:lnTo>
                <a:lnTo>
                  <a:pt x="4369" y="1186"/>
                </a:lnTo>
                <a:lnTo>
                  <a:pt x="4367" y="1188"/>
                </a:lnTo>
                <a:lnTo>
                  <a:pt x="4364" y="1189"/>
                </a:lnTo>
                <a:lnTo>
                  <a:pt x="4361" y="1190"/>
                </a:lnTo>
                <a:lnTo>
                  <a:pt x="4357" y="1190"/>
                </a:lnTo>
                <a:lnTo>
                  <a:pt x="4354" y="1189"/>
                </a:lnTo>
                <a:lnTo>
                  <a:pt x="4351" y="1188"/>
                </a:lnTo>
                <a:lnTo>
                  <a:pt x="4349" y="1186"/>
                </a:lnTo>
                <a:lnTo>
                  <a:pt x="4347" y="1184"/>
                </a:lnTo>
                <a:lnTo>
                  <a:pt x="4345" y="1181"/>
                </a:lnTo>
                <a:lnTo>
                  <a:pt x="4344" y="1179"/>
                </a:lnTo>
                <a:lnTo>
                  <a:pt x="4343" y="1176"/>
                </a:lnTo>
                <a:lnTo>
                  <a:pt x="4343" y="1172"/>
                </a:lnTo>
                <a:lnTo>
                  <a:pt x="4344" y="1169"/>
                </a:lnTo>
                <a:lnTo>
                  <a:pt x="4345" y="1167"/>
                </a:lnTo>
                <a:lnTo>
                  <a:pt x="4347" y="1164"/>
                </a:lnTo>
                <a:lnTo>
                  <a:pt x="4349" y="1162"/>
                </a:lnTo>
                <a:lnTo>
                  <a:pt x="4351" y="1161"/>
                </a:lnTo>
                <a:close/>
                <a:moveTo>
                  <a:pt x="4215" y="1112"/>
                </a:moveTo>
                <a:lnTo>
                  <a:pt x="4218" y="1111"/>
                </a:lnTo>
                <a:lnTo>
                  <a:pt x="4222" y="1110"/>
                </a:lnTo>
                <a:lnTo>
                  <a:pt x="4225" y="1111"/>
                </a:lnTo>
                <a:lnTo>
                  <a:pt x="4229" y="1111"/>
                </a:lnTo>
                <a:lnTo>
                  <a:pt x="4232" y="1113"/>
                </a:lnTo>
                <a:lnTo>
                  <a:pt x="4234" y="1115"/>
                </a:lnTo>
                <a:lnTo>
                  <a:pt x="4236" y="1117"/>
                </a:lnTo>
                <a:lnTo>
                  <a:pt x="4238" y="1120"/>
                </a:lnTo>
                <a:lnTo>
                  <a:pt x="4239" y="1123"/>
                </a:lnTo>
                <a:lnTo>
                  <a:pt x="4239" y="1126"/>
                </a:lnTo>
                <a:lnTo>
                  <a:pt x="4239" y="1129"/>
                </a:lnTo>
                <a:lnTo>
                  <a:pt x="4238" y="1132"/>
                </a:lnTo>
                <a:lnTo>
                  <a:pt x="4235" y="1137"/>
                </a:lnTo>
                <a:lnTo>
                  <a:pt x="4233" y="1138"/>
                </a:lnTo>
                <a:lnTo>
                  <a:pt x="4231" y="1140"/>
                </a:lnTo>
                <a:lnTo>
                  <a:pt x="4228" y="1141"/>
                </a:lnTo>
                <a:lnTo>
                  <a:pt x="4224" y="1142"/>
                </a:lnTo>
                <a:lnTo>
                  <a:pt x="4221" y="1142"/>
                </a:lnTo>
                <a:lnTo>
                  <a:pt x="4217" y="1141"/>
                </a:lnTo>
                <a:lnTo>
                  <a:pt x="4215" y="1140"/>
                </a:lnTo>
                <a:lnTo>
                  <a:pt x="4212" y="1138"/>
                </a:lnTo>
                <a:lnTo>
                  <a:pt x="4210" y="1135"/>
                </a:lnTo>
                <a:lnTo>
                  <a:pt x="4209" y="1133"/>
                </a:lnTo>
                <a:lnTo>
                  <a:pt x="4208" y="1130"/>
                </a:lnTo>
                <a:lnTo>
                  <a:pt x="4207" y="1127"/>
                </a:lnTo>
                <a:lnTo>
                  <a:pt x="4207" y="1124"/>
                </a:lnTo>
                <a:lnTo>
                  <a:pt x="4208" y="1121"/>
                </a:lnTo>
                <a:lnTo>
                  <a:pt x="4211" y="1116"/>
                </a:lnTo>
                <a:lnTo>
                  <a:pt x="4213" y="1114"/>
                </a:lnTo>
                <a:lnTo>
                  <a:pt x="4215" y="1112"/>
                </a:lnTo>
                <a:close/>
                <a:moveTo>
                  <a:pt x="4082" y="1057"/>
                </a:moveTo>
                <a:lnTo>
                  <a:pt x="4086" y="1055"/>
                </a:lnTo>
                <a:lnTo>
                  <a:pt x="4089" y="1054"/>
                </a:lnTo>
                <a:lnTo>
                  <a:pt x="4093" y="1055"/>
                </a:lnTo>
                <a:lnTo>
                  <a:pt x="4097" y="1056"/>
                </a:lnTo>
                <a:lnTo>
                  <a:pt x="4100" y="1058"/>
                </a:lnTo>
                <a:lnTo>
                  <a:pt x="4102" y="1060"/>
                </a:lnTo>
                <a:lnTo>
                  <a:pt x="4104" y="1062"/>
                </a:lnTo>
                <a:lnTo>
                  <a:pt x="4105" y="1065"/>
                </a:lnTo>
                <a:lnTo>
                  <a:pt x="4106" y="1068"/>
                </a:lnTo>
                <a:lnTo>
                  <a:pt x="4106" y="1071"/>
                </a:lnTo>
                <a:lnTo>
                  <a:pt x="4106" y="1074"/>
                </a:lnTo>
                <a:lnTo>
                  <a:pt x="4105" y="1077"/>
                </a:lnTo>
                <a:lnTo>
                  <a:pt x="4102" y="1081"/>
                </a:lnTo>
                <a:lnTo>
                  <a:pt x="4100" y="1083"/>
                </a:lnTo>
                <a:lnTo>
                  <a:pt x="4098" y="1084"/>
                </a:lnTo>
                <a:lnTo>
                  <a:pt x="4095" y="1085"/>
                </a:lnTo>
                <a:lnTo>
                  <a:pt x="4091" y="1086"/>
                </a:lnTo>
                <a:lnTo>
                  <a:pt x="4087" y="1086"/>
                </a:lnTo>
                <a:lnTo>
                  <a:pt x="4084" y="1085"/>
                </a:lnTo>
                <a:lnTo>
                  <a:pt x="4081" y="1083"/>
                </a:lnTo>
                <a:lnTo>
                  <a:pt x="4079" y="1081"/>
                </a:lnTo>
                <a:lnTo>
                  <a:pt x="4077" y="1078"/>
                </a:lnTo>
                <a:lnTo>
                  <a:pt x="4075" y="1076"/>
                </a:lnTo>
                <a:lnTo>
                  <a:pt x="4075" y="1073"/>
                </a:lnTo>
                <a:lnTo>
                  <a:pt x="4074" y="1070"/>
                </a:lnTo>
                <a:lnTo>
                  <a:pt x="4075" y="1067"/>
                </a:lnTo>
                <a:lnTo>
                  <a:pt x="4076" y="1064"/>
                </a:lnTo>
                <a:lnTo>
                  <a:pt x="4079" y="1059"/>
                </a:lnTo>
                <a:lnTo>
                  <a:pt x="4080" y="1058"/>
                </a:lnTo>
                <a:lnTo>
                  <a:pt x="4082" y="1057"/>
                </a:lnTo>
                <a:close/>
                <a:moveTo>
                  <a:pt x="3954" y="990"/>
                </a:moveTo>
                <a:lnTo>
                  <a:pt x="3957" y="988"/>
                </a:lnTo>
                <a:lnTo>
                  <a:pt x="3961" y="988"/>
                </a:lnTo>
                <a:lnTo>
                  <a:pt x="3965" y="988"/>
                </a:lnTo>
                <a:lnTo>
                  <a:pt x="3969" y="990"/>
                </a:lnTo>
                <a:lnTo>
                  <a:pt x="3972" y="992"/>
                </a:lnTo>
                <a:lnTo>
                  <a:pt x="3974" y="994"/>
                </a:lnTo>
                <a:lnTo>
                  <a:pt x="3976" y="997"/>
                </a:lnTo>
                <a:lnTo>
                  <a:pt x="3977" y="1000"/>
                </a:lnTo>
                <a:lnTo>
                  <a:pt x="3977" y="1003"/>
                </a:lnTo>
                <a:lnTo>
                  <a:pt x="3977" y="1006"/>
                </a:lnTo>
                <a:lnTo>
                  <a:pt x="3977" y="1009"/>
                </a:lnTo>
                <a:lnTo>
                  <a:pt x="3975" y="1012"/>
                </a:lnTo>
                <a:lnTo>
                  <a:pt x="3974" y="1013"/>
                </a:lnTo>
                <a:lnTo>
                  <a:pt x="3973" y="1015"/>
                </a:lnTo>
                <a:lnTo>
                  <a:pt x="3969" y="1017"/>
                </a:lnTo>
                <a:lnTo>
                  <a:pt x="3966" y="1019"/>
                </a:lnTo>
                <a:lnTo>
                  <a:pt x="3962" y="1020"/>
                </a:lnTo>
                <a:lnTo>
                  <a:pt x="3958" y="1019"/>
                </a:lnTo>
                <a:lnTo>
                  <a:pt x="3954" y="1017"/>
                </a:lnTo>
                <a:lnTo>
                  <a:pt x="3951" y="1016"/>
                </a:lnTo>
                <a:lnTo>
                  <a:pt x="3949" y="1013"/>
                </a:lnTo>
                <a:lnTo>
                  <a:pt x="3947" y="1011"/>
                </a:lnTo>
                <a:lnTo>
                  <a:pt x="3946" y="1008"/>
                </a:lnTo>
                <a:lnTo>
                  <a:pt x="3946" y="1005"/>
                </a:lnTo>
                <a:lnTo>
                  <a:pt x="3946" y="1002"/>
                </a:lnTo>
                <a:lnTo>
                  <a:pt x="3946" y="999"/>
                </a:lnTo>
                <a:lnTo>
                  <a:pt x="3948" y="996"/>
                </a:lnTo>
                <a:lnTo>
                  <a:pt x="3949" y="994"/>
                </a:lnTo>
                <a:lnTo>
                  <a:pt x="3950" y="992"/>
                </a:lnTo>
                <a:lnTo>
                  <a:pt x="3954" y="990"/>
                </a:lnTo>
                <a:close/>
                <a:moveTo>
                  <a:pt x="3828" y="919"/>
                </a:moveTo>
                <a:lnTo>
                  <a:pt x="3832" y="917"/>
                </a:lnTo>
                <a:lnTo>
                  <a:pt x="3836" y="917"/>
                </a:lnTo>
                <a:lnTo>
                  <a:pt x="3840" y="917"/>
                </a:lnTo>
                <a:lnTo>
                  <a:pt x="3844" y="919"/>
                </a:lnTo>
                <a:lnTo>
                  <a:pt x="3847" y="921"/>
                </a:lnTo>
                <a:lnTo>
                  <a:pt x="3849" y="923"/>
                </a:lnTo>
                <a:lnTo>
                  <a:pt x="3850" y="926"/>
                </a:lnTo>
                <a:lnTo>
                  <a:pt x="3851" y="928"/>
                </a:lnTo>
                <a:lnTo>
                  <a:pt x="3852" y="931"/>
                </a:lnTo>
                <a:lnTo>
                  <a:pt x="3852" y="934"/>
                </a:lnTo>
                <a:lnTo>
                  <a:pt x="3851" y="938"/>
                </a:lnTo>
                <a:lnTo>
                  <a:pt x="3850" y="940"/>
                </a:lnTo>
                <a:lnTo>
                  <a:pt x="3847" y="944"/>
                </a:lnTo>
                <a:lnTo>
                  <a:pt x="3844" y="946"/>
                </a:lnTo>
                <a:lnTo>
                  <a:pt x="3840" y="948"/>
                </a:lnTo>
                <a:lnTo>
                  <a:pt x="3836" y="949"/>
                </a:lnTo>
                <a:lnTo>
                  <a:pt x="3832" y="948"/>
                </a:lnTo>
                <a:lnTo>
                  <a:pt x="3828" y="947"/>
                </a:lnTo>
                <a:lnTo>
                  <a:pt x="3826" y="945"/>
                </a:lnTo>
                <a:lnTo>
                  <a:pt x="3824" y="942"/>
                </a:lnTo>
                <a:lnTo>
                  <a:pt x="3822" y="940"/>
                </a:lnTo>
                <a:lnTo>
                  <a:pt x="3821" y="937"/>
                </a:lnTo>
                <a:lnTo>
                  <a:pt x="3820" y="934"/>
                </a:lnTo>
                <a:lnTo>
                  <a:pt x="3820" y="931"/>
                </a:lnTo>
                <a:lnTo>
                  <a:pt x="3821" y="928"/>
                </a:lnTo>
                <a:lnTo>
                  <a:pt x="3822" y="925"/>
                </a:lnTo>
                <a:lnTo>
                  <a:pt x="3825" y="922"/>
                </a:lnTo>
                <a:lnTo>
                  <a:pt x="3828" y="919"/>
                </a:lnTo>
                <a:close/>
                <a:moveTo>
                  <a:pt x="3702" y="849"/>
                </a:moveTo>
                <a:lnTo>
                  <a:pt x="3706" y="847"/>
                </a:lnTo>
                <a:lnTo>
                  <a:pt x="3710" y="847"/>
                </a:lnTo>
                <a:lnTo>
                  <a:pt x="3712" y="847"/>
                </a:lnTo>
                <a:lnTo>
                  <a:pt x="3714" y="847"/>
                </a:lnTo>
                <a:lnTo>
                  <a:pt x="3718" y="849"/>
                </a:lnTo>
                <a:lnTo>
                  <a:pt x="3721" y="851"/>
                </a:lnTo>
                <a:lnTo>
                  <a:pt x="3723" y="853"/>
                </a:lnTo>
                <a:lnTo>
                  <a:pt x="3725" y="855"/>
                </a:lnTo>
                <a:lnTo>
                  <a:pt x="3726" y="858"/>
                </a:lnTo>
                <a:lnTo>
                  <a:pt x="3726" y="861"/>
                </a:lnTo>
                <a:lnTo>
                  <a:pt x="3726" y="864"/>
                </a:lnTo>
                <a:lnTo>
                  <a:pt x="3726" y="867"/>
                </a:lnTo>
                <a:lnTo>
                  <a:pt x="3724" y="870"/>
                </a:lnTo>
                <a:lnTo>
                  <a:pt x="3722" y="874"/>
                </a:lnTo>
                <a:lnTo>
                  <a:pt x="3718" y="876"/>
                </a:lnTo>
                <a:lnTo>
                  <a:pt x="3715" y="878"/>
                </a:lnTo>
                <a:lnTo>
                  <a:pt x="3711" y="878"/>
                </a:lnTo>
                <a:lnTo>
                  <a:pt x="3709" y="878"/>
                </a:lnTo>
                <a:lnTo>
                  <a:pt x="3707" y="878"/>
                </a:lnTo>
                <a:lnTo>
                  <a:pt x="3703" y="877"/>
                </a:lnTo>
                <a:lnTo>
                  <a:pt x="3700" y="875"/>
                </a:lnTo>
                <a:lnTo>
                  <a:pt x="3698" y="872"/>
                </a:lnTo>
                <a:lnTo>
                  <a:pt x="3696" y="870"/>
                </a:lnTo>
                <a:lnTo>
                  <a:pt x="3695" y="867"/>
                </a:lnTo>
                <a:lnTo>
                  <a:pt x="3695" y="864"/>
                </a:lnTo>
                <a:lnTo>
                  <a:pt x="3695" y="861"/>
                </a:lnTo>
                <a:lnTo>
                  <a:pt x="3695" y="858"/>
                </a:lnTo>
                <a:lnTo>
                  <a:pt x="3697" y="855"/>
                </a:lnTo>
                <a:lnTo>
                  <a:pt x="3699" y="851"/>
                </a:lnTo>
                <a:lnTo>
                  <a:pt x="3702" y="849"/>
                </a:lnTo>
                <a:close/>
                <a:moveTo>
                  <a:pt x="3576" y="780"/>
                </a:moveTo>
                <a:lnTo>
                  <a:pt x="3578" y="779"/>
                </a:lnTo>
                <a:lnTo>
                  <a:pt x="3580" y="779"/>
                </a:lnTo>
                <a:lnTo>
                  <a:pt x="3584" y="778"/>
                </a:lnTo>
                <a:lnTo>
                  <a:pt x="3586" y="778"/>
                </a:lnTo>
                <a:lnTo>
                  <a:pt x="3588" y="778"/>
                </a:lnTo>
                <a:lnTo>
                  <a:pt x="3591" y="780"/>
                </a:lnTo>
                <a:lnTo>
                  <a:pt x="3594" y="782"/>
                </a:lnTo>
                <a:lnTo>
                  <a:pt x="3596" y="784"/>
                </a:lnTo>
                <a:lnTo>
                  <a:pt x="3598" y="786"/>
                </a:lnTo>
                <a:lnTo>
                  <a:pt x="3599" y="789"/>
                </a:lnTo>
                <a:lnTo>
                  <a:pt x="3600" y="792"/>
                </a:lnTo>
                <a:lnTo>
                  <a:pt x="3600" y="795"/>
                </a:lnTo>
                <a:lnTo>
                  <a:pt x="3599" y="798"/>
                </a:lnTo>
                <a:lnTo>
                  <a:pt x="3598" y="801"/>
                </a:lnTo>
                <a:lnTo>
                  <a:pt x="3597" y="803"/>
                </a:lnTo>
                <a:lnTo>
                  <a:pt x="3595" y="805"/>
                </a:lnTo>
                <a:lnTo>
                  <a:pt x="3592" y="808"/>
                </a:lnTo>
                <a:lnTo>
                  <a:pt x="3590" y="808"/>
                </a:lnTo>
                <a:lnTo>
                  <a:pt x="3588" y="809"/>
                </a:lnTo>
                <a:lnTo>
                  <a:pt x="3584" y="810"/>
                </a:lnTo>
                <a:lnTo>
                  <a:pt x="3582" y="810"/>
                </a:lnTo>
                <a:lnTo>
                  <a:pt x="3580" y="809"/>
                </a:lnTo>
                <a:lnTo>
                  <a:pt x="3576" y="808"/>
                </a:lnTo>
                <a:lnTo>
                  <a:pt x="3574" y="806"/>
                </a:lnTo>
                <a:lnTo>
                  <a:pt x="3572" y="804"/>
                </a:lnTo>
                <a:lnTo>
                  <a:pt x="3570" y="801"/>
                </a:lnTo>
                <a:lnTo>
                  <a:pt x="3569" y="798"/>
                </a:lnTo>
                <a:lnTo>
                  <a:pt x="3568" y="796"/>
                </a:lnTo>
                <a:lnTo>
                  <a:pt x="3568" y="792"/>
                </a:lnTo>
                <a:lnTo>
                  <a:pt x="3569" y="789"/>
                </a:lnTo>
                <a:lnTo>
                  <a:pt x="3570" y="786"/>
                </a:lnTo>
                <a:lnTo>
                  <a:pt x="3571" y="785"/>
                </a:lnTo>
                <a:lnTo>
                  <a:pt x="3573" y="783"/>
                </a:lnTo>
                <a:lnTo>
                  <a:pt x="3576" y="780"/>
                </a:lnTo>
                <a:close/>
                <a:moveTo>
                  <a:pt x="3448" y="713"/>
                </a:moveTo>
                <a:lnTo>
                  <a:pt x="3452" y="712"/>
                </a:lnTo>
                <a:lnTo>
                  <a:pt x="3456" y="711"/>
                </a:lnTo>
                <a:lnTo>
                  <a:pt x="3460" y="712"/>
                </a:lnTo>
                <a:lnTo>
                  <a:pt x="3464" y="713"/>
                </a:lnTo>
                <a:lnTo>
                  <a:pt x="3466" y="715"/>
                </a:lnTo>
                <a:lnTo>
                  <a:pt x="3469" y="717"/>
                </a:lnTo>
                <a:lnTo>
                  <a:pt x="3470" y="719"/>
                </a:lnTo>
                <a:lnTo>
                  <a:pt x="3472" y="722"/>
                </a:lnTo>
                <a:lnTo>
                  <a:pt x="3472" y="728"/>
                </a:lnTo>
                <a:lnTo>
                  <a:pt x="3472" y="731"/>
                </a:lnTo>
                <a:lnTo>
                  <a:pt x="3471" y="734"/>
                </a:lnTo>
                <a:lnTo>
                  <a:pt x="3469" y="736"/>
                </a:lnTo>
                <a:lnTo>
                  <a:pt x="3468" y="738"/>
                </a:lnTo>
                <a:lnTo>
                  <a:pt x="3464" y="741"/>
                </a:lnTo>
                <a:lnTo>
                  <a:pt x="3461" y="742"/>
                </a:lnTo>
                <a:lnTo>
                  <a:pt x="3457" y="743"/>
                </a:lnTo>
                <a:lnTo>
                  <a:pt x="3453" y="742"/>
                </a:lnTo>
                <a:lnTo>
                  <a:pt x="3449" y="741"/>
                </a:lnTo>
                <a:lnTo>
                  <a:pt x="3446" y="739"/>
                </a:lnTo>
                <a:lnTo>
                  <a:pt x="3444" y="737"/>
                </a:lnTo>
                <a:lnTo>
                  <a:pt x="3443" y="735"/>
                </a:lnTo>
                <a:lnTo>
                  <a:pt x="3441" y="732"/>
                </a:lnTo>
                <a:lnTo>
                  <a:pt x="3441" y="726"/>
                </a:lnTo>
                <a:lnTo>
                  <a:pt x="3441" y="723"/>
                </a:lnTo>
                <a:lnTo>
                  <a:pt x="3442" y="720"/>
                </a:lnTo>
                <a:lnTo>
                  <a:pt x="3444" y="718"/>
                </a:lnTo>
                <a:lnTo>
                  <a:pt x="3445" y="716"/>
                </a:lnTo>
                <a:lnTo>
                  <a:pt x="3448" y="713"/>
                </a:lnTo>
                <a:close/>
                <a:moveTo>
                  <a:pt x="418" y="2383"/>
                </a:moveTo>
                <a:lnTo>
                  <a:pt x="421" y="2382"/>
                </a:lnTo>
                <a:lnTo>
                  <a:pt x="424" y="2382"/>
                </a:lnTo>
                <a:lnTo>
                  <a:pt x="426" y="2382"/>
                </a:lnTo>
                <a:lnTo>
                  <a:pt x="429" y="2383"/>
                </a:lnTo>
                <a:lnTo>
                  <a:pt x="418" y="2383"/>
                </a:lnTo>
                <a:close/>
                <a:moveTo>
                  <a:pt x="3320" y="649"/>
                </a:moveTo>
                <a:lnTo>
                  <a:pt x="3321" y="648"/>
                </a:lnTo>
                <a:lnTo>
                  <a:pt x="3323" y="647"/>
                </a:lnTo>
                <a:lnTo>
                  <a:pt x="3327" y="647"/>
                </a:lnTo>
                <a:lnTo>
                  <a:pt x="3331" y="647"/>
                </a:lnTo>
                <a:lnTo>
                  <a:pt x="3335" y="648"/>
                </a:lnTo>
                <a:lnTo>
                  <a:pt x="3337" y="650"/>
                </a:lnTo>
                <a:lnTo>
                  <a:pt x="3340" y="652"/>
                </a:lnTo>
                <a:lnTo>
                  <a:pt x="3341" y="655"/>
                </a:lnTo>
                <a:lnTo>
                  <a:pt x="3343" y="657"/>
                </a:lnTo>
                <a:lnTo>
                  <a:pt x="3343" y="660"/>
                </a:lnTo>
                <a:lnTo>
                  <a:pt x="3343" y="663"/>
                </a:lnTo>
                <a:lnTo>
                  <a:pt x="3343" y="666"/>
                </a:lnTo>
                <a:lnTo>
                  <a:pt x="3342" y="669"/>
                </a:lnTo>
                <a:lnTo>
                  <a:pt x="3339" y="673"/>
                </a:lnTo>
                <a:lnTo>
                  <a:pt x="3338" y="675"/>
                </a:lnTo>
                <a:lnTo>
                  <a:pt x="3336" y="676"/>
                </a:lnTo>
                <a:lnTo>
                  <a:pt x="3334" y="677"/>
                </a:lnTo>
                <a:lnTo>
                  <a:pt x="3332" y="678"/>
                </a:lnTo>
                <a:lnTo>
                  <a:pt x="3328" y="678"/>
                </a:lnTo>
                <a:lnTo>
                  <a:pt x="3325" y="678"/>
                </a:lnTo>
                <a:lnTo>
                  <a:pt x="3321" y="677"/>
                </a:lnTo>
                <a:lnTo>
                  <a:pt x="3318" y="675"/>
                </a:lnTo>
                <a:lnTo>
                  <a:pt x="3316" y="673"/>
                </a:lnTo>
                <a:lnTo>
                  <a:pt x="3314" y="670"/>
                </a:lnTo>
                <a:lnTo>
                  <a:pt x="3313" y="668"/>
                </a:lnTo>
                <a:lnTo>
                  <a:pt x="3312" y="665"/>
                </a:lnTo>
                <a:lnTo>
                  <a:pt x="3312" y="662"/>
                </a:lnTo>
                <a:lnTo>
                  <a:pt x="3312" y="659"/>
                </a:lnTo>
                <a:lnTo>
                  <a:pt x="3313" y="656"/>
                </a:lnTo>
                <a:lnTo>
                  <a:pt x="3316" y="652"/>
                </a:lnTo>
                <a:lnTo>
                  <a:pt x="3318" y="650"/>
                </a:lnTo>
                <a:lnTo>
                  <a:pt x="3320" y="649"/>
                </a:lnTo>
                <a:close/>
                <a:moveTo>
                  <a:pt x="505" y="2272"/>
                </a:moveTo>
                <a:lnTo>
                  <a:pt x="507" y="2271"/>
                </a:lnTo>
                <a:lnTo>
                  <a:pt x="510" y="2270"/>
                </a:lnTo>
                <a:lnTo>
                  <a:pt x="512" y="2270"/>
                </a:lnTo>
                <a:lnTo>
                  <a:pt x="514" y="2270"/>
                </a:lnTo>
                <a:lnTo>
                  <a:pt x="517" y="2270"/>
                </a:lnTo>
                <a:lnTo>
                  <a:pt x="519" y="2271"/>
                </a:lnTo>
                <a:lnTo>
                  <a:pt x="521" y="2272"/>
                </a:lnTo>
                <a:lnTo>
                  <a:pt x="523" y="2273"/>
                </a:lnTo>
                <a:lnTo>
                  <a:pt x="526" y="2276"/>
                </a:lnTo>
                <a:lnTo>
                  <a:pt x="526" y="2277"/>
                </a:lnTo>
                <a:lnTo>
                  <a:pt x="527" y="2279"/>
                </a:lnTo>
                <a:lnTo>
                  <a:pt x="528" y="2281"/>
                </a:lnTo>
                <a:lnTo>
                  <a:pt x="529" y="2284"/>
                </a:lnTo>
                <a:lnTo>
                  <a:pt x="529" y="2287"/>
                </a:lnTo>
                <a:lnTo>
                  <a:pt x="528" y="2290"/>
                </a:lnTo>
                <a:lnTo>
                  <a:pt x="527" y="2293"/>
                </a:lnTo>
                <a:lnTo>
                  <a:pt x="525" y="2296"/>
                </a:lnTo>
                <a:lnTo>
                  <a:pt x="523" y="2298"/>
                </a:lnTo>
                <a:lnTo>
                  <a:pt x="521" y="2299"/>
                </a:lnTo>
                <a:lnTo>
                  <a:pt x="519" y="2300"/>
                </a:lnTo>
                <a:lnTo>
                  <a:pt x="516" y="2301"/>
                </a:lnTo>
                <a:lnTo>
                  <a:pt x="514" y="2301"/>
                </a:lnTo>
                <a:lnTo>
                  <a:pt x="511" y="2301"/>
                </a:lnTo>
                <a:lnTo>
                  <a:pt x="509" y="2301"/>
                </a:lnTo>
                <a:lnTo>
                  <a:pt x="507" y="2300"/>
                </a:lnTo>
                <a:lnTo>
                  <a:pt x="505" y="2299"/>
                </a:lnTo>
                <a:lnTo>
                  <a:pt x="502" y="2297"/>
                </a:lnTo>
                <a:lnTo>
                  <a:pt x="500" y="2295"/>
                </a:lnTo>
                <a:lnTo>
                  <a:pt x="499" y="2294"/>
                </a:lnTo>
                <a:lnTo>
                  <a:pt x="499" y="2292"/>
                </a:lnTo>
                <a:lnTo>
                  <a:pt x="498" y="2289"/>
                </a:lnTo>
                <a:lnTo>
                  <a:pt x="497" y="2286"/>
                </a:lnTo>
                <a:lnTo>
                  <a:pt x="497" y="2283"/>
                </a:lnTo>
                <a:lnTo>
                  <a:pt x="498" y="2280"/>
                </a:lnTo>
                <a:lnTo>
                  <a:pt x="499" y="2278"/>
                </a:lnTo>
                <a:lnTo>
                  <a:pt x="501" y="2275"/>
                </a:lnTo>
                <a:lnTo>
                  <a:pt x="503" y="2273"/>
                </a:lnTo>
                <a:lnTo>
                  <a:pt x="505" y="2272"/>
                </a:lnTo>
                <a:close/>
                <a:moveTo>
                  <a:pt x="605" y="2169"/>
                </a:moveTo>
                <a:lnTo>
                  <a:pt x="608" y="2167"/>
                </a:lnTo>
                <a:lnTo>
                  <a:pt x="610" y="2167"/>
                </a:lnTo>
                <a:lnTo>
                  <a:pt x="615" y="2167"/>
                </a:lnTo>
                <a:lnTo>
                  <a:pt x="618" y="2167"/>
                </a:lnTo>
                <a:lnTo>
                  <a:pt x="620" y="2168"/>
                </a:lnTo>
                <a:lnTo>
                  <a:pt x="623" y="2170"/>
                </a:lnTo>
                <a:lnTo>
                  <a:pt x="625" y="2171"/>
                </a:lnTo>
                <a:lnTo>
                  <a:pt x="627" y="2174"/>
                </a:lnTo>
                <a:lnTo>
                  <a:pt x="628" y="2177"/>
                </a:lnTo>
                <a:lnTo>
                  <a:pt x="629" y="2180"/>
                </a:lnTo>
                <a:lnTo>
                  <a:pt x="629" y="2183"/>
                </a:lnTo>
                <a:lnTo>
                  <a:pt x="628" y="2186"/>
                </a:lnTo>
                <a:lnTo>
                  <a:pt x="628" y="2189"/>
                </a:lnTo>
                <a:lnTo>
                  <a:pt x="626" y="2191"/>
                </a:lnTo>
                <a:lnTo>
                  <a:pt x="624" y="2194"/>
                </a:lnTo>
                <a:lnTo>
                  <a:pt x="621" y="2196"/>
                </a:lnTo>
                <a:lnTo>
                  <a:pt x="619" y="2197"/>
                </a:lnTo>
                <a:lnTo>
                  <a:pt x="616" y="2198"/>
                </a:lnTo>
                <a:lnTo>
                  <a:pt x="611" y="2198"/>
                </a:lnTo>
                <a:lnTo>
                  <a:pt x="608" y="2197"/>
                </a:lnTo>
                <a:lnTo>
                  <a:pt x="606" y="2196"/>
                </a:lnTo>
                <a:lnTo>
                  <a:pt x="604" y="2195"/>
                </a:lnTo>
                <a:lnTo>
                  <a:pt x="601" y="2193"/>
                </a:lnTo>
                <a:lnTo>
                  <a:pt x="600" y="2191"/>
                </a:lnTo>
                <a:lnTo>
                  <a:pt x="598" y="2188"/>
                </a:lnTo>
                <a:lnTo>
                  <a:pt x="597" y="2185"/>
                </a:lnTo>
                <a:lnTo>
                  <a:pt x="597" y="2182"/>
                </a:lnTo>
                <a:lnTo>
                  <a:pt x="598" y="2179"/>
                </a:lnTo>
                <a:lnTo>
                  <a:pt x="599" y="2176"/>
                </a:lnTo>
                <a:lnTo>
                  <a:pt x="600" y="2173"/>
                </a:lnTo>
                <a:lnTo>
                  <a:pt x="602" y="2171"/>
                </a:lnTo>
                <a:lnTo>
                  <a:pt x="605" y="2169"/>
                </a:lnTo>
                <a:close/>
                <a:moveTo>
                  <a:pt x="714" y="2075"/>
                </a:moveTo>
                <a:lnTo>
                  <a:pt x="717" y="2074"/>
                </a:lnTo>
                <a:lnTo>
                  <a:pt x="720" y="2073"/>
                </a:lnTo>
                <a:lnTo>
                  <a:pt x="725" y="2073"/>
                </a:lnTo>
                <a:lnTo>
                  <a:pt x="728" y="2074"/>
                </a:lnTo>
                <a:lnTo>
                  <a:pt x="730" y="2075"/>
                </a:lnTo>
                <a:lnTo>
                  <a:pt x="733" y="2077"/>
                </a:lnTo>
                <a:lnTo>
                  <a:pt x="734" y="2078"/>
                </a:lnTo>
                <a:lnTo>
                  <a:pt x="735" y="2079"/>
                </a:lnTo>
                <a:lnTo>
                  <a:pt x="737" y="2082"/>
                </a:lnTo>
                <a:lnTo>
                  <a:pt x="738" y="2085"/>
                </a:lnTo>
                <a:lnTo>
                  <a:pt x="738" y="2088"/>
                </a:lnTo>
                <a:lnTo>
                  <a:pt x="738" y="2091"/>
                </a:lnTo>
                <a:lnTo>
                  <a:pt x="737" y="2094"/>
                </a:lnTo>
                <a:lnTo>
                  <a:pt x="736" y="2097"/>
                </a:lnTo>
                <a:lnTo>
                  <a:pt x="734" y="2099"/>
                </a:lnTo>
                <a:lnTo>
                  <a:pt x="732" y="2101"/>
                </a:lnTo>
                <a:lnTo>
                  <a:pt x="730" y="2103"/>
                </a:lnTo>
                <a:lnTo>
                  <a:pt x="728" y="2104"/>
                </a:lnTo>
                <a:lnTo>
                  <a:pt x="725" y="2105"/>
                </a:lnTo>
                <a:lnTo>
                  <a:pt x="719" y="2104"/>
                </a:lnTo>
                <a:lnTo>
                  <a:pt x="717" y="2104"/>
                </a:lnTo>
                <a:lnTo>
                  <a:pt x="714" y="2102"/>
                </a:lnTo>
                <a:lnTo>
                  <a:pt x="712" y="2101"/>
                </a:lnTo>
                <a:lnTo>
                  <a:pt x="711" y="2100"/>
                </a:lnTo>
                <a:lnTo>
                  <a:pt x="710" y="2099"/>
                </a:lnTo>
                <a:lnTo>
                  <a:pt x="708" y="2096"/>
                </a:lnTo>
                <a:lnTo>
                  <a:pt x="707" y="2093"/>
                </a:lnTo>
                <a:lnTo>
                  <a:pt x="707" y="2090"/>
                </a:lnTo>
                <a:lnTo>
                  <a:pt x="707" y="2087"/>
                </a:lnTo>
                <a:lnTo>
                  <a:pt x="707" y="2084"/>
                </a:lnTo>
                <a:lnTo>
                  <a:pt x="708" y="2081"/>
                </a:lnTo>
                <a:lnTo>
                  <a:pt x="710" y="2079"/>
                </a:lnTo>
                <a:lnTo>
                  <a:pt x="713" y="2076"/>
                </a:lnTo>
                <a:lnTo>
                  <a:pt x="714" y="2075"/>
                </a:lnTo>
                <a:close/>
                <a:moveTo>
                  <a:pt x="1082" y="1849"/>
                </a:moveTo>
                <a:lnTo>
                  <a:pt x="1086" y="1848"/>
                </a:lnTo>
                <a:lnTo>
                  <a:pt x="1089" y="1847"/>
                </a:lnTo>
                <a:lnTo>
                  <a:pt x="1092" y="1847"/>
                </a:lnTo>
                <a:lnTo>
                  <a:pt x="1095" y="1848"/>
                </a:lnTo>
                <a:lnTo>
                  <a:pt x="1098" y="1849"/>
                </a:lnTo>
                <a:lnTo>
                  <a:pt x="1100" y="1851"/>
                </a:lnTo>
                <a:lnTo>
                  <a:pt x="1102" y="1853"/>
                </a:lnTo>
                <a:lnTo>
                  <a:pt x="1104" y="1855"/>
                </a:lnTo>
                <a:lnTo>
                  <a:pt x="1106" y="1858"/>
                </a:lnTo>
                <a:lnTo>
                  <a:pt x="1106" y="1861"/>
                </a:lnTo>
                <a:lnTo>
                  <a:pt x="1106" y="1864"/>
                </a:lnTo>
                <a:lnTo>
                  <a:pt x="1106" y="1867"/>
                </a:lnTo>
                <a:lnTo>
                  <a:pt x="1105" y="1870"/>
                </a:lnTo>
                <a:lnTo>
                  <a:pt x="1103" y="1873"/>
                </a:lnTo>
                <a:lnTo>
                  <a:pt x="1101" y="1875"/>
                </a:lnTo>
                <a:lnTo>
                  <a:pt x="1098" y="1877"/>
                </a:lnTo>
                <a:lnTo>
                  <a:pt x="1095" y="1878"/>
                </a:lnTo>
                <a:lnTo>
                  <a:pt x="1092" y="1879"/>
                </a:lnTo>
                <a:lnTo>
                  <a:pt x="1089" y="1879"/>
                </a:lnTo>
                <a:lnTo>
                  <a:pt x="1086" y="1878"/>
                </a:lnTo>
                <a:lnTo>
                  <a:pt x="1083" y="1877"/>
                </a:lnTo>
                <a:lnTo>
                  <a:pt x="1080" y="1875"/>
                </a:lnTo>
                <a:lnTo>
                  <a:pt x="1078" y="1873"/>
                </a:lnTo>
                <a:lnTo>
                  <a:pt x="1076" y="1870"/>
                </a:lnTo>
                <a:lnTo>
                  <a:pt x="1075" y="1868"/>
                </a:lnTo>
                <a:lnTo>
                  <a:pt x="1075" y="1865"/>
                </a:lnTo>
                <a:lnTo>
                  <a:pt x="1075" y="1862"/>
                </a:lnTo>
                <a:lnTo>
                  <a:pt x="1075" y="1859"/>
                </a:lnTo>
                <a:lnTo>
                  <a:pt x="1076" y="1856"/>
                </a:lnTo>
                <a:lnTo>
                  <a:pt x="1078" y="1853"/>
                </a:lnTo>
                <a:lnTo>
                  <a:pt x="1080" y="1851"/>
                </a:lnTo>
                <a:lnTo>
                  <a:pt x="1082" y="1849"/>
                </a:lnTo>
                <a:close/>
                <a:moveTo>
                  <a:pt x="1207" y="1776"/>
                </a:moveTo>
                <a:lnTo>
                  <a:pt x="1209" y="1774"/>
                </a:lnTo>
                <a:lnTo>
                  <a:pt x="1212" y="1774"/>
                </a:lnTo>
                <a:lnTo>
                  <a:pt x="1215" y="1773"/>
                </a:lnTo>
                <a:lnTo>
                  <a:pt x="1218" y="1774"/>
                </a:lnTo>
                <a:lnTo>
                  <a:pt x="1221" y="1775"/>
                </a:lnTo>
                <a:lnTo>
                  <a:pt x="1224" y="1776"/>
                </a:lnTo>
                <a:lnTo>
                  <a:pt x="1226" y="1778"/>
                </a:lnTo>
                <a:lnTo>
                  <a:pt x="1228" y="1781"/>
                </a:lnTo>
                <a:lnTo>
                  <a:pt x="1229" y="1784"/>
                </a:lnTo>
                <a:lnTo>
                  <a:pt x="1230" y="1788"/>
                </a:lnTo>
                <a:lnTo>
                  <a:pt x="1230" y="1791"/>
                </a:lnTo>
                <a:lnTo>
                  <a:pt x="1230" y="1794"/>
                </a:lnTo>
                <a:lnTo>
                  <a:pt x="1229" y="1797"/>
                </a:lnTo>
                <a:lnTo>
                  <a:pt x="1228" y="1799"/>
                </a:lnTo>
                <a:lnTo>
                  <a:pt x="1226" y="1802"/>
                </a:lnTo>
                <a:lnTo>
                  <a:pt x="1223" y="1804"/>
                </a:lnTo>
                <a:lnTo>
                  <a:pt x="1220" y="1805"/>
                </a:lnTo>
                <a:lnTo>
                  <a:pt x="1217" y="1806"/>
                </a:lnTo>
                <a:lnTo>
                  <a:pt x="1214" y="1806"/>
                </a:lnTo>
                <a:lnTo>
                  <a:pt x="1211" y="1806"/>
                </a:lnTo>
                <a:lnTo>
                  <a:pt x="1208" y="1805"/>
                </a:lnTo>
                <a:lnTo>
                  <a:pt x="1205" y="1803"/>
                </a:lnTo>
                <a:lnTo>
                  <a:pt x="1203" y="1801"/>
                </a:lnTo>
                <a:lnTo>
                  <a:pt x="1201" y="1799"/>
                </a:lnTo>
                <a:lnTo>
                  <a:pt x="1200" y="1796"/>
                </a:lnTo>
                <a:lnTo>
                  <a:pt x="1199" y="1793"/>
                </a:lnTo>
                <a:lnTo>
                  <a:pt x="1199" y="1790"/>
                </a:lnTo>
                <a:lnTo>
                  <a:pt x="1199" y="1787"/>
                </a:lnTo>
                <a:lnTo>
                  <a:pt x="1200" y="1783"/>
                </a:lnTo>
                <a:lnTo>
                  <a:pt x="1201" y="1780"/>
                </a:lnTo>
                <a:lnTo>
                  <a:pt x="1203" y="1778"/>
                </a:lnTo>
                <a:lnTo>
                  <a:pt x="1206" y="1776"/>
                </a:lnTo>
                <a:lnTo>
                  <a:pt x="1207" y="1776"/>
                </a:lnTo>
                <a:close/>
                <a:moveTo>
                  <a:pt x="832" y="1991"/>
                </a:moveTo>
                <a:lnTo>
                  <a:pt x="835" y="1990"/>
                </a:lnTo>
                <a:lnTo>
                  <a:pt x="838" y="1989"/>
                </a:lnTo>
                <a:lnTo>
                  <a:pt x="841" y="1989"/>
                </a:lnTo>
                <a:lnTo>
                  <a:pt x="844" y="1990"/>
                </a:lnTo>
                <a:lnTo>
                  <a:pt x="847" y="1991"/>
                </a:lnTo>
                <a:lnTo>
                  <a:pt x="849" y="1992"/>
                </a:lnTo>
                <a:lnTo>
                  <a:pt x="851" y="1994"/>
                </a:lnTo>
                <a:lnTo>
                  <a:pt x="853" y="1996"/>
                </a:lnTo>
                <a:lnTo>
                  <a:pt x="855" y="1999"/>
                </a:lnTo>
                <a:lnTo>
                  <a:pt x="856" y="2002"/>
                </a:lnTo>
                <a:lnTo>
                  <a:pt x="856" y="2008"/>
                </a:lnTo>
                <a:lnTo>
                  <a:pt x="855" y="2011"/>
                </a:lnTo>
                <a:lnTo>
                  <a:pt x="853" y="2014"/>
                </a:lnTo>
                <a:lnTo>
                  <a:pt x="851" y="2016"/>
                </a:lnTo>
                <a:lnTo>
                  <a:pt x="849" y="2018"/>
                </a:lnTo>
                <a:lnTo>
                  <a:pt x="846" y="2020"/>
                </a:lnTo>
                <a:lnTo>
                  <a:pt x="843" y="2021"/>
                </a:lnTo>
                <a:lnTo>
                  <a:pt x="837" y="2020"/>
                </a:lnTo>
                <a:lnTo>
                  <a:pt x="834" y="2020"/>
                </a:lnTo>
                <a:lnTo>
                  <a:pt x="831" y="2018"/>
                </a:lnTo>
                <a:lnTo>
                  <a:pt x="829" y="2016"/>
                </a:lnTo>
                <a:lnTo>
                  <a:pt x="827" y="2014"/>
                </a:lnTo>
                <a:lnTo>
                  <a:pt x="825" y="2011"/>
                </a:lnTo>
                <a:lnTo>
                  <a:pt x="825" y="2008"/>
                </a:lnTo>
                <a:lnTo>
                  <a:pt x="825" y="2002"/>
                </a:lnTo>
                <a:lnTo>
                  <a:pt x="826" y="1999"/>
                </a:lnTo>
                <a:lnTo>
                  <a:pt x="827" y="1996"/>
                </a:lnTo>
                <a:lnTo>
                  <a:pt x="829" y="1994"/>
                </a:lnTo>
                <a:lnTo>
                  <a:pt x="831" y="1992"/>
                </a:lnTo>
                <a:lnTo>
                  <a:pt x="832" y="1991"/>
                </a:lnTo>
                <a:close/>
                <a:moveTo>
                  <a:pt x="955" y="1917"/>
                </a:moveTo>
                <a:lnTo>
                  <a:pt x="958" y="1915"/>
                </a:lnTo>
                <a:lnTo>
                  <a:pt x="961" y="1915"/>
                </a:lnTo>
                <a:lnTo>
                  <a:pt x="964" y="1915"/>
                </a:lnTo>
                <a:lnTo>
                  <a:pt x="967" y="1915"/>
                </a:lnTo>
                <a:lnTo>
                  <a:pt x="970" y="1916"/>
                </a:lnTo>
                <a:lnTo>
                  <a:pt x="973" y="1918"/>
                </a:lnTo>
                <a:lnTo>
                  <a:pt x="975" y="1920"/>
                </a:lnTo>
                <a:lnTo>
                  <a:pt x="977" y="1923"/>
                </a:lnTo>
                <a:lnTo>
                  <a:pt x="978" y="1926"/>
                </a:lnTo>
                <a:lnTo>
                  <a:pt x="979" y="1929"/>
                </a:lnTo>
                <a:lnTo>
                  <a:pt x="979" y="1932"/>
                </a:lnTo>
                <a:lnTo>
                  <a:pt x="978" y="1935"/>
                </a:lnTo>
                <a:lnTo>
                  <a:pt x="977" y="1937"/>
                </a:lnTo>
                <a:lnTo>
                  <a:pt x="976" y="1940"/>
                </a:lnTo>
                <a:lnTo>
                  <a:pt x="974" y="1942"/>
                </a:lnTo>
                <a:lnTo>
                  <a:pt x="971" y="1944"/>
                </a:lnTo>
                <a:lnTo>
                  <a:pt x="968" y="1945"/>
                </a:lnTo>
                <a:lnTo>
                  <a:pt x="965" y="1946"/>
                </a:lnTo>
                <a:lnTo>
                  <a:pt x="962" y="1946"/>
                </a:lnTo>
                <a:lnTo>
                  <a:pt x="959" y="1946"/>
                </a:lnTo>
                <a:lnTo>
                  <a:pt x="956" y="1945"/>
                </a:lnTo>
                <a:lnTo>
                  <a:pt x="953" y="1943"/>
                </a:lnTo>
                <a:lnTo>
                  <a:pt x="951" y="1941"/>
                </a:lnTo>
                <a:lnTo>
                  <a:pt x="949" y="1938"/>
                </a:lnTo>
                <a:lnTo>
                  <a:pt x="948" y="1935"/>
                </a:lnTo>
                <a:lnTo>
                  <a:pt x="947" y="1932"/>
                </a:lnTo>
                <a:lnTo>
                  <a:pt x="947" y="1929"/>
                </a:lnTo>
                <a:lnTo>
                  <a:pt x="948" y="1926"/>
                </a:lnTo>
                <a:lnTo>
                  <a:pt x="949" y="1923"/>
                </a:lnTo>
                <a:lnTo>
                  <a:pt x="951" y="1921"/>
                </a:lnTo>
                <a:lnTo>
                  <a:pt x="953" y="1919"/>
                </a:lnTo>
                <a:lnTo>
                  <a:pt x="955" y="1917"/>
                </a:lnTo>
                <a:close/>
                <a:moveTo>
                  <a:pt x="1324" y="1694"/>
                </a:moveTo>
                <a:lnTo>
                  <a:pt x="1327" y="1692"/>
                </a:lnTo>
                <a:lnTo>
                  <a:pt x="1330" y="1692"/>
                </a:lnTo>
                <a:lnTo>
                  <a:pt x="1335" y="1692"/>
                </a:lnTo>
                <a:lnTo>
                  <a:pt x="1338" y="1693"/>
                </a:lnTo>
                <a:lnTo>
                  <a:pt x="1341" y="1694"/>
                </a:lnTo>
                <a:lnTo>
                  <a:pt x="1343" y="1695"/>
                </a:lnTo>
                <a:lnTo>
                  <a:pt x="1344" y="1696"/>
                </a:lnTo>
                <a:lnTo>
                  <a:pt x="1345" y="1698"/>
                </a:lnTo>
                <a:lnTo>
                  <a:pt x="1347" y="1700"/>
                </a:lnTo>
                <a:lnTo>
                  <a:pt x="1348" y="1703"/>
                </a:lnTo>
                <a:lnTo>
                  <a:pt x="1348" y="1706"/>
                </a:lnTo>
                <a:lnTo>
                  <a:pt x="1348" y="1709"/>
                </a:lnTo>
                <a:lnTo>
                  <a:pt x="1347" y="1712"/>
                </a:lnTo>
                <a:lnTo>
                  <a:pt x="1346" y="1715"/>
                </a:lnTo>
                <a:lnTo>
                  <a:pt x="1344" y="1718"/>
                </a:lnTo>
                <a:lnTo>
                  <a:pt x="1342" y="1720"/>
                </a:lnTo>
                <a:lnTo>
                  <a:pt x="1340" y="1721"/>
                </a:lnTo>
                <a:lnTo>
                  <a:pt x="1338" y="1722"/>
                </a:lnTo>
                <a:lnTo>
                  <a:pt x="1335" y="1723"/>
                </a:lnTo>
                <a:lnTo>
                  <a:pt x="1329" y="1723"/>
                </a:lnTo>
                <a:lnTo>
                  <a:pt x="1327" y="1722"/>
                </a:lnTo>
                <a:lnTo>
                  <a:pt x="1324" y="1721"/>
                </a:lnTo>
                <a:lnTo>
                  <a:pt x="1322" y="1719"/>
                </a:lnTo>
                <a:lnTo>
                  <a:pt x="1321" y="1718"/>
                </a:lnTo>
                <a:lnTo>
                  <a:pt x="1320" y="1717"/>
                </a:lnTo>
                <a:lnTo>
                  <a:pt x="1318" y="1714"/>
                </a:lnTo>
                <a:lnTo>
                  <a:pt x="1317" y="1711"/>
                </a:lnTo>
                <a:lnTo>
                  <a:pt x="1317" y="1708"/>
                </a:lnTo>
                <a:lnTo>
                  <a:pt x="1317" y="1705"/>
                </a:lnTo>
                <a:lnTo>
                  <a:pt x="1317" y="1702"/>
                </a:lnTo>
                <a:lnTo>
                  <a:pt x="1319" y="1699"/>
                </a:lnTo>
                <a:lnTo>
                  <a:pt x="1320" y="1697"/>
                </a:lnTo>
                <a:lnTo>
                  <a:pt x="1323" y="1695"/>
                </a:lnTo>
                <a:lnTo>
                  <a:pt x="1324" y="1694"/>
                </a:lnTo>
                <a:close/>
                <a:moveTo>
                  <a:pt x="3189" y="587"/>
                </a:moveTo>
                <a:lnTo>
                  <a:pt x="3193" y="585"/>
                </a:lnTo>
                <a:lnTo>
                  <a:pt x="3196" y="585"/>
                </a:lnTo>
                <a:lnTo>
                  <a:pt x="3200" y="585"/>
                </a:lnTo>
                <a:lnTo>
                  <a:pt x="3202" y="585"/>
                </a:lnTo>
                <a:lnTo>
                  <a:pt x="3204" y="586"/>
                </a:lnTo>
                <a:lnTo>
                  <a:pt x="3207" y="588"/>
                </a:lnTo>
                <a:lnTo>
                  <a:pt x="3209" y="590"/>
                </a:lnTo>
                <a:lnTo>
                  <a:pt x="3211" y="592"/>
                </a:lnTo>
                <a:lnTo>
                  <a:pt x="3212" y="596"/>
                </a:lnTo>
                <a:lnTo>
                  <a:pt x="3213" y="599"/>
                </a:lnTo>
                <a:lnTo>
                  <a:pt x="3213" y="602"/>
                </a:lnTo>
                <a:lnTo>
                  <a:pt x="3213" y="605"/>
                </a:lnTo>
                <a:lnTo>
                  <a:pt x="3212" y="608"/>
                </a:lnTo>
                <a:lnTo>
                  <a:pt x="3209" y="612"/>
                </a:lnTo>
                <a:lnTo>
                  <a:pt x="3207" y="614"/>
                </a:lnTo>
                <a:lnTo>
                  <a:pt x="3205" y="615"/>
                </a:lnTo>
                <a:lnTo>
                  <a:pt x="3202" y="617"/>
                </a:lnTo>
                <a:lnTo>
                  <a:pt x="3198" y="617"/>
                </a:lnTo>
                <a:lnTo>
                  <a:pt x="3195" y="617"/>
                </a:lnTo>
                <a:lnTo>
                  <a:pt x="3193" y="616"/>
                </a:lnTo>
                <a:lnTo>
                  <a:pt x="3191" y="616"/>
                </a:lnTo>
                <a:lnTo>
                  <a:pt x="3188" y="614"/>
                </a:lnTo>
                <a:lnTo>
                  <a:pt x="3186" y="612"/>
                </a:lnTo>
                <a:lnTo>
                  <a:pt x="3184" y="610"/>
                </a:lnTo>
                <a:lnTo>
                  <a:pt x="3183" y="607"/>
                </a:lnTo>
                <a:lnTo>
                  <a:pt x="3182" y="604"/>
                </a:lnTo>
                <a:lnTo>
                  <a:pt x="3181" y="601"/>
                </a:lnTo>
                <a:lnTo>
                  <a:pt x="3182" y="598"/>
                </a:lnTo>
                <a:lnTo>
                  <a:pt x="3183" y="595"/>
                </a:lnTo>
                <a:lnTo>
                  <a:pt x="3186" y="590"/>
                </a:lnTo>
                <a:lnTo>
                  <a:pt x="3187" y="588"/>
                </a:lnTo>
                <a:lnTo>
                  <a:pt x="3189" y="587"/>
                </a:lnTo>
                <a:close/>
                <a:moveTo>
                  <a:pt x="1433" y="1600"/>
                </a:moveTo>
                <a:lnTo>
                  <a:pt x="1436" y="1599"/>
                </a:lnTo>
                <a:lnTo>
                  <a:pt x="1438" y="1598"/>
                </a:lnTo>
                <a:lnTo>
                  <a:pt x="1441" y="1598"/>
                </a:lnTo>
                <a:lnTo>
                  <a:pt x="1443" y="1598"/>
                </a:lnTo>
                <a:lnTo>
                  <a:pt x="1446" y="1599"/>
                </a:lnTo>
                <a:lnTo>
                  <a:pt x="1448" y="1600"/>
                </a:lnTo>
                <a:lnTo>
                  <a:pt x="1451" y="1601"/>
                </a:lnTo>
                <a:lnTo>
                  <a:pt x="1453" y="1603"/>
                </a:lnTo>
                <a:lnTo>
                  <a:pt x="1455" y="1605"/>
                </a:lnTo>
                <a:lnTo>
                  <a:pt x="1456" y="1608"/>
                </a:lnTo>
                <a:lnTo>
                  <a:pt x="1457" y="1611"/>
                </a:lnTo>
                <a:lnTo>
                  <a:pt x="1457" y="1614"/>
                </a:lnTo>
                <a:lnTo>
                  <a:pt x="1457" y="1617"/>
                </a:lnTo>
                <a:lnTo>
                  <a:pt x="1456" y="1620"/>
                </a:lnTo>
                <a:lnTo>
                  <a:pt x="1454" y="1623"/>
                </a:lnTo>
                <a:lnTo>
                  <a:pt x="1452" y="1625"/>
                </a:lnTo>
                <a:lnTo>
                  <a:pt x="1449" y="1627"/>
                </a:lnTo>
                <a:lnTo>
                  <a:pt x="1447" y="1629"/>
                </a:lnTo>
                <a:lnTo>
                  <a:pt x="1444" y="1629"/>
                </a:lnTo>
                <a:lnTo>
                  <a:pt x="1442" y="1630"/>
                </a:lnTo>
                <a:lnTo>
                  <a:pt x="1439" y="1629"/>
                </a:lnTo>
                <a:lnTo>
                  <a:pt x="1437" y="1629"/>
                </a:lnTo>
                <a:lnTo>
                  <a:pt x="1434" y="1628"/>
                </a:lnTo>
                <a:lnTo>
                  <a:pt x="1432" y="1627"/>
                </a:lnTo>
                <a:lnTo>
                  <a:pt x="1430" y="1625"/>
                </a:lnTo>
                <a:lnTo>
                  <a:pt x="1428" y="1622"/>
                </a:lnTo>
                <a:lnTo>
                  <a:pt x="1426" y="1619"/>
                </a:lnTo>
                <a:lnTo>
                  <a:pt x="1426" y="1617"/>
                </a:lnTo>
                <a:lnTo>
                  <a:pt x="1425" y="1614"/>
                </a:lnTo>
                <a:lnTo>
                  <a:pt x="1426" y="1610"/>
                </a:lnTo>
                <a:lnTo>
                  <a:pt x="1427" y="1608"/>
                </a:lnTo>
                <a:lnTo>
                  <a:pt x="1428" y="1605"/>
                </a:lnTo>
                <a:lnTo>
                  <a:pt x="1430" y="1602"/>
                </a:lnTo>
                <a:lnTo>
                  <a:pt x="1433" y="1600"/>
                </a:lnTo>
                <a:close/>
                <a:moveTo>
                  <a:pt x="1529" y="1493"/>
                </a:moveTo>
                <a:lnTo>
                  <a:pt x="1533" y="1491"/>
                </a:lnTo>
                <a:lnTo>
                  <a:pt x="1538" y="1491"/>
                </a:lnTo>
                <a:lnTo>
                  <a:pt x="1540" y="1491"/>
                </a:lnTo>
                <a:lnTo>
                  <a:pt x="1542" y="1492"/>
                </a:lnTo>
                <a:lnTo>
                  <a:pt x="1544" y="1493"/>
                </a:lnTo>
                <a:lnTo>
                  <a:pt x="1547" y="1494"/>
                </a:lnTo>
                <a:lnTo>
                  <a:pt x="1549" y="1496"/>
                </a:lnTo>
                <a:lnTo>
                  <a:pt x="1551" y="1499"/>
                </a:lnTo>
                <a:lnTo>
                  <a:pt x="1552" y="1502"/>
                </a:lnTo>
                <a:lnTo>
                  <a:pt x="1553" y="1505"/>
                </a:lnTo>
                <a:lnTo>
                  <a:pt x="1553" y="1508"/>
                </a:lnTo>
                <a:lnTo>
                  <a:pt x="1552" y="1511"/>
                </a:lnTo>
                <a:lnTo>
                  <a:pt x="1551" y="1514"/>
                </a:lnTo>
                <a:lnTo>
                  <a:pt x="1549" y="1516"/>
                </a:lnTo>
                <a:lnTo>
                  <a:pt x="1547" y="1519"/>
                </a:lnTo>
                <a:lnTo>
                  <a:pt x="1545" y="1521"/>
                </a:lnTo>
                <a:lnTo>
                  <a:pt x="1541" y="1522"/>
                </a:lnTo>
                <a:lnTo>
                  <a:pt x="1536" y="1523"/>
                </a:lnTo>
                <a:lnTo>
                  <a:pt x="1534" y="1522"/>
                </a:lnTo>
                <a:lnTo>
                  <a:pt x="1531" y="1522"/>
                </a:lnTo>
                <a:lnTo>
                  <a:pt x="1529" y="1521"/>
                </a:lnTo>
                <a:lnTo>
                  <a:pt x="1527" y="1519"/>
                </a:lnTo>
                <a:lnTo>
                  <a:pt x="1525" y="1517"/>
                </a:lnTo>
                <a:lnTo>
                  <a:pt x="1523" y="1515"/>
                </a:lnTo>
                <a:lnTo>
                  <a:pt x="1522" y="1512"/>
                </a:lnTo>
                <a:lnTo>
                  <a:pt x="1521" y="1509"/>
                </a:lnTo>
                <a:lnTo>
                  <a:pt x="1521" y="1506"/>
                </a:lnTo>
                <a:lnTo>
                  <a:pt x="1522" y="1503"/>
                </a:lnTo>
                <a:lnTo>
                  <a:pt x="1523" y="1500"/>
                </a:lnTo>
                <a:lnTo>
                  <a:pt x="1524" y="1497"/>
                </a:lnTo>
                <a:lnTo>
                  <a:pt x="1526" y="1495"/>
                </a:lnTo>
                <a:lnTo>
                  <a:pt x="1529" y="1493"/>
                </a:lnTo>
                <a:close/>
                <a:moveTo>
                  <a:pt x="1606" y="1372"/>
                </a:moveTo>
                <a:lnTo>
                  <a:pt x="1609" y="1371"/>
                </a:lnTo>
                <a:lnTo>
                  <a:pt x="1613" y="1370"/>
                </a:lnTo>
                <a:lnTo>
                  <a:pt x="1617" y="1370"/>
                </a:lnTo>
                <a:lnTo>
                  <a:pt x="1621" y="1372"/>
                </a:lnTo>
                <a:lnTo>
                  <a:pt x="1624" y="1373"/>
                </a:lnTo>
                <a:lnTo>
                  <a:pt x="1626" y="1376"/>
                </a:lnTo>
                <a:lnTo>
                  <a:pt x="1628" y="1378"/>
                </a:lnTo>
                <a:lnTo>
                  <a:pt x="1629" y="1381"/>
                </a:lnTo>
                <a:lnTo>
                  <a:pt x="1630" y="1387"/>
                </a:lnTo>
                <a:lnTo>
                  <a:pt x="1629" y="1390"/>
                </a:lnTo>
                <a:lnTo>
                  <a:pt x="1628" y="1393"/>
                </a:lnTo>
                <a:lnTo>
                  <a:pt x="1627" y="1395"/>
                </a:lnTo>
                <a:lnTo>
                  <a:pt x="1625" y="1397"/>
                </a:lnTo>
                <a:lnTo>
                  <a:pt x="1622" y="1399"/>
                </a:lnTo>
                <a:lnTo>
                  <a:pt x="1618" y="1401"/>
                </a:lnTo>
                <a:lnTo>
                  <a:pt x="1614" y="1402"/>
                </a:lnTo>
                <a:lnTo>
                  <a:pt x="1610" y="1401"/>
                </a:lnTo>
                <a:lnTo>
                  <a:pt x="1607" y="1400"/>
                </a:lnTo>
                <a:lnTo>
                  <a:pt x="1604" y="1398"/>
                </a:lnTo>
                <a:lnTo>
                  <a:pt x="1602" y="1396"/>
                </a:lnTo>
                <a:lnTo>
                  <a:pt x="1600" y="1393"/>
                </a:lnTo>
                <a:lnTo>
                  <a:pt x="1599" y="1391"/>
                </a:lnTo>
                <a:lnTo>
                  <a:pt x="1598" y="1385"/>
                </a:lnTo>
                <a:lnTo>
                  <a:pt x="1599" y="1381"/>
                </a:lnTo>
                <a:lnTo>
                  <a:pt x="1600" y="1378"/>
                </a:lnTo>
                <a:lnTo>
                  <a:pt x="1601" y="1377"/>
                </a:lnTo>
                <a:lnTo>
                  <a:pt x="1602" y="1375"/>
                </a:lnTo>
                <a:lnTo>
                  <a:pt x="1606" y="1372"/>
                </a:lnTo>
                <a:close/>
                <a:moveTo>
                  <a:pt x="3057" y="530"/>
                </a:moveTo>
                <a:lnTo>
                  <a:pt x="3060" y="528"/>
                </a:lnTo>
                <a:lnTo>
                  <a:pt x="3064" y="528"/>
                </a:lnTo>
                <a:lnTo>
                  <a:pt x="3067" y="528"/>
                </a:lnTo>
                <a:lnTo>
                  <a:pt x="3071" y="529"/>
                </a:lnTo>
                <a:lnTo>
                  <a:pt x="3074" y="530"/>
                </a:lnTo>
                <a:lnTo>
                  <a:pt x="3076" y="532"/>
                </a:lnTo>
                <a:lnTo>
                  <a:pt x="3078" y="535"/>
                </a:lnTo>
                <a:lnTo>
                  <a:pt x="3080" y="537"/>
                </a:lnTo>
                <a:lnTo>
                  <a:pt x="3081" y="540"/>
                </a:lnTo>
                <a:lnTo>
                  <a:pt x="3081" y="543"/>
                </a:lnTo>
                <a:lnTo>
                  <a:pt x="3081" y="546"/>
                </a:lnTo>
                <a:lnTo>
                  <a:pt x="3080" y="549"/>
                </a:lnTo>
                <a:lnTo>
                  <a:pt x="3077" y="554"/>
                </a:lnTo>
                <a:lnTo>
                  <a:pt x="3075" y="556"/>
                </a:lnTo>
                <a:lnTo>
                  <a:pt x="3073" y="557"/>
                </a:lnTo>
                <a:lnTo>
                  <a:pt x="3070" y="559"/>
                </a:lnTo>
                <a:lnTo>
                  <a:pt x="3066" y="559"/>
                </a:lnTo>
                <a:lnTo>
                  <a:pt x="3063" y="559"/>
                </a:lnTo>
                <a:lnTo>
                  <a:pt x="3059" y="558"/>
                </a:lnTo>
                <a:lnTo>
                  <a:pt x="3056" y="557"/>
                </a:lnTo>
                <a:lnTo>
                  <a:pt x="3054" y="555"/>
                </a:lnTo>
                <a:lnTo>
                  <a:pt x="3052" y="552"/>
                </a:lnTo>
                <a:lnTo>
                  <a:pt x="3050" y="550"/>
                </a:lnTo>
                <a:lnTo>
                  <a:pt x="3050" y="547"/>
                </a:lnTo>
                <a:lnTo>
                  <a:pt x="3049" y="544"/>
                </a:lnTo>
                <a:lnTo>
                  <a:pt x="3050" y="541"/>
                </a:lnTo>
                <a:lnTo>
                  <a:pt x="3050" y="537"/>
                </a:lnTo>
                <a:lnTo>
                  <a:pt x="3053" y="533"/>
                </a:lnTo>
                <a:lnTo>
                  <a:pt x="3055" y="531"/>
                </a:lnTo>
                <a:lnTo>
                  <a:pt x="3057" y="530"/>
                </a:lnTo>
                <a:close/>
                <a:moveTo>
                  <a:pt x="1660" y="1239"/>
                </a:moveTo>
                <a:lnTo>
                  <a:pt x="1662" y="1238"/>
                </a:lnTo>
                <a:lnTo>
                  <a:pt x="1666" y="1237"/>
                </a:lnTo>
                <a:lnTo>
                  <a:pt x="1669" y="1237"/>
                </a:lnTo>
                <a:lnTo>
                  <a:pt x="1672" y="1237"/>
                </a:lnTo>
                <a:lnTo>
                  <a:pt x="1675" y="1239"/>
                </a:lnTo>
                <a:lnTo>
                  <a:pt x="1678" y="1240"/>
                </a:lnTo>
                <a:lnTo>
                  <a:pt x="1680" y="1243"/>
                </a:lnTo>
                <a:lnTo>
                  <a:pt x="1681" y="1245"/>
                </a:lnTo>
                <a:lnTo>
                  <a:pt x="1683" y="1248"/>
                </a:lnTo>
                <a:lnTo>
                  <a:pt x="1683" y="1251"/>
                </a:lnTo>
                <a:lnTo>
                  <a:pt x="1683" y="1254"/>
                </a:lnTo>
                <a:lnTo>
                  <a:pt x="1683" y="1257"/>
                </a:lnTo>
                <a:lnTo>
                  <a:pt x="1681" y="1260"/>
                </a:lnTo>
                <a:lnTo>
                  <a:pt x="1680" y="1263"/>
                </a:lnTo>
                <a:lnTo>
                  <a:pt x="1678" y="1265"/>
                </a:lnTo>
                <a:lnTo>
                  <a:pt x="1675" y="1266"/>
                </a:lnTo>
                <a:lnTo>
                  <a:pt x="1673" y="1268"/>
                </a:lnTo>
                <a:lnTo>
                  <a:pt x="1669" y="1268"/>
                </a:lnTo>
                <a:lnTo>
                  <a:pt x="1666" y="1268"/>
                </a:lnTo>
                <a:lnTo>
                  <a:pt x="1663" y="1268"/>
                </a:lnTo>
                <a:lnTo>
                  <a:pt x="1660" y="1267"/>
                </a:lnTo>
                <a:lnTo>
                  <a:pt x="1657" y="1265"/>
                </a:lnTo>
                <a:lnTo>
                  <a:pt x="1655" y="1263"/>
                </a:lnTo>
                <a:lnTo>
                  <a:pt x="1654" y="1260"/>
                </a:lnTo>
                <a:lnTo>
                  <a:pt x="1652" y="1257"/>
                </a:lnTo>
                <a:lnTo>
                  <a:pt x="1652" y="1254"/>
                </a:lnTo>
                <a:lnTo>
                  <a:pt x="1652" y="1251"/>
                </a:lnTo>
                <a:lnTo>
                  <a:pt x="1652" y="1248"/>
                </a:lnTo>
                <a:lnTo>
                  <a:pt x="1653" y="1245"/>
                </a:lnTo>
                <a:lnTo>
                  <a:pt x="1655" y="1243"/>
                </a:lnTo>
                <a:lnTo>
                  <a:pt x="1657" y="1241"/>
                </a:lnTo>
                <a:lnTo>
                  <a:pt x="1660" y="1239"/>
                </a:lnTo>
                <a:close/>
                <a:moveTo>
                  <a:pt x="2923" y="479"/>
                </a:moveTo>
                <a:lnTo>
                  <a:pt x="2926" y="477"/>
                </a:lnTo>
                <a:lnTo>
                  <a:pt x="2929" y="476"/>
                </a:lnTo>
                <a:lnTo>
                  <a:pt x="2932" y="476"/>
                </a:lnTo>
                <a:lnTo>
                  <a:pt x="2936" y="477"/>
                </a:lnTo>
                <a:lnTo>
                  <a:pt x="2939" y="479"/>
                </a:lnTo>
                <a:lnTo>
                  <a:pt x="2941" y="481"/>
                </a:lnTo>
                <a:lnTo>
                  <a:pt x="2943" y="483"/>
                </a:lnTo>
                <a:lnTo>
                  <a:pt x="2945" y="485"/>
                </a:lnTo>
                <a:lnTo>
                  <a:pt x="2946" y="488"/>
                </a:lnTo>
                <a:lnTo>
                  <a:pt x="2946" y="491"/>
                </a:lnTo>
                <a:lnTo>
                  <a:pt x="2946" y="494"/>
                </a:lnTo>
                <a:lnTo>
                  <a:pt x="2946" y="497"/>
                </a:lnTo>
                <a:lnTo>
                  <a:pt x="2944" y="500"/>
                </a:lnTo>
                <a:lnTo>
                  <a:pt x="2943" y="502"/>
                </a:lnTo>
                <a:lnTo>
                  <a:pt x="2941" y="504"/>
                </a:lnTo>
                <a:lnTo>
                  <a:pt x="2938" y="506"/>
                </a:lnTo>
                <a:lnTo>
                  <a:pt x="2935" y="507"/>
                </a:lnTo>
                <a:lnTo>
                  <a:pt x="2932" y="508"/>
                </a:lnTo>
                <a:lnTo>
                  <a:pt x="2929" y="508"/>
                </a:lnTo>
                <a:lnTo>
                  <a:pt x="2925" y="507"/>
                </a:lnTo>
                <a:lnTo>
                  <a:pt x="2922" y="506"/>
                </a:lnTo>
                <a:lnTo>
                  <a:pt x="2920" y="504"/>
                </a:lnTo>
                <a:lnTo>
                  <a:pt x="2918" y="502"/>
                </a:lnTo>
                <a:lnTo>
                  <a:pt x="2916" y="499"/>
                </a:lnTo>
                <a:lnTo>
                  <a:pt x="2915" y="496"/>
                </a:lnTo>
                <a:lnTo>
                  <a:pt x="2915" y="493"/>
                </a:lnTo>
                <a:lnTo>
                  <a:pt x="2915" y="490"/>
                </a:lnTo>
                <a:lnTo>
                  <a:pt x="2916" y="487"/>
                </a:lnTo>
                <a:lnTo>
                  <a:pt x="2917" y="484"/>
                </a:lnTo>
                <a:lnTo>
                  <a:pt x="2918" y="482"/>
                </a:lnTo>
                <a:lnTo>
                  <a:pt x="2920" y="480"/>
                </a:lnTo>
                <a:lnTo>
                  <a:pt x="2923" y="479"/>
                </a:lnTo>
                <a:close/>
                <a:moveTo>
                  <a:pt x="1690" y="1098"/>
                </a:moveTo>
                <a:lnTo>
                  <a:pt x="1692" y="1097"/>
                </a:lnTo>
                <a:lnTo>
                  <a:pt x="1695" y="1097"/>
                </a:lnTo>
                <a:lnTo>
                  <a:pt x="1697" y="1096"/>
                </a:lnTo>
                <a:lnTo>
                  <a:pt x="1700" y="1096"/>
                </a:lnTo>
                <a:lnTo>
                  <a:pt x="1703" y="1097"/>
                </a:lnTo>
                <a:lnTo>
                  <a:pt x="1706" y="1099"/>
                </a:lnTo>
                <a:lnTo>
                  <a:pt x="1708" y="1100"/>
                </a:lnTo>
                <a:lnTo>
                  <a:pt x="1710" y="1103"/>
                </a:lnTo>
                <a:lnTo>
                  <a:pt x="1712" y="1105"/>
                </a:lnTo>
                <a:lnTo>
                  <a:pt x="1713" y="1108"/>
                </a:lnTo>
                <a:lnTo>
                  <a:pt x="1714" y="1111"/>
                </a:lnTo>
                <a:lnTo>
                  <a:pt x="1713" y="1114"/>
                </a:lnTo>
                <a:lnTo>
                  <a:pt x="1712" y="1118"/>
                </a:lnTo>
                <a:lnTo>
                  <a:pt x="1711" y="1121"/>
                </a:lnTo>
                <a:lnTo>
                  <a:pt x="1708" y="1124"/>
                </a:lnTo>
                <a:lnTo>
                  <a:pt x="1706" y="1126"/>
                </a:lnTo>
                <a:lnTo>
                  <a:pt x="1703" y="1127"/>
                </a:lnTo>
                <a:lnTo>
                  <a:pt x="1701" y="1128"/>
                </a:lnTo>
                <a:lnTo>
                  <a:pt x="1698" y="1128"/>
                </a:lnTo>
                <a:lnTo>
                  <a:pt x="1695" y="1128"/>
                </a:lnTo>
                <a:lnTo>
                  <a:pt x="1692" y="1127"/>
                </a:lnTo>
                <a:lnTo>
                  <a:pt x="1690" y="1126"/>
                </a:lnTo>
                <a:lnTo>
                  <a:pt x="1687" y="1124"/>
                </a:lnTo>
                <a:lnTo>
                  <a:pt x="1685" y="1122"/>
                </a:lnTo>
                <a:lnTo>
                  <a:pt x="1683" y="1119"/>
                </a:lnTo>
                <a:lnTo>
                  <a:pt x="1682" y="1116"/>
                </a:lnTo>
                <a:lnTo>
                  <a:pt x="1682" y="1113"/>
                </a:lnTo>
                <a:lnTo>
                  <a:pt x="1682" y="1110"/>
                </a:lnTo>
                <a:lnTo>
                  <a:pt x="1683" y="1106"/>
                </a:lnTo>
                <a:lnTo>
                  <a:pt x="1685" y="1103"/>
                </a:lnTo>
                <a:lnTo>
                  <a:pt x="1687" y="1100"/>
                </a:lnTo>
                <a:lnTo>
                  <a:pt x="1690" y="1098"/>
                </a:lnTo>
                <a:close/>
                <a:moveTo>
                  <a:pt x="2786" y="435"/>
                </a:moveTo>
                <a:lnTo>
                  <a:pt x="2788" y="433"/>
                </a:lnTo>
                <a:lnTo>
                  <a:pt x="2791" y="433"/>
                </a:lnTo>
                <a:lnTo>
                  <a:pt x="2795" y="433"/>
                </a:lnTo>
                <a:lnTo>
                  <a:pt x="2798" y="433"/>
                </a:lnTo>
                <a:lnTo>
                  <a:pt x="2801" y="434"/>
                </a:lnTo>
                <a:lnTo>
                  <a:pt x="2803" y="436"/>
                </a:lnTo>
                <a:lnTo>
                  <a:pt x="2806" y="438"/>
                </a:lnTo>
                <a:lnTo>
                  <a:pt x="2807" y="441"/>
                </a:lnTo>
                <a:lnTo>
                  <a:pt x="2809" y="443"/>
                </a:lnTo>
                <a:lnTo>
                  <a:pt x="2809" y="446"/>
                </a:lnTo>
                <a:lnTo>
                  <a:pt x="2809" y="450"/>
                </a:lnTo>
                <a:lnTo>
                  <a:pt x="2809" y="453"/>
                </a:lnTo>
                <a:lnTo>
                  <a:pt x="2808" y="456"/>
                </a:lnTo>
                <a:lnTo>
                  <a:pt x="2806" y="458"/>
                </a:lnTo>
                <a:lnTo>
                  <a:pt x="2804" y="460"/>
                </a:lnTo>
                <a:lnTo>
                  <a:pt x="2801" y="462"/>
                </a:lnTo>
                <a:lnTo>
                  <a:pt x="2799" y="463"/>
                </a:lnTo>
                <a:lnTo>
                  <a:pt x="2796" y="464"/>
                </a:lnTo>
                <a:lnTo>
                  <a:pt x="2792" y="464"/>
                </a:lnTo>
                <a:lnTo>
                  <a:pt x="2789" y="464"/>
                </a:lnTo>
                <a:lnTo>
                  <a:pt x="2786" y="462"/>
                </a:lnTo>
                <a:lnTo>
                  <a:pt x="2784" y="461"/>
                </a:lnTo>
                <a:lnTo>
                  <a:pt x="2781" y="459"/>
                </a:lnTo>
                <a:lnTo>
                  <a:pt x="2780" y="456"/>
                </a:lnTo>
                <a:lnTo>
                  <a:pt x="2778" y="453"/>
                </a:lnTo>
                <a:lnTo>
                  <a:pt x="2778" y="450"/>
                </a:lnTo>
                <a:lnTo>
                  <a:pt x="2778" y="447"/>
                </a:lnTo>
                <a:lnTo>
                  <a:pt x="2778" y="444"/>
                </a:lnTo>
                <a:lnTo>
                  <a:pt x="2779" y="441"/>
                </a:lnTo>
                <a:lnTo>
                  <a:pt x="2781" y="439"/>
                </a:lnTo>
                <a:lnTo>
                  <a:pt x="2783" y="436"/>
                </a:lnTo>
                <a:lnTo>
                  <a:pt x="2786" y="435"/>
                </a:lnTo>
                <a:close/>
                <a:moveTo>
                  <a:pt x="1704" y="955"/>
                </a:moveTo>
                <a:lnTo>
                  <a:pt x="1708" y="953"/>
                </a:lnTo>
                <a:lnTo>
                  <a:pt x="1713" y="953"/>
                </a:lnTo>
                <a:lnTo>
                  <a:pt x="1716" y="954"/>
                </a:lnTo>
                <a:lnTo>
                  <a:pt x="1719" y="955"/>
                </a:lnTo>
                <a:lnTo>
                  <a:pt x="1721" y="956"/>
                </a:lnTo>
                <a:lnTo>
                  <a:pt x="1724" y="958"/>
                </a:lnTo>
                <a:lnTo>
                  <a:pt x="1725" y="961"/>
                </a:lnTo>
                <a:lnTo>
                  <a:pt x="1727" y="964"/>
                </a:lnTo>
                <a:lnTo>
                  <a:pt x="1727" y="967"/>
                </a:lnTo>
                <a:lnTo>
                  <a:pt x="1728" y="970"/>
                </a:lnTo>
                <a:lnTo>
                  <a:pt x="1727" y="974"/>
                </a:lnTo>
                <a:lnTo>
                  <a:pt x="1725" y="977"/>
                </a:lnTo>
                <a:lnTo>
                  <a:pt x="1723" y="980"/>
                </a:lnTo>
                <a:lnTo>
                  <a:pt x="1720" y="983"/>
                </a:lnTo>
                <a:lnTo>
                  <a:pt x="1715" y="984"/>
                </a:lnTo>
                <a:lnTo>
                  <a:pt x="1711" y="985"/>
                </a:lnTo>
                <a:lnTo>
                  <a:pt x="1707" y="984"/>
                </a:lnTo>
                <a:lnTo>
                  <a:pt x="1705" y="983"/>
                </a:lnTo>
                <a:lnTo>
                  <a:pt x="1702" y="981"/>
                </a:lnTo>
                <a:lnTo>
                  <a:pt x="1700" y="979"/>
                </a:lnTo>
                <a:lnTo>
                  <a:pt x="1698" y="977"/>
                </a:lnTo>
                <a:lnTo>
                  <a:pt x="1697" y="974"/>
                </a:lnTo>
                <a:lnTo>
                  <a:pt x="1696" y="971"/>
                </a:lnTo>
                <a:lnTo>
                  <a:pt x="1696" y="968"/>
                </a:lnTo>
                <a:lnTo>
                  <a:pt x="1697" y="964"/>
                </a:lnTo>
                <a:lnTo>
                  <a:pt x="1698" y="960"/>
                </a:lnTo>
                <a:lnTo>
                  <a:pt x="1701" y="957"/>
                </a:lnTo>
                <a:lnTo>
                  <a:pt x="1704" y="955"/>
                </a:lnTo>
                <a:close/>
                <a:moveTo>
                  <a:pt x="2646" y="401"/>
                </a:moveTo>
                <a:lnTo>
                  <a:pt x="2648" y="399"/>
                </a:lnTo>
                <a:lnTo>
                  <a:pt x="2651" y="399"/>
                </a:lnTo>
                <a:lnTo>
                  <a:pt x="2657" y="399"/>
                </a:lnTo>
                <a:lnTo>
                  <a:pt x="2660" y="400"/>
                </a:lnTo>
                <a:lnTo>
                  <a:pt x="2663" y="401"/>
                </a:lnTo>
                <a:lnTo>
                  <a:pt x="2665" y="403"/>
                </a:lnTo>
                <a:lnTo>
                  <a:pt x="2667" y="406"/>
                </a:lnTo>
                <a:lnTo>
                  <a:pt x="2668" y="408"/>
                </a:lnTo>
                <a:lnTo>
                  <a:pt x="2669" y="411"/>
                </a:lnTo>
                <a:lnTo>
                  <a:pt x="2670" y="414"/>
                </a:lnTo>
                <a:lnTo>
                  <a:pt x="2669" y="417"/>
                </a:lnTo>
                <a:lnTo>
                  <a:pt x="2668" y="421"/>
                </a:lnTo>
                <a:lnTo>
                  <a:pt x="2666" y="424"/>
                </a:lnTo>
                <a:lnTo>
                  <a:pt x="2664" y="426"/>
                </a:lnTo>
                <a:lnTo>
                  <a:pt x="2662" y="428"/>
                </a:lnTo>
                <a:lnTo>
                  <a:pt x="2659" y="429"/>
                </a:lnTo>
                <a:lnTo>
                  <a:pt x="2656" y="430"/>
                </a:lnTo>
                <a:lnTo>
                  <a:pt x="2651" y="430"/>
                </a:lnTo>
                <a:lnTo>
                  <a:pt x="2647" y="429"/>
                </a:lnTo>
                <a:lnTo>
                  <a:pt x="2645" y="427"/>
                </a:lnTo>
                <a:lnTo>
                  <a:pt x="2642" y="425"/>
                </a:lnTo>
                <a:lnTo>
                  <a:pt x="2640" y="423"/>
                </a:lnTo>
                <a:lnTo>
                  <a:pt x="2639" y="420"/>
                </a:lnTo>
                <a:lnTo>
                  <a:pt x="2638" y="418"/>
                </a:lnTo>
                <a:lnTo>
                  <a:pt x="2638" y="414"/>
                </a:lnTo>
                <a:lnTo>
                  <a:pt x="2638" y="411"/>
                </a:lnTo>
                <a:lnTo>
                  <a:pt x="2639" y="408"/>
                </a:lnTo>
                <a:lnTo>
                  <a:pt x="2641" y="405"/>
                </a:lnTo>
                <a:lnTo>
                  <a:pt x="2643" y="403"/>
                </a:lnTo>
                <a:lnTo>
                  <a:pt x="2646" y="401"/>
                </a:lnTo>
                <a:close/>
                <a:moveTo>
                  <a:pt x="2504" y="379"/>
                </a:moveTo>
                <a:lnTo>
                  <a:pt x="2506" y="378"/>
                </a:lnTo>
                <a:lnTo>
                  <a:pt x="2508" y="377"/>
                </a:lnTo>
                <a:lnTo>
                  <a:pt x="2510" y="377"/>
                </a:lnTo>
                <a:lnTo>
                  <a:pt x="2513" y="377"/>
                </a:lnTo>
                <a:lnTo>
                  <a:pt x="2516" y="378"/>
                </a:lnTo>
                <a:lnTo>
                  <a:pt x="2519" y="379"/>
                </a:lnTo>
                <a:lnTo>
                  <a:pt x="2522" y="381"/>
                </a:lnTo>
                <a:lnTo>
                  <a:pt x="2524" y="383"/>
                </a:lnTo>
                <a:lnTo>
                  <a:pt x="2525" y="385"/>
                </a:lnTo>
                <a:lnTo>
                  <a:pt x="2527" y="388"/>
                </a:lnTo>
                <a:lnTo>
                  <a:pt x="2527" y="391"/>
                </a:lnTo>
                <a:lnTo>
                  <a:pt x="2527" y="394"/>
                </a:lnTo>
                <a:lnTo>
                  <a:pt x="2526" y="398"/>
                </a:lnTo>
                <a:lnTo>
                  <a:pt x="2525" y="402"/>
                </a:lnTo>
                <a:lnTo>
                  <a:pt x="2522" y="404"/>
                </a:lnTo>
                <a:lnTo>
                  <a:pt x="2519" y="407"/>
                </a:lnTo>
                <a:lnTo>
                  <a:pt x="2517" y="408"/>
                </a:lnTo>
                <a:lnTo>
                  <a:pt x="2515" y="408"/>
                </a:lnTo>
                <a:lnTo>
                  <a:pt x="2512" y="409"/>
                </a:lnTo>
                <a:lnTo>
                  <a:pt x="2510" y="409"/>
                </a:lnTo>
                <a:lnTo>
                  <a:pt x="2507" y="408"/>
                </a:lnTo>
                <a:lnTo>
                  <a:pt x="2504" y="407"/>
                </a:lnTo>
                <a:lnTo>
                  <a:pt x="2501" y="405"/>
                </a:lnTo>
                <a:lnTo>
                  <a:pt x="2499" y="403"/>
                </a:lnTo>
                <a:lnTo>
                  <a:pt x="2497" y="400"/>
                </a:lnTo>
                <a:lnTo>
                  <a:pt x="2496" y="398"/>
                </a:lnTo>
                <a:lnTo>
                  <a:pt x="2496" y="394"/>
                </a:lnTo>
                <a:lnTo>
                  <a:pt x="2496" y="391"/>
                </a:lnTo>
                <a:lnTo>
                  <a:pt x="2497" y="387"/>
                </a:lnTo>
                <a:lnTo>
                  <a:pt x="2498" y="384"/>
                </a:lnTo>
                <a:lnTo>
                  <a:pt x="2501" y="381"/>
                </a:lnTo>
                <a:lnTo>
                  <a:pt x="2504" y="379"/>
                </a:lnTo>
                <a:close/>
                <a:moveTo>
                  <a:pt x="1715" y="812"/>
                </a:moveTo>
                <a:lnTo>
                  <a:pt x="1718" y="811"/>
                </a:lnTo>
                <a:lnTo>
                  <a:pt x="1720" y="810"/>
                </a:lnTo>
                <a:lnTo>
                  <a:pt x="1723" y="810"/>
                </a:lnTo>
                <a:lnTo>
                  <a:pt x="1725" y="810"/>
                </a:lnTo>
                <a:lnTo>
                  <a:pt x="1728" y="810"/>
                </a:lnTo>
                <a:lnTo>
                  <a:pt x="1731" y="812"/>
                </a:lnTo>
                <a:lnTo>
                  <a:pt x="1734" y="813"/>
                </a:lnTo>
                <a:lnTo>
                  <a:pt x="1736" y="816"/>
                </a:lnTo>
                <a:lnTo>
                  <a:pt x="1737" y="818"/>
                </a:lnTo>
                <a:lnTo>
                  <a:pt x="1739" y="821"/>
                </a:lnTo>
                <a:lnTo>
                  <a:pt x="1739" y="824"/>
                </a:lnTo>
                <a:lnTo>
                  <a:pt x="1739" y="827"/>
                </a:lnTo>
                <a:lnTo>
                  <a:pt x="1738" y="831"/>
                </a:lnTo>
                <a:lnTo>
                  <a:pt x="1737" y="834"/>
                </a:lnTo>
                <a:lnTo>
                  <a:pt x="1734" y="837"/>
                </a:lnTo>
                <a:lnTo>
                  <a:pt x="1731" y="839"/>
                </a:lnTo>
                <a:lnTo>
                  <a:pt x="1729" y="840"/>
                </a:lnTo>
                <a:lnTo>
                  <a:pt x="1727" y="841"/>
                </a:lnTo>
                <a:lnTo>
                  <a:pt x="1724" y="841"/>
                </a:lnTo>
                <a:lnTo>
                  <a:pt x="1721" y="841"/>
                </a:lnTo>
                <a:lnTo>
                  <a:pt x="1718" y="840"/>
                </a:lnTo>
                <a:lnTo>
                  <a:pt x="1716" y="839"/>
                </a:lnTo>
                <a:lnTo>
                  <a:pt x="1713" y="837"/>
                </a:lnTo>
                <a:lnTo>
                  <a:pt x="1711" y="835"/>
                </a:lnTo>
                <a:lnTo>
                  <a:pt x="1709" y="833"/>
                </a:lnTo>
                <a:lnTo>
                  <a:pt x="1708" y="830"/>
                </a:lnTo>
                <a:lnTo>
                  <a:pt x="1708" y="827"/>
                </a:lnTo>
                <a:lnTo>
                  <a:pt x="1708" y="823"/>
                </a:lnTo>
                <a:lnTo>
                  <a:pt x="1709" y="820"/>
                </a:lnTo>
                <a:lnTo>
                  <a:pt x="1710" y="817"/>
                </a:lnTo>
                <a:lnTo>
                  <a:pt x="1713" y="814"/>
                </a:lnTo>
                <a:lnTo>
                  <a:pt x="1715" y="812"/>
                </a:lnTo>
                <a:close/>
                <a:moveTo>
                  <a:pt x="2359" y="373"/>
                </a:moveTo>
                <a:lnTo>
                  <a:pt x="2361" y="372"/>
                </a:lnTo>
                <a:lnTo>
                  <a:pt x="2362" y="372"/>
                </a:lnTo>
                <a:lnTo>
                  <a:pt x="2366" y="371"/>
                </a:lnTo>
                <a:lnTo>
                  <a:pt x="2370" y="371"/>
                </a:lnTo>
                <a:lnTo>
                  <a:pt x="2373" y="372"/>
                </a:lnTo>
                <a:lnTo>
                  <a:pt x="2375" y="374"/>
                </a:lnTo>
                <a:lnTo>
                  <a:pt x="2378" y="375"/>
                </a:lnTo>
                <a:lnTo>
                  <a:pt x="2380" y="378"/>
                </a:lnTo>
                <a:lnTo>
                  <a:pt x="2381" y="380"/>
                </a:lnTo>
                <a:lnTo>
                  <a:pt x="2382" y="383"/>
                </a:lnTo>
                <a:lnTo>
                  <a:pt x="2383" y="387"/>
                </a:lnTo>
                <a:lnTo>
                  <a:pt x="2382" y="391"/>
                </a:lnTo>
                <a:lnTo>
                  <a:pt x="2381" y="393"/>
                </a:lnTo>
                <a:lnTo>
                  <a:pt x="2381" y="395"/>
                </a:lnTo>
                <a:lnTo>
                  <a:pt x="2378" y="398"/>
                </a:lnTo>
                <a:lnTo>
                  <a:pt x="2375" y="401"/>
                </a:lnTo>
                <a:lnTo>
                  <a:pt x="2373" y="402"/>
                </a:lnTo>
                <a:lnTo>
                  <a:pt x="2371" y="402"/>
                </a:lnTo>
                <a:lnTo>
                  <a:pt x="2367" y="403"/>
                </a:lnTo>
                <a:lnTo>
                  <a:pt x="2364" y="403"/>
                </a:lnTo>
                <a:lnTo>
                  <a:pt x="2361" y="402"/>
                </a:lnTo>
                <a:lnTo>
                  <a:pt x="2358" y="400"/>
                </a:lnTo>
                <a:lnTo>
                  <a:pt x="2356" y="398"/>
                </a:lnTo>
                <a:lnTo>
                  <a:pt x="2354" y="396"/>
                </a:lnTo>
                <a:lnTo>
                  <a:pt x="2352" y="393"/>
                </a:lnTo>
                <a:lnTo>
                  <a:pt x="2351" y="390"/>
                </a:lnTo>
                <a:lnTo>
                  <a:pt x="2351" y="387"/>
                </a:lnTo>
                <a:lnTo>
                  <a:pt x="2351" y="383"/>
                </a:lnTo>
                <a:lnTo>
                  <a:pt x="2352" y="381"/>
                </a:lnTo>
                <a:lnTo>
                  <a:pt x="2353" y="379"/>
                </a:lnTo>
                <a:lnTo>
                  <a:pt x="2356" y="376"/>
                </a:lnTo>
                <a:lnTo>
                  <a:pt x="2359" y="373"/>
                </a:lnTo>
                <a:close/>
                <a:moveTo>
                  <a:pt x="1747" y="672"/>
                </a:moveTo>
                <a:lnTo>
                  <a:pt x="1750" y="670"/>
                </a:lnTo>
                <a:lnTo>
                  <a:pt x="1754" y="670"/>
                </a:lnTo>
                <a:lnTo>
                  <a:pt x="1757" y="670"/>
                </a:lnTo>
                <a:lnTo>
                  <a:pt x="1761" y="671"/>
                </a:lnTo>
                <a:lnTo>
                  <a:pt x="1764" y="672"/>
                </a:lnTo>
                <a:lnTo>
                  <a:pt x="1766" y="674"/>
                </a:lnTo>
                <a:lnTo>
                  <a:pt x="1768" y="676"/>
                </a:lnTo>
                <a:lnTo>
                  <a:pt x="1769" y="679"/>
                </a:lnTo>
                <a:lnTo>
                  <a:pt x="1770" y="682"/>
                </a:lnTo>
                <a:lnTo>
                  <a:pt x="1771" y="685"/>
                </a:lnTo>
                <a:lnTo>
                  <a:pt x="1771" y="688"/>
                </a:lnTo>
                <a:lnTo>
                  <a:pt x="1770" y="691"/>
                </a:lnTo>
                <a:lnTo>
                  <a:pt x="1767" y="696"/>
                </a:lnTo>
                <a:lnTo>
                  <a:pt x="1765" y="698"/>
                </a:lnTo>
                <a:lnTo>
                  <a:pt x="1763" y="699"/>
                </a:lnTo>
                <a:lnTo>
                  <a:pt x="1760" y="701"/>
                </a:lnTo>
                <a:lnTo>
                  <a:pt x="1756" y="701"/>
                </a:lnTo>
                <a:lnTo>
                  <a:pt x="1753" y="701"/>
                </a:lnTo>
                <a:lnTo>
                  <a:pt x="1749" y="700"/>
                </a:lnTo>
                <a:lnTo>
                  <a:pt x="1746" y="699"/>
                </a:lnTo>
                <a:lnTo>
                  <a:pt x="1744" y="697"/>
                </a:lnTo>
                <a:lnTo>
                  <a:pt x="1742" y="695"/>
                </a:lnTo>
                <a:lnTo>
                  <a:pt x="1741" y="692"/>
                </a:lnTo>
                <a:lnTo>
                  <a:pt x="1740" y="689"/>
                </a:lnTo>
                <a:lnTo>
                  <a:pt x="1739" y="686"/>
                </a:lnTo>
                <a:lnTo>
                  <a:pt x="1739" y="683"/>
                </a:lnTo>
                <a:lnTo>
                  <a:pt x="1740" y="680"/>
                </a:lnTo>
                <a:lnTo>
                  <a:pt x="1743" y="675"/>
                </a:lnTo>
                <a:lnTo>
                  <a:pt x="1745" y="673"/>
                </a:lnTo>
                <a:lnTo>
                  <a:pt x="1747" y="672"/>
                </a:lnTo>
                <a:close/>
                <a:moveTo>
                  <a:pt x="2216" y="386"/>
                </a:moveTo>
                <a:lnTo>
                  <a:pt x="2218" y="385"/>
                </a:lnTo>
                <a:lnTo>
                  <a:pt x="2221" y="384"/>
                </a:lnTo>
                <a:lnTo>
                  <a:pt x="2224" y="384"/>
                </a:lnTo>
                <a:lnTo>
                  <a:pt x="2227" y="384"/>
                </a:lnTo>
                <a:lnTo>
                  <a:pt x="2230" y="385"/>
                </a:lnTo>
                <a:lnTo>
                  <a:pt x="2233" y="387"/>
                </a:lnTo>
                <a:lnTo>
                  <a:pt x="2235" y="389"/>
                </a:lnTo>
                <a:lnTo>
                  <a:pt x="2237" y="391"/>
                </a:lnTo>
                <a:lnTo>
                  <a:pt x="2238" y="394"/>
                </a:lnTo>
                <a:lnTo>
                  <a:pt x="2239" y="397"/>
                </a:lnTo>
                <a:lnTo>
                  <a:pt x="2239" y="402"/>
                </a:lnTo>
                <a:lnTo>
                  <a:pt x="2238" y="406"/>
                </a:lnTo>
                <a:lnTo>
                  <a:pt x="2237" y="408"/>
                </a:lnTo>
                <a:lnTo>
                  <a:pt x="2235" y="410"/>
                </a:lnTo>
                <a:lnTo>
                  <a:pt x="2233" y="412"/>
                </a:lnTo>
                <a:lnTo>
                  <a:pt x="2232" y="413"/>
                </a:lnTo>
                <a:lnTo>
                  <a:pt x="2229" y="414"/>
                </a:lnTo>
                <a:lnTo>
                  <a:pt x="2226" y="415"/>
                </a:lnTo>
                <a:lnTo>
                  <a:pt x="2223" y="415"/>
                </a:lnTo>
                <a:lnTo>
                  <a:pt x="2220" y="415"/>
                </a:lnTo>
                <a:lnTo>
                  <a:pt x="2217" y="414"/>
                </a:lnTo>
                <a:lnTo>
                  <a:pt x="2214" y="412"/>
                </a:lnTo>
                <a:lnTo>
                  <a:pt x="2212" y="410"/>
                </a:lnTo>
                <a:lnTo>
                  <a:pt x="2210" y="408"/>
                </a:lnTo>
                <a:lnTo>
                  <a:pt x="2209" y="405"/>
                </a:lnTo>
                <a:lnTo>
                  <a:pt x="2208" y="402"/>
                </a:lnTo>
                <a:lnTo>
                  <a:pt x="2208" y="397"/>
                </a:lnTo>
                <a:lnTo>
                  <a:pt x="2209" y="393"/>
                </a:lnTo>
                <a:lnTo>
                  <a:pt x="2211" y="391"/>
                </a:lnTo>
                <a:lnTo>
                  <a:pt x="2212" y="389"/>
                </a:lnTo>
                <a:lnTo>
                  <a:pt x="2214" y="387"/>
                </a:lnTo>
                <a:lnTo>
                  <a:pt x="2216" y="386"/>
                </a:lnTo>
                <a:close/>
                <a:moveTo>
                  <a:pt x="2076" y="418"/>
                </a:moveTo>
                <a:lnTo>
                  <a:pt x="2079" y="417"/>
                </a:lnTo>
                <a:lnTo>
                  <a:pt x="2082" y="416"/>
                </a:lnTo>
                <a:lnTo>
                  <a:pt x="2085" y="416"/>
                </a:lnTo>
                <a:lnTo>
                  <a:pt x="2088" y="417"/>
                </a:lnTo>
                <a:lnTo>
                  <a:pt x="2091" y="418"/>
                </a:lnTo>
                <a:lnTo>
                  <a:pt x="2094" y="420"/>
                </a:lnTo>
                <a:lnTo>
                  <a:pt x="2096" y="422"/>
                </a:lnTo>
                <a:lnTo>
                  <a:pt x="2098" y="424"/>
                </a:lnTo>
                <a:lnTo>
                  <a:pt x="2099" y="427"/>
                </a:lnTo>
                <a:lnTo>
                  <a:pt x="2100" y="433"/>
                </a:lnTo>
                <a:lnTo>
                  <a:pt x="2099" y="435"/>
                </a:lnTo>
                <a:lnTo>
                  <a:pt x="2098" y="438"/>
                </a:lnTo>
                <a:lnTo>
                  <a:pt x="2097" y="440"/>
                </a:lnTo>
                <a:lnTo>
                  <a:pt x="2096" y="442"/>
                </a:lnTo>
                <a:lnTo>
                  <a:pt x="2092" y="446"/>
                </a:lnTo>
                <a:lnTo>
                  <a:pt x="2088" y="447"/>
                </a:lnTo>
                <a:lnTo>
                  <a:pt x="2085" y="448"/>
                </a:lnTo>
                <a:lnTo>
                  <a:pt x="2082" y="448"/>
                </a:lnTo>
                <a:lnTo>
                  <a:pt x="2079" y="447"/>
                </a:lnTo>
                <a:lnTo>
                  <a:pt x="2076" y="446"/>
                </a:lnTo>
                <a:lnTo>
                  <a:pt x="2074" y="444"/>
                </a:lnTo>
                <a:lnTo>
                  <a:pt x="2072" y="442"/>
                </a:lnTo>
                <a:lnTo>
                  <a:pt x="2070" y="440"/>
                </a:lnTo>
                <a:lnTo>
                  <a:pt x="2069" y="437"/>
                </a:lnTo>
                <a:lnTo>
                  <a:pt x="2068" y="431"/>
                </a:lnTo>
                <a:lnTo>
                  <a:pt x="2068" y="429"/>
                </a:lnTo>
                <a:lnTo>
                  <a:pt x="2069" y="426"/>
                </a:lnTo>
                <a:lnTo>
                  <a:pt x="2070" y="424"/>
                </a:lnTo>
                <a:lnTo>
                  <a:pt x="2072" y="422"/>
                </a:lnTo>
                <a:lnTo>
                  <a:pt x="2076" y="418"/>
                </a:lnTo>
                <a:close/>
                <a:moveTo>
                  <a:pt x="1824" y="551"/>
                </a:moveTo>
                <a:lnTo>
                  <a:pt x="1827" y="550"/>
                </a:lnTo>
                <a:lnTo>
                  <a:pt x="1829" y="550"/>
                </a:lnTo>
                <a:lnTo>
                  <a:pt x="1832" y="549"/>
                </a:lnTo>
                <a:lnTo>
                  <a:pt x="1834" y="549"/>
                </a:lnTo>
                <a:lnTo>
                  <a:pt x="1839" y="551"/>
                </a:lnTo>
                <a:lnTo>
                  <a:pt x="1841" y="552"/>
                </a:lnTo>
                <a:lnTo>
                  <a:pt x="1843" y="554"/>
                </a:lnTo>
                <a:lnTo>
                  <a:pt x="1845" y="557"/>
                </a:lnTo>
                <a:lnTo>
                  <a:pt x="1847" y="559"/>
                </a:lnTo>
                <a:lnTo>
                  <a:pt x="1848" y="562"/>
                </a:lnTo>
                <a:lnTo>
                  <a:pt x="1848" y="565"/>
                </a:lnTo>
                <a:lnTo>
                  <a:pt x="1848" y="568"/>
                </a:lnTo>
                <a:lnTo>
                  <a:pt x="1847" y="571"/>
                </a:lnTo>
                <a:lnTo>
                  <a:pt x="1845" y="574"/>
                </a:lnTo>
                <a:lnTo>
                  <a:pt x="1843" y="576"/>
                </a:lnTo>
                <a:lnTo>
                  <a:pt x="1840" y="579"/>
                </a:lnTo>
                <a:lnTo>
                  <a:pt x="1838" y="580"/>
                </a:lnTo>
                <a:lnTo>
                  <a:pt x="1835" y="581"/>
                </a:lnTo>
                <a:lnTo>
                  <a:pt x="1833" y="581"/>
                </a:lnTo>
                <a:lnTo>
                  <a:pt x="1830" y="581"/>
                </a:lnTo>
                <a:lnTo>
                  <a:pt x="1825" y="579"/>
                </a:lnTo>
                <a:lnTo>
                  <a:pt x="1823" y="578"/>
                </a:lnTo>
                <a:lnTo>
                  <a:pt x="1821" y="576"/>
                </a:lnTo>
                <a:lnTo>
                  <a:pt x="1819" y="574"/>
                </a:lnTo>
                <a:lnTo>
                  <a:pt x="1817" y="571"/>
                </a:lnTo>
                <a:lnTo>
                  <a:pt x="1817" y="568"/>
                </a:lnTo>
                <a:lnTo>
                  <a:pt x="1816" y="565"/>
                </a:lnTo>
                <a:lnTo>
                  <a:pt x="1817" y="562"/>
                </a:lnTo>
                <a:lnTo>
                  <a:pt x="1817" y="559"/>
                </a:lnTo>
                <a:lnTo>
                  <a:pt x="1819" y="556"/>
                </a:lnTo>
                <a:lnTo>
                  <a:pt x="1821" y="554"/>
                </a:lnTo>
                <a:lnTo>
                  <a:pt x="1824" y="551"/>
                </a:lnTo>
                <a:close/>
                <a:moveTo>
                  <a:pt x="1942" y="471"/>
                </a:moveTo>
                <a:lnTo>
                  <a:pt x="1945" y="469"/>
                </a:lnTo>
                <a:lnTo>
                  <a:pt x="1949" y="469"/>
                </a:lnTo>
                <a:lnTo>
                  <a:pt x="1952" y="469"/>
                </a:lnTo>
                <a:lnTo>
                  <a:pt x="1955" y="469"/>
                </a:lnTo>
                <a:lnTo>
                  <a:pt x="1958" y="471"/>
                </a:lnTo>
                <a:lnTo>
                  <a:pt x="1960" y="472"/>
                </a:lnTo>
                <a:lnTo>
                  <a:pt x="1962" y="475"/>
                </a:lnTo>
                <a:lnTo>
                  <a:pt x="1964" y="477"/>
                </a:lnTo>
                <a:lnTo>
                  <a:pt x="1965" y="480"/>
                </a:lnTo>
                <a:lnTo>
                  <a:pt x="1966" y="483"/>
                </a:lnTo>
                <a:lnTo>
                  <a:pt x="1966" y="486"/>
                </a:lnTo>
                <a:lnTo>
                  <a:pt x="1965" y="489"/>
                </a:lnTo>
                <a:lnTo>
                  <a:pt x="1964" y="492"/>
                </a:lnTo>
                <a:lnTo>
                  <a:pt x="1962" y="494"/>
                </a:lnTo>
                <a:lnTo>
                  <a:pt x="1960" y="496"/>
                </a:lnTo>
                <a:lnTo>
                  <a:pt x="1958" y="498"/>
                </a:lnTo>
                <a:lnTo>
                  <a:pt x="1954" y="499"/>
                </a:lnTo>
                <a:lnTo>
                  <a:pt x="1951" y="500"/>
                </a:lnTo>
                <a:lnTo>
                  <a:pt x="1948" y="500"/>
                </a:lnTo>
                <a:lnTo>
                  <a:pt x="1945" y="499"/>
                </a:lnTo>
                <a:lnTo>
                  <a:pt x="1942" y="498"/>
                </a:lnTo>
                <a:lnTo>
                  <a:pt x="1939" y="496"/>
                </a:lnTo>
                <a:lnTo>
                  <a:pt x="1937" y="494"/>
                </a:lnTo>
                <a:lnTo>
                  <a:pt x="1936" y="491"/>
                </a:lnTo>
                <a:lnTo>
                  <a:pt x="1934" y="488"/>
                </a:lnTo>
                <a:lnTo>
                  <a:pt x="1934" y="485"/>
                </a:lnTo>
                <a:lnTo>
                  <a:pt x="1934" y="483"/>
                </a:lnTo>
                <a:lnTo>
                  <a:pt x="1935" y="480"/>
                </a:lnTo>
                <a:lnTo>
                  <a:pt x="1936" y="477"/>
                </a:lnTo>
                <a:lnTo>
                  <a:pt x="1937" y="475"/>
                </a:lnTo>
                <a:lnTo>
                  <a:pt x="1939" y="472"/>
                </a:lnTo>
                <a:lnTo>
                  <a:pt x="1942" y="471"/>
                </a:lnTo>
                <a:close/>
                <a:moveTo>
                  <a:pt x="4755" y="1575"/>
                </a:moveTo>
                <a:lnTo>
                  <a:pt x="4758" y="1574"/>
                </a:lnTo>
                <a:lnTo>
                  <a:pt x="4761" y="1573"/>
                </a:lnTo>
                <a:lnTo>
                  <a:pt x="4764" y="1573"/>
                </a:lnTo>
                <a:lnTo>
                  <a:pt x="4767" y="1574"/>
                </a:lnTo>
                <a:lnTo>
                  <a:pt x="4770" y="1575"/>
                </a:lnTo>
                <a:lnTo>
                  <a:pt x="4773" y="1576"/>
                </a:lnTo>
                <a:lnTo>
                  <a:pt x="4775" y="1579"/>
                </a:lnTo>
                <a:lnTo>
                  <a:pt x="4777" y="1581"/>
                </a:lnTo>
                <a:lnTo>
                  <a:pt x="4778" y="1584"/>
                </a:lnTo>
                <a:lnTo>
                  <a:pt x="4779" y="1587"/>
                </a:lnTo>
                <a:lnTo>
                  <a:pt x="4779" y="1590"/>
                </a:lnTo>
                <a:lnTo>
                  <a:pt x="4778" y="1593"/>
                </a:lnTo>
                <a:lnTo>
                  <a:pt x="4777" y="1596"/>
                </a:lnTo>
                <a:lnTo>
                  <a:pt x="4775" y="1598"/>
                </a:lnTo>
                <a:lnTo>
                  <a:pt x="4773" y="1601"/>
                </a:lnTo>
                <a:lnTo>
                  <a:pt x="4771" y="1602"/>
                </a:lnTo>
                <a:lnTo>
                  <a:pt x="4768" y="1604"/>
                </a:lnTo>
                <a:lnTo>
                  <a:pt x="4765" y="1604"/>
                </a:lnTo>
                <a:lnTo>
                  <a:pt x="4762" y="1604"/>
                </a:lnTo>
                <a:lnTo>
                  <a:pt x="4759" y="1604"/>
                </a:lnTo>
                <a:lnTo>
                  <a:pt x="4756" y="1603"/>
                </a:lnTo>
                <a:lnTo>
                  <a:pt x="4753" y="1601"/>
                </a:lnTo>
                <a:lnTo>
                  <a:pt x="4751" y="1599"/>
                </a:lnTo>
                <a:lnTo>
                  <a:pt x="4749" y="1596"/>
                </a:lnTo>
                <a:lnTo>
                  <a:pt x="4748" y="1594"/>
                </a:lnTo>
                <a:lnTo>
                  <a:pt x="4747" y="1591"/>
                </a:lnTo>
                <a:lnTo>
                  <a:pt x="4747" y="1588"/>
                </a:lnTo>
                <a:lnTo>
                  <a:pt x="4748" y="1584"/>
                </a:lnTo>
                <a:lnTo>
                  <a:pt x="4749" y="1581"/>
                </a:lnTo>
                <a:lnTo>
                  <a:pt x="4751" y="1579"/>
                </a:lnTo>
                <a:lnTo>
                  <a:pt x="4753" y="1577"/>
                </a:lnTo>
                <a:lnTo>
                  <a:pt x="4755" y="1575"/>
                </a:lnTo>
                <a:close/>
                <a:moveTo>
                  <a:pt x="4617" y="1533"/>
                </a:moveTo>
                <a:lnTo>
                  <a:pt x="4620" y="1531"/>
                </a:lnTo>
                <a:lnTo>
                  <a:pt x="4624" y="1531"/>
                </a:lnTo>
                <a:lnTo>
                  <a:pt x="4627" y="1531"/>
                </a:lnTo>
                <a:lnTo>
                  <a:pt x="4630" y="1531"/>
                </a:lnTo>
                <a:lnTo>
                  <a:pt x="4633" y="1533"/>
                </a:lnTo>
                <a:lnTo>
                  <a:pt x="4636" y="1535"/>
                </a:lnTo>
                <a:lnTo>
                  <a:pt x="4638" y="1537"/>
                </a:lnTo>
                <a:lnTo>
                  <a:pt x="4639" y="1539"/>
                </a:lnTo>
                <a:lnTo>
                  <a:pt x="4640" y="1542"/>
                </a:lnTo>
                <a:lnTo>
                  <a:pt x="4641" y="1545"/>
                </a:lnTo>
                <a:lnTo>
                  <a:pt x="4641" y="1548"/>
                </a:lnTo>
                <a:lnTo>
                  <a:pt x="4640" y="1551"/>
                </a:lnTo>
                <a:lnTo>
                  <a:pt x="4639" y="1554"/>
                </a:lnTo>
                <a:lnTo>
                  <a:pt x="4637" y="1556"/>
                </a:lnTo>
                <a:lnTo>
                  <a:pt x="4635" y="1558"/>
                </a:lnTo>
                <a:lnTo>
                  <a:pt x="4633" y="1560"/>
                </a:lnTo>
                <a:lnTo>
                  <a:pt x="4630" y="1561"/>
                </a:lnTo>
                <a:lnTo>
                  <a:pt x="4627" y="1562"/>
                </a:lnTo>
                <a:lnTo>
                  <a:pt x="4624" y="1562"/>
                </a:lnTo>
                <a:lnTo>
                  <a:pt x="4620" y="1561"/>
                </a:lnTo>
                <a:lnTo>
                  <a:pt x="4617" y="1560"/>
                </a:lnTo>
                <a:lnTo>
                  <a:pt x="4615" y="1558"/>
                </a:lnTo>
                <a:lnTo>
                  <a:pt x="4613" y="1556"/>
                </a:lnTo>
                <a:lnTo>
                  <a:pt x="4611" y="1553"/>
                </a:lnTo>
                <a:lnTo>
                  <a:pt x="4610" y="1551"/>
                </a:lnTo>
                <a:lnTo>
                  <a:pt x="4610" y="1548"/>
                </a:lnTo>
                <a:lnTo>
                  <a:pt x="4610" y="1545"/>
                </a:lnTo>
                <a:lnTo>
                  <a:pt x="4610" y="1541"/>
                </a:lnTo>
                <a:lnTo>
                  <a:pt x="4612" y="1539"/>
                </a:lnTo>
                <a:lnTo>
                  <a:pt x="4613" y="1536"/>
                </a:lnTo>
                <a:lnTo>
                  <a:pt x="4615" y="1534"/>
                </a:lnTo>
                <a:lnTo>
                  <a:pt x="4617" y="1533"/>
                </a:lnTo>
                <a:close/>
                <a:moveTo>
                  <a:pt x="4482" y="1484"/>
                </a:moveTo>
                <a:lnTo>
                  <a:pt x="4485" y="1483"/>
                </a:lnTo>
                <a:lnTo>
                  <a:pt x="4488" y="1482"/>
                </a:lnTo>
                <a:lnTo>
                  <a:pt x="4492" y="1482"/>
                </a:lnTo>
                <a:lnTo>
                  <a:pt x="4495" y="1483"/>
                </a:lnTo>
                <a:lnTo>
                  <a:pt x="4498" y="1485"/>
                </a:lnTo>
                <a:lnTo>
                  <a:pt x="4500" y="1486"/>
                </a:lnTo>
                <a:lnTo>
                  <a:pt x="4502" y="1489"/>
                </a:lnTo>
                <a:lnTo>
                  <a:pt x="4504" y="1491"/>
                </a:lnTo>
                <a:lnTo>
                  <a:pt x="4505" y="1494"/>
                </a:lnTo>
                <a:lnTo>
                  <a:pt x="4505" y="1497"/>
                </a:lnTo>
                <a:lnTo>
                  <a:pt x="4505" y="1500"/>
                </a:lnTo>
                <a:lnTo>
                  <a:pt x="4504" y="1503"/>
                </a:lnTo>
                <a:lnTo>
                  <a:pt x="4503" y="1506"/>
                </a:lnTo>
                <a:lnTo>
                  <a:pt x="4501" y="1508"/>
                </a:lnTo>
                <a:lnTo>
                  <a:pt x="4500" y="1510"/>
                </a:lnTo>
                <a:lnTo>
                  <a:pt x="4497" y="1511"/>
                </a:lnTo>
                <a:lnTo>
                  <a:pt x="4494" y="1513"/>
                </a:lnTo>
                <a:lnTo>
                  <a:pt x="4491" y="1513"/>
                </a:lnTo>
                <a:lnTo>
                  <a:pt x="4487" y="1513"/>
                </a:lnTo>
                <a:lnTo>
                  <a:pt x="4484" y="1512"/>
                </a:lnTo>
                <a:lnTo>
                  <a:pt x="4481" y="1511"/>
                </a:lnTo>
                <a:lnTo>
                  <a:pt x="4479" y="1509"/>
                </a:lnTo>
                <a:lnTo>
                  <a:pt x="4477" y="1507"/>
                </a:lnTo>
                <a:lnTo>
                  <a:pt x="4475" y="1504"/>
                </a:lnTo>
                <a:lnTo>
                  <a:pt x="4474" y="1501"/>
                </a:lnTo>
                <a:lnTo>
                  <a:pt x="4474" y="1498"/>
                </a:lnTo>
                <a:lnTo>
                  <a:pt x="4474" y="1495"/>
                </a:lnTo>
                <a:lnTo>
                  <a:pt x="4475" y="1492"/>
                </a:lnTo>
                <a:lnTo>
                  <a:pt x="4476" y="1490"/>
                </a:lnTo>
                <a:lnTo>
                  <a:pt x="4478" y="1487"/>
                </a:lnTo>
                <a:lnTo>
                  <a:pt x="4480" y="1486"/>
                </a:lnTo>
                <a:lnTo>
                  <a:pt x="4482" y="1484"/>
                </a:lnTo>
                <a:close/>
                <a:moveTo>
                  <a:pt x="4349" y="1428"/>
                </a:moveTo>
                <a:lnTo>
                  <a:pt x="4352" y="1426"/>
                </a:lnTo>
                <a:lnTo>
                  <a:pt x="4356" y="1426"/>
                </a:lnTo>
                <a:lnTo>
                  <a:pt x="4360" y="1426"/>
                </a:lnTo>
                <a:lnTo>
                  <a:pt x="4364" y="1427"/>
                </a:lnTo>
                <a:lnTo>
                  <a:pt x="4366" y="1429"/>
                </a:lnTo>
                <a:lnTo>
                  <a:pt x="4369" y="1431"/>
                </a:lnTo>
                <a:lnTo>
                  <a:pt x="4370" y="1433"/>
                </a:lnTo>
                <a:lnTo>
                  <a:pt x="4372" y="1436"/>
                </a:lnTo>
                <a:lnTo>
                  <a:pt x="4372" y="1439"/>
                </a:lnTo>
                <a:lnTo>
                  <a:pt x="4373" y="1442"/>
                </a:lnTo>
                <a:lnTo>
                  <a:pt x="4372" y="1445"/>
                </a:lnTo>
                <a:lnTo>
                  <a:pt x="4371" y="1448"/>
                </a:lnTo>
                <a:lnTo>
                  <a:pt x="4370" y="1450"/>
                </a:lnTo>
                <a:lnTo>
                  <a:pt x="4368" y="1452"/>
                </a:lnTo>
                <a:lnTo>
                  <a:pt x="4367" y="1454"/>
                </a:lnTo>
                <a:lnTo>
                  <a:pt x="4365" y="1455"/>
                </a:lnTo>
                <a:lnTo>
                  <a:pt x="4361" y="1456"/>
                </a:lnTo>
                <a:lnTo>
                  <a:pt x="4358" y="1457"/>
                </a:lnTo>
                <a:lnTo>
                  <a:pt x="4354" y="1457"/>
                </a:lnTo>
                <a:lnTo>
                  <a:pt x="4350" y="1456"/>
                </a:lnTo>
                <a:lnTo>
                  <a:pt x="4348" y="1454"/>
                </a:lnTo>
                <a:lnTo>
                  <a:pt x="4345" y="1452"/>
                </a:lnTo>
                <a:lnTo>
                  <a:pt x="4343" y="1449"/>
                </a:lnTo>
                <a:lnTo>
                  <a:pt x="4342" y="1447"/>
                </a:lnTo>
                <a:lnTo>
                  <a:pt x="4341" y="1444"/>
                </a:lnTo>
                <a:lnTo>
                  <a:pt x="4341" y="1441"/>
                </a:lnTo>
                <a:lnTo>
                  <a:pt x="4342" y="1438"/>
                </a:lnTo>
                <a:lnTo>
                  <a:pt x="4343" y="1435"/>
                </a:lnTo>
                <a:lnTo>
                  <a:pt x="4344" y="1433"/>
                </a:lnTo>
                <a:lnTo>
                  <a:pt x="4345" y="1431"/>
                </a:lnTo>
                <a:lnTo>
                  <a:pt x="4347" y="1429"/>
                </a:lnTo>
                <a:lnTo>
                  <a:pt x="4349" y="1428"/>
                </a:lnTo>
                <a:close/>
                <a:moveTo>
                  <a:pt x="4221" y="1361"/>
                </a:moveTo>
                <a:lnTo>
                  <a:pt x="4225" y="1359"/>
                </a:lnTo>
                <a:lnTo>
                  <a:pt x="4229" y="1359"/>
                </a:lnTo>
                <a:lnTo>
                  <a:pt x="4233" y="1359"/>
                </a:lnTo>
                <a:lnTo>
                  <a:pt x="4237" y="1361"/>
                </a:lnTo>
                <a:lnTo>
                  <a:pt x="4240" y="1363"/>
                </a:lnTo>
                <a:lnTo>
                  <a:pt x="4242" y="1365"/>
                </a:lnTo>
                <a:lnTo>
                  <a:pt x="4243" y="1368"/>
                </a:lnTo>
                <a:lnTo>
                  <a:pt x="4244" y="1370"/>
                </a:lnTo>
                <a:lnTo>
                  <a:pt x="4245" y="1373"/>
                </a:lnTo>
                <a:lnTo>
                  <a:pt x="4245" y="1376"/>
                </a:lnTo>
                <a:lnTo>
                  <a:pt x="4244" y="1379"/>
                </a:lnTo>
                <a:lnTo>
                  <a:pt x="4243" y="1382"/>
                </a:lnTo>
                <a:lnTo>
                  <a:pt x="4240" y="1386"/>
                </a:lnTo>
                <a:lnTo>
                  <a:pt x="4237" y="1388"/>
                </a:lnTo>
                <a:lnTo>
                  <a:pt x="4233" y="1390"/>
                </a:lnTo>
                <a:lnTo>
                  <a:pt x="4229" y="1390"/>
                </a:lnTo>
                <a:lnTo>
                  <a:pt x="4225" y="1390"/>
                </a:lnTo>
                <a:lnTo>
                  <a:pt x="4221" y="1388"/>
                </a:lnTo>
                <a:lnTo>
                  <a:pt x="4219" y="1386"/>
                </a:lnTo>
                <a:lnTo>
                  <a:pt x="4217" y="1384"/>
                </a:lnTo>
                <a:lnTo>
                  <a:pt x="4215" y="1382"/>
                </a:lnTo>
                <a:lnTo>
                  <a:pt x="4214" y="1379"/>
                </a:lnTo>
                <a:lnTo>
                  <a:pt x="4214" y="1376"/>
                </a:lnTo>
                <a:lnTo>
                  <a:pt x="4214" y="1373"/>
                </a:lnTo>
                <a:lnTo>
                  <a:pt x="4214" y="1370"/>
                </a:lnTo>
                <a:lnTo>
                  <a:pt x="4216" y="1367"/>
                </a:lnTo>
                <a:lnTo>
                  <a:pt x="4218" y="1363"/>
                </a:lnTo>
                <a:lnTo>
                  <a:pt x="4221" y="1361"/>
                </a:lnTo>
                <a:close/>
                <a:moveTo>
                  <a:pt x="4096" y="1290"/>
                </a:moveTo>
                <a:lnTo>
                  <a:pt x="4100" y="1288"/>
                </a:lnTo>
                <a:lnTo>
                  <a:pt x="4104" y="1288"/>
                </a:lnTo>
                <a:lnTo>
                  <a:pt x="4108" y="1288"/>
                </a:lnTo>
                <a:lnTo>
                  <a:pt x="4112" y="1290"/>
                </a:lnTo>
                <a:lnTo>
                  <a:pt x="4114" y="1292"/>
                </a:lnTo>
                <a:lnTo>
                  <a:pt x="4116" y="1294"/>
                </a:lnTo>
                <a:lnTo>
                  <a:pt x="4118" y="1297"/>
                </a:lnTo>
                <a:lnTo>
                  <a:pt x="4119" y="1299"/>
                </a:lnTo>
                <a:lnTo>
                  <a:pt x="4120" y="1302"/>
                </a:lnTo>
                <a:lnTo>
                  <a:pt x="4120" y="1305"/>
                </a:lnTo>
                <a:lnTo>
                  <a:pt x="4119" y="1308"/>
                </a:lnTo>
                <a:lnTo>
                  <a:pt x="4118" y="1311"/>
                </a:lnTo>
                <a:lnTo>
                  <a:pt x="4115" y="1315"/>
                </a:lnTo>
                <a:lnTo>
                  <a:pt x="4112" y="1317"/>
                </a:lnTo>
                <a:lnTo>
                  <a:pt x="4108" y="1319"/>
                </a:lnTo>
                <a:lnTo>
                  <a:pt x="4104" y="1319"/>
                </a:lnTo>
                <a:lnTo>
                  <a:pt x="4100" y="1319"/>
                </a:lnTo>
                <a:lnTo>
                  <a:pt x="4096" y="1317"/>
                </a:lnTo>
                <a:lnTo>
                  <a:pt x="4094" y="1315"/>
                </a:lnTo>
                <a:lnTo>
                  <a:pt x="4092" y="1313"/>
                </a:lnTo>
                <a:lnTo>
                  <a:pt x="4090" y="1311"/>
                </a:lnTo>
                <a:lnTo>
                  <a:pt x="4089" y="1308"/>
                </a:lnTo>
                <a:lnTo>
                  <a:pt x="4088" y="1305"/>
                </a:lnTo>
                <a:lnTo>
                  <a:pt x="4088" y="1302"/>
                </a:lnTo>
                <a:lnTo>
                  <a:pt x="4089" y="1299"/>
                </a:lnTo>
                <a:lnTo>
                  <a:pt x="4090" y="1296"/>
                </a:lnTo>
                <a:lnTo>
                  <a:pt x="4093" y="1293"/>
                </a:lnTo>
                <a:lnTo>
                  <a:pt x="4096" y="1290"/>
                </a:lnTo>
                <a:close/>
                <a:moveTo>
                  <a:pt x="3969" y="1220"/>
                </a:moveTo>
                <a:lnTo>
                  <a:pt x="3973" y="1218"/>
                </a:lnTo>
                <a:lnTo>
                  <a:pt x="3977" y="1218"/>
                </a:lnTo>
                <a:lnTo>
                  <a:pt x="3979" y="1218"/>
                </a:lnTo>
                <a:lnTo>
                  <a:pt x="3981" y="1218"/>
                </a:lnTo>
                <a:lnTo>
                  <a:pt x="3985" y="1220"/>
                </a:lnTo>
                <a:lnTo>
                  <a:pt x="3987" y="1222"/>
                </a:lnTo>
                <a:lnTo>
                  <a:pt x="3989" y="1224"/>
                </a:lnTo>
                <a:lnTo>
                  <a:pt x="3991" y="1226"/>
                </a:lnTo>
                <a:lnTo>
                  <a:pt x="3992" y="1229"/>
                </a:lnTo>
                <a:lnTo>
                  <a:pt x="3993" y="1232"/>
                </a:lnTo>
                <a:lnTo>
                  <a:pt x="3993" y="1235"/>
                </a:lnTo>
                <a:lnTo>
                  <a:pt x="3992" y="1238"/>
                </a:lnTo>
                <a:lnTo>
                  <a:pt x="3991" y="1241"/>
                </a:lnTo>
                <a:lnTo>
                  <a:pt x="3988" y="1245"/>
                </a:lnTo>
                <a:lnTo>
                  <a:pt x="3985" y="1247"/>
                </a:lnTo>
                <a:lnTo>
                  <a:pt x="3981" y="1249"/>
                </a:lnTo>
                <a:lnTo>
                  <a:pt x="3977" y="1249"/>
                </a:lnTo>
                <a:lnTo>
                  <a:pt x="3975" y="1249"/>
                </a:lnTo>
                <a:lnTo>
                  <a:pt x="3973" y="1249"/>
                </a:lnTo>
                <a:lnTo>
                  <a:pt x="3970" y="1247"/>
                </a:lnTo>
                <a:lnTo>
                  <a:pt x="3967" y="1245"/>
                </a:lnTo>
                <a:lnTo>
                  <a:pt x="3965" y="1243"/>
                </a:lnTo>
                <a:lnTo>
                  <a:pt x="3963" y="1241"/>
                </a:lnTo>
                <a:lnTo>
                  <a:pt x="3962" y="1238"/>
                </a:lnTo>
                <a:lnTo>
                  <a:pt x="3962" y="1235"/>
                </a:lnTo>
                <a:lnTo>
                  <a:pt x="3962" y="1232"/>
                </a:lnTo>
                <a:lnTo>
                  <a:pt x="3962" y="1229"/>
                </a:lnTo>
                <a:lnTo>
                  <a:pt x="3963" y="1226"/>
                </a:lnTo>
                <a:lnTo>
                  <a:pt x="3966" y="1223"/>
                </a:lnTo>
                <a:lnTo>
                  <a:pt x="3969" y="1220"/>
                </a:lnTo>
                <a:close/>
                <a:moveTo>
                  <a:pt x="3843" y="1151"/>
                </a:moveTo>
                <a:lnTo>
                  <a:pt x="3846" y="1150"/>
                </a:lnTo>
                <a:lnTo>
                  <a:pt x="3850" y="1149"/>
                </a:lnTo>
                <a:lnTo>
                  <a:pt x="3852" y="1149"/>
                </a:lnTo>
                <a:lnTo>
                  <a:pt x="3854" y="1150"/>
                </a:lnTo>
                <a:lnTo>
                  <a:pt x="3858" y="1151"/>
                </a:lnTo>
                <a:lnTo>
                  <a:pt x="3861" y="1153"/>
                </a:lnTo>
                <a:lnTo>
                  <a:pt x="3863" y="1155"/>
                </a:lnTo>
                <a:lnTo>
                  <a:pt x="3864" y="1157"/>
                </a:lnTo>
                <a:lnTo>
                  <a:pt x="3866" y="1160"/>
                </a:lnTo>
                <a:lnTo>
                  <a:pt x="3866" y="1163"/>
                </a:lnTo>
                <a:lnTo>
                  <a:pt x="3866" y="1166"/>
                </a:lnTo>
                <a:lnTo>
                  <a:pt x="3866" y="1169"/>
                </a:lnTo>
                <a:lnTo>
                  <a:pt x="3864" y="1172"/>
                </a:lnTo>
                <a:lnTo>
                  <a:pt x="3862" y="1176"/>
                </a:lnTo>
                <a:lnTo>
                  <a:pt x="3858" y="1178"/>
                </a:lnTo>
                <a:lnTo>
                  <a:pt x="3855" y="1180"/>
                </a:lnTo>
                <a:lnTo>
                  <a:pt x="3851" y="1180"/>
                </a:lnTo>
                <a:lnTo>
                  <a:pt x="3849" y="1180"/>
                </a:lnTo>
                <a:lnTo>
                  <a:pt x="3847" y="1180"/>
                </a:lnTo>
                <a:lnTo>
                  <a:pt x="3843" y="1179"/>
                </a:lnTo>
                <a:lnTo>
                  <a:pt x="3841" y="1177"/>
                </a:lnTo>
                <a:lnTo>
                  <a:pt x="3838" y="1175"/>
                </a:lnTo>
                <a:lnTo>
                  <a:pt x="3837" y="1172"/>
                </a:lnTo>
                <a:lnTo>
                  <a:pt x="3836" y="1169"/>
                </a:lnTo>
                <a:lnTo>
                  <a:pt x="3835" y="1166"/>
                </a:lnTo>
                <a:lnTo>
                  <a:pt x="3835" y="1163"/>
                </a:lnTo>
                <a:lnTo>
                  <a:pt x="3836" y="1160"/>
                </a:lnTo>
                <a:lnTo>
                  <a:pt x="3837" y="1157"/>
                </a:lnTo>
                <a:lnTo>
                  <a:pt x="3839" y="1154"/>
                </a:lnTo>
                <a:lnTo>
                  <a:pt x="3843" y="1151"/>
                </a:lnTo>
                <a:close/>
                <a:moveTo>
                  <a:pt x="3715" y="1084"/>
                </a:moveTo>
                <a:lnTo>
                  <a:pt x="3717" y="1083"/>
                </a:lnTo>
                <a:lnTo>
                  <a:pt x="3719" y="1083"/>
                </a:lnTo>
                <a:lnTo>
                  <a:pt x="3723" y="1082"/>
                </a:lnTo>
                <a:lnTo>
                  <a:pt x="3726" y="1083"/>
                </a:lnTo>
                <a:lnTo>
                  <a:pt x="3730" y="1084"/>
                </a:lnTo>
                <a:lnTo>
                  <a:pt x="3733" y="1086"/>
                </a:lnTo>
                <a:lnTo>
                  <a:pt x="3735" y="1088"/>
                </a:lnTo>
                <a:lnTo>
                  <a:pt x="3737" y="1090"/>
                </a:lnTo>
                <a:lnTo>
                  <a:pt x="3738" y="1093"/>
                </a:lnTo>
                <a:lnTo>
                  <a:pt x="3739" y="1099"/>
                </a:lnTo>
                <a:lnTo>
                  <a:pt x="3738" y="1102"/>
                </a:lnTo>
                <a:lnTo>
                  <a:pt x="3737" y="1105"/>
                </a:lnTo>
                <a:lnTo>
                  <a:pt x="3736" y="1107"/>
                </a:lnTo>
                <a:lnTo>
                  <a:pt x="3734" y="1109"/>
                </a:lnTo>
                <a:lnTo>
                  <a:pt x="3731" y="1111"/>
                </a:lnTo>
                <a:lnTo>
                  <a:pt x="3729" y="1112"/>
                </a:lnTo>
                <a:lnTo>
                  <a:pt x="3727" y="1113"/>
                </a:lnTo>
                <a:lnTo>
                  <a:pt x="3724" y="1114"/>
                </a:lnTo>
                <a:lnTo>
                  <a:pt x="3720" y="1113"/>
                </a:lnTo>
                <a:lnTo>
                  <a:pt x="3716" y="1112"/>
                </a:lnTo>
                <a:lnTo>
                  <a:pt x="3713" y="1110"/>
                </a:lnTo>
                <a:lnTo>
                  <a:pt x="3711" y="1108"/>
                </a:lnTo>
                <a:lnTo>
                  <a:pt x="3709" y="1105"/>
                </a:lnTo>
                <a:lnTo>
                  <a:pt x="3708" y="1103"/>
                </a:lnTo>
                <a:lnTo>
                  <a:pt x="3707" y="1097"/>
                </a:lnTo>
                <a:lnTo>
                  <a:pt x="3708" y="1094"/>
                </a:lnTo>
                <a:lnTo>
                  <a:pt x="3709" y="1091"/>
                </a:lnTo>
                <a:lnTo>
                  <a:pt x="3710" y="1089"/>
                </a:lnTo>
                <a:lnTo>
                  <a:pt x="3712" y="1087"/>
                </a:lnTo>
                <a:lnTo>
                  <a:pt x="3715" y="1084"/>
                </a:lnTo>
                <a:close/>
                <a:moveTo>
                  <a:pt x="3587" y="1020"/>
                </a:moveTo>
                <a:lnTo>
                  <a:pt x="3588" y="1019"/>
                </a:lnTo>
                <a:lnTo>
                  <a:pt x="3590" y="1018"/>
                </a:lnTo>
                <a:lnTo>
                  <a:pt x="3594" y="1018"/>
                </a:lnTo>
                <a:lnTo>
                  <a:pt x="3597" y="1018"/>
                </a:lnTo>
                <a:lnTo>
                  <a:pt x="3601" y="1019"/>
                </a:lnTo>
                <a:lnTo>
                  <a:pt x="3604" y="1021"/>
                </a:lnTo>
                <a:lnTo>
                  <a:pt x="3606" y="1023"/>
                </a:lnTo>
                <a:lnTo>
                  <a:pt x="3608" y="1026"/>
                </a:lnTo>
                <a:lnTo>
                  <a:pt x="3609" y="1028"/>
                </a:lnTo>
                <a:lnTo>
                  <a:pt x="3610" y="1031"/>
                </a:lnTo>
                <a:lnTo>
                  <a:pt x="3610" y="1034"/>
                </a:lnTo>
                <a:lnTo>
                  <a:pt x="3610" y="1037"/>
                </a:lnTo>
                <a:lnTo>
                  <a:pt x="3608" y="1040"/>
                </a:lnTo>
                <a:lnTo>
                  <a:pt x="3607" y="1042"/>
                </a:lnTo>
                <a:lnTo>
                  <a:pt x="3606" y="1044"/>
                </a:lnTo>
                <a:lnTo>
                  <a:pt x="3604" y="1046"/>
                </a:lnTo>
                <a:lnTo>
                  <a:pt x="3602" y="1047"/>
                </a:lnTo>
                <a:lnTo>
                  <a:pt x="3601" y="1048"/>
                </a:lnTo>
                <a:lnTo>
                  <a:pt x="3599" y="1049"/>
                </a:lnTo>
                <a:lnTo>
                  <a:pt x="3595" y="1049"/>
                </a:lnTo>
                <a:lnTo>
                  <a:pt x="3591" y="1049"/>
                </a:lnTo>
                <a:lnTo>
                  <a:pt x="3588" y="1048"/>
                </a:lnTo>
                <a:lnTo>
                  <a:pt x="3585" y="1046"/>
                </a:lnTo>
                <a:lnTo>
                  <a:pt x="3583" y="1044"/>
                </a:lnTo>
                <a:lnTo>
                  <a:pt x="3581" y="1041"/>
                </a:lnTo>
                <a:lnTo>
                  <a:pt x="3580" y="1039"/>
                </a:lnTo>
                <a:lnTo>
                  <a:pt x="3579" y="1036"/>
                </a:lnTo>
                <a:lnTo>
                  <a:pt x="3579" y="1033"/>
                </a:lnTo>
                <a:lnTo>
                  <a:pt x="3579" y="1030"/>
                </a:lnTo>
                <a:lnTo>
                  <a:pt x="3580" y="1027"/>
                </a:lnTo>
                <a:lnTo>
                  <a:pt x="3581" y="1025"/>
                </a:lnTo>
                <a:lnTo>
                  <a:pt x="3583" y="1023"/>
                </a:lnTo>
                <a:lnTo>
                  <a:pt x="3585" y="1021"/>
                </a:lnTo>
                <a:lnTo>
                  <a:pt x="3587" y="1020"/>
                </a:lnTo>
                <a:close/>
                <a:moveTo>
                  <a:pt x="1349" y="2220"/>
                </a:moveTo>
                <a:lnTo>
                  <a:pt x="1352" y="2219"/>
                </a:lnTo>
                <a:lnTo>
                  <a:pt x="1355" y="2218"/>
                </a:lnTo>
                <a:lnTo>
                  <a:pt x="1359" y="2218"/>
                </a:lnTo>
                <a:lnTo>
                  <a:pt x="1362" y="2219"/>
                </a:lnTo>
                <a:lnTo>
                  <a:pt x="1364" y="2220"/>
                </a:lnTo>
                <a:lnTo>
                  <a:pt x="1367" y="2222"/>
                </a:lnTo>
                <a:lnTo>
                  <a:pt x="1369" y="2224"/>
                </a:lnTo>
                <a:lnTo>
                  <a:pt x="1371" y="2226"/>
                </a:lnTo>
                <a:lnTo>
                  <a:pt x="1372" y="2229"/>
                </a:lnTo>
                <a:lnTo>
                  <a:pt x="1373" y="2232"/>
                </a:lnTo>
                <a:lnTo>
                  <a:pt x="1373" y="2235"/>
                </a:lnTo>
                <a:lnTo>
                  <a:pt x="1372" y="2238"/>
                </a:lnTo>
                <a:lnTo>
                  <a:pt x="1371" y="2241"/>
                </a:lnTo>
                <a:lnTo>
                  <a:pt x="1370" y="2243"/>
                </a:lnTo>
                <a:lnTo>
                  <a:pt x="1367" y="2246"/>
                </a:lnTo>
                <a:lnTo>
                  <a:pt x="1365" y="2247"/>
                </a:lnTo>
                <a:lnTo>
                  <a:pt x="1362" y="2249"/>
                </a:lnTo>
                <a:lnTo>
                  <a:pt x="1359" y="2249"/>
                </a:lnTo>
                <a:lnTo>
                  <a:pt x="1356" y="2249"/>
                </a:lnTo>
                <a:lnTo>
                  <a:pt x="1353" y="2249"/>
                </a:lnTo>
                <a:lnTo>
                  <a:pt x="1350" y="2248"/>
                </a:lnTo>
                <a:lnTo>
                  <a:pt x="1347" y="2246"/>
                </a:lnTo>
                <a:lnTo>
                  <a:pt x="1345" y="2244"/>
                </a:lnTo>
                <a:lnTo>
                  <a:pt x="1343" y="2241"/>
                </a:lnTo>
                <a:lnTo>
                  <a:pt x="1342" y="2238"/>
                </a:lnTo>
                <a:lnTo>
                  <a:pt x="1341" y="2235"/>
                </a:lnTo>
                <a:lnTo>
                  <a:pt x="1341" y="2232"/>
                </a:lnTo>
                <a:lnTo>
                  <a:pt x="1342" y="2230"/>
                </a:lnTo>
                <a:lnTo>
                  <a:pt x="1343" y="2227"/>
                </a:lnTo>
                <a:lnTo>
                  <a:pt x="1345" y="2224"/>
                </a:lnTo>
                <a:lnTo>
                  <a:pt x="1347" y="2222"/>
                </a:lnTo>
                <a:lnTo>
                  <a:pt x="1349" y="2220"/>
                </a:lnTo>
                <a:close/>
                <a:moveTo>
                  <a:pt x="1473" y="2148"/>
                </a:moveTo>
                <a:lnTo>
                  <a:pt x="1476" y="2146"/>
                </a:lnTo>
                <a:lnTo>
                  <a:pt x="1479" y="2146"/>
                </a:lnTo>
                <a:lnTo>
                  <a:pt x="1482" y="2146"/>
                </a:lnTo>
                <a:lnTo>
                  <a:pt x="1485" y="2146"/>
                </a:lnTo>
                <a:lnTo>
                  <a:pt x="1488" y="2147"/>
                </a:lnTo>
                <a:lnTo>
                  <a:pt x="1490" y="2148"/>
                </a:lnTo>
                <a:lnTo>
                  <a:pt x="1493" y="2150"/>
                </a:lnTo>
                <a:lnTo>
                  <a:pt x="1494" y="2153"/>
                </a:lnTo>
                <a:lnTo>
                  <a:pt x="1496" y="2156"/>
                </a:lnTo>
                <a:lnTo>
                  <a:pt x="1497" y="2159"/>
                </a:lnTo>
                <a:lnTo>
                  <a:pt x="1497" y="2162"/>
                </a:lnTo>
                <a:lnTo>
                  <a:pt x="1497" y="2165"/>
                </a:lnTo>
                <a:lnTo>
                  <a:pt x="1496" y="2168"/>
                </a:lnTo>
                <a:lnTo>
                  <a:pt x="1494" y="2170"/>
                </a:lnTo>
                <a:lnTo>
                  <a:pt x="1492" y="2173"/>
                </a:lnTo>
                <a:lnTo>
                  <a:pt x="1490" y="2174"/>
                </a:lnTo>
                <a:lnTo>
                  <a:pt x="1487" y="2176"/>
                </a:lnTo>
                <a:lnTo>
                  <a:pt x="1484" y="2177"/>
                </a:lnTo>
                <a:lnTo>
                  <a:pt x="1481" y="2177"/>
                </a:lnTo>
                <a:lnTo>
                  <a:pt x="1478" y="2176"/>
                </a:lnTo>
                <a:lnTo>
                  <a:pt x="1475" y="2175"/>
                </a:lnTo>
                <a:lnTo>
                  <a:pt x="1472" y="2174"/>
                </a:lnTo>
                <a:lnTo>
                  <a:pt x="1470" y="2172"/>
                </a:lnTo>
                <a:lnTo>
                  <a:pt x="1468" y="2170"/>
                </a:lnTo>
                <a:lnTo>
                  <a:pt x="1467" y="2167"/>
                </a:lnTo>
                <a:lnTo>
                  <a:pt x="1466" y="2164"/>
                </a:lnTo>
                <a:lnTo>
                  <a:pt x="1466" y="2161"/>
                </a:lnTo>
                <a:lnTo>
                  <a:pt x="1466" y="2158"/>
                </a:lnTo>
                <a:lnTo>
                  <a:pt x="1467" y="2155"/>
                </a:lnTo>
                <a:lnTo>
                  <a:pt x="1468" y="2152"/>
                </a:lnTo>
                <a:lnTo>
                  <a:pt x="1470" y="2150"/>
                </a:lnTo>
                <a:lnTo>
                  <a:pt x="1473" y="2148"/>
                </a:lnTo>
                <a:close/>
                <a:moveTo>
                  <a:pt x="1099" y="2362"/>
                </a:moveTo>
                <a:lnTo>
                  <a:pt x="1102" y="2361"/>
                </a:lnTo>
                <a:lnTo>
                  <a:pt x="1105" y="2360"/>
                </a:lnTo>
                <a:lnTo>
                  <a:pt x="1108" y="2360"/>
                </a:lnTo>
                <a:lnTo>
                  <a:pt x="1110" y="2361"/>
                </a:lnTo>
                <a:lnTo>
                  <a:pt x="1113" y="2362"/>
                </a:lnTo>
                <a:lnTo>
                  <a:pt x="1116" y="2363"/>
                </a:lnTo>
                <a:lnTo>
                  <a:pt x="1118" y="2365"/>
                </a:lnTo>
                <a:lnTo>
                  <a:pt x="1120" y="2367"/>
                </a:lnTo>
                <a:lnTo>
                  <a:pt x="1121" y="2369"/>
                </a:lnTo>
                <a:lnTo>
                  <a:pt x="1122" y="2371"/>
                </a:lnTo>
                <a:lnTo>
                  <a:pt x="1123" y="2375"/>
                </a:lnTo>
                <a:lnTo>
                  <a:pt x="1122" y="2379"/>
                </a:lnTo>
                <a:lnTo>
                  <a:pt x="1121" y="2383"/>
                </a:lnTo>
                <a:lnTo>
                  <a:pt x="1093" y="2383"/>
                </a:lnTo>
                <a:lnTo>
                  <a:pt x="1092" y="2380"/>
                </a:lnTo>
                <a:lnTo>
                  <a:pt x="1091" y="2378"/>
                </a:lnTo>
                <a:lnTo>
                  <a:pt x="1091" y="2375"/>
                </a:lnTo>
                <a:lnTo>
                  <a:pt x="1092" y="2372"/>
                </a:lnTo>
                <a:lnTo>
                  <a:pt x="1093" y="2369"/>
                </a:lnTo>
                <a:lnTo>
                  <a:pt x="1094" y="2367"/>
                </a:lnTo>
                <a:lnTo>
                  <a:pt x="1096" y="2365"/>
                </a:lnTo>
                <a:lnTo>
                  <a:pt x="1098" y="2363"/>
                </a:lnTo>
                <a:lnTo>
                  <a:pt x="1099" y="2362"/>
                </a:lnTo>
                <a:close/>
                <a:moveTo>
                  <a:pt x="1222" y="2288"/>
                </a:moveTo>
                <a:lnTo>
                  <a:pt x="1225" y="2286"/>
                </a:lnTo>
                <a:lnTo>
                  <a:pt x="1228" y="2286"/>
                </a:lnTo>
                <a:lnTo>
                  <a:pt x="1231" y="2286"/>
                </a:lnTo>
                <a:lnTo>
                  <a:pt x="1234" y="2286"/>
                </a:lnTo>
                <a:lnTo>
                  <a:pt x="1237" y="2287"/>
                </a:lnTo>
                <a:lnTo>
                  <a:pt x="1240" y="2289"/>
                </a:lnTo>
                <a:lnTo>
                  <a:pt x="1242" y="2291"/>
                </a:lnTo>
                <a:lnTo>
                  <a:pt x="1244" y="2294"/>
                </a:lnTo>
                <a:lnTo>
                  <a:pt x="1245" y="2297"/>
                </a:lnTo>
                <a:lnTo>
                  <a:pt x="1245" y="2300"/>
                </a:lnTo>
                <a:lnTo>
                  <a:pt x="1246" y="2303"/>
                </a:lnTo>
                <a:lnTo>
                  <a:pt x="1245" y="2305"/>
                </a:lnTo>
                <a:lnTo>
                  <a:pt x="1244" y="2308"/>
                </a:lnTo>
                <a:lnTo>
                  <a:pt x="1242" y="2311"/>
                </a:lnTo>
                <a:lnTo>
                  <a:pt x="1240" y="2313"/>
                </a:lnTo>
                <a:lnTo>
                  <a:pt x="1238" y="2315"/>
                </a:lnTo>
                <a:lnTo>
                  <a:pt x="1235" y="2316"/>
                </a:lnTo>
                <a:lnTo>
                  <a:pt x="1232" y="2317"/>
                </a:lnTo>
                <a:lnTo>
                  <a:pt x="1229" y="2317"/>
                </a:lnTo>
                <a:lnTo>
                  <a:pt x="1226" y="2316"/>
                </a:lnTo>
                <a:lnTo>
                  <a:pt x="1223" y="2315"/>
                </a:lnTo>
                <a:lnTo>
                  <a:pt x="1220" y="2314"/>
                </a:lnTo>
                <a:lnTo>
                  <a:pt x="1218" y="2312"/>
                </a:lnTo>
                <a:lnTo>
                  <a:pt x="1216" y="2309"/>
                </a:lnTo>
                <a:lnTo>
                  <a:pt x="1215" y="2306"/>
                </a:lnTo>
                <a:lnTo>
                  <a:pt x="1214" y="2303"/>
                </a:lnTo>
                <a:lnTo>
                  <a:pt x="1214" y="2300"/>
                </a:lnTo>
                <a:lnTo>
                  <a:pt x="1215" y="2297"/>
                </a:lnTo>
                <a:lnTo>
                  <a:pt x="1216" y="2294"/>
                </a:lnTo>
                <a:lnTo>
                  <a:pt x="1217" y="2292"/>
                </a:lnTo>
                <a:lnTo>
                  <a:pt x="1219" y="2290"/>
                </a:lnTo>
                <a:lnTo>
                  <a:pt x="1222" y="2288"/>
                </a:lnTo>
                <a:close/>
                <a:moveTo>
                  <a:pt x="1591" y="2066"/>
                </a:moveTo>
                <a:lnTo>
                  <a:pt x="1594" y="2064"/>
                </a:lnTo>
                <a:lnTo>
                  <a:pt x="1597" y="2064"/>
                </a:lnTo>
                <a:lnTo>
                  <a:pt x="1602" y="2064"/>
                </a:lnTo>
                <a:lnTo>
                  <a:pt x="1605" y="2065"/>
                </a:lnTo>
                <a:lnTo>
                  <a:pt x="1607" y="2066"/>
                </a:lnTo>
                <a:lnTo>
                  <a:pt x="1610" y="2067"/>
                </a:lnTo>
                <a:lnTo>
                  <a:pt x="1611" y="2069"/>
                </a:lnTo>
                <a:lnTo>
                  <a:pt x="1612" y="2070"/>
                </a:lnTo>
                <a:lnTo>
                  <a:pt x="1613" y="2072"/>
                </a:lnTo>
                <a:lnTo>
                  <a:pt x="1614" y="2075"/>
                </a:lnTo>
                <a:lnTo>
                  <a:pt x="1615" y="2078"/>
                </a:lnTo>
                <a:lnTo>
                  <a:pt x="1615" y="2081"/>
                </a:lnTo>
                <a:lnTo>
                  <a:pt x="1614" y="2084"/>
                </a:lnTo>
                <a:lnTo>
                  <a:pt x="1613" y="2087"/>
                </a:lnTo>
                <a:lnTo>
                  <a:pt x="1611" y="2089"/>
                </a:lnTo>
                <a:lnTo>
                  <a:pt x="1609" y="2092"/>
                </a:lnTo>
                <a:lnTo>
                  <a:pt x="1607" y="2093"/>
                </a:lnTo>
                <a:lnTo>
                  <a:pt x="1604" y="2094"/>
                </a:lnTo>
                <a:lnTo>
                  <a:pt x="1602" y="2095"/>
                </a:lnTo>
                <a:lnTo>
                  <a:pt x="1596" y="2095"/>
                </a:lnTo>
                <a:lnTo>
                  <a:pt x="1593" y="2094"/>
                </a:lnTo>
                <a:lnTo>
                  <a:pt x="1591" y="2093"/>
                </a:lnTo>
                <a:lnTo>
                  <a:pt x="1589" y="2091"/>
                </a:lnTo>
                <a:lnTo>
                  <a:pt x="1588" y="2090"/>
                </a:lnTo>
                <a:lnTo>
                  <a:pt x="1587" y="2089"/>
                </a:lnTo>
                <a:lnTo>
                  <a:pt x="1585" y="2086"/>
                </a:lnTo>
                <a:lnTo>
                  <a:pt x="1584" y="2083"/>
                </a:lnTo>
                <a:lnTo>
                  <a:pt x="1583" y="2080"/>
                </a:lnTo>
                <a:lnTo>
                  <a:pt x="1584" y="2077"/>
                </a:lnTo>
                <a:lnTo>
                  <a:pt x="1584" y="2074"/>
                </a:lnTo>
                <a:lnTo>
                  <a:pt x="1585" y="2071"/>
                </a:lnTo>
                <a:lnTo>
                  <a:pt x="1587" y="2069"/>
                </a:lnTo>
                <a:lnTo>
                  <a:pt x="1590" y="2067"/>
                </a:lnTo>
                <a:lnTo>
                  <a:pt x="1591" y="2066"/>
                </a:lnTo>
                <a:close/>
                <a:moveTo>
                  <a:pt x="3456" y="959"/>
                </a:moveTo>
                <a:lnTo>
                  <a:pt x="3460" y="957"/>
                </a:lnTo>
                <a:lnTo>
                  <a:pt x="3463" y="957"/>
                </a:lnTo>
                <a:lnTo>
                  <a:pt x="3467" y="957"/>
                </a:lnTo>
                <a:lnTo>
                  <a:pt x="3469" y="957"/>
                </a:lnTo>
                <a:lnTo>
                  <a:pt x="3471" y="958"/>
                </a:lnTo>
                <a:lnTo>
                  <a:pt x="3473" y="960"/>
                </a:lnTo>
                <a:lnTo>
                  <a:pt x="3476" y="962"/>
                </a:lnTo>
                <a:lnTo>
                  <a:pt x="3477" y="964"/>
                </a:lnTo>
                <a:lnTo>
                  <a:pt x="3479" y="967"/>
                </a:lnTo>
                <a:lnTo>
                  <a:pt x="3480" y="970"/>
                </a:lnTo>
                <a:lnTo>
                  <a:pt x="3480" y="973"/>
                </a:lnTo>
                <a:lnTo>
                  <a:pt x="3479" y="976"/>
                </a:lnTo>
                <a:lnTo>
                  <a:pt x="3478" y="979"/>
                </a:lnTo>
                <a:lnTo>
                  <a:pt x="3476" y="983"/>
                </a:lnTo>
                <a:lnTo>
                  <a:pt x="3474" y="984"/>
                </a:lnTo>
                <a:lnTo>
                  <a:pt x="3472" y="986"/>
                </a:lnTo>
                <a:lnTo>
                  <a:pt x="3469" y="987"/>
                </a:lnTo>
                <a:lnTo>
                  <a:pt x="3465" y="988"/>
                </a:lnTo>
                <a:lnTo>
                  <a:pt x="3461" y="988"/>
                </a:lnTo>
                <a:lnTo>
                  <a:pt x="3459" y="987"/>
                </a:lnTo>
                <a:lnTo>
                  <a:pt x="3458" y="987"/>
                </a:lnTo>
                <a:lnTo>
                  <a:pt x="3455" y="985"/>
                </a:lnTo>
                <a:lnTo>
                  <a:pt x="3453" y="983"/>
                </a:lnTo>
                <a:lnTo>
                  <a:pt x="3451" y="980"/>
                </a:lnTo>
                <a:lnTo>
                  <a:pt x="3449" y="978"/>
                </a:lnTo>
                <a:lnTo>
                  <a:pt x="3449" y="975"/>
                </a:lnTo>
                <a:lnTo>
                  <a:pt x="3448" y="972"/>
                </a:lnTo>
                <a:lnTo>
                  <a:pt x="3449" y="969"/>
                </a:lnTo>
                <a:lnTo>
                  <a:pt x="3450" y="966"/>
                </a:lnTo>
                <a:lnTo>
                  <a:pt x="3452" y="962"/>
                </a:lnTo>
                <a:lnTo>
                  <a:pt x="3454" y="960"/>
                </a:lnTo>
                <a:lnTo>
                  <a:pt x="3456" y="959"/>
                </a:lnTo>
                <a:close/>
                <a:moveTo>
                  <a:pt x="1700" y="1972"/>
                </a:moveTo>
                <a:lnTo>
                  <a:pt x="1702" y="1971"/>
                </a:lnTo>
                <a:lnTo>
                  <a:pt x="1705" y="1970"/>
                </a:lnTo>
                <a:lnTo>
                  <a:pt x="1707" y="1970"/>
                </a:lnTo>
                <a:lnTo>
                  <a:pt x="1710" y="1970"/>
                </a:lnTo>
                <a:lnTo>
                  <a:pt x="1715" y="1972"/>
                </a:lnTo>
                <a:lnTo>
                  <a:pt x="1717" y="1973"/>
                </a:lnTo>
                <a:lnTo>
                  <a:pt x="1719" y="1975"/>
                </a:lnTo>
                <a:lnTo>
                  <a:pt x="1721" y="1977"/>
                </a:lnTo>
                <a:lnTo>
                  <a:pt x="1723" y="1980"/>
                </a:lnTo>
                <a:lnTo>
                  <a:pt x="1723" y="1983"/>
                </a:lnTo>
                <a:lnTo>
                  <a:pt x="1724" y="1986"/>
                </a:lnTo>
                <a:lnTo>
                  <a:pt x="1723" y="1989"/>
                </a:lnTo>
                <a:lnTo>
                  <a:pt x="1722" y="1992"/>
                </a:lnTo>
                <a:lnTo>
                  <a:pt x="1721" y="1994"/>
                </a:lnTo>
                <a:lnTo>
                  <a:pt x="1719" y="1997"/>
                </a:lnTo>
                <a:lnTo>
                  <a:pt x="1716" y="1999"/>
                </a:lnTo>
                <a:lnTo>
                  <a:pt x="1713" y="2000"/>
                </a:lnTo>
                <a:lnTo>
                  <a:pt x="1711" y="2001"/>
                </a:lnTo>
                <a:lnTo>
                  <a:pt x="1708" y="2001"/>
                </a:lnTo>
                <a:lnTo>
                  <a:pt x="1706" y="2001"/>
                </a:lnTo>
                <a:lnTo>
                  <a:pt x="1701" y="2000"/>
                </a:lnTo>
                <a:lnTo>
                  <a:pt x="1699" y="1998"/>
                </a:lnTo>
                <a:lnTo>
                  <a:pt x="1697" y="1997"/>
                </a:lnTo>
                <a:lnTo>
                  <a:pt x="1695" y="1994"/>
                </a:lnTo>
                <a:lnTo>
                  <a:pt x="1693" y="1991"/>
                </a:lnTo>
                <a:lnTo>
                  <a:pt x="1692" y="1988"/>
                </a:lnTo>
                <a:lnTo>
                  <a:pt x="1692" y="1985"/>
                </a:lnTo>
                <a:lnTo>
                  <a:pt x="1693" y="1982"/>
                </a:lnTo>
                <a:lnTo>
                  <a:pt x="1694" y="1980"/>
                </a:lnTo>
                <a:lnTo>
                  <a:pt x="1695" y="1977"/>
                </a:lnTo>
                <a:lnTo>
                  <a:pt x="1697" y="1974"/>
                </a:lnTo>
                <a:lnTo>
                  <a:pt x="1700" y="1972"/>
                </a:lnTo>
                <a:close/>
                <a:moveTo>
                  <a:pt x="1796" y="1865"/>
                </a:moveTo>
                <a:lnTo>
                  <a:pt x="1800" y="1863"/>
                </a:lnTo>
                <a:lnTo>
                  <a:pt x="1805" y="1863"/>
                </a:lnTo>
                <a:lnTo>
                  <a:pt x="1807" y="1863"/>
                </a:lnTo>
                <a:lnTo>
                  <a:pt x="1809" y="1864"/>
                </a:lnTo>
                <a:lnTo>
                  <a:pt x="1813" y="1866"/>
                </a:lnTo>
                <a:lnTo>
                  <a:pt x="1815" y="1868"/>
                </a:lnTo>
                <a:lnTo>
                  <a:pt x="1817" y="1871"/>
                </a:lnTo>
                <a:lnTo>
                  <a:pt x="1818" y="1874"/>
                </a:lnTo>
                <a:lnTo>
                  <a:pt x="1819" y="1877"/>
                </a:lnTo>
                <a:lnTo>
                  <a:pt x="1819" y="1880"/>
                </a:lnTo>
                <a:lnTo>
                  <a:pt x="1819" y="1883"/>
                </a:lnTo>
                <a:lnTo>
                  <a:pt x="1818" y="1886"/>
                </a:lnTo>
                <a:lnTo>
                  <a:pt x="1816" y="1888"/>
                </a:lnTo>
                <a:lnTo>
                  <a:pt x="1814" y="1891"/>
                </a:lnTo>
                <a:lnTo>
                  <a:pt x="1811" y="1892"/>
                </a:lnTo>
                <a:lnTo>
                  <a:pt x="1807" y="1894"/>
                </a:lnTo>
                <a:lnTo>
                  <a:pt x="1803" y="1894"/>
                </a:lnTo>
                <a:lnTo>
                  <a:pt x="1800" y="1894"/>
                </a:lnTo>
                <a:lnTo>
                  <a:pt x="1798" y="1893"/>
                </a:lnTo>
                <a:lnTo>
                  <a:pt x="1794" y="1891"/>
                </a:lnTo>
                <a:lnTo>
                  <a:pt x="1792" y="1889"/>
                </a:lnTo>
                <a:lnTo>
                  <a:pt x="1790" y="1886"/>
                </a:lnTo>
                <a:lnTo>
                  <a:pt x="1789" y="1884"/>
                </a:lnTo>
                <a:lnTo>
                  <a:pt x="1788" y="1881"/>
                </a:lnTo>
                <a:lnTo>
                  <a:pt x="1788" y="1878"/>
                </a:lnTo>
                <a:lnTo>
                  <a:pt x="1788" y="1875"/>
                </a:lnTo>
                <a:lnTo>
                  <a:pt x="1789" y="1872"/>
                </a:lnTo>
                <a:lnTo>
                  <a:pt x="1791" y="1869"/>
                </a:lnTo>
                <a:lnTo>
                  <a:pt x="1793" y="1867"/>
                </a:lnTo>
                <a:lnTo>
                  <a:pt x="1796" y="1865"/>
                </a:lnTo>
                <a:close/>
                <a:moveTo>
                  <a:pt x="1873" y="1743"/>
                </a:moveTo>
                <a:lnTo>
                  <a:pt x="1874" y="1742"/>
                </a:lnTo>
                <a:lnTo>
                  <a:pt x="1876" y="1742"/>
                </a:lnTo>
                <a:lnTo>
                  <a:pt x="1880" y="1741"/>
                </a:lnTo>
                <a:lnTo>
                  <a:pt x="1884" y="1741"/>
                </a:lnTo>
                <a:lnTo>
                  <a:pt x="1888" y="1743"/>
                </a:lnTo>
                <a:lnTo>
                  <a:pt x="1890" y="1744"/>
                </a:lnTo>
                <a:lnTo>
                  <a:pt x="1893" y="1747"/>
                </a:lnTo>
                <a:lnTo>
                  <a:pt x="1894" y="1749"/>
                </a:lnTo>
                <a:lnTo>
                  <a:pt x="1896" y="1752"/>
                </a:lnTo>
                <a:lnTo>
                  <a:pt x="1896" y="1758"/>
                </a:lnTo>
                <a:lnTo>
                  <a:pt x="1896" y="1761"/>
                </a:lnTo>
                <a:lnTo>
                  <a:pt x="1895" y="1764"/>
                </a:lnTo>
                <a:lnTo>
                  <a:pt x="1893" y="1766"/>
                </a:lnTo>
                <a:lnTo>
                  <a:pt x="1892" y="1768"/>
                </a:lnTo>
                <a:lnTo>
                  <a:pt x="1888" y="1770"/>
                </a:lnTo>
                <a:lnTo>
                  <a:pt x="1887" y="1771"/>
                </a:lnTo>
                <a:lnTo>
                  <a:pt x="1885" y="1772"/>
                </a:lnTo>
                <a:lnTo>
                  <a:pt x="1881" y="1772"/>
                </a:lnTo>
                <a:lnTo>
                  <a:pt x="1877" y="1772"/>
                </a:lnTo>
                <a:lnTo>
                  <a:pt x="1873" y="1771"/>
                </a:lnTo>
                <a:lnTo>
                  <a:pt x="1871" y="1769"/>
                </a:lnTo>
                <a:lnTo>
                  <a:pt x="1869" y="1767"/>
                </a:lnTo>
                <a:lnTo>
                  <a:pt x="1867" y="1764"/>
                </a:lnTo>
                <a:lnTo>
                  <a:pt x="1866" y="1761"/>
                </a:lnTo>
                <a:lnTo>
                  <a:pt x="1865" y="1755"/>
                </a:lnTo>
                <a:lnTo>
                  <a:pt x="1865" y="1752"/>
                </a:lnTo>
                <a:lnTo>
                  <a:pt x="1867" y="1749"/>
                </a:lnTo>
                <a:lnTo>
                  <a:pt x="1868" y="1748"/>
                </a:lnTo>
                <a:lnTo>
                  <a:pt x="1869" y="1746"/>
                </a:lnTo>
                <a:lnTo>
                  <a:pt x="1873" y="1743"/>
                </a:lnTo>
                <a:close/>
                <a:moveTo>
                  <a:pt x="3324" y="902"/>
                </a:moveTo>
                <a:lnTo>
                  <a:pt x="3327" y="900"/>
                </a:lnTo>
                <a:lnTo>
                  <a:pt x="3331" y="900"/>
                </a:lnTo>
                <a:lnTo>
                  <a:pt x="3334" y="900"/>
                </a:lnTo>
                <a:lnTo>
                  <a:pt x="3338" y="901"/>
                </a:lnTo>
                <a:lnTo>
                  <a:pt x="3341" y="902"/>
                </a:lnTo>
                <a:lnTo>
                  <a:pt x="3343" y="904"/>
                </a:lnTo>
                <a:lnTo>
                  <a:pt x="3345" y="907"/>
                </a:lnTo>
                <a:lnTo>
                  <a:pt x="3346" y="909"/>
                </a:lnTo>
                <a:lnTo>
                  <a:pt x="3347" y="912"/>
                </a:lnTo>
                <a:lnTo>
                  <a:pt x="3347" y="915"/>
                </a:lnTo>
                <a:lnTo>
                  <a:pt x="3347" y="918"/>
                </a:lnTo>
                <a:lnTo>
                  <a:pt x="3346" y="921"/>
                </a:lnTo>
                <a:lnTo>
                  <a:pt x="3345" y="924"/>
                </a:lnTo>
                <a:lnTo>
                  <a:pt x="3344" y="926"/>
                </a:lnTo>
                <a:lnTo>
                  <a:pt x="3340" y="929"/>
                </a:lnTo>
                <a:lnTo>
                  <a:pt x="3336" y="930"/>
                </a:lnTo>
                <a:lnTo>
                  <a:pt x="3333" y="931"/>
                </a:lnTo>
                <a:lnTo>
                  <a:pt x="3329" y="931"/>
                </a:lnTo>
                <a:lnTo>
                  <a:pt x="3326" y="930"/>
                </a:lnTo>
                <a:lnTo>
                  <a:pt x="3323" y="928"/>
                </a:lnTo>
                <a:lnTo>
                  <a:pt x="3321" y="926"/>
                </a:lnTo>
                <a:lnTo>
                  <a:pt x="3319" y="924"/>
                </a:lnTo>
                <a:lnTo>
                  <a:pt x="3317" y="921"/>
                </a:lnTo>
                <a:lnTo>
                  <a:pt x="3316" y="919"/>
                </a:lnTo>
                <a:lnTo>
                  <a:pt x="3316" y="916"/>
                </a:lnTo>
                <a:lnTo>
                  <a:pt x="3316" y="912"/>
                </a:lnTo>
                <a:lnTo>
                  <a:pt x="3317" y="909"/>
                </a:lnTo>
                <a:lnTo>
                  <a:pt x="3318" y="907"/>
                </a:lnTo>
                <a:lnTo>
                  <a:pt x="3320" y="905"/>
                </a:lnTo>
                <a:lnTo>
                  <a:pt x="3324" y="902"/>
                </a:lnTo>
                <a:close/>
                <a:moveTo>
                  <a:pt x="1926" y="1610"/>
                </a:moveTo>
                <a:lnTo>
                  <a:pt x="1929" y="1609"/>
                </a:lnTo>
                <a:lnTo>
                  <a:pt x="1932" y="1608"/>
                </a:lnTo>
                <a:lnTo>
                  <a:pt x="1935" y="1608"/>
                </a:lnTo>
                <a:lnTo>
                  <a:pt x="1939" y="1609"/>
                </a:lnTo>
                <a:lnTo>
                  <a:pt x="1942" y="1610"/>
                </a:lnTo>
                <a:lnTo>
                  <a:pt x="1944" y="1611"/>
                </a:lnTo>
                <a:lnTo>
                  <a:pt x="1946" y="1614"/>
                </a:lnTo>
                <a:lnTo>
                  <a:pt x="1948" y="1616"/>
                </a:lnTo>
                <a:lnTo>
                  <a:pt x="1949" y="1619"/>
                </a:lnTo>
                <a:lnTo>
                  <a:pt x="1950" y="1622"/>
                </a:lnTo>
                <a:lnTo>
                  <a:pt x="1950" y="1625"/>
                </a:lnTo>
                <a:lnTo>
                  <a:pt x="1949" y="1628"/>
                </a:lnTo>
                <a:lnTo>
                  <a:pt x="1948" y="1631"/>
                </a:lnTo>
                <a:lnTo>
                  <a:pt x="1946" y="1633"/>
                </a:lnTo>
                <a:lnTo>
                  <a:pt x="1944" y="1635"/>
                </a:lnTo>
                <a:lnTo>
                  <a:pt x="1942" y="1637"/>
                </a:lnTo>
                <a:lnTo>
                  <a:pt x="1939" y="1638"/>
                </a:lnTo>
                <a:lnTo>
                  <a:pt x="1936" y="1639"/>
                </a:lnTo>
                <a:lnTo>
                  <a:pt x="1933" y="1639"/>
                </a:lnTo>
                <a:lnTo>
                  <a:pt x="1930" y="1639"/>
                </a:lnTo>
                <a:lnTo>
                  <a:pt x="1927" y="1637"/>
                </a:lnTo>
                <a:lnTo>
                  <a:pt x="1924" y="1636"/>
                </a:lnTo>
                <a:lnTo>
                  <a:pt x="1922" y="1633"/>
                </a:lnTo>
                <a:lnTo>
                  <a:pt x="1920" y="1631"/>
                </a:lnTo>
                <a:lnTo>
                  <a:pt x="1919" y="1628"/>
                </a:lnTo>
                <a:lnTo>
                  <a:pt x="1919" y="1625"/>
                </a:lnTo>
                <a:lnTo>
                  <a:pt x="1919" y="1622"/>
                </a:lnTo>
                <a:lnTo>
                  <a:pt x="1919" y="1619"/>
                </a:lnTo>
                <a:lnTo>
                  <a:pt x="1920" y="1616"/>
                </a:lnTo>
                <a:lnTo>
                  <a:pt x="1922" y="1614"/>
                </a:lnTo>
                <a:lnTo>
                  <a:pt x="1924" y="1612"/>
                </a:lnTo>
                <a:lnTo>
                  <a:pt x="1926" y="1610"/>
                </a:lnTo>
                <a:close/>
                <a:moveTo>
                  <a:pt x="3189" y="851"/>
                </a:moveTo>
                <a:lnTo>
                  <a:pt x="3192" y="849"/>
                </a:lnTo>
                <a:lnTo>
                  <a:pt x="3196" y="849"/>
                </a:lnTo>
                <a:lnTo>
                  <a:pt x="3199" y="849"/>
                </a:lnTo>
                <a:lnTo>
                  <a:pt x="3202" y="849"/>
                </a:lnTo>
                <a:lnTo>
                  <a:pt x="3205" y="851"/>
                </a:lnTo>
                <a:lnTo>
                  <a:pt x="3208" y="853"/>
                </a:lnTo>
                <a:lnTo>
                  <a:pt x="3210" y="855"/>
                </a:lnTo>
                <a:lnTo>
                  <a:pt x="3211" y="857"/>
                </a:lnTo>
                <a:lnTo>
                  <a:pt x="3212" y="860"/>
                </a:lnTo>
                <a:lnTo>
                  <a:pt x="3213" y="863"/>
                </a:lnTo>
                <a:lnTo>
                  <a:pt x="3212" y="869"/>
                </a:lnTo>
                <a:lnTo>
                  <a:pt x="3211" y="872"/>
                </a:lnTo>
                <a:lnTo>
                  <a:pt x="3209" y="874"/>
                </a:lnTo>
                <a:lnTo>
                  <a:pt x="3207" y="876"/>
                </a:lnTo>
                <a:lnTo>
                  <a:pt x="3205" y="878"/>
                </a:lnTo>
                <a:lnTo>
                  <a:pt x="3202" y="879"/>
                </a:lnTo>
                <a:lnTo>
                  <a:pt x="3199" y="880"/>
                </a:lnTo>
                <a:lnTo>
                  <a:pt x="3195" y="880"/>
                </a:lnTo>
                <a:lnTo>
                  <a:pt x="3192" y="879"/>
                </a:lnTo>
                <a:lnTo>
                  <a:pt x="3189" y="878"/>
                </a:lnTo>
                <a:lnTo>
                  <a:pt x="3187" y="876"/>
                </a:lnTo>
                <a:lnTo>
                  <a:pt x="3185" y="873"/>
                </a:lnTo>
                <a:lnTo>
                  <a:pt x="3183" y="871"/>
                </a:lnTo>
                <a:lnTo>
                  <a:pt x="3182" y="868"/>
                </a:lnTo>
                <a:lnTo>
                  <a:pt x="3182" y="865"/>
                </a:lnTo>
                <a:lnTo>
                  <a:pt x="3182" y="859"/>
                </a:lnTo>
                <a:lnTo>
                  <a:pt x="3184" y="856"/>
                </a:lnTo>
                <a:lnTo>
                  <a:pt x="3185" y="854"/>
                </a:lnTo>
                <a:lnTo>
                  <a:pt x="3187" y="852"/>
                </a:lnTo>
                <a:lnTo>
                  <a:pt x="3189" y="851"/>
                </a:lnTo>
                <a:close/>
                <a:moveTo>
                  <a:pt x="1957" y="1469"/>
                </a:moveTo>
                <a:lnTo>
                  <a:pt x="1959" y="1468"/>
                </a:lnTo>
                <a:lnTo>
                  <a:pt x="1961" y="1468"/>
                </a:lnTo>
                <a:lnTo>
                  <a:pt x="1964" y="1467"/>
                </a:lnTo>
                <a:lnTo>
                  <a:pt x="1967" y="1468"/>
                </a:lnTo>
                <a:lnTo>
                  <a:pt x="1970" y="1468"/>
                </a:lnTo>
                <a:lnTo>
                  <a:pt x="1973" y="1470"/>
                </a:lnTo>
                <a:lnTo>
                  <a:pt x="1975" y="1471"/>
                </a:lnTo>
                <a:lnTo>
                  <a:pt x="1977" y="1474"/>
                </a:lnTo>
                <a:lnTo>
                  <a:pt x="1979" y="1476"/>
                </a:lnTo>
                <a:lnTo>
                  <a:pt x="1980" y="1479"/>
                </a:lnTo>
                <a:lnTo>
                  <a:pt x="1980" y="1482"/>
                </a:lnTo>
                <a:lnTo>
                  <a:pt x="1980" y="1485"/>
                </a:lnTo>
                <a:lnTo>
                  <a:pt x="1979" y="1489"/>
                </a:lnTo>
                <a:lnTo>
                  <a:pt x="1977" y="1492"/>
                </a:lnTo>
                <a:lnTo>
                  <a:pt x="1975" y="1495"/>
                </a:lnTo>
                <a:lnTo>
                  <a:pt x="1972" y="1497"/>
                </a:lnTo>
                <a:lnTo>
                  <a:pt x="1970" y="1498"/>
                </a:lnTo>
                <a:lnTo>
                  <a:pt x="1967" y="1498"/>
                </a:lnTo>
                <a:lnTo>
                  <a:pt x="1965" y="1499"/>
                </a:lnTo>
                <a:lnTo>
                  <a:pt x="1962" y="1499"/>
                </a:lnTo>
                <a:lnTo>
                  <a:pt x="1959" y="1498"/>
                </a:lnTo>
                <a:lnTo>
                  <a:pt x="1956" y="1496"/>
                </a:lnTo>
                <a:lnTo>
                  <a:pt x="1954" y="1495"/>
                </a:lnTo>
                <a:lnTo>
                  <a:pt x="1952" y="1492"/>
                </a:lnTo>
                <a:lnTo>
                  <a:pt x="1950" y="1490"/>
                </a:lnTo>
                <a:lnTo>
                  <a:pt x="1949" y="1487"/>
                </a:lnTo>
                <a:lnTo>
                  <a:pt x="1949" y="1484"/>
                </a:lnTo>
                <a:lnTo>
                  <a:pt x="1949" y="1481"/>
                </a:lnTo>
                <a:lnTo>
                  <a:pt x="1950" y="1477"/>
                </a:lnTo>
                <a:lnTo>
                  <a:pt x="1952" y="1474"/>
                </a:lnTo>
                <a:lnTo>
                  <a:pt x="1954" y="1472"/>
                </a:lnTo>
                <a:lnTo>
                  <a:pt x="1957" y="1469"/>
                </a:lnTo>
                <a:close/>
                <a:moveTo>
                  <a:pt x="3052" y="807"/>
                </a:moveTo>
                <a:lnTo>
                  <a:pt x="3055" y="805"/>
                </a:lnTo>
                <a:lnTo>
                  <a:pt x="3058" y="805"/>
                </a:lnTo>
                <a:lnTo>
                  <a:pt x="3061" y="805"/>
                </a:lnTo>
                <a:lnTo>
                  <a:pt x="3064" y="805"/>
                </a:lnTo>
                <a:lnTo>
                  <a:pt x="3067" y="806"/>
                </a:lnTo>
                <a:lnTo>
                  <a:pt x="3070" y="808"/>
                </a:lnTo>
                <a:lnTo>
                  <a:pt x="3072" y="810"/>
                </a:lnTo>
                <a:lnTo>
                  <a:pt x="3074" y="813"/>
                </a:lnTo>
                <a:lnTo>
                  <a:pt x="3075" y="815"/>
                </a:lnTo>
                <a:lnTo>
                  <a:pt x="3076" y="818"/>
                </a:lnTo>
                <a:lnTo>
                  <a:pt x="3076" y="821"/>
                </a:lnTo>
                <a:lnTo>
                  <a:pt x="3075" y="825"/>
                </a:lnTo>
                <a:lnTo>
                  <a:pt x="3074" y="828"/>
                </a:lnTo>
                <a:lnTo>
                  <a:pt x="3072" y="830"/>
                </a:lnTo>
                <a:lnTo>
                  <a:pt x="3070" y="832"/>
                </a:lnTo>
                <a:lnTo>
                  <a:pt x="3068" y="834"/>
                </a:lnTo>
                <a:lnTo>
                  <a:pt x="3065" y="835"/>
                </a:lnTo>
                <a:lnTo>
                  <a:pt x="3062" y="836"/>
                </a:lnTo>
                <a:lnTo>
                  <a:pt x="3059" y="836"/>
                </a:lnTo>
                <a:lnTo>
                  <a:pt x="3056" y="835"/>
                </a:lnTo>
                <a:lnTo>
                  <a:pt x="3053" y="834"/>
                </a:lnTo>
                <a:lnTo>
                  <a:pt x="3050" y="833"/>
                </a:lnTo>
                <a:lnTo>
                  <a:pt x="3048" y="830"/>
                </a:lnTo>
                <a:lnTo>
                  <a:pt x="3046" y="828"/>
                </a:lnTo>
                <a:lnTo>
                  <a:pt x="3045" y="825"/>
                </a:lnTo>
                <a:lnTo>
                  <a:pt x="3045" y="822"/>
                </a:lnTo>
                <a:lnTo>
                  <a:pt x="3045" y="819"/>
                </a:lnTo>
                <a:lnTo>
                  <a:pt x="3045" y="816"/>
                </a:lnTo>
                <a:lnTo>
                  <a:pt x="3046" y="813"/>
                </a:lnTo>
                <a:lnTo>
                  <a:pt x="3048" y="811"/>
                </a:lnTo>
                <a:lnTo>
                  <a:pt x="3050" y="808"/>
                </a:lnTo>
                <a:lnTo>
                  <a:pt x="3052" y="807"/>
                </a:lnTo>
                <a:close/>
                <a:moveTo>
                  <a:pt x="1971" y="1326"/>
                </a:moveTo>
                <a:lnTo>
                  <a:pt x="1975" y="1324"/>
                </a:lnTo>
                <a:lnTo>
                  <a:pt x="1980" y="1324"/>
                </a:lnTo>
                <a:lnTo>
                  <a:pt x="1983" y="1325"/>
                </a:lnTo>
                <a:lnTo>
                  <a:pt x="1986" y="1326"/>
                </a:lnTo>
                <a:lnTo>
                  <a:pt x="1988" y="1327"/>
                </a:lnTo>
                <a:lnTo>
                  <a:pt x="1990" y="1329"/>
                </a:lnTo>
                <a:lnTo>
                  <a:pt x="1992" y="1332"/>
                </a:lnTo>
                <a:lnTo>
                  <a:pt x="1993" y="1335"/>
                </a:lnTo>
                <a:lnTo>
                  <a:pt x="1994" y="1338"/>
                </a:lnTo>
                <a:lnTo>
                  <a:pt x="1994" y="1341"/>
                </a:lnTo>
                <a:lnTo>
                  <a:pt x="1993" y="1345"/>
                </a:lnTo>
                <a:lnTo>
                  <a:pt x="1992" y="1348"/>
                </a:lnTo>
                <a:lnTo>
                  <a:pt x="1989" y="1351"/>
                </a:lnTo>
                <a:lnTo>
                  <a:pt x="1986" y="1353"/>
                </a:lnTo>
                <a:lnTo>
                  <a:pt x="1982" y="1355"/>
                </a:lnTo>
                <a:lnTo>
                  <a:pt x="1977" y="1355"/>
                </a:lnTo>
                <a:lnTo>
                  <a:pt x="1974" y="1355"/>
                </a:lnTo>
                <a:lnTo>
                  <a:pt x="1971" y="1354"/>
                </a:lnTo>
                <a:lnTo>
                  <a:pt x="1969" y="1352"/>
                </a:lnTo>
                <a:lnTo>
                  <a:pt x="1967" y="1350"/>
                </a:lnTo>
                <a:lnTo>
                  <a:pt x="1965" y="1348"/>
                </a:lnTo>
                <a:lnTo>
                  <a:pt x="1964" y="1345"/>
                </a:lnTo>
                <a:lnTo>
                  <a:pt x="1963" y="1342"/>
                </a:lnTo>
                <a:lnTo>
                  <a:pt x="1963" y="1339"/>
                </a:lnTo>
                <a:lnTo>
                  <a:pt x="1964" y="1335"/>
                </a:lnTo>
                <a:lnTo>
                  <a:pt x="1965" y="1331"/>
                </a:lnTo>
                <a:lnTo>
                  <a:pt x="1968" y="1328"/>
                </a:lnTo>
                <a:lnTo>
                  <a:pt x="1971" y="1326"/>
                </a:lnTo>
                <a:close/>
                <a:moveTo>
                  <a:pt x="2913" y="773"/>
                </a:moveTo>
                <a:lnTo>
                  <a:pt x="2915" y="771"/>
                </a:lnTo>
                <a:lnTo>
                  <a:pt x="2918" y="771"/>
                </a:lnTo>
                <a:lnTo>
                  <a:pt x="2923" y="771"/>
                </a:lnTo>
                <a:lnTo>
                  <a:pt x="2926" y="772"/>
                </a:lnTo>
                <a:lnTo>
                  <a:pt x="2929" y="773"/>
                </a:lnTo>
                <a:lnTo>
                  <a:pt x="2932" y="775"/>
                </a:lnTo>
                <a:lnTo>
                  <a:pt x="2933" y="778"/>
                </a:lnTo>
                <a:lnTo>
                  <a:pt x="2935" y="780"/>
                </a:lnTo>
                <a:lnTo>
                  <a:pt x="2936" y="783"/>
                </a:lnTo>
                <a:lnTo>
                  <a:pt x="2936" y="786"/>
                </a:lnTo>
                <a:lnTo>
                  <a:pt x="2936" y="789"/>
                </a:lnTo>
                <a:lnTo>
                  <a:pt x="2935" y="793"/>
                </a:lnTo>
                <a:lnTo>
                  <a:pt x="2933" y="795"/>
                </a:lnTo>
                <a:lnTo>
                  <a:pt x="2931" y="798"/>
                </a:lnTo>
                <a:lnTo>
                  <a:pt x="2928" y="800"/>
                </a:lnTo>
                <a:lnTo>
                  <a:pt x="2926" y="801"/>
                </a:lnTo>
                <a:lnTo>
                  <a:pt x="2923" y="802"/>
                </a:lnTo>
                <a:lnTo>
                  <a:pt x="2917" y="802"/>
                </a:lnTo>
                <a:lnTo>
                  <a:pt x="2914" y="801"/>
                </a:lnTo>
                <a:lnTo>
                  <a:pt x="2912" y="799"/>
                </a:lnTo>
                <a:lnTo>
                  <a:pt x="2909" y="797"/>
                </a:lnTo>
                <a:lnTo>
                  <a:pt x="2907" y="795"/>
                </a:lnTo>
                <a:lnTo>
                  <a:pt x="2906" y="792"/>
                </a:lnTo>
                <a:lnTo>
                  <a:pt x="2905" y="789"/>
                </a:lnTo>
                <a:lnTo>
                  <a:pt x="2905" y="786"/>
                </a:lnTo>
                <a:lnTo>
                  <a:pt x="2905" y="783"/>
                </a:lnTo>
                <a:lnTo>
                  <a:pt x="2906" y="780"/>
                </a:lnTo>
                <a:lnTo>
                  <a:pt x="2908" y="777"/>
                </a:lnTo>
                <a:lnTo>
                  <a:pt x="2910" y="775"/>
                </a:lnTo>
                <a:lnTo>
                  <a:pt x="2913" y="773"/>
                </a:lnTo>
                <a:close/>
                <a:moveTo>
                  <a:pt x="2770" y="751"/>
                </a:moveTo>
                <a:lnTo>
                  <a:pt x="2772" y="750"/>
                </a:lnTo>
                <a:lnTo>
                  <a:pt x="2775" y="749"/>
                </a:lnTo>
                <a:lnTo>
                  <a:pt x="2777" y="749"/>
                </a:lnTo>
                <a:lnTo>
                  <a:pt x="2780" y="749"/>
                </a:lnTo>
                <a:lnTo>
                  <a:pt x="2783" y="750"/>
                </a:lnTo>
                <a:lnTo>
                  <a:pt x="2786" y="751"/>
                </a:lnTo>
                <a:lnTo>
                  <a:pt x="2788" y="753"/>
                </a:lnTo>
                <a:lnTo>
                  <a:pt x="2789" y="754"/>
                </a:lnTo>
                <a:lnTo>
                  <a:pt x="2790" y="755"/>
                </a:lnTo>
                <a:lnTo>
                  <a:pt x="2792" y="757"/>
                </a:lnTo>
                <a:lnTo>
                  <a:pt x="2793" y="760"/>
                </a:lnTo>
                <a:lnTo>
                  <a:pt x="2794" y="763"/>
                </a:lnTo>
                <a:lnTo>
                  <a:pt x="2794" y="766"/>
                </a:lnTo>
                <a:lnTo>
                  <a:pt x="2793" y="770"/>
                </a:lnTo>
                <a:lnTo>
                  <a:pt x="2791" y="773"/>
                </a:lnTo>
                <a:lnTo>
                  <a:pt x="2789" y="776"/>
                </a:lnTo>
                <a:lnTo>
                  <a:pt x="2786" y="778"/>
                </a:lnTo>
                <a:lnTo>
                  <a:pt x="2784" y="779"/>
                </a:lnTo>
                <a:lnTo>
                  <a:pt x="2782" y="780"/>
                </a:lnTo>
                <a:lnTo>
                  <a:pt x="2779" y="780"/>
                </a:lnTo>
                <a:lnTo>
                  <a:pt x="2777" y="780"/>
                </a:lnTo>
                <a:lnTo>
                  <a:pt x="2773" y="780"/>
                </a:lnTo>
                <a:lnTo>
                  <a:pt x="2771" y="778"/>
                </a:lnTo>
                <a:lnTo>
                  <a:pt x="2768" y="777"/>
                </a:lnTo>
                <a:lnTo>
                  <a:pt x="2767" y="776"/>
                </a:lnTo>
                <a:lnTo>
                  <a:pt x="2766" y="775"/>
                </a:lnTo>
                <a:lnTo>
                  <a:pt x="2764" y="772"/>
                </a:lnTo>
                <a:lnTo>
                  <a:pt x="2763" y="769"/>
                </a:lnTo>
                <a:lnTo>
                  <a:pt x="2763" y="766"/>
                </a:lnTo>
                <a:lnTo>
                  <a:pt x="2763" y="763"/>
                </a:lnTo>
                <a:lnTo>
                  <a:pt x="2763" y="759"/>
                </a:lnTo>
                <a:lnTo>
                  <a:pt x="2765" y="756"/>
                </a:lnTo>
                <a:lnTo>
                  <a:pt x="2767" y="753"/>
                </a:lnTo>
                <a:lnTo>
                  <a:pt x="2770" y="751"/>
                </a:lnTo>
                <a:close/>
                <a:moveTo>
                  <a:pt x="1982" y="1183"/>
                </a:moveTo>
                <a:lnTo>
                  <a:pt x="1984" y="1182"/>
                </a:lnTo>
                <a:lnTo>
                  <a:pt x="1987" y="1181"/>
                </a:lnTo>
                <a:lnTo>
                  <a:pt x="1989" y="1181"/>
                </a:lnTo>
                <a:lnTo>
                  <a:pt x="1992" y="1181"/>
                </a:lnTo>
                <a:lnTo>
                  <a:pt x="1995" y="1181"/>
                </a:lnTo>
                <a:lnTo>
                  <a:pt x="1998" y="1183"/>
                </a:lnTo>
                <a:lnTo>
                  <a:pt x="2000" y="1184"/>
                </a:lnTo>
                <a:lnTo>
                  <a:pt x="2002" y="1187"/>
                </a:lnTo>
                <a:lnTo>
                  <a:pt x="2004" y="1189"/>
                </a:lnTo>
                <a:lnTo>
                  <a:pt x="2005" y="1192"/>
                </a:lnTo>
                <a:lnTo>
                  <a:pt x="2006" y="1195"/>
                </a:lnTo>
                <a:lnTo>
                  <a:pt x="2006" y="1198"/>
                </a:lnTo>
                <a:lnTo>
                  <a:pt x="2005" y="1202"/>
                </a:lnTo>
                <a:lnTo>
                  <a:pt x="2003" y="1205"/>
                </a:lnTo>
                <a:lnTo>
                  <a:pt x="2001" y="1208"/>
                </a:lnTo>
                <a:lnTo>
                  <a:pt x="1998" y="1210"/>
                </a:lnTo>
                <a:lnTo>
                  <a:pt x="1996" y="1211"/>
                </a:lnTo>
                <a:lnTo>
                  <a:pt x="1993" y="1212"/>
                </a:lnTo>
                <a:lnTo>
                  <a:pt x="1991" y="1212"/>
                </a:lnTo>
                <a:lnTo>
                  <a:pt x="1988" y="1212"/>
                </a:lnTo>
                <a:lnTo>
                  <a:pt x="1985" y="1211"/>
                </a:lnTo>
                <a:lnTo>
                  <a:pt x="1982" y="1210"/>
                </a:lnTo>
                <a:lnTo>
                  <a:pt x="1980" y="1208"/>
                </a:lnTo>
                <a:lnTo>
                  <a:pt x="1978" y="1206"/>
                </a:lnTo>
                <a:lnTo>
                  <a:pt x="1976" y="1203"/>
                </a:lnTo>
                <a:lnTo>
                  <a:pt x="1975" y="1201"/>
                </a:lnTo>
                <a:lnTo>
                  <a:pt x="1974" y="1198"/>
                </a:lnTo>
                <a:lnTo>
                  <a:pt x="1975" y="1194"/>
                </a:lnTo>
                <a:lnTo>
                  <a:pt x="1975" y="1191"/>
                </a:lnTo>
                <a:lnTo>
                  <a:pt x="1977" y="1188"/>
                </a:lnTo>
                <a:lnTo>
                  <a:pt x="1979" y="1185"/>
                </a:lnTo>
                <a:lnTo>
                  <a:pt x="1982" y="1183"/>
                </a:lnTo>
                <a:close/>
                <a:moveTo>
                  <a:pt x="2627" y="745"/>
                </a:moveTo>
                <a:lnTo>
                  <a:pt x="2628" y="744"/>
                </a:lnTo>
                <a:lnTo>
                  <a:pt x="2630" y="744"/>
                </a:lnTo>
                <a:lnTo>
                  <a:pt x="2634" y="743"/>
                </a:lnTo>
                <a:lnTo>
                  <a:pt x="2637" y="743"/>
                </a:lnTo>
                <a:lnTo>
                  <a:pt x="2640" y="744"/>
                </a:lnTo>
                <a:lnTo>
                  <a:pt x="2643" y="746"/>
                </a:lnTo>
                <a:lnTo>
                  <a:pt x="2645" y="748"/>
                </a:lnTo>
                <a:lnTo>
                  <a:pt x="2647" y="750"/>
                </a:lnTo>
                <a:lnTo>
                  <a:pt x="2649" y="752"/>
                </a:lnTo>
                <a:lnTo>
                  <a:pt x="2650" y="755"/>
                </a:lnTo>
                <a:lnTo>
                  <a:pt x="2650" y="758"/>
                </a:lnTo>
                <a:lnTo>
                  <a:pt x="2650" y="763"/>
                </a:lnTo>
                <a:lnTo>
                  <a:pt x="2648" y="767"/>
                </a:lnTo>
                <a:lnTo>
                  <a:pt x="2646" y="770"/>
                </a:lnTo>
                <a:lnTo>
                  <a:pt x="2642" y="772"/>
                </a:lnTo>
                <a:lnTo>
                  <a:pt x="2641" y="773"/>
                </a:lnTo>
                <a:lnTo>
                  <a:pt x="2639" y="774"/>
                </a:lnTo>
                <a:lnTo>
                  <a:pt x="2635" y="775"/>
                </a:lnTo>
                <a:lnTo>
                  <a:pt x="2632" y="774"/>
                </a:lnTo>
                <a:lnTo>
                  <a:pt x="2629" y="773"/>
                </a:lnTo>
                <a:lnTo>
                  <a:pt x="2626" y="772"/>
                </a:lnTo>
                <a:lnTo>
                  <a:pt x="2624" y="770"/>
                </a:lnTo>
                <a:lnTo>
                  <a:pt x="2622" y="768"/>
                </a:lnTo>
                <a:lnTo>
                  <a:pt x="2620" y="765"/>
                </a:lnTo>
                <a:lnTo>
                  <a:pt x="2619" y="762"/>
                </a:lnTo>
                <a:lnTo>
                  <a:pt x="2619" y="759"/>
                </a:lnTo>
                <a:lnTo>
                  <a:pt x="2619" y="755"/>
                </a:lnTo>
                <a:lnTo>
                  <a:pt x="2621" y="751"/>
                </a:lnTo>
                <a:lnTo>
                  <a:pt x="2623" y="748"/>
                </a:lnTo>
                <a:lnTo>
                  <a:pt x="2627" y="745"/>
                </a:lnTo>
                <a:close/>
                <a:moveTo>
                  <a:pt x="2014" y="1043"/>
                </a:moveTo>
                <a:lnTo>
                  <a:pt x="2017" y="1041"/>
                </a:lnTo>
                <a:lnTo>
                  <a:pt x="2020" y="1041"/>
                </a:lnTo>
                <a:lnTo>
                  <a:pt x="2024" y="1041"/>
                </a:lnTo>
                <a:lnTo>
                  <a:pt x="2027" y="1042"/>
                </a:lnTo>
                <a:lnTo>
                  <a:pt x="2029" y="1042"/>
                </a:lnTo>
                <a:lnTo>
                  <a:pt x="2030" y="1043"/>
                </a:lnTo>
                <a:lnTo>
                  <a:pt x="2033" y="1045"/>
                </a:lnTo>
                <a:lnTo>
                  <a:pt x="2035" y="1047"/>
                </a:lnTo>
                <a:lnTo>
                  <a:pt x="2036" y="1050"/>
                </a:lnTo>
                <a:lnTo>
                  <a:pt x="2037" y="1053"/>
                </a:lnTo>
                <a:lnTo>
                  <a:pt x="2037" y="1056"/>
                </a:lnTo>
                <a:lnTo>
                  <a:pt x="2037" y="1059"/>
                </a:lnTo>
                <a:lnTo>
                  <a:pt x="2036" y="1062"/>
                </a:lnTo>
                <a:lnTo>
                  <a:pt x="2035" y="1065"/>
                </a:lnTo>
                <a:lnTo>
                  <a:pt x="2034" y="1067"/>
                </a:lnTo>
                <a:lnTo>
                  <a:pt x="2032" y="1069"/>
                </a:lnTo>
                <a:lnTo>
                  <a:pt x="2030" y="1070"/>
                </a:lnTo>
                <a:lnTo>
                  <a:pt x="2026" y="1071"/>
                </a:lnTo>
                <a:lnTo>
                  <a:pt x="2023" y="1072"/>
                </a:lnTo>
                <a:lnTo>
                  <a:pt x="2020" y="1072"/>
                </a:lnTo>
                <a:lnTo>
                  <a:pt x="2016" y="1071"/>
                </a:lnTo>
                <a:lnTo>
                  <a:pt x="2015" y="1070"/>
                </a:lnTo>
                <a:lnTo>
                  <a:pt x="2013" y="1070"/>
                </a:lnTo>
                <a:lnTo>
                  <a:pt x="2011" y="1068"/>
                </a:lnTo>
                <a:lnTo>
                  <a:pt x="2009" y="1065"/>
                </a:lnTo>
                <a:lnTo>
                  <a:pt x="2007" y="1063"/>
                </a:lnTo>
                <a:lnTo>
                  <a:pt x="2006" y="1060"/>
                </a:lnTo>
                <a:lnTo>
                  <a:pt x="2006" y="1057"/>
                </a:lnTo>
                <a:lnTo>
                  <a:pt x="2006" y="1054"/>
                </a:lnTo>
                <a:lnTo>
                  <a:pt x="2007" y="1051"/>
                </a:lnTo>
                <a:lnTo>
                  <a:pt x="2008" y="1048"/>
                </a:lnTo>
                <a:lnTo>
                  <a:pt x="2010" y="1046"/>
                </a:lnTo>
                <a:lnTo>
                  <a:pt x="2012" y="1044"/>
                </a:lnTo>
                <a:lnTo>
                  <a:pt x="2014" y="1043"/>
                </a:lnTo>
                <a:close/>
                <a:moveTo>
                  <a:pt x="2483" y="758"/>
                </a:moveTo>
                <a:lnTo>
                  <a:pt x="2486" y="757"/>
                </a:lnTo>
                <a:lnTo>
                  <a:pt x="2489" y="756"/>
                </a:lnTo>
                <a:lnTo>
                  <a:pt x="2492" y="756"/>
                </a:lnTo>
                <a:lnTo>
                  <a:pt x="2495" y="756"/>
                </a:lnTo>
                <a:lnTo>
                  <a:pt x="2498" y="757"/>
                </a:lnTo>
                <a:lnTo>
                  <a:pt x="2501" y="759"/>
                </a:lnTo>
                <a:lnTo>
                  <a:pt x="2503" y="761"/>
                </a:lnTo>
                <a:lnTo>
                  <a:pt x="2505" y="763"/>
                </a:lnTo>
                <a:lnTo>
                  <a:pt x="2506" y="766"/>
                </a:lnTo>
                <a:lnTo>
                  <a:pt x="2507" y="769"/>
                </a:lnTo>
                <a:lnTo>
                  <a:pt x="2507" y="774"/>
                </a:lnTo>
                <a:lnTo>
                  <a:pt x="2505" y="778"/>
                </a:lnTo>
                <a:lnTo>
                  <a:pt x="2503" y="782"/>
                </a:lnTo>
                <a:lnTo>
                  <a:pt x="2501" y="784"/>
                </a:lnTo>
                <a:lnTo>
                  <a:pt x="2499" y="785"/>
                </a:lnTo>
                <a:lnTo>
                  <a:pt x="2497" y="786"/>
                </a:lnTo>
                <a:lnTo>
                  <a:pt x="2494" y="787"/>
                </a:lnTo>
                <a:lnTo>
                  <a:pt x="2491" y="787"/>
                </a:lnTo>
                <a:lnTo>
                  <a:pt x="2488" y="787"/>
                </a:lnTo>
                <a:lnTo>
                  <a:pt x="2485" y="786"/>
                </a:lnTo>
                <a:lnTo>
                  <a:pt x="2482" y="784"/>
                </a:lnTo>
                <a:lnTo>
                  <a:pt x="2480" y="782"/>
                </a:lnTo>
                <a:lnTo>
                  <a:pt x="2478" y="780"/>
                </a:lnTo>
                <a:lnTo>
                  <a:pt x="2477" y="777"/>
                </a:lnTo>
                <a:lnTo>
                  <a:pt x="2476" y="774"/>
                </a:lnTo>
                <a:lnTo>
                  <a:pt x="2476" y="769"/>
                </a:lnTo>
                <a:lnTo>
                  <a:pt x="2477" y="765"/>
                </a:lnTo>
                <a:lnTo>
                  <a:pt x="2480" y="761"/>
                </a:lnTo>
                <a:lnTo>
                  <a:pt x="2482" y="759"/>
                </a:lnTo>
                <a:lnTo>
                  <a:pt x="2483" y="758"/>
                </a:lnTo>
                <a:close/>
                <a:moveTo>
                  <a:pt x="2343" y="790"/>
                </a:moveTo>
                <a:lnTo>
                  <a:pt x="2346" y="789"/>
                </a:lnTo>
                <a:lnTo>
                  <a:pt x="2349" y="788"/>
                </a:lnTo>
                <a:lnTo>
                  <a:pt x="2352" y="788"/>
                </a:lnTo>
                <a:lnTo>
                  <a:pt x="2355" y="789"/>
                </a:lnTo>
                <a:lnTo>
                  <a:pt x="2358" y="790"/>
                </a:lnTo>
                <a:lnTo>
                  <a:pt x="2360" y="792"/>
                </a:lnTo>
                <a:lnTo>
                  <a:pt x="2362" y="794"/>
                </a:lnTo>
                <a:lnTo>
                  <a:pt x="2364" y="796"/>
                </a:lnTo>
                <a:lnTo>
                  <a:pt x="2365" y="799"/>
                </a:lnTo>
                <a:lnTo>
                  <a:pt x="2366" y="805"/>
                </a:lnTo>
                <a:lnTo>
                  <a:pt x="2366" y="807"/>
                </a:lnTo>
                <a:lnTo>
                  <a:pt x="2365" y="810"/>
                </a:lnTo>
                <a:lnTo>
                  <a:pt x="2364" y="812"/>
                </a:lnTo>
                <a:lnTo>
                  <a:pt x="2362" y="814"/>
                </a:lnTo>
                <a:lnTo>
                  <a:pt x="2360" y="816"/>
                </a:lnTo>
                <a:lnTo>
                  <a:pt x="2358" y="818"/>
                </a:lnTo>
                <a:lnTo>
                  <a:pt x="2355" y="819"/>
                </a:lnTo>
                <a:lnTo>
                  <a:pt x="2352" y="820"/>
                </a:lnTo>
                <a:lnTo>
                  <a:pt x="2349" y="820"/>
                </a:lnTo>
                <a:lnTo>
                  <a:pt x="2346" y="819"/>
                </a:lnTo>
                <a:lnTo>
                  <a:pt x="2343" y="818"/>
                </a:lnTo>
                <a:lnTo>
                  <a:pt x="2341" y="816"/>
                </a:lnTo>
                <a:lnTo>
                  <a:pt x="2338" y="814"/>
                </a:lnTo>
                <a:lnTo>
                  <a:pt x="2337" y="812"/>
                </a:lnTo>
                <a:lnTo>
                  <a:pt x="2335" y="809"/>
                </a:lnTo>
                <a:lnTo>
                  <a:pt x="2335" y="803"/>
                </a:lnTo>
                <a:lnTo>
                  <a:pt x="2335" y="801"/>
                </a:lnTo>
                <a:lnTo>
                  <a:pt x="2336" y="798"/>
                </a:lnTo>
                <a:lnTo>
                  <a:pt x="2337" y="796"/>
                </a:lnTo>
                <a:lnTo>
                  <a:pt x="2338" y="794"/>
                </a:lnTo>
                <a:lnTo>
                  <a:pt x="2340" y="792"/>
                </a:lnTo>
                <a:lnTo>
                  <a:pt x="2343" y="790"/>
                </a:lnTo>
                <a:close/>
                <a:moveTo>
                  <a:pt x="2091" y="923"/>
                </a:moveTo>
                <a:lnTo>
                  <a:pt x="2093" y="922"/>
                </a:lnTo>
                <a:lnTo>
                  <a:pt x="2096" y="922"/>
                </a:lnTo>
                <a:lnTo>
                  <a:pt x="2098" y="921"/>
                </a:lnTo>
                <a:lnTo>
                  <a:pt x="2101" y="922"/>
                </a:lnTo>
                <a:lnTo>
                  <a:pt x="2103" y="922"/>
                </a:lnTo>
                <a:lnTo>
                  <a:pt x="2106" y="923"/>
                </a:lnTo>
                <a:lnTo>
                  <a:pt x="2108" y="924"/>
                </a:lnTo>
                <a:lnTo>
                  <a:pt x="2110" y="926"/>
                </a:lnTo>
                <a:lnTo>
                  <a:pt x="2112" y="928"/>
                </a:lnTo>
                <a:lnTo>
                  <a:pt x="2113" y="931"/>
                </a:lnTo>
                <a:lnTo>
                  <a:pt x="2114" y="934"/>
                </a:lnTo>
                <a:lnTo>
                  <a:pt x="2114" y="937"/>
                </a:lnTo>
                <a:lnTo>
                  <a:pt x="2114" y="940"/>
                </a:lnTo>
                <a:lnTo>
                  <a:pt x="2113" y="943"/>
                </a:lnTo>
                <a:lnTo>
                  <a:pt x="2112" y="946"/>
                </a:lnTo>
                <a:lnTo>
                  <a:pt x="2110" y="948"/>
                </a:lnTo>
                <a:lnTo>
                  <a:pt x="2107" y="951"/>
                </a:lnTo>
                <a:lnTo>
                  <a:pt x="2104" y="952"/>
                </a:lnTo>
                <a:lnTo>
                  <a:pt x="2102" y="952"/>
                </a:lnTo>
                <a:lnTo>
                  <a:pt x="2099" y="953"/>
                </a:lnTo>
                <a:lnTo>
                  <a:pt x="2097" y="953"/>
                </a:lnTo>
                <a:lnTo>
                  <a:pt x="2094" y="952"/>
                </a:lnTo>
                <a:lnTo>
                  <a:pt x="2092" y="951"/>
                </a:lnTo>
                <a:lnTo>
                  <a:pt x="2090" y="950"/>
                </a:lnTo>
                <a:lnTo>
                  <a:pt x="2088" y="948"/>
                </a:lnTo>
                <a:lnTo>
                  <a:pt x="2086" y="946"/>
                </a:lnTo>
                <a:lnTo>
                  <a:pt x="2084" y="943"/>
                </a:lnTo>
                <a:lnTo>
                  <a:pt x="2083" y="940"/>
                </a:lnTo>
                <a:lnTo>
                  <a:pt x="2083" y="937"/>
                </a:lnTo>
                <a:lnTo>
                  <a:pt x="2083" y="934"/>
                </a:lnTo>
                <a:lnTo>
                  <a:pt x="2084" y="931"/>
                </a:lnTo>
                <a:lnTo>
                  <a:pt x="2086" y="928"/>
                </a:lnTo>
                <a:lnTo>
                  <a:pt x="2088" y="926"/>
                </a:lnTo>
                <a:lnTo>
                  <a:pt x="2091" y="923"/>
                </a:lnTo>
                <a:close/>
                <a:moveTo>
                  <a:pt x="2209" y="843"/>
                </a:moveTo>
                <a:lnTo>
                  <a:pt x="2212" y="841"/>
                </a:lnTo>
                <a:lnTo>
                  <a:pt x="2215" y="841"/>
                </a:lnTo>
                <a:lnTo>
                  <a:pt x="2218" y="841"/>
                </a:lnTo>
                <a:lnTo>
                  <a:pt x="2222" y="841"/>
                </a:lnTo>
                <a:lnTo>
                  <a:pt x="2224" y="843"/>
                </a:lnTo>
                <a:lnTo>
                  <a:pt x="2227" y="844"/>
                </a:lnTo>
                <a:lnTo>
                  <a:pt x="2229" y="847"/>
                </a:lnTo>
                <a:lnTo>
                  <a:pt x="2231" y="849"/>
                </a:lnTo>
                <a:lnTo>
                  <a:pt x="2232" y="852"/>
                </a:lnTo>
                <a:lnTo>
                  <a:pt x="2232" y="855"/>
                </a:lnTo>
                <a:lnTo>
                  <a:pt x="2232" y="858"/>
                </a:lnTo>
                <a:lnTo>
                  <a:pt x="2231" y="861"/>
                </a:lnTo>
                <a:lnTo>
                  <a:pt x="2230" y="864"/>
                </a:lnTo>
                <a:lnTo>
                  <a:pt x="2229" y="866"/>
                </a:lnTo>
                <a:lnTo>
                  <a:pt x="2227" y="868"/>
                </a:lnTo>
                <a:lnTo>
                  <a:pt x="2224" y="870"/>
                </a:lnTo>
                <a:lnTo>
                  <a:pt x="2221" y="871"/>
                </a:lnTo>
                <a:lnTo>
                  <a:pt x="2218" y="872"/>
                </a:lnTo>
                <a:lnTo>
                  <a:pt x="2215" y="872"/>
                </a:lnTo>
                <a:lnTo>
                  <a:pt x="2211" y="871"/>
                </a:lnTo>
                <a:lnTo>
                  <a:pt x="2209" y="870"/>
                </a:lnTo>
                <a:lnTo>
                  <a:pt x="2206" y="868"/>
                </a:lnTo>
                <a:lnTo>
                  <a:pt x="2204" y="866"/>
                </a:lnTo>
                <a:lnTo>
                  <a:pt x="2202" y="863"/>
                </a:lnTo>
                <a:lnTo>
                  <a:pt x="2201" y="860"/>
                </a:lnTo>
                <a:lnTo>
                  <a:pt x="2201" y="857"/>
                </a:lnTo>
                <a:lnTo>
                  <a:pt x="2201" y="854"/>
                </a:lnTo>
                <a:lnTo>
                  <a:pt x="2202" y="852"/>
                </a:lnTo>
                <a:lnTo>
                  <a:pt x="2203" y="849"/>
                </a:lnTo>
                <a:lnTo>
                  <a:pt x="2204" y="847"/>
                </a:lnTo>
                <a:lnTo>
                  <a:pt x="2206" y="844"/>
                </a:lnTo>
                <a:lnTo>
                  <a:pt x="2209" y="843"/>
                </a:lnTo>
                <a:close/>
                <a:moveTo>
                  <a:pt x="4748" y="1857"/>
                </a:moveTo>
                <a:lnTo>
                  <a:pt x="4751" y="1855"/>
                </a:lnTo>
                <a:lnTo>
                  <a:pt x="4755" y="1855"/>
                </a:lnTo>
                <a:lnTo>
                  <a:pt x="4758" y="1855"/>
                </a:lnTo>
                <a:lnTo>
                  <a:pt x="4762" y="1856"/>
                </a:lnTo>
                <a:lnTo>
                  <a:pt x="4764" y="1857"/>
                </a:lnTo>
                <a:lnTo>
                  <a:pt x="4767" y="1859"/>
                </a:lnTo>
                <a:lnTo>
                  <a:pt x="4769" y="1861"/>
                </a:lnTo>
                <a:lnTo>
                  <a:pt x="4770" y="1864"/>
                </a:lnTo>
                <a:lnTo>
                  <a:pt x="4771" y="1867"/>
                </a:lnTo>
                <a:lnTo>
                  <a:pt x="4772" y="1870"/>
                </a:lnTo>
                <a:lnTo>
                  <a:pt x="4771" y="1873"/>
                </a:lnTo>
                <a:lnTo>
                  <a:pt x="4770" y="1876"/>
                </a:lnTo>
                <a:lnTo>
                  <a:pt x="4769" y="1878"/>
                </a:lnTo>
                <a:lnTo>
                  <a:pt x="4768" y="1880"/>
                </a:lnTo>
                <a:lnTo>
                  <a:pt x="4766" y="1882"/>
                </a:lnTo>
                <a:lnTo>
                  <a:pt x="4764" y="1884"/>
                </a:lnTo>
                <a:lnTo>
                  <a:pt x="4761" y="1885"/>
                </a:lnTo>
                <a:lnTo>
                  <a:pt x="4757" y="1886"/>
                </a:lnTo>
                <a:lnTo>
                  <a:pt x="4754" y="1886"/>
                </a:lnTo>
                <a:lnTo>
                  <a:pt x="4750" y="1885"/>
                </a:lnTo>
                <a:lnTo>
                  <a:pt x="4749" y="1884"/>
                </a:lnTo>
                <a:lnTo>
                  <a:pt x="4747" y="1883"/>
                </a:lnTo>
                <a:lnTo>
                  <a:pt x="4745" y="1881"/>
                </a:lnTo>
                <a:lnTo>
                  <a:pt x="4743" y="1879"/>
                </a:lnTo>
                <a:lnTo>
                  <a:pt x="4742" y="1876"/>
                </a:lnTo>
                <a:lnTo>
                  <a:pt x="4741" y="1874"/>
                </a:lnTo>
                <a:lnTo>
                  <a:pt x="4740" y="1871"/>
                </a:lnTo>
                <a:lnTo>
                  <a:pt x="4741" y="1868"/>
                </a:lnTo>
                <a:lnTo>
                  <a:pt x="4742" y="1865"/>
                </a:lnTo>
                <a:lnTo>
                  <a:pt x="4743" y="1862"/>
                </a:lnTo>
                <a:lnTo>
                  <a:pt x="4744" y="1860"/>
                </a:lnTo>
                <a:lnTo>
                  <a:pt x="4746" y="1858"/>
                </a:lnTo>
                <a:lnTo>
                  <a:pt x="4748" y="1857"/>
                </a:lnTo>
                <a:close/>
                <a:moveTo>
                  <a:pt x="4616" y="1800"/>
                </a:moveTo>
                <a:lnTo>
                  <a:pt x="4619" y="1798"/>
                </a:lnTo>
                <a:lnTo>
                  <a:pt x="4623" y="1798"/>
                </a:lnTo>
                <a:lnTo>
                  <a:pt x="4627" y="1798"/>
                </a:lnTo>
                <a:lnTo>
                  <a:pt x="4630" y="1799"/>
                </a:lnTo>
                <a:lnTo>
                  <a:pt x="4633" y="1801"/>
                </a:lnTo>
                <a:lnTo>
                  <a:pt x="4635" y="1803"/>
                </a:lnTo>
                <a:lnTo>
                  <a:pt x="4637" y="1805"/>
                </a:lnTo>
                <a:lnTo>
                  <a:pt x="4638" y="1808"/>
                </a:lnTo>
                <a:lnTo>
                  <a:pt x="4639" y="1811"/>
                </a:lnTo>
                <a:lnTo>
                  <a:pt x="4639" y="1814"/>
                </a:lnTo>
                <a:lnTo>
                  <a:pt x="4639" y="1817"/>
                </a:lnTo>
                <a:lnTo>
                  <a:pt x="4638" y="1820"/>
                </a:lnTo>
                <a:lnTo>
                  <a:pt x="4636" y="1822"/>
                </a:lnTo>
                <a:lnTo>
                  <a:pt x="4635" y="1824"/>
                </a:lnTo>
                <a:lnTo>
                  <a:pt x="4633" y="1826"/>
                </a:lnTo>
                <a:lnTo>
                  <a:pt x="4631" y="1827"/>
                </a:lnTo>
                <a:lnTo>
                  <a:pt x="4628" y="1828"/>
                </a:lnTo>
                <a:lnTo>
                  <a:pt x="4624" y="1829"/>
                </a:lnTo>
                <a:lnTo>
                  <a:pt x="4621" y="1829"/>
                </a:lnTo>
                <a:lnTo>
                  <a:pt x="4617" y="1827"/>
                </a:lnTo>
                <a:lnTo>
                  <a:pt x="4614" y="1826"/>
                </a:lnTo>
                <a:lnTo>
                  <a:pt x="4612" y="1824"/>
                </a:lnTo>
                <a:lnTo>
                  <a:pt x="4610" y="1821"/>
                </a:lnTo>
                <a:lnTo>
                  <a:pt x="4609" y="1819"/>
                </a:lnTo>
                <a:lnTo>
                  <a:pt x="4608" y="1816"/>
                </a:lnTo>
                <a:lnTo>
                  <a:pt x="4608" y="1813"/>
                </a:lnTo>
                <a:lnTo>
                  <a:pt x="4608" y="1810"/>
                </a:lnTo>
                <a:lnTo>
                  <a:pt x="4609" y="1807"/>
                </a:lnTo>
                <a:lnTo>
                  <a:pt x="4611" y="1805"/>
                </a:lnTo>
                <a:lnTo>
                  <a:pt x="4612" y="1803"/>
                </a:lnTo>
                <a:lnTo>
                  <a:pt x="4614" y="1801"/>
                </a:lnTo>
                <a:lnTo>
                  <a:pt x="4616" y="1800"/>
                </a:lnTo>
                <a:close/>
                <a:moveTo>
                  <a:pt x="4488" y="1732"/>
                </a:moveTo>
                <a:lnTo>
                  <a:pt x="4492" y="1731"/>
                </a:lnTo>
                <a:lnTo>
                  <a:pt x="4496" y="1730"/>
                </a:lnTo>
                <a:lnTo>
                  <a:pt x="4500" y="1730"/>
                </a:lnTo>
                <a:lnTo>
                  <a:pt x="4504" y="1732"/>
                </a:lnTo>
                <a:lnTo>
                  <a:pt x="4506" y="1734"/>
                </a:lnTo>
                <a:lnTo>
                  <a:pt x="4508" y="1736"/>
                </a:lnTo>
                <a:lnTo>
                  <a:pt x="4510" y="1739"/>
                </a:lnTo>
                <a:lnTo>
                  <a:pt x="4511" y="1741"/>
                </a:lnTo>
                <a:lnTo>
                  <a:pt x="4511" y="1744"/>
                </a:lnTo>
                <a:lnTo>
                  <a:pt x="4511" y="1747"/>
                </a:lnTo>
                <a:lnTo>
                  <a:pt x="4511" y="1750"/>
                </a:lnTo>
                <a:lnTo>
                  <a:pt x="4509" y="1753"/>
                </a:lnTo>
                <a:lnTo>
                  <a:pt x="4507" y="1757"/>
                </a:lnTo>
                <a:lnTo>
                  <a:pt x="4504" y="1759"/>
                </a:lnTo>
                <a:lnTo>
                  <a:pt x="4500" y="1760"/>
                </a:lnTo>
                <a:lnTo>
                  <a:pt x="4496" y="1761"/>
                </a:lnTo>
                <a:lnTo>
                  <a:pt x="4492" y="1761"/>
                </a:lnTo>
                <a:lnTo>
                  <a:pt x="4488" y="1759"/>
                </a:lnTo>
                <a:lnTo>
                  <a:pt x="4486" y="1757"/>
                </a:lnTo>
                <a:lnTo>
                  <a:pt x="4484" y="1755"/>
                </a:lnTo>
                <a:lnTo>
                  <a:pt x="4482" y="1752"/>
                </a:lnTo>
                <a:lnTo>
                  <a:pt x="4481" y="1750"/>
                </a:lnTo>
                <a:lnTo>
                  <a:pt x="4480" y="1747"/>
                </a:lnTo>
                <a:lnTo>
                  <a:pt x="4481" y="1744"/>
                </a:lnTo>
                <a:lnTo>
                  <a:pt x="4481" y="1741"/>
                </a:lnTo>
                <a:lnTo>
                  <a:pt x="4482" y="1738"/>
                </a:lnTo>
                <a:lnTo>
                  <a:pt x="4485" y="1735"/>
                </a:lnTo>
                <a:lnTo>
                  <a:pt x="4488" y="1732"/>
                </a:lnTo>
                <a:close/>
                <a:moveTo>
                  <a:pt x="4363" y="1661"/>
                </a:moveTo>
                <a:lnTo>
                  <a:pt x="4367" y="1660"/>
                </a:lnTo>
                <a:lnTo>
                  <a:pt x="4370" y="1659"/>
                </a:lnTo>
                <a:lnTo>
                  <a:pt x="4374" y="1659"/>
                </a:lnTo>
                <a:lnTo>
                  <a:pt x="4378" y="1661"/>
                </a:lnTo>
                <a:lnTo>
                  <a:pt x="4381" y="1663"/>
                </a:lnTo>
                <a:lnTo>
                  <a:pt x="4383" y="1665"/>
                </a:lnTo>
                <a:lnTo>
                  <a:pt x="4385" y="1668"/>
                </a:lnTo>
                <a:lnTo>
                  <a:pt x="4386" y="1670"/>
                </a:lnTo>
                <a:lnTo>
                  <a:pt x="4386" y="1673"/>
                </a:lnTo>
                <a:lnTo>
                  <a:pt x="4386" y="1676"/>
                </a:lnTo>
                <a:lnTo>
                  <a:pt x="4385" y="1679"/>
                </a:lnTo>
                <a:lnTo>
                  <a:pt x="4384" y="1682"/>
                </a:lnTo>
                <a:lnTo>
                  <a:pt x="4383" y="1684"/>
                </a:lnTo>
                <a:lnTo>
                  <a:pt x="4382" y="1685"/>
                </a:lnTo>
                <a:lnTo>
                  <a:pt x="4378" y="1688"/>
                </a:lnTo>
                <a:lnTo>
                  <a:pt x="4375" y="1689"/>
                </a:lnTo>
                <a:lnTo>
                  <a:pt x="4371" y="1690"/>
                </a:lnTo>
                <a:lnTo>
                  <a:pt x="4367" y="1690"/>
                </a:lnTo>
                <a:lnTo>
                  <a:pt x="4363" y="1688"/>
                </a:lnTo>
                <a:lnTo>
                  <a:pt x="4360" y="1686"/>
                </a:lnTo>
                <a:lnTo>
                  <a:pt x="4358" y="1684"/>
                </a:lnTo>
                <a:lnTo>
                  <a:pt x="4357" y="1681"/>
                </a:lnTo>
                <a:lnTo>
                  <a:pt x="4356" y="1679"/>
                </a:lnTo>
                <a:lnTo>
                  <a:pt x="4355" y="1676"/>
                </a:lnTo>
                <a:lnTo>
                  <a:pt x="4355" y="1673"/>
                </a:lnTo>
                <a:lnTo>
                  <a:pt x="4356" y="1670"/>
                </a:lnTo>
                <a:lnTo>
                  <a:pt x="4357" y="1667"/>
                </a:lnTo>
                <a:lnTo>
                  <a:pt x="4358" y="1665"/>
                </a:lnTo>
                <a:lnTo>
                  <a:pt x="4360" y="1664"/>
                </a:lnTo>
                <a:lnTo>
                  <a:pt x="4363" y="1661"/>
                </a:lnTo>
                <a:close/>
                <a:moveTo>
                  <a:pt x="4237" y="1591"/>
                </a:moveTo>
                <a:lnTo>
                  <a:pt x="4241" y="1589"/>
                </a:lnTo>
                <a:lnTo>
                  <a:pt x="4245" y="1589"/>
                </a:lnTo>
                <a:lnTo>
                  <a:pt x="4247" y="1589"/>
                </a:lnTo>
                <a:lnTo>
                  <a:pt x="4249" y="1589"/>
                </a:lnTo>
                <a:lnTo>
                  <a:pt x="4252" y="1591"/>
                </a:lnTo>
                <a:lnTo>
                  <a:pt x="4255" y="1593"/>
                </a:lnTo>
                <a:lnTo>
                  <a:pt x="4257" y="1595"/>
                </a:lnTo>
                <a:lnTo>
                  <a:pt x="4259" y="1597"/>
                </a:lnTo>
                <a:lnTo>
                  <a:pt x="4260" y="1600"/>
                </a:lnTo>
                <a:lnTo>
                  <a:pt x="4260" y="1603"/>
                </a:lnTo>
                <a:lnTo>
                  <a:pt x="4260" y="1606"/>
                </a:lnTo>
                <a:lnTo>
                  <a:pt x="4260" y="1609"/>
                </a:lnTo>
                <a:lnTo>
                  <a:pt x="4258" y="1612"/>
                </a:lnTo>
                <a:lnTo>
                  <a:pt x="4256" y="1615"/>
                </a:lnTo>
                <a:lnTo>
                  <a:pt x="4253" y="1618"/>
                </a:lnTo>
                <a:lnTo>
                  <a:pt x="4249" y="1619"/>
                </a:lnTo>
                <a:lnTo>
                  <a:pt x="4245" y="1620"/>
                </a:lnTo>
                <a:lnTo>
                  <a:pt x="4243" y="1620"/>
                </a:lnTo>
                <a:lnTo>
                  <a:pt x="4241" y="1620"/>
                </a:lnTo>
                <a:lnTo>
                  <a:pt x="4237" y="1618"/>
                </a:lnTo>
                <a:lnTo>
                  <a:pt x="4235" y="1616"/>
                </a:lnTo>
                <a:lnTo>
                  <a:pt x="4233" y="1614"/>
                </a:lnTo>
                <a:lnTo>
                  <a:pt x="4231" y="1612"/>
                </a:lnTo>
                <a:lnTo>
                  <a:pt x="4230" y="1609"/>
                </a:lnTo>
                <a:lnTo>
                  <a:pt x="4229" y="1606"/>
                </a:lnTo>
                <a:lnTo>
                  <a:pt x="4229" y="1603"/>
                </a:lnTo>
                <a:lnTo>
                  <a:pt x="4230" y="1600"/>
                </a:lnTo>
                <a:lnTo>
                  <a:pt x="4231" y="1597"/>
                </a:lnTo>
                <a:lnTo>
                  <a:pt x="4234" y="1594"/>
                </a:lnTo>
                <a:lnTo>
                  <a:pt x="4237" y="1591"/>
                </a:lnTo>
                <a:close/>
                <a:moveTo>
                  <a:pt x="4111" y="1522"/>
                </a:moveTo>
                <a:lnTo>
                  <a:pt x="4112" y="1521"/>
                </a:lnTo>
                <a:lnTo>
                  <a:pt x="4114" y="1521"/>
                </a:lnTo>
                <a:lnTo>
                  <a:pt x="4118" y="1520"/>
                </a:lnTo>
                <a:lnTo>
                  <a:pt x="4120" y="1520"/>
                </a:lnTo>
                <a:lnTo>
                  <a:pt x="4122" y="1521"/>
                </a:lnTo>
                <a:lnTo>
                  <a:pt x="4126" y="1522"/>
                </a:lnTo>
                <a:lnTo>
                  <a:pt x="4128" y="1524"/>
                </a:lnTo>
                <a:lnTo>
                  <a:pt x="4130" y="1526"/>
                </a:lnTo>
                <a:lnTo>
                  <a:pt x="4132" y="1528"/>
                </a:lnTo>
                <a:lnTo>
                  <a:pt x="4133" y="1531"/>
                </a:lnTo>
                <a:lnTo>
                  <a:pt x="4134" y="1534"/>
                </a:lnTo>
                <a:lnTo>
                  <a:pt x="4134" y="1537"/>
                </a:lnTo>
                <a:lnTo>
                  <a:pt x="4133" y="1540"/>
                </a:lnTo>
                <a:lnTo>
                  <a:pt x="4132" y="1543"/>
                </a:lnTo>
                <a:lnTo>
                  <a:pt x="4129" y="1547"/>
                </a:lnTo>
                <a:lnTo>
                  <a:pt x="4128" y="1548"/>
                </a:lnTo>
                <a:lnTo>
                  <a:pt x="4126" y="1549"/>
                </a:lnTo>
                <a:lnTo>
                  <a:pt x="4124" y="1550"/>
                </a:lnTo>
                <a:lnTo>
                  <a:pt x="4123" y="1551"/>
                </a:lnTo>
                <a:lnTo>
                  <a:pt x="4119" y="1551"/>
                </a:lnTo>
                <a:lnTo>
                  <a:pt x="4117" y="1551"/>
                </a:lnTo>
                <a:lnTo>
                  <a:pt x="4115" y="1551"/>
                </a:lnTo>
                <a:lnTo>
                  <a:pt x="4111" y="1549"/>
                </a:lnTo>
                <a:lnTo>
                  <a:pt x="4108" y="1548"/>
                </a:lnTo>
                <a:lnTo>
                  <a:pt x="4106" y="1545"/>
                </a:lnTo>
                <a:lnTo>
                  <a:pt x="4105" y="1543"/>
                </a:lnTo>
                <a:lnTo>
                  <a:pt x="4103" y="1540"/>
                </a:lnTo>
                <a:lnTo>
                  <a:pt x="4103" y="1537"/>
                </a:lnTo>
                <a:lnTo>
                  <a:pt x="4103" y="1534"/>
                </a:lnTo>
                <a:lnTo>
                  <a:pt x="4103" y="1531"/>
                </a:lnTo>
                <a:lnTo>
                  <a:pt x="4105" y="1528"/>
                </a:lnTo>
                <a:lnTo>
                  <a:pt x="4107" y="1525"/>
                </a:lnTo>
                <a:lnTo>
                  <a:pt x="4109" y="1523"/>
                </a:lnTo>
                <a:lnTo>
                  <a:pt x="4111" y="1522"/>
                </a:lnTo>
                <a:close/>
                <a:moveTo>
                  <a:pt x="3982" y="1455"/>
                </a:moveTo>
                <a:lnTo>
                  <a:pt x="3984" y="1454"/>
                </a:lnTo>
                <a:lnTo>
                  <a:pt x="3986" y="1454"/>
                </a:lnTo>
                <a:lnTo>
                  <a:pt x="3989" y="1453"/>
                </a:lnTo>
                <a:lnTo>
                  <a:pt x="3993" y="1454"/>
                </a:lnTo>
                <a:lnTo>
                  <a:pt x="3997" y="1455"/>
                </a:lnTo>
                <a:lnTo>
                  <a:pt x="4000" y="1457"/>
                </a:lnTo>
                <a:lnTo>
                  <a:pt x="4002" y="1459"/>
                </a:lnTo>
                <a:lnTo>
                  <a:pt x="4003" y="1461"/>
                </a:lnTo>
                <a:lnTo>
                  <a:pt x="4005" y="1464"/>
                </a:lnTo>
                <a:lnTo>
                  <a:pt x="4005" y="1470"/>
                </a:lnTo>
                <a:lnTo>
                  <a:pt x="4005" y="1473"/>
                </a:lnTo>
                <a:lnTo>
                  <a:pt x="4004" y="1476"/>
                </a:lnTo>
                <a:lnTo>
                  <a:pt x="4001" y="1480"/>
                </a:lnTo>
                <a:lnTo>
                  <a:pt x="3998" y="1482"/>
                </a:lnTo>
                <a:lnTo>
                  <a:pt x="3996" y="1483"/>
                </a:lnTo>
                <a:lnTo>
                  <a:pt x="3994" y="1484"/>
                </a:lnTo>
                <a:lnTo>
                  <a:pt x="3990" y="1484"/>
                </a:lnTo>
                <a:lnTo>
                  <a:pt x="3987" y="1484"/>
                </a:lnTo>
                <a:lnTo>
                  <a:pt x="3983" y="1483"/>
                </a:lnTo>
                <a:lnTo>
                  <a:pt x="3980" y="1481"/>
                </a:lnTo>
                <a:lnTo>
                  <a:pt x="3978" y="1479"/>
                </a:lnTo>
                <a:lnTo>
                  <a:pt x="3976" y="1476"/>
                </a:lnTo>
                <a:lnTo>
                  <a:pt x="3975" y="1474"/>
                </a:lnTo>
                <a:lnTo>
                  <a:pt x="3974" y="1468"/>
                </a:lnTo>
                <a:lnTo>
                  <a:pt x="3975" y="1465"/>
                </a:lnTo>
                <a:lnTo>
                  <a:pt x="3976" y="1462"/>
                </a:lnTo>
                <a:lnTo>
                  <a:pt x="3979" y="1458"/>
                </a:lnTo>
                <a:lnTo>
                  <a:pt x="3982" y="1455"/>
                </a:lnTo>
                <a:close/>
                <a:moveTo>
                  <a:pt x="3853" y="1391"/>
                </a:moveTo>
                <a:lnTo>
                  <a:pt x="3857" y="1389"/>
                </a:lnTo>
                <a:lnTo>
                  <a:pt x="3860" y="1389"/>
                </a:lnTo>
                <a:lnTo>
                  <a:pt x="3864" y="1389"/>
                </a:lnTo>
                <a:lnTo>
                  <a:pt x="3868" y="1390"/>
                </a:lnTo>
                <a:lnTo>
                  <a:pt x="3871" y="1392"/>
                </a:lnTo>
                <a:lnTo>
                  <a:pt x="3873" y="1394"/>
                </a:lnTo>
                <a:lnTo>
                  <a:pt x="3875" y="1397"/>
                </a:lnTo>
                <a:lnTo>
                  <a:pt x="3876" y="1399"/>
                </a:lnTo>
                <a:lnTo>
                  <a:pt x="3876" y="1402"/>
                </a:lnTo>
                <a:lnTo>
                  <a:pt x="3877" y="1405"/>
                </a:lnTo>
                <a:lnTo>
                  <a:pt x="3876" y="1408"/>
                </a:lnTo>
                <a:lnTo>
                  <a:pt x="3875" y="1411"/>
                </a:lnTo>
                <a:lnTo>
                  <a:pt x="3874" y="1413"/>
                </a:lnTo>
                <a:lnTo>
                  <a:pt x="3872" y="1415"/>
                </a:lnTo>
                <a:lnTo>
                  <a:pt x="3869" y="1418"/>
                </a:lnTo>
                <a:lnTo>
                  <a:pt x="3865" y="1419"/>
                </a:lnTo>
                <a:lnTo>
                  <a:pt x="3862" y="1420"/>
                </a:lnTo>
                <a:lnTo>
                  <a:pt x="3858" y="1420"/>
                </a:lnTo>
                <a:lnTo>
                  <a:pt x="3854" y="1418"/>
                </a:lnTo>
                <a:lnTo>
                  <a:pt x="3852" y="1417"/>
                </a:lnTo>
                <a:lnTo>
                  <a:pt x="3849" y="1415"/>
                </a:lnTo>
                <a:lnTo>
                  <a:pt x="3848" y="1412"/>
                </a:lnTo>
                <a:lnTo>
                  <a:pt x="3846" y="1409"/>
                </a:lnTo>
                <a:lnTo>
                  <a:pt x="3846" y="1407"/>
                </a:lnTo>
                <a:lnTo>
                  <a:pt x="3846" y="1404"/>
                </a:lnTo>
                <a:lnTo>
                  <a:pt x="3846" y="1400"/>
                </a:lnTo>
                <a:lnTo>
                  <a:pt x="3847" y="1398"/>
                </a:lnTo>
                <a:lnTo>
                  <a:pt x="3848" y="1395"/>
                </a:lnTo>
                <a:lnTo>
                  <a:pt x="3850" y="1394"/>
                </a:lnTo>
                <a:lnTo>
                  <a:pt x="3853" y="1391"/>
                </a:lnTo>
                <a:close/>
                <a:moveTo>
                  <a:pt x="3723" y="1330"/>
                </a:moveTo>
                <a:lnTo>
                  <a:pt x="3726" y="1328"/>
                </a:lnTo>
                <a:lnTo>
                  <a:pt x="3730" y="1328"/>
                </a:lnTo>
                <a:lnTo>
                  <a:pt x="3734" y="1328"/>
                </a:lnTo>
                <a:lnTo>
                  <a:pt x="3735" y="1328"/>
                </a:lnTo>
                <a:lnTo>
                  <a:pt x="3737" y="1329"/>
                </a:lnTo>
                <a:lnTo>
                  <a:pt x="3740" y="1331"/>
                </a:lnTo>
                <a:lnTo>
                  <a:pt x="3742" y="1333"/>
                </a:lnTo>
                <a:lnTo>
                  <a:pt x="3744" y="1335"/>
                </a:lnTo>
                <a:lnTo>
                  <a:pt x="3745" y="1338"/>
                </a:lnTo>
                <a:lnTo>
                  <a:pt x="3746" y="1341"/>
                </a:lnTo>
                <a:lnTo>
                  <a:pt x="3746" y="1344"/>
                </a:lnTo>
                <a:lnTo>
                  <a:pt x="3746" y="1347"/>
                </a:lnTo>
                <a:lnTo>
                  <a:pt x="3745" y="1350"/>
                </a:lnTo>
                <a:lnTo>
                  <a:pt x="3744" y="1352"/>
                </a:lnTo>
                <a:lnTo>
                  <a:pt x="3742" y="1354"/>
                </a:lnTo>
                <a:lnTo>
                  <a:pt x="3741" y="1355"/>
                </a:lnTo>
                <a:lnTo>
                  <a:pt x="3739" y="1357"/>
                </a:lnTo>
                <a:lnTo>
                  <a:pt x="3735" y="1358"/>
                </a:lnTo>
                <a:lnTo>
                  <a:pt x="3732" y="1359"/>
                </a:lnTo>
                <a:lnTo>
                  <a:pt x="3728" y="1358"/>
                </a:lnTo>
                <a:lnTo>
                  <a:pt x="3726" y="1358"/>
                </a:lnTo>
                <a:lnTo>
                  <a:pt x="3724" y="1357"/>
                </a:lnTo>
                <a:lnTo>
                  <a:pt x="3722" y="1356"/>
                </a:lnTo>
                <a:lnTo>
                  <a:pt x="3719" y="1354"/>
                </a:lnTo>
                <a:lnTo>
                  <a:pt x="3718" y="1351"/>
                </a:lnTo>
                <a:lnTo>
                  <a:pt x="3716" y="1349"/>
                </a:lnTo>
                <a:lnTo>
                  <a:pt x="3715" y="1346"/>
                </a:lnTo>
                <a:lnTo>
                  <a:pt x="3715" y="1343"/>
                </a:lnTo>
                <a:lnTo>
                  <a:pt x="3716" y="1340"/>
                </a:lnTo>
                <a:lnTo>
                  <a:pt x="3717" y="1337"/>
                </a:lnTo>
                <a:lnTo>
                  <a:pt x="3718" y="1335"/>
                </a:lnTo>
                <a:lnTo>
                  <a:pt x="3719" y="1333"/>
                </a:lnTo>
                <a:lnTo>
                  <a:pt x="3721" y="1331"/>
                </a:lnTo>
                <a:lnTo>
                  <a:pt x="3723" y="1330"/>
                </a:lnTo>
                <a:close/>
                <a:moveTo>
                  <a:pt x="1967" y="2343"/>
                </a:moveTo>
                <a:lnTo>
                  <a:pt x="1969" y="2342"/>
                </a:lnTo>
                <a:lnTo>
                  <a:pt x="1972" y="2341"/>
                </a:lnTo>
                <a:lnTo>
                  <a:pt x="1977" y="2341"/>
                </a:lnTo>
                <a:lnTo>
                  <a:pt x="1979" y="2342"/>
                </a:lnTo>
                <a:lnTo>
                  <a:pt x="1982" y="2343"/>
                </a:lnTo>
                <a:lnTo>
                  <a:pt x="1984" y="2344"/>
                </a:lnTo>
                <a:lnTo>
                  <a:pt x="1986" y="2346"/>
                </a:lnTo>
                <a:lnTo>
                  <a:pt x="1988" y="2348"/>
                </a:lnTo>
                <a:lnTo>
                  <a:pt x="1989" y="2351"/>
                </a:lnTo>
                <a:lnTo>
                  <a:pt x="1990" y="2354"/>
                </a:lnTo>
                <a:lnTo>
                  <a:pt x="1990" y="2357"/>
                </a:lnTo>
                <a:lnTo>
                  <a:pt x="1990" y="2360"/>
                </a:lnTo>
                <a:lnTo>
                  <a:pt x="1989" y="2363"/>
                </a:lnTo>
                <a:lnTo>
                  <a:pt x="1988" y="2365"/>
                </a:lnTo>
                <a:lnTo>
                  <a:pt x="1986" y="2368"/>
                </a:lnTo>
                <a:lnTo>
                  <a:pt x="1982" y="2370"/>
                </a:lnTo>
                <a:lnTo>
                  <a:pt x="1978" y="2372"/>
                </a:lnTo>
                <a:lnTo>
                  <a:pt x="1973" y="2372"/>
                </a:lnTo>
                <a:lnTo>
                  <a:pt x="1970" y="2371"/>
                </a:lnTo>
                <a:lnTo>
                  <a:pt x="1968" y="2370"/>
                </a:lnTo>
                <a:lnTo>
                  <a:pt x="1966" y="2369"/>
                </a:lnTo>
                <a:lnTo>
                  <a:pt x="1964" y="2367"/>
                </a:lnTo>
                <a:lnTo>
                  <a:pt x="1962" y="2365"/>
                </a:lnTo>
                <a:lnTo>
                  <a:pt x="1960" y="2362"/>
                </a:lnTo>
                <a:lnTo>
                  <a:pt x="1959" y="2359"/>
                </a:lnTo>
                <a:lnTo>
                  <a:pt x="1959" y="2356"/>
                </a:lnTo>
                <a:lnTo>
                  <a:pt x="1959" y="2353"/>
                </a:lnTo>
                <a:lnTo>
                  <a:pt x="1960" y="2350"/>
                </a:lnTo>
                <a:lnTo>
                  <a:pt x="1962" y="2348"/>
                </a:lnTo>
                <a:lnTo>
                  <a:pt x="1964" y="2345"/>
                </a:lnTo>
                <a:lnTo>
                  <a:pt x="1967" y="2343"/>
                </a:lnTo>
                <a:close/>
                <a:moveTo>
                  <a:pt x="2063" y="2236"/>
                </a:moveTo>
                <a:lnTo>
                  <a:pt x="2067" y="2234"/>
                </a:lnTo>
                <a:lnTo>
                  <a:pt x="2071" y="2234"/>
                </a:lnTo>
                <a:lnTo>
                  <a:pt x="2073" y="2234"/>
                </a:lnTo>
                <a:lnTo>
                  <a:pt x="2076" y="2235"/>
                </a:lnTo>
                <a:lnTo>
                  <a:pt x="2078" y="2236"/>
                </a:lnTo>
                <a:lnTo>
                  <a:pt x="2080" y="2237"/>
                </a:lnTo>
                <a:lnTo>
                  <a:pt x="2082" y="2239"/>
                </a:lnTo>
                <a:lnTo>
                  <a:pt x="2084" y="2242"/>
                </a:lnTo>
                <a:lnTo>
                  <a:pt x="2085" y="2245"/>
                </a:lnTo>
                <a:lnTo>
                  <a:pt x="2086" y="2248"/>
                </a:lnTo>
                <a:lnTo>
                  <a:pt x="2086" y="2251"/>
                </a:lnTo>
                <a:lnTo>
                  <a:pt x="2085" y="2254"/>
                </a:lnTo>
                <a:lnTo>
                  <a:pt x="2084" y="2256"/>
                </a:lnTo>
                <a:lnTo>
                  <a:pt x="2083" y="2259"/>
                </a:lnTo>
                <a:lnTo>
                  <a:pt x="2081" y="2261"/>
                </a:lnTo>
                <a:lnTo>
                  <a:pt x="2078" y="2263"/>
                </a:lnTo>
                <a:lnTo>
                  <a:pt x="2074" y="2265"/>
                </a:lnTo>
                <a:lnTo>
                  <a:pt x="2069" y="2265"/>
                </a:lnTo>
                <a:lnTo>
                  <a:pt x="2067" y="2265"/>
                </a:lnTo>
                <a:lnTo>
                  <a:pt x="2065" y="2264"/>
                </a:lnTo>
                <a:lnTo>
                  <a:pt x="2063" y="2263"/>
                </a:lnTo>
                <a:lnTo>
                  <a:pt x="2061" y="2262"/>
                </a:lnTo>
                <a:lnTo>
                  <a:pt x="2059" y="2260"/>
                </a:lnTo>
                <a:lnTo>
                  <a:pt x="2057" y="2257"/>
                </a:lnTo>
                <a:lnTo>
                  <a:pt x="2056" y="2255"/>
                </a:lnTo>
                <a:lnTo>
                  <a:pt x="2055" y="2252"/>
                </a:lnTo>
                <a:lnTo>
                  <a:pt x="2055" y="2249"/>
                </a:lnTo>
                <a:lnTo>
                  <a:pt x="2055" y="2246"/>
                </a:lnTo>
                <a:lnTo>
                  <a:pt x="2056" y="2243"/>
                </a:lnTo>
                <a:lnTo>
                  <a:pt x="2058" y="2240"/>
                </a:lnTo>
                <a:lnTo>
                  <a:pt x="2060" y="2238"/>
                </a:lnTo>
                <a:lnTo>
                  <a:pt x="2063" y="2236"/>
                </a:lnTo>
                <a:close/>
                <a:moveTo>
                  <a:pt x="2140" y="2115"/>
                </a:moveTo>
                <a:lnTo>
                  <a:pt x="2141" y="2114"/>
                </a:lnTo>
                <a:lnTo>
                  <a:pt x="2143" y="2114"/>
                </a:lnTo>
                <a:lnTo>
                  <a:pt x="2147" y="2113"/>
                </a:lnTo>
                <a:lnTo>
                  <a:pt x="2151" y="2113"/>
                </a:lnTo>
                <a:lnTo>
                  <a:pt x="2154" y="2115"/>
                </a:lnTo>
                <a:lnTo>
                  <a:pt x="2157" y="2116"/>
                </a:lnTo>
                <a:lnTo>
                  <a:pt x="2159" y="2119"/>
                </a:lnTo>
                <a:lnTo>
                  <a:pt x="2161" y="2121"/>
                </a:lnTo>
                <a:lnTo>
                  <a:pt x="2162" y="2124"/>
                </a:lnTo>
                <a:lnTo>
                  <a:pt x="2163" y="2130"/>
                </a:lnTo>
                <a:lnTo>
                  <a:pt x="2162" y="2133"/>
                </a:lnTo>
                <a:lnTo>
                  <a:pt x="2161" y="2136"/>
                </a:lnTo>
                <a:lnTo>
                  <a:pt x="2159" y="2139"/>
                </a:lnTo>
                <a:lnTo>
                  <a:pt x="2155" y="2142"/>
                </a:lnTo>
                <a:lnTo>
                  <a:pt x="2153" y="2143"/>
                </a:lnTo>
                <a:lnTo>
                  <a:pt x="2152" y="2143"/>
                </a:lnTo>
                <a:lnTo>
                  <a:pt x="2148" y="2144"/>
                </a:lnTo>
                <a:lnTo>
                  <a:pt x="2144" y="2144"/>
                </a:lnTo>
                <a:lnTo>
                  <a:pt x="2140" y="2142"/>
                </a:lnTo>
                <a:lnTo>
                  <a:pt x="2138" y="2141"/>
                </a:lnTo>
                <a:lnTo>
                  <a:pt x="2135" y="2139"/>
                </a:lnTo>
                <a:lnTo>
                  <a:pt x="2134" y="2136"/>
                </a:lnTo>
                <a:lnTo>
                  <a:pt x="2133" y="2133"/>
                </a:lnTo>
                <a:lnTo>
                  <a:pt x="2132" y="2127"/>
                </a:lnTo>
                <a:lnTo>
                  <a:pt x="2132" y="2124"/>
                </a:lnTo>
                <a:lnTo>
                  <a:pt x="2133" y="2121"/>
                </a:lnTo>
                <a:lnTo>
                  <a:pt x="2136" y="2118"/>
                </a:lnTo>
                <a:lnTo>
                  <a:pt x="2140" y="2115"/>
                </a:lnTo>
                <a:close/>
                <a:moveTo>
                  <a:pt x="3591" y="1273"/>
                </a:moveTo>
                <a:lnTo>
                  <a:pt x="3594" y="1271"/>
                </a:lnTo>
                <a:lnTo>
                  <a:pt x="3597" y="1271"/>
                </a:lnTo>
                <a:lnTo>
                  <a:pt x="3601" y="1271"/>
                </a:lnTo>
                <a:lnTo>
                  <a:pt x="3604" y="1272"/>
                </a:lnTo>
                <a:lnTo>
                  <a:pt x="3607" y="1273"/>
                </a:lnTo>
                <a:lnTo>
                  <a:pt x="3610" y="1275"/>
                </a:lnTo>
                <a:lnTo>
                  <a:pt x="3611" y="1278"/>
                </a:lnTo>
                <a:lnTo>
                  <a:pt x="3613" y="1280"/>
                </a:lnTo>
                <a:lnTo>
                  <a:pt x="3614" y="1283"/>
                </a:lnTo>
                <a:lnTo>
                  <a:pt x="3614" y="1286"/>
                </a:lnTo>
                <a:lnTo>
                  <a:pt x="3614" y="1289"/>
                </a:lnTo>
                <a:lnTo>
                  <a:pt x="3613" y="1292"/>
                </a:lnTo>
                <a:lnTo>
                  <a:pt x="3612" y="1294"/>
                </a:lnTo>
                <a:lnTo>
                  <a:pt x="3610" y="1297"/>
                </a:lnTo>
                <a:lnTo>
                  <a:pt x="3608" y="1298"/>
                </a:lnTo>
                <a:lnTo>
                  <a:pt x="3606" y="1300"/>
                </a:lnTo>
                <a:lnTo>
                  <a:pt x="3603" y="1301"/>
                </a:lnTo>
                <a:lnTo>
                  <a:pt x="3600" y="1302"/>
                </a:lnTo>
                <a:lnTo>
                  <a:pt x="3596" y="1302"/>
                </a:lnTo>
                <a:lnTo>
                  <a:pt x="3593" y="1301"/>
                </a:lnTo>
                <a:lnTo>
                  <a:pt x="3590" y="1299"/>
                </a:lnTo>
                <a:lnTo>
                  <a:pt x="3588" y="1297"/>
                </a:lnTo>
                <a:lnTo>
                  <a:pt x="3586" y="1295"/>
                </a:lnTo>
                <a:lnTo>
                  <a:pt x="3584" y="1292"/>
                </a:lnTo>
                <a:lnTo>
                  <a:pt x="3583" y="1289"/>
                </a:lnTo>
                <a:lnTo>
                  <a:pt x="3583" y="1286"/>
                </a:lnTo>
                <a:lnTo>
                  <a:pt x="3583" y="1283"/>
                </a:lnTo>
                <a:lnTo>
                  <a:pt x="3584" y="1280"/>
                </a:lnTo>
                <a:lnTo>
                  <a:pt x="3585" y="1278"/>
                </a:lnTo>
                <a:lnTo>
                  <a:pt x="3587" y="1276"/>
                </a:lnTo>
                <a:lnTo>
                  <a:pt x="3589" y="1274"/>
                </a:lnTo>
                <a:lnTo>
                  <a:pt x="3591" y="1273"/>
                </a:lnTo>
                <a:close/>
                <a:moveTo>
                  <a:pt x="2193" y="1982"/>
                </a:moveTo>
                <a:lnTo>
                  <a:pt x="2196" y="1981"/>
                </a:lnTo>
                <a:lnTo>
                  <a:pt x="2199" y="1980"/>
                </a:lnTo>
                <a:lnTo>
                  <a:pt x="2202" y="1980"/>
                </a:lnTo>
                <a:lnTo>
                  <a:pt x="2205" y="1981"/>
                </a:lnTo>
                <a:lnTo>
                  <a:pt x="2208" y="1982"/>
                </a:lnTo>
                <a:lnTo>
                  <a:pt x="2211" y="1983"/>
                </a:lnTo>
                <a:lnTo>
                  <a:pt x="2212" y="1984"/>
                </a:lnTo>
                <a:lnTo>
                  <a:pt x="2213" y="1986"/>
                </a:lnTo>
                <a:lnTo>
                  <a:pt x="2215" y="1988"/>
                </a:lnTo>
                <a:lnTo>
                  <a:pt x="2216" y="1991"/>
                </a:lnTo>
                <a:lnTo>
                  <a:pt x="2216" y="1994"/>
                </a:lnTo>
                <a:lnTo>
                  <a:pt x="2216" y="1997"/>
                </a:lnTo>
                <a:lnTo>
                  <a:pt x="2216" y="2000"/>
                </a:lnTo>
                <a:lnTo>
                  <a:pt x="2215" y="2003"/>
                </a:lnTo>
                <a:lnTo>
                  <a:pt x="2213" y="2005"/>
                </a:lnTo>
                <a:lnTo>
                  <a:pt x="2211" y="2007"/>
                </a:lnTo>
                <a:lnTo>
                  <a:pt x="2209" y="2009"/>
                </a:lnTo>
                <a:lnTo>
                  <a:pt x="2206" y="2010"/>
                </a:lnTo>
                <a:lnTo>
                  <a:pt x="2203" y="2011"/>
                </a:lnTo>
                <a:lnTo>
                  <a:pt x="2200" y="2011"/>
                </a:lnTo>
                <a:lnTo>
                  <a:pt x="2196" y="2010"/>
                </a:lnTo>
                <a:lnTo>
                  <a:pt x="2194" y="2009"/>
                </a:lnTo>
                <a:lnTo>
                  <a:pt x="2191" y="2007"/>
                </a:lnTo>
                <a:lnTo>
                  <a:pt x="2190" y="2006"/>
                </a:lnTo>
                <a:lnTo>
                  <a:pt x="2189" y="2005"/>
                </a:lnTo>
                <a:lnTo>
                  <a:pt x="2187" y="2003"/>
                </a:lnTo>
                <a:lnTo>
                  <a:pt x="2186" y="2000"/>
                </a:lnTo>
                <a:lnTo>
                  <a:pt x="2185" y="1997"/>
                </a:lnTo>
                <a:lnTo>
                  <a:pt x="2185" y="1994"/>
                </a:lnTo>
                <a:lnTo>
                  <a:pt x="2186" y="1991"/>
                </a:lnTo>
                <a:lnTo>
                  <a:pt x="2187" y="1988"/>
                </a:lnTo>
                <a:lnTo>
                  <a:pt x="2189" y="1986"/>
                </a:lnTo>
                <a:lnTo>
                  <a:pt x="2191" y="1984"/>
                </a:lnTo>
                <a:lnTo>
                  <a:pt x="2193" y="1982"/>
                </a:lnTo>
                <a:close/>
                <a:moveTo>
                  <a:pt x="3456" y="1222"/>
                </a:moveTo>
                <a:lnTo>
                  <a:pt x="3459" y="1220"/>
                </a:lnTo>
                <a:lnTo>
                  <a:pt x="3462" y="1220"/>
                </a:lnTo>
                <a:lnTo>
                  <a:pt x="3466" y="1220"/>
                </a:lnTo>
                <a:lnTo>
                  <a:pt x="3469" y="1220"/>
                </a:lnTo>
                <a:lnTo>
                  <a:pt x="3472" y="1222"/>
                </a:lnTo>
                <a:lnTo>
                  <a:pt x="3474" y="1224"/>
                </a:lnTo>
                <a:lnTo>
                  <a:pt x="3476" y="1226"/>
                </a:lnTo>
                <a:lnTo>
                  <a:pt x="3478" y="1228"/>
                </a:lnTo>
                <a:lnTo>
                  <a:pt x="3479" y="1231"/>
                </a:lnTo>
                <a:lnTo>
                  <a:pt x="3480" y="1234"/>
                </a:lnTo>
                <a:lnTo>
                  <a:pt x="3479" y="1240"/>
                </a:lnTo>
                <a:lnTo>
                  <a:pt x="3477" y="1243"/>
                </a:lnTo>
                <a:lnTo>
                  <a:pt x="3476" y="1245"/>
                </a:lnTo>
                <a:lnTo>
                  <a:pt x="3474" y="1247"/>
                </a:lnTo>
                <a:lnTo>
                  <a:pt x="3472" y="1248"/>
                </a:lnTo>
                <a:lnTo>
                  <a:pt x="3469" y="1250"/>
                </a:lnTo>
                <a:lnTo>
                  <a:pt x="3466" y="1250"/>
                </a:lnTo>
                <a:lnTo>
                  <a:pt x="3462" y="1250"/>
                </a:lnTo>
                <a:lnTo>
                  <a:pt x="3459" y="1250"/>
                </a:lnTo>
                <a:lnTo>
                  <a:pt x="3456" y="1248"/>
                </a:lnTo>
                <a:lnTo>
                  <a:pt x="3454" y="1247"/>
                </a:lnTo>
                <a:lnTo>
                  <a:pt x="3452" y="1244"/>
                </a:lnTo>
                <a:lnTo>
                  <a:pt x="3450" y="1242"/>
                </a:lnTo>
                <a:lnTo>
                  <a:pt x="3449" y="1239"/>
                </a:lnTo>
                <a:lnTo>
                  <a:pt x="3448" y="1236"/>
                </a:lnTo>
                <a:lnTo>
                  <a:pt x="3449" y="1230"/>
                </a:lnTo>
                <a:lnTo>
                  <a:pt x="3451" y="1227"/>
                </a:lnTo>
                <a:lnTo>
                  <a:pt x="3452" y="1225"/>
                </a:lnTo>
                <a:lnTo>
                  <a:pt x="3454" y="1223"/>
                </a:lnTo>
                <a:lnTo>
                  <a:pt x="3456" y="1222"/>
                </a:lnTo>
                <a:close/>
                <a:moveTo>
                  <a:pt x="2223" y="1841"/>
                </a:moveTo>
                <a:lnTo>
                  <a:pt x="2226" y="1840"/>
                </a:lnTo>
                <a:lnTo>
                  <a:pt x="2228" y="1840"/>
                </a:lnTo>
                <a:lnTo>
                  <a:pt x="2231" y="1839"/>
                </a:lnTo>
                <a:lnTo>
                  <a:pt x="2233" y="1840"/>
                </a:lnTo>
                <a:lnTo>
                  <a:pt x="2236" y="1840"/>
                </a:lnTo>
                <a:lnTo>
                  <a:pt x="2239" y="1842"/>
                </a:lnTo>
                <a:lnTo>
                  <a:pt x="2242" y="1843"/>
                </a:lnTo>
                <a:lnTo>
                  <a:pt x="2244" y="1846"/>
                </a:lnTo>
                <a:lnTo>
                  <a:pt x="2245" y="1848"/>
                </a:lnTo>
                <a:lnTo>
                  <a:pt x="2246" y="1851"/>
                </a:lnTo>
                <a:lnTo>
                  <a:pt x="2247" y="1854"/>
                </a:lnTo>
                <a:lnTo>
                  <a:pt x="2247" y="1857"/>
                </a:lnTo>
                <a:lnTo>
                  <a:pt x="2246" y="1861"/>
                </a:lnTo>
                <a:lnTo>
                  <a:pt x="2244" y="1864"/>
                </a:lnTo>
                <a:lnTo>
                  <a:pt x="2242" y="1866"/>
                </a:lnTo>
                <a:lnTo>
                  <a:pt x="2239" y="1868"/>
                </a:lnTo>
                <a:lnTo>
                  <a:pt x="2237" y="1869"/>
                </a:lnTo>
                <a:lnTo>
                  <a:pt x="2234" y="1870"/>
                </a:lnTo>
                <a:lnTo>
                  <a:pt x="2232" y="1870"/>
                </a:lnTo>
                <a:lnTo>
                  <a:pt x="2229" y="1870"/>
                </a:lnTo>
                <a:lnTo>
                  <a:pt x="2226" y="1870"/>
                </a:lnTo>
                <a:lnTo>
                  <a:pt x="2223" y="1868"/>
                </a:lnTo>
                <a:lnTo>
                  <a:pt x="2221" y="1866"/>
                </a:lnTo>
                <a:lnTo>
                  <a:pt x="2219" y="1864"/>
                </a:lnTo>
                <a:lnTo>
                  <a:pt x="2217" y="1862"/>
                </a:lnTo>
                <a:lnTo>
                  <a:pt x="2216" y="1859"/>
                </a:lnTo>
                <a:lnTo>
                  <a:pt x="2216" y="1856"/>
                </a:lnTo>
                <a:lnTo>
                  <a:pt x="2216" y="1853"/>
                </a:lnTo>
                <a:lnTo>
                  <a:pt x="2217" y="1849"/>
                </a:lnTo>
                <a:lnTo>
                  <a:pt x="2218" y="1846"/>
                </a:lnTo>
                <a:lnTo>
                  <a:pt x="2221" y="1844"/>
                </a:lnTo>
                <a:lnTo>
                  <a:pt x="2223" y="1841"/>
                </a:lnTo>
                <a:close/>
                <a:moveTo>
                  <a:pt x="3319" y="1178"/>
                </a:moveTo>
                <a:lnTo>
                  <a:pt x="3322" y="1177"/>
                </a:lnTo>
                <a:lnTo>
                  <a:pt x="3325" y="1176"/>
                </a:lnTo>
                <a:lnTo>
                  <a:pt x="3328" y="1176"/>
                </a:lnTo>
                <a:lnTo>
                  <a:pt x="3331" y="1176"/>
                </a:lnTo>
                <a:lnTo>
                  <a:pt x="3334" y="1177"/>
                </a:lnTo>
                <a:lnTo>
                  <a:pt x="3337" y="1179"/>
                </a:lnTo>
                <a:lnTo>
                  <a:pt x="3339" y="1181"/>
                </a:lnTo>
                <a:lnTo>
                  <a:pt x="3340" y="1184"/>
                </a:lnTo>
                <a:lnTo>
                  <a:pt x="3342" y="1186"/>
                </a:lnTo>
                <a:lnTo>
                  <a:pt x="3342" y="1189"/>
                </a:lnTo>
                <a:lnTo>
                  <a:pt x="3342" y="1192"/>
                </a:lnTo>
                <a:lnTo>
                  <a:pt x="3342" y="1195"/>
                </a:lnTo>
                <a:lnTo>
                  <a:pt x="3341" y="1198"/>
                </a:lnTo>
                <a:lnTo>
                  <a:pt x="3339" y="1201"/>
                </a:lnTo>
                <a:lnTo>
                  <a:pt x="3337" y="1203"/>
                </a:lnTo>
                <a:lnTo>
                  <a:pt x="3335" y="1205"/>
                </a:lnTo>
                <a:lnTo>
                  <a:pt x="3332" y="1206"/>
                </a:lnTo>
                <a:lnTo>
                  <a:pt x="3329" y="1207"/>
                </a:lnTo>
                <a:lnTo>
                  <a:pt x="3326" y="1207"/>
                </a:lnTo>
                <a:lnTo>
                  <a:pt x="3323" y="1206"/>
                </a:lnTo>
                <a:lnTo>
                  <a:pt x="3320" y="1205"/>
                </a:lnTo>
                <a:lnTo>
                  <a:pt x="3317" y="1203"/>
                </a:lnTo>
                <a:lnTo>
                  <a:pt x="3315" y="1201"/>
                </a:lnTo>
                <a:lnTo>
                  <a:pt x="3313" y="1199"/>
                </a:lnTo>
                <a:lnTo>
                  <a:pt x="3312" y="1196"/>
                </a:lnTo>
                <a:lnTo>
                  <a:pt x="3311" y="1193"/>
                </a:lnTo>
                <a:lnTo>
                  <a:pt x="3311" y="1190"/>
                </a:lnTo>
                <a:lnTo>
                  <a:pt x="3312" y="1187"/>
                </a:lnTo>
                <a:lnTo>
                  <a:pt x="3313" y="1184"/>
                </a:lnTo>
                <a:lnTo>
                  <a:pt x="3315" y="1182"/>
                </a:lnTo>
                <a:lnTo>
                  <a:pt x="3317" y="1179"/>
                </a:lnTo>
                <a:lnTo>
                  <a:pt x="3319" y="1178"/>
                </a:lnTo>
                <a:close/>
                <a:moveTo>
                  <a:pt x="2237" y="1697"/>
                </a:moveTo>
                <a:lnTo>
                  <a:pt x="2242" y="1696"/>
                </a:lnTo>
                <a:lnTo>
                  <a:pt x="2246" y="1695"/>
                </a:lnTo>
                <a:lnTo>
                  <a:pt x="2249" y="1696"/>
                </a:lnTo>
                <a:lnTo>
                  <a:pt x="2252" y="1697"/>
                </a:lnTo>
                <a:lnTo>
                  <a:pt x="2255" y="1698"/>
                </a:lnTo>
                <a:lnTo>
                  <a:pt x="2257" y="1700"/>
                </a:lnTo>
                <a:lnTo>
                  <a:pt x="2259" y="1703"/>
                </a:lnTo>
                <a:lnTo>
                  <a:pt x="2260" y="1706"/>
                </a:lnTo>
                <a:lnTo>
                  <a:pt x="2261" y="1709"/>
                </a:lnTo>
                <a:lnTo>
                  <a:pt x="2261" y="1712"/>
                </a:lnTo>
                <a:lnTo>
                  <a:pt x="2260" y="1714"/>
                </a:lnTo>
                <a:lnTo>
                  <a:pt x="2260" y="1716"/>
                </a:lnTo>
                <a:lnTo>
                  <a:pt x="2258" y="1719"/>
                </a:lnTo>
                <a:lnTo>
                  <a:pt x="2256" y="1722"/>
                </a:lnTo>
                <a:lnTo>
                  <a:pt x="2253" y="1724"/>
                </a:lnTo>
                <a:lnTo>
                  <a:pt x="2249" y="1726"/>
                </a:lnTo>
                <a:lnTo>
                  <a:pt x="2244" y="1726"/>
                </a:lnTo>
                <a:lnTo>
                  <a:pt x="2241" y="1726"/>
                </a:lnTo>
                <a:lnTo>
                  <a:pt x="2238" y="1725"/>
                </a:lnTo>
                <a:lnTo>
                  <a:pt x="2236" y="1723"/>
                </a:lnTo>
                <a:lnTo>
                  <a:pt x="2233" y="1721"/>
                </a:lnTo>
                <a:lnTo>
                  <a:pt x="2232" y="1718"/>
                </a:lnTo>
                <a:lnTo>
                  <a:pt x="2230" y="1716"/>
                </a:lnTo>
                <a:lnTo>
                  <a:pt x="2230" y="1713"/>
                </a:lnTo>
                <a:lnTo>
                  <a:pt x="2230" y="1710"/>
                </a:lnTo>
                <a:lnTo>
                  <a:pt x="2230" y="1708"/>
                </a:lnTo>
                <a:lnTo>
                  <a:pt x="2230" y="1706"/>
                </a:lnTo>
                <a:lnTo>
                  <a:pt x="2232" y="1702"/>
                </a:lnTo>
                <a:lnTo>
                  <a:pt x="2234" y="1699"/>
                </a:lnTo>
                <a:lnTo>
                  <a:pt x="2237" y="1697"/>
                </a:lnTo>
                <a:close/>
                <a:moveTo>
                  <a:pt x="3179" y="1144"/>
                </a:moveTo>
                <a:lnTo>
                  <a:pt x="3182" y="1143"/>
                </a:lnTo>
                <a:lnTo>
                  <a:pt x="3184" y="1142"/>
                </a:lnTo>
                <a:lnTo>
                  <a:pt x="3190" y="1142"/>
                </a:lnTo>
                <a:lnTo>
                  <a:pt x="3193" y="1143"/>
                </a:lnTo>
                <a:lnTo>
                  <a:pt x="3196" y="1144"/>
                </a:lnTo>
                <a:lnTo>
                  <a:pt x="3198" y="1146"/>
                </a:lnTo>
                <a:lnTo>
                  <a:pt x="3200" y="1149"/>
                </a:lnTo>
                <a:lnTo>
                  <a:pt x="3201" y="1151"/>
                </a:lnTo>
                <a:lnTo>
                  <a:pt x="3202" y="1154"/>
                </a:lnTo>
                <a:lnTo>
                  <a:pt x="3203" y="1157"/>
                </a:lnTo>
                <a:lnTo>
                  <a:pt x="3202" y="1160"/>
                </a:lnTo>
                <a:lnTo>
                  <a:pt x="3201" y="1163"/>
                </a:lnTo>
                <a:lnTo>
                  <a:pt x="3200" y="1166"/>
                </a:lnTo>
                <a:lnTo>
                  <a:pt x="3197" y="1169"/>
                </a:lnTo>
                <a:lnTo>
                  <a:pt x="3195" y="1171"/>
                </a:lnTo>
                <a:lnTo>
                  <a:pt x="3192" y="1172"/>
                </a:lnTo>
                <a:lnTo>
                  <a:pt x="3190" y="1172"/>
                </a:lnTo>
                <a:lnTo>
                  <a:pt x="3184" y="1172"/>
                </a:lnTo>
                <a:lnTo>
                  <a:pt x="3181" y="1171"/>
                </a:lnTo>
                <a:lnTo>
                  <a:pt x="3178" y="1170"/>
                </a:lnTo>
                <a:lnTo>
                  <a:pt x="3176" y="1168"/>
                </a:lnTo>
                <a:lnTo>
                  <a:pt x="3174" y="1166"/>
                </a:lnTo>
                <a:lnTo>
                  <a:pt x="3173" y="1163"/>
                </a:lnTo>
                <a:lnTo>
                  <a:pt x="3172" y="1160"/>
                </a:lnTo>
                <a:lnTo>
                  <a:pt x="3172" y="1157"/>
                </a:lnTo>
                <a:lnTo>
                  <a:pt x="3172" y="1154"/>
                </a:lnTo>
                <a:lnTo>
                  <a:pt x="3173" y="1151"/>
                </a:lnTo>
                <a:lnTo>
                  <a:pt x="3175" y="1148"/>
                </a:lnTo>
                <a:lnTo>
                  <a:pt x="3177" y="1146"/>
                </a:lnTo>
                <a:lnTo>
                  <a:pt x="3179" y="1144"/>
                </a:lnTo>
                <a:close/>
                <a:moveTo>
                  <a:pt x="3037" y="1122"/>
                </a:moveTo>
                <a:lnTo>
                  <a:pt x="3042" y="1120"/>
                </a:lnTo>
                <a:lnTo>
                  <a:pt x="3044" y="1120"/>
                </a:lnTo>
                <a:lnTo>
                  <a:pt x="3046" y="1120"/>
                </a:lnTo>
                <a:lnTo>
                  <a:pt x="3050" y="1121"/>
                </a:lnTo>
                <a:lnTo>
                  <a:pt x="3052" y="1122"/>
                </a:lnTo>
                <a:lnTo>
                  <a:pt x="3055" y="1124"/>
                </a:lnTo>
                <a:lnTo>
                  <a:pt x="3057" y="1126"/>
                </a:lnTo>
                <a:lnTo>
                  <a:pt x="3059" y="1128"/>
                </a:lnTo>
                <a:lnTo>
                  <a:pt x="3060" y="1131"/>
                </a:lnTo>
                <a:lnTo>
                  <a:pt x="3060" y="1134"/>
                </a:lnTo>
                <a:lnTo>
                  <a:pt x="3060" y="1137"/>
                </a:lnTo>
                <a:lnTo>
                  <a:pt x="3060" y="1141"/>
                </a:lnTo>
                <a:lnTo>
                  <a:pt x="3058" y="1144"/>
                </a:lnTo>
                <a:lnTo>
                  <a:pt x="3056" y="1147"/>
                </a:lnTo>
                <a:lnTo>
                  <a:pt x="3053" y="1149"/>
                </a:lnTo>
                <a:lnTo>
                  <a:pt x="3048" y="1151"/>
                </a:lnTo>
                <a:lnTo>
                  <a:pt x="3046" y="1151"/>
                </a:lnTo>
                <a:lnTo>
                  <a:pt x="3043" y="1151"/>
                </a:lnTo>
                <a:lnTo>
                  <a:pt x="3040" y="1150"/>
                </a:lnTo>
                <a:lnTo>
                  <a:pt x="3037" y="1149"/>
                </a:lnTo>
                <a:lnTo>
                  <a:pt x="3035" y="1148"/>
                </a:lnTo>
                <a:lnTo>
                  <a:pt x="3033" y="1145"/>
                </a:lnTo>
                <a:lnTo>
                  <a:pt x="3031" y="1143"/>
                </a:lnTo>
                <a:lnTo>
                  <a:pt x="3030" y="1140"/>
                </a:lnTo>
                <a:lnTo>
                  <a:pt x="3029" y="1137"/>
                </a:lnTo>
                <a:lnTo>
                  <a:pt x="3029" y="1134"/>
                </a:lnTo>
                <a:lnTo>
                  <a:pt x="3030" y="1130"/>
                </a:lnTo>
                <a:lnTo>
                  <a:pt x="3032" y="1127"/>
                </a:lnTo>
                <a:lnTo>
                  <a:pt x="3034" y="1124"/>
                </a:lnTo>
                <a:lnTo>
                  <a:pt x="3037" y="1122"/>
                </a:lnTo>
                <a:close/>
                <a:moveTo>
                  <a:pt x="2249" y="1554"/>
                </a:moveTo>
                <a:lnTo>
                  <a:pt x="2251" y="1553"/>
                </a:lnTo>
                <a:lnTo>
                  <a:pt x="2254" y="1552"/>
                </a:lnTo>
                <a:lnTo>
                  <a:pt x="2256" y="1552"/>
                </a:lnTo>
                <a:lnTo>
                  <a:pt x="2259" y="1552"/>
                </a:lnTo>
                <a:lnTo>
                  <a:pt x="2262" y="1552"/>
                </a:lnTo>
                <a:lnTo>
                  <a:pt x="2265" y="1554"/>
                </a:lnTo>
                <a:lnTo>
                  <a:pt x="2267" y="1555"/>
                </a:lnTo>
                <a:lnTo>
                  <a:pt x="2269" y="1558"/>
                </a:lnTo>
                <a:lnTo>
                  <a:pt x="2270" y="1559"/>
                </a:lnTo>
                <a:lnTo>
                  <a:pt x="2271" y="1560"/>
                </a:lnTo>
                <a:lnTo>
                  <a:pt x="2272" y="1563"/>
                </a:lnTo>
                <a:lnTo>
                  <a:pt x="2272" y="1566"/>
                </a:lnTo>
                <a:lnTo>
                  <a:pt x="2272" y="1569"/>
                </a:lnTo>
                <a:lnTo>
                  <a:pt x="2271" y="1573"/>
                </a:lnTo>
                <a:lnTo>
                  <a:pt x="2270" y="1576"/>
                </a:lnTo>
                <a:lnTo>
                  <a:pt x="2267" y="1579"/>
                </a:lnTo>
                <a:lnTo>
                  <a:pt x="2265" y="1581"/>
                </a:lnTo>
                <a:lnTo>
                  <a:pt x="2262" y="1582"/>
                </a:lnTo>
                <a:lnTo>
                  <a:pt x="2260" y="1582"/>
                </a:lnTo>
                <a:lnTo>
                  <a:pt x="2258" y="1583"/>
                </a:lnTo>
                <a:lnTo>
                  <a:pt x="2255" y="1583"/>
                </a:lnTo>
                <a:lnTo>
                  <a:pt x="2252" y="1582"/>
                </a:lnTo>
                <a:lnTo>
                  <a:pt x="2249" y="1581"/>
                </a:lnTo>
                <a:lnTo>
                  <a:pt x="2247" y="1579"/>
                </a:lnTo>
                <a:lnTo>
                  <a:pt x="2245" y="1577"/>
                </a:lnTo>
                <a:lnTo>
                  <a:pt x="2244" y="1576"/>
                </a:lnTo>
                <a:lnTo>
                  <a:pt x="2243" y="1574"/>
                </a:lnTo>
                <a:lnTo>
                  <a:pt x="2242" y="1571"/>
                </a:lnTo>
                <a:lnTo>
                  <a:pt x="2241" y="1568"/>
                </a:lnTo>
                <a:lnTo>
                  <a:pt x="2241" y="1565"/>
                </a:lnTo>
                <a:lnTo>
                  <a:pt x="2242" y="1562"/>
                </a:lnTo>
                <a:lnTo>
                  <a:pt x="2244" y="1558"/>
                </a:lnTo>
                <a:lnTo>
                  <a:pt x="2246" y="1556"/>
                </a:lnTo>
                <a:lnTo>
                  <a:pt x="2249" y="1554"/>
                </a:lnTo>
                <a:close/>
                <a:moveTo>
                  <a:pt x="2893" y="1116"/>
                </a:moveTo>
                <a:lnTo>
                  <a:pt x="2895" y="1115"/>
                </a:lnTo>
                <a:lnTo>
                  <a:pt x="2897" y="1115"/>
                </a:lnTo>
                <a:lnTo>
                  <a:pt x="2901" y="1114"/>
                </a:lnTo>
                <a:lnTo>
                  <a:pt x="2904" y="1114"/>
                </a:lnTo>
                <a:lnTo>
                  <a:pt x="2907" y="1115"/>
                </a:lnTo>
                <a:lnTo>
                  <a:pt x="2910" y="1117"/>
                </a:lnTo>
                <a:lnTo>
                  <a:pt x="2912" y="1119"/>
                </a:lnTo>
                <a:lnTo>
                  <a:pt x="2914" y="1121"/>
                </a:lnTo>
                <a:lnTo>
                  <a:pt x="2915" y="1123"/>
                </a:lnTo>
                <a:lnTo>
                  <a:pt x="2916" y="1126"/>
                </a:lnTo>
                <a:lnTo>
                  <a:pt x="2917" y="1129"/>
                </a:lnTo>
                <a:lnTo>
                  <a:pt x="2916" y="1134"/>
                </a:lnTo>
                <a:lnTo>
                  <a:pt x="2915" y="1137"/>
                </a:lnTo>
                <a:lnTo>
                  <a:pt x="2912" y="1141"/>
                </a:lnTo>
                <a:lnTo>
                  <a:pt x="2909" y="1143"/>
                </a:lnTo>
                <a:lnTo>
                  <a:pt x="2907" y="1144"/>
                </a:lnTo>
                <a:lnTo>
                  <a:pt x="2905" y="1145"/>
                </a:lnTo>
                <a:lnTo>
                  <a:pt x="2902" y="1145"/>
                </a:lnTo>
                <a:lnTo>
                  <a:pt x="2898" y="1145"/>
                </a:lnTo>
                <a:lnTo>
                  <a:pt x="2895" y="1144"/>
                </a:lnTo>
                <a:lnTo>
                  <a:pt x="2893" y="1143"/>
                </a:lnTo>
                <a:lnTo>
                  <a:pt x="2890" y="1141"/>
                </a:lnTo>
                <a:lnTo>
                  <a:pt x="2888" y="1139"/>
                </a:lnTo>
                <a:lnTo>
                  <a:pt x="2887" y="1136"/>
                </a:lnTo>
                <a:lnTo>
                  <a:pt x="2886" y="1133"/>
                </a:lnTo>
                <a:lnTo>
                  <a:pt x="2886" y="1130"/>
                </a:lnTo>
                <a:lnTo>
                  <a:pt x="2886" y="1126"/>
                </a:lnTo>
                <a:lnTo>
                  <a:pt x="2888" y="1122"/>
                </a:lnTo>
                <a:lnTo>
                  <a:pt x="2890" y="1119"/>
                </a:lnTo>
                <a:lnTo>
                  <a:pt x="2893" y="1116"/>
                </a:lnTo>
                <a:close/>
                <a:moveTo>
                  <a:pt x="2281" y="1414"/>
                </a:moveTo>
                <a:lnTo>
                  <a:pt x="2284" y="1412"/>
                </a:lnTo>
                <a:lnTo>
                  <a:pt x="2287" y="1412"/>
                </a:lnTo>
                <a:lnTo>
                  <a:pt x="2291" y="1412"/>
                </a:lnTo>
                <a:lnTo>
                  <a:pt x="2294" y="1413"/>
                </a:lnTo>
                <a:lnTo>
                  <a:pt x="2295" y="1413"/>
                </a:lnTo>
                <a:lnTo>
                  <a:pt x="2297" y="1414"/>
                </a:lnTo>
                <a:lnTo>
                  <a:pt x="2299" y="1416"/>
                </a:lnTo>
                <a:lnTo>
                  <a:pt x="2301" y="1418"/>
                </a:lnTo>
                <a:lnTo>
                  <a:pt x="2303" y="1421"/>
                </a:lnTo>
                <a:lnTo>
                  <a:pt x="2304" y="1424"/>
                </a:lnTo>
                <a:lnTo>
                  <a:pt x="2304" y="1427"/>
                </a:lnTo>
                <a:lnTo>
                  <a:pt x="2304" y="1430"/>
                </a:lnTo>
                <a:lnTo>
                  <a:pt x="2303" y="1433"/>
                </a:lnTo>
                <a:lnTo>
                  <a:pt x="2302" y="1435"/>
                </a:lnTo>
                <a:lnTo>
                  <a:pt x="2300" y="1437"/>
                </a:lnTo>
                <a:lnTo>
                  <a:pt x="2298" y="1439"/>
                </a:lnTo>
                <a:lnTo>
                  <a:pt x="2296" y="1441"/>
                </a:lnTo>
                <a:lnTo>
                  <a:pt x="2293" y="1442"/>
                </a:lnTo>
                <a:lnTo>
                  <a:pt x="2290" y="1443"/>
                </a:lnTo>
                <a:lnTo>
                  <a:pt x="2286" y="1443"/>
                </a:lnTo>
                <a:lnTo>
                  <a:pt x="2283" y="1442"/>
                </a:lnTo>
                <a:lnTo>
                  <a:pt x="2281" y="1441"/>
                </a:lnTo>
                <a:lnTo>
                  <a:pt x="2280" y="1440"/>
                </a:lnTo>
                <a:lnTo>
                  <a:pt x="2278" y="1439"/>
                </a:lnTo>
                <a:lnTo>
                  <a:pt x="2276" y="1436"/>
                </a:lnTo>
                <a:lnTo>
                  <a:pt x="2274" y="1434"/>
                </a:lnTo>
                <a:lnTo>
                  <a:pt x="2273" y="1431"/>
                </a:lnTo>
                <a:lnTo>
                  <a:pt x="2273" y="1428"/>
                </a:lnTo>
                <a:lnTo>
                  <a:pt x="2273" y="1425"/>
                </a:lnTo>
                <a:lnTo>
                  <a:pt x="2274" y="1422"/>
                </a:lnTo>
                <a:lnTo>
                  <a:pt x="2275" y="1419"/>
                </a:lnTo>
                <a:lnTo>
                  <a:pt x="2277" y="1417"/>
                </a:lnTo>
                <a:lnTo>
                  <a:pt x="2279" y="1415"/>
                </a:lnTo>
                <a:lnTo>
                  <a:pt x="2281" y="1414"/>
                </a:lnTo>
                <a:close/>
                <a:moveTo>
                  <a:pt x="2750" y="1129"/>
                </a:moveTo>
                <a:lnTo>
                  <a:pt x="2753" y="1128"/>
                </a:lnTo>
                <a:lnTo>
                  <a:pt x="2756" y="1127"/>
                </a:lnTo>
                <a:lnTo>
                  <a:pt x="2759" y="1127"/>
                </a:lnTo>
                <a:lnTo>
                  <a:pt x="2762" y="1127"/>
                </a:lnTo>
                <a:lnTo>
                  <a:pt x="2765" y="1128"/>
                </a:lnTo>
                <a:lnTo>
                  <a:pt x="2767" y="1130"/>
                </a:lnTo>
                <a:lnTo>
                  <a:pt x="2769" y="1132"/>
                </a:lnTo>
                <a:lnTo>
                  <a:pt x="2771" y="1134"/>
                </a:lnTo>
                <a:lnTo>
                  <a:pt x="2773" y="1137"/>
                </a:lnTo>
                <a:lnTo>
                  <a:pt x="2773" y="1140"/>
                </a:lnTo>
                <a:lnTo>
                  <a:pt x="2773" y="1145"/>
                </a:lnTo>
                <a:lnTo>
                  <a:pt x="2772" y="1149"/>
                </a:lnTo>
                <a:lnTo>
                  <a:pt x="2769" y="1153"/>
                </a:lnTo>
                <a:lnTo>
                  <a:pt x="2768" y="1154"/>
                </a:lnTo>
                <a:lnTo>
                  <a:pt x="2766" y="1156"/>
                </a:lnTo>
                <a:lnTo>
                  <a:pt x="2763" y="1157"/>
                </a:lnTo>
                <a:lnTo>
                  <a:pt x="2760" y="1158"/>
                </a:lnTo>
                <a:lnTo>
                  <a:pt x="2757" y="1158"/>
                </a:lnTo>
                <a:lnTo>
                  <a:pt x="2754" y="1157"/>
                </a:lnTo>
                <a:lnTo>
                  <a:pt x="2751" y="1156"/>
                </a:lnTo>
                <a:lnTo>
                  <a:pt x="2749" y="1155"/>
                </a:lnTo>
                <a:lnTo>
                  <a:pt x="2747" y="1153"/>
                </a:lnTo>
                <a:lnTo>
                  <a:pt x="2745" y="1151"/>
                </a:lnTo>
                <a:lnTo>
                  <a:pt x="2743" y="1148"/>
                </a:lnTo>
                <a:lnTo>
                  <a:pt x="2743" y="1145"/>
                </a:lnTo>
                <a:lnTo>
                  <a:pt x="2743" y="1140"/>
                </a:lnTo>
                <a:lnTo>
                  <a:pt x="2744" y="1136"/>
                </a:lnTo>
                <a:lnTo>
                  <a:pt x="2747" y="1132"/>
                </a:lnTo>
                <a:lnTo>
                  <a:pt x="2748" y="1130"/>
                </a:lnTo>
                <a:lnTo>
                  <a:pt x="2750" y="1129"/>
                </a:lnTo>
                <a:close/>
                <a:moveTo>
                  <a:pt x="2610" y="1161"/>
                </a:moveTo>
                <a:lnTo>
                  <a:pt x="2614" y="1160"/>
                </a:lnTo>
                <a:lnTo>
                  <a:pt x="2617" y="1159"/>
                </a:lnTo>
                <a:lnTo>
                  <a:pt x="2620" y="1159"/>
                </a:lnTo>
                <a:lnTo>
                  <a:pt x="2623" y="1160"/>
                </a:lnTo>
                <a:lnTo>
                  <a:pt x="2625" y="1161"/>
                </a:lnTo>
                <a:lnTo>
                  <a:pt x="2628" y="1163"/>
                </a:lnTo>
                <a:lnTo>
                  <a:pt x="2630" y="1165"/>
                </a:lnTo>
                <a:lnTo>
                  <a:pt x="2632" y="1167"/>
                </a:lnTo>
                <a:lnTo>
                  <a:pt x="2633" y="1170"/>
                </a:lnTo>
                <a:lnTo>
                  <a:pt x="2634" y="1176"/>
                </a:lnTo>
                <a:lnTo>
                  <a:pt x="2633" y="1178"/>
                </a:lnTo>
                <a:lnTo>
                  <a:pt x="2633" y="1181"/>
                </a:lnTo>
                <a:lnTo>
                  <a:pt x="2631" y="1183"/>
                </a:lnTo>
                <a:lnTo>
                  <a:pt x="2630" y="1185"/>
                </a:lnTo>
                <a:lnTo>
                  <a:pt x="2628" y="1187"/>
                </a:lnTo>
                <a:lnTo>
                  <a:pt x="2626" y="1188"/>
                </a:lnTo>
                <a:lnTo>
                  <a:pt x="2623" y="1190"/>
                </a:lnTo>
                <a:lnTo>
                  <a:pt x="2620" y="1190"/>
                </a:lnTo>
                <a:lnTo>
                  <a:pt x="2617" y="1190"/>
                </a:lnTo>
                <a:lnTo>
                  <a:pt x="2614" y="1190"/>
                </a:lnTo>
                <a:lnTo>
                  <a:pt x="2611" y="1189"/>
                </a:lnTo>
                <a:lnTo>
                  <a:pt x="2608" y="1187"/>
                </a:lnTo>
                <a:lnTo>
                  <a:pt x="2606" y="1185"/>
                </a:lnTo>
                <a:lnTo>
                  <a:pt x="2605" y="1182"/>
                </a:lnTo>
                <a:lnTo>
                  <a:pt x="2603" y="1180"/>
                </a:lnTo>
                <a:lnTo>
                  <a:pt x="2603" y="1174"/>
                </a:lnTo>
                <a:lnTo>
                  <a:pt x="2603" y="1172"/>
                </a:lnTo>
                <a:lnTo>
                  <a:pt x="2604" y="1169"/>
                </a:lnTo>
                <a:lnTo>
                  <a:pt x="2605" y="1167"/>
                </a:lnTo>
                <a:lnTo>
                  <a:pt x="2606" y="1165"/>
                </a:lnTo>
                <a:lnTo>
                  <a:pt x="2608" y="1163"/>
                </a:lnTo>
                <a:lnTo>
                  <a:pt x="2610" y="1161"/>
                </a:lnTo>
                <a:close/>
                <a:moveTo>
                  <a:pt x="2358" y="1295"/>
                </a:moveTo>
                <a:lnTo>
                  <a:pt x="2360" y="1293"/>
                </a:lnTo>
                <a:lnTo>
                  <a:pt x="2362" y="1293"/>
                </a:lnTo>
                <a:lnTo>
                  <a:pt x="2365" y="1292"/>
                </a:lnTo>
                <a:lnTo>
                  <a:pt x="2367" y="1293"/>
                </a:lnTo>
                <a:lnTo>
                  <a:pt x="2370" y="1293"/>
                </a:lnTo>
                <a:lnTo>
                  <a:pt x="2372" y="1294"/>
                </a:lnTo>
                <a:lnTo>
                  <a:pt x="2375" y="1295"/>
                </a:lnTo>
                <a:lnTo>
                  <a:pt x="2377" y="1297"/>
                </a:lnTo>
                <a:lnTo>
                  <a:pt x="2379" y="1299"/>
                </a:lnTo>
                <a:lnTo>
                  <a:pt x="2380" y="1302"/>
                </a:lnTo>
                <a:lnTo>
                  <a:pt x="2381" y="1305"/>
                </a:lnTo>
                <a:lnTo>
                  <a:pt x="2381" y="1308"/>
                </a:lnTo>
                <a:lnTo>
                  <a:pt x="2381" y="1311"/>
                </a:lnTo>
                <a:lnTo>
                  <a:pt x="2380" y="1314"/>
                </a:lnTo>
                <a:lnTo>
                  <a:pt x="2378" y="1317"/>
                </a:lnTo>
                <a:lnTo>
                  <a:pt x="2376" y="1319"/>
                </a:lnTo>
                <a:lnTo>
                  <a:pt x="2373" y="1321"/>
                </a:lnTo>
                <a:lnTo>
                  <a:pt x="2371" y="1323"/>
                </a:lnTo>
                <a:lnTo>
                  <a:pt x="2369" y="1323"/>
                </a:lnTo>
                <a:lnTo>
                  <a:pt x="2366" y="1324"/>
                </a:lnTo>
                <a:lnTo>
                  <a:pt x="2364" y="1323"/>
                </a:lnTo>
                <a:lnTo>
                  <a:pt x="2361" y="1323"/>
                </a:lnTo>
                <a:lnTo>
                  <a:pt x="2359" y="1322"/>
                </a:lnTo>
                <a:lnTo>
                  <a:pt x="2357" y="1321"/>
                </a:lnTo>
                <a:lnTo>
                  <a:pt x="2354" y="1319"/>
                </a:lnTo>
                <a:lnTo>
                  <a:pt x="2352" y="1316"/>
                </a:lnTo>
                <a:lnTo>
                  <a:pt x="2351" y="1314"/>
                </a:lnTo>
                <a:lnTo>
                  <a:pt x="2350" y="1311"/>
                </a:lnTo>
                <a:lnTo>
                  <a:pt x="2350" y="1308"/>
                </a:lnTo>
                <a:lnTo>
                  <a:pt x="2350" y="1305"/>
                </a:lnTo>
                <a:lnTo>
                  <a:pt x="2351" y="1302"/>
                </a:lnTo>
                <a:lnTo>
                  <a:pt x="2353" y="1299"/>
                </a:lnTo>
                <a:lnTo>
                  <a:pt x="2355" y="1297"/>
                </a:lnTo>
                <a:lnTo>
                  <a:pt x="2358" y="1295"/>
                </a:lnTo>
                <a:close/>
                <a:moveTo>
                  <a:pt x="2476" y="1214"/>
                </a:moveTo>
                <a:lnTo>
                  <a:pt x="2480" y="1212"/>
                </a:lnTo>
                <a:lnTo>
                  <a:pt x="2483" y="1212"/>
                </a:lnTo>
                <a:lnTo>
                  <a:pt x="2486" y="1212"/>
                </a:lnTo>
                <a:lnTo>
                  <a:pt x="2489" y="1213"/>
                </a:lnTo>
                <a:lnTo>
                  <a:pt x="2492" y="1214"/>
                </a:lnTo>
                <a:lnTo>
                  <a:pt x="2494" y="1215"/>
                </a:lnTo>
                <a:lnTo>
                  <a:pt x="2497" y="1218"/>
                </a:lnTo>
                <a:lnTo>
                  <a:pt x="2498" y="1220"/>
                </a:lnTo>
                <a:lnTo>
                  <a:pt x="2499" y="1223"/>
                </a:lnTo>
                <a:lnTo>
                  <a:pt x="2500" y="1226"/>
                </a:lnTo>
                <a:lnTo>
                  <a:pt x="2500" y="1229"/>
                </a:lnTo>
                <a:lnTo>
                  <a:pt x="2499" y="1232"/>
                </a:lnTo>
                <a:lnTo>
                  <a:pt x="2498" y="1234"/>
                </a:lnTo>
                <a:lnTo>
                  <a:pt x="2496" y="1237"/>
                </a:lnTo>
                <a:lnTo>
                  <a:pt x="2494" y="1239"/>
                </a:lnTo>
                <a:lnTo>
                  <a:pt x="2492" y="1241"/>
                </a:lnTo>
                <a:lnTo>
                  <a:pt x="2489" y="1242"/>
                </a:lnTo>
                <a:lnTo>
                  <a:pt x="2485" y="1242"/>
                </a:lnTo>
                <a:lnTo>
                  <a:pt x="2482" y="1242"/>
                </a:lnTo>
                <a:lnTo>
                  <a:pt x="2479" y="1242"/>
                </a:lnTo>
                <a:lnTo>
                  <a:pt x="2476" y="1241"/>
                </a:lnTo>
                <a:lnTo>
                  <a:pt x="2474" y="1239"/>
                </a:lnTo>
                <a:lnTo>
                  <a:pt x="2472" y="1237"/>
                </a:lnTo>
                <a:lnTo>
                  <a:pt x="2470" y="1234"/>
                </a:lnTo>
                <a:lnTo>
                  <a:pt x="2469" y="1231"/>
                </a:lnTo>
                <a:lnTo>
                  <a:pt x="2469" y="1228"/>
                </a:lnTo>
                <a:lnTo>
                  <a:pt x="2469" y="1225"/>
                </a:lnTo>
                <a:lnTo>
                  <a:pt x="2469" y="1223"/>
                </a:lnTo>
                <a:lnTo>
                  <a:pt x="2470" y="1220"/>
                </a:lnTo>
                <a:lnTo>
                  <a:pt x="2472" y="1218"/>
                </a:lnTo>
                <a:lnTo>
                  <a:pt x="2474" y="1215"/>
                </a:lnTo>
                <a:lnTo>
                  <a:pt x="2476" y="1214"/>
                </a:lnTo>
                <a:close/>
                <a:moveTo>
                  <a:pt x="4755" y="2104"/>
                </a:moveTo>
                <a:lnTo>
                  <a:pt x="4757" y="2103"/>
                </a:lnTo>
                <a:lnTo>
                  <a:pt x="4759" y="2103"/>
                </a:lnTo>
                <a:lnTo>
                  <a:pt x="4762" y="2102"/>
                </a:lnTo>
                <a:lnTo>
                  <a:pt x="4766" y="2102"/>
                </a:lnTo>
                <a:lnTo>
                  <a:pt x="4770" y="2104"/>
                </a:lnTo>
                <a:lnTo>
                  <a:pt x="4773" y="2106"/>
                </a:lnTo>
                <a:lnTo>
                  <a:pt x="4775" y="2108"/>
                </a:lnTo>
                <a:lnTo>
                  <a:pt x="4776" y="2111"/>
                </a:lnTo>
                <a:lnTo>
                  <a:pt x="4778" y="2113"/>
                </a:lnTo>
                <a:lnTo>
                  <a:pt x="4778" y="2116"/>
                </a:lnTo>
                <a:lnTo>
                  <a:pt x="4778" y="2119"/>
                </a:lnTo>
                <a:lnTo>
                  <a:pt x="4777" y="2122"/>
                </a:lnTo>
                <a:lnTo>
                  <a:pt x="4776" y="2125"/>
                </a:lnTo>
                <a:lnTo>
                  <a:pt x="4774" y="2128"/>
                </a:lnTo>
                <a:lnTo>
                  <a:pt x="4770" y="2131"/>
                </a:lnTo>
                <a:lnTo>
                  <a:pt x="4769" y="2132"/>
                </a:lnTo>
                <a:lnTo>
                  <a:pt x="4767" y="2132"/>
                </a:lnTo>
                <a:lnTo>
                  <a:pt x="4763" y="2133"/>
                </a:lnTo>
                <a:lnTo>
                  <a:pt x="4759" y="2132"/>
                </a:lnTo>
                <a:lnTo>
                  <a:pt x="4755" y="2131"/>
                </a:lnTo>
                <a:lnTo>
                  <a:pt x="4752" y="2129"/>
                </a:lnTo>
                <a:lnTo>
                  <a:pt x="4750" y="2127"/>
                </a:lnTo>
                <a:lnTo>
                  <a:pt x="4749" y="2124"/>
                </a:lnTo>
                <a:lnTo>
                  <a:pt x="4748" y="2121"/>
                </a:lnTo>
                <a:lnTo>
                  <a:pt x="4747" y="2119"/>
                </a:lnTo>
                <a:lnTo>
                  <a:pt x="4747" y="2116"/>
                </a:lnTo>
                <a:lnTo>
                  <a:pt x="4748" y="2113"/>
                </a:lnTo>
                <a:lnTo>
                  <a:pt x="4749" y="2110"/>
                </a:lnTo>
                <a:lnTo>
                  <a:pt x="4752" y="2107"/>
                </a:lnTo>
                <a:lnTo>
                  <a:pt x="4755" y="2104"/>
                </a:lnTo>
                <a:close/>
                <a:moveTo>
                  <a:pt x="4630" y="2033"/>
                </a:moveTo>
                <a:lnTo>
                  <a:pt x="4633" y="2032"/>
                </a:lnTo>
                <a:lnTo>
                  <a:pt x="4637" y="2031"/>
                </a:lnTo>
                <a:lnTo>
                  <a:pt x="4641" y="2031"/>
                </a:lnTo>
                <a:lnTo>
                  <a:pt x="4645" y="2033"/>
                </a:lnTo>
                <a:lnTo>
                  <a:pt x="4647" y="2035"/>
                </a:lnTo>
                <a:lnTo>
                  <a:pt x="4650" y="2037"/>
                </a:lnTo>
                <a:lnTo>
                  <a:pt x="4651" y="2040"/>
                </a:lnTo>
                <a:lnTo>
                  <a:pt x="4652" y="2042"/>
                </a:lnTo>
                <a:lnTo>
                  <a:pt x="4653" y="2045"/>
                </a:lnTo>
                <a:lnTo>
                  <a:pt x="4653" y="2048"/>
                </a:lnTo>
                <a:lnTo>
                  <a:pt x="4652" y="2051"/>
                </a:lnTo>
                <a:lnTo>
                  <a:pt x="4651" y="2054"/>
                </a:lnTo>
                <a:lnTo>
                  <a:pt x="4648" y="2057"/>
                </a:lnTo>
                <a:lnTo>
                  <a:pt x="4645" y="2060"/>
                </a:lnTo>
                <a:lnTo>
                  <a:pt x="4641" y="2061"/>
                </a:lnTo>
                <a:lnTo>
                  <a:pt x="4638" y="2062"/>
                </a:lnTo>
                <a:lnTo>
                  <a:pt x="4634" y="2061"/>
                </a:lnTo>
                <a:lnTo>
                  <a:pt x="4630" y="2060"/>
                </a:lnTo>
                <a:lnTo>
                  <a:pt x="4627" y="2058"/>
                </a:lnTo>
                <a:lnTo>
                  <a:pt x="4625" y="2056"/>
                </a:lnTo>
                <a:lnTo>
                  <a:pt x="4624" y="2053"/>
                </a:lnTo>
                <a:lnTo>
                  <a:pt x="4623" y="2051"/>
                </a:lnTo>
                <a:lnTo>
                  <a:pt x="4622" y="2048"/>
                </a:lnTo>
                <a:lnTo>
                  <a:pt x="4622" y="2045"/>
                </a:lnTo>
                <a:lnTo>
                  <a:pt x="4623" y="2042"/>
                </a:lnTo>
                <a:lnTo>
                  <a:pt x="4624" y="2039"/>
                </a:lnTo>
                <a:lnTo>
                  <a:pt x="4626" y="2036"/>
                </a:lnTo>
                <a:lnTo>
                  <a:pt x="4630" y="2033"/>
                </a:lnTo>
                <a:close/>
                <a:moveTo>
                  <a:pt x="4504" y="1963"/>
                </a:moveTo>
                <a:lnTo>
                  <a:pt x="4507" y="1962"/>
                </a:lnTo>
                <a:lnTo>
                  <a:pt x="4511" y="1961"/>
                </a:lnTo>
                <a:lnTo>
                  <a:pt x="4513" y="1961"/>
                </a:lnTo>
                <a:lnTo>
                  <a:pt x="4515" y="1961"/>
                </a:lnTo>
                <a:lnTo>
                  <a:pt x="4519" y="1963"/>
                </a:lnTo>
                <a:lnTo>
                  <a:pt x="4522" y="1965"/>
                </a:lnTo>
                <a:lnTo>
                  <a:pt x="4524" y="1967"/>
                </a:lnTo>
                <a:lnTo>
                  <a:pt x="4525" y="1968"/>
                </a:lnTo>
                <a:lnTo>
                  <a:pt x="4525" y="1969"/>
                </a:lnTo>
                <a:lnTo>
                  <a:pt x="4526" y="1972"/>
                </a:lnTo>
                <a:lnTo>
                  <a:pt x="4527" y="1975"/>
                </a:lnTo>
                <a:lnTo>
                  <a:pt x="4527" y="1978"/>
                </a:lnTo>
                <a:lnTo>
                  <a:pt x="4526" y="1981"/>
                </a:lnTo>
                <a:lnTo>
                  <a:pt x="4525" y="1984"/>
                </a:lnTo>
                <a:lnTo>
                  <a:pt x="4523" y="1987"/>
                </a:lnTo>
                <a:lnTo>
                  <a:pt x="4519" y="1990"/>
                </a:lnTo>
                <a:lnTo>
                  <a:pt x="4516" y="1991"/>
                </a:lnTo>
                <a:lnTo>
                  <a:pt x="4512" y="1992"/>
                </a:lnTo>
                <a:lnTo>
                  <a:pt x="4510" y="1992"/>
                </a:lnTo>
                <a:lnTo>
                  <a:pt x="4508" y="1991"/>
                </a:lnTo>
                <a:lnTo>
                  <a:pt x="4504" y="1990"/>
                </a:lnTo>
                <a:lnTo>
                  <a:pt x="4502" y="1988"/>
                </a:lnTo>
                <a:lnTo>
                  <a:pt x="4500" y="1986"/>
                </a:lnTo>
                <a:lnTo>
                  <a:pt x="4499" y="1985"/>
                </a:lnTo>
                <a:lnTo>
                  <a:pt x="4498" y="1983"/>
                </a:lnTo>
                <a:lnTo>
                  <a:pt x="4497" y="1981"/>
                </a:lnTo>
                <a:lnTo>
                  <a:pt x="4496" y="1978"/>
                </a:lnTo>
                <a:lnTo>
                  <a:pt x="4496" y="1975"/>
                </a:lnTo>
                <a:lnTo>
                  <a:pt x="4497" y="1972"/>
                </a:lnTo>
                <a:lnTo>
                  <a:pt x="4498" y="1969"/>
                </a:lnTo>
                <a:lnTo>
                  <a:pt x="4501" y="1966"/>
                </a:lnTo>
                <a:lnTo>
                  <a:pt x="4504" y="1963"/>
                </a:lnTo>
                <a:close/>
                <a:moveTo>
                  <a:pt x="4377" y="1894"/>
                </a:moveTo>
                <a:lnTo>
                  <a:pt x="4379" y="1893"/>
                </a:lnTo>
                <a:lnTo>
                  <a:pt x="4381" y="1893"/>
                </a:lnTo>
                <a:lnTo>
                  <a:pt x="4385" y="1892"/>
                </a:lnTo>
                <a:lnTo>
                  <a:pt x="4387" y="1892"/>
                </a:lnTo>
                <a:lnTo>
                  <a:pt x="4389" y="1893"/>
                </a:lnTo>
                <a:lnTo>
                  <a:pt x="4392" y="1894"/>
                </a:lnTo>
                <a:lnTo>
                  <a:pt x="4395" y="1896"/>
                </a:lnTo>
                <a:lnTo>
                  <a:pt x="4397" y="1898"/>
                </a:lnTo>
                <a:lnTo>
                  <a:pt x="4399" y="1900"/>
                </a:lnTo>
                <a:lnTo>
                  <a:pt x="4400" y="1903"/>
                </a:lnTo>
                <a:lnTo>
                  <a:pt x="4400" y="1906"/>
                </a:lnTo>
                <a:lnTo>
                  <a:pt x="4400" y="1909"/>
                </a:lnTo>
                <a:lnTo>
                  <a:pt x="4400" y="1912"/>
                </a:lnTo>
                <a:lnTo>
                  <a:pt x="4399" y="1915"/>
                </a:lnTo>
                <a:lnTo>
                  <a:pt x="4396" y="1918"/>
                </a:lnTo>
                <a:lnTo>
                  <a:pt x="4393" y="1921"/>
                </a:lnTo>
                <a:lnTo>
                  <a:pt x="4391" y="1922"/>
                </a:lnTo>
                <a:lnTo>
                  <a:pt x="4389" y="1922"/>
                </a:lnTo>
                <a:lnTo>
                  <a:pt x="4385" y="1923"/>
                </a:lnTo>
                <a:lnTo>
                  <a:pt x="4384" y="1923"/>
                </a:lnTo>
                <a:lnTo>
                  <a:pt x="4382" y="1923"/>
                </a:lnTo>
                <a:lnTo>
                  <a:pt x="4378" y="1921"/>
                </a:lnTo>
                <a:lnTo>
                  <a:pt x="4375" y="1919"/>
                </a:lnTo>
                <a:lnTo>
                  <a:pt x="4373" y="1917"/>
                </a:lnTo>
                <a:lnTo>
                  <a:pt x="4371" y="1915"/>
                </a:lnTo>
                <a:lnTo>
                  <a:pt x="4370" y="1912"/>
                </a:lnTo>
                <a:lnTo>
                  <a:pt x="4370" y="1909"/>
                </a:lnTo>
                <a:lnTo>
                  <a:pt x="4370" y="1906"/>
                </a:lnTo>
                <a:lnTo>
                  <a:pt x="4370" y="1903"/>
                </a:lnTo>
                <a:lnTo>
                  <a:pt x="4372" y="1900"/>
                </a:lnTo>
                <a:lnTo>
                  <a:pt x="4374" y="1897"/>
                </a:lnTo>
                <a:lnTo>
                  <a:pt x="4377" y="1894"/>
                </a:lnTo>
                <a:close/>
                <a:moveTo>
                  <a:pt x="4250" y="1827"/>
                </a:moveTo>
                <a:lnTo>
                  <a:pt x="4252" y="1827"/>
                </a:lnTo>
                <a:lnTo>
                  <a:pt x="4253" y="1826"/>
                </a:lnTo>
                <a:lnTo>
                  <a:pt x="4257" y="1825"/>
                </a:lnTo>
                <a:lnTo>
                  <a:pt x="4261" y="1826"/>
                </a:lnTo>
                <a:lnTo>
                  <a:pt x="4265" y="1827"/>
                </a:lnTo>
                <a:lnTo>
                  <a:pt x="4267" y="1829"/>
                </a:lnTo>
                <a:lnTo>
                  <a:pt x="4269" y="1831"/>
                </a:lnTo>
                <a:lnTo>
                  <a:pt x="4271" y="1833"/>
                </a:lnTo>
                <a:lnTo>
                  <a:pt x="4272" y="1836"/>
                </a:lnTo>
                <a:lnTo>
                  <a:pt x="4273" y="1839"/>
                </a:lnTo>
                <a:lnTo>
                  <a:pt x="4273" y="1842"/>
                </a:lnTo>
                <a:lnTo>
                  <a:pt x="4272" y="1845"/>
                </a:lnTo>
                <a:lnTo>
                  <a:pt x="4271" y="1848"/>
                </a:lnTo>
                <a:lnTo>
                  <a:pt x="4269" y="1851"/>
                </a:lnTo>
                <a:lnTo>
                  <a:pt x="4265" y="1854"/>
                </a:lnTo>
                <a:lnTo>
                  <a:pt x="4264" y="1855"/>
                </a:lnTo>
                <a:lnTo>
                  <a:pt x="4262" y="1855"/>
                </a:lnTo>
                <a:lnTo>
                  <a:pt x="4258" y="1856"/>
                </a:lnTo>
                <a:lnTo>
                  <a:pt x="4254" y="1856"/>
                </a:lnTo>
                <a:lnTo>
                  <a:pt x="4251" y="1854"/>
                </a:lnTo>
                <a:lnTo>
                  <a:pt x="4248" y="1853"/>
                </a:lnTo>
                <a:lnTo>
                  <a:pt x="4246" y="1851"/>
                </a:lnTo>
                <a:lnTo>
                  <a:pt x="4244" y="1848"/>
                </a:lnTo>
                <a:lnTo>
                  <a:pt x="4243" y="1845"/>
                </a:lnTo>
                <a:lnTo>
                  <a:pt x="4242" y="1840"/>
                </a:lnTo>
                <a:lnTo>
                  <a:pt x="4243" y="1837"/>
                </a:lnTo>
                <a:lnTo>
                  <a:pt x="4244" y="1834"/>
                </a:lnTo>
                <a:lnTo>
                  <a:pt x="4246" y="1830"/>
                </a:lnTo>
                <a:lnTo>
                  <a:pt x="4250" y="1827"/>
                </a:lnTo>
                <a:close/>
                <a:moveTo>
                  <a:pt x="4121" y="1762"/>
                </a:moveTo>
                <a:lnTo>
                  <a:pt x="4125" y="1760"/>
                </a:lnTo>
                <a:lnTo>
                  <a:pt x="4128" y="1760"/>
                </a:lnTo>
                <a:lnTo>
                  <a:pt x="4132" y="1760"/>
                </a:lnTo>
                <a:lnTo>
                  <a:pt x="4136" y="1761"/>
                </a:lnTo>
                <a:lnTo>
                  <a:pt x="4138" y="1763"/>
                </a:lnTo>
                <a:lnTo>
                  <a:pt x="4140" y="1765"/>
                </a:lnTo>
                <a:lnTo>
                  <a:pt x="4142" y="1768"/>
                </a:lnTo>
                <a:lnTo>
                  <a:pt x="4143" y="1770"/>
                </a:lnTo>
                <a:lnTo>
                  <a:pt x="4144" y="1773"/>
                </a:lnTo>
                <a:lnTo>
                  <a:pt x="4144" y="1776"/>
                </a:lnTo>
                <a:lnTo>
                  <a:pt x="4144" y="1779"/>
                </a:lnTo>
                <a:lnTo>
                  <a:pt x="4143" y="1782"/>
                </a:lnTo>
                <a:lnTo>
                  <a:pt x="4141" y="1784"/>
                </a:lnTo>
                <a:lnTo>
                  <a:pt x="4140" y="1787"/>
                </a:lnTo>
                <a:lnTo>
                  <a:pt x="4137" y="1790"/>
                </a:lnTo>
                <a:lnTo>
                  <a:pt x="4133" y="1791"/>
                </a:lnTo>
                <a:lnTo>
                  <a:pt x="4129" y="1792"/>
                </a:lnTo>
                <a:lnTo>
                  <a:pt x="4126" y="1791"/>
                </a:lnTo>
                <a:lnTo>
                  <a:pt x="4122" y="1790"/>
                </a:lnTo>
                <a:lnTo>
                  <a:pt x="4119" y="1788"/>
                </a:lnTo>
                <a:lnTo>
                  <a:pt x="4117" y="1785"/>
                </a:lnTo>
                <a:lnTo>
                  <a:pt x="4116" y="1783"/>
                </a:lnTo>
                <a:lnTo>
                  <a:pt x="4114" y="1780"/>
                </a:lnTo>
                <a:lnTo>
                  <a:pt x="4114" y="1777"/>
                </a:lnTo>
                <a:lnTo>
                  <a:pt x="4113" y="1774"/>
                </a:lnTo>
                <a:lnTo>
                  <a:pt x="4114" y="1771"/>
                </a:lnTo>
                <a:lnTo>
                  <a:pt x="4115" y="1769"/>
                </a:lnTo>
                <a:lnTo>
                  <a:pt x="4116" y="1766"/>
                </a:lnTo>
                <a:lnTo>
                  <a:pt x="4118" y="1765"/>
                </a:lnTo>
                <a:lnTo>
                  <a:pt x="4121" y="1762"/>
                </a:lnTo>
                <a:close/>
                <a:moveTo>
                  <a:pt x="3990" y="1701"/>
                </a:moveTo>
                <a:lnTo>
                  <a:pt x="3993" y="1699"/>
                </a:lnTo>
                <a:lnTo>
                  <a:pt x="3997" y="1699"/>
                </a:lnTo>
                <a:lnTo>
                  <a:pt x="4000" y="1699"/>
                </a:lnTo>
                <a:lnTo>
                  <a:pt x="4004" y="1700"/>
                </a:lnTo>
                <a:lnTo>
                  <a:pt x="4007" y="1702"/>
                </a:lnTo>
                <a:lnTo>
                  <a:pt x="4010" y="1704"/>
                </a:lnTo>
                <a:lnTo>
                  <a:pt x="4012" y="1706"/>
                </a:lnTo>
                <a:lnTo>
                  <a:pt x="4013" y="1709"/>
                </a:lnTo>
                <a:lnTo>
                  <a:pt x="4014" y="1711"/>
                </a:lnTo>
                <a:lnTo>
                  <a:pt x="4014" y="1714"/>
                </a:lnTo>
                <a:lnTo>
                  <a:pt x="4014" y="1717"/>
                </a:lnTo>
                <a:lnTo>
                  <a:pt x="4013" y="1720"/>
                </a:lnTo>
                <a:lnTo>
                  <a:pt x="4011" y="1723"/>
                </a:lnTo>
                <a:lnTo>
                  <a:pt x="4010" y="1724"/>
                </a:lnTo>
                <a:lnTo>
                  <a:pt x="4008" y="1725"/>
                </a:lnTo>
                <a:lnTo>
                  <a:pt x="4007" y="1726"/>
                </a:lnTo>
                <a:lnTo>
                  <a:pt x="4005" y="1727"/>
                </a:lnTo>
                <a:lnTo>
                  <a:pt x="4002" y="1729"/>
                </a:lnTo>
                <a:lnTo>
                  <a:pt x="3998" y="1729"/>
                </a:lnTo>
                <a:lnTo>
                  <a:pt x="3995" y="1729"/>
                </a:lnTo>
                <a:lnTo>
                  <a:pt x="3991" y="1728"/>
                </a:lnTo>
                <a:lnTo>
                  <a:pt x="3988" y="1727"/>
                </a:lnTo>
                <a:lnTo>
                  <a:pt x="3986" y="1725"/>
                </a:lnTo>
                <a:lnTo>
                  <a:pt x="3984" y="1722"/>
                </a:lnTo>
                <a:lnTo>
                  <a:pt x="3983" y="1719"/>
                </a:lnTo>
                <a:lnTo>
                  <a:pt x="3982" y="1717"/>
                </a:lnTo>
                <a:lnTo>
                  <a:pt x="3982" y="1714"/>
                </a:lnTo>
                <a:lnTo>
                  <a:pt x="3982" y="1711"/>
                </a:lnTo>
                <a:lnTo>
                  <a:pt x="3983" y="1708"/>
                </a:lnTo>
                <a:lnTo>
                  <a:pt x="3985" y="1706"/>
                </a:lnTo>
                <a:lnTo>
                  <a:pt x="3986" y="1704"/>
                </a:lnTo>
                <a:lnTo>
                  <a:pt x="3987" y="1703"/>
                </a:lnTo>
                <a:lnTo>
                  <a:pt x="3988" y="1702"/>
                </a:lnTo>
                <a:lnTo>
                  <a:pt x="3990" y="1701"/>
                </a:lnTo>
                <a:close/>
                <a:moveTo>
                  <a:pt x="3858" y="1644"/>
                </a:moveTo>
                <a:lnTo>
                  <a:pt x="3861" y="1642"/>
                </a:lnTo>
                <a:lnTo>
                  <a:pt x="3864" y="1642"/>
                </a:lnTo>
                <a:lnTo>
                  <a:pt x="3868" y="1642"/>
                </a:lnTo>
                <a:lnTo>
                  <a:pt x="3871" y="1643"/>
                </a:lnTo>
                <a:lnTo>
                  <a:pt x="3874" y="1644"/>
                </a:lnTo>
                <a:lnTo>
                  <a:pt x="3876" y="1646"/>
                </a:lnTo>
                <a:lnTo>
                  <a:pt x="3878" y="1649"/>
                </a:lnTo>
                <a:lnTo>
                  <a:pt x="3879" y="1651"/>
                </a:lnTo>
                <a:lnTo>
                  <a:pt x="3880" y="1654"/>
                </a:lnTo>
                <a:lnTo>
                  <a:pt x="3881" y="1657"/>
                </a:lnTo>
                <a:lnTo>
                  <a:pt x="3880" y="1660"/>
                </a:lnTo>
                <a:lnTo>
                  <a:pt x="3879" y="1663"/>
                </a:lnTo>
                <a:lnTo>
                  <a:pt x="3878" y="1665"/>
                </a:lnTo>
                <a:lnTo>
                  <a:pt x="3877" y="1667"/>
                </a:lnTo>
                <a:lnTo>
                  <a:pt x="3875" y="1669"/>
                </a:lnTo>
                <a:lnTo>
                  <a:pt x="3873" y="1670"/>
                </a:lnTo>
                <a:lnTo>
                  <a:pt x="3870" y="1672"/>
                </a:lnTo>
                <a:lnTo>
                  <a:pt x="3866" y="1672"/>
                </a:lnTo>
                <a:lnTo>
                  <a:pt x="3863" y="1672"/>
                </a:lnTo>
                <a:lnTo>
                  <a:pt x="3859" y="1671"/>
                </a:lnTo>
                <a:lnTo>
                  <a:pt x="3857" y="1670"/>
                </a:lnTo>
                <a:lnTo>
                  <a:pt x="3854" y="1668"/>
                </a:lnTo>
                <a:lnTo>
                  <a:pt x="3852" y="1666"/>
                </a:lnTo>
                <a:lnTo>
                  <a:pt x="3851" y="1663"/>
                </a:lnTo>
                <a:lnTo>
                  <a:pt x="3850" y="1660"/>
                </a:lnTo>
                <a:lnTo>
                  <a:pt x="3850" y="1657"/>
                </a:lnTo>
                <a:lnTo>
                  <a:pt x="3850" y="1654"/>
                </a:lnTo>
                <a:lnTo>
                  <a:pt x="3851" y="1651"/>
                </a:lnTo>
                <a:lnTo>
                  <a:pt x="3852" y="1649"/>
                </a:lnTo>
                <a:lnTo>
                  <a:pt x="3854" y="1647"/>
                </a:lnTo>
                <a:lnTo>
                  <a:pt x="3856" y="1645"/>
                </a:lnTo>
                <a:lnTo>
                  <a:pt x="3858" y="1644"/>
                </a:lnTo>
                <a:close/>
                <a:moveTo>
                  <a:pt x="2461" y="2353"/>
                </a:moveTo>
                <a:lnTo>
                  <a:pt x="2464" y="2352"/>
                </a:lnTo>
                <a:lnTo>
                  <a:pt x="2467" y="2351"/>
                </a:lnTo>
                <a:lnTo>
                  <a:pt x="2470" y="2351"/>
                </a:lnTo>
                <a:lnTo>
                  <a:pt x="2473" y="2352"/>
                </a:lnTo>
                <a:lnTo>
                  <a:pt x="2476" y="2353"/>
                </a:lnTo>
                <a:lnTo>
                  <a:pt x="2478" y="2354"/>
                </a:lnTo>
                <a:lnTo>
                  <a:pt x="2481" y="2357"/>
                </a:lnTo>
                <a:lnTo>
                  <a:pt x="2482" y="2359"/>
                </a:lnTo>
                <a:lnTo>
                  <a:pt x="2483" y="2362"/>
                </a:lnTo>
                <a:lnTo>
                  <a:pt x="2484" y="2365"/>
                </a:lnTo>
                <a:lnTo>
                  <a:pt x="2484" y="2368"/>
                </a:lnTo>
                <a:lnTo>
                  <a:pt x="2483" y="2371"/>
                </a:lnTo>
                <a:lnTo>
                  <a:pt x="2482" y="2374"/>
                </a:lnTo>
                <a:lnTo>
                  <a:pt x="2481" y="2376"/>
                </a:lnTo>
                <a:lnTo>
                  <a:pt x="2479" y="2378"/>
                </a:lnTo>
                <a:lnTo>
                  <a:pt x="2476" y="2380"/>
                </a:lnTo>
                <a:lnTo>
                  <a:pt x="2474" y="2381"/>
                </a:lnTo>
                <a:lnTo>
                  <a:pt x="2471" y="2382"/>
                </a:lnTo>
                <a:lnTo>
                  <a:pt x="2467" y="2382"/>
                </a:lnTo>
                <a:lnTo>
                  <a:pt x="2464" y="2381"/>
                </a:lnTo>
                <a:lnTo>
                  <a:pt x="2461" y="2380"/>
                </a:lnTo>
                <a:lnTo>
                  <a:pt x="2459" y="2378"/>
                </a:lnTo>
                <a:lnTo>
                  <a:pt x="2457" y="2376"/>
                </a:lnTo>
                <a:lnTo>
                  <a:pt x="2455" y="2374"/>
                </a:lnTo>
                <a:lnTo>
                  <a:pt x="2454" y="2371"/>
                </a:lnTo>
                <a:lnTo>
                  <a:pt x="2453" y="2368"/>
                </a:lnTo>
                <a:lnTo>
                  <a:pt x="2453" y="2365"/>
                </a:lnTo>
                <a:lnTo>
                  <a:pt x="2454" y="2362"/>
                </a:lnTo>
                <a:lnTo>
                  <a:pt x="2455" y="2359"/>
                </a:lnTo>
                <a:lnTo>
                  <a:pt x="2457" y="2357"/>
                </a:lnTo>
                <a:lnTo>
                  <a:pt x="2459" y="2355"/>
                </a:lnTo>
                <a:lnTo>
                  <a:pt x="2461" y="2353"/>
                </a:lnTo>
                <a:close/>
                <a:moveTo>
                  <a:pt x="3723" y="1593"/>
                </a:moveTo>
                <a:lnTo>
                  <a:pt x="3726" y="1591"/>
                </a:lnTo>
                <a:lnTo>
                  <a:pt x="3729" y="1591"/>
                </a:lnTo>
                <a:lnTo>
                  <a:pt x="3733" y="1591"/>
                </a:lnTo>
                <a:lnTo>
                  <a:pt x="3736" y="1591"/>
                </a:lnTo>
                <a:lnTo>
                  <a:pt x="3739" y="1593"/>
                </a:lnTo>
                <a:lnTo>
                  <a:pt x="3741" y="1595"/>
                </a:lnTo>
                <a:lnTo>
                  <a:pt x="3743" y="1597"/>
                </a:lnTo>
                <a:lnTo>
                  <a:pt x="3745" y="1599"/>
                </a:lnTo>
                <a:lnTo>
                  <a:pt x="3746" y="1602"/>
                </a:lnTo>
                <a:lnTo>
                  <a:pt x="3746" y="1605"/>
                </a:lnTo>
                <a:lnTo>
                  <a:pt x="3745" y="1611"/>
                </a:lnTo>
                <a:lnTo>
                  <a:pt x="3744" y="1614"/>
                </a:lnTo>
                <a:lnTo>
                  <a:pt x="3742" y="1616"/>
                </a:lnTo>
                <a:lnTo>
                  <a:pt x="3741" y="1618"/>
                </a:lnTo>
                <a:lnTo>
                  <a:pt x="3738" y="1619"/>
                </a:lnTo>
                <a:lnTo>
                  <a:pt x="3735" y="1621"/>
                </a:lnTo>
                <a:lnTo>
                  <a:pt x="3732" y="1621"/>
                </a:lnTo>
                <a:lnTo>
                  <a:pt x="3729" y="1621"/>
                </a:lnTo>
                <a:lnTo>
                  <a:pt x="3726" y="1620"/>
                </a:lnTo>
                <a:lnTo>
                  <a:pt x="3723" y="1619"/>
                </a:lnTo>
                <a:lnTo>
                  <a:pt x="3720" y="1617"/>
                </a:lnTo>
                <a:lnTo>
                  <a:pt x="3718" y="1615"/>
                </a:lnTo>
                <a:lnTo>
                  <a:pt x="3717" y="1613"/>
                </a:lnTo>
                <a:lnTo>
                  <a:pt x="3716" y="1610"/>
                </a:lnTo>
                <a:lnTo>
                  <a:pt x="3715" y="1607"/>
                </a:lnTo>
                <a:lnTo>
                  <a:pt x="3716" y="1601"/>
                </a:lnTo>
                <a:lnTo>
                  <a:pt x="3717" y="1598"/>
                </a:lnTo>
                <a:lnTo>
                  <a:pt x="3719" y="1596"/>
                </a:lnTo>
                <a:lnTo>
                  <a:pt x="3721" y="1594"/>
                </a:lnTo>
                <a:lnTo>
                  <a:pt x="3723" y="1593"/>
                </a:lnTo>
                <a:close/>
                <a:moveTo>
                  <a:pt x="2491" y="2213"/>
                </a:moveTo>
                <a:lnTo>
                  <a:pt x="2493" y="2211"/>
                </a:lnTo>
                <a:lnTo>
                  <a:pt x="2496" y="2211"/>
                </a:lnTo>
                <a:lnTo>
                  <a:pt x="2498" y="2210"/>
                </a:lnTo>
                <a:lnTo>
                  <a:pt x="2501" y="2211"/>
                </a:lnTo>
                <a:lnTo>
                  <a:pt x="2504" y="2211"/>
                </a:lnTo>
                <a:lnTo>
                  <a:pt x="2507" y="2213"/>
                </a:lnTo>
                <a:lnTo>
                  <a:pt x="2509" y="2214"/>
                </a:lnTo>
                <a:lnTo>
                  <a:pt x="2511" y="2217"/>
                </a:lnTo>
                <a:lnTo>
                  <a:pt x="2513" y="2219"/>
                </a:lnTo>
                <a:lnTo>
                  <a:pt x="2514" y="2222"/>
                </a:lnTo>
                <a:lnTo>
                  <a:pt x="2514" y="2225"/>
                </a:lnTo>
                <a:lnTo>
                  <a:pt x="2514" y="2228"/>
                </a:lnTo>
                <a:lnTo>
                  <a:pt x="2513" y="2232"/>
                </a:lnTo>
                <a:lnTo>
                  <a:pt x="2512" y="2235"/>
                </a:lnTo>
                <a:lnTo>
                  <a:pt x="2509" y="2237"/>
                </a:lnTo>
                <a:lnTo>
                  <a:pt x="2507" y="2239"/>
                </a:lnTo>
                <a:lnTo>
                  <a:pt x="2504" y="2240"/>
                </a:lnTo>
                <a:lnTo>
                  <a:pt x="2502" y="2241"/>
                </a:lnTo>
                <a:lnTo>
                  <a:pt x="2499" y="2241"/>
                </a:lnTo>
                <a:lnTo>
                  <a:pt x="2497" y="2241"/>
                </a:lnTo>
                <a:lnTo>
                  <a:pt x="2494" y="2240"/>
                </a:lnTo>
                <a:lnTo>
                  <a:pt x="2491" y="2239"/>
                </a:lnTo>
                <a:lnTo>
                  <a:pt x="2489" y="2237"/>
                </a:lnTo>
                <a:lnTo>
                  <a:pt x="2487" y="2235"/>
                </a:lnTo>
                <a:lnTo>
                  <a:pt x="2485" y="2233"/>
                </a:lnTo>
                <a:lnTo>
                  <a:pt x="2484" y="2230"/>
                </a:lnTo>
                <a:lnTo>
                  <a:pt x="2484" y="2227"/>
                </a:lnTo>
                <a:lnTo>
                  <a:pt x="2484" y="2224"/>
                </a:lnTo>
                <a:lnTo>
                  <a:pt x="2485" y="2220"/>
                </a:lnTo>
                <a:lnTo>
                  <a:pt x="2486" y="2217"/>
                </a:lnTo>
                <a:lnTo>
                  <a:pt x="2488" y="2215"/>
                </a:lnTo>
                <a:lnTo>
                  <a:pt x="2491" y="2213"/>
                </a:lnTo>
                <a:close/>
                <a:moveTo>
                  <a:pt x="3586" y="1549"/>
                </a:moveTo>
                <a:lnTo>
                  <a:pt x="3589" y="1548"/>
                </a:lnTo>
                <a:lnTo>
                  <a:pt x="3592" y="1547"/>
                </a:lnTo>
                <a:lnTo>
                  <a:pt x="3595" y="1547"/>
                </a:lnTo>
                <a:lnTo>
                  <a:pt x="3598" y="1547"/>
                </a:lnTo>
                <a:lnTo>
                  <a:pt x="3601" y="1548"/>
                </a:lnTo>
                <a:lnTo>
                  <a:pt x="3603" y="1550"/>
                </a:lnTo>
                <a:lnTo>
                  <a:pt x="3605" y="1552"/>
                </a:lnTo>
                <a:lnTo>
                  <a:pt x="3607" y="1555"/>
                </a:lnTo>
                <a:lnTo>
                  <a:pt x="3608" y="1557"/>
                </a:lnTo>
                <a:lnTo>
                  <a:pt x="3609" y="1560"/>
                </a:lnTo>
                <a:lnTo>
                  <a:pt x="3609" y="1563"/>
                </a:lnTo>
                <a:lnTo>
                  <a:pt x="3608" y="1566"/>
                </a:lnTo>
                <a:lnTo>
                  <a:pt x="3607" y="1569"/>
                </a:lnTo>
                <a:lnTo>
                  <a:pt x="3606" y="1572"/>
                </a:lnTo>
                <a:lnTo>
                  <a:pt x="3604" y="1574"/>
                </a:lnTo>
                <a:lnTo>
                  <a:pt x="3601" y="1575"/>
                </a:lnTo>
                <a:lnTo>
                  <a:pt x="3599" y="1577"/>
                </a:lnTo>
                <a:lnTo>
                  <a:pt x="3596" y="1577"/>
                </a:lnTo>
                <a:lnTo>
                  <a:pt x="3593" y="1577"/>
                </a:lnTo>
                <a:lnTo>
                  <a:pt x="3589" y="1577"/>
                </a:lnTo>
                <a:lnTo>
                  <a:pt x="3587" y="1576"/>
                </a:lnTo>
                <a:lnTo>
                  <a:pt x="3584" y="1574"/>
                </a:lnTo>
                <a:lnTo>
                  <a:pt x="3582" y="1572"/>
                </a:lnTo>
                <a:lnTo>
                  <a:pt x="3580" y="1570"/>
                </a:lnTo>
                <a:lnTo>
                  <a:pt x="3579" y="1567"/>
                </a:lnTo>
                <a:lnTo>
                  <a:pt x="3578" y="1564"/>
                </a:lnTo>
                <a:lnTo>
                  <a:pt x="3578" y="1561"/>
                </a:lnTo>
                <a:lnTo>
                  <a:pt x="3579" y="1558"/>
                </a:lnTo>
                <a:lnTo>
                  <a:pt x="3580" y="1555"/>
                </a:lnTo>
                <a:lnTo>
                  <a:pt x="3582" y="1553"/>
                </a:lnTo>
                <a:lnTo>
                  <a:pt x="3584" y="1550"/>
                </a:lnTo>
                <a:lnTo>
                  <a:pt x="3586" y="1549"/>
                </a:lnTo>
                <a:close/>
                <a:moveTo>
                  <a:pt x="2505" y="2069"/>
                </a:moveTo>
                <a:lnTo>
                  <a:pt x="2509" y="2068"/>
                </a:lnTo>
                <a:lnTo>
                  <a:pt x="2512" y="2067"/>
                </a:lnTo>
                <a:lnTo>
                  <a:pt x="2514" y="2067"/>
                </a:lnTo>
                <a:lnTo>
                  <a:pt x="2520" y="2069"/>
                </a:lnTo>
                <a:lnTo>
                  <a:pt x="2522" y="2070"/>
                </a:lnTo>
                <a:lnTo>
                  <a:pt x="2524" y="2072"/>
                </a:lnTo>
                <a:lnTo>
                  <a:pt x="2526" y="2075"/>
                </a:lnTo>
                <a:lnTo>
                  <a:pt x="2527" y="2078"/>
                </a:lnTo>
                <a:lnTo>
                  <a:pt x="2528" y="2081"/>
                </a:lnTo>
                <a:lnTo>
                  <a:pt x="2528" y="2084"/>
                </a:lnTo>
                <a:lnTo>
                  <a:pt x="2527" y="2087"/>
                </a:lnTo>
                <a:lnTo>
                  <a:pt x="2526" y="2091"/>
                </a:lnTo>
                <a:lnTo>
                  <a:pt x="2524" y="2094"/>
                </a:lnTo>
                <a:lnTo>
                  <a:pt x="2521" y="2096"/>
                </a:lnTo>
                <a:lnTo>
                  <a:pt x="2516" y="2098"/>
                </a:lnTo>
                <a:lnTo>
                  <a:pt x="2514" y="2098"/>
                </a:lnTo>
                <a:lnTo>
                  <a:pt x="2512" y="2098"/>
                </a:lnTo>
                <a:lnTo>
                  <a:pt x="2506" y="2096"/>
                </a:lnTo>
                <a:lnTo>
                  <a:pt x="2503" y="2095"/>
                </a:lnTo>
                <a:lnTo>
                  <a:pt x="2501" y="2093"/>
                </a:lnTo>
                <a:lnTo>
                  <a:pt x="2500" y="2090"/>
                </a:lnTo>
                <a:lnTo>
                  <a:pt x="2498" y="2088"/>
                </a:lnTo>
                <a:lnTo>
                  <a:pt x="2498" y="2085"/>
                </a:lnTo>
                <a:lnTo>
                  <a:pt x="2498" y="2082"/>
                </a:lnTo>
                <a:lnTo>
                  <a:pt x="2498" y="2078"/>
                </a:lnTo>
                <a:lnTo>
                  <a:pt x="2500" y="2074"/>
                </a:lnTo>
                <a:lnTo>
                  <a:pt x="2502" y="2071"/>
                </a:lnTo>
                <a:lnTo>
                  <a:pt x="2505" y="2069"/>
                </a:lnTo>
                <a:close/>
                <a:moveTo>
                  <a:pt x="3446" y="1515"/>
                </a:moveTo>
                <a:lnTo>
                  <a:pt x="3449" y="1514"/>
                </a:lnTo>
                <a:lnTo>
                  <a:pt x="3451" y="1513"/>
                </a:lnTo>
                <a:lnTo>
                  <a:pt x="3457" y="1513"/>
                </a:lnTo>
                <a:lnTo>
                  <a:pt x="3460" y="1514"/>
                </a:lnTo>
                <a:lnTo>
                  <a:pt x="3462" y="1515"/>
                </a:lnTo>
                <a:lnTo>
                  <a:pt x="3465" y="1517"/>
                </a:lnTo>
                <a:lnTo>
                  <a:pt x="3467" y="1520"/>
                </a:lnTo>
                <a:lnTo>
                  <a:pt x="3468" y="1522"/>
                </a:lnTo>
                <a:lnTo>
                  <a:pt x="3469" y="1525"/>
                </a:lnTo>
                <a:lnTo>
                  <a:pt x="3469" y="1528"/>
                </a:lnTo>
                <a:lnTo>
                  <a:pt x="3469" y="1531"/>
                </a:lnTo>
                <a:lnTo>
                  <a:pt x="3468" y="1534"/>
                </a:lnTo>
                <a:lnTo>
                  <a:pt x="3466" y="1537"/>
                </a:lnTo>
                <a:lnTo>
                  <a:pt x="3464" y="1540"/>
                </a:lnTo>
                <a:lnTo>
                  <a:pt x="3462" y="1541"/>
                </a:lnTo>
                <a:lnTo>
                  <a:pt x="3459" y="1543"/>
                </a:lnTo>
                <a:lnTo>
                  <a:pt x="3456" y="1543"/>
                </a:lnTo>
                <a:lnTo>
                  <a:pt x="3451" y="1543"/>
                </a:lnTo>
                <a:lnTo>
                  <a:pt x="3448" y="1542"/>
                </a:lnTo>
                <a:lnTo>
                  <a:pt x="3445" y="1541"/>
                </a:lnTo>
                <a:lnTo>
                  <a:pt x="3443" y="1539"/>
                </a:lnTo>
                <a:lnTo>
                  <a:pt x="3441" y="1537"/>
                </a:lnTo>
                <a:lnTo>
                  <a:pt x="3440" y="1534"/>
                </a:lnTo>
                <a:lnTo>
                  <a:pt x="3439" y="1531"/>
                </a:lnTo>
                <a:lnTo>
                  <a:pt x="3438" y="1528"/>
                </a:lnTo>
                <a:lnTo>
                  <a:pt x="3439" y="1525"/>
                </a:lnTo>
                <a:lnTo>
                  <a:pt x="3440" y="1522"/>
                </a:lnTo>
                <a:lnTo>
                  <a:pt x="3441" y="1519"/>
                </a:lnTo>
                <a:lnTo>
                  <a:pt x="3444" y="1517"/>
                </a:lnTo>
                <a:lnTo>
                  <a:pt x="3446" y="1515"/>
                </a:lnTo>
                <a:close/>
                <a:moveTo>
                  <a:pt x="3304" y="1493"/>
                </a:moveTo>
                <a:lnTo>
                  <a:pt x="3308" y="1491"/>
                </a:lnTo>
                <a:lnTo>
                  <a:pt x="3311" y="1491"/>
                </a:lnTo>
                <a:lnTo>
                  <a:pt x="3313" y="1491"/>
                </a:lnTo>
                <a:lnTo>
                  <a:pt x="3316" y="1492"/>
                </a:lnTo>
                <a:lnTo>
                  <a:pt x="3319" y="1493"/>
                </a:lnTo>
                <a:lnTo>
                  <a:pt x="3321" y="1495"/>
                </a:lnTo>
                <a:lnTo>
                  <a:pt x="3323" y="1497"/>
                </a:lnTo>
                <a:lnTo>
                  <a:pt x="3325" y="1499"/>
                </a:lnTo>
                <a:lnTo>
                  <a:pt x="3326" y="1502"/>
                </a:lnTo>
                <a:lnTo>
                  <a:pt x="3327" y="1505"/>
                </a:lnTo>
                <a:lnTo>
                  <a:pt x="3327" y="1508"/>
                </a:lnTo>
                <a:lnTo>
                  <a:pt x="3326" y="1512"/>
                </a:lnTo>
                <a:lnTo>
                  <a:pt x="3324" y="1515"/>
                </a:lnTo>
                <a:lnTo>
                  <a:pt x="3322" y="1518"/>
                </a:lnTo>
                <a:lnTo>
                  <a:pt x="3319" y="1520"/>
                </a:lnTo>
                <a:lnTo>
                  <a:pt x="3315" y="1522"/>
                </a:lnTo>
                <a:lnTo>
                  <a:pt x="3313" y="1522"/>
                </a:lnTo>
                <a:lnTo>
                  <a:pt x="3310" y="1522"/>
                </a:lnTo>
                <a:lnTo>
                  <a:pt x="3307" y="1521"/>
                </a:lnTo>
                <a:lnTo>
                  <a:pt x="3304" y="1520"/>
                </a:lnTo>
                <a:lnTo>
                  <a:pt x="3302" y="1518"/>
                </a:lnTo>
                <a:lnTo>
                  <a:pt x="3300" y="1516"/>
                </a:lnTo>
                <a:lnTo>
                  <a:pt x="3298" y="1514"/>
                </a:lnTo>
                <a:lnTo>
                  <a:pt x="3297" y="1511"/>
                </a:lnTo>
                <a:lnTo>
                  <a:pt x="3296" y="1508"/>
                </a:lnTo>
                <a:lnTo>
                  <a:pt x="3296" y="1505"/>
                </a:lnTo>
                <a:lnTo>
                  <a:pt x="3297" y="1501"/>
                </a:lnTo>
                <a:lnTo>
                  <a:pt x="3299" y="1498"/>
                </a:lnTo>
                <a:lnTo>
                  <a:pt x="3301" y="1495"/>
                </a:lnTo>
                <a:lnTo>
                  <a:pt x="3304" y="1493"/>
                </a:lnTo>
                <a:close/>
                <a:moveTo>
                  <a:pt x="2517" y="1926"/>
                </a:moveTo>
                <a:lnTo>
                  <a:pt x="2519" y="1925"/>
                </a:lnTo>
                <a:lnTo>
                  <a:pt x="2521" y="1924"/>
                </a:lnTo>
                <a:lnTo>
                  <a:pt x="2524" y="1924"/>
                </a:lnTo>
                <a:lnTo>
                  <a:pt x="2526" y="1924"/>
                </a:lnTo>
                <a:lnTo>
                  <a:pt x="2529" y="1924"/>
                </a:lnTo>
                <a:lnTo>
                  <a:pt x="2532" y="1926"/>
                </a:lnTo>
                <a:lnTo>
                  <a:pt x="2535" y="1927"/>
                </a:lnTo>
                <a:lnTo>
                  <a:pt x="2536" y="1928"/>
                </a:lnTo>
                <a:lnTo>
                  <a:pt x="2537" y="1930"/>
                </a:lnTo>
                <a:lnTo>
                  <a:pt x="2537" y="1931"/>
                </a:lnTo>
                <a:lnTo>
                  <a:pt x="2538" y="1932"/>
                </a:lnTo>
                <a:lnTo>
                  <a:pt x="2539" y="1935"/>
                </a:lnTo>
                <a:lnTo>
                  <a:pt x="2540" y="1938"/>
                </a:lnTo>
                <a:lnTo>
                  <a:pt x="2540" y="1941"/>
                </a:lnTo>
                <a:lnTo>
                  <a:pt x="2539" y="1944"/>
                </a:lnTo>
                <a:lnTo>
                  <a:pt x="2537" y="1948"/>
                </a:lnTo>
                <a:lnTo>
                  <a:pt x="2535" y="1950"/>
                </a:lnTo>
                <a:lnTo>
                  <a:pt x="2532" y="1952"/>
                </a:lnTo>
                <a:lnTo>
                  <a:pt x="2530" y="1953"/>
                </a:lnTo>
                <a:lnTo>
                  <a:pt x="2528" y="1954"/>
                </a:lnTo>
                <a:lnTo>
                  <a:pt x="2525" y="1954"/>
                </a:lnTo>
                <a:lnTo>
                  <a:pt x="2523" y="1954"/>
                </a:lnTo>
                <a:lnTo>
                  <a:pt x="2520" y="1954"/>
                </a:lnTo>
                <a:lnTo>
                  <a:pt x="2517" y="1952"/>
                </a:lnTo>
                <a:lnTo>
                  <a:pt x="2514" y="1951"/>
                </a:lnTo>
                <a:lnTo>
                  <a:pt x="2513" y="1950"/>
                </a:lnTo>
                <a:lnTo>
                  <a:pt x="2512" y="1949"/>
                </a:lnTo>
                <a:lnTo>
                  <a:pt x="2512" y="1947"/>
                </a:lnTo>
                <a:lnTo>
                  <a:pt x="2511" y="1946"/>
                </a:lnTo>
                <a:lnTo>
                  <a:pt x="2510" y="1943"/>
                </a:lnTo>
                <a:lnTo>
                  <a:pt x="2509" y="1940"/>
                </a:lnTo>
                <a:lnTo>
                  <a:pt x="2509" y="1937"/>
                </a:lnTo>
                <a:lnTo>
                  <a:pt x="2510" y="1934"/>
                </a:lnTo>
                <a:lnTo>
                  <a:pt x="2512" y="1930"/>
                </a:lnTo>
                <a:lnTo>
                  <a:pt x="2514" y="1928"/>
                </a:lnTo>
                <a:lnTo>
                  <a:pt x="2517" y="1926"/>
                </a:lnTo>
                <a:close/>
                <a:moveTo>
                  <a:pt x="3160" y="1487"/>
                </a:moveTo>
                <a:lnTo>
                  <a:pt x="3162" y="1486"/>
                </a:lnTo>
                <a:lnTo>
                  <a:pt x="3164" y="1486"/>
                </a:lnTo>
                <a:lnTo>
                  <a:pt x="3168" y="1485"/>
                </a:lnTo>
                <a:lnTo>
                  <a:pt x="3171" y="1485"/>
                </a:lnTo>
                <a:lnTo>
                  <a:pt x="3174" y="1486"/>
                </a:lnTo>
                <a:lnTo>
                  <a:pt x="3176" y="1488"/>
                </a:lnTo>
                <a:lnTo>
                  <a:pt x="3179" y="1490"/>
                </a:lnTo>
                <a:lnTo>
                  <a:pt x="3181" y="1492"/>
                </a:lnTo>
                <a:lnTo>
                  <a:pt x="3182" y="1494"/>
                </a:lnTo>
                <a:lnTo>
                  <a:pt x="3183" y="1497"/>
                </a:lnTo>
                <a:lnTo>
                  <a:pt x="3183" y="1500"/>
                </a:lnTo>
                <a:lnTo>
                  <a:pt x="3183" y="1505"/>
                </a:lnTo>
                <a:lnTo>
                  <a:pt x="3181" y="1508"/>
                </a:lnTo>
                <a:lnTo>
                  <a:pt x="3179" y="1511"/>
                </a:lnTo>
                <a:lnTo>
                  <a:pt x="3176" y="1514"/>
                </a:lnTo>
                <a:lnTo>
                  <a:pt x="3174" y="1515"/>
                </a:lnTo>
                <a:lnTo>
                  <a:pt x="3172" y="1515"/>
                </a:lnTo>
                <a:lnTo>
                  <a:pt x="3168" y="1516"/>
                </a:lnTo>
                <a:lnTo>
                  <a:pt x="3165" y="1516"/>
                </a:lnTo>
                <a:lnTo>
                  <a:pt x="3162" y="1515"/>
                </a:lnTo>
                <a:lnTo>
                  <a:pt x="3160" y="1514"/>
                </a:lnTo>
                <a:lnTo>
                  <a:pt x="3157" y="1512"/>
                </a:lnTo>
                <a:lnTo>
                  <a:pt x="3155" y="1509"/>
                </a:lnTo>
                <a:lnTo>
                  <a:pt x="3154" y="1507"/>
                </a:lnTo>
                <a:lnTo>
                  <a:pt x="3153" y="1504"/>
                </a:lnTo>
                <a:lnTo>
                  <a:pt x="3153" y="1501"/>
                </a:lnTo>
                <a:lnTo>
                  <a:pt x="3153" y="1497"/>
                </a:lnTo>
                <a:lnTo>
                  <a:pt x="3155" y="1493"/>
                </a:lnTo>
                <a:lnTo>
                  <a:pt x="3157" y="1490"/>
                </a:lnTo>
                <a:lnTo>
                  <a:pt x="3160" y="1487"/>
                </a:lnTo>
                <a:close/>
                <a:moveTo>
                  <a:pt x="2548" y="1785"/>
                </a:moveTo>
                <a:lnTo>
                  <a:pt x="2552" y="1784"/>
                </a:lnTo>
                <a:lnTo>
                  <a:pt x="2555" y="1783"/>
                </a:lnTo>
                <a:lnTo>
                  <a:pt x="2558" y="1783"/>
                </a:lnTo>
                <a:lnTo>
                  <a:pt x="2562" y="1784"/>
                </a:lnTo>
                <a:lnTo>
                  <a:pt x="2563" y="1785"/>
                </a:lnTo>
                <a:lnTo>
                  <a:pt x="2564" y="1785"/>
                </a:lnTo>
                <a:lnTo>
                  <a:pt x="2567" y="1788"/>
                </a:lnTo>
                <a:lnTo>
                  <a:pt x="2569" y="1790"/>
                </a:lnTo>
                <a:lnTo>
                  <a:pt x="2570" y="1793"/>
                </a:lnTo>
                <a:lnTo>
                  <a:pt x="2571" y="1796"/>
                </a:lnTo>
                <a:lnTo>
                  <a:pt x="2572" y="1799"/>
                </a:lnTo>
                <a:lnTo>
                  <a:pt x="2571" y="1802"/>
                </a:lnTo>
                <a:lnTo>
                  <a:pt x="2571" y="1805"/>
                </a:lnTo>
                <a:lnTo>
                  <a:pt x="2569" y="1807"/>
                </a:lnTo>
                <a:lnTo>
                  <a:pt x="2568" y="1809"/>
                </a:lnTo>
                <a:lnTo>
                  <a:pt x="2566" y="1811"/>
                </a:lnTo>
                <a:lnTo>
                  <a:pt x="2564" y="1813"/>
                </a:lnTo>
                <a:lnTo>
                  <a:pt x="2561" y="1814"/>
                </a:lnTo>
                <a:lnTo>
                  <a:pt x="2558" y="1815"/>
                </a:lnTo>
                <a:lnTo>
                  <a:pt x="2554" y="1814"/>
                </a:lnTo>
                <a:lnTo>
                  <a:pt x="2551" y="1814"/>
                </a:lnTo>
                <a:lnTo>
                  <a:pt x="2549" y="1813"/>
                </a:lnTo>
                <a:lnTo>
                  <a:pt x="2548" y="1812"/>
                </a:lnTo>
                <a:lnTo>
                  <a:pt x="2546" y="1810"/>
                </a:lnTo>
                <a:lnTo>
                  <a:pt x="2544" y="1808"/>
                </a:lnTo>
                <a:lnTo>
                  <a:pt x="2542" y="1805"/>
                </a:lnTo>
                <a:lnTo>
                  <a:pt x="2541" y="1803"/>
                </a:lnTo>
                <a:lnTo>
                  <a:pt x="2541" y="1800"/>
                </a:lnTo>
                <a:lnTo>
                  <a:pt x="2541" y="1797"/>
                </a:lnTo>
                <a:lnTo>
                  <a:pt x="2542" y="1794"/>
                </a:lnTo>
                <a:lnTo>
                  <a:pt x="2543" y="1791"/>
                </a:lnTo>
                <a:lnTo>
                  <a:pt x="2545" y="1789"/>
                </a:lnTo>
                <a:lnTo>
                  <a:pt x="2546" y="1787"/>
                </a:lnTo>
                <a:lnTo>
                  <a:pt x="2548" y="1785"/>
                </a:lnTo>
                <a:close/>
                <a:moveTo>
                  <a:pt x="3017" y="1500"/>
                </a:moveTo>
                <a:lnTo>
                  <a:pt x="3020" y="1499"/>
                </a:lnTo>
                <a:lnTo>
                  <a:pt x="3022" y="1498"/>
                </a:lnTo>
                <a:lnTo>
                  <a:pt x="3025" y="1498"/>
                </a:lnTo>
                <a:lnTo>
                  <a:pt x="3028" y="1498"/>
                </a:lnTo>
                <a:lnTo>
                  <a:pt x="3031" y="1499"/>
                </a:lnTo>
                <a:lnTo>
                  <a:pt x="3034" y="1501"/>
                </a:lnTo>
                <a:lnTo>
                  <a:pt x="3036" y="1503"/>
                </a:lnTo>
                <a:lnTo>
                  <a:pt x="3038" y="1505"/>
                </a:lnTo>
                <a:lnTo>
                  <a:pt x="3039" y="1508"/>
                </a:lnTo>
                <a:lnTo>
                  <a:pt x="3040" y="1511"/>
                </a:lnTo>
                <a:lnTo>
                  <a:pt x="3040" y="1516"/>
                </a:lnTo>
                <a:lnTo>
                  <a:pt x="3039" y="1520"/>
                </a:lnTo>
                <a:lnTo>
                  <a:pt x="3036" y="1524"/>
                </a:lnTo>
                <a:lnTo>
                  <a:pt x="3032" y="1527"/>
                </a:lnTo>
                <a:lnTo>
                  <a:pt x="3030" y="1528"/>
                </a:lnTo>
                <a:lnTo>
                  <a:pt x="3027" y="1528"/>
                </a:lnTo>
                <a:lnTo>
                  <a:pt x="3024" y="1529"/>
                </a:lnTo>
                <a:lnTo>
                  <a:pt x="3021" y="1528"/>
                </a:lnTo>
                <a:lnTo>
                  <a:pt x="3018" y="1527"/>
                </a:lnTo>
                <a:lnTo>
                  <a:pt x="3016" y="1526"/>
                </a:lnTo>
                <a:lnTo>
                  <a:pt x="3013" y="1524"/>
                </a:lnTo>
                <a:lnTo>
                  <a:pt x="3012" y="1521"/>
                </a:lnTo>
                <a:lnTo>
                  <a:pt x="3010" y="1519"/>
                </a:lnTo>
                <a:lnTo>
                  <a:pt x="3010" y="1516"/>
                </a:lnTo>
                <a:lnTo>
                  <a:pt x="3010" y="1511"/>
                </a:lnTo>
                <a:lnTo>
                  <a:pt x="3011" y="1506"/>
                </a:lnTo>
                <a:lnTo>
                  <a:pt x="3013" y="1503"/>
                </a:lnTo>
                <a:lnTo>
                  <a:pt x="3017" y="1500"/>
                </a:lnTo>
                <a:close/>
                <a:moveTo>
                  <a:pt x="2877" y="1532"/>
                </a:moveTo>
                <a:lnTo>
                  <a:pt x="2880" y="1531"/>
                </a:lnTo>
                <a:lnTo>
                  <a:pt x="2883" y="1530"/>
                </a:lnTo>
                <a:lnTo>
                  <a:pt x="2886" y="1530"/>
                </a:lnTo>
                <a:lnTo>
                  <a:pt x="2889" y="1531"/>
                </a:lnTo>
                <a:lnTo>
                  <a:pt x="2892" y="1532"/>
                </a:lnTo>
                <a:lnTo>
                  <a:pt x="2894" y="1534"/>
                </a:lnTo>
                <a:lnTo>
                  <a:pt x="2897" y="1536"/>
                </a:lnTo>
                <a:lnTo>
                  <a:pt x="2898" y="1538"/>
                </a:lnTo>
                <a:lnTo>
                  <a:pt x="2900" y="1541"/>
                </a:lnTo>
                <a:lnTo>
                  <a:pt x="2900" y="1546"/>
                </a:lnTo>
                <a:lnTo>
                  <a:pt x="2900" y="1549"/>
                </a:lnTo>
                <a:lnTo>
                  <a:pt x="2899" y="1551"/>
                </a:lnTo>
                <a:lnTo>
                  <a:pt x="2897" y="1556"/>
                </a:lnTo>
                <a:lnTo>
                  <a:pt x="2895" y="1558"/>
                </a:lnTo>
                <a:lnTo>
                  <a:pt x="2893" y="1559"/>
                </a:lnTo>
                <a:lnTo>
                  <a:pt x="2889" y="1560"/>
                </a:lnTo>
                <a:lnTo>
                  <a:pt x="2886" y="1561"/>
                </a:lnTo>
                <a:lnTo>
                  <a:pt x="2883" y="1561"/>
                </a:lnTo>
                <a:lnTo>
                  <a:pt x="2880" y="1561"/>
                </a:lnTo>
                <a:lnTo>
                  <a:pt x="2878" y="1559"/>
                </a:lnTo>
                <a:lnTo>
                  <a:pt x="2875" y="1558"/>
                </a:lnTo>
                <a:lnTo>
                  <a:pt x="2873" y="1556"/>
                </a:lnTo>
                <a:lnTo>
                  <a:pt x="2871" y="1553"/>
                </a:lnTo>
                <a:lnTo>
                  <a:pt x="2870" y="1550"/>
                </a:lnTo>
                <a:lnTo>
                  <a:pt x="2869" y="1545"/>
                </a:lnTo>
                <a:lnTo>
                  <a:pt x="2870" y="1543"/>
                </a:lnTo>
                <a:lnTo>
                  <a:pt x="2871" y="1540"/>
                </a:lnTo>
                <a:lnTo>
                  <a:pt x="2872" y="1538"/>
                </a:lnTo>
                <a:lnTo>
                  <a:pt x="2873" y="1536"/>
                </a:lnTo>
                <a:lnTo>
                  <a:pt x="2875" y="1534"/>
                </a:lnTo>
                <a:lnTo>
                  <a:pt x="2877" y="1532"/>
                </a:lnTo>
                <a:close/>
                <a:moveTo>
                  <a:pt x="2626" y="1666"/>
                </a:moveTo>
                <a:lnTo>
                  <a:pt x="2628" y="1664"/>
                </a:lnTo>
                <a:lnTo>
                  <a:pt x="2630" y="1664"/>
                </a:lnTo>
                <a:lnTo>
                  <a:pt x="2633" y="1664"/>
                </a:lnTo>
                <a:lnTo>
                  <a:pt x="2635" y="1664"/>
                </a:lnTo>
                <a:lnTo>
                  <a:pt x="2638" y="1664"/>
                </a:lnTo>
                <a:lnTo>
                  <a:pt x="2640" y="1665"/>
                </a:lnTo>
                <a:lnTo>
                  <a:pt x="2642" y="1666"/>
                </a:lnTo>
                <a:lnTo>
                  <a:pt x="2644" y="1668"/>
                </a:lnTo>
                <a:lnTo>
                  <a:pt x="2646" y="1670"/>
                </a:lnTo>
                <a:lnTo>
                  <a:pt x="2648" y="1673"/>
                </a:lnTo>
                <a:lnTo>
                  <a:pt x="2648" y="1676"/>
                </a:lnTo>
                <a:lnTo>
                  <a:pt x="2649" y="1679"/>
                </a:lnTo>
                <a:lnTo>
                  <a:pt x="2648" y="1682"/>
                </a:lnTo>
                <a:lnTo>
                  <a:pt x="2647" y="1685"/>
                </a:lnTo>
                <a:lnTo>
                  <a:pt x="2646" y="1687"/>
                </a:lnTo>
                <a:lnTo>
                  <a:pt x="2644" y="1690"/>
                </a:lnTo>
                <a:lnTo>
                  <a:pt x="2641" y="1692"/>
                </a:lnTo>
                <a:lnTo>
                  <a:pt x="2639" y="1693"/>
                </a:lnTo>
                <a:lnTo>
                  <a:pt x="2636" y="1694"/>
                </a:lnTo>
                <a:lnTo>
                  <a:pt x="2634" y="1694"/>
                </a:lnTo>
                <a:lnTo>
                  <a:pt x="2631" y="1694"/>
                </a:lnTo>
                <a:lnTo>
                  <a:pt x="2629" y="1694"/>
                </a:lnTo>
                <a:lnTo>
                  <a:pt x="2627" y="1693"/>
                </a:lnTo>
                <a:lnTo>
                  <a:pt x="2624" y="1691"/>
                </a:lnTo>
                <a:lnTo>
                  <a:pt x="2622" y="1690"/>
                </a:lnTo>
                <a:lnTo>
                  <a:pt x="2620" y="1687"/>
                </a:lnTo>
                <a:lnTo>
                  <a:pt x="2619" y="1685"/>
                </a:lnTo>
                <a:lnTo>
                  <a:pt x="2618" y="1682"/>
                </a:lnTo>
                <a:lnTo>
                  <a:pt x="2618" y="1679"/>
                </a:lnTo>
                <a:lnTo>
                  <a:pt x="2618" y="1676"/>
                </a:lnTo>
                <a:lnTo>
                  <a:pt x="2619" y="1673"/>
                </a:lnTo>
                <a:lnTo>
                  <a:pt x="2620" y="1670"/>
                </a:lnTo>
                <a:lnTo>
                  <a:pt x="2622" y="1668"/>
                </a:lnTo>
                <a:lnTo>
                  <a:pt x="2626" y="1666"/>
                </a:lnTo>
                <a:close/>
                <a:moveTo>
                  <a:pt x="2743" y="1585"/>
                </a:moveTo>
                <a:lnTo>
                  <a:pt x="2746" y="1583"/>
                </a:lnTo>
                <a:lnTo>
                  <a:pt x="2750" y="1583"/>
                </a:lnTo>
                <a:lnTo>
                  <a:pt x="2753" y="1583"/>
                </a:lnTo>
                <a:lnTo>
                  <a:pt x="2756" y="1584"/>
                </a:lnTo>
                <a:lnTo>
                  <a:pt x="2759" y="1585"/>
                </a:lnTo>
                <a:lnTo>
                  <a:pt x="2761" y="1586"/>
                </a:lnTo>
                <a:lnTo>
                  <a:pt x="2763" y="1589"/>
                </a:lnTo>
                <a:lnTo>
                  <a:pt x="2765" y="1591"/>
                </a:lnTo>
                <a:lnTo>
                  <a:pt x="2766" y="1594"/>
                </a:lnTo>
                <a:lnTo>
                  <a:pt x="2766" y="1597"/>
                </a:lnTo>
                <a:lnTo>
                  <a:pt x="2766" y="1600"/>
                </a:lnTo>
                <a:lnTo>
                  <a:pt x="2766" y="1603"/>
                </a:lnTo>
                <a:lnTo>
                  <a:pt x="2765" y="1605"/>
                </a:lnTo>
                <a:lnTo>
                  <a:pt x="2763" y="1608"/>
                </a:lnTo>
                <a:lnTo>
                  <a:pt x="2761" y="1610"/>
                </a:lnTo>
                <a:lnTo>
                  <a:pt x="2759" y="1611"/>
                </a:lnTo>
                <a:lnTo>
                  <a:pt x="2755" y="1613"/>
                </a:lnTo>
                <a:lnTo>
                  <a:pt x="2752" y="1613"/>
                </a:lnTo>
                <a:lnTo>
                  <a:pt x="2749" y="1613"/>
                </a:lnTo>
                <a:lnTo>
                  <a:pt x="2746" y="1613"/>
                </a:lnTo>
                <a:lnTo>
                  <a:pt x="2743" y="1611"/>
                </a:lnTo>
                <a:lnTo>
                  <a:pt x="2741" y="1610"/>
                </a:lnTo>
                <a:lnTo>
                  <a:pt x="2739" y="1607"/>
                </a:lnTo>
                <a:lnTo>
                  <a:pt x="2737" y="1605"/>
                </a:lnTo>
                <a:lnTo>
                  <a:pt x="2736" y="1602"/>
                </a:lnTo>
                <a:lnTo>
                  <a:pt x="2736" y="1599"/>
                </a:lnTo>
                <a:lnTo>
                  <a:pt x="2736" y="1596"/>
                </a:lnTo>
                <a:lnTo>
                  <a:pt x="2736" y="1594"/>
                </a:lnTo>
                <a:lnTo>
                  <a:pt x="2737" y="1591"/>
                </a:lnTo>
                <a:lnTo>
                  <a:pt x="2739" y="1589"/>
                </a:lnTo>
                <a:lnTo>
                  <a:pt x="2741" y="1586"/>
                </a:lnTo>
                <a:lnTo>
                  <a:pt x="2743" y="1585"/>
                </a:lnTo>
                <a:close/>
                <a:moveTo>
                  <a:pt x="4771" y="2334"/>
                </a:moveTo>
                <a:lnTo>
                  <a:pt x="4772" y="2333"/>
                </a:lnTo>
                <a:lnTo>
                  <a:pt x="4774" y="2333"/>
                </a:lnTo>
                <a:lnTo>
                  <a:pt x="4778" y="2332"/>
                </a:lnTo>
                <a:lnTo>
                  <a:pt x="4780" y="2332"/>
                </a:lnTo>
                <a:lnTo>
                  <a:pt x="4782" y="2332"/>
                </a:lnTo>
                <a:lnTo>
                  <a:pt x="4786" y="2334"/>
                </a:lnTo>
                <a:lnTo>
                  <a:pt x="4788" y="2336"/>
                </a:lnTo>
                <a:lnTo>
                  <a:pt x="4790" y="2338"/>
                </a:lnTo>
                <a:lnTo>
                  <a:pt x="4791" y="2339"/>
                </a:lnTo>
                <a:lnTo>
                  <a:pt x="4792" y="2340"/>
                </a:lnTo>
                <a:lnTo>
                  <a:pt x="4793" y="2343"/>
                </a:lnTo>
                <a:lnTo>
                  <a:pt x="4793" y="2346"/>
                </a:lnTo>
                <a:lnTo>
                  <a:pt x="4793" y="2349"/>
                </a:lnTo>
                <a:lnTo>
                  <a:pt x="4793" y="2352"/>
                </a:lnTo>
                <a:lnTo>
                  <a:pt x="4792" y="2355"/>
                </a:lnTo>
                <a:lnTo>
                  <a:pt x="4791" y="2356"/>
                </a:lnTo>
                <a:lnTo>
                  <a:pt x="4789" y="2358"/>
                </a:lnTo>
                <a:lnTo>
                  <a:pt x="4786" y="2360"/>
                </a:lnTo>
                <a:lnTo>
                  <a:pt x="4784" y="2361"/>
                </a:lnTo>
                <a:lnTo>
                  <a:pt x="4782" y="2362"/>
                </a:lnTo>
                <a:lnTo>
                  <a:pt x="4779" y="2362"/>
                </a:lnTo>
                <a:lnTo>
                  <a:pt x="4777" y="2362"/>
                </a:lnTo>
                <a:lnTo>
                  <a:pt x="4775" y="2362"/>
                </a:lnTo>
                <a:lnTo>
                  <a:pt x="4771" y="2361"/>
                </a:lnTo>
                <a:lnTo>
                  <a:pt x="4768" y="2359"/>
                </a:lnTo>
                <a:lnTo>
                  <a:pt x="4766" y="2357"/>
                </a:lnTo>
                <a:lnTo>
                  <a:pt x="4766" y="2355"/>
                </a:lnTo>
                <a:lnTo>
                  <a:pt x="4765" y="2354"/>
                </a:lnTo>
                <a:lnTo>
                  <a:pt x="4764" y="2351"/>
                </a:lnTo>
                <a:lnTo>
                  <a:pt x="4763" y="2349"/>
                </a:lnTo>
                <a:lnTo>
                  <a:pt x="4763" y="2346"/>
                </a:lnTo>
                <a:lnTo>
                  <a:pt x="4764" y="2343"/>
                </a:lnTo>
                <a:lnTo>
                  <a:pt x="4765" y="2340"/>
                </a:lnTo>
                <a:lnTo>
                  <a:pt x="4766" y="2338"/>
                </a:lnTo>
                <a:lnTo>
                  <a:pt x="4767" y="2337"/>
                </a:lnTo>
                <a:lnTo>
                  <a:pt x="4771" y="2334"/>
                </a:lnTo>
                <a:close/>
                <a:moveTo>
                  <a:pt x="4644" y="2265"/>
                </a:moveTo>
                <a:lnTo>
                  <a:pt x="4646" y="2264"/>
                </a:lnTo>
                <a:lnTo>
                  <a:pt x="4648" y="2264"/>
                </a:lnTo>
                <a:lnTo>
                  <a:pt x="4651" y="2263"/>
                </a:lnTo>
                <a:lnTo>
                  <a:pt x="4653" y="2263"/>
                </a:lnTo>
                <a:lnTo>
                  <a:pt x="4655" y="2264"/>
                </a:lnTo>
                <a:lnTo>
                  <a:pt x="4659" y="2265"/>
                </a:lnTo>
                <a:lnTo>
                  <a:pt x="4662" y="2267"/>
                </a:lnTo>
                <a:lnTo>
                  <a:pt x="4663" y="2268"/>
                </a:lnTo>
                <a:lnTo>
                  <a:pt x="4664" y="2269"/>
                </a:lnTo>
                <a:lnTo>
                  <a:pt x="4665" y="2270"/>
                </a:lnTo>
                <a:lnTo>
                  <a:pt x="4665" y="2271"/>
                </a:lnTo>
                <a:lnTo>
                  <a:pt x="4666" y="2274"/>
                </a:lnTo>
                <a:lnTo>
                  <a:pt x="4667" y="2277"/>
                </a:lnTo>
                <a:lnTo>
                  <a:pt x="4667" y="2280"/>
                </a:lnTo>
                <a:lnTo>
                  <a:pt x="4666" y="2283"/>
                </a:lnTo>
                <a:lnTo>
                  <a:pt x="4665" y="2286"/>
                </a:lnTo>
                <a:lnTo>
                  <a:pt x="4663" y="2289"/>
                </a:lnTo>
                <a:lnTo>
                  <a:pt x="4659" y="2292"/>
                </a:lnTo>
                <a:lnTo>
                  <a:pt x="4658" y="2293"/>
                </a:lnTo>
                <a:lnTo>
                  <a:pt x="4656" y="2293"/>
                </a:lnTo>
                <a:lnTo>
                  <a:pt x="4652" y="2294"/>
                </a:lnTo>
                <a:lnTo>
                  <a:pt x="4650" y="2294"/>
                </a:lnTo>
                <a:lnTo>
                  <a:pt x="4648" y="2293"/>
                </a:lnTo>
                <a:lnTo>
                  <a:pt x="4645" y="2292"/>
                </a:lnTo>
                <a:lnTo>
                  <a:pt x="4642" y="2290"/>
                </a:lnTo>
                <a:lnTo>
                  <a:pt x="4641" y="2289"/>
                </a:lnTo>
                <a:lnTo>
                  <a:pt x="4640" y="2288"/>
                </a:lnTo>
                <a:lnTo>
                  <a:pt x="4639" y="2287"/>
                </a:lnTo>
                <a:lnTo>
                  <a:pt x="4638" y="2286"/>
                </a:lnTo>
                <a:lnTo>
                  <a:pt x="4637" y="2283"/>
                </a:lnTo>
                <a:lnTo>
                  <a:pt x="4637" y="2280"/>
                </a:lnTo>
                <a:lnTo>
                  <a:pt x="4637" y="2277"/>
                </a:lnTo>
                <a:lnTo>
                  <a:pt x="4637" y="2274"/>
                </a:lnTo>
                <a:lnTo>
                  <a:pt x="4638" y="2271"/>
                </a:lnTo>
                <a:lnTo>
                  <a:pt x="4641" y="2268"/>
                </a:lnTo>
                <a:lnTo>
                  <a:pt x="4644" y="2265"/>
                </a:lnTo>
                <a:close/>
                <a:moveTo>
                  <a:pt x="4517" y="2198"/>
                </a:moveTo>
                <a:lnTo>
                  <a:pt x="4518" y="2198"/>
                </a:lnTo>
                <a:lnTo>
                  <a:pt x="4520" y="2197"/>
                </a:lnTo>
                <a:lnTo>
                  <a:pt x="4524" y="2196"/>
                </a:lnTo>
                <a:lnTo>
                  <a:pt x="4528" y="2197"/>
                </a:lnTo>
                <a:lnTo>
                  <a:pt x="4531" y="2198"/>
                </a:lnTo>
                <a:lnTo>
                  <a:pt x="4534" y="2200"/>
                </a:lnTo>
                <a:lnTo>
                  <a:pt x="4536" y="2202"/>
                </a:lnTo>
                <a:lnTo>
                  <a:pt x="4538" y="2204"/>
                </a:lnTo>
                <a:lnTo>
                  <a:pt x="4539" y="2207"/>
                </a:lnTo>
                <a:lnTo>
                  <a:pt x="4539" y="2210"/>
                </a:lnTo>
                <a:lnTo>
                  <a:pt x="4539" y="2213"/>
                </a:lnTo>
                <a:lnTo>
                  <a:pt x="4539" y="2216"/>
                </a:lnTo>
                <a:lnTo>
                  <a:pt x="4538" y="2219"/>
                </a:lnTo>
                <a:lnTo>
                  <a:pt x="4535" y="2222"/>
                </a:lnTo>
                <a:lnTo>
                  <a:pt x="4532" y="2225"/>
                </a:lnTo>
                <a:lnTo>
                  <a:pt x="4530" y="2226"/>
                </a:lnTo>
                <a:lnTo>
                  <a:pt x="4528" y="2226"/>
                </a:lnTo>
                <a:lnTo>
                  <a:pt x="4525" y="2227"/>
                </a:lnTo>
                <a:lnTo>
                  <a:pt x="4521" y="2226"/>
                </a:lnTo>
                <a:lnTo>
                  <a:pt x="4517" y="2225"/>
                </a:lnTo>
                <a:lnTo>
                  <a:pt x="4515" y="2223"/>
                </a:lnTo>
                <a:lnTo>
                  <a:pt x="4513" y="2221"/>
                </a:lnTo>
                <a:lnTo>
                  <a:pt x="4511" y="2219"/>
                </a:lnTo>
                <a:lnTo>
                  <a:pt x="4510" y="2216"/>
                </a:lnTo>
                <a:lnTo>
                  <a:pt x="4509" y="2213"/>
                </a:lnTo>
                <a:lnTo>
                  <a:pt x="4509" y="2210"/>
                </a:lnTo>
                <a:lnTo>
                  <a:pt x="4510" y="2207"/>
                </a:lnTo>
                <a:lnTo>
                  <a:pt x="4511" y="2205"/>
                </a:lnTo>
                <a:lnTo>
                  <a:pt x="4513" y="2201"/>
                </a:lnTo>
                <a:lnTo>
                  <a:pt x="4517" y="2198"/>
                </a:lnTo>
                <a:close/>
                <a:moveTo>
                  <a:pt x="4388" y="2134"/>
                </a:moveTo>
                <a:lnTo>
                  <a:pt x="4391" y="2133"/>
                </a:lnTo>
                <a:lnTo>
                  <a:pt x="4395" y="2132"/>
                </a:lnTo>
                <a:lnTo>
                  <a:pt x="4399" y="2132"/>
                </a:lnTo>
                <a:lnTo>
                  <a:pt x="4402" y="2133"/>
                </a:lnTo>
                <a:lnTo>
                  <a:pt x="4405" y="2135"/>
                </a:lnTo>
                <a:lnTo>
                  <a:pt x="4407" y="2137"/>
                </a:lnTo>
                <a:lnTo>
                  <a:pt x="4409" y="2140"/>
                </a:lnTo>
                <a:lnTo>
                  <a:pt x="4410" y="2142"/>
                </a:lnTo>
                <a:lnTo>
                  <a:pt x="4411" y="2145"/>
                </a:lnTo>
                <a:lnTo>
                  <a:pt x="4411" y="2148"/>
                </a:lnTo>
                <a:lnTo>
                  <a:pt x="4410" y="2151"/>
                </a:lnTo>
                <a:lnTo>
                  <a:pt x="4409" y="2154"/>
                </a:lnTo>
                <a:lnTo>
                  <a:pt x="4407" y="2158"/>
                </a:lnTo>
                <a:lnTo>
                  <a:pt x="4403" y="2160"/>
                </a:lnTo>
                <a:lnTo>
                  <a:pt x="4400" y="2162"/>
                </a:lnTo>
                <a:lnTo>
                  <a:pt x="4396" y="2162"/>
                </a:lnTo>
                <a:lnTo>
                  <a:pt x="4393" y="2162"/>
                </a:lnTo>
                <a:lnTo>
                  <a:pt x="4389" y="2161"/>
                </a:lnTo>
                <a:lnTo>
                  <a:pt x="4386" y="2159"/>
                </a:lnTo>
                <a:lnTo>
                  <a:pt x="4384" y="2157"/>
                </a:lnTo>
                <a:lnTo>
                  <a:pt x="4382" y="2155"/>
                </a:lnTo>
                <a:lnTo>
                  <a:pt x="4381" y="2152"/>
                </a:lnTo>
                <a:lnTo>
                  <a:pt x="4380" y="2149"/>
                </a:lnTo>
                <a:lnTo>
                  <a:pt x="4380" y="2146"/>
                </a:lnTo>
                <a:lnTo>
                  <a:pt x="4381" y="2143"/>
                </a:lnTo>
                <a:lnTo>
                  <a:pt x="4382" y="2140"/>
                </a:lnTo>
                <a:lnTo>
                  <a:pt x="4384" y="2137"/>
                </a:lnTo>
                <a:lnTo>
                  <a:pt x="4388" y="2134"/>
                </a:lnTo>
                <a:close/>
                <a:moveTo>
                  <a:pt x="4258" y="2073"/>
                </a:moveTo>
                <a:lnTo>
                  <a:pt x="4261" y="2071"/>
                </a:lnTo>
                <a:lnTo>
                  <a:pt x="4264" y="2071"/>
                </a:lnTo>
                <a:lnTo>
                  <a:pt x="4268" y="2071"/>
                </a:lnTo>
                <a:lnTo>
                  <a:pt x="4271" y="2072"/>
                </a:lnTo>
                <a:lnTo>
                  <a:pt x="4274" y="2074"/>
                </a:lnTo>
                <a:lnTo>
                  <a:pt x="4276" y="2076"/>
                </a:lnTo>
                <a:lnTo>
                  <a:pt x="4278" y="2078"/>
                </a:lnTo>
                <a:lnTo>
                  <a:pt x="4279" y="2081"/>
                </a:lnTo>
                <a:lnTo>
                  <a:pt x="4280" y="2083"/>
                </a:lnTo>
                <a:lnTo>
                  <a:pt x="4280" y="2086"/>
                </a:lnTo>
                <a:lnTo>
                  <a:pt x="4280" y="2089"/>
                </a:lnTo>
                <a:lnTo>
                  <a:pt x="4279" y="2092"/>
                </a:lnTo>
                <a:lnTo>
                  <a:pt x="4278" y="2094"/>
                </a:lnTo>
                <a:lnTo>
                  <a:pt x="4276" y="2096"/>
                </a:lnTo>
                <a:lnTo>
                  <a:pt x="4275" y="2098"/>
                </a:lnTo>
                <a:lnTo>
                  <a:pt x="4273" y="2099"/>
                </a:lnTo>
                <a:lnTo>
                  <a:pt x="4270" y="2101"/>
                </a:lnTo>
                <a:lnTo>
                  <a:pt x="4266" y="2101"/>
                </a:lnTo>
                <a:lnTo>
                  <a:pt x="4263" y="2101"/>
                </a:lnTo>
                <a:lnTo>
                  <a:pt x="4259" y="2100"/>
                </a:lnTo>
                <a:lnTo>
                  <a:pt x="4256" y="2098"/>
                </a:lnTo>
                <a:lnTo>
                  <a:pt x="4254" y="2096"/>
                </a:lnTo>
                <a:lnTo>
                  <a:pt x="4252" y="2094"/>
                </a:lnTo>
                <a:lnTo>
                  <a:pt x="4251" y="2091"/>
                </a:lnTo>
                <a:lnTo>
                  <a:pt x="4250" y="2089"/>
                </a:lnTo>
                <a:lnTo>
                  <a:pt x="4250" y="2086"/>
                </a:lnTo>
                <a:lnTo>
                  <a:pt x="4250" y="2083"/>
                </a:lnTo>
                <a:lnTo>
                  <a:pt x="4251" y="2080"/>
                </a:lnTo>
                <a:lnTo>
                  <a:pt x="4253" y="2078"/>
                </a:lnTo>
                <a:lnTo>
                  <a:pt x="4254" y="2076"/>
                </a:lnTo>
                <a:lnTo>
                  <a:pt x="4256" y="2074"/>
                </a:lnTo>
                <a:lnTo>
                  <a:pt x="4258" y="2073"/>
                </a:lnTo>
                <a:close/>
                <a:moveTo>
                  <a:pt x="4125" y="2016"/>
                </a:moveTo>
                <a:lnTo>
                  <a:pt x="4128" y="2015"/>
                </a:lnTo>
                <a:lnTo>
                  <a:pt x="4132" y="2014"/>
                </a:lnTo>
                <a:lnTo>
                  <a:pt x="4135" y="2014"/>
                </a:lnTo>
                <a:lnTo>
                  <a:pt x="4139" y="2015"/>
                </a:lnTo>
                <a:lnTo>
                  <a:pt x="4141" y="2016"/>
                </a:lnTo>
                <a:lnTo>
                  <a:pt x="4144" y="2018"/>
                </a:lnTo>
                <a:lnTo>
                  <a:pt x="4146" y="2021"/>
                </a:lnTo>
                <a:lnTo>
                  <a:pt x="4147" y="2023"/>
                </a:lnTo>
                <a:lnTo>
                  <a:pt x="4148" y="2026"/>
                </a:lnTo>
                <a:lnTo>
                  <a:pt x="4148" y="2029"/>
                </a:lnTo>
                <a:lnTo>
                  <a:pt x="4148" y="2032"/>
                </a:lnTo>
                <a:lnTo>
                  <a:pt x="4147" y="2035"/>
                </a:lnTo>
                <a:lnTo>
                  <a:pt x="4146" y="2037"/>
                </a:lnTo>
                <a:lnTo>
                  <a:pt x="4144" y="2039"/>
                </a:lnTo>
                <a:lnTo>
                  <a:pt x="4143" y="2041"/>
                </a:lnTo>
                <a:lnTo>
                  <a:pt x="4141" y="2042"/>
                </a:lnTo>
                <a:lnTo>
                  <a:pt x="4137" y="2044"/>
                </a:lnTo>
                <a:lnTo>
                  <a:pt x="4134" y="2044"/>
                </a:lnTo>
                <a:lnTo>
                  <a:pt x="4131" y="2044"/>
                </a:lnTo>
                <a:lnTo>
                  <a:pt x="4127" y="2043"/>
                </a:lnTo>
                <a:lnTo>
                  <a:pt x="4125" y="2042"/>
                </a:lnTo>
                <a:lnTo>
                  <a:pt x="4122" y="2040"/>
                </a:lnTo>
                <a:lnTo>
                  <a:pt x="4120" y="2038"/>
                </a:lnTo>
                <a:lnTo>
                  <a:pt x="4119" y="2035"/>
                </a:lnTo>
                <a:lnTo>
                  <a:pt x="4118" y="2032"/>
                </a:lnTo>
                <a:lnTo>
                  <a:pt x="4118" y="2029"/>
                </a:lnTo>
                <a:lnTo>
                  <a:pt x="4118" y="2026"/>
                </a:lnTo>
                <a:lnTo>
                  <a:pt x="4119" y="2023"/>
                </a:lnTo>
                <a:lnTo>
                  <a:pt x="4120" y="2021"/>
                </a:lnTo>
                <a:lnTo>
                  <a:pt x="4122" y="2019"/>
                </a:lnTo>
                <a:lnTo>
                  <a:pt x="4123" y="2017"/>
                </a:lnTo>
                <a:lnTo>
                  <a:pt x="4125" y="2016"/>
                </a:lnTo>
                <a:close/>
                <a:moveTo>
                  <a:pt x="3990" y="1965"/>
                </a:moveTo>
                <a:lnTo>
                  <a:pt x="3993" y="1963"/>
                </a:lnTo>
                <a:lnTo>
                  <a:pt x="3996" y="1963"/>
                </a:lnTo>
                <a:lnTo>
                  <a:pt x="3999" y="1963"/>
                </a:lnTo>
                <a:lnTo>
                  <a:pt x="4003" y="1963"/>
                </a:lnTo>
                <a:lnTo>
                  <a:pt x="4005" y="1965"/>
                </a:lnTo>
                <a:lnTo>
                  <a:pt x="4008" y="1967"/>
                </a:lnTo>
                <a:lnTo>
                  <a:pt x="4011" y="1969"/>
                </a:lnTo>
                <a:lnTo>
                  <a:pt x="4012" y="1971"/>
                </a:lnTo>
                <a:lnTo>
                  <a:pt x="4013" y="1974"/>
                </a:lnTo>
                <a:lnTo>
                  <a:pt x="4014" y="1977"/>
                </a:lnTo>
                <a:lnTo>
                  <a:pt x="4013" y="1983"/>
                </a:lnTo>
                <a:lnTo>
                  <a:pt x="4012" y="1985"/>
                </a:lnTo>
                <a:lnTo>
                  <a:pt x="4010" y="1988"/>
                </a:lnTo>
                <a:lnTo>
                  <a:pt x="4005" y="1991"/>
                </a:lnTo>
                <a:lnTo>
                  <a:pt x="4002" y="1992"/>
                </a:lnTo>
                <a:lnTo>
                  <a:pt x="3999" y="1993"/>
                </a:lnTo>
                <a:lnTo>
                  <a:pt x="3996" y="1993"/>
                </a:lnTo>
                <a:lnTo>
                  <a:pt x="3992" y="1992"/>
                </a:lnTo>
                <a:lnTo>
                  <a:pt x="3990" y="1991"/>
                </a:lnTo>
                <a:lnTo>
                  <a:pt x="3987" y="1989"/>
                </a:lnTo>
                <a:lnTo>
                  <a:pt x="3985" y="1987"/>
                </a:lnTo>
                <a:lnTo>
                  <a:pt x="3984" y="1984"/>
                </a:lnTo>
                <a:lnTo>
                  <a:pt x="3983" y="1982"/>
                </a:lnTo>
                <a:lnTo>
                  <a:pt x="3982" y="1979"/>
                </a:lnTo>
                <a:lnTo>
                  <a:pt x="3983" y="1973"/>
                </a:lnTo>
                <a:lnTo>
                  <a:pt x="3984" y="1970"/>
                </a:lnTo>
                <a:lnTo>
                  <a:pt x="3986" y="1968"/>
                </a:lnTo>
                <a:lnTo>
                  <a:pt x="3990" y="1965"/>
                </a:lnTo>
                <a:close/>
                <a:moveTo>
                  <a:pt x="3853" y="1921"/>
                </a:moveTo>
                <a:lnTo>
                  <a:pt x="3855" y="1920"/>
                </a:lnTo>
                <a:lnTo>
                  <a:pt x="3858" y="1919"/>
                </a:lnTo>
                <a:lnTo>
                  <a:pt x="3861" y="1919"/>
                </a:lnTo>
                <a:lnTo>
                  <a:pt x="3865" y="1919"/>
                </a:lnTo>
                <a:lnTo>
                  <a:pt x="3867" y="1921"/>
                </a:lnTo>
                <a:lnTo>
                  <a:pt x="3870" y="1922"/>
                </a:lnTo>
                <a:lnTo>
                  <a:pt x="3872" y="1924"/>
                </a:lnTo>
                <a:lnTo>
                  <a:pt x="3874" y="1927"/>
                </a:lnTo>
                <a:lnTo>
                  <a:pt x="3875" y="1929"/>
                </a:lnTo>
                <a:lnTo>
                  <a:pt x="3875" y="1932"/>
                </a:lnTo>
                <a:lnTo>
                  <a:pt x="3876" y="1935"/>
                </a:lnTo>
                <a:lnTo>
                  <a:pt x="3875" y="1938"/>
                </a:lnTo>
                <a:lnTo>
                  <a:pt x="3874" y="1941"/>
                </a:lnTo>
                <a:lnTo>
                  <a:pt x="3872" y="1943"/>
                </a:lnTo>
                <a:lnTo>
                  <a:pt x="3870" y="1946"/>
                </a:lnTo>
                <a:lnTo>
                  <a:pt x="3868" y="1947"/>
                </a:lnTo>
                <a:lnTo>
                  <a:pt x="3865" y="1948"/>
                </a:lnTo>
                <a:lnTo>
                  <a:pt x="3862" y="1949"/>
                </a:lnTo>
                <a:lnTo>
                  <a:pt x="3859" y="1949"/>
                </a:lnTo>
                <a:lnTo>
                  <a:pt x="3856" y="1949"/>
                </a:lnTo>
                <a:lnTo>
                  <a:pt x="3853" y="1948"/>
                </a:lnTo>
                <a:lnTo>
                  <a:pt x="3851" y="1946"/>
                </a:lnTo>
                <a:lnTo>
                  <a:pt x="3849" y="1944"/>
                </a:lnTo>
                <a:lnTo>
                  <a:pt x="3847" y="1941"/>
                </a:lnTo>
                <a:lnTo>
                  <a:pt x="3846" y="1939"/>
                </a:lnTo>
                <a:lnTo>
                  <a:pt x="3845" y="1936"/>
                </a:lnTo>
                <a:lnTo>
                  <a:pt x="3845" y="1933"/>
                </a:lnTo>
                <a:lnTo>
                  <a:pt x="3846" y="1930"/>
                </a:lnTo>
                <a:lnTo>
                  <a:pt x="3847" y="1927"/>
                </a:lnTo>
                <a:lnTo>
                  <a:pt x="3848" y="1925"/>
                </a:lnTo>
                <a:lnTo>
                  <a:pt x="3850" y="1922"/>
                </a:lnTo>
                <a:lnTo>
                  <a:pt x="3853" y="1921"/>
                </a:lnTo>
                <a:close/>
                <a:moveTo>
                  <a:pt x="3713" y="1887"/>
                </a:moveTo>
                <a:lnTo>
                  <a:pt x="3715" y="1886"/>
                </a:lnTo>
                <a:lnTo>
                  <a:pt x="3718" y="1885"/>
                </a:lnTo>
                <a:lnTo>
                  <a:pt x="3724" y="1885"/>
                </a:lnTo>
                <a:lnTo>
                  <a:pt x="3726" y="1886"/>
                </a:lnTo>
                <a:lnTo>
                  <a:pt x="3729" y="1887"/>
                </a:lnTo>
                <a:lnTo>
                  <a:pt x="3731" y="1889"/>
                </a:lnTo>
                <a:lnTo>
                  <a:pt x="3733" y="1892"/>
                </a:lnTo>
                <a:lnTo>
                  <a:pt x="3735" y="1894"/>
                </a:lnTo>
                <a:lnTo>
                  <a:pt x="3735" y="1897"/>
                </a:lnTo>
                <a:lnTo>
                  <a:pt x="3736" y="1900"/>
                </a:lnTo>
                <a:lnTo>
                  <a:pt x="3735" y="1903"/>
                </a:lnTo>
                <a:lnTo>
                  <a:pt x="3734" y="1906"/>
                </a:lnTo>
                <a:lnTo>
                  <a:pt x="3733" y="1909"/>
                </a:lnTo>
                <a:lnTo>
                  <a:pt x="3732" y="1910"/>
                </a:lnTo>
                <a:lnTo>
                  <a:pt x="3731" y="1911"/>
                </a:lnTo>
                <a:lnTo>
                  <a:pt x="3728" y="1913"/>
                </a:lnTo>
                <a:lnTo>
                  <a:pt x="3726" y="1914"/>
                </a:lnTo>
                <a:lnTo>
                  <a:pt x="3723" y="1915"/>
                </a:lnTo>
                <a:lnTo>
                  <a:pt x="3718" y="1915"/>
                </a:lnTo>
                <a:lnTo>
                  <a:pt x="3715" y="1914"/>
                </a:lnTo>
                <a:lnTo>
                  <a:pt x="3712" y="1913"/>
                </a:lnTo>
                <a:lnTo>
                  <a:pt x="3710" y="1911"/>
                </a:lnTo>
                <a:lnTo>
                  <a:pt x="3708" y="1908"/>
                </a:lnTo>
                <a:lnTo>
                  <a:pt x="3706" y="1906"/>
                </a:lnTo>
                <a:lnTo>
                  <a:pt x="3706" y="1903"/>
                </a:lnTo>
                <a:lnTo>
                  <a:pt x="3705" y="1900"/>
                </a:lnTo>
                <a:lnTo>
                  <a:pt x="3706" y="1897"/>
                </a:lnTo>
                <a:lnTo>
                  <a:pt x="3707" y="1894"/>
                </a:lnTo>
                <a:lnTo>
                  <a:pt x="3708" y="1891"/>
                </a:lnTo>
                <a:lnTo>
                  <a:pt x="3709" y="1890"/>
                </a:lnTo>
                <a:lnTo>
                  <a:pt x="3710" y="1889"/>
                </a:lnTo>
                <a:lnTo>
                  <a:pt x="3713" y="1887"/>
                </a:lnTo>
                <a:close/>
                <a:moveTo>
                  <a:pt x="3571" y="1865"/>
                </a:moveTo>
                <a:lnTo>
                  <a:pt x="3575" y="1864"/>
                </a:lnTo>
                <a:lnTo>
                  <a:pt x="3577" y="1863"/>
                </a:lnTo>
                <a:lnTo>
                  <a:pt x="3580" y="1863"/>
                </a:lnTo>
                <a:lnTo>
                  <a:pt x="3583" y="1864"/>
                </a:lnTo>
                <a:lnTo>
                  <a:pt x="3586" y="1865"/>
                </a:lnTo>
                <a:lnTo>
                  <a:pt x="3588" y="1867"/>
                </a:lnTo>
                <a:lnTo>
                  <a:pt x="3590" y="1869"/>
                </a:lnTo>
                <a:lnTo>
                  <a:pt x="3592" y="1871"/>
                </a:lnTo>
                <a:lnTo>
                  <a:pt x="3593" y="1874"/>
                </a:lnTo>
                <a:lnTo>
                  <a:pt x="3593" y="1877"/>
                </a:lnTo>
                <a:lnTo>
                  <a:pt x="3593" y="1880"/>
                </a:lnTo>
                <a:lnTo>
                  <a:pt x="3593" y="1884"/>
                </a:lnTo>
                <a:lnTo>
                  <a:pt x="3591" y="1887"/>
                </a:lnTo>
                <a:lnTo>
                  <a:pt x="3589" y="1889"/>
                </a:lnTo>
                <a:lnTo>
                  <a:pt x="3586" y="1892"/>
                </a:lnTo>
                <a:lnTo>
                  <a:pt x="3582" y="1893"/>
                </a:lnTo>
                <a:lnTo>
                  <a:pt x="3579" y="1894"/>
                </a:lnTo>
                <a:lnTo>
                  <a:pt x="3577" y="1894"/>
                </a:lnTo>
                <a:lnTo>
                  <a:pt x="3574" y="1893"/>
                </a:lnTo>
                <a:lnTo>
                  <a:pt x="3571" y="1892"/>
                </a:lnTo>
                <a:lnTo>
                  <a:pt x="3569" y="1890"/>
                </a:lnTo>
                <a:lnTo>
                  <a:pt x="3567" y="1888"/>
                </a:lnTo>
                <a:lnTo>
                  <a:pt x="3565" y="1886"/>
                </a:lnTo>
                <a:lnTo>
                  <a:pt x="3564" y="1883"/>
                </a:lnTo>
                <a:lnTo>
                  <a:pt x="3563" y="1880"/>
                </a:lnTo>
                <a:lnTo>
                  <a:pt x="3563" y="1877"/>
                </a:lnTo>
                <a:lnTo>
                  <a:pt x="3564" y="1873"/>
                </a:lnTo>
                <a:lnTo>
                  <a:pt x="3566" y="1870"/>
                </a:lnTo>
                <a:lnTo>
                  <a:pt x="3568" y="1867"/>
                </a:lnTo>
                <a:lnTo>
                  <a:pt x="3571" y="1865"/>
                </a:lnTo>
                <a:close/>
                <a:moveTo>
                  <a:pt x="2784" y="2297"/>
                </a:moveTo>
                <a:lnTo>
                  <a:pt x="2786" y="2296"/>
                </a:lnTo>
                <a:lnTo>
                  <a:pt x="2788" y="2295"/>
                </a:lnTo>
                <a:lnTo>
                  <a:pt x="2791" y="2295"/>
                </a:lnTo>
                <a:lnTo>
                  <a:pt x="2793" y="2295"/>
                </a:lnTo>
                <a:lnTo>
                  <a:pt x="2796" y="2295"/>
                </a:lnTo>
                <a:lnTo>
                  <a:pt x="2799" y="2297"/>
                </a:lnTo>
                <a:lnTo>
                  <a:pt x="2801" y="2298"/>
                </a:lnTo>
                <a:lnTo>
                  <a:pt x="2803" y="2301"/>
                </a:lnTo>
                <a:lnTo>
                  <a:pt x="2804" y="2302"/>
                </a:lnTo>
                <a:lnTo>
                  <a:pt x="2805" y="2303"/>
                </a:lnTo>
                <a:lnTo>
                  <a:pt x="2806" y="2306"/>
                </a:lnTo>
                <a:lnTo>
                  <a:pt x="2806" y="2309"/>
                </a:lnTo>
                <a:lnTo>
                  <a:pt x="2806" y="2312"/>
                </a:lnTo>
                <a:lnTo>
                  <a:pt x="2806" y="2315"/>
                </a:lnTo>
                <a:lnTo>
                  <a:pt x="2804" y="2318"/>
                </a:lnTo>
                <a:lnTo>
                  <a:pt x="2802" y="2321"/>
                </a:lnTo>
                <a:lnTo>
                  <a:pt x="2799" y="2323"/>
                </a:lnTo>
                <a:lnTo>
                  <a:pt x="2797" y="2324"/>
                </a:lnTo>
                <a:lnTo>
                  <a:pt x="2794" y="2325"/>
                </a:lnTo>
                <a:lnTo>
                  <a:pt x="2792" y="2325"/>
                </a:lnTo>
                <a:lnTo>
                  <a:pt x="2789" y="2325"/>
                </a:lnTo>
                <a:lnTo>
                  <a:pt x="2786" y="2324"/>
                </a:lnTo>
                <a:lnTo>
                  <a:pt x="2784" y="2323"/>
                </a:lnTo>
                <a:lnTo>
                  <a:pt x="2781" y="2321"/>
                </a:lnTo>
                <a:lnTo>
                  <a:pt x="2779" y="2319"/>
                </a:lnTo>
                <a:lnTo>
                  <a:pt x="2778" y="2318"/>
                </a:lnTo>
                <a:lnTo>
                  <a:pt x="2778" y="2317"/>
                </a:lnTo>
                <a:lnTo>
                  <a:pt x="2777" y="2314"/>
                </a:lnTo>
                <a:lnTo>
                  <a:pt x="2776" y="2311"/>
                </a:lnTo>
                <a:lnTo>
                  <a:pt x="2776" y="2308"/>
                </a:lnTo>
                <a:lnTo>
                  <a:pt x="2777" y="2305"/>
                </a:lnTo>
                <a:lnTo>
                  <a:pt x="2779" y="2301"/>
                </a:lnTo>
                <a:lnTo>
                  <a:pt x="2781" y="2299"/>
                </a:lnTo>
                <a:lnTo>
                  <a:pt x="2784" y="2297"/>
                </a:lnTo>
                <a:close/>
                <a:moveTo>
                  <a:pt x="3427" y="1859"/>
                </a:moveTo>
                <a:lnTo>
                  <a:pt x="3431" y="1858"/>
                </a:lnTo>
                <a:lnTo>
                  <a:pt x="3434" y="1857"/>
                </a:lnTo>
                <a:lnTo>
                  <a:pt x="3437" y="1858"/>
                </a:lnTo>
                <a:lnTo>
                  <a:pt x="3440" y="1858"/>
                </a:lnTo>
                <a:lnTo>
                  <a:pt x="3443" y="1860"/>
                </a:lnTo>
                <a:lnTo>
                  <a:pt x="3445" y="1862"/>
                </a:lnTo>
                <a:lnTo>
                  <a:pt x="3447" y="1864"/>
                </a:lnTo>
                <a:lnTo>
                  <a:pt x="3449" y="1866"/>
                </a:lnTo>
                <a:lnTo>
                  <a:pt x="3450" y="1869"/>
                </a:lnTo>
                <a:lnTo>
                  <a:pt x="3450" y="1872"/>
                </a:lnTo>
                <a:lnTo>
                  <a:pt x="3449" y="1876"/>
                </a:lnTo>
                <a:lnTo>
                  <a:pt x="3448" y="1880"/>
                </a:lnTo>
                <a:lnTo>
                  <a:pt x="3445" y="1883"/>
                </a:lnTo>
                <a:lnTo>
                  <a:pt x="3442" y="1886"/>
                </a:lnTo>
                <a:lnTo>
                  <a:pt x="3439" y="1887"/>
                </a:lnTo>
                <a:lnTo>
                  <a:pt x="3435" y="1888"/>
                </a:lnTo>
                <a:lnTo>
                  <a:pt x="3432" y="1888"/>
                </a:lnTo>
                <a:lnTo>
                  <a:pt x="3429" y="1887"/>
                </a:lnTo>
                <a:lnTo>
                  <a:pt x="3426" y="1885"/>
                </a:lnTo>
                <a:lnTo>
                  <a:pt x="3424" y="1884"/>
                </a:lnTo>
                <a:lnTo>
                  <a:pt x="3422" y="1881"/>
                </a:lnTo>
                <a:lnTo>
                  <a:pt x="3421" y="1879"/>
                </a:lnTo>
                <a:lnTo>
                  <a:pt x="3420" y="1876"/>
                </a:lnTo>
                <a:lnTo>
                  <a:pt x="3419" y="1873"/>
                </a:lnTo>
                <a:lnTo>
                  <a:pt x="3420" y="1869"/>
                </a:lnTo>
                <a:lnTo>
                  <a:pt x="3421" y="1865"/>
                </a:lnTo>
                <a:lnTo>
                  <a:pt x="3424" y="1862"/>
                </a:lnTo>
                <a:lnTo>
                  <a:pt x="3427" y="1859"/>
                </a:lnTo>
                <a:close/>
                <a:moveTo>
                  <a:pt x="2815" y="2157"/>
                </a:moveTo>
                <a:lnTo>
                  <a:pt x="2818" y="2156"/>
                </a:lnTo>
                <a:lnTo>
                  <a:pt x="2822" y="2155"/>
                </a:lnTo>
                <a:lnTo>
                  <a:pt x="2825" y="2155"/>
                </a:lnTo>
                <a:lnTo>
                  <a:pt x="2828" y="2156"/>
                </a:lnTo>
                <a:lnTo>
                  <a:pt x="2830" y="2157"/>
                </a:lnTo>
                <a:lnTo>
                  <a:pt x="2831" y="2157"/>
                </a:lnTo>
                <a:lnTo>
                  <a:pt x="2833" y="2159"/>
                </a:lnTo>
                <a:lnTo>
                  <a:pt x="2835" y="2161"/>
                </a:lnTo>
                <a:lnTo>
                  <a:pt x="2837" y="2164"/>
                </a:lnTo>
                <a:lnTo>
                  <a:pt x="2838" y="2167"/>
                </a:lnTo>
                <a:lnTo>
                  <a:pt x="2838" y="2170"/>
                </a:lnTo>
                <a:lnTo>
                  <a:pt x="2838" y="2173"/>
                </a:lnTo>
                <a:lnTo>
                  <a:pt x="2837" y="2176"/>
                </a:lnTo>
                <a:lnTo>
                  <a:pt x="2836" y="2178"/>
                </a:lnTo>
                <a:lnTo>
                  <a:pt x="2834" y="2180"/>
                </a:lnTo>
                <a:lnTo>
                  <a:pt x="2833" y="2182"/>
                </a:lnTo>
                <a:lnTo>
                  <a:pt x="2831" y="2183"/>
                </a:lnTo>
                <a:lnTo>
                  <a:pt x="2827" y="2185"/>
                </a:lnTo>
                <a:lnTo>
                  <a:pt x="2824" y="2185"/>
                </a:lnTo>
                <a:lnTo>
                  <a:pt x="2821" y="2185"/>
                </a:lnTo>
                <a:lnTo>
                  <a:pt x="2817" y="2184"/>
                </a:lnTo>
                <a:lnTo>
                  <a:pt x="2816" y="2184"/>
                </a:lnTo>
                <a:lnTo>
                  <a:pt x="2815" y="2183"/>
                </a:lnTo>
                <a:lnTo>
                  <a:pt x="2812" y="2181"/>
                </a:lnTo>
                <a:lnTo>
                  <a:pt x="2810" y="2179"/>
                </a:lnTo>
                <a:lnTo>
                  <a:pt x="2809" y="2176"/>
                </a:lnTo>
                <a:lnTo>
                  <a:pt x="2808" y="2174"/>
                </a:lnTo>
                <a:lnTo>
                  <a:pt x="2808" y="2171"/>
                </a:lnTo>
                <a:lnTo>
                  <a:pt x="2808" y="2168"/>
                </a:lnTo>
                <a:lnTo>
                  <a:pt x="2809" y="2165"/>
                </a:lnTo>
                <a:lnTo>
                  <a:pt x="2810" y="2162"/>
                </a:lnTo>
                <a:lnTo>
                  <a:pt x="2811" y="2160"/>
                </a:lnTo>
                <a:lnTo>
                  <a:pt x="2813" y="2158"/>
                </a:lnTo>
                <a:lnTo>
                  <a:pt x="2815" y="2157"/>
                </a:lnTo>
                <a:close/>
                <a:moveTo>
                  <a:pt x="3284" y="1872"/>
                </a:moveTo>
                <a:lnTo>
                  <a:pt x="3286" y="1871"/>
                </a:lnTo>
                <a:lnTo>
                  <a:pt x="3289" y="1870"/>
                </a:lnTo>
                <a:lnTo>
                  <a:pt x="3292" y="1870"/>
                </a:lnTo>
                <a:lnTo>
                  <a:pt x="3295" y="1870"/>
                </a:lnTo>
                <a:lnTo>
                  <a:pt x="3298" y="1871"/>
                </a:lnTo>
                <a:lnTo>
                  <a:pt x="3300" y="1873"/>
                </a:lnTo>
                <a:lnTo>
                  <a:pt x="3303" y="1875"/>
                </a:lnTo>
                <a:lnTo>
                  <a:pt x="3304" y="1877"/>
                </a:lnTo>
                <a:lnTo>
                  <a:pt x="3306" y="1880"/>
                </a:lnTo>
                <a:lnTo>
                  <a:pt x="3307" y="1883"/>
                </a:lnTo>
                <a:lnTo>
                  <a:pt x="3307" y="1887"/>
                </a:lnTo>
                <a:lnTo>
                  <a:pt x="3305" y="1892"/>
                </a:lnTo>
                <a:lnTo>
                  <a:pt x="3303" y="1895"/>
                </a:lnTo>
                <a:lnTo>
                  <a:pt x="3299" y="1898"/>
                </a:lnTo>
                <a:lnTo>
                  <a:pt x="3297" y="1899"/>
                </a:lnTo>
                <a:lnTo>
                  <a:pt x="3294" y="1900"/>
                </a:lnTo>
                <a:lnTo>
                  <a:pt x="3291" y="1900"/>
                </a:lnTo>
                <a:lnTo>
                  <a:pt x="3288" y="1900"/>
                </a:lnTo>
                <a:lnTo>
                  <a:pt x="3285" y="1899"/>
                </a:lnTo>
                <a:lnTo>
                  <a:pt x="3283" y="1897"/>
                </a:lnTo>
                <a:lnTo>
                  <a:pt x="3280" y="1895"/>
                </a:lnTo>
                <a:lnTo>
                  <a:pt x="3279" y="1893"/>
                </a:lnTo>
                <a:lnTo>
                  <a:pt x="3277" y="1890"/>
                </a:lnTo>
                <a:lnTo>
                  <a:pt x="3276" y="1887"/>
                </a:lnTo>
                <a:lnTo>
                  <a:pt x="3276" y="1883"/>
                </a:lnTo>
                <a:lnTo>
                  <a:pt x="3278" y="1878"/>
                </a:lnTo>
                <a:lnTo>
                  <a:pt x="3280" y="1875"/>
                </a:lnTo>
                <a:lnTo>
                  <a:pt x="3284" y="1872"/>
                </a:lnTo>
                <a:close/>
                <a:moveTo>
                  <a:pt x="3144" y="1905"/>
                </a:moveTo>
                <a:lnTo>
                  <a:pt x="3147" y="1903"/>
                </a:lnTo>
                <a:lnTo>
                  <a:pt x="3150" y="1903"/>
                </a:lnTo>
                <a:lnTo>
                  <a:pt x="3153" y="1903"/>
                </a:lnTo>
                <a:lnTo>
                  <a:pt x="3156" y="1903"/>
                </a:lnTo>
                <a:lnTo>
                  <a:pt x="3159" y="1904"/>
                </a:lnTo>
                <a:lnTo>
                  <a:pt x="3161" y="1906"/>
                </a:lnTo>
                <a:lnTo>
                  <a:pt x="3163" y="1908"/>
                </a:lnTo>
                <a:lnTo>
                  <a:pt x="3165" y="1910"/>
                </a:lnTo>
                <a:lnTo>
                  <a:pt x="3166" y="1913"/>
                </a:lnTo>
                <a:lnTo>
                  <a:pt x="3167" y="1918"/>
                </a:lnTo>
                <a:lnTo>
                  <a:pt x="3166" y="1921"/>
                </a:lnTo>
                <a:lnTo>
                  <a:pt x="3166" y="1923"/>
                </a:lnTo>
                <a:lnTo>
                  <a:pt x="3165" y="1926"/>
                </a:lnTo>
                <a:lnTo>
                  <a:pt x="3163" y="1928"/>
                </a:lnTo>
                <a:lnTo>
                  <a:pt x="3161" y="1929"/>
                </a:lnTo>
                <a:lnTo>
                  <a:pt x="3159" y="1931"/>
                </a:lnTo>
                <a:lnTo>
                  <a:pt x="3156" y="1932"/>
                </a:lnTo>
                <a:lnTo>
                  <a:pt x="3153" y="1933"/>
                </a:lnTo>
                <a:lnTo>
                  <a:pt x="3150" y="1933"/>
                </a:lnTo>
                <a:lnTo>
                  <a:pt x="3147" y="1932"/>
                </a:lnTo>
                <a:lnTo>
                  <a:pt x="3144" y="1931"/>
                </a:lnTo>
                <a:lnTo>
                  <a:pt x="3142" y="1930"/>
                </a:lnTo>
                <a:lnTo>
                  <a:pt x="3140" y="1928"/>
                </a:lnTo>
                <a:lnTo>
                  <a:pt x="3138" y="1925"/>
                </a:lnTo>
                <a:lnTo>
                  <a:pt x="3137" y="1922"/>
                </a:lnTo>
                <a:lnTo>
                  <a:pt x="3136" y="1917"/>
                </a:lnTo>
                <a:lnTo>
                  <a:pt x="3137" y="1914"/>
                </a:lnTo>
                <a:lnTo>
                  <a:pt x="3137" y="1912"/>
                </a:lnTo>
                <a:lnTo>
                  <a:pt x="3139" y="1910"/>
                </a:lnTo>
                <a:lnTo>
                  <a:pt x="3140" y="1908"/>
                </a:lnTo>
                <a:lnTo>
                  <a:pt x="3142" y="1906"/>
                </a:lnTo>
                <a:lnTo>
                  <a:pt x="3144" y="1905"/>
                </a:lnTo>
                <a:close/>
                <a:moveTo>
                  <a:pt x="2892" y="2038"/>
                </a:moveTo>
                <a:lnTo>
                  <a:pt x="2895" y="2037"/>
                </a:lnTo>
                <a:lnTo>
                  <a:pt x="2897" y="2036"/>
                </a:lnTo>
                <a:lnTo>
                  <a:pt x="2902" y="2036"/>
                </a:lnTo>
                <a:lnTo>
                  <a:pt x="2907" y="2037"/>
                </a:lnTo>
                <a:lnTo>
                  <a:pt x="2909" y="2038"/>
                </a:lnTo>
                <a:lnTo>
                  <a:pt x="2911" y="2040"/>
                </a:lnTo>
                <a:lnTo>
                  <a:pt x="2913" y="2042"/>
                </a:lnTo>
                <a:lnTo>
                  <a:pt x="2914" y="2045"/>
                </a:lnTo>
                <a:lnTo>
                  <a:pt x="2915" y="2048"/>
                </a:lnTo>
                <a:lnTo>
                  <a:pt x="2915" y="2051"/>
                </a:lnTo>
                <a:lnTo>
                  <a:pt x="2915" y="2054"/>
                </a:lnTo>
                <a:lnTo>
                  <a:pt x="2914" y="2057"/>
                </a:lnTo>
                <a:lnTo>
                  <a:pt x="2913" y="2059"/>
                </a:lnTo>
                <a:lnTo>
                  <a:pt x="2911" y="2062"/>
                </a:lnTo>
                <a:lnTo>
                  <a:pt x="2908" y="2064"/>
                </a:lnTo>
                <a:lnTo>
                  <a:pt x="2905" y="2065"/>
                </a:lnTo>
                <a:lnTo>
                  <a:pt x="2903" y="2066"/>
                </a:lnTo>
                <a:lnTo>
                  <a:pt x="2898" y="2066"/>
                </a:lnTo>
                <a:lnTo>
                  <a:pt x="2896" y="2065"/>
                </a:lnTo>
                <a:lnTo>
                  <a:pt x="2893" y="2064"/>
                </a:lnTo>
                <a:lnTo>
                  <a:pt x="2891" y="2063"/>
                </a:lnTo>
                <a:lnTo>
                  <a:pt x="2889" y="2062"/>
                </a:lnTo>
                <a:lnTo>
                  <a:pt x="2887" y="2059"/>
                </a:lnTo>
                <a:lnTo>
                  <a:pt x="2886" y="2056"/>
                </a:lnTo>
                <a:lnTo>
                  <a:pt x="2885" y="2054"/>
                </a:lnTo>
                <a:lnTo>
                  <a:pt x="2885" y="2051"/>
                </a:lnTo>
                <a:lnTo>
                  <a:pt x="2885" y="2048"/>
                </a:lnTo>
                <a:lnTo>
                  <a:pt x="2886" y="2045"/>
                </a:lnTo>
                <a:lnTo>
                  <a:pt x="2887" y="2042"/>
                </a:lnTo>
                <a:lnTo>
                  <a:pt x="2889" y="2040"/>
                </a:lnTo>
                <a:lnTo>
                  <a:pt x="2892" y="2038"/>
                </a:lnTo>
                <a:close/>
                <a:moveTo>
                  <a:pt x="3010" y="1957"/>
                </a:moveTo>
                <a:lnTo>
                  <a:pt x="3013" y="1956"/>
                </a:lnTo>
                <a:lnTo>
                  <a:pt x="3016" y="1955"/>
                </a:lnTo>
                <a:lnTo>
                  <a:pt x="3020" y="1955"/>
                </a:lnTo>
                <a:lnTo>
                  <a:pt x="3023" y="1956"/>
                </a:lnTo>
                <a:lnTo>
                  <a:pt x="3025" y="1957"/>
                </a:lnTo>
                <a:lnTo>
                  <a:pt x="3028" y="1958"/>
                </a:lnTo>
                <a:lnTo>
                  <a:pt x="3029" y="1960"/>
                </a:lnTo>
                <a:lnTo>
                  <a:pt x="3030" y="1961"/>
                </a:lnTo>
                <a:lnTo>
                  <a:pt x="3031" y="1963"/>
                </a:lnTo>
                <a:lnTo>
                  <a:pt x="3032" y="1966"/>
                </a:lnTo>
                <a:lnTo>
                  <a:pt x="3033" y="1969"/>
                </a:lnTo>
                <a:lnTo>
                  <a:pt x="3033" y="1972"/>
                </a:lnTo>
                <a:lnTo>
                  <a:pt x="3032" y="1974"/>
                </a:lnTo>
                <a:lnTo>
                  <a:pt x="3031" y="1977"/>
                </a:lnTo>
                <a:lnTo>
                  <a:pt x="3030" y="1979"/>
                </a:lnTo>
                <a:lnTo>
                  <a:pt x="3028" y="1981"/>
                </a:lnTo>
                <a:lnTo>
                  <a:pt x="3025" y="1983"/>
                </a:lnTo>
                <a:lnTo>
                  <a:pt x="3022" y="1984"/>
                </a:lnTo>
                <a:lnTo>
                  <a:pt x="3019" y="1985"/>
                </a:lnTo>
                <a:lnTo>
                  <a:pt x="3016" y="1985"/>
                </a:lnTo>
                <a:lnTo>
                  <a:pt x="3013" y="1984"/>
                </a:lnTo>
                <a:lnTo>
                  <a:pt x="3010" y="1983"/>
                </a:lnTo>
                <a:lnTo>
                  <a:pt x="3008" y="1981"/>
                </a:lnTo>
                <a:lnTo>
                  <a:pt x="3006" y="1979"/>
                </a:lnTo>
                <a:lnTo>
                  <a:pt x="3004" y="1977"/>
                </a:lnTo>
                <a:lnTo>
                  <a:pt x="3003" y="1974"/>
                </a:lnTo>
                <a:lnTo>
                  <a:pt x="3002" y="1971"/>
                </a:lnTo>
                <a:lnTo>
                  <a:pt x="3003" y="1968"/>
                </a:lnTo>
                <a:lnTo>
                  <a:pt x="3003" y="1965"/>
                </a:lnTo>
                <a:lnTo>
                  <a:pt x="3004" y="1963"/>
                </a:lnTo>
                <a:lnTo>
                  <a:pt x="3006" y="1961"/>
                </a:lnTo>
                <a:lnTo>
                  <a:pt x="3008" y="1958"/>
                </a:lnTo>
                <a:lnTo>
                  <a:pt x="3010" y="1957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E910193-104B-4A01-9349-DB7337C20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620713"/>
            <a:ext cx="10658475" cy="10800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F17E84-4165-43C3-A522-0F15AF1B17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3" y="1916113"/>
            <a:ext cx="10658475" cy="4321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3FA7CB-37E7-483D-9758-3AFF9F4DCE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27448" y="6525344"/>
            <a:ext cx="1800846" cy="1447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8BD618-070D-4435-A28F-03342B154E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27648" y="6525344"/>
            <a:ext cx="8497590" cy="1447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B08334-8A2D-46D7-9747-D2F60C04D8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763" y="6525344"/>
            <a:ext cx="360685" cy="1447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9" name="(c)" hidden="1"/>
          <p:cNvSpPr txBox="1"/>
          <p:nvPr userDrawn="1"/>
        </p:nvSpPr>
        <p:spPr>
          <a:xfrm>
            <a:off x="12028196" y="6891795"/>
            <a:ext cx="157094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200" baseline="0">
                <a:solidFill>
                  <a:schemeClr val="bg1"/>
                </a:solidFill>
                <a:latin typeface="+mn-lt"/>
              </a:rPr>
              <a:t> EK</a:t>
            </a:r>
            <a:endParaRPr lang="en-GB" sz="20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" name="(logo)" descr="Z:\GRW (grow)\logot\copyright_grow.png" hidden="1"/>
          <p:cNvPicPr>
            <a:picLocks noChangeAspect="1" noChangeArrowheads="1"/>
          </p:cNvPicPr>
          <p:nvPr userDrawn="1"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8405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683" r:id="rId2"/>
    <p:sldLayoutId id="2147483686" r:id="rId3"/>
    <p:sldLayoutId id="2147483650" r:id="rId4"/>
    <p:sldLayoutId id="2147483671" r:id="rId5"/>
    <p:sldLayoutId id="2147483690" r:id="rId6"/>
    <p:sldLayoutId id="2147483727" r:id="rId7"/>
    <p:sldLayoutId id="2147483664" r:id="rId8"/>
    <p:sldLayoutId id="2147483667" r:id="rId9"/>
    <p:sldLayoutId id="2147483663" r:id="rId10"/>
    <p:sldLayoutId id="2147483666" r:id="rId11"/>
    <p:sldLayoutId id="2147483665" r:id="rId12"/>
    <p:sldLayoutId id="2147483668" r:id="rId13"/>
    <p:sldLayoutId id="2147483672" r:id="rId14"/>
    <p:sldLayoutId id="2147483652" r:id="rId15"/>
    <p:sldLayoutId id="2147483669" r:id="rId16"/>
    <p:sldLayoutId id="2147483653" r:id="rId17"/>
    <p:sldLayoutId id="2147483704" r:id="rId18"/>
    <p:sldLayoutId id="2147483670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  <p:sldLayoutId id="2147483700" r:id="rId26"/>
    <p:sldLayoutId id="2147483701" r:id="rId27"/>
    <p:sldLayoutId id="2147483702" r:id="rId28"/>
    <p:sldLayoutId id="2147483703" r:id="rId29"/>
    <p:sldLayoutId id="2147483737" r:id="rId30"/>
    <p:sldLayoutId id="2147483705" r:id="rId31"/>
    <p:sldLayoutId id="2147483706" r:id="rId32"/>
    <p:sldLayoutId id="2147483707" r:id="rId33"/>
    <p:sldLayoutId id="2147483691" r:id="rId34"/>
    <p:sldLayoutId id="2147483692" r:id="rId35"/>
    <p:sldLayoutId id="2147483693" r:id="rId36"/>
    <p:sldLayoutId id="2147483673" r:id="rId37"/>
    <p:sldLayoutId id="2147483742" r:id="rId38"/>
    <p:sldLayoutId id="2147483713" r:id="rId39"/>
    <p:sldLayoutId id="2147483714" r:id="rId40"/>
    <p:sldLayoutId id="2147483723" r:id="rId41"/>
    <p:sldLayoutId id="2147483729" r:id="rId42"/>
    <p:sldLayoutId id="2147483654" r:id="rId43"/>
    <p:sldLayoutId id="2147483655" r:id="rId44"/>
    <p:sldLayoutId id="2147483689" r:id="rId45"/>
    <p:sldLayoutId id="2147483730" r:id="rId46"/>
    <p:sldLayoutId id="2147483741" r:id="rId4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00000"/>
        </a:lnSpc>
        <a:spcBef>
          <a:spcPts val="800"/>
        </a:spcBef>
        <a:buFont typeface="IBM Plex Sans" panose="020B050305020300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00000"/>
        </a:lnSpc>
        <a:spcBef>
          <a:spcPts val="800"/>
        </a:spcBef>
        <a:buFont typeface="IBM Plex Sans" panose="020B050305020300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00000"/>
        </a:lnSpc>
        <a:spcBef>
          <a:spcPts val="800"/>
        </a:spcBef>
        <a:buFont typeface="IBM Plex Sans" panose="020B050305020300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00000"/>
        </a:lnSpc>
        <a:spcBef>
          <a:spcPts val="800"/>
        </a:spcBef>
        <a:buFont typeface="IBM Plex Sans" panose="020B050305020300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827A4F8B-ED23-4586-88DA-B7823F8E5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74748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54" imgH="253" progId="TCLayout.ActiveDocument.1">
                  <p:embed/>
                </p:oleObj>
              </mc:Choice>
              <mc:Fallback>
                <p:oleObj name="think-cell Slide" r:id="rId14" imgW="254" imgH="253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827A4F8B-ED23-4586-88DA-B7823F8E5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E910193-104B-4A01-9349-DB7337C20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620713"/>
            <a:ext cx="10658475" cy="10800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F17E84-4165-43C3-A522-0F15AF1B17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3" y="1916113"/>
            <a:ext cx="10658475" cy="4321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3FA7CB-37E7-483D-9758-3AFF9F4DCE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27448" y="6525344"/>
            <a:ext cx="1800846" cy="1447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8BD618-070D-4435-A28F-03342B154E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27648" y="6525344"/>
            <a:ext cx="8497590" cy="1447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B08334-8A2D-46D7-9747-D2F60C04D8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763" y="6525344"/>
            <a:ext cx="360685" cy="1447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(c)" hidden="1"/>
          <p:cNvSpPr txBox="1"/>
          <p:nvPr userDrawn="1"/>
        </p:nvSpPr>
        <p:spPr>
          <a:xfrm>
            <a:off x="12028196" y="6891795"/>
            <a:ext cx="157094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200" baseline="0">
                <a:solidFill>
                  <a:schemeClr val="bg1"/>
                </a:solidFill>
                <a:latin typeface="+mn-lt"/>
              </a:rPr>
              <a:t> EK</a:t>
            </a:r>
            <a:endParaRPr lang="en-GB" sz="20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" name="(logo)" descr="Z:\GRW (grow)\logot\copyright_grow.png" hidden="1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E567F77F-402E-4485-A9E3-0EB18515D7D1}"/>
              </a:ext>
            </a:extLst>
          </p:cNvPr>
          <p:cNvSpPr/>
          <p:nvPr userDrawn="1"/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fi-FI" sz="4000" b="0" i="0" u="none" cap="none" baseline="0">
              <a:latin typeface="IBM Plex Sans Light" panose="020B0604020202020204" charset="0"/>
              <a:ea typeface="+mj-ea"/>
              <a:cs typeface="+mj-cs"/>
            </a:endParaRP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B1E7EB3E-2346-4553-AFCE-AFE4608E637C}"/>
              </a:ext>
            </a:extLst>
          </p:cNvPr>
          <p:cNvSpPr/>
          <p:nvPr userDrawn="1"/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fi-FI" sz="4000" b="0" i="0" u="none" cap="none" baseline="0">
              <a:latin typeface="IBM Plex Sans Light" panose="020B0604020202020204" charset="0"/>
              <a:ea typeface="+mj-ea"/>
              <a:cs typeface="+mj-cs"/>
            </a:endParaRPr>
          </a:p>
        </p:txBody>
      </p:sp>
      <p:pic>
        <p:nvPicPr>
          <p:cNvPr id="13" name="Graphic 16">
            <a:extLst>
              <a:ext uri="{FF2B5EF4-FFF2-40B4-BE49-F238E27FC236}">
                <a16:creationId xmlns:a16="http://schemas.microsoft.com/office/drawing/2014/main" id="{CBDC2B47-7F2C-4A0F-9EFD-7A9250A83067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5400000">
            <a:off x="11096582" y="5762582"/>
            <a:ext cx="817216" cy="1373620"/>
          </a:xfrm>
          <a:prstGeom prst="rect">
            <a:avLst/>
          </a:prstGeom>
        </p:spPr>
      </p:pic>
      <p:pic>
        <p:nvPicPr>
          <p:cNvPr id="15" name="Graphic 29">
            <a:extLst>
              <a:ext uri="{FF2B5EF4-FFF2-40B4-BE49-F238E27FC236}">
                <a16:creationId xmlns:a16="http://schemas.microsoft.com/office/drawing/2014/main" id="{12B11C26-427A-4BD4-A344-DEEEAEF4A0BB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1076595" y="6307893"/>
            <a:ext cx="967656" cy="434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781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00000"/>
        </a:lnSpc>
        <a:spcBef>
          <a:spcPts val="800"/>
        </a:spcBef>
        <a:buFont typeface="IBM Plex Sans" panose="020B050305020300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00000"/>
        </a:lnSpc>
        <a:spcBef>
          <a:spcPts val="800"/>
        </a:spcBef>
        <a:buFont typeface="IBM Plex Sans" panose="020B050305020300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00000"/>
        </a:lnSpc>
        <a:spcBef>
          <a:spcPts val="800"/>
        </a:spcBef>
        <a:buFont typeface="IBM Plex Sans" panose="020B050305020300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00000"/>
        </a:lnSpc>
        <a:spcBef>
          <a:spcPts val="800"/>
        </a:spcBef>
        <a:buFont typeface="IBM Plex Sans" panose="020B050305020300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6">
            <a:extLst>
              <a:ext uri="{FF2B5EF4-FFF2-40B4-BE49-F238E27FC236}">
                <a16:creationId xmlns:a16="http://schemas.microsoft.com/office/drawing/2014/main" id="{ED1D5F28-D6A6-4E66-8A30-C757CB8657A8}"/>
              </a:ext>
            </a:extLst>
          </p:cNvPr>
          <p:cNvSpPr>
            <a:spLocks noEditPoints="1"/>
          </p:cNvSpPr>
          <p:nvPr userDrawn="1"/>
        </p:nvSpPr>
        <p:spPr bwMode="auto">
          <a:xfrm flipV="1">
            <a:off x="7608168" y="0"/>
            <a:ext cx="4583832" cy="2270479"/>
          </a:xfrm>
          <a:custGeom>
            <a:avLst/>
            <a:gdLst>
              <a:gd name="T0" fmla="*/ 3697 w 4811"/>
              <a:gd name="T1" fmla="*/ 2229 h 2383"/>
              <a:gd name="T2" fmla="*/ 4135 w 4811"/>
              <a:gd name="T3" fmla="*/ 2292 h 2383"/>
              <a:gd name="T4" fmla="*/ 4664 w 4811"/>
              <a:gd name="T5" fmla="*/ 925 h 2383"/>
              <a:gd name="T6" fmla="*/ 4243 w 4811"/>
              <a:gd name="T7" fmla="*/ 833 h 2383"/>
              <a:gd name="T8" fmla="*/ 3838 w 4811"/>
              <a:gd name="T9" fmla="*/ 694 h 2383"/>
              <a:gd name="T10" fmla="*/ 3455 w 4811"/>
              <a:gd name="T11" fmla="*/ 502 h 2383"/>
              <a:gd name="T12" fmla="*/ 3177 w 4811"/>
              <a:gd name="T13" fmla="*/ 365 h 2383"/>
              <a:gd name="T14" fmla="*/ 3047 w 4811"/>
              <a:gd name="T15" fmla="*/ 284 h 2383"/>
              <a:gd name="T16" fmla="*/ 444 w 4811"/>
              <a:gd name="T17" fmla="*/ 1728 h 2383"/>
              <a:gd name="T18" fmla="*/ 569 w 4811"/>
              <a:gd name="T19" fmla="*/ 1649 h 2383"/>
              <a:gd name="T20" fmla="*/ 2935 w 4811"/>
              <a:gd name="T21" fmla="*/ 245 h 2383"/>
              <a:gd name="T22" fmla="*/ 1360 w 4811"/>
              <a:gd name="T23" fmla="*/ 1024 h 2383"/>
              <a:gd name="T24" fmla="*/ 2672 w 4811"/>
              <a:gd name="T25" fmla="*/ 135 h 2383"/>
              <a:gd name="T26" fmla="*/ 1444 w 4811"/>
              <a:gd name="T27" fmla="*/ 614 h 2383"/>
              <a:gd name="T28" fmla="*/ 1457 w 4811"/>
              <a:gd name="T29" fmla="*/ 469 h 2383"/>
              <a:gd name="T30" fmla="*/ 1962 w 4811"/>
              <a:gd name="T31" fmla="*/ 44 h 2383"/>
              <a:gd name="T32" fmla="*/ 1697 w 4811"/>
              <a:gd name="T33" fmla="*/ 121 h 2383"/>
              <a:gd name="T34" fmla="*/ 4512 w 4811"/>
              <a:gd name="T35" fmla="*/ 1220 h 2383"/>
              <a:gd name="T36" fmla="*/ 4105 w 4811"/>
              <a:gd name="T37" fmla="*/ 1077 h 2383"/>
              <a:gd name="T38" fmla="*/ 3709 w 4811"/>
              <a:gd name="T39" fmla="*/ 878 h 2383"/>
              <a:gd name="T40" fmla="*/ 3339 w 4811"/>
              <a:gd name="T41" fmla="*/ 673 h 2383"/>
              <a:gd name="T42" fmla="*/ 733 w 4811"/>
              <a:gd name="T43" fmla="*/ 2077 h 2383"/>
              <a:gd name="T44" fmla="*/ 835 w 4811"/>
              <a:gd name="T45" fmla="*/ 1990 h 2383"/>
              <a:gd name="T46" fmla="*/ 1324 w 4811"/>
              <a:gd name="T47" fmla="*/ 1694 h 2383"/>
              <a:gd name="T48" fmla="*/ 1522 w 4811"/>
              <a:gd name="T49" fmla="*/ 1503 h 2383"/>
              <a:gd name="T50" fmla="*/ 1660 w 4811"/>
              <a:gd name="T51" fmla="*/ 1239 h 2383"/>
              <a:gd name="T52" fmla="*/ 2781 w 4811"/>
              <a:gd name="T53" fmla="*/ 439 h 2383"/>
              <a:gd name="T54" fmla="*/ 1718 w 4811"/>
              <a:gd name="T55" fmla="*/ 811 h 2383"/>
              <a:gd name="T56" fmla="*/ 2218 w 4811"/>
              <a:gd name="T57" fmla="*/ 385 h 2383"/>
              <a:gd name="T58" fmla="*/ 1945 w 4811"/>
              <a:gd name="T59" fmla="*/ 469 h 2383"/>
              <a:gd name="T60" fmla="*/ 4617 w 4811"/>
              <a:gd name="T61" fmla="*/ 1533 h 2383"/>
              <a:gd name="T62" fmla="*/ 4100 w 4811"/>
              <a:gd name="T63" fmla="*/ 1288 h 2383"/>
              <a:gd name="T64" fmla="*/ 3735 w 4811"/>
              <a:gd name="T65" fmla="*/ 1088 h 2383"/>
              <a:gd name="T66" fmla="*/ 1488 w 4811"/>
              <a:gd name="T67" fmla="*/ 2147 h 2383"/>
              <a:gd name="T68" fmla="*/ 1615 w 4811"/>
              <a:gd name="T69" fmla="*/ 2081 h 2383"/>
              <a:gd name="T70" fmla="*/ 1818 w 4811"/>
              <a:gd name="T71" fmla="*/ 1874 h 2383"/>
              <a:gd name="T72" fmla="*/ 1949 w 4811"/>
              <a:gd name="T73" fmla="*/ 1628 h 2383"/>
              <a:gd name="T74" fmla="*/ 3075 w 4811"/>
              <a:gd name="T75" fmla="*/ 825 h 2383"/>
              <a:gd name="T76" fmla="*/ 2789 w 4811"/>
              <a:gd name="T77" fmla="*/ 776 h 2383"/>
              <a:gd name="T78" fmla="*/ 2035 w 4811"/>
              <a:gd name="T79" fmla="*/ 1065 h 2383"/>
              <a:gd name="T80" fmla="*/ 2114 w 4811"/>
              <a:gd name="T81" fmla="*/ 937 h 2383"/>
              <a:gd name="T82" fmla="*/ 4637 w 4811"/>
              <a:gd name="T83" fmla="*/ 1805 h 2383"/>
              <a:gd name="T84" fmla="*/ 4260 w 4811"/>
              <a:gd name="T85" fmla="*/ 1606 h 2383"/>
              <a:gd name="T86" fmla="*/ 3874 w 4811"/>
              <a:gd name="T87" fmla="*/ 1413 h 2383"/>
              <a:gd name="T88" fmla="*/ 2085 w 4811"/>
              <a:gd name="T89" fmla="*/ 2254 h 2383"/>
              <a:gd name="T90" fmla="*/ 2215 w 4811"/>
              <a:gd name="T91" fmla="*/ 2003 h 2383"/>
              <a:gd name="T92" fmla="*/ 3342 w 4811"/>
              <a:gd name="T93" fmla="*/ 1195 h 2383"/>
              <a:gd name="T94" fmla="*/ 3056 w 4811"/>
              <a:gd name="T95" fmla="*/ 1147 h 2383"/>
              <a:gd name="T96" fmla="*/ 2302 w 4811"/>
              <a:gd name="T97" fmla="*/ 1435 h 2383"/>
              <a:gd name="T98" fmla="*/ 2381 w 4811"/>
              <a:gd name="T99" fmla="*/ 1308 h 2383"/>
              <a:gd name="T100" fmla="*/ 4653 w 4811"/>
              <a:gd name="T101" fmla="*/ 2048 h 2383"/>
              <a:gd name="T102" fmla="*/ 4272 w 4811"/>
              <a:gd name="T103" fmla="*/ 1845 h 2383"/>
              <a:gd name="T104" fmla="*/ 3878 w 4811"/>
              <a:gd name="T105" fmla="*/ 1665 h 2383"/>
              <a:gd name="T106" fmla="*/ 2513 w 4811"/>
              <a:gd name="T107" fmla="*/ 2232 h 2383"/>
              <a:gd name="T108" fmla="*/ 3462 w 4811"/>
              <a:gd name="T109" fmla="*/ 1541 h 2383"/>
              <a:gd name="T110" fmla="*/ 3181 w 4811"/>
              <a:gd name="T111" fmla="*/ 1508 h 2383"/>
              <a:gd name="T112" fmla="*/ 2893 w 4811"/>
              <a:gd name="T113" fmla="*/ 1559 h 2383"/>
              <a:gd name="T114" fmla="*/ 4793 w 4811"/>
              <a:gd name="T115" fmla="*/ 2346 h 2383"/>
              <a:gd name="T116" fmla="*/ 4402 w 4811"/>
              <a:gd name="T117" fmla="*/ 2133 h 2383"/>
              <a:gd name="T118" fmla="*/ 4008 w 4811"/>
              <a:gd name="T119" fmla="*/ 1967 h 2383"/>
              <a:gd name="T120" fmla="*/ 3592 w 4811"/>
              <a:gd name="T121" fmla="*/ 1871 h 2383"/>
              <a:gd name="T122" fmla="*/ 2838 w 4811"/>
              <a:gd name="T123" fmla="*/ 2167 h 2383"/>
              <a:gd name="T124" fmla="*/ 2915 w 4811"/>
              <a:gd name="T125" fmla="*/ 2051 h 2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11" h="2383">
                <a:moveTo>
                  <a:pt x="3277" y="2328"/>
                </a:moveTo>
                <a:lnTo>
                  <a:pt x="3280" y="2327"/>
                </a:lnTo>
                <a:lnTo>
                  <a:pt x="3283" y="2326"/>
                </a:lnTo>
                <a:lnTo>
                  <a:pt x="3286" y="2326"/>
                </a:lnTo>
                <a:lnTo>
                  <a:pt x="3289" y="2327"/>
                </a:lnTo>
                <a:lnTo>
                  <a:pt x="3292" y="2328"/>
                </a:lnTo>
                <a:lnTo>
                  <a:pt x="3294" y="2330"/>
                </a:lnTo>
                <a:lnTo>
                  <a:pt x="3295" y="2331"/>
                </a:lnTo>
                <a:lnTo>
                  <a:pt x="3296" y="2332"/>
                </a:lnTo>
                <a:lnTo>
                  <a:pt x="3298" y="2334"/>
                </a:lnTo>
                <a:lnTo>
                  <a:pt x="3299" y="2340"/>
                </a:lnTo>
                <a:lnTo>
                  <a:pt x="3299" y="2343"/>
                </a:lnTo>
                <a:lnTo>
                  <a:pt x="3299" y="2345"/>
                </a:lnTo>
                <a:lnTo>
                  <a:pt x="3298" y="2348"/>
                </a:lnTo>
                <a:lnTo>
                  <a:pt x="3296" y="2350"/>
                </a:lnTo>
                <a:lnTo>
                  <a:pt x="3294" y="2352"/>
                </a:lnTo>
                <a:lnTo>
                  <a:pt x="3292" y="2354"/>
                </a:lnTo>
                <a:lnTo>
                  <a:pt x="3289" y="2355"/>
                </a:lnTo>
                <a:lnTo>
                  <a:pt x="3286" y="2356"/>
                </a:lnTo>
                <a:lnTo>
                  <a:pt x="3282" y="2356"/>
                </a:lnTo>
                <a:lnTo>
                  <a:pt x="3280" y="2355"/>
                </a:lnTo>
                <a:lnTo>
                  <a:pt x="3277" y="2354"/>
                </a:lnTo>
                <a:lnTo>
                  <a:pt x="3274" y="2352"/>
                </a:lnTo>
                <a:lnTo>
                  <a:pt x="3273" y="2351"/>
                </a:lnTo>
                <a:lnTo>
                  <a:pt x="3272" y="2350"/>
                </a:lnTo>
                <a:lnTo>
                  <a:pt x="3271" y="2347"/>
                </a:lnTo>
                <a:lnTo>
                  <a:pt x="3269" y="2342"/>
                </a:lnTo>
                <a:lnTo>
                  <a:pt x="3269" y="2339"/>
                </a:lnTo>
                <a:lnTo>
                  <a:pt x="3270" y="2336"/>
                </a:lnTo>
                <a:lnTo>
                  <a:pt x="3271" y="2334"/>
                </a:lnTo>
                <a:lnTo>
                  <a:pt x="3273" y="2332"/>
                </a:lnTo>
                <a:lnTo>
                  <a:pt x="3274" y="2329"/>
                </a:lnTo>
                <a:lnTo>
                  <a:pt x="3277" y="2328"/>
                </a:lnTo>
                <a:close/>
                <a:moveTo>
                  <a:pt x="3411" y="2276"/>
                </a:moveTo>
                <a:lnTo>
                  <a:pt x="3414" y="2274"/>
                </a:lnTo>
                <a:lnTo>
                  <a:pt x="3417" y="2274"/>
                </a:lnTo>
                <a:lnTo>
                  <a:pt x="3420" y="2274"/>
                </a:lnTo>
                <a:lnTo>
                  <a:pt x="3423" y="2274"/>
                </a:lnTo>
                <a:lnTo>
                  <a:pt x="3425" y="2275"/>
                </a:lnTo>
                <a:lnTo>
                  <a:pt x="3428" y="2277"/>
                </a:lnTo>
                <a:lnTo>
                  <a:pt x="3430" y="2279"/>
                </a:lnTo>
                <a:lnTo>
                  <a:pt x="3431" y="2281"/>
                </a:lnTo>
                <a:lnTo>
                  <a:pt x="3433" y="2284"/>
                </a:lnTo>
                <a:lnTo>
                  <a:pt x="3433" y="2289"/>
                </a:lnTo>
                <a:lnTo>
                  <a:pt x="3433" y="2292"/>
                </a:lnTo>
                <a:lnTo>
                  <a:pt x="3432" y="2294"/>
                </a:lnTo>
                <a:lnTo>
                  <a:pt x="3431" y="2296"/>
                </a:lnTo>
                <a:lnTo>
                  <a:pt x="3430" y="2298"/>
                </a:lnTo>
                <a:lnTo>
                  <a:pt x="3428" y="2300"/>
                </a:lnTo>
                <a:lnTo>
                  <a:pt x="3426" y="2302"/>
                </a:lnTo>
                <a:lnTo>
                  <a:pt x="3423" y="2303"/>
                </a:lnTo>
                <a:lnTo>
                  <a:pt x="3420" y="2304"/>
                </a:lnTo>
                <a:lnTo>
                  <a:pt x="3417" y="2304"/>
                </a:lnTo>
                <a:lnTo>
                  <a:pt x="3414" y="2303"/>
                </a:lnTo>
                <a:lnTo>
                  <a:pt x="3411" y="2302"/>
                </a:lnTo>
                <a:lnTo>
                  <a:pt x="3409" y="2300"/>
                </a:lnTo>
                <a:lnTo>
                  <a:pt x="3407" y="2298"/>
                </a:lnTo>
                <a:lnTo>
                  <a:pt x="3405" y="2296"/>
                </a:lnTo>
                <a:lnTo>
                  <a:pt x="3404" y="2293"/>
                </a:lnTo>
                <a:lnTo>
                  <a:pt x="3403" y="2288"/>
                </a:lnTo>
                <a:lnTo>
                  <a:pt x="3404" y="2285"/>
                </a:lnTo>
                <a:lnTo>
                  <a:pt x="3404" y="2283"/>
                </a:lnTo>
                <a:lnTo>
                  <a:pt x="3405" y="2281"/>
                </a:lnTo>
                <a:lnTo>
                  <a:pt x="3407" y="2279"/>
                </a:lnTo>
                <a:lnTo>
                  <a:pt x="3409" y="2277"/>
                </a:lnTo>
                <a:lnTo>
                  <a:pt x="3411" y="2276"/>
                </a:lnTo>
                <a:close/>
                <a:moveTo>
                  <a:pt x="3551" y="2243"/>
                </a:moveTo>
                <a:lnTo>
                  <a:pt x="3553" y="2242"/>
                </a:lnTo>
                <a:lnTo>
                  <a:pt x="3556" y="2241"/>
                </a:lnTo>
                <a:lnTo>
                  <a:pt x="3559" y="2241"/>
                </a:lnTo>
                <a:lnTo>
                  <a:pt x="3562" y="2241"/>
                </a:lnTo>
                <a:lnTo>
                  <a:pt x="3565" y="2242"/>
                </a:lnTo>
                <a:lnTo>
                  <a:pt x="3567" y="2244"/>
                </a:lnTo>
                <a:lnTo>
                  <a:pt x="3569" y="2246"/>
                </a:lnTo>
                <a:lnTo>
                  <a:pt x="3571" y="2248"/>
                </a:lnTo>
                <a:lnTo>
                  <a:pt x="3572" y="2251"/>
                </a:lnTo>
                <a:lnTo>
                  <a:pt x="3573" y="2254"/>
                </a:lnTo>
                <a:lnTo>
                  <a:pt x="3573" y="2258"/>
                </a:lnTo>
                <a:lnTo>
                  <a:pt x="3572" y="2263"/>
                </a:lnTo>
                <a:lnTo>
                  <a:pt x="3569" y="2266"/>
                </a:lnTo>
                <a:lnTo>
                  <a:pt x="3566" y="2269"/>
                </a:lnTo>
                <a:lnTo>
                  <a:pt x="3563" y="2270"/>
                </a:lnTo>
                <a:lnTo>
                  <a:pt x="3561" y="2271"/>
                </a:lnTo>
                <a:lnTo>
                  <a:pt x="3557" y="2271"/>
                </a:lnTo>
                <a:lnTo>
                  <a:pt x="3555" y="2271"/>
                </a:lnTo>
                <a:lnTo>
                  <a:pt x="3552" y="2270"/>
                </a:lnTo>
                <a:lnTo>
                  <a:pt x="3549" y="2268"/>
                </a:lnTo>
                <a:lnTo>
                  <a:pt x="3547" y="2266"/>
                </a:lnTo>
                <a:lnTo>
                  <a:pt x="3545" y="2264"/>
                </a:lnTo>
                <a:lnTo>
                  <a:pt x="3544" y="2261"/>
                </a:lnTo>
                <a:lnTo>
                  <a:pt x="3543" y="2258"/>
                </a:lnTo>
                <a:lnTo>
                  <a:pt x="3543" y="2254"/>
                </a:lnTo>
                <a:lnTo>
                  <a:pt x="3545" y="2249"/>
                </a:lnTo>
                <a:lnTo>
                  <a:pt x="3547" y="2246"/>
                </a:lnTo>
                <a:lnTo>
                  <a:pt x="3551" y="2243"/>
                </a:lnTo>
                <a:close/>
                <a:moveTo>
                  <a:pt x="3694" y="2230"/>
                </a:moveTo>
                <a:lnTo>
                  <a:pt x="3697" y="2229"/>
                </a:lnTo>
                <a:lnTo>
                  <a:pt x="3701" y="2228"/>
                </a:lnTo>
                <a:lnTo>
                  <a:pt x="3704" y="2229"/>
                </a:lnTo>
                <a:lnTo>
                  <a:pt x="3707" y="2229"/>
                </a:lnTo>
                <a:lnTo>
                  <a:pt x="3710" y="2231"/>
                </a:lnTo>
                <a:lnTo>
                  <a:pt x="3712" y="2233"/>
                </a:lnTo>
                <a:lnTo>
                  <a:pt x="3714" y="2235"/>
                </a:lnTo>
                <a:lnTo>
                  <a:pt x="3715" y="2237"/>
                </a:lnTo>
                <a:lnTo>
                  <a:pt x="3716" y="2240"/>
                </a:lnTo>
                <a:lnTo>
                  <a:pt x="3716" y="2243"/>
                </a:lnTo>
                <a:lnTo>
                  <a:pt x="3716" y="2247"/>
                </a:lnTo>
                <a:lnTo>
                  <a:pt x="3714" y="2251"/>
                </a:lnTo>
                <a:lnTo>
                  <a:pt x="3712" y="2254"/>
                </a:lnTo>
                <a:lnTo>
                  <a:pt x="3709" y="2256"/>
                </a:lnTo>
                <a:lnTo>
                  <a:pt x="3705" y="2258"/>
                </a:lnTo>
                <a:lnTo>
                  <a:pt x="3702" y="2258"/>
                </a:lnTo>
                <a:lnTo>
                  <a:pt x="3699" y="2258"/>
                </a:lnTo>
                <a:lnTo>
                  <a:pt x="3696" y="2257"/>
                </a:lnTo>
                <a:lnTo>
                  <a:pt x="3693" y="2256"/>
                </a:lnTo>
                <a:lnTo>
                  <a:pt x="3691" y="2254"/>
                </a:lnTo>
                <a:lnTo>
                  <a:pt x="3689" y="2252"/>
                </a:lnTo>
                <a:lnTo>
                  <a:pt x="3688" y="2250"/>
                </a:lnTo>
                <a:lnTo>
                  <a:pt x="3687" y="2247"/>
                </a:lnTo>
                <a:lnTo>
                  <a:pt x="3686" y="2244"/>
                </a:lnTo>
                <a:lnTo>
                  <a:pt x="3687" y="2240"/>
                </a:lnTo>
                <a:lnTo>
                  <a:pt x="3688" y="2236"/>
                </a:lnTo>
                <a:lnTo>
                  <a:pt x="3691" y="2233"/>
                </a:lnTo>
                <a:lnTo>
                  <a:pt x="3694" y="2230"/>
                </a:lnTo>
                <a:close/>
                <a:moveTo>
                  <a:pt x="3838" y="2236"/>
                </a:moveTo>
                <a:lnTo>
                  <a:pt x="3842" y="2235"/>
                </a:lnTo>
                <a:lnTo>
                  <a:pt x="3844" y="2234"/>
                </a:lnTo>
                <a:lnTo>
                  <a:pt x="3847" y="2234"/>
                </a:lnTo>
                <a:lnTo>
                  <a:pt x="3850" y="2235"/>
                </a:lnTo>
                <a:lnTo>
                  <a:pt x="3852" y="2236"/>
                </a:lnTo>
                <a:lnTo>
                  <a:pt x="3855" y="2238"/>
                </a:lnTo>
                <a:lnTo>
                  <a:pt x="3857" y="2240"/>
                </a:lnTo>
                <a:lnTo>
                  <a:pt x="3858" y="2241"/>
                </a:lnTo>
                <a:lnTo>
                  <a:pt x="3858" y="2242"/>
                </a:lnTo>
                <a:lnTo>
                  <a:pt x="3859" y="2245"/>
                </a:lnTo>
                <a:lnTo>
                  <a:pt x="3860" y="2248"/>
                </a:lnTo>
                <a:lnTo>
                  <a:pt x="3860" y="2251"/>
                </a:lnTo>
                <a:lnTo>
                  <a:pt x="3859" y="2254"/>
                </a:lnTo>
                <a:lnTo>
                  <a:pt x="3858" y="2258"/>
                </a:lnTo>
                <a:lnTo>
                  <a:pt x="3855" y="2260"/>
                </a:lnTo>
                <a:lnTo>
                  <a:pt x="3853" y="2262"/>
                </a:lnTo>
                <a:lnTo>
                  <a:pt x="3848" y="2264"/>
                </a:lnTo>
                <a:lnTo>
                  <a:pt x="3846" y="2264"/>
                </a:lnTo>
                <a:lnTo>
                  <a:pt x="3844" y="2264"/>
                </a:lnTo>
                <a:lnTo>
                  <a:pt x="3841" y="2264"/>
                </a:lnTo>
                <a:lnTo>
                  <a:pt x="3838" y="2263"/>
                </a:lnTo>
                <a:lnTo>
                  <a:pt x="3835" y="2261"/>
                </a:lnTo>
                <a:lnTo>
                  <a:pt x="3833" y="2259"/>
                </a:lnTo>
                <a:lnTo>
                  <a:pt x="3833" y="2258"/>
                </a:lnTo>
                <a:lnTo>
                  <a:pt x="3832" y="2256"/>
                </a:lnTo>
                <a:lnTo>
                  <a:pt x="3831" y="2254"/>
                </a:lnTo>
                <a:lnTo>
                  <a:pt x="3830" y="2251"/>
                </a:lnTo>
                <a:lnTo>
                  <a:pt x="3830" y="2248"/>
                </a:lnTo>
                <a:lnTo>
                  <a:pt x="3831" y="2244"/>
                </a:lnTo>
                <a:lnTo>
                  <a:pt x="3832" y="2241"/>
                </a:lnTo>
                <a:lnTo>
                  <a:pt x="3835" y="2238"/>
                </a:lnTo>
                <a:lnTo>
                  <a:pt x="3838" y="2236"/>
                </a:lnTo>
                <a:close/>
                <a:moveTo>
                  <a:pt x="3980" y="2258"/>
                </a:moveTo>
                <a:lnTo>
                  <a:pt x="3982" y="2257"/>
                </a:lnTo>
                <a:lnTo>
                  <a:pt x="3985" y="2256"/>
                </a:lnTo>
                <a:lnTo>
                  <a:pt x="3990" y="2256"/>
                </a:lnTo>
                <a:lnTo>
                  <a:pt x="3993" y="2257"/>
                </a:lnTo>
                <a:lnTo>
                  <a:pt x="3996" y="2258"/>
                </a:lnTo>
                <a:lnTo>
                  <a:pt x="3998" y="2260"/>
                </a:lnTo>
                <a:lnTo>
                  <a:pt x="4000" y="2263"/>
                </a:lnTo>
                <a:lnTo>
                  <a:pt x="4001" y="2265"/>
                </a:lnTo>
                <a:lnTo>
                  <a:pt x="4002" y="2268"/>
                </a:lnTo>
                <a:lnTo>
                  <a:pt x="4002" y="2271"/>
                </a:lnTo>
                <a:lnTo>
                  <a:pt x="4002" y="2274"/>
                </a:lnTo>
                <a:lnTo>
                  <a:pt x="4001" y="2277"/>
                </a:lnTo>
                <a:lnTo>
                  <a:pt x="3999" y="2280"/>
                </a:lnTo>
                <a:lnTo>
                  <a:pt x="3997" y="2282"/>
                </a:lnTo>
                <a:lnTo>
                  <a:pt x="3995" y="2284"/>
                </a:lnTo>
                <a:lnTo>
                  <a:pt x="3992" y="2285"/>
                </a:lnTo>
                <a:lnTo>
                  <a:pt x="3990" y="2286"/>
                </a:lnTo>
                <a:lnTo>
                  <a:pt x="3984" y="2286"/>
                </a:lnTo>
                <a:lnTo>
                  <a:pt x="3981" y="2285"/>
                </a:lnTo>
                <a:lnTo>
                  <a:pt x="3979" y="2283"/>
                </a:lnTo>
                <a:lnTo>
                  <a:pt x="3977" y="2281"/>
                </a:lnTo>
                <a:lnTo>
                  <a:pt x="3975" y="2279"/>
                </a:lnTo>
                <a:lnTo>
                  <a:pt x="3973" y="2277"/>
                </a:lnTo>
                <a:lnTo>
                  <a:pt x="3972" y="2274"/>
                </a:lnTo>
                <a:lnTo>
                  <a:pt x="3972" y="2271"/>
                </a:lnTo>
                <a:lnTo>
                  <a:pt x="3972" y="2268"/>
                </a:lnTo>
                <a:lnTo>
                  <a:pt x="3973" y="2265"/>
                </a:lnTo>
                <a:lnTo>
                  <a:pt x="3975" y="2262"/>
                </a:lnTo>
                <a:lnTo>
                  <a:pt x="3977" y="2260"/>
                </a:lnTo>
                <a:lnTo>
                  <a:pt x="3980" y="2258"/>
                </a:lnTo>
                <a:close/>
                <a:moveTo>
                  <a:pt x="4121" y="2292"/>
                </a:moveTo>
                <a:lnTo>
                  <a:pt x="4123" y="2291"/>
                </a:lnTo>
                <a:lnTo>
                  <a:pt x="4126" y="2290"/>
                </a:lnTo>
                <a:lnTo>
                  <a:pt x="4129" y="2290"/>
                </a:lnTo>
                <a:lnTo>
                  <a:pt x="4132" y="2290"/>
                </a:lnTo>
                <a:lnTo>
                  <a:pt x="4135" y="2292"/>
                </a:lnTo>
                <a:lnTo>
                  <a:pt x="4137" y="2293"/>
                </a:lnTo>
                <a:lnTo>
                  <a:pt x="4140" y="2295"/>
                </a:lnTo>
                <a:lnTo>
                  <a:pt x="4141" y="2298"/>
                </a:lnTo>
                <a:lnTo>
                  <a:pt x="4142" y="2300"/>
                </a:lnTo>
                <a:lnTo>
                  <a:pt x="4143" y="2303"/>
                </a:lnTo>
                <a:lnTo>
                  <a:pt x="4143" y="2306"/>
                </a:lnTo>
                <a:lnTo>
                  <a:pt x="4143" y="2309"/>
                </a:lnTo>
                <a:lnTo>
                  <a:pt x="4141" y="2312"/>
                </a:lnTo>
                <a:lnTo>
                  <a:pt x="4140" y="2314"/>
                </a:lnTo>
                <a:lnTo>
                  <a:pt x="4138" y="2316"/>
                </a:lnTo>
                <a:lnTo>
                  <a:pt x="4136" y="2318"/>
                </a:lnTo>
                <a:lnTo>
                  <a:pt x="4133" y="2319"/>
                </a:lnTo>
                <a:lnTo>
                  <a:pt x="4130" y="2320"/>
                </a:lnTo>
                <a:lnTo>
                  <a:pt x="4127" y="2320"/>
                </a:lnTo>
                <a:lnTo>
                  <a:pt x="4124" y="2319"/>
                </a:lnTo>
                <a:lnTo>
                  <a:pt x="4121" y="2318"/>
                </a:lnTo>
                <a:lnTo>
                  <a:pt x="4119" y="2317"/>
                </a:lnTo>
                <a:lnTo>
                  <a:pt x="4117" y="2315"/>
                </a:lnTo>
                <a:lnTo>
                  <a:pt x="4115" y="2312"/>
                </a:lnTo>
                <a:lnTo>
                  <a:pt x="4114" y="2310"/>
                </a:lnTo>
                <a:lnTo>
                  <a:pt x="4113" y="2307"/>
                </a:lnTo>
                <a:lnTo>
                  <a:pt x="4113" y="2304"/>
                </a:lnTo>
                <a:lnTo>
                  <a:pt x="4114" y="2301"/>
                </a:lnTo>
                <a:lnTo>
                  <a:pt x="4115" y="2298"/>
                </a:lnTo>
                <a:lnTo>
                  <a:pt x="4116" y="2296"/>
                </a:lnTo>
                <a:lnTo>
                  <a:pt x="4118" y="2294"/>
                </a:lnTo>
                <a:lnTo>
                  <a:pt x="4121" y="2292"/>
                </a:lnTo>
                <a:close/>
                <a:moveTo>
                  <a:pt x="4258" y="2336"/>
                </a:moveTo>
                <a:lnTo>
                  <a:pt x="4261" y="2334"/>
                </a:lnTo>
                <a:lnTo>
                  <a:pt x="4264" y="2334"/>
                </a:lnTo>
                <a:lnTo>
                  <a:pt x="4267" y="2334"/>
                </a:lnTo>
                <a:lnTo>
                  <a:pt x="4270" y="2334"/>
                </a:lnTo>
                <a:lnTo>
                  <a:pt x="4273" y="2336"/>
                </a:lnTo>
                <a:lnTo>
                  <a:pt x="4275" y="2338"/>
                </a:lnTo>
                <a:lnTo>
                  <a:pt x="4277" y="2340"/>
                </a:lnTo>
                <a:lnTo>
                  <a:pt x="4279" y="2342"/>
                </a:lnTo>
                <a:lnTo>
                  <a:pt x="4280" y="2348"/>
                </a:lnTo>
                <a:lnTo>
                  <a:pt x="4279" y="2354"/>
                </a:lnTo>
                <a:lnTo>
                  <a:pt x="4278" y="2356"/>
                </a:lnTo>
                <a:lnTo>
                  <a:pt x="4277" y="2358"/>
                </a:lnTo>
                <a:lnTo>
                  <a:pt x="4275" y="2360"/>
                </a:lnTo>
                <a:lnTo>
                  <a:pt x="4273" y="2362"/>
                </a:lnTo>
                <a:lnTo>
                  <a:pt x="4270" y="2363"/>
                </a:lnTo>
                <a:lnTo>
                  <a:pt x="4267" y="2364"/>
                </a:lnTo>
                <a:lnTo>
                  <a:pt x="4263" y="2364"/>
                </a:lnTo>
                <a:lnTo>
                  <a:pt x="4260" y="2363"/>
                </a:lnTo>
                <a:lnTo>
                  <a:pt x="4257" y="2362"/>
                </a:lnTo>
                <a:lnTo>
                  <a:pt x="4255" y="2360"/>
                </a:lnTo>
                <a:lnTo>
                  <a:pt x="4253" y="2358"/>
                </a:lnTo>
                <a:lnTo>
                  <a:pt x="4252" y="2355"/>
                </a:lnTo>
                <a:lnTo>
                  <a:pt x="4250" y="2350"/>
                </a:lnTo>
                <a:lnTo>
                  <a:pt x="4251" y="2344"/>
                </a:lnTo>
                <a:lnTo>
                  <a:pt x="4252" y="2341"/>
                </a:lnTo>
                <a:lnTo>
                  <a:pt x="4254" y="2339"/>
                </a:lnTo>
                <a:lnTo>
                  <a:pt x="4255" y="2337"/>
                </a:lnTo>
                <a:lnTo>
                  <a:pt x="4258" y="2336"/>
                </a:lnTo>
                <a:close/>
                <a:moveTo>
                  <a:pt x="4787" y="946"/>
                </a:moveTo>
                <a:lnTo>
                  <a:pt x="4790" y="945"/>
                </a:lnTo>
                <a:lnTo>
                  <a:pt x="4792" y="944"/>
                </a:lnTo>
                <a:lnTo>
                  <a:pt x="4795" y="944"/>
                </a:lnTo>
                <a:lnTo>
                  <a:pt x="4798" y="944"/>
                </a:lnTo>
                <a:lnTo>
                  <a:pt x="4801" y="945"/>
                </a:lnTo>
                <a:lnTo>
                  <a:pt x="4804" y="946"/>
                </a:lnTo>
                <a:lnTo>
                  <a:pt x="4806" y="948"/>
                </a:lnTo>
                <a:lnTo>
                  <a:pt x="4808" y="950"/>
                </a:lnTo>
                <a:lnTo>
                  <a:pt x="4810" y="953"/>
                </a:lnTo>
                <a:lnTo>
                  <a:pt x="4811" y="956"/>
                </a:lnTo>
                <a:lnTo>
                  <a:pt x="4811" y="959"/>
                </a:lnTo>
                <a:lnTo>
                  <a:pt x="4811" y="962"/>
                </a:lnTo>
                <a:lnTo>
                  <a:pt x="4810" y="966"/>
                </a:lnTo>
                <a:lnTo>
                  <a:pt x="4808" y="969"/>
                </a:lnTo>
                <a:lnTo>
                  <a:pt x="4806" y="972"/>
                </a:lnTo>
                <a:lnTo>
                  <a:pt x="4803" y="974"/>
                </a:lnTo>
                <a:lnTo>
                  <a:pt x="4801" y="975"/>
                </a:lnTo>
                <a:lnTo>
                  <a:pt x="4798" y="976"/>
                </a:lnTo>
                <a:lnTo>
                  <a:pt x="4796" y="976"/>
                </a:lnTo>
                <a:lnTo>
                  <a:pt x="4793" y="976"/>
                </a:lnTo>
                <a:lnTo>
                  <a:pt x="4790" y="975"/>
                </a:lnTo>
                <a:lnTo>
                  <a:pt x="4787" y="974"/>
                </a:lnTo>
                <a:lnTo>
                  <a:pt x="4785" y="972"/>
                </a:lnTo>
                <a:lnTo>
                  <a:pt x="4782" y="969"/>
                </a:lnTo>
                <a:lnTo>
                  <a:pt x="4781" y="967"/>
                </a:lnTo>
                <a:lnTo>
                  <a:pt x="4780" y="964"/>
                </a:lnTo>
                <a:lnTo>
                  <a:pt x="4779" y="961"/>
                </a:lnTo>
                <a:lnTo>
                  <a:pt x="4780" y="958"/>
                </a:lnTo>
                <a:lnTo>
                  <a:pt x="4780" y="954"/>
                </a:lnTo>
                <a:lnTo>
                  <a:pt x="4782" y="951"/>
                </a:lnTo>
                <a:lnTo>
                  <a:pt x="4785" y="948"/>
                </a:lnTo>
                <a:lnTo>
                  <a:pt x="4787" y="946"/>
                </a:lnTo>
                <a:close/>
                <a:moveTo>
                  <a:pt x="4645" y="923"/>
                </a:moveTo>
                <a:lnTo>
                  <a:pt x="4648" y="922"/>
                </a:lnTo>
                <a:lnTo>
                  <a:pt x="4650" y="921"/>
                </a:lnTo>
                <a:lnTo>
                  <a:pt x="4656" y="921"/>
                </a:lnTo>
                <a:lnTo>
                  <a:pt x="4659" y="922"/>
                </a:lnTo>
                <a:lnTo>
                  <a:pt x="4660" y="923"/>
                </a:lnTo>
                <a:lnTo>
                  <a:pt x="4662" y="923"/>
                </a:lnTo>
                <a:lnTo>
                  <a:pt x="4664" y="925"/>
                </a:lnTo>
                <a:lnTo>
                  <a:pt x="4666" y="928"/>
                </a:lnTo>
                <a:lnTo>
                  <a:pt x="4668" y="930"/>
                </a:lnTo>
                <a:lnTo>
                  <a:pt x="4669" y="933"/>
                </a:lnTo>
                <a:lnTo>
                  <a:pt x="4669" y="936"/>
                </a:lnTo>
                <a:lnTo>
                  <a:pt x="4669" y="940"/>
                </a:lnTo>
                <a:lnTo>
                  <a:pt x="4668" y="943"/>
                </a:lnTo>
                <a:lnTo>
                  <a:pt x="4666" y="946"/>
                </a:lnTo>
                <a:lnTo>
                  <a:pt x="4664" y="949"/>
                </a:lnTo>
                <a:lnTo>
                  <a:pt x="4661" y="951"/>
                </a:lnTo>
                <a:lnTo>
                  <a:pt x="4659" y="952"/>
                </a:lnTo>
                <a:lnTo>
                  <a:pt x="4656" y="953"/>
                </a:lnTo>
                <a:lnTo>
                  <a:pt x="4650" y="953"/>
                </a:lnTo>
                <a:lnTo>
                  <a:pt x="4647" y="952"/>
                </a:lnTo>
                <a:lnTo>
                  <a:pt x="4646" y="951"/>
                </a:lnTo>
                <a:lnTo>
                  <a:pt x="4644" y="950"/>
                </a:lnTo>
                <a:lnTo>
                  <a:pt x="4642" y="948"/>
                </a:lnTo>
                <a:lnTo>
                  <a:pt x="4640" y="946"/>
                </a:lnTo>
                <a:lnTo>
                  <a:pt x="4638" y="943"/>
                </a:lnTo>
                <a:lnTo>
                  <a:pt x="4637" y="940"/>
                </a:lnTo>
                <a:lnTo>
                  <a:pt x="4637" y="937"/>
                </a:lnTo>
                <a:lnTo>
                  <a:pt x="4637" y="934"/>
                </a:lnTo>
                <a:lnTo>
                  <a:pt x="4638" y="931"/>
                </a:lnTo>
                <a:lnTo>
                  <a:pt x="4640" y="928"/>
                </a:lnTo>
                <a:lnTo>
                  <a:pt x="4642" y="925"/>
                </a:lnTo>
                <a:lnTo>
                  <a:pt x="4645" y="923"/>
                </a:lnTo>
                <a:close/>
                <a:moveTo>
                  <a:pt x="4503" y="896"/>
                </a:moveTo>
                <a:lnTo>
                  <a:pt x="4506" y="895"/>
                </a:lnTo>
                <a:lnTo>
                  <a:pt x="4509" y="894"/>
                </a:lnTo>
                <a:lnTo>
                  <a:pt x="4515" y="894"/>
                </a:lnTo>
                <a:lnTo>
                  <a:pt x="4518" y="895"/>
                </a:lnTo>
                <a:lnTo>
                  <a:pt x="4521" y="897"/>
                </a:lnTo>
                <a:lnTo>
                  <a:pt x="4523" y="899"/>
                </a:lnTo>
                <a:lnTo>
                  <a:pt x="4525" y="901"/>
                </a:lnTo>
                <a:lnTo>
                  <a:pt x="4526" y="904"/>
                </a:lnTo>
                <a:lnTo>
                  <a:pt x="4527" y="907"/>
                </a:lnTo>
                <a:lnTo>
                  <a:pt x="4527" y="910"/>
                </a:lnTo>
                <a:lnTo>
                  <a:pt x="4527" y="913"/>
                </a:lnTo>
                <a:lnTo>
                  <a:pt x="4526" y="916"/>
                </a:lnTo>
                <a:lnTo>
                  <a:pt x="4524" y="919"/>
                </a:lnTo>
                <a:lnTo>
                  <a:pt x="4522" y="922"/>
                </a:lnTo>
                <a:lnTo>
                  <a:pt x="4519" y="924"/>
                </a:lnTo>
                <a:lnTo>
                  <a:pt x="4517" y="925"/>
                </a:lnTo>
                <a:lnTo>
                  <a:pt x="4514" y="926"/>
                </a:lnTo>
                <a:lnTo>
                  <a:pt x="4508" y="926"/>
                </a:lnTo>
                <a:lnTo>
                  <a:pt x="4505" y="925"/>
                </a:lnTo>
                <a:lnTo>
                  <a:pt x="4502" y="923"/>
                </a:lnTo>
                <a:lnTo>
                  <a:pt x="4500" y="921"/>
                </a:lnTo>
                <a:lnTo>
                  <a:pt x="4498" y="919"/>
                </a:lnTo>
                <a:lnTo>
                  <a:pt x="4497" y="916"/>
                </a:lnTo>
                <a:lnTo>
                  <a:pt x="4496" y="913"/>
                </a:lnTo>
                <a:lnTo>
                  <a:pt x="4495" y="910"/>
                </a:lnTo>
                <a:lnTo>
                  <a:pt x="4496" y="907"/>
                </a:lnTo>
                <a:lnTo>
                  <a:pt x="4497" y="903"/>
                </a:lnTo>
                <a:lnTo>
                  <a:pt x="4499" y="900"/>
                </a:lnTo>
                <a:lnTo>
                  <a:pt x="4501" y="898"/>
                </a:lnTo>
                <a:lnTo>
                  <a:pt x="4503" y="896"/>
                </a:lnTo>
                <a:close/>
                <a:moveTo>
                  <a:pt x="4363" y="865"/>
                </a:moveTo>
                <a:lnTo>
                  <a:pt x="4365" y="864"/>
                </a:lnTo>
                <a:lnTo>
                  <a:pt x="4368" y="863"/>
                </a:lnTo>
                <a:lnTo>
                  <a:pt x="4371" y="863"/>
                </a:lnTo>
                <a:lnTo>
                  <a:pt x="4374" y="863"/>
                </a:lnTo>
                <a:lnTo>
                  <a:pt x="4377" y="864"/>
                </a:lnTo>
                <a:lnTo>
                  <a:pt x="4380" y="866"/>
                </a:lnTo>
                <a:lnTo>
                  <a:pt x="4382" y="868"/>
                </a:lnTo>
                <a:lnTo>
                  <a:pt x="4384" y="870"/>
                </a:lnTo>
                <a:lnTo>
                  <a:pt x="4386" y="873"/>
                </a:lnTo>
                <a:lnTo>
                  <a:pt x="4386" y="876"/>
                </a:lnTo>
                <a:lnTo>
                  <a:pt x="4387" y="879"/>
                </a:lnTo>
                <a:lnTo>
                  <a:pt x="4386" y="882"/>
                </a:lnTo>
                <a:lnTo>
                  <a:pt x="4385" y="886"/>
                </a:lnTo>
                <a:lnTo>
                  <a:pt x="4383" y="888"/>
                </a:lnTo>
                <a:lnTo>
                  <a:pt x="4381" y="891"/>
                </a:lnTo>
                <a:lnTo>
                  <a:pt x="4379" y="893"/>
                </a:lnTo>
                <a:lnTo>
                  <a:pt x="4376" y="894"/>
                </a:lnTo>
                <a:lnTo>
                  <a:pt x="4373" y="895"/>
                </a:lnTo>
                <a:lnTo>
                  <a:pt x="4370" y="895"/>
                </a:lnTo>
                <a:lnTo>
                  <a:pt x="4367" y="894"/>
                </a:lnTo>
                <a:lnTo>
                  <a:pt x="4364" y="893"/>
                </a:lnTo>
                <a:lnTo>
                  <a:pt x="4361" y="892"/>
                </a:lnTo>
                <a:lnTo>
                  <a:pt x="4359" y="890"/>
                </a:lnTo>
                <a:lnTo>
                  <a:pt x="4357" y="887"/>
                </a:lnTo>
                <a:lnTo>
                  <a:pt x="4356" y="884"/>
                </a:lnTo>
                <a:lnTo>
                  <a:pt x="4355" y="881"/>
                </a:lnTo>
                <a:lnTo>
                  <a:pt x="4355" y="878"/>
                </a:lnTo>
                <a:lnTo>
                  <a:pt x="4355" y="875"/>
                </a:lnTo>
                <a:lnTo>
                  <a:pt x="4356" y="872"/>
                </a:lnTo>
                <a:lnTo>
                  <a:pt x="4358" y="869"/>
                </a:lnTo>
                <a:lnTo>
                  <a:pt x="4360" y="867"/>
                </a:lnTo>
                <a:lnTo>
                  <a:pt x="4363" y="865"/>
                </a:lnTo>
                <a:close/>
                <a:moveTo>
                  <a:pt x="4223" y="829"/>
                </a:moveTo>
                <a:lnTo>
                  <a:pt x="4226" y="828"/>
                </a:lnTo>
                <a:lnTo>
                  <a:pt x="4229" y="827"/>
                </a:lnTo>
                <a:lnTo>
                  <a:pt x="4232" y="827"/>
                </a:lnTo>
                <a:lnTo>
                  <a:pt x="4235" y="828"/>
                </a:lnTo>
                <a:lnTo>
                  <a:pt x="4238" y="829"/>
                </a:lnTo>
                <a:lnTo>
                  <a:pt x="4241" y="831"/>
                </a:lnTo>
                <a:lnTo>
                  <a:pt x="4243" y="833"/>
                </a:lnTo>
                <a:lnTo>
                  <a:pt x="4245" y="835"/>
                </a:lnTo>
                <a:lnTo>
                  <a:pt x="4246" y="838"/>
                </a:lnTo>
                <a:lnTo>
                  <a:pt x="4247" y="841"/>
                </a:lnTo>
                <a:lnTo>
                  <a:pt x="4247" y="844"/>
                </a:lnTo>
                <a:lnTo>
                  <a:pt x="4246" y="847"/>
                </a:lnTo>
                <a:lnTo>
                  <a:pt x="4245" y="850"/>
                </a:lnTo>
                <a:lnTo>
                  <a:pt x="4244" y="853"/>
                </a:lnTo>
                <a:lnTo>
                  <a:pt x="4241" y="855"/>
                </a:lnTo>
                <a:lnTo>
                  <a:pt x="4239" y="857"/>
                </a:lnTo>
                <a:lnTo>
                  <a:pt x="4236" y="858"/>
                </a:lnTo>
                <a:lnTo>
                  <a:pt x="4233" y="859"/>
                </a:lnTo>
                <a:lnTo>
                  <a:pt x="4230" y="859"/>
                </a:lnTo>
                <a:lnTo>
                  <a:pt x="4227" y="859"/>
                </a:lnTo>
                <a:lnTo>
                  <a:pt x="4224" y="857"/>
                </a:lnTo>
                <a:lnTo>
                  <a:pt x="4221" y="856"/>
                </a:lnTo>
                <a:lnTo>
                  <a:pt x="4219" y="854"/>
                </a:lnTo>
                <a:lnTo>
                  <a:pt x="4217" y="851"/>
                </a:lnTo>
                <a:lnTo>
                  <a:pt x="4216" y="848"/>
                </a:lnTo>
                <a:lnTo>
                  <a:pt x="4215" y="845"/>
                </a:lnTo>
                <a:lnTo>
                  <a:pt x="4215" y="842"/>
                </a:lnTo>
                <a:lnTo>
                  <a:pt x="4216" y="839"/>
                </a:lnTo>
                <a:lnTo>
                  <a:pt x="4217" y="836"/>
                </a:lnTo>
                <a:lnTo>
                  <a:pt x="4218" y="833"/>
                </a:lnTo>
                <a:lnTo>
                  <a:pt x="4221" y="831"/>
                </a:lnTo>
                <a:lnTo>
                  <a:pt x="4223" y="829"/>
                </a:lnTo>
                <a:close/>
                <a:moveTo>
                  <a:pt x="4085" y="788"/>
                </a:moveTo>
                <a:lnTo>
                  <a:pt x="4088" y="787"/>
                </a:lnTo>
                <a:lnTo>
                  <a:pt x="4091" y="786"/>
                </a:lnTo>
                <a:lnTo>
                  <a:pt x="4094" y="786"/>
                </a:lnTo>
                <a:lnTo>
                  <a:pt x="4098" y="787"/>
                </a:lnTo>
                <a:lnTo>
                  <a:pt x="4101" y="788"/>
                </a:lnTo>
                <a:lnTo>
                  <a:pt x="4103" y="790"/>
                </a:lnTo>
                <a:lnTo>
                  <a:pt x="4105" y="792"/>
                </a:lnTo>
                <a:lnTo>
                  <a:pt x="4107" y="795"/>
                </a:lnTo>
                <a:lnTo>
                  <a:pt x="4108" y="798"/>
                </a:lnTo>
                <a:lnTo>
                  <a:pt x="4109" y="801"/>
                </a:lnTo>
                <a:lnTo>
                  <a:pt x="4109" y="804"/>
                </a:lnTo>
                <a:lnTo>
                  <a:pt x="4108" y="807"/>
                </a:lnTo>
                <a:lnTo>
                  <a:pt x="4107" y="810"/>
                </a:lnTo>
                <a:lnTo>
                  <a:pt x="4105" y="812"/>
                </a:lnTo>
                <a:lnTo>
                  <a:pt x="4103" y="814"/>
                </a:lnTo>
                <a:lnTo>
                  <a:pt x="4101" y="816"/>
                </a:lnTo>
                <a:lnTo>
                  <a:pt x="4098" y="817"/>
                </a:lnTo>
                <a:lnTo>
                  <a:pt x="4095" y="818"/>
                </a:lnTo>
                <a:lnTo>
                  <a:pt x="4091" y="818"/>
                </a:lnTo>
                <a:lnTo>
                  <a:pt x="4088" y="817"/>
                </a:lnTo>
                <a:lnTo>
                  <a:pt x="4085" y="816"/>
                </a:lnTo>
                <a:lnTo>
                  <a:pt x="4082" y="814"/>
                </a:lnTo>
                <a:lnTo>
                  <a:pt x="4080" y="812"/>
                </a:lnTo>
                <a:lnTo>
                  <a:pt x="4079" y="809"/>
                </a:lnTo>
                <a:lnTo>
                  <a:pt x="4077" y="807"/>
                </a:lnTo>
                <a:lnTo>
                  <a:pt x="4077" y="804"/>
                </a:lnTo>
                <a:lnTo>
                  <a:pt x="4077" y="800"/>
                </a:lnTo>
                <a:lnTo>
                  <a:pt x="4078" y="797"/>
                </a:lnTo>
                <a:lnTo>
                  <a:pt x="4079" y="794"/>
                </a:lnTo>
                <a:lnTo>
                  <a:pt x="4080" y="792"/>
                </a:lnTo>
                <a:lnTo>
                  <a:pt x="4082" y="790"/>
                </a:lnTo>
                <a:lnTo>
                  <a:pt x="4085" y="788"/>
                </a:lnTo>
                <a:close/>
                <a:moveTo>
                  <a:pt x="3948" y="741"/>
                </a:moveTo>
                <a:lnTo>
                  <a:pt x="3951" y="739"/>
                </a:lnTo>
                <a:lnTo>
                  <a:pt x="3954" y="739"/>
                </a:lnTo>
                <a:lnTo>
                  <a:pt x="3958" y="739"/>
                </a:lnTo>
                <a:lnTo>
                  <a:pt x="3961" y="740"/>
                </a:lnTo>
                <a:lnTo>
                  <a:pt x="3964" y="741"/>
                </a:lnTo>
                <a:lnTo>
                  <a:pt x="3967" y="743"/>
                </a:lnTo>
                <a:lnTo>
                  <a:pt x="3969" y="745"/>
                </a:lnTo>
                <a:lnTo>
                  <a:pt x="3970" y="748"/>
                </a:lnTo>
                <a:lnTo>
                  <a:pt x="3971" y="751"/>
                </a:lnTo>
                <a:lnTo>
                  <a:pt x="3972" y="754"/>
                </a:lnTo>
                <a:lnTo>
                  <a:pt x="3971" y="757"/>
                </a:lnTo>
                <a:lnTo>
                  <a:pt x="3971" y="760"/>
                </a:lnTo>
                <a:lnTo>
                  <a:pt x="3968" y="765"/>
                </a:lnTo>
                <a:lnTo>
                  <a:pt x="3964" y="769"/>
                </a:lnTo>
                <a:lnTo>
                  <a:pt x="3960" y="770"/>
                </a:lnTo>
                <a:lnTo>
                  <a:pt x="3957" y="771"/>
                </a:lnTo>
                <a:lnTo>
                  <a:pt x="3954" y="771"/>
                </a:lnTo>
                <a:lnTo>
                  <a:pt x="3950" y="770"/>
                </a:lnTo>
                <a:lnTo>
                  <a:pt x="3947" y="768"/>
                </a:lnTo>
                <a:lnTo>
                  <a:pt x="3945" y="766"/>
                </a:lnTo>
                <a:lnTo>
                  <a:pt x="3943" y="764"/>
                </a:lnTo>
                <a:lnTo>
                  <a:pt x="3941" y="761"/>
                </a:lnTo>
                <a:lnTo>
                  <a:pt x="3940" y="758"/>
                </a:lnTo>
                <a:lnTo>
                  <a:pt x="3940" y="755"/>
                </a:lnTo>
                <a:lnTo>
                  <a:pt x="3940" y="752"/>
                </a:lnTo>
                <a:lnTo>
                  <a:pt x="3941" y="749"/>
                </a:lnTo>
                <a:lnTo>
                  <a:pt x="3944" y="744"/>
                </a:lnTo>
                <a:lnTo>
                  <a:pt x="3948" y="741"/>
                </a:lnTo>
                <a:close/>
                <a:moveTo>
                  <a:pt x="3815" y="685"/>
                </a:moveTo>
                <a:lnTo>
                  <a:pt x="3816" y="684"/>
                </a:lnTo>
                <a:lnTo>
                  <a:pt x="3818" y="684"/>
                </a:lnTo>
                <a:lnTo>
                  <a:pt x="3822" y="683"/>
                </a:lnTo>
                <a:lnTo>
                  <a:pt x="3826" y="683"/>
                </a:lnTo>
                <a:lnTo>
                  <a:pt x="3829" y="685"/>
                </a:lnTo>
                <a:lnTo>
                  <a:pt x="3832" y="686"/>
                </a:lnTo>
                <a:lnTo>
                  <a:pt x="3834" y="688"/>
                </a:lnTo>
                <a:lnTo>
                  <a:pt x="3836" y="691"/>
                </a:lnTo>
                <a:lnTo>
                  <a:pt x="3838" y="694"/>
                </a:lnTo>
                <a:lnTo>
                  <a:pt x="3838" y="697"/>
                </a:lnTo>
                <a:lnTo>
                  <a:pt x="3839" y="700"/>
                </a:lnTo>
                <a:lnTo>
                  <a:pt x="3838" y="703"/>
                </a:lnTo>
                <a:lnTo>
                  <a:pt x="3837" y="706"/>
                </a:lnTo>
                <a:lnTo>
                  <a:pt x="3834" y="710"/>
                </a:lnTo>
                <a:lnTo>
                  <a:pt x="3833" y="712"/>
                </a:lnTo>
                <a:lnTo>
                  <a:pt x="3831" y="713"/>
                </a:lnTo>
                <a:lnTo>
                  <a:pt x="3829" y="714"/>
                </a:lnTo>
                <a:lnTo>
                  <a:pt x="3827" y="715"/>
                </a:lnTo>
                <a:lnTo>
                  <a:pt x="3823" y="715"/>
                </a:lnTo>
                <a:lnTo>
                  <a:pt x="3820" y="715"/>
                </a:lnTo>
                <a:lnTo>
                  <a:pt x="3816" y="714"/>
                </a:lnTo>
                <a:lnTo>
                  <a:pt x="3813" y="712"/>
                </a:lnTo>
                <a:lnTo>
                  <a:pt x="3811" y="710"/>
                </a:lnTo>
                <a:lnTo>
                  <a:pt x="3809" y="707"/>
                </a:lnTo>
                <a:lnTo>
                  <a:pt x="3808" y="705"/>
                </a:lnTo>
                <a:lnTo>
                  <a:pt x="3807" y="702"/>
                </a:lnTo>
                <a:lnTo>
                  <a:pt x="3807" y="699"/>
                </a:lnTo>
                <a:lnTo>
                  <a:pt x="3807" y="696"/>
                </a:lnTo>
                <a:lnTo>
                  <a:pt x="3808" y="692"/>
                </a:lnTo>
                <a:lnTo>
                  <a:pt x="3811" y="688"/>
                </a:lnTo>
                <a:lnTo>
                  <a:pt x="3813" y="687"/>
                </a:lnTo>
                <a:lnTo>
                  <a:pt x="3815" y="685"/>
                </a:lnTo>
                <a:close/>
                <a:moveTo>
                  <a:pt x="3687" y="619"/>
                </a:moveTo>
                <a:lnTo>
                  <a:pt x="3691" y="617"/>
                </a:lnTo>
                <a:lnTo>
                  <a:pt x="3695" y="617"/>
                </a:lnTo>
                <a:lnTo>
                  <a:pt x="3699" y="617"/>
                </a:lnTo>
                <a:lnTo>
                  <a:pt x="3703" y="619"/>
                </a:lnTo>
                <a:lnTo>
                  <a:pt x="3705" y="621"/>
                </a:lnTo>
                <a:lnTo>
                  <a:pt x="3707" y="623"/>
                </a:lnTo>
                <a:lnTo>
                  <a:pt x="3709" y="626"/>
                </a:lnTo>
                <a:lnTo>
                  <a:pt x="3710" y="629"/>
                </a:lnTo>
                <a:lnTo>
                  <a:pt x="3711" y="632"/>
                </a:lnTo>
                <a:lnTo>
                  <a:pt x="3711" y="635"/>
                </a:lnTo>
                <a:lnTo>
                  <a:pt x="3710" y="638"/>
                </a:lnTo>
                <a:lnTo>
                  <a:pt x="3709" y="641"/>
                </a:lnTo>
                <a:lnTo>
                  <a:pt x="3706" y="644"/>
                </a:lnTo>
                <a:lnTo>
                  <a:pt x="3703" y="647"/>
                </a:lnTo>
                <a:lnTo>
                  <a:pt x="3699" y="648"/>
                </a:lnTo>
                <a:lnTo>
                  <a:pt x="3695" y="649"/>
                </a:lnTo>
                <a:lnTo>
                  <a:pt x="3691" y="648"/>
                </a:lnTo>
                <a:lnTo>
                  <a:pt x="3687" y="647"/>
                </a:lnTo>
                <a:lnTo>
                  <a:pt x="3684" y="645"/>
                </a:lnTo>
                <a:lnTo>
                  <a:pt x="3682" y="643"/>
                </a:lnTo>
                <a:lnTo>
                  <a:pt x="3680" y="640"/>
                </a:lnTo>
                <a:lnTo>
                  <a:pt x="3679" y="637"/>
                </a:lnTo>
                <a:lnTo>
                  <a:pt x="3679" y="634"/>
                </a:lnTo>
                <a:lnTo>
                  <a:pt x="3679" y="631"/>
                </a:lnTo>
                <a:lnTo>
                  <a:pt x="3680" y="628"/>
                </a:lnTo>
                <a:lnTo>
                  <a:pt x="3681" y="625"/>
                </a:lnTo>
                <a:lnTo>
                  <a:pt x="3683" y="621"/>
                </a:lnTo>
                <a:lnTo>
                  <a:pt x="3687" y="619"/>
                </a:lnTo>
                <a:close/>
                <a:moveTo>
                  <a:pt x="3561" y="547"/>
                </a:moveTo>
                <a:lnTo>
                  <a:pt x="3565" y="545"/>
                </a:lnTo>
                <a:lnTo>
                  <a:pt x="3569" y="545"/>
                </a:lnTo>
                <a:lnTo>
                  <a:pt x="3573" y="545"/>
                </a:lnTo>
                <a:lnTo>
                  <a:pt x="3577" y="547"/>
                </a:lnTo>
                <a:lnTo>
                  <a:pt x="3580" y="549"/>
                </a:lnTo>
                <a:lnTo>
                  <a:pt x="3582" y="551"/>
                </a:lnTo>
                <a:lnTo>
                  <a:pt x="3584" y="554"/>
                </a:lnTo>
                <a:lnTo>
                  <a:pt x="3585" y="556"/>
                </a:lnTo>
                <a:lnTo>
                  <a:pt x="3585" y="560"/>
                </a:lnTo>
                <a:lnTo>
                  <a:pt x="3585" y="563"/>
                </a:lnTo>
                <a:lnTo>
                  <a:pt x="3585" y="566"/>
                </a:lnTo>
                <a:lnTo>
                  <a:pt x="3583" y="569"/>
                </a:lnTo>
                <a:lnTo>
                  <a:pt x="3581" y="572"/>
                </a:lnTo>
                <a:lnTo>
                  <a:pt x="3578" y="575"/>
                </a:lnTo>
                <a:lnTo>
                  <a:pt x="3574" y="576"/>
                </a:lnTo>
                <a:lnTo>
                  <a:pt x="3570" y="577"/>
                </a:lnTo>
                <a:lnTo>
                  <a:pt x="3566" y="576"/>
                </a:lnTo>
                <a:lnTo>
                  <a:pt x="3562" y="575"/>
                </a:lnTo>
                <a:lnTo>
                  <a:pt x="3559" y="573"/>
                </a:lnTo>
                <a:lnTo>
                  <a:pt x="3557" y="571"/>
                </a:lnTo>
                <a:lnTo>
                  <a:pt x="3555" y="568"/>
                </a:lnTo>
                <a:lnTo>
                  <a:pt x="3554" y="565"/>
                </a:lnTo>
                <a:lnTo>
                  <a:pt x="3554" y="562"/>
                </a:lnTo>
                <a:lnTo>
                  <a:pt x="3554" y="559"/>
                </a:lnTo>
                <a:lnTo>
                  <a:pt x="3554" y="556"/>
                </a:lnTo>
                <a:lnTo>
                  <a:pt x="3556" y="553"/>
                </a:lnTo>
                <a:lnTo>
                  <a:pt x="3558" y="550"/>
                </a:lnTo>
                <a:lnTo>
                  <a:pt x="3561" y="547"/>
                </a:lnTo>
                <a:close/>
                <a:moveTo>
                  <a:pt x="3436" y="477"/>
                </a:moveTo>
                <a:lnTo>
                  <a:pt x="3439" y="475"/>
                </a:lnTo>
                <a:lnTo>
                  <a:pt x="3443" y="475"/>
                </a:lnTo>
                <a:lnTo>
                  <a:pt x="3445" y="475"/>
                </a:lnTo>
                <a:lnTo>
                  <a:pt x="3447" y="475"/>
                </a:lnTo>
                <a:lnTo>
                  <a:pt x="3451" y="477"/>
                </a:lnTo>
                <a:lnTo>
                  <a:pt x="3454" y="479"/>
                </a:lnTo>
                <a:lnTo>
                  <a:pt x="3456" y="481"/>
                </a:lnTo>
                <a:lnTo>
                  <a:pt x="3458" y="483"/>
                </a:lnTo>
                <a:lnTo>
                  <a:pt x="3459" y="486"/>
                </a:lnTo>
                <a:lnTo>
                  <a:pt x="3460" y="489"/>
                </a:lnTo>
                <a:lnTo>
                  <a:pt x="3460" y="492"/>
                </a:lnTo>
                <a:lnTo>
                  <a:pt x="3459" y="495"/>
                </a:lnTo>
                <a:lnTo>
                  <a:pt x="3458" y="498"/>
                </a:lnTo>
                <a:lnTo>
                  <a:pt x="3457" y="500"/>
                </a:lnTo>
                <a:lnTo>
                  <a:pt x="3455" y="502"/>
                </a:lnTo>
                <a:lnTo>
                  <a:pt x="3452" y="505"/>
                </a:lnTo>
                <a:lnTo>
                  <a:pt x="3448" y="506"/>
                </a:lnTo>
                <a:lnTo>
                  <a:pt x="3444" y="507"/>
                </a:lnTo>
                <a:lnTo>
                  <a:pt x="3442" y="507"/>
                </a:lnTo>
                <a:lnTo>
                  <a:pt x="3440" y="506"/>
                </a:lnTo>
                <a:lnTo>
                  <a:pt x="3436" y="505"/>
                </a:lnTo>
                <a:lnTo>
                  <a:pt x="3433" y="503"/>
                </a:lnTo>
                <a:lnTo>
                  <a:pt x="3431" y="501"/>
                </a:lnTo>
                <a:lnTo>
                  <a:pt x="3429" y="498"/>
                </a:lnTo>
                <a:lnTo>
                  <a:pt x="3428" y="495"/>
                </a:lnTo>
                <a:lnTo>
                  <a:pt x="3428" y="492"/>
                </a:lnTo>
                <a:lnTo>
                  <a:pt x="3428" y="489"/>
                </a:lnTo>
                <a:lnTo>
                  <a:pt x="3428" y="486"/>
                </a:lnTo>
                <a:lnTo>
                  <a:pt x="3430" y="483"/>
                </a:lnTo>
                <a:lnTo>
                  <a:pt x="3431" y="481"/>
                </a:lnTo>
                <a:lnTo>
                  <a:pt x="3432" y="479"/>
                </a:lnTo>
                <a:lnTo>
                  <a:pt x="3436" y="477"/>
                </a:lnTo>
                <a:close/>
                <a:moveTo>
                  <a:pt x="3309" y="408"/>
                </a:moveTo>
                <a:lnTo>
                  <a:pt x="3313" y="407"/>
                </a:lnTo>
                <a:lnTo>
                  <a:pt x="3317" y="406"/>
                </a:lnTo>
                <a:lnTo>
                  <a:pt x="3319" y="406"/>
                </a:lnTo>
                <a:lnTo>
                  <a:pt x="3321" y="406"/>
                </a:lnTo>
                <a:lnTo>
                  <a:pt x="3325" y="408"/>
                </a:lnTo>
                <a:lnTo>
                  <a:pt x="3327" y="410"/>
                </a:lnTo>
                <a:lnTo>
                  <a:pt x="3330" y="412"/>
                </a:lnTo>
                <a:lnTo>
                  <a:pt x="3331" y="415"/>
                </a:lnTo>
                <a:lnTo>
                  <a:pt x="3332" y="417"/>
                </a:lnTo>
                <a:lnTo>
                  <a:pt x="3333" y="423"/>
                </a:lnTo>
                <a:lnTo>
                  <a:pt x="3333" y="427"/>
                </a:lnTo>
                <a:lnTo>
                  <a:pt x="3331" y="430"/>
                </a:lnTo>
                <a:lnTo>
                  <a:pt x="3329" y="433"/>
                </a:lnTo>
                <a:lnTo>
                  <a:pt x="3325" y="436"/>
                </a:lnTo>
                <a:lnTo>
                  <a:pt x="3322" y="437"/>
                </a:lnTo>
                <a:lnTo>
                  <a:pt x="3318" y="438"/>
                </a:lnTo>
                <a:lnTo>
                  <a:pt x="3316" y="438"/>
                </a:lnTo>
                <a:lnTo>
                  <a:pt x="3314" y="438"/>
                </a:lnTo>
                <a:lnTo>
                  <a:pt x="3310" y="436"/>
                </a:lnTo>
                <a:lnTo>
                  <a:pt x="3307" y="434"/>
                </a:lnTo>
                <a:lnTo>
                  <a:pt x="3305" y="432"/>
                </a:lnTo>
                <a:lnTo>
                  <a:pt x="3303" y="429"/>
                </a:lnTo>
                <a:lnTo>
                  <a:pt x="3302" y="427"/>
                </a:lnTo>
                <a:lnTo>
                  <a:pt x="3301" y="421"/>
                </a:lnTo>
                <a:lnTo>
                  <a:pt x="3302" y="417"/>
                </a:lnTo>
                <a:lnTo>
                  <a:pt x="3303" y="414"/>
                </a:lnTo>
                <a:lnTo>
                  <a:pt x="3306" y="411"/>
                </a:lnTo>
                <a:lnTo>
                  <a:pt x="3309" y="408"/>
                </a:lnTo>
                <a:close/>
                <a:moveTo>
                  <a:pt x="8" y="2264"/>
                </a:moveTo>
                <a:lnTo>
                  <a:pt x="11" y="2262"/>
                </a:lnTo>
                <a:lnTo>
                  <a:pt x="15" y="2262"/>
                </a:lnTo>
                <a:lnTo>
                  <a:pt x="19" y="2262"/>
                </a:lnTo>
                <a:lnTo>
                  <a:pt x="22" y="2263"/>
                </a:lnTo>
                <a:lnTo>
                  <a:pt x="25" y="2264"/>
                </a:lnTo>
                <a:lnTo>
                  <a:pt x="28" y="2266"/>
                </a:lnTo>
                <a:lnTo>
                  <a:pt x="30" y="2269"/>
                </a:lnTo>
                <a:lnTo>
                  <a:pt x="31" y="2272"/>
                </a:lnTo>
                <a:lnTo>
                  <a:pt x="32" y="2275"/>
                </a:lnTo>
                <a:lnTo>
                  <a:pt x="32" y="2278"/>
                </a:lnTo>
                <a:lnTo>
                  <a:pt x="32" y="2281"/>
                </a:lnTo>
                <a:lnTo>
                  <a:pt x="31" y="2284"/>
                </a:lnTo>
                <a:lnTo>
                  <a:pt x="28" y="2288"/>
                </a:lnTo>
                <a:lnTo>
                  <a:pt x="24" y="2291"/>
                </a:lnTo>
                <a:lnTo>
                  <a:pt x="21" y="2293"/>
                </a:lnTo>
                <a:lnTo>
                  <a:pt x="17" y="2293"/>
                </a:lnTo>
                <a:lnTo>
                  <a:pt x="14" y="2293"/>
                </a:lnTo>
                <a:lnTo>
                  <a:pt x="10" y="2292"/>
                </a:lnTo>
                <a:lnTo>
                  <a:pt x="7" y="2291"/>
                </a:lnTo>
                <a:lnTo>
                  <a:pt x="5" y="2289"/>
                </a:lnTo>
                <a:lnTo>
                  <a:pt x="3" y="2286"/>
                </a:lnTo>
                <a:lnTo>
                  <a:pt x="1" y="2283"/>
                </a:lnTo>
                <a:lnTo>
                  <a:pt x="0" y="2280"/>
                </a:lnTo>
                <a:lnTo>
                  <a:pt x="0" y="2277"/>
                </a:lnTo>
                <a:lnTo>
                  <a:pt x="0" y="2274"/>
                </a:lnTo>
                <a:lnTo>
                  <a:pt x="1" y="2271"/>
                </a:lnTo>
                <a:lnTo>
                  <a:pt x="4" y="2267"/>
                </a:lnTo>
                <a:lnTo>
                  <a:pt x="8" y="2264"/>
                </a:lnTo>
                <a:close/>
                <a:moveTo>
                  <a:pt x="3182" y="341"/>
                </a:moveTo>
                <a:lnTo>
                  <a:pt x="3185" y="340"/>
                </a:lnTo>
                <a:lnTo>
                  <a:pt x="3189" y="339"/>
                </a:lnTo>
                <a:lnTo>
                  <a:pt x="3193" y="339"/>
                </a:lnTo>
                <a:lnTo>
                  <a:pt x="3197" y="341"/>
                </a:lnTo>
                <a:lnTo>
                  <a:pt x="3200" y="343"/>
                </a:lnTo>
                <a:lnTo>
                  <a:pt x="3202" y="345"/>
                </a:lnTo>
                <a:lnTo>
                  <a:pt x="3204" y="347"/>
                </a:lnTo>
                <a:lnTo>
                  <a:pt x="3205" y="350"/>
                </a:lnTo>
                <a:lnTo>
                  <a:pt x="3206" y="353"/>
                </a:lnTo>
                <a:lnTo>
                  <a:pt x="3206" y="356"/>
                </a:lnTo>
                <a:lnTo>
                  <a:pt x="3205" y="359"/>
                </a:lnTo>
                <a:lnTo>
                  <a:pt x="3204" y="362"/>
                </a:lnTo>
                <a:lnTo>
                  <a:pt x="3203" y="364"/>
                </a:lnTo>
                <a:lnTo>
                  <a:pt x="3201" y="366"/>
                </a:lnTo>
                <a:lnTo>
                  <a:pt x="3198" y="369"/>
                </a:lnTo>
                <a:lnTo>
                  <a:pt x="3194" y="370"/>
                </a:lnTo>
                <a:lnTo>
                  <a:pt x="3190" y="371"/>
                </a:lnTo>
                <a:lnTo>
                  <a:pt x="3186" y="371"/>
                </a:lnTo>
                <a:lnTo>
                  <a:pt x="3182" y="369"/>
                </a:lnTo>
                <a:lnTo>
                  <a:pt x="3180" y="368"/>
                </a:lnTo>
                <a:lnTo>
                  <a:pt x="3177" y="365"/>
                </a:lnTo>
                <a:lnTo>
                  <a:pt x="3176" y="363"/>
                </a:lnTo>
                <a:lnTo>
                  <a:pt x="3174" y="360"/>
                </a:lnTo>
                <a:lnTo>
                  <a:pt x="3174" y="357"/>
                </a:lnTo>
                <a:lnTo>
                  <a:pt x="3174" y="354"/>
                </a:lnTo>
                <a:lnTo>
                  <a:pt x="3174" y="351"/>
                </a:lnTo>
                <a:lnTo>
                  <a:pt x="3175" y="348"/>
                </a:lnTo>
                <a:lnTo>
                  <a:pt x="3177" y="346"/>
                </a:lnTo>
                <a:lnTo>
                  <a:pt x="3178" y="344"/>
                </a:lnTo>
                <a:lnTo>
                  <a:pt x="3182" y="341"/>
                </a:lnTo>
                <a:close/>
                <a:moveTo>
                  <a:pt x="72" y="2135"/>
                </a:moveTo>
                <a:lnTo>
                  <a:pt x="76" y="2133"/>
                </a:lnTo>
                <a:lnTo>
                  <a:pt x="80" y="2133"/>
                </a:lnTo>
                <a:lnTo>
                  <a:pt x="84" y="2133"/>
                </a:lnTo>
                <a:lnTo>
                  <a:pt x="88" y="2135"/>
                </a:lnTo>
                <a:lnTo>
                  <a:pt x="90" y="2136"/>
                </a:lnTo>
                <a:lnTo>
                  <a:pt x="92" y="2139"/>
                </a:lnTo>
                <a:lnTo>
                  <a:pt x="94" y="2141"/>
                </a:lnTo>
                <a:lnTo>
                  <a:pt x="95" y="2144"/>
                </a:lnTo>
                <a:lnTo>
                  <a:pt x="96" y="2147"/>
                </a:lnTo>
                <a:lnTo>
                  <a:pt x="96" y="2150"/>
                </a:lnTo>
                <a:lnTo>
                  <a:pt x="95" y="2153"/>
                </a:lnTo>
                <a:lnTo>
                  <a:pt x="94" y="2156"/>
                </a:lnTo>
                <a:lnTo>
                  <a:pt x="91" y="2160"/>
                </a:lnTo>
                <a:lnTo>
                  <a:pt x="88" y="2162"/>
                </a:lnTo>
                <a:lnTo>
                  <a:pt x="84" y="2164"/>
                </a:lnTo>
                <a:lnTo>
                  <a:pt x="80" y="2165"/>
                </a:lnTo>
                <a:lnTo>
                  <a:pt x="76" y="2164"/>
                </a:lnTo>
                <a:lnTo>
                  <a:pt x="72" y="2162"/>
                </a:lnTo>
                <a:lnTo>
                  <a:pt x="69" y="2161"/>
                </a:lnTo>
                <a:lnTo>
                  <a:pt x="67" y="2158"/>
                </a:lnTo>
                <a:lnTo>
                  <a:pt x="66" y="2156"/>
                </a:lnTo>
                <a:lnTo>
                  <a:pt x="64" y="2153"/>
                </a:lnTo>
                <a:lnTo>
                  <a:pt x="64" y="2150"/>
                </a:lnTo>
                <a:lnTo>
                  <a:pt x="64" y="2147"/>
                </a:lnTo>
                <a:lnTo>
                  <a:pt x="65" y="2144"/>
                </a:lnTo>
                <a:lnTo>
                  <a:pt x="66" y="2141"/>
                </a:lnTo>
                <a:lnTo>
                  <a:pt x="68" y="2137"/>
                </a:lnTo>
                <a:lnTo>
                  <a:pt x="72" y="2135"/>
                </a:lnTo>
                <a:close/>
                <a:moveTo>
                  <a:pt x="149" y="2013"/>
                </a:moveTo>
                <a:lnTo>
                  <a:pt x="153" y="2012"/>
                </a:lnTo>
                <a:lnTo>
                  <a:pt x="157" y="2011"/>
                </a:lnTo>
                <a:lnTo>
                  <a:pt x="162" y="2012"/>
                </a:lnTo>
                <a:lnTo>
                  <a:pt x="166" y="2014"/>
                </a:lnTo>
                <a:lnTo>
                  <a:pt x="169" y="2016"/>
                </a:lnTo>
                <a:lnTo>
                  <a:pt x="170" y="2019"/>
                </a:lnTo>
                <a:lnTo>
                  <a:pt x="172" y="2022"/>
                </a:lnTo>
                <a:lnTo>
                  <a:pt x="173" y="2024"/>
                </a:lnTo>
                <a:lnTo>
                  <a:pt x="173" y="2028"/>
                </a:lnTo>
                <a:lnTo>
                  <a:pt x="172" y="2031"/>
                </a:lnTo>
                <a:lnTo>
                  <a:pt x="172" y="2034"/>
                </a:lnTo>
                <a:lnTo>
                  <a:pt x="170" y="2036"/>
                </a:lnTo>
                <a:lnTo>
                  <a:pt x="168" y="2039"/>
                </a:lnTo>
                <a:lnTo>
                  <a:pt x="165" y="2041"/>
                </a:lnTo>
                <a:lnTo>
                  <a:pt x="161" y="2043"/>
                </a:lnTo>
                <a:lnTo>
                  <a:pt x="156" y="2043"/>
                </a:lnTo>
                <a:lnTo>
                  <a:pt x="152" y="2042"/>
                </a:lnTo>
                <a:lnTo>
                  <a:pt x="148" y="2040"/>
                </a:lnTo>
                <a:lnTo>
                  <a:pt x="145" y="2038"/>
                </a:lnTo>
                <a:lnTo>
                  <a:pt x="143" y="2036"/>
                </a:lnTo>
                <a:lnTo>
                  <a:pt x="142" y="2033"/>
                </a:lnTo>
                <a:lnTo>
                  <a:pt x="141" y="2030"/>
                </a:lnTo>
                <a:lnTo>
                  <a:pt x="141" y="2027"/>
                </a:lnTo>
                <a:lnTo>
                  <a:pt x="141" y="2024"/>
                </a:lnTo>
                <a:lnTo>
                  <a:pt x="142" y="2021"/>
                </a:lnTo>
                <a:lnTo>
                  <a:pt x="144" y="2018"/>
                </a:lnTo>
                <a:lnTo>
                  <a:pt x="146" y="2015"/>
                </a:lnTo>
                <a:lnTo>
                  <a:pt x="149" y="2013"/>
                </a:lnTo>
                <a:close/>
                <a:moveTo>
                  <a:pt x="3053" y="277"/>
                </a:moveTo>
                <a:lnTo>
                  <a:pt x="3055" y="276"/>
                </a:lnTo>
                <a:lnTo>
                  <a:pt x="3056" y="275"/>
                </a:lnTo>
                <a:lnTo>
                  <a:pt x="3060" y="275"/>
                </a:lnTo>
                <a:lnTo>
                  <a:pt x="3064" y="275"/>
                </a:lnTo>
                <a:lnTo>
                  <a:pt x="3068" y="276"/>
                </a:lnTo>
                <a:lnTo>
                  <a:pt x="3071" y="278"/>
                </a:lnTo>
                <a:lnTo>
                  <a:pt x="3073" y="280"/>
                </a:lnTo>
                <a:lnTo>
                  <a:pt x="3075" y="283"/>
                </a:lnTo>
                <a:lnTo>
                  <a:pt x="3076" y="285"/>
                </a:lnTo>
                <a:lnTo>
                  <a:pt x="3077" y="288"/>
                </a:lnTo>
                <a:lnTo>
                  <a:pt x="3077" y="291"/>
                </a:lnTo>
                <a:lnTo>
                  <a:pt x="3076" y="295"/>
                </a:lnTo>
                <a:lnTo>
                  <a:pt x="3075" y="298"/>
                </a:lnTo>
                <a:lnTo>
                  <a:pt x="3073" y="302"/>
                </a:lnTo>
                <a:lnTo>
                  <a:pt x="3071" y="303"/>
                </a:lnTo>
                <a:lnTo>
                  <a:pt x="3069" y="304"/>
                </a:lnTo>
                <a:lnTo>
                  <a:pt x="3067" y="305"/>
                </a:lnTo>
                <a:lnTo>
                  <a:pt x="3065" y="306"/>
                </a:lnTo>
                <a:lnTo>
                  <a:pt x="3062" y="307"/>
                </a:lnTo>
                <a:lnTo>
                  <a:pt x="3058" y="306"/>
                </a:lnTo>
                <a:lnTo>
                  <a:pt x="3054" y="305"/>
                </a:lnTo>
                <a:lnTo>
                  <a:pt x="3051" y="303"/>
                </a:lnTo>
                <a:lnTo>
                  <a:pt x="3049" y="301"/>
                </a:lnTo>
                <a:lnTo>
                  <a:pt x="3047" y="299"/>
                </a:lnTo>
                <a:lnTo>
                  <a:pt x="3046" y="296"/>
                </a:lnTo>
                <a:lnTo>
                  <a:pt x="3045" y="293"/>
                </a:lnTo>
                <a:lnTo>
                  <a:pt x="3045" y="290"/>
                </a:lnTo>
                <a:lnTo>
                  <a:pt x="3045" y="287"/>
                </a:lnTo>
                <a:lnTo>
                  <a:pt x="3047" y="284"/>
                </a:lnTo>
                <a:lnTo>
                  <a:pt x="3049" y="280"/>
                </a:lnTo>
                <a:lnTo>
                  <a:pt x="3051" y="278"/>
                </a:lnTo>
                <a:lnTo>
                  <a:pt x="3053" y="277"/>
                </a:lnTo>
                <a:close/>
                <a:moveTo>
                  <a:pt x="238" y="1901"/>
                </a:moveTo>
                <a:lnTo>
                  <a:pt x="240" y="1900"/>
                </a:lnTo>
                <a:lnTo>
                  <a:pt x="243" y="1899"/>
                </a:lnTo>
                <a:lnTo>
                  <a:pt x="245" y="1899"/>
                </a:lnTo>
                <a:lnTo>
                  <a:pt x="248" y="1899"/>
                </a:lnTo>
                <a:lnTo>
                  <a:pt x="250" y="1899"/>
                </a:lnTo>
                <a:lnTo>
                  <a:pt x="252" y="1900"/>
                </a:lnTo>
                <a:lnTo>
                  <a:pt x="255" y="1901"/>
                </a:lnTo>
                <a:lnTo>
                  <a:pt x="257" y="1902"/>
                </a:lnTo>
                <a:lnTo>
                  <a:pt x="259" y="1905"/>
                </a:lnTo>
                <a:lnTo>
                  <a:pt x="261" y="1908"/>
                </a:lnTo>
                <a:lnTo>
                  <a:pt x="262" y="1910"/>
                </a:lnTo>
                <a:lnTo>
                  <a:pt x="262" y="1913"/>
                </a:lnTo>
                <a:lnTo>
                  <a:pt x="262" y="1917"/>
                </a:lnTo>
                <a:lnTo>
                  <a:pt x="261" y="1920"/>
                </a:lnTo>
                <a:lnTo>
                  <a:pt x="260" y="1922"/>
                </a:lnTo>
                <a:lnTo>
                  <a:pt x="258" y="1925"/>
                </a:lnTo>
                <a:lnTo>
                  <a:pt x="256" y="1927"/>
                </a:lnTo>
                <a:lnTo>
                  <a:pt x="254" y="1928"/>
                </a:lnTo>
                <a:lnTo>
                  <a:pt x="252" y="1929"/>
                </a:lnTo>
                <a:lnTo>
                  <a:pt x="250" y="1930"/>
                </a:lnTo>
                <a:lnTo>
                  <a:pt x="247" y="1930"/>
                </a:lnTo>
                <a:lnTo>
                  <a:pt x="245" y="1930"/>
                </a:lnTo>
                <a:lnTo>
                  <a:pt x="242" y="1930"/>
                </a:lnTo>
                <a:lnTo>
                  <a:pt x="240" y="1929"/>
                </a:lnTo>
                <a:lnTo>
                  <a:pt x="238" y="1928"/>
                </a:lnTo>
                <a:lnTo>
                  <a:pt x="236" y="1927"/>
                </a:lnTo>
                <a:lnTo>
                  <a:pt x="233" y="1924"/>
                </a:lnTo>
                <a:lnTo>
                  <a:pt x="232" y="1921"/>
                </a:lnTo>
                <a:lnTo>
                  <a:pt x="231" y="1919"/>
                </a:lnTo>
                <a:lnTo>
                  <a:pt x="230" y="1916"/>
                </a:lnTo>
                <a:lnTo>
                  <a:pt x="230" y="1912"/>
                </a:lnTo>
                <a:lnTo>
                  <a:pt x="231" y="1909"/>
                </a:lnTo>
                <a:lnTo>
                  <a:pt x="232" y="1907"/>
                </a:lnTo>
                <a:lnTo>
                  <a:pt x="234" y="1904"/>
                </a:lnTo>
                <a:lnTo>
                  <a:pt x="236" y="1902"/>
                </a:lnTo>
                <a:lnTo>
                  <a:pt x="238" y="1901"/>
                </a:lnTo>
                <a:close/>
                <a:moveTo>
                  <a:pt x="338" y="1797"/>
                </a:moveTo>
                <a:lnTo>
                  <a:pt x="341" y="1796"/>
                </a:lnTo>
                <a:lnTo>
                  <a:pt x="343" y="1796"/>
                </a:lnTo>
                <a:lnTo>
                  <a:pt x="349" y="1796"/>
                </a:lnTo>
                <a:lnTo>
                  <a:pt x="351" y="1796"/>
                </a:lnTo>
                <a:lnTo>
                  <a:pt x="354" y="1797"/>
                </a:lnTo>
                <a:lnTo>
                  <a:pt x="358" y="1800"/>
                </a:lnTo>
                <a:lnTo>
                  <a:pt x="360" y="1803"/>
                </a:lnTo>
                <a:lnTo>
                  <a:pt x="361" y="1806"/>
                </a:lnTo>
                <a:lnTo>
                  <a:pt x="362" y="1809"/>
                </a:lnTo>
                <a:lnTo>
                  <a:pt x="362" y="1812"/>
                </a:lnTo>
                <a:lnTo>
                  <a:pt x="362" y="1815"/>
                </a:lnTo>
                <a:lnTo>
                  <a:pt x="361" y="1818"/>
                </a:lnTo>
                <a:lnTo>
                  <a:pt x="359" y="1821"/>
                </a:lnTo>
                <a:lnTo>
                  <a:pt x="357" y="1823"/>
                </a:lnTo>
                <a:lnTo>
                  <a:pt x="354" y="1825"/>
                </a:lnTo>
                <a:lnTo>
                  <a:pt x="352" y="1826"/>
                </a:lnTo>
                <a:lnTo>
                  <a:pt x="349" y="1827"/>
                </a:lnTo>
                <a:lnTo>
                  <a:pt x="344" y="1827"/>
                </a:lnTo>
                <a:lnTo>
                  <a:pt x="341" y="1827"/>
                </a:lnTo>
                <a:lnTo>
                  <a:pt x="339" y="1826"/>
                </a:lnTo>
                <a:lnTo>
                  <a:pt x="337" y="1824"/>
                </a:lnTo>
                <a:lnTo>
                  <a:pt x="335" y="1822"/>
                </a:lnTo>
                <a:lnTo>
                  <a:pt x="333" y="1820"/>
                </a:lnTo>
                <a:lnTo>
                  <a:pt x="331" y="1817"/>
                </a:lnTo>
                <a:lnTo>
                  <a:pt x="331" y="1814"/>
                </a:lnTo>
                <a:lnTo>
                  <a:pt x="330" y="1811"/>
                </a:lnTo>
                <a:lnTo>
                  <a:pt x="331" y="1808"/>
                </a:lnTo>
                <a:lnTo>
                  <a:pt x="332" y="1805"/>
                </a:lnTo>
                <a:lnTo>
                  <a:pt x="333" y="1802"/>
                </a:lnTo>
                <a:lnTo>
                  <a:pt x="335" y="1800"/>
                </a:lnTo>
                <a:lnTo>
                  <a:pt x="338" y="1797"/>
                </a:lnTo>
                <a:close/>
                <a:moveTo>
                  <a:pt x="448" y="1703"/>
                </a:moveTo>
                <a:lnTo>
                  <a:pt x="450" y="1702"/>
                </a:lnTo>
                <a:lnTo>
                  <a:pt x="453" y="1701"/>
                </a:lnTo>
                <a:lnTo>
                  <a:pt x="459" y="1701"/>
                </a:lnTo>
                <a:lnTo>
                  <a:pt x="461" y="1702"/>
                </a:lnTo>
                <a:lnTo>
                  <a:pt x="464" y="1703"/>
                </a:lnTo>
                <a:lnTo>
                  <a:pt x="466" y="1705"/>
                </a:lnTo>
                <a:lnTo>
                  <a:pt x="467" y="1706"/>
                </a:lnTo>
                <a:lnTo>
                  <a:pt x="468" y="1707"/>
                </a:lnTo>
                <a:lnTo>
                  <a:pt x="470" y="1710"/>
                </a:lnTo>
                <a:lnTo>
                  <a:pt x="471" y="1713"/>
                </a:lnTo>
                <a:lnTo>
                  <a:pt x="472" y="1716"/>
                </a:lnTo>
                <a:lnTo>
                  <a:pt x="471" y="1719"/>
                </a:lnTo>
                <a:lnTo>
                  <a:pt x="471" y="1722"/>
                </a:lnTo>
                <a:lnTo>
                  <a:pt x="470" y="1725"/>
                </a:lnTo>
                <a:lnTo>
                  <a:pt x="468" y="1727"/>
                </a:lnTo>
                <a:lnTo>
                  <a:pt x="465" y="1730"/>
                </a:lnTo>
                <a:lnTo>
                  <a:pt x="464" y="1731"/>
                </a:lnTo>
                <a:lnTo>
                  <a:pt x="461" y="1732"/>
                </a:lnTo>
                <a:lnTo>
                  <a:pt x="458" y="1733"/>
                </a:lnTo>
                <a:lnTo>
                  <a:pt x="453" y="1733"/>
                </a:lnTo>
                <a:lnTo>
                  <a:pt x="450" y="1732"/>
                </a:lnTo>
                <a:lnTo>
                  <a:pt x="447" y="1731"/>
                </a:lnTo>
                <a:lnTo>
                  <a:pt x="445" y="1729"/>
                </a:lnTo>
                <a:lnTo>
                  <a:pt x="444" y="1728"/>
                </a:lnTo>
                <a:lnTo>
                  <a:pt x="443" y="1727"/>
                </a:lnTo>
                <a:lnTo>
                  <a:pt x="441" y="1724"/>
                </a:lnTo>
                <a:lnTo>
                  <a:pt x="440" y="1721"/>
                </a:lnTo>
                <a:lnTo>
                  <a:pt x="440" y="1718"/>
                </a:lnTo>
                <a:lnTo>
                  <a:pt x="440" y="1715"/>
                </a:lnTo>
                <a:lnTo>
                  <a:pt x="440" y="1712"/>
                </a:lnTo>
                <a:lnTo>
                  <a:pt x="442" y="1709"/>
                </a:lnTo>
                <a:lnTo>
                  <a:pt x="443" y="1707"/>
                </a:lnTo>
                <a:lnTo>
                  <a:pt x="446" y="1704"/>
                </a:lnTo>
                <a:lnTo>
                  <a:pt x="448" y="1703"/>
                </a:lnTo>
                <a:close/>
                <a:moveTo>
                  <a:pt x="816" y="1477"/>
                </a:moveTo>
                <a:lnTo>
                  <a:pt x="819" y="1476"/>
                </a:lnTo>
                <a:lnTo>
                  <a:pt x="822" y="1475"/>
                </a:lnTo>
                <a:lnTo>
                  <a:pt x="825" y="1475"/>
                </a:lnTo>
                <a:lnTo>
                  <a:pt x="828" y="1476"/>
                </a:lnTo>
                <a:lnTo>
                  <a:pt x="831" y="1477"/>
                </a:lnTo>
                <a:lnTo>
                  <a:pt x="834" y="1479"/>
                </a:lnTo>
                <a:lnTo>
                  <a:pt x="836" y="1481"/>
                </a:lnTo>
                <a:lnTo>
                  <a:pt x="838" y="1483"/>
                </a:lnTo>
                <a:lnTo>
                  <a:pt x="839" y="1486"/>
                </a:lnTo>
                <a:lnTo>
                  <a:pt x="840" y="1489"/>
                </a:lnTo>
                <a:lnTo>
                  <a:pt x="840" y="1492"/>
                </a:lnTo>
                <a:lnTo>
                  <a:pt x="839" y="1495"/>
                </a:lnTo>
                <a:lnTo>
                  <a:pt x="838" y="1498"/>
                </a:lnTo>
                <a:lnTo>
                  <a:pt x="836" y="1501"/>
                </a:lnTo>
                <a:lnTo>
                  <a:pt x="834" y="1503"/>
                </a:lnTo>
                <a:lnTo>
                  <a:pt x="832" y="1505"/>
                </a:lnTo>
                <a:lnTo>
                  <a:pt x="829" y="1506"/>
                </a:lnTo>
                <a:lnTo>
                  <a:pt x="825" y="1507"/>
                </a:lnTo>
                <a:lnTo>
                  <a:pt x="822" y="1507"/>
                </a:lnTo>
                <a:lnTo>
                  <a:pt x="819" y="1506"/>
                </a:lnTo>
                <a:lnTo>
                  <a:pt x="816" y="1505"/>
                </a:lnTo>
                <a:lnTo>
                  <a:pt x="814" y="1504"/>
                </a:lnTo>
                <a:lnTo>
                  <a:pt x="811" y="1501"/>
                </a:lnTo>
                <a:lnTo>
                  <a:pt x="810" y="1499"/>
                </a:lnTo>
                <a:lnTo>
                  <a:pt x="808" y="1496"/>
                </a:lnTo>
                <a:lnTo>
                  <a:pt x="808" y="1493"/>
                </a:lnTo>
                <a:lnTo>
                  <a:pt x="808" y="1490"/>
                </a:lnTo>
                <a:lnTo>
                  <a:pt x="808" y="1487"/>
                </a:lnTo>
                <a:lnTo>
                  <a:pt x="809" y="1484"/>
                </a:lnTo>
                <a:lnTo>
                  <a:pt x="811" y="1481"/>
                </a:lnTo>
                <a:lnTo>
                  <a:pt x="813" y="1479"/>
                </a:lnTo>
                <a:lnTo>
                  <a:pt x="816" y="1477"/>
                </a:lnTo>
                <a:close/>
                <a:moveTo>
                  <a:pt x="940" y="1405"/>
                </a:moveTo>
                <a:lnTo>
                  <a:pt x="943" y="1403"/>
                </a:lnTo>
                <a:lnTo>
                  <a:pt x="946" y="1403"/>
                </a:lnTo>
                <a:lnTo>
                  <a:pt x="949" y="1402"/>
                </a:lnTo>
                <a:lnTo>
                  <a:pt x="952" y="1403"/>
                </a:lnTo>
                <a:lnTo>
                  <a:pt x="954" y="1404"/>
                </a:lnTo>
                <a:lnTo>
                  <a:pt x="957" y="1405"/>
                </a:lnTo>
                <a:lnTo>
                  <a:pt x="959" y="1407"/>
                </a:lnTo>
                <a:lnTo>
                  <a:pt x="961" y="1410"/>
                </a:lnTo>
                <a:lnTo>
                  <a:pt x="963" y="1413"/>
                </a:lnTo>
                <a:lnTo>
                  <a:pt x="964" y="1416"/>
                </a:lnTo>
                <a:lnTo>
                  <a:pt x="964" y="1419"/>
                </a:lnTo>
                <a:lnTo>
                  <a:pt x="963" y="1422"/>
                </a:lnTo>
                <a:lnTo>
                  <a:pt x="962" y="1425"/>
                </a:lnTo>
                <a:lnTo>
                  <a:pt x="961" y="1428"/>
                </a:lnTo>
                <a:lnTo>
                  <a:pt x="959" y="1430"/>
                </a:lnTo>
                <a:lnTo>
                  <a:pt x="956" y="1432"/>
                </a:lnTo>
                <a:lnTo>
                  <a:pt x="953" y="1433"/>
                </a:lnTo>
                <a:lnTo>
                  <a:pt x="950" y="1434"/>
                </a:lnTo>
                <a:lnTo>
                  <a:pt x="947" y="1434"/>
                </a:lnTo>
                <a:lnTo>
                  <a:pt x="944" y="1434"/>
                </a:lnTo>
                <a:lnTo>
                  <a:pt x="941" y="1433"/>
                </a:lnTo>
                <a:lnTo>
                  <a:pt x="939" y="1431"/>
                </a:lnTo>
                <a:lnTo>
                  <a:pt x="936" y="1429"/>
                </a:lnTo>
                <a:lnTo>
                  <a:pt x="934" y="1427"/>
                </a:lnTo>
                <a:lnTo>
                  <a:pt x="933" y="1424"/>
                </a:lnTo>
                <a:lnTo>
                  <a:pt x="932" y="1421"/>
                </a:lnTo>
                <a:lnTo>
                  <a:pt x="932" y="1418"/>
                </a:lnTo>
                <a:lnTo>
                  <a:pt x="932" y="1415"/>
                </a:lnTo>
                <a:lnTo>
                  <a:pt x="933" y="1412"/>
                </a:lnTo>
                <a:lnTo>
                  <a:pt x="935" y="1409"/>
                </a:lnTo>
                <a:lnTo>
                  <a:pt x="937" y="1407"/>
                </a:lnTo>
                <a:lnTo>
                  <a:pt x="939" y="1405"/>
                </a:lnTo>
                <a:lnTo>
                  <a:pt x="940" y="1405"/>
                </a:lnTo>
                <a:close/>
                <a:moveTo>
                  <a:pt x="564" y="1619"/>
                </a:moveTo>
                <a:lnTo>
                  <a:pt x="567" y="1618"/>
                </a:lnTo>
                <a:lnTo>
                  <a:pt x="570" y="1617"/>
                </a:lnTo>
                <a:lnTo>
                  <a:pt x="573" y="1617"/>
                </a:lnTo>
                <a:lnTo>
                  <a:pt x="576" y="1618"/>
                </a:lnTo>
                <a:lnTo>
                  <a:pt x="579" y="1619"/>
                </a:lnTo>
                <a:lnTo>
                  <a:pt x="581" y="1620"/>
                </a:lnTo>
                <a:lnTo>
                  <a:pt x="584" y="1622"/>
                </a:lnTo>
                <a:lnTo>
                  <a:pt x="586" y="1624"/>
                </a:lnTo>
                <a:lnTo>
                  <a:pt x="587" y="1627"/>
                </a:lnTo>
                <a:lnTo>
                  <a:pt x="588" y="1630"/>
                </a:lnTo>
                <a:lnTo>
                  <a:pt x="588" y="1633"/>
                </a:lnTo>
                <a:lnTo>
                  <a:pt x="588" y="1636"/>
                </a:lnTo>
                <a:lnTo>
                  <a:pt x="587" y="1639"/>
                </a:lnTo>
                <a:lnTo>
                  <a:pt x="586" y="1642"/>
                </a:lnTo>
                <a:lnTo>
                  <a:pt x="584" y="1645"/>
                </a:lnTo>
                <a:lnTo>
                  <a:pt x="581" y="1647"/>
                </a:lnTo>
                <a:lnTo>
                  <a:pt x="578" y="1648"/>
                </a:lnTo>
                <a:lnTo>
                  <a:pt x="575" y="1649"/>
                </a:lnTo>
                <a:lnTo>
                  <a:pt x="569" y="1649"/>
                </a:lnTo>
                <a:lnTo>
                  <a:pt x="566" y="1648"/>
                </a:lnTo>
                <a:lnTo>
                  <a:pt x="563" y="1646"/>
                </a:lnTo>
                <a:lnTo>
                  <a:pt x="561" y="1644"/>
                </a:lnTo>
                <a:lnTo>
                  <a:pt x="559" y="1642"/>
                </a:lnTo>
                <a:lnTo>
                  <a:pt x="558" y="1639"/>
                </a:lnTo>
                <a:lnTo>
                  <a:pt x="557" y="1636"/>
                </a:lnTo>
                <a:lnTo>
                  <a:pt x="556" y="1633"/>
                </a:lnTo>
                <a:lnTo>
                  <a:pt x="557" y="1630"/>
                </a:lnTo>
                <a:lnTo>
                  <a:pt x="558" y="1627"/>
                </a:lnTo>
                <a:lnTo>
                  <a:pt x="559" y="1624"/>
                </a:lnTo>
                <a:lnTo>
                  <a:pt x="561" y="1622"/>
                </a:lnTo>
                <a:lnTo>
                  <a:pt x="564" y="1620"/>
                </a:lnTo>
                <a:lnTo>
                  <a:pt x="564" y="1619"/>
                </a:lnTo>
                <a:close/>
                <a:moveTo>
                  <a:pt x="687" y="1545"/>
                </a:moveTo>
                <a:lnTo>
                  <a:pt x="690" y="1543"/>
                </a:lnTo>
                <a:lnTo>
                  <a:pt x="694" y="1543"/>
                </a:lnTo>
                <a:lnTo>
                  <a:pt x="697" y="1543"/>
                </a:lnTo>
                <a:lnTo>
                  <a:pt x="700" y="1543"/>
                </a:lnTo>
                <a:lnTo>
                  <a:pt x="703" y="1544"/>
                </a:lnTo>
                <a:lnTo>
                  <a:pt x="705" y="1546"/>
                </a:lnTo>
                <a:lnTo>
                  <a:pt x="708" y="1548"/>
                </a:lnTo>
                <a:lnTo>
                  <a:pt x="709" y="1551"/>
                </a:lnTo>
                <a:lnTo>
                  <a:pt x="711" y="1554"/>
                </a:lnTo>
                <a:lnTo>
                  <a:pt x="711" y="1557"/>
                </a:lnTo>
                <a:lnTo>
                  <a:pt x="711" y="1560"/>
                </a:lnTo>
                <a:lnTo>
                  <a:pt x="711" y="1563"/>
                </a:lnTo>
                <a:lnTo>
                  <a:pt x="710" y="1566"/>
                </a:lnTo>
                <a:lnTo>
                  <a:pt x="708" y="1568"/>
                </a:lnTo>
                <a:lnTo>
                  <a:pt x="706" y="1571"/>
                </a:lnTo>
                <a:lnTo>
                  <a:pt x="703" y="1572"/>
                </a:lnTo>
                <a:lnTo>
                  <a:pt x="700" y="1574"/>
                </a:lnTo>
                <a:lnTo>
                  <a:pt x="697" y="1574"/>
                </a:lnTo>
                <a:lnTo>
                  <a:pt x="694" y="1574"/>
                </a:lnTo>
                <a:lnTo>
                  <a:pt x="691" y="1574"/>
                </a:lnTo>
                <a:lnTo>
                  <a:pt x="688" y="1573"/>
                </a:lnTo>
                <a:lnTo>
                  <a:pt x="686" y="1571"/>
                </a:lnTo>
                <a:lnTo>
                  <a:pt x="683" y="1569"/>
                </a:lnTo>
                <a:lnTo>
                  <a:pt x="681" y="1566"/>
                </a:lnTo>
                <a:lnTo>
                  <a:pt x="680" y="1563"/>
                </a:lnTo>
                <a:lnTo>
                  <a:pt x="680" y="1560"/>
                </a:lnTo>
                <a:lnTo>
                  <a:pt x="679" y="1557"/>
                </a:lnTo>
                <a:lnTo>
                  <a:pt x="680" y="1554"/>
                </a:lnTo>
                <a:lnTo>
                  <a:pt x="681" y="1551"/>
                </a:lnTo>
                <a:lnTo>
                  <a:pt x="683" y="1549"/>
                </a:lnTo>
                <a:lnTo>
                  <a:pt x="685" y="1547"/>
                </a:lnTo>
                <a:lnTo>
                  <a:pt x="687" y="1545"/>
                </a:lnTo>
                <a:close/>
                <a:moveTo>
                  <a:pt x="1058" y="1323"/>
                </a:moveTo>
                <a:lnTo>
                  <a:pt x="1060" y="1321"/>
                </a:lnTo>
                <a:lnTo>
                  <a:pt x="1063" y="1321"/>
                </a:lnTo>
                <a:lnTo>
                  <a:pt x="1069" y="1321"/>
                </a:lnTo>
                <a:lnTo>
                  <a:pt x="1071" y="1321"/>
                </a:lnTo>
                <a:lnTo>
                  <a:pt x="1074" y="1323"/>
                </a:lnTo>
                <a:lnTo>
                  <a:pt x="1076" y="1324"/>
                </a:lnTo>
                <a:lnTo>
                  <a:pt x="1078" y="1327"/>
                </a:lnTo>
                <a:lnTo>
                  <a:pt x="1080" y="1329"/>
                </a:lnTo>
                <a:lnTo>
                  <a:pt x="1081" y="1332"/>
                </a:lnTo>
                <a:lnTo>
                  <a:pt x="1082" y="1335"/>
                </a:lnTo>
                <a:lnTo>
                  <a:pt x="1081" y="1338"/>
                </a:lnTo>
                <a:lnTo>
                  <a:pt x="1081" y="1341"/>
                </a:lnTo>
                <a:lnTo>
                  <a:pt x="1080" y="1344"/>
                </a:lnTo>
                <a:lnTo>
                  <a:pt x="1078" y="1347"/>
                </a:lnTo>
                <a:lnTo>
                  <a:pt x="1075" y="1349"/>
                </a:lnTo>
                <a:lnTo>
                  <a:pt x="1074" y="1350"/>
                </a:lnTo>
                <a:lnTo>
                  <a:pt x="1071" y="1351"/>
                </a:lnTo>
                <a:lnTo>
                  <a:pt x="1068" y="1352"/>
                </a:lnTo>
                <a:lnTo>
                  <a:pt x="1063" y="1352"/>
                </a:lnTo>
                <a:lnTo>
                  <a:pt x="1060" y="1351"/>
                </a:lnTo>
                <a:lnTo>
                  <a:pt x="1057" y="1350"/>
                </a:lnTo>
                <a:lnTo>
                  <a:pt x="1055" y="1348"/>
                </a:lnTo>
                <a:lnTo>
                  <a:pt x="1053" y="1346"/>
                </a:lnTo>
                <a:lnTo>
                  <a:pt x="1051" y="1343"/>
                </a:lnTo>
                <a:lnTo>
                  <a:pt x="1050" y="1340"/>
                </a:lnTo>
                <a:lnTo>
                  <a:pt x="1050" y="1337"/>
                </a:lnTo>
                <a:lnTo>
                  <a:pt x="1050" y="1334"/>
                </a:lnTo>
                <a:lnTo>
                  <a:pt x="1050" y="1331"/>
                </a:lnTo>
                <a:lnTo>
                  <a:pt x="1052" y="1328"/>
                </a:lnTo>
                <a:lnTo>
                  <a:pt x="1054" y="1326"/>
                </a:lnTo>
                <a:lnTo>
                  <a:pt x="1056" y="1324"/>
                </a:lnTo>
                <a:lnTo>
                  <a:pt x="1058" y="1323"/>
                </a:lnTo>
                <a:close/>
                <a:moveTo>
                  <a:pt x="2923" y="216"/>
                </a:moveTo>
                <a:lnTo>
                  <a:pt x="2926" y="214"/>
                </a:lnTo>
                <a:lnTo>
                  <a:pt x="2930" y="213"/>
                </a:lnTo>
                <a:lnTo>
                  <a:pt x="2933" y="214"/>
                </a:lnTo>
                <a:lnTo>
                  <a:pt x="2935" y="214"/>
                </a:lnTo>
                <a:lnTo>
                  <a:pt x="2937" y="215"/>
                </a:lnTo>
                <a:lnTo>
                  <a:pt x="2940" y="216"/>
                </a:lnTo>
                <a:lnTo>
                  <a:pt x="2942" y="219"/>
                </a:lnTo>
                <a:lnTo>
                  <a:pt x="2944" y="221"/>
                </a:lnTo>
                <a:lnTo>
                  <a:pt x="2946" y="224"/>
                </a:lnTo>
                <a:lnTo>
                  <a:pt x="2946" y="227"/>
                </a:lnTo>
                <a:lnTo>
                  <a:pt x="2947" y="230"/>
                </a:lnTo>
                <a:lnTo>
                  <a:pt x="2946" y="233"/>
                </a:lnTo>
                <a:lnTo>
                  <a:pt x="2945" y="236"/>
                </a:lnTo>
                <a:lnTo>
                  <a:pt x="2942" y="240"/>
                </a:lnTo>
                <a:lnTo>
                  <a:pt x="2941" y="242"/>
                </a:lnTo>
                <a:lnTo>
                  <a:pt x="2939" y="243"/>
                </a:lnTo>
                <a:lnTo>
                  <a:pt x="2935" y="245"/>
                </a:lnTo>
                <a:lnTo>
                  <a:pt x="2932" y="245"/>
                </a:lnTo>
                <a:lnTo>
                  <a:pt x="2928" y="245"/>
                </a:lnTo>
                <a:lnTo>
                  <a:pt x="2926" y="245"/>
                </a:lnTo>
                <a:lnTo>
                  <a:pt x="2924" y="244"/>
                </a:lnTo>
                <a:lnTo>
                  <a:pt x="2921" y="242"/>
                </a:lnTo>
                <a:lnTo>
                  <a:pt x="2919" y="240"/>
                </a:lnTo>
                <a:lnTo>
                  <a:pt x="2917" y="238"/>
                </a:lnTo>
                <a:lnTo>
                  <a:pt x="2916" y="235"/>
                </a:lnTo>
                <a:lnTo>
                  <a:pt x="2915" y="232"/>
                </a:lnTo>
                <a:lnTo>
                  <a:pt x="2915" y="229"/>
                </a:lnTo>
                <a:lnTo>
                  <a:pt x="2915" y="226"/>
                </a:lnTo>
                <a:lnTo>
                  <a:pt x="2916" y="223"/>
                </a:lnTo>
                <a:lnTo>
                  <a:pt x="2919" y="219"/>
                </a:lnTo>
                <a:lnTo>
                  <a:pt x="2921" y="217"/>
                </a:lnTo>
                <a:lnTo>
                  <a:pt x="2923" y="216"/>
                </a:lnTo>
                <a:close/>
                <a:moveTo>
                  <a:pt x="1167" y="1229"/>
                </a:moveTo>
                <a:lnTo>
                  <a:pt x="1169" y="1228"/>
                </a:lnTo>
                <a:lnTo>
                  <a:pt x="1171" y="1227"/>
                </a:lnTo>
                <a:lnTo>
                  <a:pt x="1174" y="1227"/>
                </a:lnTo>
                <a:lnTo>
                  <a:pt x="1177" y="1227"/>
                </a:lnTo>
                <a:lnTo>
                  <a:pt x="1179" y="1228"/>
                </a:lnTo>
                <a:lnTo>
                  <a:pt x="1182" y="1229"/>
                </a:lnTo>
                <a:lnTo>
                  <a:pt x="1184" y="1230"/>
                </a:lnTo>
                <a:lnTo>
                  <a:pt x="1186" y="1232"/>
                </a:lnTo>
                <a:lnTo>
                  <a:pt x="1188" y="1234"/>
                </a:lnTo>
                <a:lnTo>
                  <a:pt x="1189" y="1237"/>
                </a:lnTo>
                <a:lnTo>
                  <a:pt x="1190" y="1240"/>
                </a:lnTo>
                <a:lnTo>
                  <a:pt x="1191" y="1243"/>
                </a:lnTo>
                <a:lnTo>
                  <a:pt x="1190" y="1246"/>
                </a:lnTo>
                <a:lnTo>
                  <a:pt x="1189" y="1249"/>
                </a:lnTo>
                <a:lnTo>
                  <a:pt x="1188" y="1252"/>
                </a:lnTo>
                <a:lnTo>
                  <a:pt x="1186" y="1254"/>
                </a:lnTo>
                <a:lnTo>
                  <a:pt x="1182" y="1257"/>
                </a:lnTo>
                <a:lnTo>
                  <a:pt x="1180" y="1258"/>
                </a:lnTo>
                <a:lnTo>
                  <a:pt x="1178" y="1259"/>
                </a:lnTo>
                <a:lnTo>
                  <a:pt x="1175" y="1259"/>
                </a:lnTo>
                <a:lnTo>
                  <a:pt x="1172" y="1259"/>
                </a:lnTo>
                <a:lnTo>
                  <a:pt x="1170" y="1258"/>
                </a:lnTo>
                <a:lnTo>
                  <a:pt x="1167" y="1257"/>
                </a:lnTo>
                <a:lnTo>
                  <a:pt x="1165" y="1256"/>
                </a:lnTo>
                <a:lnTo>
                  <a:pt x="1163" y="1254"/>
                </a:lnTo>
                <a:lnTo>
                  <a:pt x="1161" y="1251"/>
                </a:lnTo>
                <a:lnTo>
                  <a:pt x="1160" y="1249"/>
                </a:lnTo>
                <a:lnTo>
                  <a:pt x="1159" y="1246"/>
                </a:lnTo>
                <a:lnTo>
                  <a:pt x="1159" y="1243"/>
                </a:lnTo>
                <a:lnTo>
                  <a:pt x="1159" y="1240"/>
                </a:lnTo>
                <a:lnTo>
                  <a:pt x="1160" y="1237"/>
                </a:lnTo>
                <a:lnTo>
                  <a:pt x="1161" y="1234"/>
                </a:lnTo>
                <a:lnTo>
                  <a:pt x="1163" y="1231"/>
                </a:lnTo>
                <a:lnTo>
                  <a:pt x="1167" y="1229"/>
                </a:lnTo>
                <a:close/>
                <a:moveTo>
                  <a:pt x="1262" y="1122"/>
                </a:moveTo>
                <a:lnTo>
                  <a:pt x="1266" y="1120"/>
                </a:lnTo>
                <a:lnTo>
                  <a:pt x="1271" y="1120"/>
                </a:lnTo>
                <a:lnTo>
                  <a:pt x="1273" y="1120"/>
                </a:lnTo>
                <a:lnTo>
                  <a:pt x="1276" y="1121"/>
                </a:lnTo>
                <a:lnTo>
                  <a:pt x="1278" y="1122"/>
                </a:lnTo>
                <a:lnTo>
                  <a:pt x="1280" y="1123"/>
                </a:lnTo>
                <a:lnTo>
                  <a:pt x="1282" y="1125"/>
                </a:lnTo>
                <a:lnTo>
                  <a:pt x="1284" y="1128"/>
                </a:lnTo>
                <a:lnTo>
                  <a:pt x="1285" y="1131"/>
                </a:lnTo>
                <a:lnTo>
                  <a:pt x="1286" y="1134"/>
                </a:lnTo>
                <a:lnTo>
                  <a:pt x="1286" y="1137"/>
                </a:lnTo>
                <a:lnTo>
                  <a:pt x="1286" y="1140"/>
                </a:lnTo>
                <a:lnTo>
                  <a:pt x="1285" y="1143"/>
                </a:lnTo>
                <a:lnTo>
                  <a:pt x="1283" y="1146"/>
                </a:lnTo>
                <a:lnTo>
                  <a:pt x="1281" y="1148"/>
                </a:lnTo>
                <a:lnTo>
                  <a:pt x="1278" y="1150"/>
                </a:lnTo>
                <a:lnTo>
                  <a:pt x="1274" y="1151"/>
                </a:lnTo>
                <a:lnTo>
                  <a:pt x="1269" y="1152"/>
                </a:lnTo>
                <a:lnTo>
                  <a:pt x="1267" y="1152"/>
                </a:lnTo>
                <a:lnTo>
                  <a:pt x="1265" y="1151"/>
                </a:lnTo>
                <a:lnTo>
                  <a:pt x="1263" y="1150"/>
                </a:lnTo>
                <a:lnTo>
                  <a:pt x="1260" y="1149"/>
                </a:lnTo>
                <a:lnTo>
                  <a:pt x="1258" y="1146"/>
                </a:lnTo>
                <a:lnTo>
                  <a:pt x="1256" y="1144"/>
                </a:lnTo>
                <a:lnTo>
                  <a:pt x="1255" y="1141"/>
                </a:lnTo>
                <a:lnTo>
                  <a:pt x="1254" y="1138"/>
                </a:lnTo>
                <a:lnTo>
                  <a:pt x="1254" y="1135"/>
                </a:lnTo>
                <a:lnTo>
                  <a:pt x="1255" y="1132"/>
                </a:lnTo>
                <a:lnTo>
                  <a:pt x="1256" y="1129"/>
                </a:lnTo>
                <a:lnTo>
                  <a:pt x="1257" y="1126"/>
                </a:lnTo>
                <a:lnTo>
                  <a:pt x="1260" y="1124"/>
                </a:lnTo>
                <a:lnTo>
                  <a:pt x="1262" y="1122"/>
                </a:lnTo>
                <a:close/>
                <a:moveTo>
                  <a:pt x="1339" y="1001"/>
                </a:moveTo>
                <a:lnTo>
                  <a:pt x="1343" y="999"/>
                </a:lnTo>
                <a:lnTo>
                  <a:pt x="1347" y="999"/>
                </a:lnTo>
                <a:lnTo>
                  <a:pt x="1351" y="999"/>
                </a:lnTo>
                <a:lnTo>
                  <a:pt x="1354" y="1001"/>
                </a:lnTo>
                <a:lnTo>
                  <a:pt x="1357" y="1002"/>
                </a:lnTo>
                <a:lnTo>
                  <a:pt x="1359" y="1005"/>
                </a:lnTo>
                <a:lnTo>
                  <a:pt x="1361" y="1007"/>
                </a:lnTo>
                <a:lnTo>
                  <a:pt x="1362" y="1010"/>
                </a:lnTo>
                <a:lnTo>
                  <a:pt x="1363" y="1013"/>
                </a:lnTo>
                <a:lnTo>
                  <a:pt x="1363" y="1016"/>
                </a:lnTo>
                <a:lnTo>
                  <a:pt x="1363" y="1019"/>
                </a:lnTo>
                <a:lnTo>
                  <a:pt x="1361" y="1022"/>
                </a:lnTo>
                <a:lnTo>
                  <a:pt x="1360" y="1024"/>
                </a:lnTo>
                <a:lnTo>
                  <a:pt x="1359" y="1026"/>
                </a:lnTo>
                <a:lnTo>
                  <a:pt x="1355" y="1029"/>
                </a:lnTo>
                <a:lnTo>
                  <a:pt x="1352" y="1030"/>
                </a:lnTo>
                <a:lnTo>
                  <a:pt x="1348" y="1031"/>
                </a:lnTo>
                <a:lnTo>
                  <a:pt x="1344" y="1030"/>
                </a:lnTo>
                <a:lnTo>
                  <a:pt x="1340" y="1029"/>
                </a:lnTo>
                <a:lnTo>
                  <a:pt x="1337" y="1027"/>
                </a:lnTo>
                <a:lnTo>
                  <a:pt x="1335" y="1025"/>
                </a:lnTo>
                <a:lnTo>
                  <a:pt x="1333" y="1023"/>
                </a:lnTo>
                <a:lnTo>
                  <a:pt x="1332" y="1020"/>
                </a:lnTo>
                <a:lnTo>
                  <a:pt x="1331" y="1014"/>
                </a:lnTo>
                <a:lnTo>
                  <a:pt x="1332" y="1011"/>
                </a:lnTo>
                <a:lnTo>
                  <a:pt x="1333" y="1008"/>
                </a:lnTo>
                <a:lnTo>
                  <a:pt x="1334" y="1006"/>
                </a:lnTo>
                <a:lnTo>
                  <a:pt x="1336" y="1004"/>
                </a:lnTo>
                <a:lnTo>
                  <a:pt x="1339" y="1001"/>
                </a:lnTo>
                <a:close/>
                <a:moveTo>
                  <a:pt x="2790" y="159"/>
                </a:moveTo>
                <a:lnTo>
                  <a:pt x="2794" y="157"/>
                </a:lnTo>
                <a:lnTo>
                  <a:pt x="2797" y="157"/>
                </a:lnTo>
                <a:lnTo>
                  <a:pt x="2801" y="157"/>
                </a:lnTo>
                <a:lnTo>
                  <a:pt x="2804" y="158"/>
                </a:lnTo>
                <a:lnTo>
                  <a:pt x="2807" y="159"/>
                </a:lnTo>
                <a:lnTo>
                  <a:pt x="2810" y="161"/>
                </a:lnTo>
                <a:lnTo>
                  <a:pt x="2812" y="164"/>
                </a:lnTo>
                <a:lnTo>
                  <a:pt x="2813" y="166"/>
                </a:lnTo>
                <a:lnTo>
                  <a:pt x="2814" y="169"/>
                </a:lnTo>
                <a:lnTo>
                  <a:pt x="2814" y="172"/>
                </a:lnTo>
                <a:lnTo>
                  <a:pt x="2814" y="175"/>
                </a:lnTo>
                <a:lnTo>
                  <a:pt x="2813" y="179"/>
                </a:lnTo>
                <a:lnTo>
                  <a:pt x="2810" y="183"/>
                </a:lnTo>
                <a:lnTo>
                  <a:pt x="2808" y="185"/>
                </a:lnTo>
                <a:lnTo>
                  <a:pt x="2806" y="186"/>
                </a:lnTo>
                <a:lnTo>
                  <a:pt x="2803" y="188"/>
                </a:lnTo>
                <a:lnTo>
                  <a:pt x="2800" y="189"/>
                </a:lnTo>
                <a:lnTo>
                  <a:pt x="2796" y="188"/>
                </a:lnTo>
                <a:lnTo>
                  <a:pt x="2792" y="187"/>
                </a:lnTo>
                <a:lnTo>
                  <a:pt x="2789" y="186"/>
                </a:lnTo>
                <a:lnTo>
                  <a:pt x="2787" y="184"/>
                </a:lnTo>
                <a:lnTo>
                  <a:pt x="2785" y="181"/>
                </a:lnTo>
                <a:lnTo>
                  <a:pt x="2784" y="179"/>
                </a:lnTo>
                <a:lnTo>
                  <a:pt x="2783" y="176"/>
                </a:lnTo>
                <a:lnTo>
                  <a:pt x="2782" y="173"/>
                </a:lnTo>
                <a:lnTo>
                  <a:pt x="2783" y="170"/>
                </a:lnTo>
                <a:lnTo>
                  <a:pt x="2784" y="167"/>
                </a:lnTo>
                <a:lnTo>
                  <a:pt x="2786" y="162"/>
                </a:lnTo>
                <a:lnTo>
                  <a:pt x="2788" y="160"/>
                </a:lnTo>
                <a:lnTo>
                  <a:pt x="2790" y="159"/>
                </a:lnTo>
                <a:close/>
                <a:moveTo>
                  <a:pt x="1393" y="868"/>
                </a:moveTo>
                <a:lnTo>
                  <a:pt x="1396" y="867"/>
                </a:lnTo>
                <a:lnTo>
                  <a:pt x="1399" y="866"/>
                </a:lnTo>
                <a:lnTo>
                  <a:pt x="1402" y="866"/>
                </a:lnTo>
                <a:lnTo>
                  <a:pt x="1405" y="866"/>
                </a:lnTo>
                <a:lnTo>
                  <a:pt x="1408" y="868"/>
                </a:lnTo>
                <a:lnTo>
                  <a:pt x="1411" y="869"/>
                </a:lnTo>
                <a:lnTo>
                  <a:pt x="1413" y="872"/>
                </a:lnTo>
                <a:lnTo>
                  <a:pt x="1415" y="874"/>
                </a:lnTo>
                <a:lnTo>
                  <a:pt x="1416" y="877"/>
                </a:lnTo>
                <a:lnTo>
                  <a:pt x="1417" y="880"/>
                </a:lnTo>
                <a:lnTo>
                  <a:pt x="1417" y="883"/>
                </a:lnTo>
                <a:lnTo>
                  <a:pt x="1416" y="886"/>
                </a:lnTo>
                <a:lnTo>
                  <a:pt x="1415" y="889"/>
                </a:lnTo>
                <a:lnTo>
                  <a:pt x="1413" y="892"/>
                </a:lnTo>
                <a:lnTo>
                  <a:pt x="1411" y="894"/>
                </a:lnTo>
                <a:lnTo>
                  <a:pt x="1409" y="896"/>
                </a:lnTo>
                <a:lnTo>
                  <a:pt x="1406" y="897"/>
                </a:lnTo>
                <a:lnTo>
                  <a:pt x="1403" y="898"/>
                </a:lnTo>
                <a:lnTo>
                  <a:pt x="1399" y="898"/>
                </a:lnTo>
                <a:lnTo>
                  <a:pt x="1396" y="897"/>
                </a:lnTo>
                <a:lnTo>
                  <a:pt x="1393" y="896"/>
                </a:lnTo>
                <a:lnTo>
                  <a:pt x="1391" y="894"/>
                </a:lnTo>
                <a:lnTo>
                  <a:pt x="1388" y="892"/>
                </a:lnTo>
                <a:lnTo>
                  <a:pt x="1387" y="889"/>
                </a:lnTo>
                <a:lnTo>
                  <a:pt x="1385" y="886"/>
                </a:lnTo>
                <a:lnTo>
                  <a:pt x="1385" y="883"/>
                </a:lnTo>
                <a:lnTo>
                  <a:pt x="1385" y="880"/>
                </a:lnTo>
                <a:lnTo>
                  <a:pt x="1385" y="877"/>
                </a:lnTo>
                <a:lnTo>
                  <a:pt x="1387" y="874"/>
                </a:lnTo>
                <a:lnTo>
                  <a:pt x="1388" y="872"/>
                </a:lnTo>
                <a:lnTo>
                  <a:pt x="1390" y="870"/>
                </a:lnTo>
                <a:lnTo>
                  <a:pt x="1393" y="868"/>
                </a:lnTo>
                <a:close/>
                <a:moveTo>
                  <a:pt x="2656" y="107"/>
                </a:moveTo>
                <a:lnTo>
                  <a:pt x="2659" y="106"/>
                </a:lnTo>
                <a:lnTo>
                  <a:pt x="2662" y="105"/>
                </a:lnTo>
                <a:lnTo>
                  <a:pt x="2666" y="105"/>
                </a:lnTo>
                <a:lnTo>
                  <a:pt x="2669" y="106"/>
                </a:lnTo>
                <a:lnTo>
                  <a:pt x="2672" y="108"/>
                </a:lnTo>
                <a:lnTo>
                  <a:pt x="2675" y="109"/>
                </a:lnTo>
                <a:lnTo>
                  <a:pt x="2677" y="112"/>
                </a:lnTo>
                <a:lnTo>
                  <a:pt x="2678" y="114"/>
                </a:lnTo>
                <a:lnTo>
                  <a:pt x="2679" y="117"/>
                </a:lnTo>
                <a:lnTo>
                  <a:pt x="2680" y="120"/>
                </a:lnTo>
                <a:lnTo>
                  <a:pt x="2680" y="123"/>
                </a:lnTo>
                <a:lnTo>
                  <a:pt x="2679" y="127"/>
                </a:lnTo>
                <a:lnTo>
                  <a:pt x="2678" y="129"/>
                </a:lnTo>
                <a:lnTo>
                  <a:pt x="2676" y="132"/>
                </a:lnTo>
                <a:lnTo>
                  <a:pt x="2674" y="134"/>
                </a:lnTo>
                <a:lnTo>
                  <a:pt x="2672" y="135"/>
                </a:lnTo>
                <a:lnTo>
                  <a:pt x="2669" y="137"/>
                </a:lnTo>
                <a:lnTo>
                  <a:pt x="2665" y="137"/>
                </a:lnTo>
                <a:lnTo>
                  <a:pt x="2662" y="137"/>
                </a:lnTo>
                <a:lnTo>
                  <a:pt x="2659" y="136"/>
                </a:lnTo>
                <a:lnTo>
                  <a:pt x="2656" y="135"/>
                </a:lnTo>
                <a:lnTo>
                  <a:pt x="2653" y="133"/>
                </a:lnTo>
                <a:lnTo>
                  <a:pt x="2651" y="131"/>
                </a:lnTo>
                <a:lnTo>
                  <a:pt x="2649" y="128"/>
                </a:lnTo>
                <a:lnTo>
                  <a:pt x="2648" y="125"/>
                </a:lnTo>
                <a:lnTo>
                  <a:pt x="2648" y="122"/>
                </a:lnTo>
                <a:lnTo>
                  <a:pt x="2648" y="119"/>
                </a:lnTo>
                <a:lnTo>
                  <a:pt x="2649" y="116"/>
                </a:lnTo>
                <a:lnTo>
                  <a:pt x="2652" y="111"/>
                </a:lnTo>
                <a:lnTo>
                  <a:pt x="2654" y="109"/>
                </a:lnTo>
                <a:lnTo>
                  <a:pt x="2656" y="107"/>
                </a:lnTo>
                <a:close/>
                <a:moveTo>
                  <a:pt x="1423" y="727"/>
                </a:moveTo>
                <a:lnTo>
                  <a:pt x="1428" y="726"/>
                </a:lnTo>
                <a:lnTo>
                  <a:pt x="1431" y="725"/>
                </a:lnTo>
                <a:lnTo>
                  <a:pt x="1433" y="725"/>
                </a:lnTo>
                <a:lnTo>
                  <a:pt x="1436" y="726"/>
                </a:lnTo>
                <a:lnTo>
                  <a:pt x="1439" y="728"/>
                </a:lnTo>
                <a:lnTo>
                  <a:pt x="1442" y="729"/>
                </a:lnTo>
                <a:lnTo>
                  <a:pt x="1444" y="732"/>
                </a:lnTo>
                <a:lnTo>
                  <a:pt x="1445" y="734"/>
                </a:lnTo>
                <a:lnTo>
                  <a:pt x="1446" y="737"/>
                </a:lnTo>
                <a:lnTo>
                  <a:pt x="1447" y="740"/>
                </a:lnTo>
                <a:lnTo>
                  <a:pt x="1447" y="744"/>
                </a:lnTo>
                <a:lnTo>
                  <a:pt x="1446" y="747"/>
                </a:lnTo>
                <a:lnTo>
                  <a:pt x="1444" y="750"/>
                </a:lnTo>
                <a:lnTo>
                  <a:pt x="1442" y="753"/>
                </a:lnTo>
                <a:lnTo>
                  <a:pt x="1439" y="755"/>
                </a:lnTo>
                <a:lnTo>
                  <a:pt x="1434" y="757"/>
                </a:lnTo>
                <a:lnTo>
                  <a:pt x="1431" y="757"/>
                </a:lnTo>
                <a:lnTo>
                  <a:pt x="1429" y="757"/>
                </a:lnTo>
                <a:lnTo>
                  <a:pt x="1426" y="756"/>
                </a:lnTo>
                <a:lnTo>
                  <a:pt x="1423" y="755"/>
                </a:lnTo>
                <a:lnTo>
                  <a:pt x="1420" y="753"/>
                </a:lnTo>
                <a:lnTo>
                  <a:pt x="1418" y="751"/>
                </a:lnTo>
                <a:lnTo>
                  <a:pt x="1417" y="748"/>
                </a:lnTo>
                <a:lnTo>
                  <a:pt x="1416" y="745"/>
                </a:lnTo>
                <a:lnTo>
                  <a:pt x="1415" y="742"/>
                </a:lnTo>
                <a:lnTo>
                  <a:pt x="1415" y="739"/>
                </a:lnTo>
                <a:lnTo>
                  <a:pt x="1416" y="735"/>
                </a:lnTo>
                <a:lnTo>
                  <a:pt x="1418" y="732"/>
                </a:lnTo>
                <a:lnTo>
                  <a:pt x="1420" y="729"/>
                </a:lnTo>
                <a:lnTo>
                  <a:pt x="1423" y="727"/>
                </a:lnTo>
                <a:close/>
                <a:moveTo>
                  <a:pt x="2519" y="64"/>
                </a:moveTo>
                <a:lnTo>
                  <a:pt x="2522" y="62"/>
                </a:lnTo>
                <a:lnTo>
                  <a:pt x="2525" y="62"/>
                </a:lnTo>
                <a:lnTo>
                  <a:pt x="2528" y="62"/>
                </a:lnTo>
                <a:lnTo>
                  <a:pt x="2531" y="62"/>
                </a:lnTo>
                <a:lnTo>
                  <a:pt x="2534" y="63"/>
                </a:lnTo>
                <a:lnTo>
                  <a:pt x="2537" y="65"/>
                </a:lnTo>
                <a:lnTo>
                  <a:pt x="2539" y="67"/>
                </a:lnTo>
                <a:lnTo>
                  <a:pt x="2541" y="70"/>
                </a:lnTo>
                <a:lnTo>
                  <a:pt x="2542" y="73"/>
                </a:lnTo>
                <a:lnTo>
                  <a:pt x="2543" y="76"/>
                </a:lnTo>
                <a:lnTo>
                  <a:pt x="2543" y="79"/>
                </a:lnTo>
                <a:lnTo>
                  <a:pt x="2542" y="82"/>
                </a:lnTo>
                <a:lnTo>
                  <a:pt x="2541" y="85"/>
                </a:lnTo>
                <a:lnTo>
                  <a:pt x="2539" y="87"/>
                </a:lnTo>
                <a:lnTo>
                  <a:pt x="2537" y="90"/>
                </a:lnTo>
                <a:lnTo>
                  <a:pt x="2535" y="91"/>
                </a:lnTo>
                <a:lnTo>
                  <a:pt x="2532" y="93"/>
                </a:lnTo>
                <a:lnTo>
                  <a:pt x="2529" y="93"/>
                </a:lnTo>
                <a:lnTo>
                  <a:pt x="2526" y="93"/>
                </a:lnTo>
                <a:lnTo>
                  <a:pt x="2522" y="93"/>
                </a:lnTo>
                <a:lnTo>
                  <a:pt x="2519" y="92"/>
                </a:lnTo>
                <a:lnTo>
                  <a:pt x="2517" y="90"/>
                </a:lnTo>
                <a:lnTo>
                  <a:pt x="2514" y="88"/>
                </a:lnTo>
                <a:lnTo>
                  <a:pt x="2513" y="85"/>
                </a:lnTo>
                <a:lnTo>
                  <a:pt x="2512" y="83"/>
                </a:lnTo>
                <a:lnTo>
                  <a:pt x="2511" y="79"/>
                </a:lnTo>
                <a:lnTo>
                  <a:pt x="2511" y="76"/>
                </a:lnTo>
                <a:lnTo>
                  <a:pt x="2511" y="73"/>
                </a:lnTo>
                <a:lnTo>
                  <a:pt x="2513" y="70"/>
                </a:lnTo>
                <a:lnTo>
                  <a:pt x="2514" y="68"/>
                </a:lnTo>
                <a:lnTo>
                  <a:pt x="2516" y="65"/>
                </a:lnTo>
                <a:lnTo>
                  <a:pt x="2519" y="64"/>
                </a:lnTo>
                <a:close/>
                <a:moveTo>
                  <a:pt x="1437" y="583"/>
                </a:moveTo>
                <a:lnTo>
                  <a:pt x="1441" y="581"/>
                </a:lnTo>
                <a:lnTo>
                  <a:pt x="1446" y="581"/>
                </a:lnTo>
                <a:lnTo>
                  <a:pt x="1449" y="582"/>
                </a:lnTo>
                <a:lnTo>
                  <a:pt x="1452" y="583"/>
                </a:lnTo>
                <a:lnTo>
                  <a:pt x="1455" y="584"/>
                </a:lnTo>
                <a:lnTo>
                  <a:pt x="1457" y="586"/>
                </a:lnTo>
                <a:lnTo>
                  <a:pt x="1459" y="589"/>
                </a:lnTo>
                <a:lnTo>
                  <a:pt x="1460" y="592"/>
                </a:lnTo>
                <a:lnTo>
                  <a:pt x="1461" y="596"/>
                </a:lnTo>
                <a:lnTo>
                  <a:pt x="1461" y="599"/>
                </a:lnTo>
                <a:lnTo>
                  <a:pt x="1461" y="601"/>
                </a:lnTo>
                <a:lnTo>
                  <a:pt x="1460" y="603"/>
                </a:lnTo>
                <a:lnTo>
                  <a:pt x="1458" y="607"/>
                </a:lnTo>
                <a:lnTo>
                  <a:pt x="1456" y="610"/>
                </a:lnTo>
                <a:lnTo>
                  <a:pt x="1453" y="612"/>
                </a:lnTo>
                <a:lnTo>
                  <a:pt x="1449" y="614"/>
                </a:lnTo>
                <a:lnTo>
                  <a:pt x="1444" y="614"/>
                </a:lnTo>
                <a:lnTo>
                  <a:pt x="1441" y="613"/>
                </a:lnTo>
                <a:lnTo>
                  <a:pt x="1438" y="612"/>
                </a:lnTo>
                <a:lnTo>
                  <a:pt x="1435" y="611"/>
                </a:lnTo>
                <a:lnTo>
                  <a:pt x="1433" y="608"/>
                </a:lnTo>
                <a:lnTo>
                  <a:pt x="1431" y="606"/>
                </a:lnTo>
                <a:lnTo>
                  <a:pt x="1430" y="603"/>
                </a:lnTo>
                <a:lnTo>
                  <a:pt x="1429" y="600"/>
                </a:lnTo>
                <a:lnTo>
                  <a:pt x="1429" y="597"/>
                </a:lnTo>
                <a:lnTo>
                  <a:pt x="1429" y="595"/>
                </a:lnTo>
                <a:lnTo>
                  <a:pt x="1430" y="592"/>
                </a:lnTo>
                <a:lnTo>
                  <a:pt x="1431" y="588"/>
                </a:lnTo>
                <a:lnTo>
                  <a:pt x="1434" y="585"/>
                </a:lnTo>
                <a:lnTo>
                  <a:pt x="1437" y="583"/>
                </a:lnTo>
                <a:close/>
                <a:moveTo>
                  <a:pt x="2378" y="30"/>
                </a:moveTo>
                <a:lnTo>
                  <a:pt x="2380" y="28"/>
                </a:lnTo>
                <a:lnTo>
                  <a:pt x="2383" y="28"/>
                </a:lnTo>
                <a:lnTo>
                  <a:pt x="2389" y="28"/>
                </a:lnTo>
                <a:lnTo>
                  <a:pt x="2392" y="29"/>
                </a:lnTo>
                <a:lnTo>
                  <a:pt x="2395" y="30"/>
                </a:lnTo>
                <a:lnTo>
                  <a:pt x="2397" y="32"/>
                </a:lnTo>
                <a:lnTo>
                  <a:pt x="2399" y="35"/>
                </a:lnTo>
                <a:lnTo>
                  <a:pt x="2401" y="37"/>
                </a:lnTo>
                <a:lnTo>
                  <a:pt x="2402" y="40"/>
                </a:lnTo>
                <a:lnTo>
                  <a:pt x="2402" y="43"/>
                </a:lnTo>
                <a:lnTo>
                  <a:pt x="2402" y="47"/>
                </a:lnTo>
                <a:lnTo>
                  <a:pt x="2401" y="50"/>
                </a:lnTo>
                <a:lnTo>
                  <a:pt x="2399" y="53"/>
                </a:lnTo>
                <a:lnTo>
                  <a:pt x="2397" y="55"/>
                </a:lnTo>
                <a:lnTo>
                  <a:pt x="2394" y="57"/>
                </a:lnTo>
                <a:lnTo>
                  <a:pt x="2391" y="58"/>
                </a:lnTo>
                <a:lnTo>
                  <a:pt x="2389" y="59"/>
                </a:lnTo>
                <a:lnTo>
                  <a:pt x="2383" y="59"/>
                </a:lnTo>
                <a:lnTo>
                  <a:pt x="2380" y="58"/>
                </a:lnTo>
                <a:lnTo>
                  <a:pt x="2377" y="57"/>
                </a:lnTo>
                <a:lnTo>
                  <a:pt x="2375" y="55"/>
                </a:lnTo>
                <a:lnTo>
                  <a:pt x="2373" y="52"/>
                </a:lnTo>
                <a:lnTo>
                  <a:pt x="2371" y="50"/>
                </a:lnTo>
                <a:lnTo>
                  <a:pt x="2370" y="47"/>
                </a:lnTo>
                <a:lnTo>
                  <a:pt x="2370" y="44"/>
                </a:lnTo>
                <a:lnTo>
                  <a:pt x="2370" y="40"/>
                </a:lnTo>
                <a:lnTo>
                  <a:pt x="2371" y="37"/>
                </a:lnTo>
                <a:lnTo>
                  <a:pt x="2373" y="34"/>
                </a:lnTo>
                <a:lnTo>
                  <a:pt x="2375" y="32"/>
                </a:lnTo>
                <a:lnTo>
                  <a:pt x="2378" y="30"/>
                </a:lnTo>
                <a:close/>
                <a:moveTo>
                  <a:pt x="2236" y="8"/>
                </a:moveTo>
                <a:lnTo>
                  <a:pt x="2238" y="7"/>
                </a:lnTo>
                <a:lnTo>
                  <a:pt x="2240" y="6"/>
                </a:lnTo>
                <a:lnTo>
                  <a:pt x="2243" y="6"/>
                </a:lnTo>
                <a:lnTo>
                  <a:pt x="2245" y="6"/>
                </a:lnTo>
                <a:lnTo>
                  <a:pt x="2248" y="7"/>
                </a:lnTo>
                <a:lnTo>
                  <a:pt x="2251" y="8"/>
                </a:lnTo>
                <a:lnTo>
                  <a:pt x="2254" y="10"/>
                </a:lnTo>
                <a:lnTo>
                  <a:pt x="2256" y="12"/>
                </a:lnTo>
                <a:lnTo>
                  <a:pt x="2258" y="14"/>
                </a:lnTo>
                <a:lnTo>
                  <a:pt x="2259" y="17"/>
                </a:lnTo>
                <a:lnTo>
                  <a:pt x="2260" y="20"/>
                </a:lnTo>
                <a:lnTo>
                  <a:pt x="2260" y="23"/>
                </a:lnTo>
                <a:lnTo>
                  <a:pt x="2259" y="27"/>
                </a:lnTo>
                <a:lnTo>
                  <a:pt x="2257" y="31"/>
                </a:lnTo>
                <a:lnTo>
                  <a:pt x="2255" y="34"/>
                </a:lnTo>
                <a:lnTo>
                  <a:pt x="2252" y="36"/>
                </a:lnTo>
                <a:lnTo>
                  <a:pt x="2250" y="37"/>
                </a:lnTo>
                <a:lnTo>
                  <a:pt x="2247" y="38"/>
                </a:lnTo>
                <a:lnTo>
                  <a:pt x="2245" y="38"/>
                </a:lnTo>
                <a:lnTo>
                  <a:pt x="2242" y="38"/>
                </a:lnTo>
                <a:lnTo>
                  <a:pt x="2239" y="37"/>
                </a:lnTo>
                <a:lnTo>
                  <a:pt x="2236" y="36"/>
                </a:lnTo>
                <a:lnTo>
                  <a:pt x="2233" y="34"/>
                </a:lnTo>
                <a:lnTo>
                  <a:pt x="2231" y="32"/>
                </a:lnTo>
                <a:lnTo>
                  <a:pt x="2230" y="30"/>
                </a:lnTo>
                <a:lnTo>
                  <a:pt x="2228" y="27"/>
                </a:lnTo>
                <a:lnTo>
                  <a:pt x="2228" y="24"/>
                </a:lnTo>
                <a:lnTo>
                  <a:pt x="2228" y="20"/>
                </a:lnTo>
                <a:lnTo>
                  <a:pt x="2229" y="17"/>
                </a:lnTo>
                <a:lnTo>
                  <a:pt x="2230" y="13"/>
                </a:lnTo>
                <a:lnTo>
                  <a:pt x="2233" y="10"/>
                </a:lnTo>
                <a:lnTo>
                  <a:pt x="2236" y="8"/>
                </a:lnTo>
                <a:close/>
                <a:moveTo>
                  <a:pt x="1449" y="440"/>
                </a:moveTo>
                <a:lnTo>
                  <a:pt x="1451" y="439"/>
                </a:lnTo>
                <a:lnTo>
                  <a:pt x="1453" y="438"/>
                </a:lnTo>
                <a:lnTo>
                  <a:pt x="1456" y="437"/>
                </a:lnTo>
                <a:lnTo>
                  <a:pt x="1459" y="438"/>
                </a:lnTo>
                <a:lnTo>
                  <a:pt x="1462" y="438"/>
                </a:lnTo>
                <a:lnTo>
                  <a:pt x="1465" y="440"/>
                </a:lnTo>
                <a:lnTo>
                  <a:pt x="1467" y="441"/>
                </a:lnTo>
                <a:lnTo>
                  <a:pt x="1469" y="444"/>
                </a:lnTo>
                <a:lnTo>
                  <a:pt x="1471" y="446"/>
                </a:lnTo>
                <a:lnTo>
                  <a:pt x="1472" y="449"/>
                </a:lnTo>
                <a:lnTo>
                  <a:pt x="1473" y="452"/>
                </a:lnTo>
                <a:lnTo>
                  <a:pt x="1473" y="455"/>
                </a:lnTo>
                <a:lnTo>
                  <a:pt x="1472" y="459"/>
                </a:lnTo>
                <a:lnTo>
                  <a:pt x="1470" y="462"/>
                </a:lnTo>
                <a:lnTo>
                  <a:pt x="1468" y="465"/>
                </a:lnTo>
                <a:lnTo>
                  <a:pt x="1465" y="467"/>
                </a:lnTo>
                <a:lnTo>
                  <a:pt x="1462" y="468"/>
                </a:lnTo>
                <a:lnTo>
                  <a:pt x="1460" y="469"/>
                </a:lnTo>
                <a:lnTo>
                  <a:pt x="1457" y="469"/>
                </a:lnTo>
                <a:lnTo>
                  <a:pt x="1455" y="469"/>
                </a:lnTo>
                <a:lnTo>
                  <a:pt x="1452" y="469"/>
                </a:lnTo>
                <a:lnTo>
                  <a:pt x="1449" y="467"/>
                </a:lnTo>
                <a:lnTo>
                  <a:pt x="1446" y="466"/>
                </a:lnTo>
                <a:lnTo>
                  <a:pt x="1444" y="463"/>
                </a:lnTo>
                <a:lnTo>
                  <a:pt x="1442" y="461"/>
                </a:lnTo>
                <a:lnTo>
                  <a:pt x="1441" y="458"/>
                </a:lnTo>
                <a:lnTo>
                  <a:pt x="1441" y="455"/>
                </a:lnTo>
                <a:lnTo>
                  <a:pt x="1441" y="452"/>
                </a:lnTo>
                <a:lnTo>
                  <a:pt x="1442" y="448"/>
                </a:lnTo>
                <a:lnTo>
                  <a:pt x="1443" y="445"/>
                </a:lnTo>
                <a:lnTo>
                  <a:pt x="1446" y="442"/>
                </a:lnTo>
                <a:lnTo>
                  <a:pt x="1449" y="440"/>
                </a:lnTo>
                <a:close/>
                <a:moveTo>
                  <a:pt x="2092" y="2"/>
                </a:moveTo>
                <a:lnTo>
                  <a:pt x="2094" y="1"/>
                </a:lnTo>
                <a:lnTo>
                  <a:pt x="2096" y="1"/>
                </a:lnTo>
                <a:lnTo>
                  <a:pt x="2100" y="0"/>
                </a:lnTo>
                <a:lnTo>
                  <a:pt x="2103" y="0"/>
                </a:lnTo>
                <a:lnTo>
                  <a:pt x="2106" y="1"/>
                </a:lnTo>
                <a:lnTo>
                  <a:pt x="2107" y="2"/>
                </a:lnTo>
                <a:lnTo>
                  <a:pt x="2109" y="3"/>
                </a:lnTo>
                <a:lnTo>
                  <a:pt x="2111" y="4"/>
                </a:lnTo>
                <a:lnTo>
                  <a:pt x="2113" y="7"/>
                </a:lnTo>
                <a:lnTo>
                  <a:pt x="2115" y="9"/>
                </a:lnTo>
                <a:lnTo>
                  <a:pt x="2116" y="12"/>
                </a:lnTo>
                <a:lnTo>
                  <a:pt x="2116" y="16"/>
                </a:lnTo>
                <a:lnTo>
                  <a:pt x="2116" y="20"/>
                </a:lnTo>
                <a:lnTo>
                  <a:pt x="2115" y="22"/>
                </a:lnTo>
                <a:lnTo>
                  <a:pt x="2114" y="24"/>
                </a:lnTo>
                <a:lnTo>
                  <a:pt x="2111" y="27"/>
                </a:lnTo>
                <a:lnTo>
                  <a:pt x="2108" y="30"/>
                </a:lnTo>
                <a:lnTo>
                  <a:pt x="2106" y="31"/>
                </a:lnTo>
                <a:lnTo>
                  <a:pt x="2104" y="31"/>
                </a:lnTo>
                <a:lnTo>
                  <a:pt x="2100" y="32"/>
                </a:lnTo>
                <a:lnTo>
                  <a:pt x="2097" y="32"/>
                </a:lnTo>
                <a:lnTo>
                  <a:pt x="2094" y="31"/>
                </a:lnTo>
                <a:lnTo>
                  <a:pt x="2093" y="30"/>
                </a:lnTo>
                <a:lnTo>
                  <a:pt x="2091" y="29"/>
                </a:lnTo>
                <a:lnTo>
                  <a:pt x="2089" y="28"/>
                </a:lnTo>
                <a:lnTo>
                  <a:pt x="2087" y="25"/>
                </a:lnTo>
                <a:lnTo>
                  <a:pt x="2085" y="23"/>
                </a:lnTo>
                <a:lnTo>
                  <a:pt x="2084" y="20"/>
                </a:lnTo>
                <a:lnTo>
                  <a:pt x="2084" y="16"/>
                </a:lnTo>
                <a:lnTo>
                  <a:pt x="2085" y="12"/>
                </a:lnTo>
                <a:lnTo>
                  <a:pt x="2085" y="10"/>
                </a:lnTo>
                <a:lnTo>
                  <a:pt x="2086" y="8"/>
                </a:lnTo>
                <a:lnTo>
                  <a:pt x="2089" y="5"/>
                </a:lnTo>
                <a:lnTo>
                  <a:pt x="2092" y="2"/>
                </a:lnTo>
                <a:close/>
                <a:moveTo>
                  <a:pt x="1480" y="300"/>
                </a:moveTo>
                <a:lnTo>
                  <a:pt x="1483" y="298"/>
                </a:lnTo>
                <a:lnTo>
                  <a:pt x="1487" y="298"/>
                </a:lnTo>
                <a:lnTo>
                  <a:pt x="1490" y="298"/>
                </a:lnTo>
                <a:lnTo>
                  <a:pt x="1494" y="299"/>
                </a:lnTo>
                <a:lnTo>
                  <a:pt x="1497" y="300"/>
                </a:lnTo>
                <a:lnTo>
                  <a:pt x="1499" y="302"/>
                </a:lnTo>
                <a:lnTo>
                  <a:pt x="1501" y="304"/>
                </a:lnTo>
                <a:lnTo>
                  <a:pt x="1503" y="307"/>
                </a:lnTo>
                <a:lnTo>
                  <a:pt x="1504" y="310"/>
                </a:lnTo>
                <a:lnTo>
                  <a:pt x="1504" y="313"/>
                </a:lnTo>
                <a:lnTo>
                  <a:pt x="1504" y="316"/>
                </a:lnTo>
                <a:lnTo>
                  <a:pt x="1503" y="319"/>
                </a:lnTo>
                <a:lnTo>
                  <a:pt x="1500" y="324"/>
                </a:lnTo>
                <a:lnTo>
                  <a:pt x="1496" y="327"/>
                </a:lnTo>
                <a:lnTo>
                  <a:pt x="1493" y="329"/>
                </a:lnTo>
                <a:lnTo>
                  <a:pt x="1490" y="330"/>
                </a:lnTo>
                <a:lnTo>
                  <a:pt x="1486" y="329"/>
                </a:lnTo>
                <a:lnTo>
                  <a:pt x="1483" y="329"/>
                </a:lnTo>
                <a:lnTo>
                  <a:pt x="1480" y="327"/>
                </a:lnTo>
                <a:lnTo>
                  <a:pt x="1477" y="325"/>
                </a:lnTo>
                <a:lnTo>
                  <a:pt x="1475" y="323"/>
                </a:lnTo>
                <a:lnTo>
                  <a:pt x="1474" y="320"/>
                </a:lnTo>
                <a:lnTo>
                  <a:pt x="1473" y="317"/>
                </a:lnTo>
                <a:lnTo>
                  <a:pt x="1472" y="314"/>
                </a:lnTo>
                <a:lnTo>
                  <a:pt x="1472" y="311"/>
                </a:lnTo>
                <a:lnTo>
                  <a:pt x="1473" y="308"/>
                </a:lnTo>
                <a:lnTo>
                  <a:pt x="1476" y="303"/>
                </a:lnTo>
                <a:lnTo>
                  <a:pt x="1480" y="300"/>
                </a:lnTo>
                <a:close/>
                <a:moveTo>
                  <a:pt x="1949" y="15"/>
                </a:moveTo>
                <a:lnTo>
                  <a:pt x="1951" y="14"/>
                </a:lnTo>
                <a:lnTo>
                  <a:pt x="1954" y="13"/>
                </a:lnTo>
                <a:lnTo>
                  <a:pt x="1958" y="13"/>
                </a:lnTo>
                <a:lnTo>
                  <a:pt x="1961" y="13"/>
                </a:lnTo>
                <a:lnTo>
                  <a:pt x="1964" y="14"/>
                </a:lnTo>
                <a:lnTo>
                  <a:pt x="1966" y="16"/>
                </a:lnTo>
                <a:lnTo>
                  <a:pt x="1969" y="18"/>
                </a:lnTo>
                <a:lnTo>
                  <a:pt x="1970" y="20"/>
                </a:lnTo>
                <a:lnTo>
                  <a:pt x="1972" y="23"/>
                </a:lnTo>
                <a:lnTo>
                  <a:pt x="1972" y="25"/>
                </a:lnTo>
                <a:lnTo>
                  <a:pt x="1973" y="26"/>
                </a:lnTo>
                <a:lnTo>
                  <a:pt x="1973" y="31"/>
                </a:lnTo>
                <a:lnTo>
                  <a:pt x="1972" y="33"/>
                </a:lnTo>
                <a:lnTo>
                  <a:pt x="1971" y="36"/>
                </a:lnTo>
                <a:lnTo>
                  <a:pt x="1970" y="38"/>
                </a:lnTo>
                <a:lnTo>
                  <a:pt x="1969" y="40"/>
                </a:lnTo>
                <a:lnTo>
                  <a:pt x="1967" y="41"/>
                </a:lnTo>
                <a:lnTo>
                  <a:pt x="1965" y="42"/>
                </a:lnTo>
                <a:lnTo>
                  <a:pt x="1962" y="44"/>
                </a:lnTo>
                <a:lnTo>
                  <a:pt x="1959" y="44"/>
                </a:lnTo>
                <a:lnTo>
                  <a:pt x="1956" y="45"/>
                </a:lnTo>
                <a:lnTo>
                  <a:pt x="1953" y="44"/>
                </a:lnTo>
                <a:lnTo>
                  <a:pt x="1950" y="43"/>
                </a:lnTo>
                <a:lnTo>
                  <a:pt x="1947" y="42"/>
                </a:lnTo>
                <a:lnTo>
                  <a:pt x="1945" y="40"/>
                </a:lnTo>
                <a:lnTo>
                  <a:pt x="1943" y="37"/>
                </a:lnTo>
                <a:lnTo>
                  <a:pt x="1942" y="34"/>
                </a:lnTo>
                <a:lnTo>
                  <a:pt x="1941" y="33"/>
                </a:lnTo>
                <a:lnTo>
                  <a:pt x="1941" y="31"/>
                </a:lnTo>
                <a:lnTo>
                  <a:pt x="1941" y="26"/>
                </a:lnTo>
                <a:lnTo>
                  <a:pt x="1942" y="24"/>
                </a:lnTo>
                <a:lnTo>
                  <a:pt x="1942" y="22"/>
                </a:lnTo>
                <a:lnTo>
                  <a:pt x="1944" y="20"/>
                </a:lnTo>
                <a:lnTo>
                  <a:pt x="1945" y="18"/>
                </a:lnTo>
                <a:lnTo>
                  <a:pt x="1947" y="16"/>
                </a:lnTo>
                <a:lnTo>
                  <a:pt x="1949" y="15"/>
                </a:lnTo>
                <a:close/>
                <a:moveTo>
                  <a:pt x="1809" y="47"/>
                </a:moveTo>
                <a:lnTo>
                  <a:pt x="1812" y="46"/>
                </a:lnTo>
                <a:lnTo>
                  <a:pt x="1815" y="45"/>
                </a:lnTo>
                <a:lnTo>
                  <a:pt x="1819" y="45"/>
                </a:lnTo>
                <a:lnTo>
                  <a:pt x="1822" y="46"/>
                </a:lnTo>
                <a:lnTo>
                  <a:pt x="1824" y="47"/>
                </a:lnTo>
                <a:lnTo>
                  <a:pt x="1827" y="49"/>
                </a:lnTo>
                <a:lnTo>
                  <a:pt x="1829" y="51"/>
                </a:lnTo>
                <a:lnTo>
                  <a:pt x="1831" y="53"/>
                </a:lnTo>
                <a:lnTo>
                  <a:pt x="1832" y="56"/>
                </a:lnTo>
                <a:lnTo>
                  <a:pt x="1833" y="62"/>
                </a:lnTo>
                <a:lnTo>
                  <a:pt x="1833" y="65"/>
                </a:lnTo>
                <a:lnTo>
                  <a:pt x="1832" y="67"/>
                </a:lnTo>
                <a:lnTo>
                  <a:pt x="1831" y="69"/>
                </a:lnTo>
                <a:lnTo>
                  <a:pt x="1829" y="72"/>
                </a:lnTo>
                <a:lnTo>
                  <a:pt x="1825" y="75"/>
                </a:lnTo>
                <a:lnTo>
                  <a:pt x="1822" y="76"/>
                </a:lnTo>
                <a:lnTo>
                  <a:pt x="1819" y="77"/>
                </a:lnTo>
                <a:lnTo>
                  <a:pt x="1815" y="77"/>
                </a:lnTo>
                <a:lnTo>
                  <a:pt x="1812" y="77"/>
                </a:lnTo>
                <a:lnTo>
                  <a:pt x="1810" y="75"/>
                </a:lnTo>
                <a:lnTo>
                  <a:pt x="1807" y="74"/>
                </a:lnTo>
                <a:lnTo>
                  <a:pt x="1805" y="72"/>
                </a:lnTo>
                <a:lnTo>
                  <a:pt x="1803" y="69"/>
                </a:lnTo>
                <a:lnTo>
                  <a:pt x="1802" y="66"/>
                </a:lnTo>
                <a:lnTo>
                  <a:pt x="1801" y="60"/>
                </a:lnTo>
                <a:lnTo>
                  <a:pt x="1801" y="58"/>
                </a:lnTo>
                <a:lnTo>
                  <a:pt x="1802" y="55"/>
                </a:lnTo>
                <a:lnTo>
                  <a:pt x="1803" y="53"/>
                </a:lnTo>
                <a:lnTo>
                  <a:pt x="1805" y="51"/>
                </a:lnTo>
                <a:lnTo>
                  <a:pt x="1809" y="47"/>
                </a:lnTo>
                <a:close/>
                <a:moveTo>
                  <a:pt x="1557" y="180"/>
                </a:moveTo>
                <a:lnTo>
                  <a:pt x="1560" y="179"/>
                </a:lnTo>
                <a:lnTo>
                  <a:pt x="1562" y="179"/>
                </a:lnTo>
                <a:lnTo>
                  <a:pt x="1565" y="178"/>
                </a:lnTo>
                <a:lnTo>
                  <a:pt x="1567" y="178"/>
                </a:lnTo>
                <a:lnTo>
                  <a:pt x="1570" y="179"/>
                </a:lnTo>
                <a:lnTo>
                  <a:pt x="1572" y="180"/>
                </a:lnTo>
                <a:lnTo>
                  <a:pt x="1575" y="181"/>
                </a:lnTo>
                <a:lnTo>
                  <a:pt x="1577" y="183"/>
                </a:lnTo>
                <a:lnTo>
                  <a:pt x="1579" y="186"/>
                </a:lnTo>
                <a:lnTo>
                  <a:pt x="1580" y="188"/>
                </a:lnTo>
                <a:lnTo>
                  <a:pt x="1581" y="191"/>
                </a:lnTo>
                <a:lnTo>
                  <a:pt x="1581" y="194"/>
                </a:lnTo>
                <a:lnTo>
                  <a:pt x="1581" y="197"/>
                </a:lnTo>
                <a:lnTo>
                  <a:pt x="1580" y="200"/>
                </a:lnTo>
                <a:lnTo>
                  <a:pt x="1579" y="203"/>
                </a:lnTo>
                <a:lnTo>
                  <a:pt x="1577" y="206"/>
                </a:lnTo>
                <a:lnTo>
                  <a:pt x="1573" y="208"/>
                </a:lnTo>
                <a:lnTo>
                  <a:pt x="1571" y="209"/>
                </a:lnTo>
                <a:lnTo>
                  <a:pt x="1568" y="210"/>
                </a:lnTo>
                <a:lnTo>
                  <a:pt x="1566" y="210"/>
                </a:lnTo>
                <a:lnTo>
                  <a:pt x="1563" y="210"/>
                </a:lnTo>
                <a:lnTo>
                  <a:pt x="1561" y="210"/>
                </a:lnTo>
                <a:lnTo>
                  <a:pt x="1558" y="209"/>
                </a:lnTo>
                <a:lnTo>
                  <a:pt x="1556" y="207"/>
                </a:lnTo>
                <a:lnTo>
                  <a:pt x="1554" y="206"/>
                </a:lnTo>
                <a:lnTo>
                  <a:pt x="1552" y="203"/>
                </a:lnTo>
                <a:lnTo>
                  <a:pt x="1550" y="200"/>
                </a:lnTo>
                <a:lnTo>
                  <a:pt x="1550" y="197"/>
                </a:lnTo>
                <a:lnTo>
                  <a:pt x="1549" y="194"/>
                </a:lnTo>
                <a:lnTo>
                  <a:pt x="1550" y="191"/>
                </a:lnTo>
                <a:lnTo>
                  <a:pt x="1551" y="188"/>
                </a:lnTo>
                <a:lnTo>
                  <a:pt x="1552" y="185"/>
                </a:lnTo>
                <a:lnTo>
                  <a:pt x="1554" y="183"/>
                </a:lnTo>
                <a:lnTo>
                  <a:pt x="1557" y="180"/>
                </a:lnTo>
                <a:close/>
                <a:moveTo>
                  <a:pt x="1675" y="100"/>
                </a:moveTo>
                <a:lnTo>
                  <a:pt x="1678" y="98"/>
                </a:lnTo>
                <a:lnTo>
                  <a:pt x="1682" y="98"/>
                </a:lnTo>
                <a:lnTo>
                  <a:pt x="1685" y="98"/>
                </a:lnTo>
                <a:lnTo>
                  <a:pt x="1688" y="98"/>
                </a:lnTo>
                <a:lnTo>
                  <a:pt x="1691" y="100"/>
                </a:lnTo>
                <a:lnTo>
                  <a:pt x="1694" y="101"/>
                </a:lnTo>
                <a:lnTo>
                  <a:pt x="1696" y="104"/>
                </a:lnTo>
                <a:lnTo>
                  <a:pt x="1697" y="106"/>
                </a:lnTo>
                <a:lnTo>
                  <a:pt x="1699" y="109"/>
                </a:lnTo>
                <a:lnTo>
                  <a:pt x="1699" y="112"/>
                </a:lnTo>
                <a:lnTo>
                  <a:pt x="1699" y="115"/>
                </a:lnTo>
                <a:lnTo>
                  <a:pt x="1698" y="118"/>
                </a:lnTo>
                <a:lnTo>
                  <a:pt x="1697" y="121"/>
                </a:lnTo>
                <a:lnTo>
                  <a:pt x="1696" y="123"/>
                </a:lnTo>
                <a:lnTo>
                  <a:pt x="1694" y="126"/>
                </a:lnTo>
                <a:lnTo>
                  <a:pt x="1691" y="127"/>
                </a:lnTo>
                <a:lnTo>
                  <a:pt x="1688" y="129"/>
                </a:lnTo>
                <a:lnTo>
                  <a:pt x="1684" y="129"/>
                </a:lnTo>
                <a:lnTo>
                  <a:pt x="1681" y="129"/>
                </a:lnTo>
                <a:lnTo>
                  <a:pt x="1678" y="129"/>
                </a:lnTo>
                <a:lnTo>
                  <a:pt x="1675" y="127"/>
                </a:lnTo>
                <a:lnTo>
                  <a:pt x="1673" y="125"/>
                </a:lnTo>
                <a:lnTo>
                  <a:pt x="1670" y="123"/>
                </a:lnTo>
                <a:lnTo>
                  <a:pt x="1669" y="120"/>
                </a:lnTo>
                <a:lnTo>
                  <a:pt x="1668" y="118"/>
                </a:lnTo>
                <a:lnTo>
                  <a:pt x="1667" y="115"/>
                </a:lnTo>
                <a:lnTo>
                  <a:pt x="1667" y="112"/>
                </a:lnTo>
                <a:lnTo>
                  <a:pt x="1668" y="109"/>
                </a:lnTo>
                <a:lnTo>
                  <a:pt x="1669" y="106"/>
                </a:lnTo>
                <a:lnTo>
                  <a:pt x="1670" y="104"/>
                </a:lnTo>
                <a:lnTo>
                  <a:pt x="1673" y="101"/>
                </a:lnTo>
                <a:lnTo>
                  <a:pt x="1675" y="100"/>
                </a:lnTo>
                <a:close/>
                <a:moveTo>
                  <a:pt x="4769" y="1270"/>
                </a:moveTo>
                <a:lnTo>
                  <a:pt x="4772" y="1269"/>
                </a:lnTo>
                <a:lnTo>
                  <a:pt x="4775" y="1268"/>
                </a:lnTo>
                <a:lnTo>
                  <a:pt x="4780" y="1268"/>
                </a:lnTo>
                <a:lnTo>
                  <a:pt x="4783" y="1269"/>
                </a:lnTo>
                <a:lnTo>
                  <a:pt x="4786" y="1271"/>
                </a:lnTo>
                <a:lnTo>
                  <a:pt x="4789" y="1273"/>
                </a:lnTo>
                <a:lnTo>
                  <a:pt x="4790" y="1275"/>
                </a:lnTo>
                <a:lnTo>
                  <a:pt x="4792" y="1278"/>
                </a:lnTo>
                <a:lnTo>
                  <a:pt x="4793" y="1281"/>
                </a:lnTo>
                <a:lnTo>
                  <a:pt x="4793" y="1284"/>
                </a:lnTo>
                <a:lnTo>
                  <a:pt x="4793" y="1287"/>
                </a:lnTo>
                <a:lnTo>
                  <a:pt x="4792" y="1290"/>
                </a:lnTo>
                <a:lnTo>
                  <a:pt x="4790" y="1293"/>
                </a:lnTo>
                <a:lnTo>
                  <a:pt x="4788" y="1296"/>
                </a:lnTo>
                <a:lnTo>
                  <a:pt x="4785" y="1298"/>
                </a:lnTo>
                <a:lnTo>
                  <a:pt x="4783" y="1299"/>
                </a:lnTo>
                <a:lnTo>
                  <a:pt x="4780" y="1300"/>
                </a:lnTo>
                <a:lnTo>
                  <a:pt x="4777" y="1300"/>
                </a:lnTo>
                <a:lnTo>
                  <a:pt x="4774" y="1299"/>
                </a:lnTo>
                <a:lnTo>
                  <a:pt x="4771" y="1298"/>
                </a:lnTo>
                <a:lnTo>
                  <a:pt x="4768" y="1297"/>
                </a:lnTo>
                <a:lnTo>
                  <a:pt x="4766" y="1295"/>
                </a:lnTo>
                <a:lnTo>
                  <a:pt x="4764" y="1293"/>
                </a:lnTo>
                <a:lnTo>
                  <a:pt x="4762" y="1290"/>
                </a:lnTo>
                <a:lnTo>
                  <a:pt x="4762" y="1287"/>
                </a:lnTo>
                <a:lnTo>
                  <a:pt x="4761" y="1284"/>
                </a:lnTo>
                <a:lnTo>
                  <a:pt x="4762" y="1281"/>
                </a:lnTo>
                <a:lnTo>
                  <a:pt x="4763" y="1277"/>
                </a:lnTo>
                <a:lnTo>
                  <a:pt x="4764" y="1275"/>
                </a:lnTo>
                <a:lnTo>
                  <a:pt x="4767" y="1272"/>
                </a:lnTo>
                <a:lnTo>
                  <a:pt x="4769" y="1270"/>
                </a:lnTo>
                <a:close/>
                <a:moveTo>
                  <a:pt x="4629" y="1238"/>
                </a:moveTo>
                <a:lnTo>
                  <a:pt x="4631" y="1237"/>
                </a:lnTo>
                <a:lnTo>
                  <a:pt x="4634" y="1237"/>
                </a:lnTo>
                <a:lnTo>
                  <a:pt x="4637" y="1236"/>
                </a:lnTo>
                <a:lnTo>
                  <a:pt x="4640" y="1237"/>
                </a:lnTo>
                <a:lnTo>
                  <a:pt x="4643" y="1238"/>
                </a:lnTo>
                <a:lnTo>
                  <a:pt x="4646" y="1239"/>
                </a:lnTo>
                <a:lnTo>
                  <a:pt x="4648" y="1242"/>
                </a:lnTo>
                <a:lnTo>
                  <a:pt x="4650" y="1244"/>
                </a:lnTo>
                <a:lnTo>
                  <a:pt x="4651" y="1247"/>
                </a:lnTo>
                <a:lnTo>
                  <a:pt x="4652" y="1250"/>
                </a:lnTo>
                <a:lnTo>
                  <a:pt x="4652" y="1253"/>
                </a:lnTo>
                <a:lnTo>
                  <a:pt x="4652" y="1256"/>
                </a:lnTo>
                <a:lnTo>
                  <a:pt x="4651" y="1259"/>
                </a:lnTo>
                <a:lnTo>
                  <a:pt x="4649" y="1262"/>
                </a:lnTo>
                <a:lnTo>
                  <a:pt x="4647" y="1264"/>
                </a:lnTo>
                <a:lnTo>
                  <a:pt x="4644" y="1266"/>
                </a:lnTo>
                <a:lnTo>
                  <a:pt x="4642" y="1267"/>
                </a:lnTo>
                <a:lnTo>
                  <a:pt x="4639" y="1268"/>
                </a:lnTo>
                <a:lnTo>
                  <a:pt x="4636" y="1268"/>
                </a:lnTo>
                <a:lnTo>
                  <a:pt x="4633" y="1268"/>
                </a:lnTo>
                <a:lnTo>
                  <a:pt x="4630" y="1267"/>
                </a:lnTo>
                <a:lnTo>
                  <a:pt x="4627" y="1265"/>
                </a:lnTo>
                <a:lnTo>
                  <a:pt x="4625" y="1263"/>
                </a:lnTo>
                <a:lnTo>
                  <a:pt x="4623" y="1260"/>
                </a:lnTo>
                <a:lnTo>
                  <a:pt x="4622" y="1258"/>
                </a:lnTo>
                <a:lnTo>
                  <a:pt x="4621" y="1255"/>
                </a:lnTo>
                <a:lnTo>
                  <a:pt x="4621" y="1252"/>
                </a:lnTo>
                <a:lnTo>
                  <a:pt x="4621" y="1248"/>
                </a:lnTo>
                <a:lnTo>
                  <a:pt x="4622" y="1245"/>
                </a:lnTo>
                <a:lnTo>
                  <a:pt x="4624" y="1243"/>
                </a:lnTo>
                <a:lnTo>
                  <a:pt x="4626" y="1240"/>
                </a:lnTo>
                <a:lnTo>
                  <a:pt x="4629" y="1238"/>
                </a:lnTo>
                <a:close/>
                <a:moveTo>
                  <a:pt x="4489" y="1202"/>
                </a:moveTo>
                <a:lnTo>
                  <a:pt x="4492" y="1201"/>
                </a:lnTo>
                <a:lnTo>
                  <a:pt x="4495" y="1200"/>
                </a:lnTo>
                <a:lnTo>
                  <a:pt x="4498" y="1200"/>
                </a:lnTo>
                <a:lnTo>
                  <a:pt x="4501" y="1201"/>
                </a:lnTo>
                <a:lnTo>
                  <a:pt x="4504" y="1202"/>
                </a:lnTo>
                <a:lnTo>
                  <a:pt x="4507" y="1203"/>
                </a:lnTo>
                <a:lnTo>
                  <a:pt x="4509" y="1206"/>
                </a:lnTo>
                <a:lnTo>
                  <a:pt x="4511" y="1208"/>
                </a:lnTo>
                <a:lnTo>
                  <a:pt x="4512" y="1211"/>
                </a:lnTo>
                <a:lnTo>
                  <a:pt x="4513" y="1214"/>
                </a:lnTo>
                <a:lnTo>
                  <a:pt x="4513" y="1217"/>
                </a:lnTo>
                <a:lnTo>
                  <a:pt x="4512" y="1220"/>
                </a:lnTo>
                <a:lnTo>
                  <a:pt x="4511" y="1223"/>
                </a:lnTo>
                <a:lnTo>
                  <a:pt x="4509" y="1226"/>
                </a:lnTo>
                <a:lnTo>
                  <a:pt x="4507" y="1228"/>
                </a:lnTo>
                <a:lnTo>
                  <a:pt x="4505" y="1230"/>
                </a:lnTo>
                <a:lnTo>
                  <a:pt x="4502" y="1231"/>
                </a:lnTo>
                <a:lnTo>
                  <a:pt x="4499" y="1232"/>
                </a:lnTo>
                <a:lnTo>
                  <a:pt x="4496" y="1232"/>
                </a:lnTo>
                <a:lnTo>
                  <a:pt x="4493" y="1231"/>
                </a:lnTo>
                <a:lnTo>
                  <a:pt x="4490" y="1230"/>
                </a:lnTo>
                <a:lnTo>
                  <a:pt x="4487" y="1228"/>
                </a:lnTo>
                <a:lnTo>
                  <a:pt x="4485" y="1226"/>
                </a:lnTo>
                <a:lnTo>
                  <a:pt x="4483" y="1224"/>
                </a:lnTo>
                <a:lnTo>
                  <a:pt x="4482" y="1221"/>
                </a:lnTo>
                <a:lnTo>
                  <a:pt x="4481" y="1218"/>
                </a:lnTo>
                <a:lnTo>
                  <a:pt x="4481" y="1215"/>
                </a:lnTo>
                <a:lnTo>
                  <a:pt x="4482" y="1212"/>
                </a:lnTo>
                <a:lnTo>
                  <a:pt x="4483" y="1209"/>
                </a:lnTo>
                <a:lnTo>
                  <a:pt x="4485" y="1206"/>
                </a:lnTo>
                <a:lnTo>
                  <a:pt x="4487" y="1204"/>
                </a:lnTo>
                <a:lnTo>
                  <a:pt x="4489" y="1202"/>
                </a:lnTo>
                <a:close/>
                <a:moveTo>
                  <a:pt x="4351" y="1161"/>
                </a:moveTo>
                <a:lnTo>
                  <a:pt x="4354" y="1159"/>
                </a:lnTo>
                <a:lnTo>
                  <a:pt x="4357" y="1158"/>
                </a:lnTo>
                <a:lnTo>
                  <a:pt x="4361" y="1158"/>
                </a:lnTo>
                <a:lnTo>
                  <a:pt x="4364" y="1159"/>
                </a:lnTo>
                <a:lnTo>
                  <a:pt x="4367" y="1160"/>
                </a:lnTo>
                <a:lnTo>
                  <a:pt x="4369" y="1162"/>
                </a:lnTo>
                <a:lnTo>
                  <a:pt x="4372" y="1164"/>
                </a:lnTo>
                <a:lnTo>
                  <a:pt x="4373" y="1167"/>
                </a:lnTo>
                <a:lnTo>
                  <a:pt x="4374" y="1170"/>
                </a:lnTo>
                <a:lnTo>
                  <a:pt x="4375" y="1173"/>
                </a:lnTo>
                <a:lnTo>
                  <a:pt x="4375" y="1176"/>
                </a:lnTo>
                <a:lnTo>
                  <a:pt x="4374" y="1179"/>
                </a:lnTo>
                <a:lnTo>
                  <a:pt x="4373" y="1182"/>
                </a:lnTo>
                <a:lnTo>
                  <a:pt x="4371" y="1184"/>
                </a:lnTo>
                <a:lnTo>
                  <a:pt x="4369" y="1186"/>
                </a:lnTo>
                <a:lnTo>
                  <a:pt x="4367" y="1188"/>
                </a:lnTo>
                <a:lnTo>
                  <a:pt x="4364" y="1189"/>
                </a:lnTo>
                <a:lnTo>
                  <a:pt x="4361" y="1190"/>
                </a:lnTo>
                <a:lnTo>
                  <a:pt x="4357" y="1190"/>
                </a:lnTo>
                <a:lnTo>
                  <a:pt x="4354" y="1189"/>
                </a:lnTo>
                <a:lnTo>
                  <a:pt x="4351" y="1188"/>
                </a:lnTo>
                <a:lnTo>
                  <a:pt x="4349" y="1186"/>
                </a:lnTo>
                <a:lnTo>
                  <a:pt x="4347" y="1184"/>
                </a:lnTo>
                <a:lnTo>
                  <a:pt x="4345" y="1181"/>
                </a:lnTo>
                <a:lnTo>
                  <a:pt x="4344" y="1179"/>
                </a:lnTo>
                <a:lnTo>
                  <a:pt x="4343" y="1176"/>
                </a:lnTo>
                <a:lnTo>
                  <a:pt x="4343" y="1172"/>
                </a:lnTo>
                <a:lnTo>
                  <a:pt x="4344" y="1169"/>
                </a:lnTo>
                <a:lnTo>
                  <a:pt x="4345" y="1167"/>
                </a:lnTo>
                <a:lnTo>
                  <a:pt x="4347" y="1164"/>
                </a:lnTo>
                <a:lnTo>
                  <a:pt x="4349" y="1162"/>
                </a:lnTo>
                <a:lnTo>
                  <a:pt x="4351" y="1161"/>
                </a:lnTo>
                <a:close/>
                <a:moveTo>
                  <a:pt x="4215" y="1112"/>
                </a:moveTo>
                <a:lnTo>
                  <a:pt x="4218" y="1111"/>
                </a:lnTo>
                <a:lnTo>
                  <a:pt x="4222" y="1110"/>
                </a:lnTo>
                <a:lnTo>
                  <a:pt x="4225" y="1111"/>
                </a:lnTo>
                <a:lnTo>
                  <a:pt x="4229" y="1111"/>
                </a:lnTo>
                <a:lnTo>
                  <a:pt x="4232" y="1113"/>
                </a:lnTo>
                <a:lnTo>
                  <a:pt x="4234" y="1115"/>
                </a:lnTo>
                <a:lnTo>
                  <a:pt x="4236" y="1117"/>
                </a:lnTo>
                <a:lnTo>
                  <a:pt x="4238" y="1120"/>
                </a:lnTo>
                <a:lnTo>
                  <a:pt x="4239" y="1123"/>
                </a:lnTo>
                <a:lnTo>
                  <a:pt x="4239" y="1126"/>
                </a:lnTo>
                <a:lnTo>
                  <a:pt x="4239" y="1129"/>
                </a:lnTo>
                <a:lnTo>
                  <a:pt x="4238" y="1132"/>
                </a:lnTo>
                <a:lnTo>
                  <a:pt x="4235" y="1137"/>
                </a:lnTo>
                <a:lnTo>
                  <a:pt x="4233" y="1138"/>
                </a:lnTo>
                <a:lnTo>
                  <a:pt x="4231" y="1140"/>
                </a:lnTo>
                <a:lnTo>
                  <a:pt x="4228" y="1141"/>
                </a:lnTo>
                <a:lnTo>
                  <a:pt x="4224" y="1142"/>
                </a:lnTo>
                <a:lnTo>
                  <a:pt x="4221" y="1142"/>
                </a:lnTo>
                <a:lnTo>
                  <a:pt x="4217" y="1141"/>
                </a:lnTo>
                <a:lnTo>
                  <a:pt x="4215" y="1140"/>
                </a:lnTo>
                <a:lnTo>
                  <a:pt x="4212" y="1138"/>
                </a:lnTo>
                <a:lnTo>
                  <a:pt x="4210" y="1135"/>
                </a:lnTo>
                <a:lnTo>
                  <a:pt x="4209" y="1133"/>
                </a:lnTo>
                <a:lnTo>
                  <a:pt x="4208" y="1130"/>
                </a:lnTo>
                <a:lnTo>
                  <a:pt x="4207" y="1127"/>
                </a:lnTo>
                <a:lnTo>
                  <a:pt x="4207" y="1124"/>
                </a:lnTo>
                <a:lnTo>
                  <a:pt x="4208" y="1121"/>
                </a:lnTo>
                <a:lnTo>
                  <a:pt x="4211" y="1116"/>
                </a:lnTo>
                <a:lnTo>
                  <a:pt x="4213" y="1114"/>
                </a:lnTo>
                <a:lnTo>
                  <a:pt x="4215" y="1112"/>
                </a:lnTo>
                <a:close/>
                <a:moveTo>
                  <a:pt x="4082" y="1057"/>
                </a:moveTo>
                <a:lnTo>
                  <a:pt x="4086" y="1055"/>
                </a:lnTo>
                <a:lnTo>
                  <a:pt x="4089" y="1054"/>
                </a:lnTo>
                <a:lnTo>
                  <a:pt x="4093" y="1055"/>
                </a:lnTo>
                <a:lnTo>
                  <a:pt x="4097" y="1056"/>
                </a:lnTo>
                <a:lnTo>
                  <a:pt x="4100" y="1058"/>
                </a:lnTo>
                <a:lnTo>
                  <a:pt x="4102" y="1060"/>
                </a:lnTo>
                <a:lnTo>
                  <a:pt x="4104" y="1062"/>
                </a:lnTo>
                <a:lnTo>
                  <a:pt x="4105" y="1065"/>
                </a:lnTo>
                <a:lnTo>
                  <a:pt x="4106" y="1068"/>
                </a:lnTo>
                <a:lnTo>
                  <a:pt x="4106" y="1071"/>
                </a:lnTo>
                <a:lnTo>
                  <a:pt x="4106" y="1074"/>
                </a:lnTo>
                <a:lnTo>
                  <a:pt x="4105" y="1077"/>
                </a:lnTo>
                <a:lnTo>
                  <a:pt x="4102" y="1081"/>
                </a:lnTo>
                <a:lnTo>
                  <a:pt x="4100" y="1083"/>
                </a:lnTo>
                <a:lnTo>
                  <a:pt x="4098" y="1084"/>
                </a:lnTo>
                <a:lnTo>
                  <a:pt x="4095" y="1085"/>
                </a:lnTo>
                <a:lnTo>
                  <a:pt x="4091" y="1086"/>
                </a:lnTo>
                <a:lnTo>
                  <a:pt x="4087" y="1086"/>
                </a:lnTo>
                <a:lnTo>
                  <a:pt x="4084" y="1085"/>
                </a:lnTo>
                <a:lnTo>
                  <a:pt x="4081" y="1083"/>
                </a:lnTo>
                <a:lnTo>
                  <a:pt x="4079" y="1081"/>
                </a:lnTo>
                <a:lnTo>
                  <a:pt x="4077" y="1078"/>
                </a:lnTo>
                <a:lnTo>
                  <a:pt x="4075" y="1076"/>
                </a:lnTo>
                <a:lnTo>
                  <a:pt x="4075" y="1073"/>
                </a:lnTo>
                <a:lnTo>
                  <a:pt x="4074" y="1070"/>
                </a:lnTo>
                <a:lnTo>
                  <a:pt x="4075" y="1067"/>
                </a:lnTo>
                <a:lnTo>
                  <a:pt x="4076" y="1064"/>
                </a:lnTo>
                <a:lnTo>
                  <a:pt x="4079" y="1059"/>
                </a:lnTo>
                <a:lnTo>
                  <a:pt x="4080" y="1058"/>
                </a:lnTo>
                <a:lnTo>
                  <a:pt x="4082" y="1057"/>
                </a:lnTo>
                <a:close/>
                <a:moveTo>
                  <a:pt x="3954" y="990"/>
                </a:moveTo>
                <a:lnTo>
                  <a:pt x="3957" y="988"/>
                </a:lnTo>
                <a:lnTo>
                  <a:pt x="3961" y="988"/>
                </a:lnTo>
                <a:lnTo>
                  <a:pt x="3965" y="988"/>
                </a:lnTo>
                <a:lnTo>
                  <a:pt x="3969" y="990"/>
                </a:lnTo>
                <a:lnTo>
                  <a:pt x="3972" y="992"/>
                </a:lnTo>
                <a:lnTo>
                  <a:pt x="3974" y="994"/>
                </a:lnTo>
                <a:lnTo>
                  <a:pt x="3976" y="997"/>
                </a:lnTo>
                <a:lnTo>
                  <a:pt x="3977" y="1000"/>
                </a:lnTo>
                <a:lnTo>
                  <a:pt x="3977" y="1003"/>
                </a:lnTo>
                <a:lnTo>
                  <a:pt x="3977" y="1006"/>
                </a:lnTo>
                <a:lnTo>
                  <a:pt x="3977" y="1009"/>
                </a:lnTo>
                <a:lnTo>
                  <a:pt x="3975" y="1012"/>
                </a:lnTo>
                <a:lnTo>
                  <a:pt x="3974" y="1013"/>
                </a:lnTo>
                <a:lnTo>
                  <a:pt x="3973" y="1015"/>
                </a:lnTo>
                <a:lnTo>
                  <a:pt x="3969" y="1017"/>
                </a:lnTo>
                <a:lnTo>
                  <a:pt x="3966" y="1019"/>
                </a:lnTo>
                <a:lnTo>
                  <a:pt x="3962" y="1020"/>
                </a:lnTo>
                <a:lnTo>
                  <a:pt x="3958" y="1019"/>
                </a:lnTo>
                <a:lnTo>
                  <a:pt x="3954" y="1017"/>
                </a:lnTo>
                <a:lnTo>
                  <a:pt x="3951" y="1016"/>
                </a:lnTo>
                <a:lnTo>
                  <a:pt x="3949" y="1013"/>
                </a:lnTo>
                <a:lnTo>
                  <a:pt x="3947" y="1011"/>
                </a:lnTo>
                <a:lnTo>
                  <a:pt x="3946" y="1008"/>
                </a:lnTo>
                <a:lnTo>
                  <a:pt x="3946" y="1005"/>
                </a:lnTo>
                <a:lnTo>
                  <a:pt x="3946" y="1002"/>
                </a:lnTo>
                <a:lnTo>
                  <a:pt x="3946" y="999"/>
                </a:lnTo>
                <a:lnTo>
                  <a:pt x="3948" y="996"/>
                </a:lnTo>
                <a:lnTo>
                  <a:pt x="3949" y="994"/>
                </a:lnTo>
                <a:lnTo>
                  <a:pt x="3950" y="992"/>
                </a:lnTo>
                <a:lnTo>
                  <a:pt x="3954" y="990"/>
                </a:lnTo>
                <a:close/>
                <a:moveTo>
                  <a:pt x="3828" y="919"/>
                </a:moveTo>
                <a:lnTo>
                  <a:pt x="3832" y="917"/>
                </a:lnTo>
                <a:lnTo>
                  <a:pt x="3836" y="917"/>
                </a:lnTo>
                <a:lnTo>
                  <a:pt x="3840" y="917"/>
                </a:lnTo>
                <a:lnTo>
                  <a:pt x="3844" y="919"/>
                </a:lnTo>
                <a:lnTo>
                  <a:pt x="3847" y="921"/>
                </a:lnTo>
                <a:lnTo>
                  <a:pt x="3849" y="923"/>
                </a:lnTo>
                <a:lnTo>
                  <a:pt x="3850" y="926"/>
                </a:lnTo>
                <a:lnTo>
                  <a:pt x="3851" y="928"/>
                </a:lnTo>
                <a:lnTo>
                  <a:pt x="3852" y="931"/>
                </a:lnTo>
                <a:lnTo>
                  <a:pt x="3852" y="934"/>
                </a:lnTo>
                <a:lnTo>
                  <a:pt x="3851" y="938"/>
                </a:lnTo>
                <a:lnTo>
                  <a:pt x="3850" y="940"/>
                </a:lnTo>
                <a:lnTo>
                  <a:pt x="3847" y="944"/>
                </a:lnTo>
                <a:lnTo>
                  <a:pt x="3844" y="946"/>
                </a:lnTo>
                <a:lnTo>
                  <a:pt x="3840" y="948"/>
                </a:lnTo>
                <a:lnTo>
                  <a:pt x="3836" y="949"/>
                </a:lnTo>
                <a:lnTo>
                  <a:pt x="3832" y="948"/>
                </a:lnTo>
                <a:lnTo>
                  <a:pt x="3828" y="947"/>
                </a:lnTo>
                <a:lnTo>
                  <a:pt x="3826" y="945"/>
                </a:lnTo>
                <a:lnTo>
                  <a:pt x="3824" y="942"/>
                </a:lnTo>
                <a:lnTo>
                  <a:pt x="3822" y="940"/>
                </a:lnTo>
                <a:lnTo>
                  <a:pt x="3821" y="937"/>
                </a:lnTo>
                <a:lnTo>
                  <a:pt x="3820" y="934"/>
                </a:lnTo>
                <a:lnTo>
                  <a:pt x="3820" y="931"/>
                </a:lnTo>
                <a:lnTo>
                  <a:pt x="3821" y="928"/>
                </a:lnTo>
                <a:lnTo>
                  <a:pt x="3822" y="925"/>
                </a:lnTo>
                <a:lnTo>
                  <a:pt x="3825" y="922"/>
                </a:lnTo>
                <a:lnTo>
                  <a:pt x="3828" y="919"/>
                </a:lnTo>
                <a:close/>
                <a:moveTo>
                  <a:pt x="3702" y="849"/>
                </a:moveTo>
                <a:lnTo>
                  <a:pt x="3706" y="847"/>
                </a:lnTo>
                <a:lnTo>
                  <a:pt x="3710" y="847"/>
                </a:lnTo>
                <a:lnTo>
                  <a:pt x="3712" y="847"/>
                </a:lnTo>
                <a:lnTo>
                  <a:pt x="3714" y="847"/>
                </a:lnTo>
                <a:lnTo>
                  <a:pt x="3718" y="849"/>
                </a:lnTo>
                <a:lnTo>
                  <a:pt x="3721" y="851"/>
                </a:lnTo>
                <a:lnTo>
                  <a:pt x="3723" y="853"/>
                </a:lnTo>
                <a:lnTo>
                  <a:pt x="3725" y="855"/>
                </a:lnTo>
                <a:lnTo>
                  <a:pt x="3726" y="858"/>
                </a:lnTo>
                <a:lnTo>
                  <a:pt x="3726" y="861"/>
                </a:lnTo>
                <a:lnTo>
                  <a:pt x="3726" y="864"/>
                </a:lnTo>
                <a:lnTo>
                  <a:pt x="3726" y="867"/>
                </a:lnTo>
                <a:lnTo>
                  <a:pt x="3724" y="870"/>
                </a:lnTo>
                <a:lnTo>
                  <a:pt x="3722" y="874"/>
                </a:lnTo>
                <a:lnTo>
                  <a:pt x="3718" y="876"/>
                </a:lnTo>
                <a:lnTo>
                  <a:pt x="3715" y="878"/>
                </a:lnTo>
                <a:lnTo>
                  <a:pt x="3711" y="878"/>
                </a:lnTo>
                <a:lnTo>
                  <a:pt x="3709" y="878"/>
                </a:lnTo>
                <a:lnTo>
                  <a:pt x="3707" y="878"/>
                </a:lnTo>
                <a:lnTo>
                  <a:pt x="3703" y="877"/>
                </a:lnTo>
                <a:lnTo>
                  <a:pt x="3700" y="875"/>
                </a:lnTo>
                <a:lnTo>
                  <a:pt x="3698" y="872"/>
                </a:lnTo>
                <a:lnTo>
                  <a:pt x="3696" y="870"/>
                </a:lnTo>
                <a:lnTo>
                  <a:pt x="3695" y="867"/>
                </a:lnTo>
                <a:lnTo>
                  <a:pt x="3695" y="864"/>
                </a:lnTo>
                <a:lnTo>
                  <a:pt x="3695" y="861"/>
                </a:lnTo>
                <a:lnTo>
                  <a:pt x="3695" y="858"/>
                </a:lnTo>
                <a:lnTo>
                  <a:pt x="3697" y="855"/>
                </a:lnTo>
                <a:lnTo>
                  <a:pt x="3699" y="851"/>
                </a:lnTo>
                <a:lnTo>
                  <a:pt x="3702" y="849"/>
                </a:lnTo>
                <a:close/>
                <a:moveTo>
                  <a:pt x="3576" y="780"/>
                </a:moveTo>
                <a:lnTo>
                  <a:pt x="3578" y="779"/>
                </a:lnTo>
                <a:lnTo>
                  <a:pt x="3580" y="779"/>
                </a:lnTo>
                <a:lnTo>
                  <a:pt x="3584" y="778"/>
                </a:lnTo>
                <a:lnTo>
                  <a:pt x="3586" y="778"/>
                </a:lnTo>
                <a:lnTo>
                  <a:pt x="3588" y="778"/>
                </a:lnTo>
                <a:lnTo>
                  <a:pt x="3591" y="780"/>
                </a:lnTo>
                <a:lnTo>
                  <a:pt x="3594" y="782"/>
                </a:lnTo>
                <a:lnTo>
                  <a:pt x="3596" y="784"/>
                </a:lnTo>
                <a:lnTo>
                  <a:pt x="3598" y="786"/>
                </a:lnTo>
                <a:lnTo>
                  <a:pt x="3599" y="789"/>
                </a:lnTo>
                <a:lnTo>
                  <a:pt x="3600" y="792"/>
                </a:lnTo>
                <a:lnTo>
                  <a:pt x="3600" y="795"/>
                </a:lnTo>
                <a:lnTo>
                  <a:pt x="3599" y="798"/>
                </a:lnTo>
                <a:lnTo>
                  <a:pt x="3598" y="801"/>
                </a:lnTo>
                <a:lnTo>
                  <a:pt x="3597" y="803"/>
                </a:lnTo>
                <a:lnTo>
                  <a:pt x="3595" y="805"/>
                </a:lnTo>
                <a:lnTo>
                  <a:pt x="3592" y="808"/>
                </a:lnTo>
                <a:lnTo>
                  <a:pt x="3590" y="808"/>
                </a:lnTo>
                <a:lnTo>
                  <a:pt x="3588" y="809"/>
                </a:lnTo>
                <a:lnTo>
                  <a:pt x="3584" y="810"/>
                </a:lnTo>
                <a:lnTo>
                  <a:pt x="3582" y="810"/>
                </a:lnTo>
                <a:lnTo>
                  <a:pt x="3580" y="809"/>
                </a:lnTo>
                <a:lnTo>
                  <a:pt x="3576" y="808"/>
                </a:lnTo>
                <a:lnTo>
                  <a:pt x="3574" y="806"/>
                </a:lnTo>
                <a:lnTo>
                  <a:pt x="3572" y="804"/>
                </a:lnTo>
                <a:lnTo>
                  <a:pt x="3570" y="801"/>
                </a:lnTo>
                <a:lnTo>
                  <a:pt x="3569" y="798"/>
                </a:lnTo>
                <a:lnTo>
                  <a:pt x="3568" y="796"/>
                </a:lnTo>
                <a:lnTo>
                  <a:pt x="3568" y="792"/>
                </a:lnTo>
                <a:lnTo>
                  <a:pt x="3569" y="789"/>
                </a:lnTo>
                <a:lnTo>
                  <a:pt x="3570" y="786"/>
                </a:lnTo>
                <a:lnTo>
                  <a:pt x="3571" y="785"/>
                </a:lnTo>
                <a:lnTo>
                  <a:pt x="3573" y="783"/>
                </a:lnTo>
                <a:lnTo>
                  <a:pt x="3576" y="780"/>
                </a:lnTo>
                <a:close/>
                <a:moveTo>
                  <a:pt x="3448" y="713"/>
                </a:moveTo>
                <a:lnTo>
                  <a:pt x="3452" y="712"/>
                </a:lnTo>
                <a:lnTo>
                  <a:pt x="3456" y="711"/>
                </a:lnTo>
                <a:lnTo>
                  <a:pt x="3460" y="712"/>
                </a:lnTo>
                <a:lnTo>
                  <a:pt x="3464" y="713"/>
                </a:lnTo>
                <a:lnTo>
                  <a:pt x="3466" y="715"/>
                </a:lnTo>
                <a:lnTo>
                  <a:pt x="3469" y="717"/>
                </a:lnTo>
                <a:lnTo>
                  <a:pt x="3470" y="719"/>
                </a:lnTo>
                <a:lnTo>
                  <a:pt x="3472" y="722"/>
                </a:lnTo>
                <a:lnTo>
                  <a:pt x="3472" y="728"/>
                </a:lnTo>
                <a:lnTo>
                  <a:pt x="3472" y="731"/>
                </a:lnTo>
                <a:lnTo>
                  <a:pt x="3471" y="734"/>
                </a:lnTo>
                <a:lnTo>
                  <a:pt x="3469" y="736"/>
                </a:lnTo>
                <a:lnTo>
                  <a:pt x="3468" y="738"/>
                </a:lnTo>
                <a:lnTo>
                  <a:pt x="3464" y="741"/>
                </a:lnTo>
                <a:lnTo>
                  <a:pt x="3461" y="742"/>
                </a:lnTo>
                <a:lnTo>
                  <a:pt x="3457" y="743"/>
                </a:lnTo>
                <a:lnTo>
                  <a:pt x="3453" y="742"/>
                </a:lnTo>
                <a:lnTo>
                  <a:pt x="3449" y="741"/>
                </a:lnTo>
                <a:lnTo>
                  <a:pt x="3446" y="739"/>
                </a:lnTo>
                <a:lnTo>
                  <a:pt x="3444" y="737"/>
                </a:lnTo>
                <a:lnTo>
                  <a:pt x="3443" y="735"/>
                </a:lnTo>
                <a:lnTo>
                  <a:pt x="3441" y="732"/>
                </a:lnTo>
                <a:lnTo>
                  <a:pt x="3441" y="726"/>
                </a:lnTo>
                <a:lnTo>
                  <a:pt x="3441" y="723"/>
                </a:lnTo>
                <a:lnTo>
                  <a:pt x="3442" y="720"/>
                </a:lnTo>
                <a:lnTo>
                  <a:pt x="3444" y="718"/>
                </a:lnTo>
                <a:lnTo>
                  <a:pt x="3445" y="716"/>
                </a:lnTo>
                <a:lnTo>
                  <a:pt x="3448" y="713"/>
                </a:lnTo>
                <a:close/>
                <a:moveTo>
                  <a:pt x="418" y="2383"/>
                </a:moveTo>
                <a:lnTo>
                  <a:pt x="421" y="2382"/>
                </a:lnTo>
                <a:lnTo>
                  <a:pt x="424" y="2382"/>
                </a:lnTo>
                <a:lnTo>
                  <a:pt x="426" y="2382"/>
                </a:lnTo>
                <a:lnTo>
                  <a:pt x="429" y="2383"/>
                </a:lnTo>
                <a:lnTo>
                  <a:pt x="418" y="2383"/>
                </a:lnTo>
                <a:close/>
                <a:moveTo>
                  <a:pt x="3320" y="649"/>
                </a:moveTo>
                <a:lnTo>
                  <a:pt x="3321" y="648"/>
                </a:lnTo>
                <a:lnTo>
                  <a:pt x="3323" y="647"/>
                </a:lnTo>
                <a:lnTo>
                  <a:pt x="3327" y="647"/>
                </a:lnTo>
                <a:lnTo>
                  <a:pt x="3331" y="647"/>
                </a:lnTo>
                <a:lnTo>
                  <a:pt x="3335" y="648"/>
                </a:lnTo>
                <a:lnTo>
                  <a:pt x="3337" y="650"/>
                </a:lnTo>
                <a:lnTo>
                  <a:pt x="3340" y="652"/>
                </a:lnTo>
                <a:lnTo>
                  <a:pt x="3341" y="655"/>
                </a:lnTo>
                <a:lnTo>
                  <a:pt x="3343" y="657"/>
                </a:lnTo>
                <a:lnTo>
                  <a:pt x="3343" y="660"/>
                </a:lnTo>
                <a:lnTo>
                  <a:pt x="3343" y="663"/>
                </a:lnTo>
                <a:lnTo>
                  <a:pt x="3343" y="666"/>
                </a:lnTo>
                <a:lnTo>
                  <a:pt x="3342" y="669"/>
                </a:lnTo>
                <a:lnTo>
                  <a:pt x="3339" y="673"/>
                </a:lnTo>
                <a:lnTo>
                  <a:pt x="3338" y="675"/>
                </a:lnTo>
                <a:lnTo>
                  <a:pt x="3336" y="676"/>
                </a:lnTo>
                <a:lnTo>
                  <a:pt x="3334" y="677"/>
                </a:lnTo>
                <a:lnTo>
                  <a:pt x="3332" y="678"/>
                </a:lnTo>
                <a:lnTo>
                  <a:pt x="3328" y="678"/>
                </a:lnTo>
                <a:lnTo>
                  <a:pt x="3325" y="678"/>
                </a:lnTo>
                <a:lnTo>
                  <a:pt x="3321" y="677"/>
                </a:lnTo>
                <a:lnTo>
                  <a:pt x="3318" y="675"/>
                </a:lnTo>
                <a:lnTo>
                  <a:pt x="3316" y="673"/>
                </a:lnTo>
                <a:lnTo>
                  <a:pt x="3314" y="670"/>
                </a:lnTo>
                <a:lnTo>
                  <a:pt x="3313" y="668"/>
                </a:lnTo>
                <a:lnTo>
                  <a:pt x="3312" y="665"/>
                </a:lnTo>
                <a:lnTo>
                  <a:pt x="3312" y="662"/>
                </a:lnTo>
                <a:lnTo>
                  <a:pt x="3312" y="659"/>
                </a:lnTo>
                <a:lnTo>
                  <a:pt x="3313" y="656"/>
                </a:lnTo>
                <a:lnTo>
                  <a:pt x="3316" y="652"/>
                </a:lnTo>
                <a:lnTo>
                  <a:pt x="3318" y="650"/>
                </a:lnTo>
                <a:lnTo>
                  <a:pt x="3320" y="649"/>
                </a:lnTo>
                <a:close/>
                <a:moveTo>
                  <a:pt x="505" y="2272"/>
                </a:moveTo>
                <a:lnTo>
                  <a:pt x="507" y="2271"/>
                </a:lnTo>
                <a:lnTo>
                  <a:pt x="510" y="2270"/>
                </a:lnTo>
                <a:lnTo>
                  <a:pt x="512" y="2270"/>
                </a:lnTo>
                <a:lnTo>
                  <a:pt x="514" y="2270"/>
                </a:lnTo>
                <a:lnTo>
                  <a:pt x="517" y="2270"/>
                </a:lnTo>
                <a:lnTo>
                  <a:pt x="519" y="2271"/>
                </a:lnTo>
                <a:lnTo>
                  <a:pt x="521" y="2272"/>
                </a:lnTo>
                <a:lnTo>
                  <a:pt x="523" y="2273"/>
                </a:lnTo>
                <a:lnTo>
                  <a:pt x="526" y="2276"/>
                </a:lnTo>
                <a:lnTo>
                  <a:pt x="526" y="2277"/>
                </a:lnTo>
                <a:lnTo>
                  <a:pt x="527" y="2279"/>
                </a:lnTo>
                <a:lnTo>
                  <a:pt x="528" y="2281"/>
                </a:lnTo>
                <a:lnTo>
                  <a:pt x="529" y="2284"/>
                </a:lnTo>
                <a:lnTo>
                  <a:pt x="529" y="2287"/>
                </a:lnTo>
                <a:lnTo>
                  <a:pt x="528" y="2290"/>
                </a:lnTo>
                <a:lnTo>
                  <a:pt x="527" y="2293"/>
                </a:lnTo>
                <a:lnTo>
                  <a:pt x="525" y="2296"/>
                </a:lnTo>
                <a:lnTo>
                  <a:pt x="523" y="2298"/>
                </a:lnTo>
                <a:lnTo>
                  <a:pt x="521" y="2299"/>
                </a:lnTo>
                <a:lnTo>
                  <a:pt x="519" y="2300"/>
                </a:lnTo>
                <a:lnTo>
                  <a:pt x="516" y="2301"/>
                </a:lnTo>
                <a:lnTo>
                  <a:pt x="514" y="2301"/>
                </a:lnTo>
                <a:lnTo>
                  <a:pt x="511" y="2301"/>
                </a:lnTo>
                <a:lnTo>
                  <a:pt x="509" y="2301"/>
                </a:lnTo>
                <a:lnTo>
                  <a:pt x="507" y="2300"/>
                </a:lnTo>
                <a:lnTo>
                  <a:pt x="505" y="2299"/>
                </a:lnTo>
                <a:lnTo>
                  <a:pt x="502" y="2297"/>
                </a:lnTo>
                <a:lnTo>
                  <a:pt x="500" y="2295"/>
                </a:lnTo>
                <a:lnTo>
                  <a:pt x="499" y="2294"/>
                </a:lnTo>
                <a:lnTo>
                  <a:pt x="499" y="2292"/>
                </a:lnTo>
                <a:lnTo>
                  <a:pt x="498" y="2289"/>
                </a:lnTo>
                <a:lnTo>
                  <a:pt x="497" y="2286"/>
                </a:lnTo>
                <a:lnTo>
                  <a:pt x="497" y="2283"/>
                </a:lnTo>
                <a:lnTo>
                  <a:pt x="498" y="2280"/>
                </a:lnTo>
                <a:lnTo>
                  <a:pt x="499" y="2278"/>
                </a:lnTo>
                <a:lnTo>
                  <a:pt x="501" y="2275"/>
                </a:lnTo>
                <a:lnTo>
                  <a:pt x="503" y="2273"/>
                </a:lnTo>
                <a:lnTo>
                  <a:pt x="505" y="2272"/>
                </a:lnTo>
                <a:close/>
                <a:moveTo>
                  <a:pt x="605" y="2169"/>
                </a:moveTo>
                <a:lnTo>
                  <a:pt x="608" y="2167"/>
                </a:lnTo>
                <a:lnTo>
                  <a:pt x="610" y="2167"/>
                </a:lnTo>
                <a:lnTo>
                  <a:pt x="615" y="2167"/>
                </a:lnTo>
                <a:lnTo>
                  <a:pt x="618" y="2167"/>
                </a:lnTo>
                <a:lnTo>
                  <a:pt x="620" y="2168"/>
                </a:lnTo>
                <a:lnTo>
                  <a:pt x="623" y="2170"/>
                </a:lnTo>
                <a:lnTo>
                  <a:pt x="625" y="2171"/>
                </a:lnTo>
                <a:lnTo>
                  <a:pt x="627" y="2174"/>
                </a:lnTo>
                <a:lnTo>
                  <a:pt x="628" y="2177"/>
                </a:lnTo>
                <a:lnTo>
                  <a:pt x="629" y="2180"/>
                </a:lnTo>
                <a:lnTo>
                  <a:pt x="629" y="2183"/>
                </a:lnTo>
                <a:lnTo>
                  <a:pt x="628" y="2186"/>
                </a:lnTo>
                <a:lnTo>
                  <a:pt x="628" y="2189"/>
                </a:lnTo>
                <a:lnTo>
                  <a:pt x="626" y="2191"/>
                </a:lnTo>
                <a:lnTo>
                  <a:pt x="624" y="2194"/>
                </a:lnTo>
                <a:lnTo>
                  <a:pt x="621" y="2196"/>
                </a:lnTo>
                <a:lnTo>
                  <a:pt x="619" y="2197"/>
                </a:lnTo>
                <a:lnTo>
                  <a:pt x="616" y="2198"/>
                </a:lnTo>
                <a:lnTo>
                  <a:pt x="611" y="2198"/>
                </a:lnTo>
                <a:lnTo>
                  <a:pt x="608" y="2197"/>
                </a:lnTo>
                <a:lnTo>
                  <a:pt x="606" y="2196"/>
                </a:lnTo>
                <a:lnTo>
                  <a:pt x="604" y="2195"/>
                </a:lnTo>
                <a:lnTo>
                  <a:pt x="601" y="2193"/>
                </a:lnTo>
                <a:lnTo>
                  <a:pt x="600" y="2191"/>
                </a:lnTo>
                <a:lnTo>
                  <a:pt x="598" y="2188"/>
                </a:lnTo>
                <a:lnTo>
                  <a:pt x="597" y="2185"/>
                </a:lnTo>
                <a:lnTo>
                  <a:pt x="597" y="2182"/>
                </a:lnTo>
                <a:lnTo>
                  <a:pt x="598" y="2179"/>
                </a:lnTo>
                <a:lnTo>
                  <a:pt x="599" y="2176"/>
                </a:lnTo>
                <a:lnTo>
                  <a:pt x="600" y="2173"/>
                </a:lnTo>
                <a:lnTo>
                  <a:pt x="602" y="2171"/>
                </a:lnTo>
                <a:lnTo>
                  <a:pt x="605" y="2169"/>
                </a:lnTo>
                <a:close/>
                <a:moveTo>
                  <a:pt x="714" y="2075"/>
                </a:moveTo>
                <a:lnTo>
                  <a:pt x="717" y="2074"/>
                </a:lnTo>
                <a:lnTo>
                  <a:pt x="720" y="2073"/>
                </a:lnTo>
                <a:lnTo>
                  <a:pt x="725" y="2073"/>
                </a:lnTo>
                <a:lnTo>
                  <a:pt x="728" y="2074"/>
                </a:lnTo>
                <a:lnTo>
                  <a:pt x="730" y="2075"/>
                </a:lnTo>
                <a:lnTo>
                  <a:pt x="733" y="2077"/>
                </a:lnTo>
                <a:lnTo>
                  <a:pt x="734" y="2078"/>
                </a:lnTo>
                <a:lnTo>
                  <a:pt x="735" y="2079"/>
                </a:lnTo>
                <a:lnTo>
                  <a:pt x="737" y="2082"/>
                </a:lnTo>
                <a:lnTo>
                  <a:pt x="738" y="2085"/>
                </a:lnTo>
                <a:lnTo>
                  <a:pt x="738" y="2088"/>
                </a:lnTo>
                <a:lnTo>
                  <a:pt x="738" y="2091"/>
                </a:lnTo>
                <a:lnTo>
                  <a:pt x="737" y="2094"/>
                </a:lnTo>
                <a:lnTo>
                  <a:pt x="736" y="2097"/>
                </a:lnTo>
                <a:lnTo>
                  <a:pt x="734" y="2099"/>
                </a:lnTo>
                <a:lnTo>
                  <a:pt x="732" y="2101"/>
                </a:lnTo>
                <a:lnTo>
                  <a:pt x="730" y="2103"/>
                </a:lnTo>
                <a:lnTo>
                  <a:pt x="728" y="2104"/>
                </a:lnTo>
                <a:lnTo>
                  <a:pt x="725" y="2105"/>
                </a:lnTo>
                <a:lnTo>
                  <a:pt x="719" y="2104"/>
                </a:lnTo>
                <a:lnTo>
                  <a:pt x="717" y="2104"/>
                </a:lnTo>
                <a:lnTo>
                  <a:pt x="714" y="2102"/>
                </a:lnTo>
                <a:lnTo>
                  <a:pt x="712" y="2101"/>
                </a:lnTo>
                <a:lnTo>
                  <a:pt x="711" y="2100"/>
                </a:lnTo>
                <a:lnTo>
                  <a:pt x="710" y="2099"/>
                </a:lnTo>
                <a:lnTo>
                  <a:pt x="708" y="2096"/>
                </a:lnTo>
                <a:lnTo>
                  <a:pt x="707" y="2093"/>
                </a:lnTo>
                <a:lnTo>
                  <a:pt x="707" y="2090"/>
                </a:lnTo>
                <a:lnTo>
                  <a:pt x="707" y="2087"/>
                </a:lnTo>
                <a:lnTo>
                  <a:pt x="707" y="2084"/>
                </a:lnTo>
                <a:lnTo>
                  <a:pt x="708" y="2081"/>
                </a:lnTo>
                <a:lnTo>
                  <a:pt x="710" y="2079"/>
                </a:lnTo>
                <a:lnTo>
                  <a:pt x="713" y="2076"/>
                </a:lnTo>
                <a:lnTo>
                  <a:pt x="714" y="2075"/>
                </a:lnTo>
                <a:close/>
                <a:moveTo>
                  <a:pt x="1082" y="1849"/>
                </a:moveTo>
                <a:lnTo>
                  <a:pt x="1086" y="1848"/>
                </a:lnTo>
                <a:lnTo>
                  <a:pt x="1089" y="1847"/>
                </a:lnTo>
                <a:lnTo>
                  <a:pt x="1092" y="1847"/>
                </a:lnTo>
                <a:lnTo>
                  <a:pt x="1095" y="1848"/>
                </a:lnTo>
                <a:lnTo>
                  <a:pt x="1098" y="1849"/>
                </a:lnTo>
                <a:lnTo>
                  <a:pt x="1100" y="1851"/>
                </a:lnTo>
                <a:lnTo>
                  <a:pt x="1102" y="1853"/>
                </a:lnTo>
                <a:lnTo>
                  <a:pt x="1104" y="1855"/>
                </a:lnTo>
                <a:lnTo>
                  <a:pt x="1106" y="1858"/>
                </a:lnTo>
                <a:lnTo>
                  <a:pt x="1106" y="1861"/>
                </a:lnTo>
                <a:lnTo>
                  <a:pt x="1106" y="1864"/>
                </a:lnTo>
                <a:lnTo>
                  <a:pt x="1106" y="1867"/>
                </a:lnTo>
                <a:lnTo>
                  <a:pt x="1105" y="1870"/>
                </a:lnTo>
                <a:lnTo>
                  <a:pt x="1103" y="1873"/>
                </a:lnTo>
                <a:lnTo>
                  <a:pt x="1101" y="1875"/>
                </a:lnTo>
                <a:lnTo>
                  <a:pt x="1098" y="1877"/>
                </a:lnTo>
                <a:lnTo>
                  <a:pt x="1095" y="1878"/>
                </a:lnTo>
                <a:lnTo>
                  <a:pt x="1092" y="1879"/>
                </a:lnTo>
                <a:lnTo>
                  <a:pt x="1089" y="1879"/>
                </a:lnTo>
                <a:lnTo>
                  <a:pt x="1086" y="1878"/>
                </a:lnTo>
                <a:lnTo>
                  <a:pt x="1083" y="1877"/>
                </a:lnTo>
                <a:lnTo>
                  <a:pt x="1080" y="1875"/>
                </a:lnTo>
                <a:lnTo>
                  <a:pt x="1078" y="1873"/>
                </a:lnTo>
                <a:lnTo>
                  <a:pt x="1076" y="1870"/>
                </a:lnTo>
                <a:lnTo>
                  <a:pt x="1075" y="1868"/>
                </a:lnTo>
                <a:lnTo>
                  <a:pt x="1075" y="1865"/>
                </a:lnTo>
                <a:lnTo>
                  <a:pt x="1075" y="1862"/>
                </a:lnTo>
                <a:lnTo>
                  <a:pt x="1075" y="1859"/>
                </a:lnTo>
                <a:lnTo>
                  <a:pt x="1076" y="1856"/>
                </a:lnTo>
                <a:lnTo>
                  <a:pt x="1078" y="1853"/>
                </a:lnTo>
                <a:lnTo>
                  <a:pt x="1080" y="1851"/>
                </a:lnTo>
                <a:lnTo>
                  <a:pt x="1082" y="1849"/>
                </a:lnTo>
                <a:close/>
                <a:moveTo>
                  <a:pt x="1207" y="1776"/>
                </a:moveTo>
                <a:lnTo>
                  <a:pt x="1209" y="1774"/>
                </a:lnTo>
                <a:lnTo>
                  <a:pt x="1212" y="1774"/>
                </a:lnTo>
                <a:lnTo>
                  <a:pt x="1215" y="1773"/>
                </a:lnTo>
                <a:lnTo>
                  <a:pt x="1218" y="1774"/>
                </a:lnTo>
                <a:lnTo>
                  <a:pt x="1221" y="1775"/>
                </a:lnTo>
                <a:lnTo>
                  <a:pt x="1224" y="1776"/>
                </a:lnTo>
                <a:lnTo>
                  <a:pt x="1226" y="1778"/>
                </a:lnTo>
                <a:lnTo>
                  <a:pt x="1228" y="1781"/>
                </a:lnTo>
                <a:lnTo>
                  <a:pt x="1229" y="1784"/>
                </a:lnTo>
                <a:lnTo>
                  <a:pt x="1230" y="1788"/>
                </a:lnTo>
                <a:lnTo>
                  <a:pt x="1230" y="1791"/>
                </a:lnTo>
                <a:lnTo>
                  <a:pt x="1230" y="1794"/>
                </a:lnTo>
                <a:lnTo>
                  <a:pt x="1229" y="1797"/>
                </a:lnTo>
                <a:lnTo>
                  <a:pt x="1228" y="1799"/>
                </a:lnTo>
                <a:lnTo>
                  <a:pt x="1226" y="1802"/>
                </a:lnTo>
                <a:lnTo>
                  <a:pt x="1223" y="1804"/>
                </a:lnTo>
                <a:lnTo>
                  <a:pt x="1220" y="1805"/>
                </a:lnTo>
                <a:lnTo>
                  <a:pt x="1217" y="1806"/>
                </a:lnTo>
                <a:lnTo>
                  <a:pt x="1214" y="1806"/>
                </a:lnTo>
                <a:lnTo>
                  <a:pt x="1211" y="1806"/>
                </a:lnTo>
                <a:lnTo>
                  <a:pt x="1208" y="1805"/>
                </a:lnTo>
                <a:lnTo>
                  <a:pt x="1205" y="1803"/>
                </a:lnTo>
                <a:lnTo>
                  <a:pt x="1203" y="1801"/>
                </a:lnTo>
                <a:lnTo>
                  <a:pt x="1201" y="1799"/>
                </a:lnTo>
                <a:lnTo>
                  <a:pt x="1200" y="1796"/>
                </a:lnTo>
                <a:lnTo>
                  <a:pt x="1199" y="1793"/>
                </a:lnTo>
                <a:lnTo>
                  <a:pt x="1199" y="1790"/>
                </a:lnTo>
                <a:lnTo>
                  <a:pt x="1199" y="1787"/>
                </a:lnTo>
                <a:lnTo>
                  <a:pt x="1200" y="1783"/>
                </a:lnTo>
                <a:lnTo>
                  <a:pt x="1201" y="1780"/>
                </a:lnTo>
                <a:lnTo>
                  <a:pt x="1203" y="1778"/>
                </a:lnTo>
                <a:lnTo>
                  <a:pt x="1206" y="1776"/>
                </a:lnTo>
                <a:lnTo>
                  <a:pt x="1207" y="1776"/>
                </a:lnTo>
                <a:close/>
                <a:moveTo>
                  <a:pt x="832" y="1991"/>
                </a:moveTo>
                <a:lnTo>
                  <a:pt x="835" y="1990"/>
                </a:lnTo>
                <a:lnTo>
                  <a:pt x="838" y="1989"/>
                </a:lnTo>
                <a:lnTo>
                  <a:pt x="841" y="1989"/>
                </a:lnTo>
                <a:lnTo>
                  <a:pt x="844" y="1990"/>
                </a:lnTo>
                <a:lnTo>
                  <a:pt x="847" y="1991"/>
                </a:lnTo>
                <a:lnTo>
                  <a:pt x="849" y="1992"/>
                </a:lnTo>
                <a:lnTo>
                  <a:pt x="851" y="1994"/>
                </a:lnTo>
                <a:lnTo>
                  <a:pt x="853" y="1996"/>
                </a:lnTo>
                <a:lnTo>
                  <a:pt x="855" y="1999"/>
                </a:lnTo>
                <a:lnTo>
                  <a:pt x="856" y="2002"/>
                </a:lnTo>
                <a:lnTo>
                  <a:pt x="856" y="2008"/>
                </a:lnTo>
                <a:lnTo>
                  <a:pt x="855" y="2011"/>
                </a:lnTo>
                <a:lnTo>
                  <a:pt x="853" y="2014"/>
                </a:lnTo>
                <a:lnTo>
                  <a:pt x="851" y="2016"/>
                </a:lnTo>
                <a:lnTo>
                  <a:pt x="849" y="2018"/>
                </a:lnTo>
                <a:lnTo>
                  <a:pt x="846" y="2020"/>
                </a:lnTo>
                <a:lnTo>
                  <a:pt x="843" y="2021"/>
                </a:lnTo>
                <a:lnTo>
                  <a:pt x="837" y="2020"/>
                </a:lnTo>
                <a:lnTo>
                  <a:pt x="834" y="2020"/>
                </a:lnTo>
                <a:lnTo>
                  <a:pt x="831" y="2018"/>
                </a:lnTo>
                <a:lnTo>
                  <a:pt x="829" y="2016"/>
                </a:lnTo>
                <a:lnTo>
                  <a:pt x="827" y="2014"/>
                </a:lnTo>
                <a:lnTo>
                  <a:pt x="825" y="2011"/>
                </a:lnTo>
                <a:lnTo>
                  <a:pt x="825" y="2008"/>
                </a:lnTo>
                <a:lnTo>
                  <a:pt x="825" y="2002"/>
                </a:lnTo>
                <a:lnTo>
                  <a:pt x="826" y="1999"/>
                </a:lnTo>
                <a:lnTo>
                  <a:pt x="827" y="1996"/>
                </a:lnTo>
                <a:lnTo>
                  <a:pt x="829" y="1994"/>
                </a:lnTo>
                <a:lnTo>
                  <a:pt x="831" y="1992"/>
                </a:lnTo>
                <a:lnTo>
                  <a:pt x="832" y="1991"/>
                </a:lnTo>
                <a:close/>
                <a:moveTo>
                  <a:pt x="955" y="1917"/>
                </a:moveTo>
                <a:lnTo>
                  <a:pt x="958" y="1915"/>
                </a:lnTo>
                <a:lnTo>
                  <a:pt x="961" y="1915"/>
                </a:lnTo>
                <a:lnTo>
                  <a:pt x="964" y="1915"/>
                </a:lnTo>
                <a:lnTo>
                  <a:pt x="967" y="1915"/>
                </a:lnTo>
                <a:lnTo>
                  <a:pt x="970" y="1916"/>
                </a:lnTo>
                <a:lnTo>
                  <a:pt x="973" y="1918"/>
                </a:lnTo>
                <a:lnTo>
                  <a:pt x="975" y="1920"/>
                </a:lnTo>
                <a:lnTo>
                  <a:pt x="977" y="1923"/>
                </a:lnTo>
                <a:lnTo>
                  <a:pt x="978" y="1926"/>
                </a:lnTo>
                <a:lnTo>
                  <a:pt x="979" y="1929"/>
                </a:lnTo>
                <a:lnTo>
                  <a:pt x="979" y="1932"/>
                </a:lnTo>
                <a:lnTo>
                  <a:pt x="978" y="1935"/>
                </a:lnTo>
                <a:lnTo>
                  <a:pt x="977" y="1937"/>
                </a:lnTo>
                <a:lnTo>
                  <a:pt x="976" y="1940"/>
                </a:lnTo>
                <a:lnTo>
                  <a:pt x="974" y="1942"/>
                </a:lnTo>
                <a:lnTo>
                  <a:pt x="971" y="1944"/>
                </a:lnTo>
                <a:lnTo>
                  <a:pt x="968" y="1945"/>
                </a:lnTo>
                <a:lnTo>
                  <a:pt x="965" y="1946"/>
                </a:lnTo>
                <a:lnTo>
                  <a:pt x="962" y="1946"/>
                </a:lnTo>
                <a:lnTo>
                  <a:pt x="959" y="1946"/>
                </a:lnTo>
                <a:lnTo>
                  <a:pt x="956" y="1945"/>
                </a:lnTo>
                <a:lnTo>
                  <a:pt x="953" y="1943"/>
                </a:lnTo>
                <a:lnTo>
                  <a:pt x="951" y="1941"/>
                </a:lnTo>
                <a:lnTo>
                  <a:pt x="949" y="1938"/>
                </a:lnTo>
                <a:lnTo>
                  <a:pt x="948" y="1935"/>
                </a:lnTo>
                <a:lnTo>
                  <a:pt x="947" y="1932"/>
                </a:lnTo>
                <a:lnTo>
                  <a:pt x="947" y="1929"/>
                </a:lnTo>
                <a:lnTo>
                  <a:pt x="948" y="1926"/>
                </a:lnTo>
                <a:lnTo>
                  <a:pt x="949" y="1923"/>
                </a:lnTo>
                <a:lnTo>
                  <a:pt x="951" y="1921"/>
                </a:lnTo>
                <a:lnTo>
                  <a:pt x="953" y="1919"/>
                </a:lnTo>
                <a:lnTo>
                  <a:pt x="955" y="1917"/>
                </a:lnTo>
                <a:close/>
                <a:moveTo>
                  <a:pt x="1324" y="1694"/>
                </a:moveTo>
                <a:lnTo>
                  <a:pt x="1327" y="1692"/>
                </a:lnTo>
                <a:lnTo>
                  <a:pt x="1330" y="1692"/>
                </a:lnTo>
                <a:lnTo>
                  <a:pt x="1335" y="1692"/>
                </a:lnTo>
                <a:lnTo>
                  <a:pt x="1338" y="1693"/>
                </a:lnTo>
                <a:lnTo>
                  <a:pt x="1341" y="1694"/>
                </a:lnTo>
                <a:lnTo>
                  <a:pt x="1343" y="1695"/>
                </a:lnTo>
                <a:lnTo>
                  <a:pt x="1344" y="1696"/>
                </a:lnTo>
                <a:lnTo>
                  <a:pt x="1345" y="1698"/>
                </a:lnTo>
                <a:lnTo>
                  <a:pt x="1347" y="1700"/>
                </a:lnTo>
                <a:lnTo>
                  <a:pt x="1348" y="1703"/>
                </a:lnTo>
                <a:lnTo>
                  <a:pt x="1348" y="1706"/>
                </a:lnTo>
                <a:lnTo>
                  <a:pt x="1348" y="1709"/>
                </a:lnTo>
                <a:lnTo>
                  <a:pt x="1347" y="1712"/>
                </a:lnTo>
                <a:lnTo>
                  <a:pt x="1346" y="1715"/>
                </a:lnTo>
                <a:lnTo>
                  <a:pt x="1344" y="1718"/>
                </a:lnTo>
                <a:lnTo>
                  <a:pt x="1342" y="1720"/>
                </a:lnTo>
                <a:lnTo>
                  <a:pt x="1340" y="1721"/>
                </a:lnTo>
                <a:lnTo>
                  <a:pt x="1338" y="1722"/>
                </a:lnTo>
                <a:lnTo>
                  <a:pt x="1335" y="1723"/>
                </a:lnTo>
                <a:lnTo>
                  <a:pt x="1329" y="1723"/>
                </a:lnTo>
                <a:lnTo>
                  <a:pt x="1327" y="1722"/>
                </a:lnTo>
                <a:lnTo>
                  <a:pt x="1324" y="1721"/>
                </a:lnTo>
                <a:lnTo>
                  <a:pt x="1322" y="1719"/>
                </a:lnTo>
                <a:lnTo>
                  <a:pt x="1321" y="1718"/>
                </a:lnTo>
                <a:lnTo>
                  <a:pt x="1320" y="1717"/>
                </a:lnTo>
                <a:lnTo>
                  <a:pt x="1318" y="1714"/>
                </a:lnTo>
                <a:lnTo>
                  <a:pt x="1317" y="1711"/>
                </a:lnTo>
                <a:lnTo>
                  <a:pt x="1317" y="1708"/>
                </a:lnTo>
                <a:lnTo>
                  <a:pt x="1317" y="1705"/>
                </a:lnTo>
                <a:lnTo>
                  <a:pt x="1317" y="1702"/>
                </a:lnTo>
                <a:lnTo>
                  <a:pt x="1319" y="1699"/>
                </a:lnTo>
                <a:lnTo>
                  <a:pt x="1320" y="1697"/>
                </a:lnTo>
                <a:lnTo>
                  <a:pt x="1323" y="1695"/>
                </a:lnTo>
                <a:lnTo>
                  <a:pt x="1324" y="1694"/>
                </a:lnTo>
                <a:close/>
                <a:moveTo>
                  <a:pt x="3189" y="587"/>
                </a:moveTo>
                <a:lnTo>
                  <a:pt x="3193" y="585"/>
                </a:lnTo>
                <a:lnTo>
                  <a:pt x="3196" y="585"/>
                </a:lnTo>
                <a:lnTo>
                  <a:pt x="3200" y="585"/>
                </a:lnTo>
                <a:lnTo>
                  <a:pt x="3202" y="585"/>
                </a:lnTo>
                <a:lnTo>
                  <a:pt x="3204" y="586"/>
                </a:lnTo>
                <a:lnTo>
                  <a:pt x="3207" y="588"/>
                </a:lnTo>
                <a:lnTo>
                  <a:pt x="3209" y="590"/>
                </a:lnTo>
                <a:lnTo>
                  <a:pt x="3211" y="592"/>
                </a:lnTo>
                <a:lnTo>
                  <a:pt x="3212" y="596"/>
                </a:lnTo>
                <a:lnTo>
                  <a:pt x="3213" y="599"/>
                </a:lnTo>
                <a:lnTo>
                  <a:pt x="3213" y="602"/>
                </a:lnTo>
                <a:lnTo>
                  <a:pt x="3213" y="605"/>
                </a:lnTo>
                <a:lnTo>
                  <a:pt x="3212" y="608"/>
                </a:lnTo>
                <a:lnTo>
                  <a:pt x="3209" y="612"/>
                </a:lnTo>
                <a:lnTo>
                  <a:pt x="3207" y="614"/>
                </a:lnTo>
                <a:lnTo>
                  <a:pt x="3205" y="615"/>
                </a:lnTo>
                <a:lnTo>
                  <a:pt x="3202" y="617"/>
                </a:lnTo>
                <a:lnTo>
                  <a:pt x="3198" y="617"/>
                </a:lnTo>
                <a:lnTo>
                  <a:pt x="3195" y="617"/>
                </a:lnTo>
                <a:lnTo>
                  <a:pt x="3193" y="616"/>
                </a:lnTo>
                <a:lnTo>
                  <a:pt x="3191" y="616"/>
                </a:lnTo>
                <a:lnTo>
                  <a:pt x="3188" y="614"/>
                </a:lnTo>
                <a:lnTo>
                  <a:pt x="3186" y="612"/>
                </a:lnTo>
                <a:lnTo>
                  <a:pt x="3184" y="610"/>
                </a:lnTo>
                <a:lnTo>
                  <a:pt x="3183" y="607"/>
                </a:lnTo>
                <a:lnTo>
                  <a:pt x="3182" y="604"/>
                </a:lnTo>
                <a:lnTo>
                  <a:pt x="3181" y="601"/>
                </a:lnTo>
                <a:lnTo>
                  <a:pt x="3182" y="598"/>
                </a:lnTo>
                <a:lnTo>
                  <a:pt x="3183" y="595"/>
                </a:lnTo>
                <a:lnTo>
                  <a:pt x="3186" y="590"/>
                </a:lnTo>
                <a:lnTo>
                  <a:pt x="3187" y="588"/>
                </a:lnTo>
                <a:lnTo>
                  <a:pt x="3189" y="587"/>
                </a:lnTo>
                <a:close/>
                <a:moveTo>
                  <a:pt x="1433" y="1600"/>
                </a:moveTo>
                <a:lnTo>
                  <a:pt x="1436" y="1599"/>
                </a:lnTo>
                <a:lnTo>
                  <a:pt x="1438" y="1598"/>
                </a:lnTo>
                <a:lnTo>
                  <a:pt x="1441" y="1598"/>
                </a:lnTo>
                <a:lnTo>
                  <a:pt x="1443" y="1598"/>
                </a:lnTo>
                <a:lnTo>
                  <a:pt x="1446" y="1599"/>
                </a:lnTo>
                <a:lnTo>
                  <a:pt x="1448" y="1600"/>
                </a:lnTo>
                <a:lnTo>
                  <a:pt x="1451" y="1601"/>
                </a:lnTo>
                <a:lnTo>
                  <a:pt x="1453" y="1603"/>
                </a:lnTo>
                <a:lnTo>
                  <a:pt x="1455" y="1605"/>
                </a:lnTo>
                <a:lnTo>
                  <a:pt x="1456" y="1608"/>
                </a:lnTo>
                <a:lnTo>
                  <a:pt x="1457" y="1611"/>
                </a:lnTo>
                <a:lnTo>
                  <a:pt x="1457" y="1614"/>
                </a:lnTo>
                <a:lnTo>
                  <a:pt x="1457" y="1617"/>
                </a:lnTo>
                <a:lnTo>
                  <a:pt x="1456" y="1620"/>
                </a:lnTo>
                <a:lnTo>
                  <a:pt x="1454" y="1623"/>
                </a:lnTo>
                <a:lnTo>
                  <a:pt x="1452" y="1625"/>
                </a:lnTo>
                <a:lnTo>
                  <a:pt x="1449" y="1627"/>
                </a:lnTo>
                <a:lnTo>
                  <a:pt x="1447" y="1629"/>
                </a:lnTo>
                <a:lnTo>
                  <a:pt x="1444" y="1629"/>
                </a:lnTo>
                <a:lnTo>
                  <a:pt x="1442" y="1630"/>
                </a:lnTo>
                <a:lnTo>
                  <a:pt x="1439" y="1629"/>
                </a:lnTo>
                <a:lnTo>
                  <a:pt x="1437" y="1629"/>
                </a:lnTo>
                <a:lnTo>
                  <a:pt x="1434" y="1628"/>
                </a:lnTo>
                <a:lnTo>
                  <a:pt x="1432" y="1627"/>
                </a:lnTo>
                <a:lnTo>
                  <a:pt x="1430" y="1625"/>
                </a:lnTo>
                <a:lnTo>
                  <a:pt x="1428" y="1622"/>
                </a:lnTo>
                <a:lnTo>
                  <a:pt x="1426" y="1619"/>
                </a:lnTo>
                <a:lnTo>
                  <a:pt x="1426" y="1617"/>
                </a:lnTo>
                <a:lnTo>
                  <a:pt x="1425" y="1614"/>
                </a:lnTo>
                <a:lnTo>
                  <a:pt x="1426" y="1610"/>
                </a:lnTo>
                <a:lnTo>
                  <a:pt x="1427" y="1608"/>
                </a:lnTo>
                <a:lnTo>
                  <a:pt x="1428" y="1605"/>
                </a:lnTo>
                <a:lnTo>
                  <a:pt x="1430" y="1602"/>
                </a:lnTo>
                <a:lnTo>
                  <a:pt x="1433" y="1600"/>
                </a:lnTo>
                <a:close/>
                <a:moveTo>
                  <a:pt x="1529" y="1493"/>
                </a:moveTo>
                <a:lnTo>
                  <a:pt x="1533" y="1491"/>
                </a:lnTo>
                <a:lnTo>
                  <a:pt x="1538" y="1491"/>
                </a:lnTo>
                <a:lnTo>
                  <a:pt x="1540" y="1491"/>
                </a:lnTo>
                <a:lnTo>
                  <a:pt x="1542" y="1492"/>
                </a:lnTo>
                <a:lnTo>
                  <a:pt x="1544" y="1493"/>
                </a:lnTo>
                <a:lnTo>
                  <a:pt x="1547" y="1494"/>
                </a:lnTo>
                <a:lnTo>
                  <a:pt x="1549" y="1496"/>
                </a:lnTo>
                <a:lnTo>
                  <a:pt x="1551" y="1499"/>
                </a:lnTo>
                <a:lnTo>
                  <a:pt x="1552" y="1502"/>
                </a:lnTo>
                <a:lnTo>
                  <a:pt x="1553" y="1505"/>
                </a:lnTo>
                <a:lnTo>
                  <a:pt x="1553" y="1508"/>
                </a:lnTo>
                <a:lnTo>
                  <a:pt x="1552" y="1511"/>
                </a:lnTo>
                <a:lnTo>
                  <a:pt x="1551" y="1514"/>
                </a:lnTo>
                <a:lnTo>
                  <a:pt x="1549" y="1516"/>
                </a:lnTo>
                <a:lnTo>
                  <a:pt x="1547" y="1519"/>
                </a:lnTo>
                <a:lnTo>
                  <a:pt x="1545" y="1521"/>
                </a:lnTo>
                <a:lnTo>
                  <a:pt x="1541" y="1522"/>
                </a:lnTo>
                <a:lnTo>
                  <a:pt x="1536" y="1523"/>
                </a:lnTo>
                <a:lnTo>
                  <a:pt x="1534" y="1522"/>
                </a:lnTo>
                <a:lnTo>
                  <a:pt x="1531" y="1522"/>
                </a:lnTo>
                <a:lnTo>
                  <a:pt x="1529" y="1521"/>
                </a:lnTo>
                <a:lnTo>
                  <a:pt x="1527" y="1519"/>
                </a:lnTo>
                <a:lnTo>
                  <a:pt x="1525" y="1517"/>
                </a:lnTo>
                <a:lnTo>
                  <a:pt x="1523" y="1515"/>
                </a:lnTo>
                <a:lnTo>
                  <a:pt x="1522" y="1512"/>
                </a:lnTo>
                <a:lnTo>
                  <a:pt x="1521" y="1509"/>
                </a:lnTo>
                <a:lnTo>
                  <a:pt x="1521" y="1506"/>
                </a:lnTo>
                <a:lnTo>
                  <a:pt x="1522" y="1503"/>
                </a:lnTo>
                <a:lnTo>
                  <a:pt x="1523" y="1500"/>
                </a:lnTo>
                <a:lnTo>
                  <a:pt x="1524" y="1497"/>
                </a:lnTo>
                <a:lnTo>
                  <a:pt x="1526" y="1495"/>
                </a:lnTo>
                <a:lnTo>
                  <a:pt x="1529" y="1493"/>
                </a:lnTo>
                <a:close/>
                <a:moveTo>
                  <a:pt x="1606" y="1372"/>
                </a:moveTo>
                <a:lnTo>
                  <a:pt x="1609" y="1371"/>
                </a:lnTo>
                <a:lnTo>
                  <a:pt x="1613" y="1370"/>
                </a:lnTo>
                <a:lnTo>
                  <a:pt x="1617" y="1370"/>
                </a:lnTo>
                <a:lnTo>
                  <a:pt x="1621" y="1372"/>
                </a:lnTo>
                <a:lnTo>
                  <a:pt x="1624" y="1373"/>
                </a:lnTo>
                <a:lnTo>
                  <a:pt x="1626" y="1376"/>
                </a:lnTo>
                <a:lnTo>
                  <a:pt x="1628" y="1378"/>
                </a:lnTo>
                <a:lnTo>
                  <a:pt x="1629" y="1381"/>
                </a:lnTo>
                <a:lnTo>
                  <a:pt x="1630" y="1387"/>
                </a:lnTo>
                <a:lnTo>
                  <a:pt x="1629" y="1390"/>
                </a:lnTo>
                <a:lnTo>
                  <a:pt x="1628" y="1393"/>
                </a:lnTo>
                <a:lnTo>
                  <a:pt x="1627" y="1395"/>
                </a:lnTo>
                <a:lnTo>
                  <a:pt x="1625" y="1397"/>
                </a:lnTo>
                <a:lnTo>
                  <a:pt x="1622" y="1399"/>
                </a:lnTo>
                <a:lnTo>
                  <a:pt x="1618" y="1401"/>
                </a:lnTo>
                <a:lnTo>
                  <a:pt x="1614" y="1402"/>
                </a:lnTo>
                <a:lnTo>
                  <a:pt x="1610" y="1401"/>
                </a:lnTo>
                <a:lnTo>
                  <a:pt x="1607" y="1400"/>
                </a:lnTo>
                <a:lnTo>
                  <a:pt x="1604" y="1398"/>
                </a:lnTo>
                <a:lnTo>
                  <a:pt x="1602" y="1396"/>
                </a:lnTo>
                <a:lnTo>
                  <a:pt x="1600" y="1393"/>
                </a:lnTo>
                <a:lnTo>
                  <a:pt x="1599" y="1391"/>
                </a:lnTo>
                <a:lnTo>
                  <a:pt x="1598" y="1385"/>
                </a:lnTo>
                <a:lnTo>
                  <a:pt x="1599" y="1381"/>
                </a:lnTo>
                <a:lnTo>
                  <a:pt x="1600" y="1378"/>
                </a:lnTo>
                <a:lnTo>
                  <a:pt x="1601" y="1377"/>
                </a:lnTo>
                <a:lnTo>
                  <a:pt x="1602" y="1375"/>
                </a:lnTo>
                <a:lnTo>
                  <a:pt x="1606" y="1372"/>
                </a:lnTo>
                <a:close/>
                <a:moveTo>
                  <a:pt x="3057" y="530"/>
                </a:moveTo>
                <a:lnTo>
                  <a:pt x="3060" y="528"/>
                </a:lnTo>
                <a:lnTo>
                  <a:pt x="3064" y="528"/>
                </a:lnTo>
                <a:lnTo>
                  <a:pt x="3067" y="528"/>
                </a:lnTo>
                <a:lnTo>
                  <a:pt x="3071" y="529"/>
                </a:lnTo>
                <a:lnTo>
                  <a:pt x="3074" y="530"/>
                </a:lnTo>
                <a:lnTo>
                  <a:pt x="3076" y="532"/>
                </a:lnTo>
                <a:lnTo>
                  <a:pt x="3078" y="535"/>
                </a:lnTo>
                <a:lnTo>
                  <a:pt x="3080" y="537"/>
                </a:lnTo>
                <a:lnTo>
                  <a:pt x="3081" y="540"/>
                </a:lnTo>
                <a:lnTo>
                  <a:pt x="3081" y="543"/>
                </a:lnTo>
                <a:lnTo>
                  <a:pt x="3081" y="546"/>
                </a:lnTo>
                <a:lnTo>
                  <a:pt x="3080" y="549"/>
                </a:lnTo>
                <a:lnTo>
                  <a:pt x="3077" y="554"/>
                </a:lnTo>
                <a:lnTo>
                  <a:pt x="3075" y="556"/>
                </a:lnTo>
                <a:lnTo>
                  <a:pt x="3073" y="557"/>
                </a:lnTo>
                <a:lnTo>
                  <a:pt x="3070" y="559"/>
                </a:lnTo>
                <a:lnTo>
                  <a:pt x="3066" y="559"/>
                </a:lnTo>
                <a:lnTo>
                  <a:pt x="3063" y="559"/>
                </a:lnTo>
                <a:lnTo>
                  <a:pt x="3059" y="558"/>
                </a:lnTo>
                <a:lnTo>
                  <a:pt x="3056" y="557"/>
                </a:lnTo>
                <a:lnTo>
                  <a:pt x="3054" y="555"/>
                </a:lnTo>
                <a:lnTo>
                  <a:pt x="3052" y="552"/>
                </a:lnTo>
                <a:lnTo>
                  <a:pt x="3050" y="550"/>
                </a:lnTo>
                <a:lnTo>
                  <a:pt x="3050" y="547"/>
                </a:lnTo>
                <a:lnTo>
                  <a:pt x="3049" y="544"/>
                </a:lnTo>
                <a:lnTo>
                  <a:pt x="3050" y="541"/>
                </a:lnTo>
                <a:lnTo>
                  <a:pt x="3050" y="537"/>
                </a:lnTo>
                <a:lnTo>
                  <a:pt x="3053" y="533"/>
                </a:lnTo>
                <a:lnTo>
                  <a:pt x="3055" y="531"/>
                </a:lnTo>
                <a:lnTo>
                  <a:pt x="3057" y="530"/>
                </a:lnTo>
                <a:close/>
                <a:moveTo>
                  <a:pt x="1660" y="1239"/>
                </a:moveTo>
                <a:lnTo>
                  <a:pt x="1662" y="1238"/>
                </a:lnTo>
                <a:lnTo>
                  <a:pt x="1666" y="1237"/>
                </a:lnTo>
                <a:lnTo>
                  <a:pt x="1669" y="1237"/>
                </a:lnTo>
                <a:lnTo>
                  <a:pt x="1672" y="1237"/>
                </a:lnTo>
                <a:lnTo>
                  <a:pt x="1675" y="1239"/>
                </a:lnTo>
                <a:lnTo>
                  <a:pt x="1678" y="1240"/>
                </a:lnTo>
                <a:lnTo>
                  <a:pt x="1680" y="1243"/>
                </a:lnTo>
                <a:lnTo>
                  <a:pt x="1681" y="1245"/>
                </a:lnTo>
                <a:lnTo>
                  <a:pt x="1683" y="1248"/>
                </a:lnTo>
                <a:lnTo>
                  <a:pt x="1683" y="1251"/>
                </a:lnTo>
                <a:lnTo>
                  <a:pt x="1683" y="1254"/>
                </a:lnTo>
                <a:lnTo>
                  <a:pt x="1683" y="1257"/>
                </a:lnTo>
                <a:lnTo>
                  <a:pt x="1681" y="1260"/>
                </a:lnTo>
                <a:lnTo>
                  <a:pt x="1680" y="1263"/>
                </a:lnTo>
                <a:lnTo>
                  <a:pt x="1678" y="1265"/>
                </a:lnTo>
                <a:lnTo>
                  <a:pt x="1675" y="1266"/>
                </a:lnTo>
                <a:lnTo>
                  <a:pt x="1673" y="1268"/>
                </a:lnTo>
                <a:lnTo>
                  <a:pt x="1669" y="1268"/>
                </a:lnTo>
                <a:lnTo>
                  <a:pt x="1666" y="1268"/>
                </a:lnTo>
                <a:lnTo>
                  <a:pt x="1663" y="1268"/>
                </a:lnTo>
                <a:lnTo>
                  <a:pt x="1660" y="1267"/>
                </a:lnTo>
                <a:lnTo>
                  <a:pt x="1657" y="1265"/>
                </a:lnTo>
                <a:lnTo>
                  <a:pt x="1655" y="1263"/>
                </a:lnTo>
                <a:lnTo>
                  <a:pt x="1654" y="1260"/>
                </a:lnTo>
                <a:lnTo>
                  <a:pt x="1652" y="1257"/>
                </a:lnTo>
                <a:lnTo>
                  <a:pt x="1652" y="1254"/>
                </a:lnTo>
                <a:lnTo>
                  <a:pt x="1652" y="1251"/>
                </a:lnTo>
                <a:lnTo>
                  <a:pt x="1652" y="1248"/>
                </a:lnTo>
                <a:lnTo>
                  <a:pt x="1653" y="1245"/>
                </a:lnTo>
                <a:lnTo>
                  <a:pt x="1655" y="1243"/>
                </a:lnTo>
                <a:lnTo>
                  <a:pt x="1657" y="1241"/>
                </a:lnTo>
                <a:lnTo>
                  <a:pt x="1660" y="1239"/>
                </a:lnTo>
                <a:close/>
                <a:moveTo>
                  <a:pt x="2923" y="479"/>
                </a:moveTo>
                <a:lnTo>
                  <a:pt x="2926" y="477"/>
                </a:lnTo>
                <a:lnTo>
                  <a:pt x="2929" y="476"/>
                </a:lnTo>
                <a:lnTo>
                  <a:pt x="2932" y="476"/>
                </a:lnTo>
                <a:lnTo>
                  <a:pt x="2936" y="477"/>
                </a:lnTo>
                <a:lnTo>
                  <a:pt x="2939" y="479"/>
                </a:lnTo>
                <a:lnTo>
                  <a:pt x="2941" y="481"/>
                </a:lnTo>
                <a:lnTo>
                  <a:pt x="2943" y="483"/>
                </a:lnTo>
                <a:lnTo>
                  <a:pt x="2945" y="485"/>
                </a:lnTo>
                <a:lnTo>
                  <a:pt x="2946" y="488"/>
                </a:lnTo>
                <a:lnTo>
                  <a:pt x="2946" y="491"/>
                </a:lnTo>
                <a:lnTo>
                  <a:pt x="2946" y="494"/>
                </a:lnTo>
                <a:lnTo>
                  <a:pt x="2946" y="497"/>
                </a:lnTo>
                <a:lnTo>
                  <a:pt x="2944" y="500"/>
                </a:lnTo>
                <a:lnTo>
                  <a:pt x="2943" y="502"/>
                </a:lnTo>
                <a:lnTo>
                  <a:pt x="2941" y="504"/>
                </a:lnTo>
                <a:lnTo>
                  <a:pt x="2938" y="506"/>
                </a:lnTo>
                <a:lnTo>
                  <a:pt x="2935" y="507"/>
                </a:lnTo>
                <a:lnTo>
                  <a:pt x="2932" y="508"/>
                </a:lnTo>
                <a:lnTo>
                  <a:pt x="2929" y="508"/>
                </a:lnTo>
                <a:lnTo>
                  <a:pt x="2925" y="507"/>
                </a:lnTo>
                <a:lnTo>
                  <a:pt x="2922" y="506"/>
                </a:lnTo>
                <a:lnTo>
                  <a:pt x="2920" y="504"/>
                </a:lnTo>
                <a:lnTo>
                  <a:pt x="2918" y="502"/>
                </a:lnTo>
                <a:lnTo>
                  <a:pt x="2916" y="499"/>
                </a:lnTo>
                <a:lnTo>
                  <a:pt x="2915" y="496"/>
                </a:lnTo>
                <a:lnTo>
                  <a:pt x="2915" y="493"/>
                </a:lnTo>
                <a:lnTo>
                  <a:pt x="2915" y="490"/>
                </a:lnTo>
                <a:lnTo>
                  <a:pt x="2916" y="487"/>
                </a:lnTo>
                <a:lnTo>
                  <a:pt x="2917" y="484"/>
                </a:lnTo>
                <a:lnTo>
                  <a:pt x="2918" y="482"/>
                </a:lnTo>
                <a:lnTo>
                  <a:pt x="2920" y="480"/>
                </a:lnTo>
                <a:lnTo>
                  <a:pt x="2923" y="479"/>
                </a:lnTo>
                <a:close/>
                <a:moveTo>
                  <a:pt x="1690" y="1098"/>
                </a:moveTo>
                <a:lnTo>
                  <a:pt x="1692" y="1097"/>
                </a:lnTo>
                <a:lnTo>
                  <a:pt x="1695" y="1097"/>
                </a:lnTo>
                <a:lnTo>
                  <a:pt x="1697" y="1096"/>
                </a:lnTo>
                <a:lnTo>
                  <a:pt x="1700" y="1096"/>
                </a:lnTo>
                <a:lnTo>
                  <a:pt x="1703" y="1097"/>
                </a:lnTo>
                <a:lnTo>
                  <a:pt x="1706" y="1099"/>
                </a:lnTo>
                <a:lnTo>
                  <a:pt x="1708" y="1100"/>
                </a:lnTo>
                <a:lnTo>
                  <a:pt x="1710" y="1103"/>
                </a:lnTo>
                <a:lnTo>
                  <a:pt x="1712" y="1105"/>
                </a:lnTo>
                <a:lnTo>
                  <a:pt x="1713" y="1108"/>
                </a:lnTo>
                <a:lnTo>
                  <a:pt x="1714" y="1111"/>
                </a:lnTo>
                <a:lnTo>
                  <a:pt x="1713" y="1114"/>
                </a:lnTo>
                <a:lnTo>
                  <a:pt x="1712" y="1118"/>
                </a:lnTo>
                <a:lnTo>
                  <a:pt x="1711" y="1121"/>
                </a:lnTo>
                <a:lnTo>
                  <a:pt x="1708" y="1124"/>
                </a:lnTo>
                <a:lnTo>
                  <a:pt x="1706" y="1126"/>
                </a:lnTo>
                <a:lnTo>
                  <a:pt x="1703" y="1127"/>
                </a:lnTo>
                <a:lnTo>
                  <a:pt x="1701" y="1128"/>
                </a:lnTo>
                <a:lnTo>
                  <a:pt x="1698" y="1128"/>
                </a:lnTo>
                <a:lnTo>
                  <a:pt x="1695" y="1128"/>
                </a:lnTo>
                <a:lnTo>
                  <a:pt x="1692" y="1127"/>
                </a:lnTo>
                <a:lnTo>
                  <a:pt x="1690" y="1126"/>
                </a:lnTo>
                <a:lnTo>
                  <a:pt x="1687" y="1124"/>
                </a:lnTo>
                <a:lnTo>
                  <a:pt x="1685" y="1122"/>
                </a:lnTo>
                <a:lnTo>
                  <a:pt x="1683" y="1119"/>
                </a:lnTo>
                <a:lnTo>
                  <a:pt x="1682" y="1116"/>
                </a:lnTo>
                <a:lnTo>
                  <a:pt x="1682" y="1113"/>
                </a:lnTo>
                <a:lnTo>
                  <a:pt x="1682" y="1110"/>
                </a:lnTo>
                <a:lnTo>
                  <a:pt x="1683" y="1106"/>
                </a:lnTo>
                <a:lnTo>
                  <a:pt x="1685" y="1103"/>
                </a:lnTo>
                <a:lnTo>
                  <a:pt x="1687" y="1100"/>
                </a:lnTo>
                <a:lnTo>
                  <a:pt x="1690" y="1098"/>
                </a:lnTo>
                <a:close/>
                <a:moveTo>
                  <a:pt x="2786" y="435"/>
                </a:moveTo>
                <a:lnTo>
                  <a:pt x="2788" y="433"/>
                </a:lnTo>
                <a:lnTo>
                  <a:pt x="2791" y="433"/>
                </a:lnTo>
                <a:lnTo>
                  <a:pt x="2795" y="433"/>
                </a:lnTo>
                <a:lnTo>
                  <a:pt x="2798" y="433"/>
                </a:lnTo>
                <a:lnTo>
                  <a:pt x="2801" y="434"/>
                </a:lnTo>
                <a:lnTo>
                  <a:pt x="2803" y="436"/>
                </a:lnTo>
                <a:lnTo>
                  <a:pt x="2806" y="438"/>
                </a:lnTo>
                <a:lnTo>
                  <a:pt x="2807" y="441"/>
                </a:lnTo>
                <a:lnTo>
                  <a:pt x="2809" y="443"/>
                </a:lnTo>
                <a:lnTo>
                  <a:pt x="2809" y="446"/>
                </a:lnTo>
                <a:lnTo>
                  <a:pt x="2809" y="450"/>
                </a:lnTo>
                <a:lnTo>
                  <a:pt x="2809" y="453"/>
                </a:lnTo>
                <a:lnTo>
                  <a:pt x="2808" y="456"/>
                </a:lnTo>
                <a:lnTo>
                  <a:pt x="2806" y="458"/>
                </a:lnTo>
                <a:lnTo>
                  <a:pt x="2804" y="460"/>
                </a:lnTo>
                <a:lnTo>
                  <a:pt x="2801" y="462"/>
                </a:lnTo>
                <a:lnTo>
                  <a:pt x="2799" y="463"/>
                </a:lnTo>
                <a:lnTo>
                  <a:pt x="2796" y="464"/>
                </a:lnTo>
                <a:lnTo>
                  <a:pt x="2792" y="464"/>
                </a:lnTo>
                <a:lnTo>
                  <a:pt x="2789" y="464"/>
                </a:lnTo>
                <a:lnTo>
                  <a:pt x="2786" y="462"/>
                </a:lnTo>
                <a:lnTo>
                  <a:pt x="2784" y="461"/>
                </a:lnTo>
                <a:lnTo>
                  <a:pt x="2781" y="459"/>
                </a:lnTo>
                <a:lnTo>
                  <a:pt x="2780" y="456"/>
                </a:lnTo>
                <a:lnTo>
                  <a:pt x="2778" y="453"/>
                </a:lnTo>
                <a:lnTo>
                  <a:pt x="2778" y="450"/>
                </a:lnTo>
                <a:lnTo>
                  <a:pt x="2778" y="447"/>
                </a:lnTo>
                <a:lnTo>
                  <a:pt x="2778" y="444"/>
                </a:lnTo>
                <a:lnTo>
                  <a:pt x="2779" y="441"/>
                </a:lnTo>
                <a:lnTo>
                  <a:pt x="2781" y="439"/>
                </a:lnTo>
                <a:lnTo>
                  <a:pt x="2783" y="436"/>
                </a:lnTo>
                <a:lnTo>
                  <a:pt x="2786" y="435"/>
                </a:lnTo>
                <a:close/>
                <a:moveTo>
                  <a:pt x="1704" y="955"/>
                </a:moveTo>
                <a:lnTo>
                  <a:pt x="1708" y="953"/>
                </a:lnTo>
                <a:lnTo>
                  <a:pt x="1713" y="953"/>
                </a:lnTo>
                <a:lnTo>
                  <a:pt x="1716" y="954"/>
                </a:lnTo>
                <a:lnTo>
                  <a:pt x="1719" y="955"/>
                </a:lnTo>
                <a:lnTo>
                  <a:pt x="1721" y="956"/>
                </a:lnTo>
                <a:lnTo>
                  <a:pt x="1724" y="958"/>
                </a:lnTo>
                <a:lnTo>
                  <a:pt x="1725" y="961"/>
                </a:lnTo>
                <a:lnTo>
                  <a:pt x="1727" y="964"/>
                </a:lnTo>
                <a:lnTo>
                  <a:pt x="1727" y="967"/>
                </a:lnTo>
                <a:lnTo>
                  <a:pt x="1728" y="970"/>
                </a:lnTo>
                <a:lnTo>
                  <a:pt x="1727" y="974"/>
                </a:lnTo>
                <a:lnTo>
                  <a:pt x="1725" y="977"/>
                </a:lnTo>
                <a:lnTo>
                  <a:pt x="1723" y="980"/>
                </a:lnTo>
                <a:lnTo>
                  <a:pt x="1720" y="983"/>
                </a:lnTo>
                <a:lnTo>
                  <a:pt x="1715" y="984"/>
                </a:lnTo>
                <a:lnTo>
                  <a:pt x="1711" y="985"/>
                </a:lnTo>
                <a:lnTo>
                  <a:pt x="1707" y="984"/>
                </a:lnTo>
                <a:lnTo>
                  <a:pt x="1705" y="983"/>
                </a:lnTo>
                <a:lnTo>
                  <a:pt x="1702" y="981"/>
                </a:lnTo>
                <a:lnTo>
                  <a:pt x="1700" y="979"/>
                </a:lnTo>
                <a:lnTo>
                  <a:pt x="1698" y="977"/>
                </a:lnTo>
                <a:lnTo>
                  <a:pt x="1697" y="974"/>
                </a:lnTo>
                <a:lnTo>
                  <a:pt x="1696" y="971"/>
                </a:lnTo>
                <a:lnTo>
                  <a:pt x="1696" y="968"/>
                </a:lnTo>
                <a:lnTo>
                  <a:pt x="1697" y="964"/>
                </a:lnTo>
                <a:lnTo>
                  <a:pt x="1698" y="960"/>
                </a:lnTo>
                <a:lnTo>
                  <a:pt x="1701" y="957"/>
                </a:lnTo>
                <a:lnTo>
                  <a:pt x="1704" y="955"/>
                </a:lnTo>
                <a:close/>
                <a:moveTo>
                  <a:pt x="2646" y="401"/>
                </a:moveTo>
                <a:lnTo>
                  <a:pt x="2648" y="399"/>
                </a:lnTo>
                <a:lnTo>
                  <a:pt x="2651" y="399"/>
                </a:lnTo>
                <a:lnTo>
                  <a:pt x="2657" y="399"/>
                </a:lnTo>
                <a:lnTo>
                  <a:pt x="2660" y="400"/>
                </a:lnTo>
                <a:lnTo>
                  <a:pt x="2663" y="401"/>
                </a:lnTo>
                <a:lnTo>
                  <a:pt x="2665" y="403"/>
                </a:lnTo>
                <a:lnTo>
                  <a:pt x="2667" y="406"/>
                </a:lnTo>
                <a:lnTo>
                  <a:pt x="2668" y="408"/>
                </a:lnTo>
                <a:lnTo>
                  <a:pt x="2669" y="411"/>
                </a:lnTo>
                <a:lnTo>
                  <a:pt x="2670" y="414"/>
                </a:lnTo>
                <a:lnTo>
                  <a:pt x="2669" y="417"/>
                </a:lnTo>
                <a:lnTo>
                  <a:pt x="2668" y="421"/>
                </a:lnTo>
                <a:lnTo>
                  <a:pt x="2666" y="424"/>
                </a:lnTo>
                <a:lnTo>
                  <a:pt x="2664" y="426"/>
                </a:lnTo>
                <a:lnTo>
                  <a:pt x="2662" y="428"/>
                </a:lnTo>
                <a:lnTo>
                  <a:pt x="2659" y="429"/>
                </a:lnTo>
                <a:lnTo>
                  <a:pt x="2656" y="430"/>
                </a:lnTo>
                <a:lnTo>
                  <a:pt x="2651" y="430"/>
                </a:lnTo>
                <a:lnTo>
                  <a:pt x="2647" y="429"/>
                </a:lnTo>
                <a:lnTo>
                  <a:pt x="2645" y="427"/>
                </a:lnTo>
                <a:lnTo>
                  <a:pt x="2642" y="425"/>
                </a:lnTo>
                <a:lnTo>
                  <a:pt x="2640" y="423"/>
                </a:lnTo>
                <a:lnTo>
                  <a:pt x="2639" y="420"/>
                </a:lnTo>
                <a:lnTo>
                  <a:pt x="2638" y="418"/>
                </a:lnTo>
                <a:lnTo>
                  <a:pt x="2638" y="414"/>
                </a:lnTo>
                <a:lnTo>
                  <a:pt x="2638" y="411"/>
                </a:lnTo>
                <a:lnTo>
                  <a:pt x="2639" y="408"/>
                </a:lnTo>
                <a:lnTo>
                  <a:pt x="2641" y="405"/>
                </a:lnTo>
                <a:lnTo>
                  <a:pt x="2643" y="403"/>
                </a:lnTo>
                <a:lnTo>
                  <a:pt x="2646" y="401"/>
                </a:lnTo>
                <a:close/>
                <a:moveTo>
                  <a:pt x="2504" y="379"/>
                </a:moveTo>
                <a:lnTo>
                  <a:pt x="2506" y="378"/>
                </a:lnTo>
                <a:lnTo>
                  <a:pt x="2508" y="377"/>
                </a:lnTo>
                <a:lnTo>
                  <a:pt x="2510" y="377"/>
                </a:lnTo>
                <a:lnTo>
                  <a:pt x="2513" y="377"/>
                </a:lnTo>
                <a:lnTo>
                  <a:pt x="2516" y="378"/>
                </a:lnTo>
                <a:lnTo>
                  <a:pt x="2519" y="379"/>
                </a:lnTo>
                <a:lnTo>
                  <a:pt x="2522" y="381"/>
                </a:lnTo>
                <a:lnTo>
                  <a:pt x="2524" y="383"/>
                </a:lnTo>
                <a:lnTo>
                  <a:pt x="2525" y="385"/>
                </a:lnTo>
                <a:lnTo>
                  <a:pt x="2527" y="388"/>
                </a:lnTo>
                <a:lnTo>
                  <a:pt x="2527" y="391"/>
                </a:lnTo>
                <a:lnTo>
                  <a:pt x="2527" y="394"/>
                </a:lnTo>
                <a:lnTo>
                  <a:pt x="2526" y="398"/>
                </a:lnTo>
                <a:lnTo>
                  <a:pt x="2525" y="402"/>
                </a:lnTo>
                <a:lnTo>
                  <a:pt x="2522" y="404"/>
                </a:lnTo>
                <a:lnTo>
                  <a:pt x="2519" y="407"/>
                </a:lnTo>
                <a:lnTo>
                  <a:pt x="2517" y="408"/>
                </a:lnTo>
                <a:lnTo>
                  <a:pt x="2515" y="408"/>
                </a:lnTo>
                <a:lnTo>
                  <a:pt x="2512" y="409"/>
                </a:lnTo>
                <a:lnTo>
                  <a:pt x="2510" y="409"/>
                </a:lnTo>
                <a:lnTo>
                  <a:pt x="2507" y="408"/>
                </a:lnTo>
                <a:lnTo>
                  <a:pt x="2504" y="407"/>
                </a:lnTo>
                <a:lnTo>
                  <a:pt x="2501" y="405"/>
                </a:lnTo>
                <a:lnTo>
                  <a:pt x="2499" y="403"/>
                </a:lnTo>
                <a:lnTo>
                  <a:pt x="2497" y="400"/>
                </a:lnTo>
                <a:lnTo>
                  <a:pt x="2496" y="398"/>
                </a:lnTo>
                <a:lnTo>
                  <a:pt x="2496" y="394"/>
                </a:lnTo>
                <a:lnTo>
                  <a:pt x="2496" y="391"/>
                </a:lnTo>
                <a:lnTo>
                  <a:pt x="2497" y="387"/>
                </a:lnTo>
                <a:lnTo>
                  <a:pt x="2498" y="384"/>
                </a:lnTo>
                <a:lnTo>
                  <a:pt x="2501" y="381"/>
                </a:lnTo>
                <a:lnTo>
                  <a:pt x="2504" y="379"/>
                </a:lnTo>
                <a:close/>
                <a:moveTo>
                  <a:pt x="1715" y="812"/>
                </a:moveTo>
                <a:lnTo>
                  <a:pt x="1718" y="811"/>
                </a:lnTo>
                <a:lnTo>
                  <a:pt x="1720" y="810"/>
                </a:lnTo>
                <a:lnTo>
                  <a:pt x="1723" y="810"/>
                </a:lnTo>
                <a:lnTo>
                  <a:pt x="1725" y="810"/>
                </a:lnTo>
                <a:lnTo>
                  <a:pt x="1728" y="810"/>
                </a:lnTo>
                <a:lnTo>
                  <a:pt x="1731" y="812"/>
                </a:lnTo>
                <a:lnTo>
                  <a:pt x="1734" y="813"/>
                </a:lnTo>
                <a:lnTo>
                  <a:pt x="1736" y="816"/>
                </a:lnTo>
                <a:lnTo>
                  <a:pt x="1737" y="818"/>
                </a:lnTo>
                <a:lnTo>
                  <a:pt x="1739" y="821"/>
                </a:lnTo>
                <a:lnTo>
                  <a:pt x="1739" y="824"/>
                </a:lnTo>
                <a:lnTo>
                  <a:pt x="1739" y="827"/>
                </a:lnTo>
                <a:lnTo>
                  <a:pt x="1738" y="831"/>
                </a:lnTo>
                <a:lnTo>
                  <a:pt x="1737" y="834"/>
                </a:lnTo>
                <a:lnTo>
                  <a:pt x="1734" y="837"/>
                </a:lnTo>
                <a:lnTo>
                  <a:pt x="1731" y="839"/>
                </a:lnTo>
                <a:lnTo>
                  <a:pt x="1729" y="840"/>
                </a:lnTo>
                <a:lnTo>
                  <a:pt x="1727" y="841"/>
                </a:lnTo>
                <a:lnTo>
                  <a:pt x="1724" y="841"/>
                </a:lnTo>
                <a:lnTo>
                  <a:pt x="1721" y="841"/>
                </a:lnTo>
                <a:lnTo>
                  <a:pt x="1718" y="840"/>
                </a:lnTo>
                <a:lnTo>
                  <a:pt x="1716" y="839"/>
                </a:lnTo>
                <a:lnTo>
                  <a:pt x="1713" y="837"/>
                </a:lnTo>
                <a:lnTo>
                  <a:pt x="1711" y="835"/>
                </a:lnTo>
                <a:lnTo>
                  <a:pt x="1709" y="833"/>
                </a:lnTo>
                <a:lnTo>
                  <a:pt x="1708" y="830"/>
                </a:lnTo>
                <a:lnTo>
                  <a:pt x="1708" y="827"/>
                </a:lnTo>
                <a:lnTo>
                  <a:pt x="1708" y="823"/>
                </a:lnTo>
                <a:lnTo>
                  <a:pt x="1709" y="820"/>
                </a:lnTo>
                <a:lnTo>
                  <a:pt x="1710" y="817"/>
                </a:lnTo>
                <a:lnTo>
                  <a:pt x="1713" y="814"/>
                </a:lnTo>
                <a:lnTo>
                  <a:pt x="1715" y="812"/>
                </a:lnTo>
                <a:close/>
                <a:moveTo>
                  <a:pt x="2359" y="373"/>
                </a:moveTo>
                <a:lnTo>
                  <a:pt x="2361" y="372"/>
                </a:lnTo>
                <a:lnTo>
                  <a:pt x="2362" y="372"/>
                </a:lnTo>
                <a:lnTo>
                  <a:pt x="2366" y="371"/>
                </a:lnTo>
                <a:lnTo>
                  <a:pt x="2370" y="371"/>
                </a:lnTo>
                <a:lnTo>
                  <a:pt x="2373" y="372"/>
                </a:lnTo>
                <a:lnTo>
                  <a:pt x="2375" y="374"/>
                </a:lnTo>
                <a:lnTo>
                  <a:pt x="2378" y="375"/>
                </a:lnTo>
                <a:lnTo>
                  <a:pt x="2380" y="378"/>
                </a:lnTo>
                <a:lnTo>
                  <a:pt x="2381" y="380"/>
                </a:lnTo>
                <a:lnTo>
                  <a:pt x="2382" y="383"/>
                </a:lnTo>
                <a:lnTo>
                  <a:pt x="2383" y="387"/>
                </a:lnTo>
                <a:lnTo>
                  <a:pt x="2382" y="391"/>
                </a:lnTo>
                <a:lnTo>
                  <a:pt x="2381" y="393"/>
                </a:lnTo>
                <a:lnTo>
                  <a:pt x="2381" y="395"/>
                </a:lnTo>
                <a:lnTo>
                  <a:pt x="2378" y="398"/>
                </a:lnTo>
                <a:lnTo>
                  <a:pt x="2375" y="401"/>
                </a:lnTo>
                <a:lnTo>
                  <a:pt x="2373" y="402"/>
                </a:lnTo>
                <a:lnTo>
                  <a:pt x="2371" y="402"/>
                </a:lnTo>
                <a:lnTo>
                  <a:pt x="2367" y="403"/>
                </a:lnTo>
                <a:lnTo>
                  <a:pt x="2364" y="403"/>
                </a:lnTo>
                <a:lnTo>
                  <a:pt x="2361" y="402"/>
                </a:lnTo>
                <a:lnTo>
                  <a:pt x="2358" y="400"/>
                </a:lnTo>
                <a:lnTo>
                  <a:pt x="2356" y="398"/>
                </a:lnTo>
                <a:lnTo>
                  <a:pt x="2354" y="396"/>
                </a:lnTo>
                <a:lnTo>
                  <a:pt x="2352" y="393"/>
                </a:lnTo>
                <a:lnTo>
                  <a:pt x="2351" y="390"/>
                </a:lnTo>
                <a:lnTo>
                  <a:pt x="2351" y="387"/>
                </a:lnTo>
                <a:lnTo>
                  <a:pt x="2351" y="383"/>
                </a:lnTo>
                <a:lnTo>
                  <a:pt x="2352" y="381"/>
                </a:lnTo>
                <a:lnTo>
                  <a:pt x="2353" y="379"/>
                </a:lnTo>
                <a:lnTo>
                  <a:pt x="2356" y="376"/>
                </a:lnTo>
                <a:lnTo>
                  <a:pt x="2359" y="373"/>
                </a:lnTo>
                <a:close/>
                <a:moveTo>
                  <a:pt x="1747" y="672"/>
                </a:moveTo>
                <a:lnTo>
                  <a:pt x="1750" y="670"/>
                </a:lnTo>
                <a:lnTo>
                  <a:pt x="1754" y="670"/>
                </a:lnTo>
                <a:lnTo>
                  <a:pt x="1757" y="670"/>
                </a:lnTo>
                <a:lnTo>
                  <a:pt x="1761" y="671"/>
                </a:lnTo>
                <a:lnTo>
                  <a:pt x="1764" y="672"/>
                </a:lnTo>
                <a:lnTo>
                  <a:pt x="1766" y="674"/>
                </a:lnTo>
                <a:lnTo>
                  <a:pt x="1768" y="676"/>
                </a:lnTo>
                <a:lnTo>
                  <a:pt x="1769" y="679"/>
                </a:lnTo>
                <a:lnTo>
                  <a:pt x="1770" y="682"/>
                </a:lnTo>
                <a:lnTo>
                  <a:pt x="1771" y="685"/>
                </a:lnTo>
                <a:lnTo>
                  <a:pt x="1771" y="688"/>
                </a:lnTo>
                <a:lnTo>
                  <a:pt x="1770" y="691"/>
                </a:lnTo>
                <a:lnTo>
                  <a:pt x="1767" y="696"/>
                </a:lnTo>
                <a:lnTo>
                  <a:pt x="1765" y="698"/>
                </a:lnTo>
                <a:lnTo>
                  <a:pt x="1763" y="699"/>
                </a:lnTo>
                <a:lnTo>
                  <a:pt x="1760" y="701"/>
                </a:lnTo>
                <a:lnTo>
                  <a:pt x="1756" y="701"/>
                </a:lnTo>
                <a:lnTo>
                  <a:pt x="1753" y="701"/>
                </a:lnTo>
                <a:lnTo>
                  <a:pt x="1749" y="700"/>
                </a:lnTo>
                <a:lnTo>
                  <a:pt x="1746" y="699"/>
                </a:lnTo>
                <a:lnTo>
                  <a:pt x="1744" y="697"/>
                </a:lnTo>
                <a:lnTo>
                  <a:pt x="1742" y="695"/>
                </a:lnTo>
                <a:lnTo>
                  <a:pt x="1741" y="692"/>
                </a:lnTo>
                <a:lnTo>
                  <a:pt x="1740" y="689"/>
                </a:lnTo>
                <a:lnTo>
                  <a:pt x="1739" y="686"/>
                </a:lnTo>
                <a:lnTo>
                  <a:pt x="1739" y="683"/>
                </a:lnTo>
                <a:lnTo>
                  <a:pt x="1740" y="680"/>
                </a:lnTo>
                <a:lnTo>
                  <a:pt x="1743" y="675"/>
                </a:lnTo>
                <a:lnTo>
                  <a:pt x="1745" y="673"/>
                </a:lnTo>
                <a:lnTo>
                  <a:pt x="1747" y="672"/>
                </a:lnTo>
                <a:close/>
                <a:moveTo>
                  <a:pt x="2216" y="386"/>
                </a:moveTo>
                <a:lnTo>
                  <a:pt x="2218" y="385"/>
                </a:lnTo>
                <a:lnTo>
                  <a:pt x="2221" y="384"/>
                </a:lnTo>
                <a:lnTo>
                  <a:pt x="2224" y="384"/>
                </a:lnTo>
                <a:lnTo>
                  <a:pt x="2227" y="384"/>
                </a:lnTo>
                <a:lnTo>
                  <a:pt x="2230" y="385"/>
                </a:lnTo>
                <a:lnTo>
                  <a:pt x="2233" y="387"/>
                </a:lnTo>
                <a:lnTo>
                  <a:pt x="2235" y="389"/>
                </a:lnTo>
                <a:lnTo>
                  <a:pt x="2237" y="391"/>
                </a:lnTo>
                <a:lnTo>
                  <a:pt x="2238" y="394"/>
                </a:lnTo>
                <a:lnTo>
                  <a:pt x="2239" y="397"/>
                </a:lnTo>
                <a:lnTo>
                  <a:pt x="2239" y="402"/>
                </a:lnTo>
                <a:lnTo>
                  <a:pt x="2238" y="406"/>
                </a:lnTo>
                <a:lnTo>
                  <a:pt x="2237" y="408"/>
                </a:lnTo>
                <a:lnTo>
                  <a:pt x="2235" y="410"/>
                </a:lnTo>
                <a:lnTo>
                  <a:pt x="2233" y="412"/>
                </a:lnTo>
                <a:lnTo>
                  <a:pt x="2232" y="413"/>
                </a:lnTo>
                <a:lnTo>
                  <a:pt x="2229" y="414"/>
                </a:lnTo>
                <a:lnTo>
                  <a:pt x="2226" y="415"/>
                </a:lnTo>
                <a:lnTo>
                  <a:pt x="2223" y="415"/>
                </a:lnTo>
                <a:lnTo>
                  <a:pt x="2220" y="415"/>
                </a:lnTo>
                <a:lnTo>
                  <a:pt x="2217" y="414"/>
                </a:lnTo>
                <a:lnTo>
                  <a:pt x="2214" y="412"/>
                </a:lnTo>
                <a:lnTo>
                  <a:pt x="2212" y="410"/>
                </a:lnTo>
                <a:lnTo>
                  <a:pt x="2210" y="408"/>
                </a:lnTo>
                <a:lnTo>
                  <a:pt x="2209" y="405"/>
                </a:lnTo>
                <a:lnTo>
                  <a:pt x="2208" y="402"/>
                </a:lnTo>
                <a:lnTo>
                  <a:pt x="2208" y="397"/>
                </a:lnTo>
                <a:lnTo>
                  <a:pt x="2209" y="393"/>
                </a:lnTo>
                <a:lnTo>
                  <a:pt x="2211" y="391"/>
                </a:lnTo>
                <a:lnTo>
                  <a:pt x="2212" y="389"/>
                </a:lnTo>
                <a:lnTo>
                  <a:pt x="2214" y="387"/>
                </a:lnTo>
                <a:lnTo>
                  <a:pt x="2216" y="386"/>
                </a:lnTo>
                <a:close/>
                <a:moveTo>
                  <a:pt x="2076" y="418"/>
                </a:moveTo>
                <a:lnTo>
                  <a:pt x="2079" y="417"/>
                </a:lnTo>
                <a:lnTo>
                  <a:pt x="2082" y="416"/>
                </a:lnTo>
                <a:lnTo>
                  <a:pt x="2085" y="416"/>
                </a:lnTo>
                <a:lnTo>
                  <a:pt x="2088" y="417"/>
                </a:lnTo>
                <a:lnTo>
                  <a:pt x="2091" y="418"/>
                </a:lnTo>
                <a:lnTo>
                  <a:pt x="2094" y="420"/>
                </a:lnTo>
                <a:lnTo>
                  <a:pt x="2096" y="422"/>
                </a:lnTo>
                <a:lnTo>
                  <a:pt x="2098" y="424"/>
                </a:lnTo>
                <a:lnTo>
                  <a:pt x="2099" y="427"/>
                </a:lnTo>
                <a:lnTo>
                  <a:pt x="2100" y="433"/>
                </a:lnTo>
                <a:lnTo>
                  <a:pt x="2099" y="435"/>
                </a:lnTo>
                <a:lnTo>
                  <a:pt x="2098" y="438"/>
                </a:lnTo>
                <a:lnTo>
                  <a:pt x="2097" y="440"/>
                </a:lnTo>
                <a:lnTo>
                  <a:pt x="2096" y="442"/>
                </a:lnTo>
                <a:lnTo>
                  <a:pt x="2092" y="446"/>
                </a:lnTo>
                <a:lnTo>
                  <a:pt x="2088" y="447"/>
                </a:lnTo>
                <a:lnTo>
                  <a:pt x="2085" y="448"/>
                </a:lnTo>
                <a:lnTo>
                  <a:pt x="2082" y="448"/>
                </a:lnTo>
                <a:lnTo>
                  <a:pt x="2079" y="447"/>
                </a:lnTo>
                <a:lnTo>
                  <a:pt x="2076" y="446"/>
                </a:lnTo>
                <a:lnTo>
                  <a:pt x="2074" y="444"/>
                </a:lnTo>
                <a:lnTo>
                  <a:pt x="2072" y="442"/>
                </a:lnTo>
                <a:lnTo>
                  <a:pt x="2070" y="440"/>
                </a:lnTo>
                <a:lnTo>
                  <a:pt x="2069" y="437"/>
                </a:lnTo>
                <a:lnTo>
                  <a:pt x="2068" y="431"/>
                </a:lnTo>
                <a:lnTo>
                  <a:pt x="2068" y="429"/>
                </a:lnTo>
                <a:lnTo>
                  <a:pt x="2069" y="426"/>
                </a:lnTo>
                <a:lnTo>
                  <a:pt x="2070" y="424"/>
                </a:lnTo>
                <a:lnTo>
                  <a:pt x="2072" y="422"/>
                </a:lnTo>
                <a:lnTo>
                  <a:pt x="2076" y="418"/>
                </a:lnTo>
                <a:close/>
                <a:moveTo>
                  <a:pt x="1824" y="551"/>
                </a:moveTo>
                <a:lnTo>
                  <a:pt x="1827" y="550"/>
                </a:lnTo>
                <a:lnTo>
                  <a:pt x="1829" y="550"/>
                </a:lnTo>
                <a:lnTo>
                  <a:pt x="1832" y="549"/>
                </a:lnTo>
                <a:lnTo>
                  <a:pt x="1834" y="549"/>
                </a:lnTo>
                <a:lnTo>
                  <a:pt x="1839" y="551"/>
                </a:lnTo>
                <a:lnTo>
                  <a:pt x="1841" y="552"/>
                </a:lnTo>
                <a:lnTo>
                  <a:pt x="1843" y="554"/>
                </a:lnTo>
                <a:lnTo>
                  <a:pt x="1845" y="557"/>
                </a:lnTo>
                <a:lnTo>
                  <a:pt x="1847" y="559"/>
                </a:lnTo>
                <a:lnTo>
                  <a:pt x="1848" y="562"/>
                </a:lnTo>
                <a:lnTo>
                  <a:pt x="1848" y="565"/>
                </a:lnTo>
                <a:lnTo>
                  <a:pt x="1848" y="568"/>
                </a:lnTo>
                <a:lnTo>
                  <a:pt x="1847" y="571"/>
                </a:lnTo>
                <a:lnTo>
                  <a:pt x="1845" y="574"/>
                </a:lnTo>
                <a:lnTo>
                  <a:pt x="1843" y="576"/>
                </a:lnTo>
                <a:lnTo>
                  <a:pt x="1840" y="579"/>
                </a:lnTo>
                <a:lnTo>
                  <a:pt x="1838" y="580"/>
                </a:lnTo>
                <a:lnTo>
                  <a:pt x="1835" y="581"/>
                </a:lnTo>
                <a:lnTo>
                  <a:pt x="1833" y="581"/>
                </a:lnTo>
                <a:lnTo>
                  <a:pt x="1830" y="581"/>
                </a:lnTo>
                <a:lnTo>
                  <a:pt x="1825" y="579"/>
                </a:lnTo>
                <a:lnTo>
                  <a:pt x="1823" y="578"/>
                </a:lnTo>
                <a:lnTo>
                  <a:pt x="1821" y="576"/>
                </a:lnTo>
                <a:lnTo>
                  <a:pt x="1819" y="574"/>
                </a:lnTo>
                <a:lnTo>
                  <a:pt x="1817" y="571"/>
                </a:lnTo>
                <a:lnTo>
                  <a:pt x="1817" y="568"/>
                </a:lnTo>
                <a:lnTo>
                  <a:pt x="1816" y="565"/>
                </a:lnTo>
                <a:lnTo>
                  <a:pt x="1817" y="562"/>
                </a:lnTo>
                <a:lnTo>
                  <a:pt x="1817" y="559"/>
                </a:lnTo>
                <a:lnTo>
                  <a:pt x="1819" y="556"/>
                </a:lnTo>
                <a:lnTo>
                  <a:pt x="1821" y="554"/>
                </a:lnTo>
                <a:lnTo>
                  <a:pt x="1824" y="551"/>
                </a:lnTo>
                <a:close/>
                <a:moveTo>
                  <a:pt x="1942" y="471"/>
                </a:moveTo>
                <a:lnTo>
                  <a:pt x="1945" y="469"/>
                </a:lnTo>
                <a:lnTo>
                  <a:pt x="1949" y="469"/>
                </a:lnTo>
                <a:lnTo>
                  <a:pt x="1952" y="469"/>
                </a:lnTo>
                <a:lnTo>
                  <a:pt x="1955" y="469"/>
                </a:lnTo>
                <a:lnTo>
                  <a:pt x="1958" y="471"/>
                </a:lnTo>
                <a:lnTo>
                  <a:pt x="1960" y="472"/>
                </a:lnTo>
                <a:lnTo>
                  <a:pt x="1962" y="475"/>
                </a:lnTo>
                <a:lnTo>
                  <a:pt x="1964" y="477"/>
                </a:lnTo>
                <a:lnTo>
                  <a:pt x="1965" y="480"/>
                </a:lnTo>
                <a:lnTo>
                  <a:pt x="1966" y="483"/>
                </a:lnTo>
                <a:lnTo>
                  <a:pt x="1966" y="486"/>
                </a:lnTo>
                <a:lnTo>
                  <a:pt x="1965" y="489"/>
                </a:lnTo>
                <a:lnTo>
                  <a:pt x="1964" y="492"/>
                </a:lnTo>
                <a:lnTo>
                  <a:pt x="1962" y="494"/>
                </a:lnTo>
                <a:lnTo>
                  <a:pt x="1960" y="496"/>
                </a:lnTo>
                <a:lnTo>
                  <a:pt x="1958" y="498"/>
                </a:lnTo>
                <a:lnTo>
                  <a:pt x="1954" y="499"/>
                </a:lnTo>
                <a:lnTo>
                  <a:pt x="1951" y="500"/>
                </a:lnTo>
                <a:lnTo>
                  <a:pt x="1948" y="500"/>
                </a:lnTo>
                <a:lnTo>
                  <a:pt x="1945" y="499"/>
                </a:lnTo>
                <a:lnTo>
                  <a:pt x="1942" y="498"/>
                </a:lnTo>
                <a:lnTo>
                  <a:pt x="1939" y="496"/>
                </a:lnTo>
                <a:lnTo>
                  <a:pt x="1937" y="494"/>
                </a:lnTo>
                <a:lnTo>
                  <a:pt x="1936" y="491"/>
                </a:lnTo>
                <a:lnTo>
                  <a:pt x="1934" y="488"/>
                </a:lnTo>
                <a:lnTo>
                  <a:pt x="1934" y="485"/>
                </a:lnTo>
                <a:lnTo>
                  <a:pt x="1934" y="483"/>
                </a:lnTo>
                <a:lnTo>
                  <a:pt x="1935" y="480"/>
                </a:lnTo>
                <a:lnTo>
                  <a:pt x="1936" y="477"/>
                </a:lnTo>
                <a:lnTo>
                  <a:pt x="1937" y="475"/>
                </a:lnTo>
                <a:lnTo>
                  <a:pt x="1939" y="472"/>
                </a:lnTo>
                <a:lnTo>
                  <a:pt x="1942" y="471"/>
                </a:lnTo>
                <a:close/>
                <a:moveTo>
                  <a:pt x="4755" y="1575"/>
                </a:moveTo>
                <a:lnTo>
                  <a:pt x="4758" y="1574"/>
                </a:lnTo>
                <a:lnTo>
                  <a:pt x="4761" y="1573"/>
                </a:lnTo>
                <a:lnTo>
                  <a:pt x="4764" y="1573"/>
                </a:lnTo>
                <a:lnTo>
                  <a:pt x="4767" y="1574"/>
                </a:lnTo>
                <a:lnTo>
                  <a:pt x="4770" y="1575"/>
                </a:lnTo>
                <a:lnTo>
                  <a:pt x="4773" y="1576"/>
                </a:lnTo>
                <a:lnTo>
                  <a:pt x="4775" y="1579"/>
                </a:lnTo>
                <a:lnTo>
                  <a:pt x="4777" y="1581"/>
                </a:lnTo>
                <a:lnTo>
                  <a:pt x="4778" y="1584"/>
                </a:lnTo>
                <a:lnTo>
                  <a:pt x="4779" y="1587"/>
                </a:lnTo>
                <a:lnTo>
                  <a:pt x="4779" y="1590"/>
                </a:lnTo>
                <a:lnTo>
                  <a:pt x="4778" y="1593"/>
                </a:lnTo>
                <a:lnTo>
                  <a:pt x="4777" y="1596"/>
                </a:lnTo>
                <a:lnTo>
                  <a:pt x="4775" y="1598"/>
                </a:lnTo>
                <a:lnTo>
                  <a:pt x="4773" y="1601"/>
                </a:lnTo>
                <a:lnTo>
                  <a:pt x="4771" y="1602"/>
                </a:lnTo>
                <a:lnTo>
                  <a:pt x="4768" y="1604"/>
                </a:lnTo>
                <a:lnTo>
                  <a:pt x="4765" y="1604"/>
                </a:lnTo>
                <a:lnTo>
                  <a:pt x="4762" y="1604"/>
                </a:lnTo>
                <a:lnTo>
                  <a:pt x="4759" y="1604"/>
                </a:lnTo>
                <a:lnTo>
                  <a:pt x="4756" y="1603"/>
                </a:lnTo>
                <a:lnTo>
                  <a:pt x="4753" y="1601"/>
                </a:lnTo>
                <a:lnTo>
                  <a:pt x="4751" y="1599"/>
                </a:lnTo>
                <a:lnTo>
                  <a:pt x="4749" y="1596"/>
                </a:lnTo>
                <a:lnTo>
                  <a:pt x="4748" y="1594"/>
                </a:lnTo>
                <a:lnTo>
                  <a:pt x="4747" y="1591"/>
                </a:lnTo>
                <a:lnTo>
                  <a:pt x="4747" y="1588"/>
                </a:lnTo>
                <a:lnTo>
                  <a:pt x="4748" y="1584"/>
                </a:lnTo>
                <a:lnTo>
                  <a:pt x="4749" y="1581"/>
                </a:lnTo>
                <a:lnTo>
                  <a:pt x="4751" y="1579"/>
                </a:lnTo>
                <a:lnTo>
                  <a:pt x="4753" y="1577"/>
                </a:lnTo>
                <a:lnTo>
                  <a:pt x="4755" y="1575"/>
                </a:lnTo>
                <a:close/>
                <a:moveTo>
                  <a:pt x="4617" y="1533"/>
                </a:moveTo>
                <a:lnTo>
                  <a:pt x="4620" y="1531"/>
                </a:lnTo>
                <a:lnTo>
                  <a:pt x="4624" y="1531"/>
                </a:lnTo>
                <a:lnTo>
                  <a:pt x="4627" y="1531"/>
                </a:lnTo>
                <a:lnTo>
                  <a:pt x="4630" y="1531"/>
                </a:lnTo>
                <a:lnTo>
                  <a:pt x="4633" y="1533"/>
                </a:lnTo>
                <a:lnTo>
                  <a:pt x="4636" y="1535"/>
                </a:lnTo>
                <a:lnTo>
                  <a:pt x="4638" y="1537"/>
                </a:lnTo>
                <a:lnTo>
                  <a:pt x="4639" y="1539"/>
                </a:lnTo>
                <a:lnTo>
                  <a:pt x="4640" y="1542"/>
                </a:lnTo>
                <a:lnTo>
                  <a:pt x="4641" y="1545"/>
                </a:lnTo>
                <a:lnTo>
                  <a:pt x="4641" y="1548"/>
                </a:lnTo>
                <a:lnTo>
                  <a:pt x="4640" y="1551"/>
                </a:lnTo>
                <a:lnTo>
                  <a:pt x="4639" y="1554"/>
                </a:lnTo>
                <a:lnTo>
                  <a:pt x="4637" y="1556"/>
                </a:lnTo>
                <a:lnTo>
                  <a:pt x="4635" y="1558"/>
                </a:lnTo>
                <a:lnTo>
                  <a:pt x="4633" y="1560"/>
                </a:lnTo>
                <a:lnTo>
                  <a:pt x="4630" y="1561"/>
                </a:lnTo>
                <a:lnTo>
                  <a:pt x="4627" y="1562"/>
                </a:lnTo>
                <a:lnTo>
                  <a:pt x="4624" y="1562"/>
                </a:lnTo>
                <a:lnTo>
                  <a:pt x="4620" y="1561"/>
                </a:lnTo>
                <a:lnTo>
                  <a:pt x="4617" y="1560"/>
                </a:lnTo>
                <a:lnTo>
                  <a:pt x="4615" y="1558"/>
                </a:lnTo>
                <a:lnTo>
                  <a:pt x="4613" y="1556"/>
                </a:lnTo>
                <a:lnTo>
                  <a:pt x="4611" y="1553"/>
                </a:lnTo>
                <a:lnTo>
                  <a:pt x="4610" y="1551"/>
                </a:lnTo>
                <a:lnTo>
                  <a:pt x="4610" y="1548"/>
                </a:lnTo>
                <a:lnTo>
                  <a:pt x="4610" y="1545"/>
                </a:lnTo>
                <a:lnTo>
                  <a:pt x="4610" y="1541"/>
                </a:lnTo>
                <a:lnTo>
                  <a:pt x="4612" y="1539"/>
                </a:lnTo>
                <a:lnTo>
                  <a:pt x="4613" y="1536"/>
                </a:lnTo>
                <a:lnTo>
                  <a:pt x="4615" y="1534"/>
                </a:lnTo>
                <a:lnTo>
                  <a:pt x="4617" y="1533"/>
                </a:lnTo>
                <a:close/>
                <a:moveTo>
                  <a:pt x="4482" y="1484"/>
                </a:moveTo>
                <a:lnTo>
                  <a:pt x="4485" y="1483"/>
                </a:lnTo>
                <a:lnTo>
                  <a:pt x="4488" y="1482"/>
                </a:lnTo>
                <a:lnTo>
                  <a:pt x="4492" y="1482"/>
                </a:lnTo>
                <a:lnTo>
                  <a:pt x="4495" y="1483"/>
                </a:lnTo>
                <a:lnTo>
                  <a:pt x="4498" y="1485"/>
                </a:lnTo>
                <a:lnTo>
                  <a:pt x="4500" y="1486"/>
                </a:lnTo>
                <a:lnTo>
                  <a:pt x="4502" y="1489"/>
                </a:lnTo>
                <a:lnTo>
                  <a:pt x="4504" y="1491"/>
                </a:lnTo>
                <a:lnTo>
                  <a:pt x="4505" y="1494"/>
                </a:lnTo>
                <a:lnTo>
                  <a:pt x="4505" y="1497"/>
                </a:lnTo>
                <a:lnTo>
                  <a:pt x="4505" y="1500"/>
                </a:lnTo>
                <a:lnTo>
                  <a:pt x="4504" y="1503"/>
                </a:lnTo>
                <a:lnTo>
                  <a:pt x="4503" y="1506"/>
                </a:lnTo>
                <a:lnTo>
                  <a:pt x="4501" y="1508"/>
                </a:lnTo>
                <a:lnTo>
                  <a:pt x="4500" y="1510"/>
                </a:lnTo>
                <a:lnTo>
                  <a:pt x="4497" y="1511"/>
                </a:lnTo>
                <a:lnTo>
                  <a:pt x="4494" y="1513"/>
                </a:lnTo>
                <a:lnTo>
                  <a:pt x="4491" y="1513"/>
                </a:lnTo>
                <a:lnTo>
                  <a:pt x="4487" y="1513"/>
                </a:lnTo>
                <a:lnTo>
                  <a:pt x="4484" y="1512"/>
                </a:lnTo>
                <a:lnTo>
                  <a:pt x="4481" y="1511"/>
                </a:lnTo>
                <a:lnTo>
                  <a:pt x="4479" y="1509"/>
                </a:lnTo>
                <a:lnTo>
                  <a:pt x="4477" y="1507"/>
                </a:lnTo>
                <a:lnTo>
                  <a:pt x="4475" y="1504"/>
                </a:lnTo>
                <a:lnTo>
                  <a:pt x="4474" y="1501"/>
                </a:lnTo>
                <a:lnTo>
                  <a:pt x="4474" y="1498"/>
                </a:lnTo>
                <a:lnTo>
                  <a:pt x="4474" y="1495"/>
                </a:lnTo>
                <a:lnTo>
                  <a:pt x="4475" y="1492"/>
                </a:lnTo>
                <a:lnTo>
                  <a:pt x="4476" y="1490"/>
                </a:lnTo>
                <a:lnTo>
                  <a:pt x="4478" y="1487"/>
                </a:lnTo>
                <a:lnTo>
                  <a:pt x="4480" y="1486"/>
                </a:lnTo>
                <a:lnTo>
                  <a:pt x="4482" y="1484"/>
                </a:lnTo>
                <a:close/>
                <a:moveTo>
                  <a:pt x="4349" y="1428"/>
                </a:moveTo>
                <a:lnTo>
                  <a:pt x="4352" y="1426"/>
                </a:lnTo>
                <a:lnTo>
                  <a:pt x="4356" y="1426"/>
                </a:lnTo>
                <a:lnTo>
                  <a:pt x="4360" y="1426"/>
                </a:lnTo>
                <a:lnTo>
                  <a:pt x="4364" y="1427"/>
                </a:lnTo>
                <a:lnTo>
                  <a:pt x="4366" y="1429"/>
                </a:lnTo>
                <a:lnTo>
                  <a:pt x="4369" y="1431"/>
                </a:lnTo>
                <a:lnTo>
                  <a:pt x="4370" y="1433"/>
                </a:lnTo>
                <a:lnTo>
                  <a:pt x="4372" y="1436"/>
                </a:lnTo>
                <a:lnTo>
                  <a:pt x="4372" y="1439"/>
                </a:lnTo>
                <a:lnTo>
                  <a:pt x="4373" y="1442"/>
                </a:lnTo>
                <a:lnTo>
                  <a:pt x="4372" y="1445"/>
                </a:lnTo>
                <a:lnTo>
                  <a:pt x="4371" y="1448"/>
                </a:lnTo>
                <a:lnTo>
                  <a:pt x="4370" y="1450"/>
                </a:lnTo>
                <a:lnTo>
                  <a:pt x="4368" y="1452"/>
                </a:lnTo>
                <a:lnTo>
                  <a:pt x="4367" y="1454"/>
                </a:lnTo>
                <a:lnTo>
                  <a:pt x="4365" y="1455"/>
                </a:lnTo>
                <a:lnTo>
                  <a:pt x="4361" y="1456"/>
                </a:lnTo>
                <a:lnTo>
                  <a:pt x="4358" y="1457"/>
                </a:lnTo>
                <a:lnTo>
                  <a:pt x="4354" y="1457"/>
                </a:lnTo>
                <a:lnTo>
                  <a:pt x="4350" y="1456"/>
                </a:lnTo>
                <a:lnTo>
                  <a:pt x="4348" y="1454"/>
                </a:lnTo>
                <a:lnTo>
                  <a:pt x="4345" y="1452"/>
                </a:lnTo>
                <a:lnTo>
                  <a:pt x="4343" y="1449"/>
                </a:lnTo>
                <a:lnTo>
                  <a:pt x="4342" y="1447"/>
                </a:lnTo>
                <a:lnTo>
                  <a:pt x="4341" y="1444"/>
                </a:lnTo>
                <a:lnTo>
                  <a:pt x="4341" y="1441"/>
                </a:lnTo>
                <a:lnTo>
                  <a:pt x="4342" y="1438"/>
                </a:lnTo>
                <a:lnTo>
                  <a:pt x="4343" y="1435"/>
                </a:lnTo>
                <a:lnTo>
                  <a:pt x="4344" y="1433"/>
                </a:lnTo>
                <a:lnTo>
                  <a:pt x="4345" y="1431"/>
                </a:lnTo>
                <a:lnTo>
                  <a:pt x="4347" y="1429"/>
                </a:lnTo>
                <a:lnTo>
                  <a:pt x="4349" y="1428"/>
                </a:lnTo>
                <a:close/>
                <a:moveTo>
                  <a:pt x="4221" y="1361"/>
                </a:moveTo>
                <a:lnTo>
                  <a:pt x="4225" y="1359"/>
                </a:lnTo>
                <a:lnTo>
                  <a:pt x="4229" y="1359"/>
                </a:lnTo>
                <a:lnTo>
                  <a:pt x="4233" y="1359"/>
                </a:lnTo>
                <a:lnTo>
                  <a:pt x="4237" y="1361"/>
                </a:lnTo>
                <a:lnTo>
                  <a:pt x="4240" y="1363"/>
                </a:lnTo>
                <a:lnTo>
                  <a:pt x="4242" y="1365"/>
                </a:lnTo>
                <a:lnTo>
                  <a:pt x="4243" y="1368"/>
                </a:lnTo>
                <a:lnTo>
                  <a:pt x="4244" y="1370"/>
                </a:lnTo>
                <a:lnTo>
                  <a:pt x="4245" y="1373"/>
                </a:lnTo>
                <a:lnTo>
                  <a:pt x="4245" y="1376"/>
                </a:lnTo>
                <a:lnTo>
                  <a:pt x="4244" y="1379"/>
                </a:lnTo>
                <a:lnTo>
                  <a:pt x="4243" y="1382"/>
                </a:lnTo>
                <a:lnTo>
                  <a:pt x="4240" y="1386"/>
                </a:lnTo>
                <a:lnTo>
                  <a:pt x="4237" y="1388"/>
                </a:lnTo>
                <a:lnTo>
                  <a:pt x="4233" y="1390"/>
                </a:lnTo>
                <a:lnTo>
                  <a:pt x="4229" y="1390"/>
                </a:lnTo>
                <a:lnTo>
                  <a:pt x="4225" y="1390"/>
                </a:lnTo>
                <a:lnTo>
                  <a:pt x="4221" y="1388"/>
                </a:lnTo>
                <a:lnTo>
                  <a:pt x="4219" y="1386"/>
                </a:lnTo>
                <a:lnTo>
                  <a:pt x="4217" y="1384"/>
                </a:lnTo>
                <a:lnTo>
                  <a:pt x="4215" y="1382"/>
                </a:lnTo>
                <a:lnTo>
                  <a:pt x="4214" y="1379"/>
                </a:lnTo>
                <a:lnTo>
                  <a:pt x="4214" y="1376"/>
                </a:lnTo>
                <a:lnTo>
                  <a:pt x="4214" y="1373"/>
                </a:lnTo>
                <a:lnTo>
                  <a:pt x="4214" y="1370"/>
                </a:lnTo>
                <a:lnTo>
                  <a:pt x="4216" y="1367"/>
                </a:lnTo>
                <a:lnTo>
                  <a:pt x="4218" y="1363"/>
                </a:lnTo>
                <a:lnTo>
                  <a:pt x="4221" y="1361"/>
                </a:lnTo>
                <a:close/>
                <a:moveTo>
                  <a:pt x="4096" y="1290"/>
                </a:moveTo>
                <a:lnTo>
                  <a:pt x="4100" y="1288"/>
                </a:lnTo>
                <a:lnTo>
                  <a:pt x="4104" y="1288"/>
                </a:lnTo>
                <a:lnTo>
                  <a:pt x="4108" y="1288"/>
                </a:lnTo>
                <a:lnTo>
                  <a:pt x="4112" y="1290"/>
                </a:lnTo>
                <a:lnTo>
                  <a:pt x="4114" y="1292"/>
                </a:lnTo>
                <a:lnTo>
                  <a:pt x="4116" y="1294"/>
                </a:lnTo>
                <a:lnTo>
                  <a:pt x="4118" y="1297"/>
                </a:lnTo>
                <a:lnTo>
                  <a:pt x="4119" y="1299"/>
                </a:lnTo>
                <a:lnTo>
                  <a:pt x="4120" y="1302"/>
                </a:lnTo>
                <a:lnTo>
                  <a:pt x="4120" y="1305"/>
                </a:lnTo>
                <a:lnTo>
                  <a:pt x="4119" y="1308"/>
                </a:lnTo>
                <a:lnTo>
                  <a:pt x="4118" y="1311"/>
                </a:lnTo>
                <a:lnTo>
                  <a:pt x="4115" y="1315"/>
                </a:lnTo>
                <a:lnTo>
                  <a:pt x="4112" y="1317"/>
                </a:lnTo>
                <a:lnTo>
                  <a:pt x="4108" y="1319"/>
                </a:lnTo>
                <a:lnTo>
                  <a:pt x="4104" y="1319"/>
                </a:lnTo>
                <a:lnTo>
                  <a:pt x="4100" y="1319"/>
                </a:lnTo>
                <a:lnTo>
                  <a:pt x="4096" y="1317"/>
                </a:lnTo>
                <a:lnTo>
                  <a:pt x="4094" y="1315"/>
                </a:lnTo>
                <a:lnTo>
                  <a:pt x="4092" y="1313"/>
                </a:lnTo>
                <a:lnTo>
                  <a:pt x="4090" y="1311"/>
                </a:lnTo>
                <a:lnTo>
                  <a:pt x="4089" y="1308"/>
                </a:lnTo>
                <a:lnTo>
                  <a:pt x="4088" y="1305"/>
                </a:lnTo>
                <a:lnTo>
                  <a:pt x="4088" y="1302"/>
                </a:lnTo>
                <a:lnTo>
                  <a:pt x="4089" y="1299"/>
                </a:lnTo>
                <a:lnTo>
                  <a:pt x="4090" y="1296"/>
                </a:lnTo>
                <a:lnTo>
                  <a:pt x="4093" y="1293"/>
                </a:lnTo>
                <a:lnTo>
                  <a:pt x="4096" y="1290"/>
                </a:lnTo>
                <a:close/>
                <a:moveTo>
                  <a:pt x="3969" y="1220"/>
                </a:moveTo>
                <a:lnTo>
                  <a:pt x="3973" y="1218"/>
                </a:lnTo>
                <a:lnTo>
                  <a:pt x="3977" y="1218"/>
                </a:lnTo>
                <a:lnTo>
                  <a:pt x="3979" y="1218"/>
                </a:lnTo>
                <a:lnTo>
                  <a:pt x="3981" y="1218"/>
                </a:lnTo>
                <a:lnTo>
                  <a:pt x="3985" y="1220"/>
                </a:lnTo>
                <a:lnTo>
                  <a:pt x="3987" y="1222"/>
                </a:lnTo>
                <a:lnTo>
                  <a:pt x="3989" y="1224"/>
                </a:lnTo>
                <a:lnTo>
                  <a:pt x="3991" y="1226"/>
                </a:lnTo>
                <a:lnTo>
                  <a:pt x="3992" y="1229"/>
                </a:lnTo>
                <a:lnTo>
                  <a:pt x="3993" y="1232"/>
                </a:lnTo>
                <a:lnTo>
                  <a:pt x="3993" y="1235"/>
                </a:lnTo>
                <a:lnTo>
                  <a:pt x="3992" y="1238"/>
                </a:lnTo>
                <a:lnTo>
                  <a:pt x="3991" y="1241"/>
                </a:lnTo>
                <a:lnTo>
                  <a:pt x="3988" y="1245"/>
                </a:lnTo>
                <a:lnTo>
                  <a:pt x="3985" y="1247"/>
                </a:lnTo>
                <a:lnTo>
                  <a:pt x="3981" y="1249"/>
                </a:lnTo>
                <a:lnTo>
                  <a:pt x="3977" y="1249"/>
                </a:lnTo>
                <a:lnTo>
                  <a:pt x="3975" y="1249"/>
                </a:lnTo>
                <a:lnTo>
                  <a:pt x="3973" y="1249"/>
                </a:lnTo>
                <a:lnTo>
                  <a:pt x="3970" y="1247"/>
                </a:lnTo>
                <a:lnTo>
                  <a:pt x="3967" y="1245"/>
                </a:lnTo>
                <a:lnTo>
                  <a:pt x="3965" y="1243"/>
                </a:lnTo>
                <a:lnTo>
                  <a:pt x="3963" y="1241"/>
                </a:lnTo>
                <a:lnTo>
                  <a:pt x="3962" y="1238"/>
                </a:lnTo>
                <a:lnTo>
                  <a:pt x="3962" y="1235"/>
                </a:lnTo>
                <a:lnTo>
                  <a:pt x="3962" y="1232"/>
                </a:lnTo>
                <a:lnTo>
                  <a:pt x="3962" y="1229"/>
                </a:lnTo>
                <a:lnTo>
                  <a:pt x="3963" y="1226"/>
                </a:lnTo>
                <a:lnTo>
                  <a:pt x="3966" y="1223"/>
                </a:lnTo>
                <a:lnTo>
                  <a:pt x="3969" y="1220"/>
                </a:lnTo>
                <a:close/>
                <a:moveTo>
                  <a:pt x="3843" y="1151"/>
                </a:moveTo>
                <a:lnTo>
                  <a:pt x="3846" y="1150"/>
                </a:lnTo>
                <a:lnTo>
                  <a:pt x="3850" y="1149"/>
                </a:lnTo>
                <a:lnTo>
                  <a:pt x="3852" y="1149"/>
                </a:lnTo>
                <a:lnTo>
                  <a:pt x="3854" y="1150"/>
                </a:lnTo>
                <a:lnTo>
                  <a:pt x="3858" y="1151"/>
                </a:lnTo>
                <a:lnTo>
                  <a:pt x="3861" y="1153"/>
                </a:lnTo>
                <a:lnTo>
                  <a:pt x="3863" y="1155"/>
                </a:lnTo>
                <a:lnTo>
                  <a:pt x="3864" y="1157"/>
                </a:lnTo>
                <a:lnTo>
                  <a:pt x="3866" y="1160"/>
                </a:lnTo>
                <a:lnTo>
                  <a:pt x="3866" y="1163"/>
                </a:lnTo>
                <a:lnTo>
                  <a:pt x="3866" y="1166"/>
                </a:lnTo>
                <a:lnTo>
                  <a:pt x="3866" y="1169"/>
                </a:lnTo>
                <a:lnTo>
                  <a:pt x="3864" y="1172"/>
                </a:lnTo>
                <a:lnTo>
                  <a:pt x="3862" y="1176"/>
                </a:lnTo>
                <a:lnTo>
                  <a:pt x="3858" y="1178"/>
                </a:lnTo>
                <a:lnTo>
                  <a:pt x="3855" y="1180"/>
                </a:lnTo>
                <a:lnTo>
                  <a:pt x="3851" y="1180"/>
                </a:lnTo>
                <a:lnTo>
                  <a:pt x="3849" y="1180"/>
                </a:lnTo>
                <a:lnTo>
                  <a:pt x="3847" y="1180"/>
                </a:lnTo>
                <a:lnTo>
                  <a:pt x="3843" y="1179"/>
                </a:lnTo>
                <a:lnTo>
                  <a:pt x="3841" y="1177"/>
                </a:lnTo>
                <a:lnTo>
                  <a:pt x="3838" y="1175"/>
                </a:lnTo>
                <a:lnTo>
                  <a:pt x="3837" y="1172"/>
                </a:lnTo>
                <a:lnTo>
                  <a:pt x="3836" y="1169"/>
                </a:lnTo>
                <a:lnTo>
                  <a:pt x="3835" y="1166"/>
                </a:lnTo>
                <a:lnTo>
                  <a:pt x="3835" y="1163"/>
                </a:lnTo>
                <a:lnTo>
                  <a:pt x="3836" y="1160"/>
                </a:lnTo>
                <a:lnTo>
                  <a:pt x="3837" y="1157"/>
                </a:lnTo>
                <a:lnTo>
                  <a:pt x="3839" y="1154"/>
                </a:lnTo>
                <a:lnTo>
                  <a:pt x="3843" y="1151"/>
                </a:lnTo>
                <a:close/>
                <a:moveTo>
                  <a:pt x="3715" y="1084"/>
                </a:moveTo>
                <a:lnTo>
                  <a:pt x="3717" y="1083"/>
                </a:lnTo>
                <a:lnTo>
                  <a:pt x="3719" y="1083"/>
                </a:lnTo>
                <a:lnTo>
                  <a:pt x="3723" y="1082"/>
                </a:lnTo>
                <a:lnTo>
                  <a:pt x="3726" y="1083"/>
                </a:lnTo>
                <a:lnTo>
                  <a:pt x="3730" y="1084"/>
                </a:lnTo>
                <a:lnTo>
                  <a:pt x="3733" y="1086"/>
                </a:lnTo>
                <a:lnTo>
                  <a:pt x="3735" y="1088"/>
                </a:lnTo>
                <a:lnTo>
                  <a:pt x="3737" y="1090"/>
                </a:lnTo>
                <a:lnTo>
                  <a:pt x="3738" y="1093"/>
                </a:lnTo>
                <a:lnTo>
                  <a:pt x="3739" y="1099"/>
                </a:lnTo>
                <a:lnTo>
                  <a:pt x="3738" y="1102"/>
                </a:lnTo>
                <a:lnTo>
                  <a:pt x="3737" y="1105"/>
                </a:lnTo>
                <a:lnTo>
                  <a:pt x="3736" y="1107"/>
                </a:lnTo>
                <a:lnTo>
                  <a:pt x="3734" y="1109"/>
                </a:lnTo>
                <a:lnTo>
                  <a:pt x="3731" y="1111"/>
                </a:lnTo>
                <a:lnTo>
                  <a:pt x="3729" y="1112"/>
                </a:lnTo>
                <a:lnTo>
                  <a:pt x="3727" y="1113"/>
                </a:lnTo>
                <a:lnTo>
                  <a:pt x="3724" y="1114"/>
                </a:lnTo>
                <a:lnTo>
                  <a:pt x="3720" y="1113"/>
                </a:lnTo>
                <a:lnTo>
                  <a:pt x="3716" y="1112"/>
                </a:lnTo>
                <a:lnTo>
                  <a:pt x="3713" y="1110"/>
                </a:lnTo>
                <a:lnTo>
                  <a:pt x="3711" y="1108"/>
                </a:lnTo>
                <a:lnTo>
                  <a:pt x="3709" y="1105"/>
                </a:lnTo>
                <a:lnTo>
                  <a:pt x="3708" y="1103"/>
                </a:lnTo>
                <a:lnTo>
                  <a:pt x="3707" y="1097"/>
                </a:lnTo>
                <a:lnTo>
                  <a:pt x="3708" y="1094"/>
                </a:lnTo>
                <a:lnTo>
                  <a:pt x="3709" y="1091"/>
                </a:lnTo>
                <a:lnTo>
                  <a:pt x="3710" y="1089"/>
                </a:lnTo>
                <a:lnTo>
                  <a:pt x="3712" y="1087"/>
                </a:lnTo>
                <a:lnTo>
                  <a:pt x="3715" y="1084"/>
                </a:lnTo>
                <a:close/>
                <a:moveTo>
                  <a:pt x="3587" y="1020"/>
                </a:moveTo>
                <a:lnTo>
                  <a:pt x="3588" y="1019"/>
                </a:lnTo>
                <a:lnTo>
                  <a:pt x="3590" y="1018"/>
                </a:lnTo>
                <a:lnTo>
                  <a:pt x="3594" y="1018"/>
                </a:lnTo>
                <a:lnTo>
                  <a:pt x="3597" y="1018"/>
                </a:lnTo>
                <a:lnTo>
                  <a:pt x="3601" y="1019"/>
                </a:lnTo>
                <a:lnTo>
                  <a:pt x="3604" y="1021"/>
                </a:lnTo>
                <a:lnTo>
                  <a:pt x="3606" y="1023"/>
                </a:lnTo>
                <a:lnTo>
                  <a:pt x="3608" y="1026"/>
                </a:lnTo>
                <a:lnTo>
                  <a:pt x="3609" y="1028"/>
                </a:lnTo>
                <a:lnTo>
                  <a:pt x="3610" y="1031"/>
                </a:lnTo>
                <a:lnTo>
                  <a:pt x="3610" y="1034"/>
                </a:lnTo>
                <a:lnTo>
                  <a:pt x="3610" y="1037"/>
                </a:lnTo>
                <a:lnTo>
                  <a:pt x="3608" y="1040"/>
                </a:lnTo>
                <a:lnTo>
                  <a:pt x="3607" y="1042"/>
                </a:lnTo>
                <a:lnTo>
                  <a:pt x="3606" y="1044"/>
                </a:lnTo>
                <a:lnTo>
                  <a:pt x="3604" y="1046"/>
                </a:lnTo>
                <a:lnTo>
                  <a:pt x="3602" y="1047"/>
                </a:lnTo>
                <a:lnTo>
                  <a:pt x="3601" y="1048"/>
                </a:lnTo>
                <a:lnTo>
                  <a:pt x="3599" y="1049"/>
                </a:lnTo>
                <a:lnTo>
                  <a:pt x="3595" y="1049"/>
                </a:lnTo>
                <a:lnTo>
                  <a:pt x="3591" y="1049"/>
                </a:lnTo>
                <a:lnTo>
                  <a:pt x="3588" y="1048"/>
                </a:lnTo>
                <a:lnTo>
                  <a:pt x="3585" y="1046"/>
                </a:lnTo>
                <a:lnTo>
                  <a:pt x="3583" y="1044"/>
                </a:lnTo>
                <a:lnTo>
                  <a:pt x="3581" y="1041"/>
                </a:lnTo>
                <a:lnTo>
                  <a:pt x="3580" y="1039"/>
                </a:lnTo>
                <a:lnTo>
                  <a:pt x="3579" y="1036"/>
                </a:lnTo>
                <a:lnTo>
                  <a:pt x="3579" y="1033"/>
                </a:lnTo>
                <a:lnTo>
                  <a:pt x="3579" y="1030"/>
                </a:lnTo>
                <a:lnTo>
                  <a:pt x="3580" y="1027"/>
                </a:lnTo>
                <a:lnTo>
                  <a:pt x="3581" y="1025"/>
                </a:lnTo>
                <a:lnTo>
                  <a:pt x="3583" y="1023"/>
                </a:lnTo>
                <a:lnTo>
                  <a:pt x="3585" y="1021"/>
                </a:lnTo>
                <a:lnTo>
                  <a:pt x="3587" y="1020"/>
                </a:lnTo>
                <a:close/>
                <a:moveTo>
                  <a:pt x="1349" y="2220"/>
                </a:moveTo>
                <a:lnTo>
                  <a:pt x="1352" y="2219"/>
                </a:lnTo>
                <a:lnTo>
                  <a:pt x="1355" y="2218"/>
                </a:lnTo>
                <a:lnTo>
                  <a:pt x="1359" y="2218"/>
                </a:lnTo>
                <a:lnTo>
                  <a:pt x="1362" y="2219"/>
                </a:lnTo>
                <a:lnTo>
                  <a:pt x="1364" y="2220"/>
                </a:lnTo>
                <a:lnTo>
                  <a:pt x="1367" y="2222"/>
                </a:lnTo>
                <a:lnTo>
                  <a:pt x="1369" y="2224"/>
                </a:lnTo>
                <a:lnTo>
                  <a:pt x="1371" y="2226"/>
                </a:lnTo>
                <a:lnTo>
                  <a:pt x="1372" y="2229"/>
                </a:lnTo>
                <a:lnTo>
                  <a:pt x="1373" y="2232"/>
                </a:lnTo>
                <a:lnTo>
                  <a:pt x="1373" y="2235"/>
                </a:lnTo>
                <a:lnTo>
                  <a:pt x="1372" y="2238"/>
                </a:lnTo>
                <a:lnTo>
                  <a:pt x="1371" y="2241"/>
                </a:lnTo>
                <a:lnTo>
                  <a:pt x="1370" y="2243"/>
                </a:lnTo>
                <a:lnTo>
                  <a:pt x="1367" y="2246"/>
                </a:lnTo>
                <a:lnTo>
                  <a:pt x="1365" y="2247"/>
                </a:lnTo>
                <a:lnTo>
                  <a:pt x="1362" y="2249"/>
                </a:lnTo>
                <a:lnTo>
                  <a:pt x="1359" y="2249"/>
                </a:lnTo>
                <a:lnTo>
                  <a:pt x="1356" y="2249"/>
                </a:lnTo>
                <a:lnTo>
                  <a:pt x="1353" y="2249"/>
                </a:lnTo>
                <a:lnTo>
                  <a:pt x="1350" y="2248"/>
                </a:lnTo>
                <a:lnTo>
                  <a:pt x="1347" y="2246"/>
                </a:lnTo>
                <a:lnTo>
                  <a:pt x="1345" y="2244"/>
                </a:lnTo>
                <a:lnTo>
                  <a:pt x="1343" y="2241"/>
                </a:lnTo>
                <a:lnTo>
                  <a:pt x="1342" y="2238"/>
                </a:lnTo>
                <a:lnTo>
                  <a:pt x="1341" y="2235"/>
                </a:lnTo>
                <a:lnTo>
                  <a:pt x="1341" y="2232"/>
                </a:lnTo>
                <a:lnTo>
                  <a:pt x="1342" y="2230"/>
                </a:lnTo>
                <a:lnTo>
                  <a:pt x="1343" y="2227"/>
                </a:lnTo>
                <a:lnTo>
                  <a:pt x="1345" y="2224"/>
                </a:lnTo>
                <a:lnTo>
                  <a:pt x="1347" y="2222"/>
                </a:lnTo>
                <a:lnTo>
                  <a:pt x="1349" y="2220"/>
                </a:lnTo>
                <a:close/>
                <a:moveTo>
                  <a:pt x="1473" y="2148"/>
                </a:moveTo>
                <a:lnTo>
                  <a:pt x="1476" y="2146"/>
                </a:lnTo>
                <a:lnTo>
                  <a:pt x="1479" y="2146"/>
                </a:lnTo>
                <a:lnTo>
                  <a:pt x="1482" y="2146"/>
                </a:lnTo>
                <a:lnTo>
                  <a:pt x="1485" y="2146"/>
                </a:lnTo>
                <a:lnTo>
                  <a:pt x="1488" y="2147"/>
                </a:lnTo>
                <a:lnTo>
                  <a:pt x="1490" y="2148"/>
                </a:lnTo>
                <a:lnTo>
                  <a:pt x="1493" y="2150"/>
                </a:lnTo>
                <a:lnTo>
                  <a:pt x="1494" y="2153"/>
                </a:lnTo>
                <a:lnTo>
                  <a:pt x="1496" y="2156"/>
                </a:lnTo>
                <a:lnTo>
                  <a:pt x="1497" y="2159"/>
                </a:lnTo>
                <a:lnTo>
                  <a:pt x="1497" y="2162"/>
                </a:lnTo>
                <a:lnTo>
                  <a:pt x="1497" y="2165"/>
                </a:lnTo>
                <a:lnTo>
                  <a:pt x="1496" y="2168"/>
                </a:lnTo>
                <a:lnTo>
                  <a:pt x="1494" y="2170"/>
                </a:lnTo>
                <a:lnTo>
                  <a:pt x="1492" y="2173"/>
                </a:lnTo>
                <a:lnTo>
                  <a:pt x="1490" y="2174"/>
                </a:lnTo>
                <a:lnTo>
                  <a:pt x="1487" y="2176"/>
                </a:lnTo>
                <a:lnTo>
                  <a:pt x="1484" y="2177"/>
                </a:lnTo>
                <a:lnTo>
                  <a:pt x="1481" y="2177"/>
                </a:lnTo>
                <a:lnTo>
                  <a:pt x="1478" y="2176"/>
                </a:lnTo>
                <a:lnTo>
                  <a:pt x="1475" y="2175"/>
                </a:lnTo>
                <a:lnTo>
                  <a:pt x="1472" y="2174"/>
                </a:lnTo>
                <a:lnTo>
                  <a:pt x="1470" y="2172"/>
                </a:lnTo>
                <a:lnTo>
                  <a:pt x="1468" y="2170"/>
                </a:lnTo>
                <a:lnTo>
                  <a:pt x="1467" y="2167"/>
                </a:lnTo>
                <a:lnTo>
                  <a:pt x="1466" y="2164"/>
                </a:lnTo>
                <a:lnTo>
                  <a:pt x="1466" y="2161"/>
                </a:lnTo>
                <a:lnTo>
                  <a:pt x="1466" y="2158"/>
                </a:lnTo>
                <a:lnTo>
                  <a:pt x="1467" y="2155"/>
                </a:lnTo>
                <a:lnTo>
                  <a:pt x="1468" y="2152"/>
                </a:lnTo>
                <a:lnTo>
                  <a:pt x="1470" y="2150"/>
                </a:lnTo>
                <a:lnTo>
                  <a:pt x="1473" y="2148"/>
                </a:lnTo>
                <a:close/>
                <a:moveTo>
                  <a:pt x="1099" y="2362"/>
                </a:moveTo>
                <a:lnTo>
                  <a:pt x="1102" y="2361"/>
                </a:lnTo>
                <a:lnTo>
                  <a:pt x="1105" y="2360"/>
                </a:lnTo>
                <a:lnTo>
                  <a:pt x="1108" y="2360"/>
                </a:lnTo>
                <a:lnTo>
                  <a:pt x="1110" y="2361"/>
                </a:lnTo>
                <a:lnTo>
                  <a:pt x="1113" y="2362"/>
                </a:lnTo>
                <a:lnTo>
                  <a:pt x="1116" y="2363"/>
                </a:lnTo>
                <a:lnTo>
                  <a:pt x="1118" y="2365"/>
                </a:lnTo>
                <a:lnTo>
                  <a:pt x="1120" y="2367"/>
                </a:lnTo>
                <a:lnTo>
                  <a:pt x="1121" y="2369"/>
                </a:lnTo>
                <a:lnTo>
                  <a:pt x="1122" y="2371"/>
                </a:lnTo>
                <a:lnTo>
                  <a:pt x="1123" y="2375"/>
                </a:lnTo>
                <a:lnTo>
                  <a:pt x="1122" y="2379"/>
                </a:lnTo>
                <a:lnTo>
                  <a:pt x="1121" y="2383"/>
                </a:lnTo>
                <a:lnTo>
                  <a:pt x="1093" y="2383"/>
                </a:lnTo>
                <a:lnTo>
                  <a:pt x="1092" y="2380"/>
                </a:lnTo>
                <a:lnTo>
                  <a:pt x="1091" y="2378"/>
                </a:lnTo>
                <a:lnTo>
                  <a:pt x="1091" y="2375"/>
                </a:lnTo>
                <a:lnTo>
                  <a:pt x="1092" y="2372"/>
                </a:lnTo>
                <a:lnTo>
                  <a:pt x="1093" y="2369"/>
                </a:lnTo>
                <a:lnTo>
                  <a:pt x="1094" y="2367"/>
                </a:lnTo>
                <a:lnTo>
                  <a:pt x="1096" y="2365"/>
                </a:lnTo>
                <a:lnTo>
                  <a:pt x="1098" y="2363"/>
                </a:lnTo>
                <a:lnTo>
                  <a:pt x="1099" y="2362"/>
                </a:lnTo>
                <a:close/>
                <a:moveTo>
                  <a:pt x="1222" y="2288"/>
                </a:moveTo>
                <a:lnTo>
                  <a:pt x="1225" y="2286"/>
                </a:lnTo>
                <a:lnTo>
                  <a:pt x="1228" y="2286"/>
                </a:lnTo>
                <a:lnTo>
                  <a:pt x="1231" y="2286"/>
                </a:lnTo>
                <a:lnTo>
                  <a:pt x="1234" y="2286"/>
                </a:lnTo>
                <a:lnTo>
                  <a:pt x="1237" y="2287"/>
                </a:lnTo>
                <a:lnTo>
                  <a:pt x="1240" y="2289"/>
                </a:lnTo>
                <a:lnTo>
                  <a:pt x="1242" y="2291"/>
                </a:lnTo>
                <a:lnTo>
                  <a:pt x="1244" y="2294"/>
                </a:lnTo>
                <a:lnTo>
                  <a:pt x="1245" y="2297"/>
                </a:lnTo>
                <a:lnTo>
                  <a:pt x="1245" y="2300"/>
                </a:lnTo>
                <a:lnTo>
                  <a:pt x="1246" y="2303"/>
                </a:lnTo>
                <a:lnTo>
                  <a:pt x="1245" y="2305"/>
                </a:lnTo>
                <a:lnTo>
                  <a:pt x="1244" y="2308"/>
                </a:lnTo>
                <a:lnTo>
                  <a:pt x="1242" y="2311"/>
                </a:lnTo>
                <a:lnTo>
                  <a:pt x="1240" y="2313"/>
                </a:lnTo>
                <a:lnTo>
                  <a:pt x="1238" y="2315"/>
                </a:lnTo>
                <a:lnTo>
                  <a:pt x="1235" y="2316"/>
                </a:lnTo>
                <a:lnTo>
                  <a:pt x="1232" y="2317"/>
                </a:lnTo>
                <a:lnTo>
                  <a:pt x="1229" y="2317"/>
                </a:lnTo>
                <a:lnTo>
                  <a:pt x="1226" y="2316"/>
                </a:lnTo>
                <a:lnTo>
                  <a:pt x="1223" y="2315"/>
                </a:lnTo>
                <a:lnTo>
                  <a:pt x="1220" y="2314"/>
                </a:lnTo>
                <a:lnTo>
                  <a:pt x="1218" y="2312"/>
                </a:lnTo>
                <a:lnTo>
                  <a:pt x="1216" y="2309"/>
                </a:lnTo>
                <a:lnTo>
                  <a:pt x="1215" y="2306"/>
                </a:lnTo>
                <a:lnTo>
                  <a:pt x="1214" y="2303"/>
                </a:lnTo>
                <a:lnTo>
                  <a:pt x="1214" y="2300"/>
                </a:lnTo>
                <a:lnTo>
                  <a:pt x="1215" y="2297"/>
                </a:lnTo>
                <a:lnTo>
                  <a:pt x="1216" y="2294"/>
                </a:lnTo>
                <a:lnTo>
                  <a:pt x="1217" y="2292"/>
                </a:lnTo>
                <a:lnTo>
                  <a:pt x="1219" y="2290"/>
                </a:lnTo>
                <a:lnTo>
                  <a:pt x="1222" y="2288"/>
                </a:lnTo>
                <a:close/>
                <a:moveTo>
                  <a:pt x="1591" y="2066"/>
                </a:moveTo>
                <a:lnTo>
                  <a:pt x="1594" y="2064"/>
                </a:lnTo>
                <a:lnTo>
                  <a:pt x="1597" y="2064"/>
                </a:lnTo>
                <a:lnTo>
                  <a:pt x="1602" y="2064"/>
                </a:lnTo>
                <a:lnTo>
                  <a:pt x="1605" y="2065"/>
                </a:lnTo>
                <a:lnTo>
                  <a:pt x="1607" y="2066"/>
                </a:lnTo>
                <a:lnTo>
                  <a:pt x="1610" y="2067"/>
                </a:lnTo>
                <a:lnTo>
                  <a:pt x="1611" y="2069"/>
                </a:lnTo>
                <a:lnTo>
                  <a:pt x="1612" y="2070"/>
                </a:lnTo>
                <a:lnTo>
                  <a:pt x="1613" y="2072"/>
                </a:lnTo>
                <a:lnTo>
                  <a:pt x="1614" y="2075"/>
                </a:lnTo>
                <a:lnTo>
                  <a:pt x="1615" y="2078"/>
                </a:lnTo>
                <a:lnTo>
                  <a:pt x="1615" y="2081"/>
                </a:lnTo>
                <a:lnTo>
                  <a:pt x="1614" y="2084"/>
                </a:lnTo>
                <a:lnTo>
                  <a:pt x="1613" y="2087"/>
                </a:lnTo>
                <a:lnTo>
                  <a:pt x="1611" y="2089"/>
                </a:lnTo>
                <a:lnTo>
                  <a:pt x="1609" y="2092"/>
                </a:lnTo>
                <a:lnTo>
                  <a:pt x="1607" y="2093"/>
                </a:lnTo>
                <a:lnTo>
                  <a:pt x="1604" y="2094"/>
                </a:lnTo>
                <a:lnTo>
                  <a:pt x="1602" y="2095"/>
                </a:lnTo>
                <a:lnTo>
                  <a:pt x="1596" y="2095"/>
                </a:lnTo>
                <a:lnTo>
                  <a:pt x="1593" y="2094"/>
                </a:lnTo>
                <a:lnTo>
                  <a:pt x="1591" y="2093"/>
                </a:lnTo>
                <a:lnTo>
                  <a:pt x="1589" y="2091"/>
                </a:lnTo>
                <a:lnTo>
                  <a:pt x="1588" y="2090"/>
                </a:lnTo>
                <a:lnTo>
                  <a:pt x="1587" y="2089"/>
                </a:lnTo>
                <a:lnTo>
                  <a:pt x="1585" y="2086"/>
                </a:lnTo>
                <a:lnTo>
                  <a:pt x="1584" y="2083"/>
                </a:lnTo>
                <a:lnTo>
                  <a:pt x="1583" y="2080"/>
                </a:lnTo>
                <a:lnTo>
                  <a:pt x="1584" y="2077"/>
                </a:lnTo>
                <a:lnTo>
                  <a:pt x="1584" y="2074"/>
                </a:lnTo>
                <a:lnTo>
                  <a:pt x="1585" y="2071"/>
                </a:lnTo>
                <a:lnTo>
                  <a:pt x="1587" y="2069"/>
                </a:lnTo>
                <a:lnTo>
                  <a:pt x="1590" y="2067"/>
                </a:lnTo>
                <a:lnTo>
                  <a:pt x="1591" y="2066"/>
                </a:lnTo>
                <a:close/>
                <a:moveTo>
                  <a:pt x="3456" y="959"/>
                </a:moveTo>
                <a:lnTo>
                  <a:pt x="3460" y="957"/>
                </a:lnTo>
                <a:lnTo>
                  <a:pt x="3463" y="957"/>
                </a:lnTo>
                <a:lnTo>
                  <a:pt x="3467" y="957"/>
                </a:lnTo>
                <a:lnTo>
                  <a:pt x="3469" y="957"/>
                </a:lnTo>
                <a:lnTo>
                  <a:pt x="3471" y="958"/>
                </a:lnTo>
                <a:lnTo>
                  <a:pt x="3473" y="960"/>
                </a:lnTo>
                <a:lnTo>
                  <a:pt x="3476" y="962"/>
                </a:lnTo>
                <a:lnTo>
                  <a:pt x="3477" y="964"/>
                </a:lnTo>
                <a:lnTo>
                  <a:pt x="3479" y="967"/>
                </a:lnTo>
                <a:lnTo>
                  <a:pt x="3480" y="970"/>
                </a:lnTo>
                <a:lnTo>
                  <a:pt x="3480" y="973"/>
                </a:lnTo>
                <a:lnTo>
                  <a:pt x="3479" y="976"/>
                </a:lnTo>
                <a:lnTo>
                  <a:pt x="3478" y="979"/>
                </a:lnTo>
                <a:lnTo>
                  <a:pt x="3476" y="983"/>
                </a:lnTo>
                <a:lnTo>
                  <a:pt x="3474" y="984"/>
                </a:lnTo>
                <a:lnTo>
                  <a:pt x="3472" y="986"/>
                </a:lnTo>
                <a:lnTo>
                  <a:pt x="3469" y="987"/>
                </a:lnTo>
                <a:lnTo>
                  <a:pt x="3465" y="988"/>
                </a:lnTo>
                <a:lnTo>
                  <a:pt x="3461" y="988"/>
                </a:lnTo>
                <a:lnTo>
                  <a:pt x="3459" y="987"/>
                </a:lnTo>
                <a:lnTo>
                  <a:pt x="3458" y="987"/>
                </a:lnTo>
                <a:lnTo>
                  <a:pt x="3455" y="985"/>
                </a:lnTo>
                <a:lnTo>
                  <a:pt x="3453" y="983"/>
                </a:lnTo>
                <a:lnTo>
                  <a:pt x="3451" y="980"/>
                </a:lnTo>
                <a:lnTo>
                  <a:pt x="3449" y="978"/>
                </a:lnTo>
                <a:lnTo>
                  <a:pt x="3449" y="975"/>
                </a:lnTo>
                <a:lnTo>
                  <a:pt x="3448" y="972"/>
                </a:lnTo>
                <a:lnTo>
                  <a:pt x="3449" y="969"/>
                </a:lnTo>
                <a:lnTo>
                  <a:pt x="3450" y="966"/>
                </a:lnTo>
                <a:lnTo>
                  <a:pt x="3452" y="962"/>
                </a:lnTo>
                <a:lnTo>
                  <a:pt x="3454" y="960"/>
                </a:lnTo>
                <a:lnTo>
                  <a:pt x="3456" y="959"/>
                </a:lnTo>
                <a:close/>
                <a:moveTo>
                  <a:pt x="1700" y="1972"/>
                </a:moveTo>
                <a:lnTo>
                  <a:pt x="1702" y="1971"/>
                </a:lnTo>
                <a:lnTo>
                  <a:pt x="1705" y="1970"/>
                </a:lnTo>
                <a:lnTo>
                  <a:pt x="1707" y="1970"/>
                </a:lnTo>
                <a:lnTo>
                  <a:pt x="1710" y="1970"/>
                </a:lnTo>
                <a:lnTo>
                  <a:pt x="1715" y="1972"/>
                </a:lnTo>
                <a:lnTo>
                  <a:pt x="1717" y="1973"/>
                </a:lnTo>
                <a:lnTo>
                  <a:pt x="1719" y="1975"/>
                </a:lnTo>
                <a:lnTo>
                  <a:pt x="1721" y="1977"/>
                </a:lnTo>
                <a:lnTo>
                  <a:pt x="1723" y="1980"/>
                </a:lnTo>
                <a:lnTo>
                  <a:pt x="1723" y="1983"/>
                </a:lnTo>
                <a:lnTo>
                  <a:pt x="1724" y="1986"/>
                </a:lnTo>
                <a:lnTo>
                  <a:pt x="1723" y="1989"/>
                </a:lnTo>
                <a:lnTo>
                  <a:pt x="1722" y="1992"/>
                </a:lnTo>
                <a:lnTo>
                  <a:pt x="1721" y="1994"/>
                </a:lnTo>
                <a:lnTo>
                  <a:pt x="1719" y="1997"/>
                </a:lnTo>
                <a:lnTo>
                  <a:pt x="1716" y="1999"/>
                </a:lnTo>
                <a:lnTo>
                  <a:pt x="1713" y="2000"/>
                </a:lnTo>
                <a:lnTo>
                  <a:pt x="1711" y="2001"/>
                </a:lnTo>
                <a:lnTo>
                  <a:pt x="1708" y="2001"/>
                </a:lnTo>
                <a:lnTo>
                  <a:pt x="1706" y="2001"/>
                </a:lnTo>
                <a:lnTo>
                  <a:pt x="1701" y="2000"/>
                </a:lnTo>
                <a:lnTo>
                  <a:pt x="1699" y="1998"/>
                </a:lnTo>
                <a:lnTo>
                  <a:pt x="1697" y="1997"/>
                </a:lnTo>
                <a:lnTo>
                  <a:pt x="1695" y="1994"/>
                </a:lnTo>
                <a:lnTo>
                  <a:pt x="1693" y="1991"/>
                </a:lnTo>
                <a:lnTo>
                  <a:pt x="1692" y="1988"/>
                </a:lnTo>
                <a:lnTo>
                  <a:pt x="1692" y="1985"/>
                </a:lnTo>
                <a:lnTo>
                  <a:pt x="1693" y="1982"/>
                </a:lnTo>
                <a:lnTo>
                  <a:pt x="1694" y="1980"/>
                </a:lnTo>
                <a:lnTo>
                  <a:pt x="1695" y="1977"/>
                </a:lnTo>
                <a:lnTo>
                  <a:pt x="1697" y="1974"/>
                </a:lnTo>
                <a:lnTo>
                  <a:pt x="1700" y="1972"/>
                </a:lnTo>
                <a:close/>
                <a:moveTo>
                  <a:pt x="1796" y="1865"/>
                </a:moveTo>
                <a:lnTo>
                  <a:pt x="1800" y="1863"/>
                </a:lnTo>
                <a:lnTo>
                  <a:pt x="1805" y="1863"/>
                </a:lnTo>
                <a:lnTo>
                  <a:pt x="1807" y="1863"/>
                </a:lnTo>
                <a:lnTo>
                  <a:pt x="1809" y="1864"/>
                </a:lnTo>
                <a:lnTo>
                  <a:pt x="1813" y="1866"/>
                </a:lnTo>
                <a:lnTo>
                  <a:pt x="1815" y="1868"/>
                </a:lnTo>
                <a:lnTo>
                  <a:pt x="1817" y="1871"/>
                </a:lnTo>
                <a:lnTo>
                  <a:pt x="1818" y="1874"/>
                </a:lnTo>
                <a:lnTo>
                  <a:pt x="1819" y="1877"/>
                </a:lnTo>
                <a:lnTo>
                  <a:pt x="1819" y="1880"/>
                </a:lnTo>
                <a:lnTo>
                  <a:pt x="1819" y="1883"/>
                </a:lnTo>
                <a:lnTo>
                  <a:pt x="1818" y="1886"/>
                </a:lnTo>
                <a:lnTo>
                  <a:pt x="1816" y="1888"/>
                </a:lnTo>
                <a:lnTo>
                  <a:pt x="1814" y="1891"/>
                </a:lnTo>
                <a:lnTo>
                  <a:pt x="1811" y="1892"/>
                </a:lnTo>
                <a:lnTo>
                  <a:pt x="1807" y="1894"/>
                </a:lnTo>
                <a:lnTo>
                  <a:pt x="1803" y="1894"/>
                </a:lnTo>
                <a:lnTo>
                  <a:pt x="1800" y="1894"/>
                </a:lnTo>
                <a:lnTo>
                  <a:pt x="1798" y="1893"/>
                </a:lnTo>
                <a:lnTo>
                  <a:pt x="1794" y="1891"/>
                </a:lnTo>
                <a:lnTo>
                  <a:pt x="1792" y="1889"/>
                </a:lnTo>
                <a:lnTo>
                  <a:pt x="1790" y="1886"/>
                </a:lnTo>
                <a:lnTo>
                  <a:pt x="1789" y="1884"/>
                </a:lnTo>
                <a:lnTo>
                  <a:pt x="1788" y="1881"/>
                </a:lnTo>
                <a:lnTo>
                  <a:pt x="1788" y="1878"/>
                </a:lnTo>
                <a:lnTo>
                  <a:pt x="1788" y="1875"/>
                </a:lnTo>
                <a:lnTo>
                  <a:pt x="1789" y="1872"/>
                </a:lnTo>
                <a:lnTo>
                  <a:pt x="1791" y="1869"/>
                </a:lnTo>
                <a:lnTo>
                  <a:pt x="1793" y="1867"/>
                </a:lnTo>
                <a:lnTo>
                  <a:pt x="1796" y="1865"/>
                </a:lnTo>
                <a:close/>
                <a:moveTo>
                  <a:pt x="1873" y="1743"/>
                </a:moveTo>
                <a:lnTo>
                  <a:pt x="1874" y="1742"/>
                </a:lnTo>
                <a:lnTo>
                  <a:pt x="1876" y="1742"/>
                </a:lnTo>
                <a:lnTo>
                  <a:pt x="1880" y="1741"/>
                </a:lnTo>
                <a:lnTo>
                  <a:pt x="1884" y="1741"/>
                </a:lnTo>
                <a:lnTo>
                  <a:pt x="1888" y="1743"/>
                </a:lnTo>
                <a:lnTo>
                  <a:pt x="1890" y="1744"/>
                </a:lnTo>
                <a:lnTo>
                  <a:pt x="1893" y="1747"/>
                </a:lnTo>
                <a:lnTo>
                  <a:pt x="1894" y="1749"/>
                </a:lnTo>
                <a:lnTo>
                  <a:pt x="1896" y="1752"/>
                </a:lnTo>
                <a:lnTo>
                  <a:pt x="1896" y="1758"/>
                </a:lnTo>
                <a:lnTo>
                  <a:pt x="1896" y="1761"/>
                </a:lnTo>
                <a:lnTo>
                  <a:pt x="1895" y="1764"/>
                </a:lnTo>
                <a:lnTo>
                  <a:pt x="1893" y="1766"/>
                </a:lnTo>
                <a:lnTo>
                  <a:pt x="1892" y="1768"/>
                </a:lnTo>
                <a:lnTo>
                  <a:pt x="1888" y="1770"/>
                </a:lnTo>
                <a:lnTo>
                  <a:pt x="1887" y="1771"/>
                </a:lnTo>
                <a:lnTo>
                  <a:pt x="1885" y="1772"/>
                </a:lnTo>
                <a:lnTo>
                  <a:pt x="1881" y="1772"/>
                </a:lnTo>
                <a:lnTo>
                  <a:pt x="1877" y="1772"/>
                </a:lnTo>
                <a:lnTo>
                  <a:pt x="1873" y="1771"/>
                </a:lnTo>
                <a:lnTo>
                  <a:pt x="1871" y="1769"/>
                </a:lnTo>
                <a:lnTo>
                  <a:pt x="1869" y="1767"/>
                </a:lnTo>
                <a:lnTo>
                  <a:pt x="1867" y="1764"/>
                </a:lnTo>
                <a:lnTo>
                  <a:pt x="1866" y="1761"/>
                </a:lnTo>
                <a:lnTo>
                  <a:pt x="1865" y="1755"/>
                </a:lnTo>
                <a:lnTo>
                  <a:pt x="1865" y="1752"/>
                </a:lnTo>
                <a:lnTo>
                  <a:pt x="1867" y="1749"/>
                </a:lnTo>
                <a:lnTo>
                  <a:pt x="1868" y="1748"/>
                </a:lnTo>
                <a:lnTo>
                  <a:pt x="1869" y="1746"/>
                </a:lnTo>
                <a:lnTo>
                  <a:pt x="1873" y="1743"/>
                </a:lnTo>
                <a:close/>
                <a:moveTo>
                  <a:pt x="3324" y="902"/>
                </a:moveTo>
                <a:lnTo>
                  <a:pt x="3327" y="900"/>
                </a:lnTo>
                <a:lnTo>
                  <a:pt x="3331" y="900"/>
                </a:lnTo>
                <a:lnTo>
                  <a:pt x="3334" y="900"/>
                </a:lnTo>
                <a:lnTo>
                  <a:pt x="3338" y="901"/>
                </a:lnTo>
                <a:lnTo>
                  <a:pt x="3341" y="902"/>
                </a:lnTo>
                <a:lnTo>
                  <a:pt x="3343" y="904"/>
                </a:lnTo>
                <a:lnTo>
                  <a:pt x="3345" y="907"/>
                </a:lnTo>
                <a:lnTo>
                  <a:pt x="3346" y="909"/>
                </a:lnTo>
                <a:lnTo>
                  <a:pt x="3347" y="912"/>
                </a:lnTo>
                <a:lnTo>
                  <a:pt x="3347" y="915"/>
                </a:lnTo>
                <a:lnTo>
                  <a:pt x="3347" y="918"/>
                </a:lnTo>
                <a:lnTo>
                  <a:pt x="3346" y="921"/>
                </a:lnTo>
                <a:lnTo>
                  <a:pt x="3345" y="924"/>
                </a:lnTo>
                <a:lnTo>
                  <a:pt x="3344" y="926"/>
                </a:lnTo>
                <a:lnTo>
                  <a:pt x="3340" y="929"/>
                </a:lnTo>
                <a:lnTo>
                  <a:pt x="3336" y="930"/>
                </a:lnTo>
                <a:lnTo>
                  <a:pt x="3333" y="931"/>
                </a:lnTo>
                <a:lnTo>
                  <a:pt x="3329" y="931"/>
                </a:lnTo>
                <a:lnTo>
                  <a:pt x="3326" y="930"/>
                </a:lnTo>
                <a:lnTo>
                  <a:pt x="3323" y="928"/>
                </a:lnTo>
                <a:lnTo>
                  <a:pt x="3321" y="926"/>
                </a:lnTo>
                <a:lnTo>
                  <a:pt x="3319" y="924"/>
                </a:lnTo>
                <a:lnTo>
                  <a:pt x="3317" y="921"/>
                </a:lnTo>
                <a:lnTo>
                  <a:pt x="3316" y="919"/>
                </a:lnTo>
                <a:lnTo>
                  <a:pt x="3316" y="916"/>
                </a:lnTo>
                <a:lnTo>
                  <a:pt x="3316" y="912"/>
                </a:lnTo>
                <a:lnTo>
                  <a:pt x="3317" y="909"/>
                </a:lnTo>
                <a:lnTo>
                  <a:pt x="3318" y="907"/>
                </a:lnTo>
                <a:lnTo>
                  <a:pt x="3320" y="905"/>
                </a:lnTo>
                <a:lnTo>
                  <a:pt x="3324" y="902"/>
                </a:lnTo>
                <a:close/>
                <a:moveTo>
                  <a:pt x="1926" y="1610"/>
                </a:moveTo>
                <a:lnTo>
                  <a:pt x="1929" y="1609"/>
                </a:lnTo>
                <a:lnTo>
                  <a:pt x="1932" y="1608"/>
                </a:lnTo>
                <a:lnTo>
                  <a:pt x="1935" y="1608"/>
                </a:lnTo>
                <a:lnTo>
                  <a:pt x="1939" y="1609"/>
                </a:lnTo>
                <a:lnTo>
                  <a:pt x="1942" y="1610"/>
                </a:lnTo>
                <a:lnTo>
                  <a:pt x="1944" y="1611"/>
                </a:lnTo>
                <a:lnTo>
                  <a:pt x="1946" y="1614"/>
                </a:lnTo>
                <a:lnTo>
                  <a:pt x="1948" y="1616"/>
                </a:lnTo>
                <a:lnTo>
                  <a:pt x="1949" y="1619"/>
                </a:lnTo>
                <a:lnTo>
                  <a:pt x="1950" y="1622"/>
                </a:lnTo>
                <a:lnTo>
                  <a:pt x="1950" y="1625"/>
                </a:lnTo>
                <a:lnTo>
                  <a:pt x="1949" y="1628"/>
                </a:lnTo>
                <a:lnTo>
                  <a:pt x="1948" y="1631"/>
                </a:lnTo>
                <a:lnTo>
                  <a:pt x="1946" y="1633"/>
                </a:lnTo>
                <a:lnTo>
                  <a:pt x="1944" y="1635"/>
                </a:lnTo>
                <a:lnTo>
                  <a:pt x="1942" y="1637"/>
                </a:lnTo>
                <a:lnTo>
                  <a:pt x="1939" y="1638"/>
                </a:lnTo>
                <a:lnTo>
                  <a:pt x="1936" y="1639"/>
                </a:lnTo>
                <a:lnTo>
                  <a:pt x="1933" y="1639"/>
                </a:lnTo>
                <a:lnTo>
                  <a:pt x="1930" y="1639"/>
                </a:lnTo>
                <a:lnTo>
                  <a:pt x="1927" y="1637"/>
                </a:lnTo>
                <a:lnTo>
                  <a:pt x="1924" y="1636"/>
                </a:lnTo>
                <a:lnTo>
                  <a:pt x="1922" y="1633"/>
                </a:lnTo>
                <a:lnTo>
                  <a:pt x="1920" y="1631"/>
                </a:lnTo>
                <a:lnTo>
                  <a:pt x="1919" y="1628"/>
                </a:lnTo>
                <a:lnTo>
                  <a:pt x="1919" y="1625"/>
                </a:lnTo>
                <a:lnTo>
                  <a:pt x="1919" y="1622"/>
                </a:lnTo>
                <a:lnTo>
                  <a:pt x="1919" y="1619"/>
                </a:lnTo>
                <a:lnTo>
                  <a:pt x="1920" y="1616"/>
                </a:lnTo>
                <a:lnTo>
                  <a:pt x="1922" y="1614"/>
                </a:lnTo>
                <a:lnTo>
                  <a:pt x="1924" y="1612"/>
                </a:lnTo>
                <a:lnTo>
                  <a:pt x="1926" y="1610"/>
                </a:lnTo>
                <a:close/>
                <a:moveTo>
                  <a:pt x="3189" y="851"/>
                </a:moveTo>
                <a:lnTo>
                  <a:pt x="3192" y="849"/>
                </a:lnTo>
                <a:lnTo>
                  <a:pt x="3196" y="849"/>
                </a:lnTo>
                <a:lnTo>
                  <a:pt x="3199" y="849"/>
                </a:lnTo>
                <a:lnTo>
                  <a:pt x="3202" y="849"/>
                </a:lnTo>
                <a:lnTo>
                  <a:pt x="3205" y="851"/>
                </a:lnTo>
                <a:lnTo>
                  <a:pt x="3208" y="853"/>
                </a:lnTo>
                <a:lnTo>
                  <a:pt x="3210" y="855"/>
                </a:lnTo>
                <a:lnTo>
                  <a:pt x="3211" y="857"/>
                </a:lnTo>
                <a:lnTo>
                  <a:pt x="3212" y="860"/>
                </a:lnTo>
                <a:lnTo>
                  <a:pt x="3213" y="863"/>
                </a:lnTo>
                <a:lnTo>
                  <a:pt x="3212" y="869"/>
                </a:lnTo>
                <a:lnTo>
                  <a:pt x="3211" y="872"/>
                </a:lnTo>
                <a:lnTo>
                  <a:pt x="3209" y="874"/>
                </a:lnTo>
                <a:lnTo>
                  <a:pt x="3207" y="876"/>
                </a:lnTo>
                <a:lnTo>
                  <a:pt x="3205" y="878"/>
                </a:lnTo>
                <a:lnTo>
                  <a:pt x="3202" y="879"/>
                </a:lnTo>
                <a:lnTo>
                  <a:pt x="3199" y="880"/>
                </a:lnTo>
                <a:lnTo>
                  <a:pt x="3195" y="880"/>
                </a:lnTo>
                <a:lnTo>
                  <a:pt x="3192" y="879"/>
                </a:lnTo>
                <a:lnTo>
                  <a:pt x="3189" y="878"/>
                </a:lnTo>
                <a:lnTo>
                  <a:pt x="3187" y="876"/>
                </a:lnTo>
                <a:lnTo>
                  <a:pt x="3185" y="873"/>
                </a:lnTo>
                <a:lnTo>
                  <a:pt x="3183" y="871"/>
                </a:lnTo>
                <a:lnTo>
                  <a:pt x="3182" y="868"/>
                </a:lnTo>
                <a:lnTo>
                  <a:pt x="3182" y="865"/>
                </a:lnTo>
                <a:lnTo>
                  <a:pt x="3182" y="859"/>
                </a:lnTo>
                <a:lnTo>
                  <a:pt x="3184" y="856"/>
                </a:lnTo>
                <a:lnTo>
                  <a:pt x="3185" y="854"/>
                </a:lnTo>
                <a:lnTo>
                  <a:pt x="3187" y="852"/>
                </a:lnTo>
                <a:lnTo>
                  <a:pt x="3189" y="851"/>
                </a:lnTo>
                <a:close/>
                <a:moveTo>
                  <a:pt x="1957" y="1469"/>
                </a:moveTo>
                <a:lnTo>
                  <a:pt x="1959" y="1468"/>
                </a:lnTo>
                <a:lnTo>
                  <a:pt x="1961" y="1468"/>
                </a:lnTo>
                <a:lnTo>
                  <a:pt x="1964" y="1467"/>
                </a:lnTo>
                <a:lnTo>
                  <a:pt x="1967" y="1468"/>
                </a:lnTo>
                <a:lnTo>
                  <a:pt x="1970" y="1468"/>
                </a:lnTo>
                <a:lnTo>
                  <a:pt x="1973" y="1470"/>
                </a:lnTo>
                <a:lnTo>
                  <a:pt x="1975" y="1471"/>
                </a:lnTo>
                <a:lnTo>
                  <a:pt x="1977" y="1474"/>
                </a:lnTo>
                <a:lnTo>
                  <a:pt x="1979" y="1476"/>
                </a:lnTo>
                <a:lnTo>
                  <a:pt x="1980" y="1479"/>
                </a:lnTo>
                <a:lnTo>
                  <a:pt x="1980" y="1482"/>
                </a:lnTo>
                <a:lnTo>
                  <a:pt x="1980" y="1485"/>
                </a:lnTo>
                <a:lnTo>
                  <a:pt x="1979" y="1489"/>
                </a:lnTo>
                <a:lnTo>
                  <a:pt x="1977" y="1492"/>
                </a:lnTo>
                <a:lnTo>
                  <a:pt x="1975" y="1495"/>
                </a:lnTo>
                <a:lnTo>
                  <a:pt x="1972" y="1497"/>
                </a:lnTo>
                <a:lnTo>
                  <a:pt x="1970" y="1498"/>
                </a:lnTo>
                <a:lnTo>
                  <a:pt x="1967" y="1498"/>
                </a:lnTo>
                <a:lnTo>
                  <a:pt x="1965" y="1499"/>
                </a:lnTo>
                <a:lnTo>
                  <a:pt x="1962" y="1499"/>
                </a:lnTo>
                <a:lnTo>
                  <a:pt x="1959" y="1498"/>
                </a:lnTo>
                <a:lnTo>
                  <a:pt x="1956" y="1496"/>
                </a:lnTo>
                <a:lnTo>
                  <a:pt x="1954" y="1495"/>
                </a:lnTo>
                <a:lnTo>
                  <a:pt x="1952" y="1492"/>
                </a:lnTo>
                <a:lnTo>
                  <a:pt x="1950" y="1490"/>
                </a:lnTo>
                <a:lnTo>
                  <a:pt x="1949" y="1487"/>
                </a:lnTo>
                <a:lnTo>
                  <a:pt x="1949" y="1484"/>
                </a:lnTo>
                <a:lnTo>
                  <a:pt x="1949" y="1481"/>
                </a:lnTo>
                <a:lnTo>
                  <a:pt x="1950" y="1477"/>
                </a:lnTo>
                <a:lnTo>
                  <a:pt x="1952" y="1474"/>
                </a:lnTo>
                <a:lnTo>
                  <a:pt x="1954" y="1472"/>
                </a:lnTo>
                <a:lnTo>
                  <a:pt x="1957" y="1469"/>
                </a:lnTo>
                <a:close/>
                <a:moveTo>
                  <a:pt x="3052" y="807"/>
                </a:moveTo>
                <a:lnTo>
                  <a:pt x="3055" y="805"/>
                </a:lnTo>
                <a:lnTo>
                  <a:pt x="3058" y="805"/>
                </a:lnTo>
                <a:lnTo>
                  <a:pt x="3061" y="805"/>
                </a:lnTo>
                <a:lnTo>
                  <a:pt x="3064" y="805"/>
                </a:lnTo>
                <a:lnTo>
                  <a:pt x="3067" y="806"/>
                </a:lnTo>
                <a:lnTo>
                  <a:pt x="3070" y="808"/>
                </a:lnTo>
                <a:lnTo>
                  <a:pt x="3072" y="810"/>
                </a:lnTo>
                <a:lnTo>
                  <a:pt x="3074" y="813"/>
                </a:lnTo>
                <a:lnTo>
                  <a:pt x="3075" y="815"/>
                </a:lnTo>
                <a:lnTo>
                  <a:pt x="3076" y="818"/>
                </a:lnTo>
                <a:lnTo>
                  <a:pt x="3076" y="821"/>
                </a:lnTo>
                <a:lnTo>
                  <a:pt x="3075" y="825"/>
                </a:lnTo>
                <a:lnTo>
                  <a:pt x="3074" y="828"/>
                </a:lnTo>
                <a:lnTo>
                  <a:pt x="3072" y="830"/>
                </a:lnTo>
                <a:lnTo>
                  <a:pt x="3070" y="832"/>
                </a:lnTo>
                <a:lnTo>
                  <a:pt x="3068" y="834"/>
                </a:lnTo>
                <a:lnTo>
                  <a:pt x="3065" y="835"/>
                </a:lnTo>
                <a:lnTo>
                  <a:pt x="3062" y="836"/>
                </a:lnTo>
                <a:lnTo>
                  <a:pt x="3059" y="836"/>
                </a:lnTo>
                <a:lnTo>
                  <a:pt x="3056" y="835"/>
                </a:lnTo>
                <a:lnTo>
                  <a:pt x="3053" y="834"/>
                </a:lnTo>
                <a:lnTo>
                  <a:pt x="3050" y="833"/>
                </a:lnTo>
                <a:lnTo>
                  <a:pt x="3048" y="830"/>
                </a:lnTo>
                <a:lnTo>
                  <a:pt x="3046" y="828"/>
                </a:lnTo>
                <a:lnTo>
                  <a:pt x="3045" y="825"/>
                </a:lnTo>
                <a:lnTo>
                  <a:pt x="3045" y="822"/>
                </a:lnTo>
                <a:lnTo>
                  <a:pt x="3045" y="819"/>
                </a:lnTo>
                <a:lnTo>
                  <a:pt x="3045" y="816"/>
                </a:lnTo>
                <a:lnTo>
                  <a:pt x="3046" y="813"/>
                </a:lnTo>
                <a:lnTo>
                  <a:pt x="3048" y="811"/>
                </a:lnTo>
                <a:lnTo>
                  <a:pt x="3050" y="808"/>
                </a:lnTo>
                <a:lnTo>
                  <a:pt x="3052" y="807"/>
                </a:lnTo>
                <a:close/>
                <a:moveTo>
                  <a:pt x="1971" y="1326"/>
                </a:moveTo>
                <a:lnTo>
                  <a:pt x="1975" y="1324"/>
                </a:lnTo>
                <a:lnTo>
                  <a:pt x="1980" y="1324"/>
                </a:lnTo>
                <a:lnTo>
                  <a:pt x="1983" y="1325"/>
                </a:lnTo>
                <a:lnTo>
                  <a:pt x="1986" y="1326"/>
                </a:lnTo>
                <a:lnTo>
                  <a:pt x="1988" y="1327"/>
                </a:lnTo>
                <a:lnTo>
                  <a:pt x="1990" y="1329"/>
                </a:lnTo>
                <a:lnTo>
                  <a:pt x="1992" y="1332"/>
                </a:lnTo>
                <a:lnTo>
                  <a:pt x="1993" y="1335"/>
                </a:lnTo>
                <a:lnTo>
                  <a:pt x="1994" y="1338"/>
                </a:lnTo>
                <a:lnTo>
                  <a:pt x="1994" y="1341"/>
                </a:lnTo>
                <a:lnTo>
                  <a:pt x="1993" y="1345"/>
                </a:lnTo>
                <a:lnTo>
                  <a:pt x="1992" y="1348"/>
                </a:lnTo>
                <a:lnTo>
                  <a:pt x="1989" y="1351"/>
                </a:lnTo>
                <a:lnTo>
                  <a:pt x="1986" y="1353"/>
                </a:lnTo>
                <a:lnTo>
                  <a:pt x="1982" y="1355"/>
                </a:lnTo>
                <a:lnTo>
                  <a:pt x="1977" y="1355"/>
                </a:lnTo>
                <a:lnTo>
                  <a:pt x="1974" y="1355"/>
                </a:lnTo>
                <a:lnTo>
                  <a:pt x="1971" y="1354"/>
                </a:lnTo>
                <a:lnTo>
                  <a:pt x="1969" y="1352"/>
                </a:lnTo>
                <a:lnTo>
                  <a:pt x="1967" y="1350"/>
                </a:lnTo>
                <a:lnTo>
                  <a:pt x="1965" y="1348"/>
                </a:lnTo>
                <a:lnTo>
                  <a:pt x="1964" y="1345"/>
                </a:lnTo>
                <a:lnTo>
                  <a:pt x="1963" y="1342"/>
                </a:lnTo>
                <a:lnTo>
                  <a:pt x="1963" y="1339"/>
                </a:lnTo>
                <a:lnTo>
                  <a:pt x="1964" y="1335"/>
                </a:lnTo>
                <a:lnTo>
                  <a:pt x="1965" y="1331"/>
                </a:lnTo>
                <a:lnTo>
                  <a:pt x="1968" y="1328"/>
                </a:lnTo>
                <a:lnTo>
                  <a:pt x="1971" y="1326"/>
                </a:lnTo>
                <a:close/>
                <a:moveTo>
                  <a:pt x="2913" y="773"/>
                </a:moveTo>
                <a:lnTo>
                  <a:pt x="2915" y="771"/>
                </a:lnTo>
                <a:lnTo>
                  <a:pt x="2918" y="771"/>
                </a:lnTo>
                <a:lnTo>
                  <a:pt x="2923" y="771"/>
                </a:lnTo>
                <a:lnTo>
                  <a:pt x="2926" y="772"/>
                </a:lnTo>
                <a:lnTo>
                  <a:pt x="2929" y="773"/>
                </a:lnTo>
                <a:lnTo>
                  <a:pt x="2932" y="775"/>
                </a:lnTo>
                <a:lnTo>
                  <a:pt x="2933" y="778"/>
                </a:lnTo>
                <a:lnTo>
                  <a:pt x="2935" y="780"/>
                </a:lnTo>
                <a:lnTo>
                  <a:pt x="2936" y="783"/>
                </a:lnTo>
                <a:lnTo>
                  <a:pt x="2936" y="786"/>
                </a:lnTo>
                <a:lnTo>
                  <a:pt x="2936" y="789"/>
                </a:lnTo>
                <a:lnTo>
                  <a:pt x="2935" y="793"/>
                </a:lnTo>
                <a:lnTo>
                  <a:pt x="2933" y="795"/>
                </a:lnTo>
                <a:lnTo>
                  <a:pt x="2931" y="798"/>
                </a:lnTo>
                <a:lnTo>
                  <a:pt x="2928" y="800"/>
                </a:lnTo>
                <a:lnTo>
                  <a:pt x="2926" y="801"/>
                </a:lnTo>
                <a:lnTo>
                  <a:pt x="2923" y="802"/>
                </a:lnTo>
                <a:lnTo>
                  <a:pt x="2917" y="802"/>
                </a:lnTo>
                <a:lnTo>
                  <a:pt x="2914" y="801"/>
                </a:lnTo>
                <a:lnTo>
                  <a:pt x="2912" y="799"/>
                </a:lnTo>
                <a:lnTo>
                  <a:pt x="2909" y="797"/>
                </a:lnTo>
                <a:lnTo>
                  <a:pt x="2907" y="795"/>
                </a:lnTo>
                <a:lnTo>
                  <a:pt x="2906" y="792"/>
                </a:lnTo>
                <a:lnTo>
                  <a:pt x="2905" y="789"/>
                </a:lnTo>
                <a:lnTo>
                  <a:pt x="2905" y="786"/>
                </a:lnTo>
                <a:lnTo>
                  <a:pt x="2905" y="783"/>
                </a:lnTo>
                <a:lnTo>
                  <a:pt x="2906" y="780"/>
                </a:lnTo>
                <a:lnTo>
                  <a:pt x="2908" y="777"/>
                </a:lnTo>
                <a:lnTo>
                  <a:pt x="2910" y="775"/>
                </a:lnTo>
                <a:lnTo>
                  <a:pt x="2913" y="773"/>
                </a:lnTo>
                <a:close/>
                <a:moveTo>
                  <a:pt x="2770" y="751"/>
                </a:moveTo>
                <a:lnTo>
                  <a:pt x="2772" y="750"/>
                </a:lnTo>
                <a:lnTo>
                  <a:pt x="2775" y="749"/>
                </a:lnTo>
                <a:lnTo>
                  <a:pt x="2777" y="749"/>
                </a:lnTo>
                <a:lnTo>
                  <a:pt x="2780" y="749"/>
                </a:lnTo>
                <a:lnTo>
                  <a:pt x="2783" y="750"/>
                </a:lnTo>
                <a:lnTo>
                  <a:pt x="2786" y="751"/>
                </a:lnTo>
                <a:lnTo>
                  <a:pt x="2788" y="753"/>
                </a:lnTo>
                <a:lnTo>
                  <a:pt x="2789" y="754"/>
                </a:lnTo>
                <a:lnTo>
                  <a:pt x="2790" y="755"/>
                </a:lnTo>
                <a:lnTo>
                  <a:pt x="2792" y="757"/>
                </a:lnTo>
                <a:lnTo>
                  <a:pt x="2793" y="760"/>
                </a:lnTo>
                <a:lnTo>
                  <a:pt x="2794" y="763"/>
                </a:lnTo>
                <a:lnTo>
                  <a:pt x="2794" y="766"/>
                </a:lnTo>
                <a:lnTo>
                  <a:pt x="2793" y="770"/>
                </a:lnTo>
                <a:lnTo>
                  <a:pt x="2791" y="773"/>
                </a:lnTo>
                <a:lnTo>
                  <a:pt x="2789" y="776"/>
                </a:lnTo>
                <a:lnTo>
                  <a:pt x="2786" y="778"/>
                </a:lnTo>
                <a:lnTo>
                  <a:pt x="2784" y="779"/>
                </a:lnTo>
                <a:lnTo>
                  <a:pt x="2782" y="780"/>
                </a:lnTo>
                <a:lnTo>
                  <a:pt x="2779" y="780"/>
                </a:lnTo>
                <a:lnTo>
                  <a:pt x="2777" y="780"/>
                </a:lnTo>
                <a:lnTo>
                  <a:pt x="2773" y="780"/>
                </a:lnTo>
                <a:lnTo>
                  <a:pt x="2771" y="778"/>
                </a:lnTo>
                <a:lnTo>
                  <a:pt x="2768" y="777"/>
                </a:lnTo>
                <a:lnTo>
                  <a:pt x="2767" y="776"/>
                </a:lnTo>
                <a:lnTo>
                  <a:pt x="2766" y="775"/>
                </a:lnTo>
                <a:lnTo>
                  <a:pt x="2764" y="772"/>
                </a:lnTo>
                <a:lnTo>
                  <a:pt x="2763" y="769"/>
                </a:lnTo>
                <a:lnTo>
                  <a:pt x="2763" y="766"/>
                </a:lnTo>
                <a:lnTo>
                  <a:pt x="2763" y="763"/>
                </a:lnTo>
                <a:lnTo>
                  <a:pt x="2763" y="759"/>
                </a:lnTo>
                <a:lnTo>
                  <a:pt x="2765" y="756"/>
                </a:lnTo>
                <a:lnTo>
                  <a:pt x="2767" y="753"/>
                </a:lnTo>
                <a:lnTo>
                  <a:pt x="2770" y="751"/>
                </a:lnTo>
                <a:close/>
                <a:moveTo>
                  <a:pt x="1982" y="1183"/>
                </a:moveTo>
                <a:lnTo>
                  <a:pt x="1984" y="1182"/>
                </a:lnTo>
                <a:lnTo>
                  <a:pt x="1987" y="1181"/>
                </a:lnTo>
                <a:lnTo>
                  <a:pt x="1989" y="1181"/>
                </a:lnTo>
                <a:lnTo>
                  <a:pt x="1992" y="1181"/>
                </a:lnTo>
                <a:lnTo>
                  <a:pt x="1995" y="1181"/>
                </a:lnTo>
                <a:lnTo>
                  <a:pt x="1998" y="1183"/>
                </a:lnTo>
                <a:lnTo>
                  <a:pt x="2000" y="1184"/>
                </a:lnTo>
                <a:lnTo>
                  <a:pt x="2002" y="1187"/>
                </a:lnTo>
                <a:lnTo>
                  <a:pt x="2004" y="1189"/>
                </a:lnTo>
                <a:lnTo>
                  <a:pt x="2005" y="1192"/>
                </a:lnTo>
                <a:lnTo>
                  <a:pt x="2006" y="1195"/>
                </a:lnTo>
                <a:lnTo>
                  <a:pt x="2006" y="1198"/>
                </a:lnTo>
                <a:lnTo>
                  <a:pt x="2005" y="1202"/>
                </a:lnTo>
                <a:lnTo>
                  <a:pt x="2003" y="1205"/>
                </a:lnTo>
                <a:lnTo>
                  <a:pt x="2001" y="1208"/>
                </a:lnTo>
                <a:lnTo>
                  <a:pt x="1998" y="1210"/>
                </a:lnTo>
                <a:lnTo>
                  <a:pt x="1996" y="1211"/>
                </a:lnTo>
                <a:lnTo>
                  <a:pt x="1993" y="1212"/>
                </a:lnTo>
                <a:lnTo>
                  <a:pt x="1991" y="1212"/>
                </a:lnTo>
                <a:lnTo>
                  <a:pt x="1988" y="1212"/>
                </a:lnTo>
                <a:lnTo>
                  <a:pt x="1985" y="1211"/>
                </a:lnTo>
                <a:lnTo>
                  <a:pt x="1982" y="1210"/>
                </a:lnTo>
                <a:lnTo>
                  <a:pt x="1980" y="1208"/>
                </a:lnTo>
                <a:lnTo>
                  <a:pt x="1978" y="1206"/>
                </a:lnTo>
                <a:lnTo>
                  <a:pt x="1976" y="1203"/>
                </a:lnTo>
                <a:lnTo>
                  <a:pt x="1975" y="1201"/>
                </a:lnTo>
                <a:lnTo>
                  <a:pt x="1974" y="1198"/>
                </a:lnTo>
                <a:lnTo>
                  <a:pt x="1975" y="1194"/>
                </a:lnTo>
                <a:lnTo>
                  <a:pt x="1975" y="1191"/>
                </a:lnTo>
                <a:lnTo>
                  <a:pt x="1977" y="1188"/>
                </a:lnTo>
                <a:lnTo>
                  <a:pt x="1979" y="1185"/>
                </a:lnTo>
                <a:lnTo>
                  <a:pt x="1982" y="1183"/>
                </a:lnTo>
                <a:close/>
                <a:moveTo>
                  <a:pt x="2627" y="745"/>
                </a:moveTo>
                <a:lnTo>
                  <a:pt x="2628" y="744"/>
                </a:lnTo>
                <a:lnTo>
                  <a:pt x="2630" y="744"/>
                </a:lnTo>
                <a:lnTo>
                  <a:pt x="2634" y="743"/>
                </a:lnTo>
                <a:lnTo>
                  <a:pt x="2637" y="743"/>
                </a:lnTo>
                <a:lnTo>
                  <a:pt x="2640" y="744"/>
                </a:lnTo>
                <a:lnTo>
                  <a:pt x="2643" y="746"/>
                </a:lnTo>
                <a:lnTo>
                  <a:pt x="2645" y="748"/>
                </a:lnTo>
                <a:lnTo>
                  <a:pt x="2647" y="750"/>
                </a:lnTo>
                <a:lnTo>
                  <a:pt x="2649" y="752"/>
                </a:lnTo>
                <a:lnTo>
                  <a:pt x="2650" y="755"/>
                </a:lnTo>
                <a:lnTo>
                  <a:pt x="2650" y="758"/>
                </a:lnTo>
                <a:lnTo>
                  <a:pt x="2650" y="763"/>
                </a:lnTo>
                <a:lnTo>
                  <a:pt x="2648" y="767"/>
                </a:lnTo>
                <a:lnTo>
                  <a:pt x="2646" y="770"/>
                </a:lnTo>
                <a:lnTo>
                  <a:pt x="2642" y="772"/>
                </a:lnTo>
                <a:lnTo>
                  <a:pt x="2641" y="773"/>
                </a:lnTo>
                <a:lnTo>
                  <a:pt x="2639" y="774"/>
                </a:lnTo>
                <a:lnTo>
                  <a:pt x="2635" y="775"/>
                </a:lnTo>
                <a:lnTo>
                  <a:pt x="2632" y="774"/>
                </a:lnTo>
                <a:lnTo>
                  <a:pt x="2629" y="773"/>
                </a:lnTo>
                <a:lnTo>
                  <a:pt x="2626" y="772"/>
                </a:lnTo>
                <a:lnTo>
                  <a:pt x="2624" y="770"/>
                </a:lnTo>
                <a:lnTo>
                  <a:pt x="2622" y="768"/>
                </a:lnTo>
                <a:lnTo>
                  <a:pt x="2620" y="765"/>
                </a:lnTo>
                <a:lnTo>
                  <a:pt x="2619" y="762"/>
                </a:lnTo>
                <a:lnTo>
                  <a:pt x="2619" y="759"/>
                </a:lnTo>
                <a:lnTo>
                  <a:pt x="2619" y="755"/>
                </a:lnTo>
                <a:lnTo>
                  <a:pt x="2621" y="751"/>
                </a:lnTo>
                <a:lnTo>
                  <a:pt x="2623" y="748"/>
                </a:lnTo>
                <a:lnTo>
                  <a:pt x="2627" y="745"/>
                </a:lnTo>
                <a:close/>
                <a:moveTo>
                  <a:pt x="2014" y="1043"/>
                </a:moveTo>
                <a:lnTo>
                  <a:pt x="2017" y="1041"/>
                </a:lnTo>
                <a:lnTo>
                  <a:pt x="2020" y="1041"/>
                </a:lnTo>
                <a:lnTo>
                  <a:pt x="2024" y="1041"/>
                </a:lnTo>
                <a:lnTo>
                  <a:pt x="2027" y="1042"/>
                </a:lnTo>
                <a:lnTo>
                  <a:pt x="2029" y="1042"/>
                </a:lnTo>
                <a:lnTo>
                  <a:pt x="2030" y="1043"/>
                </a:lnTo>
                <a:lnTo>
                  <a:pt x="2033" y="1045"/>
                </a:lnTo>
                <a:lnTo>
                  <a:pt x="2035" y="1047"/>
                </a:lnTo>
                <a:lnTo>
                  <a:pt x="2036" y="1050"/>
                </a:lnTo>
                <a:lnTo>
                  <a:pt x="2037" y="1053"/>
                </a:lnTo>
                <a:lnTo>
                  <a:pt x="2037" y="1056"/>
                </a:lnTo>
                <a:lnTo>
                  <a:pt x="2037" y="1059"/>
                </a:lnTo>
                <a:lnTo>
                  <a:pt x="2036" y="1062"/>
                </a:lnTo>
                <a:lnTo>
                  <a:pt x="2035" y="1065"/>
                </a:lnTo>
                <a:lnTo>
                  <a:pt x="2034" y="1067"/>
                </a:lnTo>
                <a:lnTo>
                  <a:pt x="2032" y="1069"/>
                </a:lnTo>
                <a:lnTo>
                  <a:pt x="2030" y="1070"/>
                </a:lnTo>
                <a:lnTo>
                  <a:pt x="2026" y="1071"/>
                </a:lnTo>
                <a:lnTo>
                  <a:pt x="2023" y="1072"/>
                </a:lnTo>
                <a:lnTo>
                  <a:pt x="2020" y="1072"/>
                </a:lnTo>
                <a:lnTo>
                  <a:pt x="2016" y="1071"/>
                </a:lnTo>
                <a:lnTo>
                  <a:pt x="2015" y="1070"/>
                </a:lnTo>
                <a:lnTo>
                  <a:pt x="2013" y="1070"/>
                </a:lnTo>
                <a:lnTo>
                  <a:pt x="2011" y="1068"/>
                </a:lnTo>
                <a:lnTo>
                  <a:pt x="2009" y="1065"/>
                </a:lnTo>
                <a:lnTo>
                  <a:pt x="2007" y="1063"/>
                </a:lnTo>
                <a:lnTo>
                  <a:pt x="2006" y="1060"/>
                </a:lnTo>
                <a:lnTo>
                  <a:pt x="2006" y="1057"/>
                </a:lnTo>
                <a:lnTo>
                  <a:pt x="2006" y="1054"/>
                </a:lnTo>
                <a:lnTo>
                  <a:pt x="2007" y="1051"/>
                </a:lnTo>
                <a:lnTo>
                  <a:pt x="2008" y="1048"/>
                </a:lnTo>
                <a:lnTo>
                  <a:pt x="2010" y="1046"/>
                </a:lnTo>
                <a:lnTo>
                  <a:pt x="2012" y="1044"/>
                </a:lnTo>
                <a:lnTo>
                  <a:pt x="2014" y="1043"/>
                </a:lnTo>
                <a:close/>
                <a:moveTo>
                  <a:pt x="2483" y="758"/>
                </a:moveTo>
                <a:lnTo>
                  <a:pt x="2486" y="757"/>
                </a:lnTo>
                <a:lnTo>
                  <a:pt x="2489" y="756"/>
                </a:lnTo>
                <a:lnTo>
                  <a:pt x="2492" y="756"/>
                </a:lnTo>
                <a:lnTo>
                  <a:pt x="2495" y="756"/>
                </a:lnTo>
                <a:lnTo>
                  <a:pt x="2498" y="757"/>
                </a:lnTo>
                <a:lnTo>
                  <a:pt x="2501" y="759"/>
                </a:lnTo>
                <a:lnTo>
                  <a:pt x="2503" y="761"/>
                </a:lnTo>
                <a:lnTo>
                  <a:pt x="2505" y="763"/>
                </a:lnTo>
                <a:lnTo>
                  <a:pt x="2506" y="766"/>
                </a:lnTo>
                <a:lnTo>
                  <a:pt x="2507" y="769"/>
                </a:lnTo>
                <a:lnTo>
                  <a:pt x="2507" y="774"/>
                </a:lnTo>
                <a:lnTo>
                  <a:pt x="2505" y="778"/>
                </a:lnTo>
                <a:lnTo>
                  <a:pt x="2503" y="782"/>
                </a:lnTo>
                <a:lnTo>
                  <a:pt x="2501" y="784"/>
                </a:lnTo>
                <a:lnTo>
                  <a:pt x="2499" y="785"/>
                </a:lnTo>
                <a:lnTo>
                  <a:pt x="2497" y="786"/>
                </a:lnTo>
                <a:lnTo>
                  <a:pt x="2494" y="787"/>
                </a:lnTo>
                <a:lnTo>
                  <a:pt x="2491" y="787"/>
                </a:lnTo>
                <a:lnTo>
                  <a:pt x="2488" y="787"/>
                </a:lnTo>
                <a:lnTo>
                  <a:pt x="2485" y="786"/>
                </a:lnTo>
                <a:lnTo>
                  <a:pt x="2482" y="784"/>
                </a:lnTo>
                <a:lnTo>
                  <a:pt x="2480" y="782"/>
                </a:lnTo>
                <a:lnTo>
                  <a:pt x="2478" y="780"/>
                </a:lnTo>
                <a:lnTo>
                  <a:pt x="2477" y="777"/>
                </a:lnTo>
                <a:lnTo>
                  <a:pt x="2476" y="774"/>
                </a:lnTo>
                <a:lnTo>
                  <a:pt x="2476" y="769"/>
                </a:lnTo>
                <a:lnTo>
                  <a:pt x="2477" y="765"/>
                </a:lnTo>
                <a:lnTo>
                  <a:pt x="2480" y="761"/>
                </a:lnTo>
                <a:lnTo>
                  <a:pt x="2482" y="759"/>
                </a:lnTo>
                <a:lnTo>
                  <a:pt x="2483" y="758"/>
                </a:lnTo>
                <a:close/>
                <a:moveTo>
                  <a:pt x="2343" y="790"/>
                </a:moveTo>
                <a:lnTo>
                  <a:pt x="2346" y="789"/>
                </a:lnTo>
                <a:lnTo>
                  <a:pt x="2349" y="788"/>
                </a:lnTo>
                <a:lnTo>
                  <a:pt x="2352" y="788"/>
                </a:lnTo>
                <a:lnTo>
                  <a:pt x="2355" y="789"/>
                </a:lnTo>
                <a:lnTo>
                  <a:pt x="2358" y="790"/>
                </a:lnTo>
                <a:lnTo>
                  <a:pt x="2360" y="792"/>
                </a:lnTo>
                <a:lnTo>
                  <a:pt x="2362" y="794"/>
                </a:lnTo>
                <a:lnTo>
                  <a:pt x="2364" y="796"/>
                </a:lnTo>
                <a:lnTo>
                  <a:pt x="2365" y="799"/>
                </a:lnTo>
                <a:lnTo>
                  <a:pt x="2366" y="805"/>
                </a:lnTo>
                <a:lnTo>
                  <a:pt x="2366" y="807"/>
                </a:lnTo>
                <a:lnTo>
                  <a:pt x="2365" y="810"/>
                </a:lnTo>
                <a:lnTo>
                  <a:pt x="2364" y="812"/>
                </a:lnTo>
                <a:lnTo>
                  <a:pt x="2362" y="814"/>
                </a:lnTo>
                <a:lnTo>
                  <a:pt x="2360" y="816"/>
                </a:lnTo>
                <a:lnTo>
                  <a:pt x="2358" y="818"/>
                </a:lnTo>
                <a:lnTo>
                  <a:pt x="2355" y="819"/>
                </a:lnTo>
                <a:lnTo>
                  <a:pt x="2352" y="820"/>
                </a:lnTo>
                <a:lnTo>
                  <a:pt x="2349" y="820"/>
                </a:lnTo>
                <a:lnTo>
                  <a:pt x="2346" y="819"/>
                </a:lnTo>
                <a:lnTo>
                  <a:pt x="2343" y="818"/>
                </a:lnTo>
                <a:lnTo>
                  <a:pt x="2341" y="816"/>
                </a:lnTo>
                <a:lnTo>
                  <a:pt x="2338" y="814"/>
                </a:lnTo>
                <a:lnTo>
                  <a:pt x="2337" y="812"/>
                </a:lnTo>
                <a:lnTo>
                  <a:pt x="2335" y="809"/>
                </a:lnTo>
                <a:lnTo>
                  <a:pt x="2335" y="803"/>
                </a:lnTo>
                <a:lnTo>
                  <a:pt x="2335" y="801"/>
                </a:lnTo>
                <a:lnTo>
                  <a:pt x="2336" y="798"/>
                </a:lnTo>
                <a:lnTo>
                  <a:pt x="2337" y="796"/>
                </a:lnTo>
                <a:lnTo>
                  <a:pt x="2338" y="794"/>
                </a:lnTo>
                <a:lnTo>
                  <a:pt x="2340" y="792"/>
                </a:lnTo>
                <a:lnTo>
                  <a:pt x="2343" y="790"/>
                </a:lnTo>
                <a:close/>
                <a:moveTo>
                  <a:pt x="2091" y="923"/>
                </a:moveTo>
                <a:lnTo>
                  <a:pt x="2093" y="922"/>
                </a:lnTo>
                <a:lnTo>
                  <a:pt x="2096" y="922"/>
                </a:lnTo>
                <a:lnTo>
                  <a:pt x="2098" y="921"/>
                </a:lnTo>
                <a:lnTo>
                  <a:pt x="2101" y="922"/>
                </a:lnTo>
                <a:lnTo>
                  <a:pt x="2103" y="922"/>
                </a:lnTo>
                <a:lnTo>
                  <a:pt x="2106" y="923"/>
                </a:lnTo>
                <a:lnTo>
                  <a:pt x="2108" y="924"/>
                </a:lnTo>
                <a:lnTo>
                  <a:pt x="2110" y="926"/>
                </a:lnTo>
                <a:lnTo>
                  <a:pt x="2112" y="928"/>
                </a:lnTo>
                <a:lnTo>
                  <a:pt x="2113" y="931"/>
                </a:lnTo>
                <a:lnTo>
                  <a:pt x="2114" y="934"/>
                </a:lnTo>
                <a:lnTo>
                  <a:pt x="2114" y="937"/>
                </a:lnTo>
                <a:lnTo>
                  <a:pt x="2114" y="940"/>
                </a:lnTo>
                <a:lnTo>
                  <a:pt x="2113" y="943"/>
                </a:lnTo>
                <a:lnTo>
                  <a:pt x="2112" y="946"/>
                </a:lnTo>
                <a:lnTo>
                  <a:pt x="2110" y="948"/>
                </a:lnTo>
                <a:lnTo>
                  <a:pt x="2107" y="951"/>
                </a:lnTo>
                <a:lnTo>
                  <a:pt x="2104" y="952"/>
                </a:lnTo>
                <a:lnTo>
                  <a:pt x="2102" y="952"/>
                </a:lnTo>
                <a:lnTo>
                  <a:pt x="2099" y="953"/>
                </a:lnTo>
                <a:lnTo>
                  <a:pt x="2097" y="953"/>
                </a:lnTo>
                <a:lnTo>
                  <a:pt x="2094" y="952"/>
                </a:lnTo>
                <a:lnTo>
                  <a:pt x="2092" y="951"/>
                </a:lnTo>
                <a:lnTo>
                  <a:pt x="2090" y="950"/>
                </a:lnTo>
                <a:lnTo>
                  <a:pt x="2088" y="948"/>
                </a:lnTo>
                <a:lnTo>
                  <a:pt x="2086" y="946"/>
                </a:lnTo>
                <a:lnTo>
                  <a:pt x="2084" y="943"/>
                </a:lnTo>
                <a:lnTo>
                  <a:pt x="2083" y="940"/>
                </a:lnTo>
                <a:lnTo>
                  <a:pt x="2083" y="937"/>
                </a:lnTo>
                <a:lnTo>
                  <a:pt x="2083" y="934"/>
                </a:lnTo>
                <a:lnTo>
                  <a:pt x="2084" y="931"/>
                </a:lnTo>
                <a:lnTo>
                  <a:pt x="2086" y="928"/>
                </a:lnTo>
                <a:lnTo>
                  <a:pt x="2088" y="926"/>
                </a:lnTo>
                <a:lnTo>
                  <a:pt x="2091" y="923"/>
                </a:lnTo>
                <a:close/>
                <a:moveTo>
                  <a:pt x="2209" y="843"/>
                </a:moveTo>
                <a:lnTo>
                  <a:pt x="2212" y="841"/>
                </a:lnTo>
                <a:lnTo>
                  <a:pt x="2215" y="841"/>
                </a:lnTo>
                <a:lnTo>
                  <a:pt x="2218" y="841"/>
                </a:lnTo>
                <a:lnTo>
                  <a:pt x="2222" y="841"/>
                </a:lnTo>
                <a:lnTo>
                  <a:pt x="2224" y="843"/>
                </a:lnTo>
                <a:lnTo>
                  <a:pt x="2227" y="844"/>
                </a:lnTo>
                <a:lnTo>
                  <a:pt x="2229" y="847"/>
                </a:lnTo>
                <a:lnTo>
                  <a:pt x="2231" y="849"/>
                </a:lnTo>
                <a:lnTo>
                  <a:pt x="2232" y="852"/>
                </a:lnTo>
                <a:lnTo>
                  <a:pt x="2232" y="855"/>
                </a:lnTo>
                <a:lnTo>
                  <a:pt x="2232" y="858"/>
                </a:lnTo>
                <a:lnTo>
                  <a:pt x="2231" y="861"/>
                </a:lnTo>
                <a:lnTo>
                  <a:pt x="2230" y="864"/>
                </a:lnTo>
                <a:lnTo>
                  <a:pt x="2229" y="866"/>
                </a:lnTo>
                <a:lnTo>
                  <a:pt x="2227" y="868"/>
                </a:lnTo>
                <a:lnTo>
                  <a:pt x="2224" y="870"/>
                </a:lnTo>
                <a:lnTo>
                  <a:pt x="2221" y="871"/>
                </a:lnTo>
                <a:lnTo>
                  <a:pt x="2218" y="872"/>
                </a:lnTo>
                <a:lnTo>
                  <a:pt x="2215" y="872"/>
                </a:lnTo>
                <a:lnTo>
                  <a:pt x="2211" y="871"/>
                </a:lnTo>
                <a:lnTo>
                  <a:pt x="2209" y="870"/>
                </a:lnTo>
                <a:lnTo>
                  <a:pt x="2206" y="868"/>
                </a:lnTo>
                <a:lnTo>
                  <a:pt x="2204" y="866"/>
                </a:lnTo>
                <a:lnTo>
                  <a:pt x="2202" y="863"/>
                </a:lnTo>
                <a:lnTo>
                  <a:pt x="2201" y="860"/>
                </a:lnTo>
                <a:lnTo>
                  <a:pt x="2201" y="857"/>
                </a:lnTo>
                <a:lnTo>
                  <a:pt x="2201" y="854"/>
                </a:lnTo>
                <a:lnTo>
                  <a:pt x="2202" y="852"/>
                </a:lnTo>
                <a:lnTo>
                  <a:pt x="2203" y="849"/>
                </a:lnTo>
                <a:lnTo>
                  <a:pt x="2204" y="847"/>
                </a:lnTo>
                <a:lnTo>
                  <a:pt x="2206" y="844"/>
                </a:lnTo>
                <a:lnTo>
                  <a:pt x="2209" y="843"/>
                </a:lnTo>
                <a:close/>
                <a:moveTo>
                  <a:pt x="4748" y="1857"/>
                </a:moveTo>
                <a:lnTo>
                  <a:pt x="4751" y="1855"/>
                </a:lnTo>
                <a:lnTo>
                  <a:pt x="4755" y="1855"/>
                </a:lnTo>
                <a:lnTo>
                  <a:pt x="4758" y="1855"/>
                </a:lnTo>
                <a:lnTo>
                  <a:pt x="4762" y="1856"/>
                </a:lnTo>
                <a:lnTo>
                  <a:pt x="4764" y="1857"/>
                </a:lnTo>
                <a:lnTo>
                  <a:pt x="4767" y="1859"/>
                </a:lnTo>
                <a:lnTo>
                  <a:pt x="4769" y="1861"/>
                </a:lnTo>
                <a:lnTo>
                  <a:pt x="4770" y="1864"/>
                </a:lnTo>
                <a:lnTo>
                  <a:pt x="4771" y="1867"/>
                </a:lnTo>
                <a:lnTo>
                  <a:pt x="4772" y="1870"/>
                </a:lnTo>
                <a:lnTo>
                  <a:pt x="4771" y="1873"/>
                </a:lnTo>
                <a:lnTo>
                  <a:pt x="4770" y="1876"/>
                </a:lnTo>
                <a:lnTo>
                  <a:pt x="4769" y="1878"/>
                </a:lnTo>
                <a:lnTo>
                  <a:pt x="4768" y="1880"/>
                </a:lnTo>
                <a:lnTo>
                  <a:pt x="4766" y="1882"/>
                </a:lnTo>
                <a:lnTo>
                  <a:pt x="4764" y="1884"/>
                </a:lnTo>
                <a:lnTo>
                  <a:pt x="4761" y="1885"/>
                </a:lnTo>
                <a:lnTo>
                  <a:pt x="4757" y="1886"/>
                </a:lnTo>
                <a:lnTo>
                  <a:pt x="4754" y="1886"/>
                </a:lnTo>
                <a:lnTo>
                  <a:pt x="4750" y="1885"/>
                </a:lnTo>
                <a:lnTo>
                  <a:pt x="4749" y="1884"/>
                </a:lnTo>
                <a:lnTo>
                  <a:pt x="4747" y="1883"/>
                </a:lnTo>
                <a:lnTo>
                  <a:pt x="4745" y="1881"/>
                </a:lnTo>
                <a:lnTo>
                  <a:pt x="4743" y="1879"/>
                </a:lnTo>
                <a:lnTo>
                  <a:pt x="4742" y="1876"/>
                </a:lnTo>
                <a:lnTo>
                  <a:pt x="4741" y="1874"/>
                </a:lnTo>
                <a:lnTo>
                  <a:pt x="4740" y="1871"/>
                </a:lnTo>
                <a:lnTo>
                  <a:pt x="4741" y="1868"/>
                </a:lnTo>
                <a:lnTo>
                  <a:pt x="4742" y="1865"/>
                </a:lnTo>
                <a:lnTo>
                  <a:pt x="4743" y="1862"/>
                </a:lnTo>
                <a:lnTo>
                  <a:pt x="4744" y="1860"/>
                </a:lnTo>
                <a:lnTo>
                  <a:pt x="4746" y="1858"/>
                </a:lnTo>
                <a:lnTo>
                  <a:pt x="4748" y="1857"/>
                </a:lnTo>
                <a:close/>
                <a:moveTo>
                  <a:pt x="4616" y="1800"/>
                </a:moveTo>
                <a:lnTo>
                  <a:pt x="4619" y="1798"/>
                </a:lnTo>
                <a:lnTo>
                  <a:pt x="4623" y="1798"/>
                </a:lnTo>
                <a:lnTo>
                  <a:pt x="4627" y="1798"/>
                </a:lnTo>
                <a:lnTo>
                  <a:pt x="4630" y="1799"/>
                </a:lnTo>
                <a:lnTo>
                  <a:pt x="4633" y="1801"/>
                </a:lnTo>
                <a:lnTo>
                  <a:pt x="4635" y="1803"/>
                </a:lnTo>
                <a:lnTo>
                  <a:pt x="4637" y="1805"/>
                </a:lnTo>
                <a:lnTo>
                  <a:pt x="4638" y="1808"/>
                </a:lnTo>
                <a:lnTo>
                  <a:pt x="4639" y="1811"/>
                </a:lnTo>
                <a:lnTo>
                  <a:pt x="4639" y="1814"/>
                </a:lnTo>
                <a:lnTo>
                  <a:pt x="4639" y="1817"/>
                </a:lnTo>
                <a:lnTo>
                  <a:pt x="4638" y="1820"/>
                </a:lnTo>
                <a:lnTo>
                  <a:pt x="4636" y="1822"/>
                </a:lnTo>
                <a:lnTo>
                  <a:pt x="4635" y="1824"/>
                </a:lnTo>
                <a:lnTo>
                  <a:pt x="4633" y="1826"/>
                </a:lnTo>
                <a:lnTo>
                  <a:pt x="4631" y="1827"/>
                </a:lnTo>
                <a:lnTo>
                  <a:pt x="4628" y="1828"/>
                </a:lnTo>
                <a:lnTo>
                  <a:pt x="4624" y="1829"/>
                </a:lnTo>
                <a:lnTo>
                  <a:pt x="4621" y="1829"/>
                </a:lnTo>
                <a:lnTo>
                  <a:pt x="4617" y="1827"/>
                </a:lnTo>
                <a:lnTo>
                  <a:pt x="4614" y="1826"/>
                </a:lnTo>
                <a:lnTo>
                  <a:pt x="4612" y="1824"/>
                </a:lnTo>
                <a:lnTo>
                  <a:pt x="4610" y="1821"/>
                </a:lnTo>
                <a:lnTo>
                  <a:pt x="4609" y="1819"/>
                </a:lnTo>
                <a:lnTo>
                  <a:pt x="4608" y="1816"/>
                </a:lnTo>
                <a:lnTo>
                  <a:pt x="4608" y="1813"/>
                </a:lnTo>
                <a:lnTo>
                  <a:pt x="4608" y="1810"/>
                </a:lnTo>
                <a:lnTo>
                  <a:pt x="4609" y="1807"/>
                </a:lnTo>
                <a:lnTo>
                  <a:pt x="4611" y="1805"/>
                </a:lnTo>
                <a:lnTo>
                  <a:pt x="4612" y="1803"/>
                </a:lnTo>
                <a:lnTo>
                  <a:pt x="4614" y="1801"/>
                </a:lnTo>
                <a:lnTo>
                  <a:pt x="4616" y="1800"/>
                </a:lnTo>
                <a:close/>
                <a:moveTo>
                  <a:pt x="4488" y="1732"/>
                </a:moveTo>
                <a:lnTo>
                  <a:pt x="4492" y="1731"/>
                </a:lnTo>
                <a:lnTo>
                  <a:pt x="4496" y="1730"/>
                </a:lnTo>
                <a:lnTo>
                  <a:pt x="4500" y="1730"/>
                </a:lnTo>
                <a:lnTo>
                  <a:pt x="4504" y="1732"/>
                </a:lnTo>
                <a:lnTo>
                  <a:pt x="4506" y="1734"/>
                </a:lnTo>
                <a:lnTo>
                  <a:pt x="4508" y="1736"/>
                </a:lnTo>
                <a:lnTo>
                  <a:pt x="4510" y="1739"/>
                </a:lnTo>
                <a:lnTo>
                  <a:pt x="4511" y="1741"/>
                </a:lnTo>
                <a:lnTo>
                  <a:pt x="4511" y="1744"/>
                </a:lnTo>
                <a:lnTo>
                  <a:pt x="4511" y="1747"/>
                </a:lnTo>
                <a:lnTo>
                  <a:pt x="4511" y="1750"/>
                </a:lnTo>
                <a:lnTo>
                  <a:pt x="4509" y="1753"/>
                </a:lnTo>
                <a:lnTo>
                  <a:pt x="4507" y="1757"/>
                </a:lnTo>
                <a:lnTo>
                  <a:pt x="4504" y="1759"/>
                </a:lnTo>
                <a:lnTo>
                  <a:pt x="4500" y="1760"/>
                </a:lnTo>
                <a:lnTo>
                  <a:pt x="4496" y="1761"/>
                </a:lnTo>
                <a:lnTo>
                  <a:pt x="4492" y="1761"/>
                </a:lnTo>
                <a:lnTo>
                  <a:pt x="4488" y="1759"/>
                </a:lnTo>
                <a:lnTo>
                  <a:pt x="4486" y="1757"/>
                </a:lnTo>
                <a:lnTo>
                  <a:pt x="4484" y="1755"/>
                </a:lnTo>
                <a:lnTo>
                  <a:pt x="4482" y="1752"/>
                </a:lnTo>
                <a:lnTo>
                  <a:pt x="4481" y="1750"/>
                </a:lnTo>
                <a:lnTo>
                  <a:pt x="4480" y="1747"/>
                </a:lnTo>
                <a:lnTo>
                  <a:pt x="4481" y="1744"/>
                </a:lnTo>
                <a:lnTo>
                  <a:pt x="4481" y="1741"/>
                </a:lnTo>
                <a:lnTo>
                  <a:pt x="4482" y="1738"/>
                </a:lnTo>
                <a:lnTo>
                  <a:pt x="4485" y="1735"/>
                </a:lnTo>
                <a:lnTo>
                  <a:pt x="4488" y="1732"/>
                </a:lnTo>
                <a:close/>
                <a:moveTo>
                  <a:pt x="4363" y="1661"/>
                </a:moveTo>
                <a:lnTo>
                  <a:pt x="4367" y="1660"/>
                </a:lnTo>
                <a:lnTo>
                  <a:pt x="4370" y="1659"/>
                </a:lnTo>
                <a:lnTo>
                  <a:pt x="4374" y="1659"/>
                </a:lnTo>
                <a:lnTo>
                  <a:pt x="4378" y="1661"/>
                </a:lnTo>
                <a:lnTo>
                  <a:pt x="4381" y="1663"/>
                </a:lnTo>
                <a:lnTo>
                  <a:pt x="4383" y="1665"/>
                </a:lnTo>
                <a:lnTo>
                  <a:pt x="4385" y="1668"/>
                </a:lnTo>
                <a:lnTo>
                  <a:pt x="4386" y="1670"/>
                </a:lnTo>
                <a:lnTo>
                  <a:pt x="4386" y="1673"/>
                </a:lnTo>
                <a:lnTo>
                  <a:pt x="4386" y="1676"/>
                </a:lnTo>
                <a:lnTo>
                  <a:pt x="4385" y="1679"/>
                </a:lnTo>
                <a:lnTo>
                  <a:pt x="4384" y="1682"/>
                </a:lnTo>
                <a:lnTo>
                  <a:pt x="4383" y="1684"/>
                </a:lnTo>
                <a:lnTo>
                  <a:pt x="4382" y="1685"/>
                </a:lnTo>
                <a:lnTo>
                  <a:pt x="4378" y="1688"/>
                </a:lnTo>
                <a:lnTo>
                  <a:pt x="4375" y="1689"/>
                </a:lnTo>
                <a:lnTo>
                  <a:pt x="4371" y="1690"/>
                </a:lnTo>
                <a:lnTo>
                  <a:pt x="4367" y="1690"/>
                </a:lnTo>
                <a:lnTo>
                  <a:pt x="4363" y="1688"/>
                </a:lnTo>
                <a:lnTo>
                  <a:pt x="4360" y="1686"/>
                </a:lnTo>
                <a:lnTo>
                  <a:pt x="4358" y="1684"/>
                </a:lnTo>
                <a:lnTo>
                  <a:pt x="4357" y="1681"/>
                </a:lnTo>
                <a:lnTo>
                  <a:pt x="4356" y="1679"/>
                </a:lnTo>
                <a:lnTo>
                  <a:pt x="4355" y="1676"/>
                </a:lnTo>
                <a:lnTo>
                  <a:pt x="4355" y="1673"/>
                </a:lnTo>
                <a:lnTo>
                  <a:pt x="4356" y="1670"/>
                </a:lnTo>
                <a:lnTo>
                  <a:pt x="4357" y="1667"/>
                </a:lnTo>
                <a:lnTo>
                  <a:pt x="4358" y="1665"/>
                </a:lnTo>
                <a:lnTo>
                  <a:pt x="4360" y="1664"/>
                </a:lnTo>
                <a:lnTo>
                  <a:pt x="4363" y="1661"/>
                </a:lnTo>
                <a:close/>
                <a:moveTo>
                  <a:pt x="4237" y="1591"/>
                </a:moveTo>
                <a:lnTo>
                  <a:pt x="4241" y="1589"/>
                </a:lnTo>
                <a:lnTo>
                  <a:pt x="4245" y="1589"/>
                </a:lnTo>
                <a:lnTo>
                  <a:pt x="4247" y="1589"/>
                </a:lnTo>
                <a:lnTo>
                  <a:pt x="4249" y="1589"/>
                </a:lnTo>
                <a:lnTo>
                  <a:pt x="4252" y="1591"/>
                </a:lnTo>
                <a:lnTo>
                  <a:pt x="4255" y="1593"/>
                </a:lnTo>
                <a:lnTo>
                  <a:pt x="4257" y="1595"/>
                </a:lnTo>
                <a:lnTo>
                  <a:pt x="4259" y="1597"/>
                </a:lnTo>
                <a:lnTo>
                  <a:pt x="4260" y="1600"/>
                </a:lnTo>
                <a:lnTo>
                  <a:pt x="4260" y="1603"/>
                </a:lnTo>
                <a:lnTo>
                  <a:pt x="4260" y="1606"/>
                </a:lnTo>
                <a:lnTo>
                  <a:pt x="4260" y="1609"/>
                </a:lnTo>
                <a:lnTo>
                  <a:pt x="4258" y="1612"/>
                </a:lnTo>
                <a:lnTo>
                  <a:pt x="4256" y="1615"/>
                </a:lnTo>
                <a:lnTo>
                  <a:pt x="4253" y="1618"/>
                </a:lnTo>
                <a:lnTo>
                  <a:pt x="4249" y="1619"/>
                </a:lnTo>
                <a:lnTo>
                  <a:pt x="4245" y="1620"/>
                </a:lnTo>
                <a:lnTo>
                  <a:pt x="4243" y="1620"/>
                </a:lnTo>
                <a:lnTo>
                  <a:pt x="4241" y="1620"/>
                </a:lnTo>
                <a:lnTo>
                  <a:pt x="4237" y="1618"/>
                </a:lnTo>
                <a:lnTo>
                  <a:pt x="4235" y="1616"/>
                </a:lnTo>
                <a:lnTo>
                  <a:pt x="4233" y="1614"/>
                </a:lnTo>
                <a:lnTo>
                  <a:pt x="4231" y="1612"/>
                </a:lnTo>
                <a:lnTo>
                  <a:pt x="4230" y="1609"/>
                </a:lnTo>
                <a:lnTo>
                  <a:pt x="4229" y="1606"/>
                </a:lnTo>
                <a:lnTo>
                  <a:pt x="4229" y="1603"/>
                </a:lnTo>
                <a:lnTo>
                  <a:pt x="4230" y="1600"/>
                </a:lnTo>
                <a:lnTo>
                  <a:pt x="4231" y="1597"/>
                </a:lnTo>
                <a:lnTo>
                  <a:pt x="4234" y="1594"/>
                </a:lnTo>
                <a:lnTo>
                  <a:pt x="4237" y="1591"/>
                </a:lnTo>
                <a:close/>
                <a:moveTo>
                  <a:pt x="4111" y="1522"/>
                </a:moveTo>
                <a:lnTo>
                  <a:pt x="4112" y="1521"/>
                </a:lnTo>
                <a:lnTo>
                  <a:pt x="4114" y="1521"/>
                </a:lnTo>
                <a:lnTo>
                  <a:pt x="4118" y="1520"/>
                </a:lnTo>
                <a:lnTo>
                  <a:pt x="4120" y="1520"/>
                </a:lnTo>
                <a:lnTo>
                  <a:pt x="4122" y="1521"/>
                </a:lnTo>
                <a:lnTo>
                  <a:pt x="4126" y="1522"/>
                </a:lnTo>
                <a:lnTo>
                  <a:pt x="4128" y="1524"/>
                </a:lnTo>
                <a:lnTo>
                  <a:pt x="4130" y="1526"/>
                </a:lnTo>
                <a:lnTo>
                  <a:pt x="4132" y="1528"/>
                </a:lnTo>
                <a:lnTo>
                  <a:pt x="4133" y="1531"/>
                </a:lnTo>
                <a:lnTo>
                  <a:pt x="4134" y="1534"/>
                </a:lnTo>
                <a:lnTo>
                  <a:pt x="4134" y="1537"/>
                </a:lnTo>
                <a:lnTo>
                  <a:pt x="4133" y="1540"/>
                </a:lnTo>
                <a:lnTo>
                  <a:pt x="4132" y="1543"/>
                </a:lnTo>
                <a:lnTo>
                  <a:pt x="4129" y="1547"/>
                </a:lnTo>
                <a:lnTo>
                  <a:pt x="4128" y="1548"/>
                </a:lnTo>
                <a:lnTo>
                  <a:pt x="4126" y="1549"/>
                </a:lnTo>
                <a:lnTo>
                  <a:pt x="4124" y="1550"/>
                </a:lnTo>
                <a:lnTo>
                  <a:pt x="4123" y="1551"/>
                </a:lnTo>
                <a:lnTo>
                  <a:pt x="4119" y="1551"/>
                </a:lnTo>
                <a:lnTo>
                  <a:pt x="4117" y="1551"/>
                </a:lnTo>
                <a:lnTo>
                  <a:pt x="4115" y="1551"/>
                </a:lnTo>
                <a:lnTo>
                  <a:pt x="4111" y="1549"/>
                </a:lnTo>
                <a:lnTo>
                  <a:pt x="4108" y="1548"/>
                </a:lnTo>
                <a:lnTo>
                  <a:pt x="4106" y="1545"/>
                </a:lnTo>
                <a:lnTo>
                  <a:pt x="4105" y="1543"/>
                </a:lnTo>
                <a:lnTo>
                  <a:pt x="4103" y="1540"/>
                </a:lnTo>
                <a:lnTo>
                  <a:pt x="4103" y="1537"/>
                </a:lnTo>
                <a:lnTo>
                  <a:pt x="4103" y="1534"/>
                </a:lnTo>
                <a:lnTo>
                  <a:pt x="4103" y="1531"/>
                </a:lnTo>
                <a:lnTo>
                  <a:pt x="4105" y="1528"/>
                </a:lnTo>
                <a:lnTo>
                  <a:pt x="4107" y="1525"/>
                </a:lnTo>
                <a:lnTo>
                  <a:pt x="4109" y="1523"/>
                </a:lnTo>
                <a:lnTo>
                  <a:pt x="4111" y="1522"/>
                </a:lnTo>
                <a:close/>
                <a:moveTo>
                  <a:pt x="3982" y="1455"/>
                </a:moveTo>
                <a:lnTo>
                  <a:pt x="3984" y="1454"/>
                </a:lnTo>
                <a:lnTo>
                  <a:pt x="3986" y="1454"/>
                </a:lnTo>
                <a:lnTo>
                  <a:pt x="3989" y="1453"/>
                </a:lnTo>
                <a:lnTo>
                  <a:pt x="3993" y="1454"/>
                </a:lnTo>
                <a:lnTo>
                  <a:pt x="3997" y="1455"/>
                </a:lnTo>
                <a:lnTo>
                  <a:pt x="4000" y="1457"/>
                </a:lnTo>
                <a:lnTo>
                  <a:pt x="4002" y="1459"/>
                </a:lnTo>
                <a:lnTo>
                  <a:pt x="4003" y="1461"/>
                </a:lnTo>
                <a:lnTo>
                  <a:pt x="4005" y="1464"/>
                </a:lnTo>
                <a:lnTo>
                  <a:pt x="4005" y="1470"/>
                </a:lnTo>
                <a:lnTo>
                  <a:pt x="4005" y="1473"/>
                </a:lnTo>
                <a:lnTo>
                  <a:pt x="4004" y="1476"/>
                </a:lnTo>
                <a:lnTo>
                  <a:pt x="4001" y="1480"/>
                </a:lnTo>
                <a:lnTo>
                  <a:pt x="3998" y="1482"/>
                </a:lnTo>
                <a:lnTo>
                  <a:pt x="3996" y="1483"/>
                </a:lnTo>
                <a:lnTo>
                  <a:pt x="3994" y="1484"/>
                </a:lnTo>
                <a:lnTo>
                  <a:pt x="3990" y="1484"/>
                </a:lnTo>
                <a:lnTo>
                  <a:pt x="3987" y="1484"/>
                </a:lnTo>
                <a:lnTo>
                  <a:pt x="3983" y="1483"/>
                </a:lnTo>
                <a:lnTo>
                  <a:pt x="3980" y="1481"/>
                </a:lnTo>
                <a:lnTo>
                  <a:pt x="3978" y="1479"/>
                </a:lnTo>
                <a:lnTo>
                  <a:pt x="3976" y="1476"/>
                </a:lnTo>
                <a:lnTo>
                  <a:pt x="3975" y="1474"/>
                </a:lnTo>
                <a:lnTo>
                  <a:pt x="3974" y="1468"/>
                </a:lnTo>
                <a:lnTo>
                  <a:pt x="3975" y="1465"/>
                </a:lnTo>
                <a:lnTo>
                  <a:pt x="3976" y="1462"/>
                </a:lnTo>
                <a:lnTo>
                  <a:pt x="3979" y="1458"/>
                </a:lnTo>
                <a:lnTo>
                  <a:pt x="3982" y="1455"/>
                </a:lnTo>
                <a:close/>
                <a:moveTo>
                  <a:pt x="3853" y="1391"/>
                </a:moveTo>
                <a:lnTo>
                  <a:pt x="3857" y="1389"/>
                </a:lnTo>
                <a:lnTo>
                  <a:pt x="3860" y="1389"/>
                </a:lnTo>
                <a:lnTo>
                  <a:pt x="3864" y="1389"/>
                </a:lnTo>
                <a:lnTo>
                  <a:pt x="3868" y="1390"/>
                </a:lnTo>
                <a:lnTo>
                  <a:pt x="3871" y="1392"/>
                </a:lnTo>
                <a:lnTo>
                  <a:pt x="3873" y="1394"/>
                </a:lnTo>
                <a:lnTo>
                  <a:pt x="3875" y="1397"/>
                </a:lnTo>
                <a:lnTo>
                  <a:pt x="3876" y="1399"/>
                </a:lnTo>
                <a:lnTo>
                  <a:pt x="3876" y="1402"/>
                </a:lnTo>
                <a:lnTo>
                  <a:pt x="3877" y="1405"/>
                </a:lnTo>
                <a:lnTo>
                  <a:pt x="3876" y="1408"/>
                </a:lnTo>
                <a:lnTo>
                  <a:pt x="3875" y="1411"/>
                </a:lnTo>
                <a:lnTo>
                  <a:pt x="3874" y="1413"/>
                </a:lnTo>
                <a:lnTo>
                  <a:pt x="3872" y="1415"/>
                </a:lnTo>
                <a:lnTo>
                  <a:pt x="3869" y="1418"/>
                </a:lnTo>
                <a:lnTo>
                  <a:pt x="3865" y="1419"/>
                </a:lnTo>
                <a:lnTo>
                  <a:pt x="3862" y="1420"/>
                </a:lnTo>
                <a:lnTo>
                  <a:pt x="3858" y="1420"/>
                </a:lnTo>
                <a:lnTo>
                  <a:pt x="3854" y="1418"/>
                </a:lnTo>
                <a:lnTo>
                  <a:pt x="3852" y="1417"/>
                </a:lnTo>
                <a:lnTo>
                  <a:pt x="3849" y="1415"/>
                </a:lnTo>
                <a:lnTo>
                  <a:pt x="3848" y="1412"/>
                </a:lnTo>
                <a:lnTo>
                  <a:pt x="3846" y="1409"/>
                </a:lnTo>
                <a:lnTo>
                  <a:pt x="3846" y="1407"/>
                </a:lnTo>
                <a:lnTo>
                  <a:pt x="3846" y="1404"/>
                </a:lnTo>
                <a:lnTo>
                  <a:pt x="3846" y="1400"/>
                </a:lnTo>
                <a:lnTo>
                  <a:pt x="3847" y="1398"/>
                </a:lnTo>
                <a:lnTo>
                  <a:pt x="3848" y="1395"/>
                </a:lnTo>
                <a:lnTo>
                  <a:pt x="3850" y="1394"/>
                </a:lnTo>
                <a:lnTo>
                  <a:pt x="3853" y="1391"/>
                </a:lnTo>
                <a:close/>
                <a:moveTo>
                  <a:pt x="3723" y="1330"/>
                </a:moveTo>
                <a:lnTo>
                  <a:pt x="3726" y="1328"/>
                </a:lnTo>
                <a:lnTo>
                  <a:pt x="3730" y="1328"/>
                </a:lnTo>
                <a:lnTo>
                  <a:pt x="3734" y="1328"/>
                </a:lnTo>
                <a:lnTo>
                  <a:pt x="3735" y="1328"/>
                </a:lnTo>
                <a:lnTo>
                  <a:pt x="3737" y="1329"/>
                </a:lnTo>
                <a:lnTo>
                  <a:pt x="3740" y="1331"/>
                </a:lnTo>
                <a:lnTo>
                  <a:pt x="3742" y="1333"/>
                </a:lnTo>
                <a:lnTo>
                  <a:pt x="3744" y="1335"/>
                </a:lnTo>
                <a:lnTo>
                  <a:pt x="3745" y="1338"/>
                </a:lnTo>
                <a:lnTo>
                  <a:pt x="3746" y="1341"/>
                </a:lnTo>
                <a:lnTo>
                  <a:pt x="3746" y="1344"/>
                </a:lnTo>
                <a:lnTo>
                  <a:pt x="3746" y="1347"/>
                </a:lnTo>
                <a:lnTo>
                  <a:pt x="3745" y="1350"/>
                </a:lnTo>
                <a:lnTo>
                  <a:pt x="3744" y="1352"/>
                </a:lnTo>
                <a:lnTo>
                  <a:pt x="3742" y="1354"/>
                </a:lnTo>
                <a:lnTo>
                  <a:pt x="3741" y="1355"/>
                </a:lnTo>
                <a:lnTo>
                  <a:pt x="3739" y="1357"/>
                </a:lnTo>
                <a:lnTo>
                  <a:pt x="3735" y="1358"/>
                </a:lnTo>
                <a:lnTo>
                  <a:pt x="3732" y="1359"/>
                </a:lnTo>
                <a:lnTo>
                  <a:pt x="3728" y="1358"/>
                </a:lnTo>
                <a:lnTo>
                  <a:pt x="3726" y="1358"/>
                </a:lnTo>
                <a:lnTo>
                  <a:pt x="3724" y="1357"/>
                </a:lnTo>
                <a:lnTo>
                  <a:pt x="3722" y="1356"/>
                </a:lnTo>
                <a:lnTo>
                  <a:pt x="3719" y="1354"/>
                </a:lnTo>
                <a:lnTo>
                  <a:pt x="3718" y="1351"/>
                </a:lnTo>
                <a:lnTo>
                  <a:pt x="3716" y="1349"/>
                </a:lnTo>
                <a:lnTo>
                  <a:pt x="3715" y="1346"/>
                </a:lnTo>
                <a:lnTo>
                  <a:pt x="3715" y="1343"/>
                </a:lnTo>
                <a:lnTo>
                  <a:pt x="3716" y="1340"/>
                </a:lnTo>
                <a:lnTo>
                  <a:pt x="3717" y="1337"/>
                </a:lnTo>
                <a:lnTo>
                  <a:pt x="3718" y="1335"/>
                </a:lnTo>
                <a:lnTo>
                  <a:pt x="3719" y="1333"/>
                </a:lnTo>
                <a:lnTo>
                  <a:pt x="3721" y="1331"/>
                </a:lnTo>
                <a:lnTo>
                  <a:pt x="3723" y="1330"/>
                </a:lnTo>
                <a:close/>
                <a:moveTo>
                  <a:pt x="1967" y="2343"/>
                </a:moveTo>
                <a:lnTo>
                  <a:pt x="1969" y="2342"/>
                </a:lnTo>
                <a:lnTo>
                  <a:pt x="1972" y="2341"/>
                </a:lnTo>
                <a:lnTo>
                  <a:pt x="1977" y="2341"/>
                </a:lnTo>
                <a:lnTo>
                  <a:pt x="1979" y="2342"/>
                </a:lnTo>
                <a:lnTo>
                  <a:pt x="1982" y="2343"/>
                </a:lnTo>
                <a:lnTo>
                  <a:pt x="1984" y="2344"/>
                </a:lnTo>
                <a:lnTo>
                  <a:pt x="1986" y="2346"/>
                </a:lnTo>
                <a:lnTo>
                  <a:pt x="1988" y="2348"/>
                </a:lnTo>
                <a:lnTo>
                  <a:pt x="1989" y="2351"/>
                </a:lnTo>
                <a:lnTo>
                  <a:pt x="1990" y="2354"/>
                </a:lnTo>
                <a:lnTo>
                  <a:pt x="1990" y="2357"/>
                </a:lnTo>
                <a:lnTo>
                  <a:pt x="1990" y="2360"/>
                </a:lnTo>
                <a:lnTo>
                  <a:pt x="1989" y="2363"/>
                </a:lnTo>
                <a:lnTo>
                  <a:pt x="1988" y="2365"/>
                </a:lnTo>
                <a:lnTo>
                  <a:pt x="1986" y="2368"/>
                </a:lnTo>
                <a:lnTo>
                  <a:pt x="1982" y="2370"/>
                </a:lnTo>
                <a:lnTo>
                  <a:pt x="1978" y="2372"/>
                </a:lnTo>
                <a:lnTo>
                  <a:pt x="1973" y="2372"/>
                </a:lnTo>
                <a:lnTo>
                  <a:pt x="1970" y="2371"/>
                </a:lnTo>
                <a:lnTo>
                  <a:pt x="1968" y="2370"/>
                </a:lnTo>
                <a:lnTo>
                  <a:pt x="1966" y="2369"/>
                </a:lnTo>
                <a:lnTo>
                  <a:pt x="1964" y="2367"/>
                </a:lnTo>
                <a:lnTo>
                  <a:pt x="1962" y="2365"/>
                </a:lnTo>
                <a:lnTo>
                  <a:pt x="1960" y="2362"/>
                </a:lnTo>
                <a:lnTo>
                  <a:pt x="1959" y="2359"/>
                </a:lnTo>
                <a:lnTo>
                  <a:pt x="1959" y="2356"/>
                </a:lnTo>
                <a:lnTo>
                  <a:pt x="1959" y="2353"/>
                </a:lnTo>
                <a:lnTo>
                  <a:pt x="1960" y="2350"/>
                </a:lnTo>
                <a:lnTo>
                  <a:pt x="1962" y="2348"/>
                </a:lnTo>
                <a:lnTo>
                  <a:pt x="1964" y="2345"/>
                </a:lnTo>
                <a:lnTo>
                  <a:pt x="1967" y="2343"/>
                </a:lnTo>
                <a:close/>
                <a:moveTo>
                  <a:pt x="2063" y="2236"/>
                </a:moveTo>
                <a:lnTo>
                  <a:pt x="2067" y="2234"/>
                </a:lnTo>
                <a:lnTo>
                  <a:pt x="2071" y="2234"/>
                </a:lnTo>
                <a:lnTo>
                  <a:pt x="2073" y="2234"/>
                </a:lnTo>
                <a:lnTo>
                  <a:pt x="2076" y="2235"/>
                </a:lnTo>
                <a:lnTo>
                  <a:pt x="2078" y="2236"/>
                </a:lnTo>
                <a:lnTo>
                  <a:pt x="2080" y="2237"/>
                </a:lnTo>
                <a:lnTo>
                  <a:pt x="2082" y="2239"/>
                </a:lnTo>
                <a:lnTo>
                  <a:pt x="2084" y="2242"/>
                </a:lnTo>
                <a:lnTo>
                  <a:pt x="2085" y="2245"/>
                </a:lnTo>
                <a:lnTo>
                  <a:pt x="2086" y="2248"/>
                </a:lnTo>
                <a:lnTo>
                  <a:pt x="2086" y="2251"/>
                </a:lnTo>
                <a:lnTo>
                  <a:pt x="2085" y="2254"/>
                </a:lnTo>
                <a:lnTo>
                  <a:pt x="2084" y="2256"/>
                </a:lnTo>
                <a:lnTo>
                  <a:pt x="2083" y="2259"/>
                </a:lnTo>
                <a:lnTo>
                  <a:pt x="2081" y="2261"/>
                </a:lnTo>
                <a:lnTo>
                  <a:pt x="2078" y="2263"/>
                </a:lnTo>
                <a:lnTo>
                  <a:pt x="2074" y="2265"/>
                </a:lnTo>
                <a:lnTo>
                  <a:pt x="2069" y="2265"/>
                </a:lnTo>
                <a:lnTo>
                  <a:pt x="2067" y="2265"/>
                </a:lnTo>
                <a:lnTo>
                  <a:pt x="2065" y="2264"/>
                </a:lnTo>
                <a:lnTo>
                  <a:pt x="2063" y="2263"/>
                </a:lnTo>
                <a:lnTo>
                  <a:pt x="2061" y="2262"/>
                </a:lnTo>
                <a:lnTo>
                  <a:pt x="2059" y="2260"/>
                </a:lnTo>
                <a:lnTo>
                  <a:pt x="2057" y="2257"/>
                </a:lnTo>
                <a:lnTo>
                  <a:pt x="2056" y="2255"/>
                </a:lnTo>
                <a:lnTo>
                  <a:pt x="2055" y="2252"/>
                </a:lnTo>
                <a:lnTo>
                  <a:pt x="2055" y="2249"/>
                </a:lnTo>
                <a:lnTo>
                  <a:pt x="2055" y="2246"/>
                </a:lnTo>
                <a:lnTo>
                  <a:pt x="2056" y="2243"/>
                </a:lnTo>
                <a:lnTo>
                  <a:pt x="2058" y="2240"/>
                </a:lnTo>
                <a:lnTo>
                  <a:pt x="2060" y="2238"/>
                </a:lnTo>
                <a:lnTo>
                  <a:pt x="2063" y="2236"/>
                </a:lnTo>
                <a:close/>
                <a:moveTo>
                  <a:pt x="2140" y="2115"/>
                </a:moveTo>
                <a:lnTo>
                  <a:pt x="2141" y="2114"/>
                </a:lnTo>
                <a:lnTo>
                  <a:pt x="2143" y="2114"/>
                </a:lnTo>
                <a:lnTo>
                  <a:pt x="2147" y="2113"/>
                </a:lnTo>
                <a:lnTo>
                  <a:pt x="2151" y="2113"/>
                </a:lnTo>
                <a:lnTo>
                  <a:pt x="2154" y="2115"/>
                </a:lnTo>
                <a:lnTo>
                  <a:pt x="2157" y="2116"/>
                </a:lnTo>
                <a:lnTo>
                  <a:pt x="2159" y="2119"/>
                </a:lnTo>
                <a:lnTo>
                  <a:pt x="2161" y="2121"/>
                </a:lnTo>
                <a:lnTo>
                  <a:pt x="2162" y="2124"/>
                </a:lnTo>
                <a:lnTo>
                  <a:pt x="2163" y="2130"/>
                </a:lnTo>
                <a:lnTo>
                  <a:pt x="2162" y="2133"/>
                </a:lnTo>
                <a:lnTo>
                  <a:pt x="2161" y="2136"/>
                </a:lnTo>
                <a:lnTo>
                  <a:pt x="2159" y="2139"/>
                </a:lnTo>
                <a:lnTo>
                  <a:pt x="2155" y="2142"/>
                </a:lnTo>
                <a:lnTo>
                  <a:pt x="2153" y="2143"/>
                </a:lnTo>
                <a:lnTo>
                  <a:pt x="2152" y="2143"/>
                </a:lnTo>
                <a:lnTo>
                  <a:pt x="2148" y="2144"/>
                </a:lnTo>
                <a:lnTo>
                  <a:pt x="2144" y="2144"/>
                </a:lnTo>
                <a:lnTo>
                  <a:pt x="2140" y="2142"/>
                </a:lnTo>
                <a:lnTo>
                  <a:pt x="2138" y="2141"/>
                </a:lnTo>
                <a:lnTo>
                  <a:pt x="2135" y="2139"/>
                </a:lnTo>
                <a:lnTo>
                  <a:pt x="2134" y="2136"/>
                </a:lnTo>
                <a:lnTo>
                  <a:pt x="2133" y="2133"/>
                </a:lnTo>
                <a:lnTo>
                  <a:pt x="2132" y="2127"/>
                </a:lnTo>
                <a:lnTo>
                  <a:pt x="2132" y="2124"/>
                </a:lnTo>
                <a:lnTo>
                  <a:pt x="2133" y="2121"/>
                </a:lnTo>
                <a:lnTo>
                  <a:pt x="2136" y="2118"/>
                </a:lnTo>
                <a:lnTo>
                  <a:pt x="2140" y="2115"/>
                </a:lnTo>
                <a:close/>
                <a:moveTo>
                  <a:pt x="3591" y="1273"/>
                </a:moveTo>
                <a:lnTo>
                  <a:pt x="3594" y="1271"/>
                </a:lnTo>
                <a:lnTo>
                  <a:pt x="3597" y="1271"/>
                </a:lnTo>
                <a:lnTo>
                  <a:pt x="3601" y="1271"/>
                </a:lnTo>
                <a:lnTo>
                  <a:pt x="3604" y="1272"/>
                </a:lnTo>
                <a:lnTo>
                  <a:pt x="3607" y="1273"/>
                </a:lnTo>
                <a:lnTo>
                  <a:pt x="3610" y="1275"/>
                </a:lnTo>
                <a:lnTo>
                  <a:pt x="3611" y="1278"/>
                </a:lnTo>
                <a:lnTo>
                  <a:pt x="3613" y="1280"/>
                </a:lnTo>
                <a:lnTo>
                  <a:pt x="3614" y="1283"/>
                </a:lnTo>
                <a:lnTo>
                  <a:pt x="3614" y="1286"/>
                </a:lnTo>
                <a:lnTo>
                  <a:pt x="3614" y="1289"/>
                </a:lnTo>
                <a:lnTo>
                  <a:pt x="3613" y="1292"/>
                </a:lnTo>
                <a:lnTo>
                  <a:pt x="3612" y="1294"/>
                </a:lnTo>
                <a:lnTo>
                  <a:pt x="3610" y="1297"/>
                </a:lnTo>
                <a:lnTo>
                  <a:pt x="3608" y="1298"/>
                </a:lnTo>
                <a:lnTo>
                  <a:pt x="3606" y="1300"/>
                </a:lnTo>
                <a:lnTo>
                  <a:pt x="3603" y="1301"/>
                </a:lnTo>
                <a:lnTo>
                  <a:pt x="3600" y="1302"/>
                </a:lnTo>
                <a:lnTo>
                  <a:pt x="3596" y="1302"/>
                </a:lnTo>
                <a:lnTo>
                  <a:pt x="3593" y="1301"/>
                </a:lnTo>
                <a:lnTo>
                  <a:pt x="3590" y="1299"/>
                </a:lnTo>
                <a:lnTo>
                  <a:pt x="3588" y="1297"/>
                </a:lnTo>
                <a:lnTo>
                  <a:pt x="3586" y="1295"/>
                </a:lnTo>
                <a:lnTo>
                  <a:pt x="3584" y="1292"/>
                </a:lnTo>
                <a:lnTo>
                  <a:pt x="3583" y="1289"/>
                </a:lnTo>
                <a:lnTo>
                  <a:pt x="3583" y="1286"/>
                </a:lnTo>
                <a:lnTo>
                  <a:pt x="3583" y="1283"/>
                </a:lnTo>
                <a:lnTo>
                  <a:pt x="3584" y="1280"/>
                </a:lnTo>
                <a:lnTo>
                  <a:pt x="3585" y="1278"/>
                </a:lnTo>
                <a:lnTo>
                  <a:pt x="3587" y="1276"/>
                </a:lnTo>
                <a:lnTo>
                  <a:pt x="3589" y="1274"/>
                </a:lnTo>
                <a:lnTo>
                  <a:pt x="3591" y="1273"/>
                </a:lnTo>
                <a:close/>
                <a:moveTo>
                  <a:pt x="2193" y="1982"/>
                </a:moveTo>
                <a:lnTo>
                  <a:pt x="2196" y="1981"/>
                </a:lnTo>
                <a:lnTo>
                  <a:pt x="2199" y="1980"/>
                </a:lnTo>
                <a:lnTo>
                  <a:pt x="2202" y="1980"/>
                </a:lnTo>
                <a:lnTo>
                  <a:pt x="2205" y="1981"/>
                </a:lnTo>
                <a:lnTo>
                  <a:pt x="2208" y="1982"/>
                </a:lnTo>
                <a:lnTo>
                  <a:pt x="2211" y="1983"/>
                </a:lnTo>
                <a:lnTo>
                  <a:pt x="2212" y="1984"/>
                </a:lnTo>
                <a:lnTo>
                  <a:pt x="2213" y="1986"/>
                </a:lnTo>
                <a:lnTo>
                  <a:pt x="2215" y="1988"/>
                </a:lnTo>
                <a:lnTo>
                  <a:pt x="2216" y="1991"/>
                </a:lnTo>
                <a:lnTo>
                  <a:pt x="2216" y="1994"/>
                </a:lnTo>
                <a:lnTo>
                  <a:pt x="2216" y="1997"/>
                </a:lnTo>
                <a:lnTo>
                  <a:pt x="2216" y="2000"/>
                </a:lnTo>
                <a:lnTo>
                  <a:pt x="2215" y="2003"/>
                </a:lnTo>
                <a:lnTo>
                  <a:pt x="2213" y="2005"/>
                </a:lnTo>
                <a:lnTo>
                  <a:pt x="2211" y="2007"/>
                </a:lnTo>
                <a:lnTo>
                  <a:pt x="2209" y="2009"/>
                </a:lnTo>
                <a:lnTo>
                  <a:pt x="2206" y="2010"/>
                </a:lnTo>
                <a:lnTo>
                  <a:pt x="2203" y="2011"/>
                </a:lnTo>
                <a:lnTo>
                  <a:pt x="2200" y="2011"/>
                </a:lnTo>
                <a:lnTo>
                  <a:pt x="2196" y="2010"/>
                </a:lnTo>
                <a:lnTo>
                  <a:pt x="2194" y="2009"/>
                </a:lnTo>
                <a:lnTo>
                  <a:pt x="2191" y="2007"/>
                </a:lnTo>
                <a:lnTo>
                  <a:pt x="2190" y="2006"/>
                </a:lnTo>
                <a:lnTo>
                  <a:pt x="2189" y="2005"/>
                </a:lnTo>
                <a:lnTo>
                  <a:pt x="2187" y="2003"/>
                </a:lnTo>
                <a:lnTo>
                  <a:pt x="2186" y="2000"/>
                </a:lnTo>
                <a:lnTo>
                  <a:pt x="2185" y="1997"/>
                </a:lnTo>
                <a:lnTo>
                  <a:pt x="2185" y="1994"/>
                </a:lnTo>
                <a:lnTo>
                  <a:pt x="2186" y="1991"/>
                </a:lnTo>
                <a:lnTo>
                  <a:pt x="2187" y="1988"/>
                </a:lnTo>
                <a:lnTo>
                  <a:pt x="2189" y="1986"/>
                </a:lnTo>
                <a:lnTo>
                  <a:pt x="2191" y="1984"/>
                </a:lnTo>
                <a:lnTo>
                  <a:pt x="2193" y="1982"/>
                </a:lnTo>
                <a:close/>
                <a:moveTo>
                  <a:pt x="3456" y="1222"/>
                </a:moveTo>
                <a:lnTo>
                  <a:pt x="3459" y="1220"/>
                </a:lnTo>
                <a:lnTo>
                  <a:pt x="3462" y="1220"/>
                </a:lnTo>
                <a:lnTo>
                  <a:pt x="3466" y="1220"/>
                </a:lnTo>
                <a:lnTo>
                  <a:pt x="3469" y="1220"/>
                </a:lnTo>
                <a:lnTo>
                  <a:pt x="3472" y="1222"/>
                </a:lnTo>
                <a:lnTo>
                  <a:pt x="3474" y="1224"/>
                </a:lnTo>
                <a:lnTo>
                  <a:pt x="3476" y="1226"/>
                </a:lnTo>
                <a:lnTo>
                  <a:pt x="3478" y="1228"/>
                </a:lnTo>
                <a:lnTo>
                  <a:pt x="3479" y="1231"/>
                </a:lnTo>
                <a:lnTo>
                  <a:pt x="3480" y="1234"/>
                </a:lnTo>
                <a:lnTo>
                  <a:pt x="3479" y="1240"/>
                </a:lnTo>
                <a:lnTo>
                  <a:pt x="3477" y="1243"/>
                </a:lnTo>
                <a:lnTo>
                  <a:pt x="3476" y="1245"/>
                </a:lnTo>
                <a:lnTo>
                  <a:pt x="3474" y="1247"/>
                </a:lnTo>
                <a:lnTo>
                  <a:pt x="3472" y="1248"/>
                </a:lnTo>
                <a:lnTo>
                  <a:pt x="3469" y="1250"/>
                </a:lnTo>
                <a:lnTo>
                  <a:pt x="3466" y="1250"/>
                </a:lnTo>
                <a:lnTo>
                  <a:pt x="3462" y="1250"/>
                </a:lnTo>
                <a:lnTo>
                  <a:pt x="3459" y="1250"/>
                </a:lnTo>
                <a:lnTo>
                  <a:pt x="3456" y="1248"/>
                </a:lnTo>
                <a:lnTo>
                  <a:pt x="3454" y="1247"/>
                </a:lnTo>
                <a:lnTo>
                  <a:pt x="3452" y="1244"/>
                </a:lnTo>
                <a:lnTo>
                  <a:pt x="3450" y="1242"/>
                </a:lnTo>
                <a:lnTo>
                  <a:pt x="3449" y="1239"/>
                </a:lnTo>
                <a:lnTo>
                  <a:pt x="3448" y="1236"/>
                </a:lnTo>
                <a:lnTo>
                  <a:pt x="3449" y="1230"/>
                </a:lnTo>
                <a:lnTo>
                  <a:pt x="3451" y="1227"/>
                </a:lnTo>
                <a:lnTo>
                  <a:pt x="3452" y="1225"/>
                </a:lnTo>
                <a:lnTo>
                  <a:pt x="3454" y="1223"/>
                </a:lnTo>
                <a:lnTo>
                  <a:pt x="3456" y="1222"/>
                </a:lnTo>
                <a:close/>
                <a:moveTo>
                  <a:pt x="2223" y="1841"/>
                </a:moveTo>
                <a:lnTo>
                  <a:pt x="2226" y="1840"/>
                </a:lnTo>
                <a:lnTo>
                  <a:pt x="2228" y="1840"/>
                </a:lnTo>
                <a:lnTo>
                  <a:pt x="2231" y="1839"/>
                </a:lnTo>
                <a:lnTo>
                  <a:pt x="2233" y="1840"/>
                </a:lnTo>
                <a:lnTo>
                  <a:pt x="2236" y="1840"/>
                </a:lnTo>
                <a:lnTo>
                  <a:pt x="2239" y="1842"/>
                </a:lnTo>
                <a:lnTo>
                  <a:pt x="2242" y="1843"/>
                </a:lnTo>
                <a:lnTo>
                  <a:pt x="2244" y="1846"/>
                </a:lnTo>
                <a:lnTo>
                  <a:pt x="2245" y="1848"/>
                </a:lnTo>
                <a:lnTo>
                  <a:pt x="2246" y="1851"/>
                </a:lnTo>
                <a:lnTo>
                  <a:pt x="2247" y="1854"/>
                </a:lnTo>
                <a:lnTo>
                  <a:pt x="2247" y="1857"/>
                </a:lnTo>
                <a:lnTo>
                  <a:pt x="2246" y="1861"/>
                </a:lnTo>
                <a:lnTo>
                  <a:pt x="2244" y="1864"/>
                </a:lnTo>
                <a:lnTo>
                  <a:pt x="2242" y="1866"/>
                </a:lnTo>
                <a:lnTo>
                  <a:pt x="2239" y="1868"/>
                </a:lnTo>
                <a:lnTo>
                  <a:pt x="2237" y="1869"/>
                </a:lnTo>
                <a:lnTo>
                  <a:pt x="2234" y="1870"/>
                </a:lnTo>
                <a:lnTo>
                  <a:pt x="2232" y="1870"/>
                </a:lnTo>
                <a:lnTo>
                  <a:pt x="2229" y="1870"/>
                </a:lnTo>
                <a:lnTo>
                  <a:pt x="2226" y="1870"/>
                </a:lnTo>
                <a:lnTo>
                  <a:pt x="2223" y="1868"/>
                </a:lnTo>
                <a:lnTo>
                  <a:pt x="2221" y="1866"/>
                </a:lnTo>
                <a:lnTo>
                  <a:pt x="2219" y="1864"/>
                </a:lnTo>
                <a:lnTo>
                  <a:pt x="2217" y="1862"/>
                </a:lnTo>
                <a:lnTo>
                  <a:pt x="2216" y="1859"/>
                </a:lnTo>
                <a:lnTo>
                  <a:pt x="2216" y="1856"/>
                </a:lnTo>
                <a:lnTo>
                  <a:pt x="2216" y="1853"/>
                </a:lnTo>
                <a:lnTo>
                  <a:pt x="2217" y="1849"/>
                </a:lnTo>
                <a:lnTo>
                  <a:pt x="2218" y="1846"/>
                </a:lnTo>
                <a:lnTo>
                  <a:pt x="2221" y="1844"/>
                </a:lnTo>
                <a:lnTo>
                  <a:pt x="2223" y="1841"/>
                </a:lnTo>
                <a:close/>
                <a:moveTo>
                  <a:pt x="3319" y="1178"/>
                </a:moveTo>
                <a:lnTo>
                  <a:pt x="3322" y="1177"/>
                </a:lnTo>
                <a:lnTo>
                  <a:pt x="3325" y="1176"/>
                </a:lnTo>
                <a:lnTo>
                  <a:pt x="3328" y="1176"/>
                </a:lnTo>
                <a:lnTo>
                  <a:pt x="3331" y="1176"/>
                </a:lnTo>
                <a:lnTo>
                  <a:pt x="3334" y="1177"/>
                </a:lnTo>
                <a:lnTo>
                  <a:pt x="3337" y="1179"/>
                </a:lnTo>
                <a:lnTo>
                  <a:pt x="3339" y="1181"/>
                </a:lnTo>
                <a:lnTo>
                  <a:pt x="3340" y="1184"/>
                </a:lnTo>
                <a:lnTo>
                  <a:pt x="3342" y="1186"/>
                </a:lnTo>
                <a:lnTo>
                  <a:pt x="3342" y="1189"/>
                </a:lnTo>
                <a:lnTo>
                  <a:pt x="3342" y="1192"/>
                </a:lnTo>
                <a:lnTo>
                  <a:pt x="3342" y="1195"/>
                </a:lnTo>
                <a:lnTo>
                  <a:pt x="3341" y="1198"/>
                </a:lnTo>
                <a:lnTo>
                  <a:pt x="3339" y="1201"/>
                </a:lnTo>
                <a:lnTo>
                  <a:pt x="3337" y="1203"/>
                </a:lnTo>
                <a:lnTo>
                  <a:pt x="3335" y="1205"/>
                </a:lnTo>
                <a:lnTo>
                  <a:pt x="3332" y="1206"/>
                </a:lnTo>
                <a:lnTo>
                  <a:pt x="3329" y="1207"/>
                </a:lnTo>
                <a:lnTo>
                  <a:pt x="3326" y="1207"/>
                </a:lnTo>
                <a:lnTo>
                  <a:pt x="3323" y="1206"/>
                </a:lnTo>
                <a:lnTo>
                  <a:pt x="3320" y="1205"/>
                </a:lnTo>
                <a:lnTo>
                  <a:pt x="3317" y="1203"/>
                </a:lnTo>
                <a:lnTo>
                  <a:pt x="3315" y="1201"/>
                </a:lnTo>
                <a:lnTo>
                  <a:pt x="3313" y="1199"/>
                </a:lnTo>
                <a:lnTo>
                  <a:pt x="3312" y="1196"/>
                </a:lnTo>
                <a:lnTo>
                  <a:pt x="3311" y="1193"/>
                </a:lnTo>
                <a:lnTo>
                  <a:pt x="3311" y="1190"/>
                </a:lnTo>
                <a:lnTo>
                  <a:pt x="3312" y="1187"/>
                </a:lnTo>
                <a:lnTo>
                  <a:pt x="3313" y="1184"/>
                </a:lnTo>
                <a:lnTo>
                  <a:pt x="3315" y="1182"/>
                </a:lnTo>
                <a:lnTo>
                  <a:pt x="3317" y="1179"/>
                </a:lnTo>
                <a:lnTo>
                  <a:pt x="3319" y="1178"/>
                </a:lnTo>
                <a:close/>
                <a:moveTo>
                  <a:pt x="2237" y="1697"/>
                </a:moveTo>
                <a:lnTo>
                  <a:pt x="2242" y="1696"/>
                </a:lnTo>
                <a:lnTo>
                  <a:pt x="2246" y="1695"/>
                </a:lnTo>
                <a:lnTo>
                  <a:pt x="2249" y="1696"/>
                </a:lnTo>
                <a:lnTo>
                  <a:pt x="2252" y="1697"/>
                </a:lnTo>
                <a:lnTo>
                  <a:pt x="2255" y="1698"/>
                </a:lnTo>
                <a:lnTo>
                  <a:pt x="2257" y="1700"/>
                </a:lnTo>
                <a:lnTo>
                  <a:pt x="2259" y="1703"/>
                </a:lnTo>
                <a:lnTo>
                  <a:pt x="2260" y="1706"/>
                </a:lnTo>
                <a:lnTo>
                  <a:pt x="2261" y="1709"/>
                </a:lnTo>
                <a:lnTo>
                  <a:pt x="2261" y="1712"/>
                </a:lnTo>
                <a:lnTo>
                  <a:pt x="2260" y="1714"/>
                </a:lnTo>
                <a:lnTo>
                  <a:pt x="2260" y="1716"/>
                </a:lnTo>
                <a:lnTo>
                  <a:pt x="2258" y="1719"/>
                </a:lnTo>
                <a:lnTo>
                  <a:pt x="2256" y="1722"/>
                </a:lnTo>
                <a:lnTo>
                  <a:pt x="2253" y="1724"/>
                </a:lnTo>
                <a:lnTo>
                  <a:pt x="2249" y="1726"/>
                </a:lnTo>
                <a:lnTo>
                  <a:pt x="2244" y="1726"/>
                </a:lnTo>
                <a:lnTo>
                  <a:pt x="2241" y="1726"/>
                </a:lnTo>
                <a:lnTo>
                  <a:pt x="2238" y="1725"/>
                </a:lnTo>
                <a:lnTo>
                  <a:pt x="2236" y="1723"/>
                </a:lnTo>
                <a:lnTo>
                  <a:pt x="2233" y="1721"/>
                </a:lnTo>
                <a:lnTo>
                  <a:pt x="2232" y="1718"/>
                </a:lnTo>
                <a:lnTo>
                  <a:pt x="2230" y="1716"/>
                </a:lnTo>
                <a:lnTo>
                  <a:pt x="2230" y="1713"/>
                </a:lnTo>
                <a:lnTo>
                  <a:pt x="2230" y="1710"/>
                </a:lnTo>
                <a:lnTo>
                  <a:pt x="2230" y="1708"/>
                </a:lnTo>
                <a:lnTo>
                  <a:pt x="2230" y="1706"/>
                </a:lnTo>
                <a:lnTo>
                  <a:pt x="2232" y="1702"/>
                </a:lnTo>
                <a:lnTo>
                  <a:pt x="2234" y="1699"/>
                </a:lnTo>
                <a:lnTo>
                  <a:pt x="2237" y="1697"/>
                </a:lnTo>
                <a:close/>
                <a:moveTo>
                  <a:pt x="3179" y="1144"/>
                </a:moveTo>
                <a:lnTo>
                  <a:pt x="3182" y="1143"/>
                </a:lnTo>
                <a:lnTo>
                  <a:pt x="3184" y="1142"/>
                </a:lnTo>
                <a:lnTo>
                  <a:pt x="3190" y="1142"/>
                </a:lnTo>
                <a:lnTo>
                  <a:pt x="3193" y="1143"/>
                </a:lnTo>
                <a:lnTo>
                  <a:pt x="3196" y="1144"/>
                </a:lnTo>
                <a:lnTo>
                  <a:pt x="3198" y="1146"/>
                </a:lnTo>
                <a:lnTo>
                  <a:pt x="3200" y="1149"/>
                </a:lnTo>
                <a:lnTo>
                  <a:pt x="3201" y="1151"/>
                </a:lnTo>
                <a:lnTo>
                  <a:pt x="3202" y="1154"/>
                </a:lnTo>
                <a:lnTo>
                  <a:pt x="3203" y="1157"/>
                </a:lnTo>
                <a:lnTo>
                  <a:pt x="3202" y="1160"/>
                </a:lnTo>
                <a:lnTo>
                  <a:pt x="3201" y="1163"/>
                </a:lnTo>
                <a:lnTo>
                  <a:pt x="3200" y="1166"/>
                </a:lnTo>
                <a:lnTo>
                  <a:pt x="3197" y="1169"/>
                </a:lnTo>
                <a:lnTo>
                  <a:pt x="3195" y="1171"/>
                </a:lnTo>
                <a:lnTo>
                  <a:pt x="3192" y="1172"/>
                </a:lnTo>
                <a:lnTo>
                  <a:pt x="3190" y="1172"/>
                </a:lnTo>
                <a:lnTo>
                  <a:pt x="3184" y="1172"/>
                </a:lnTo>
                <a:lnTo>
                  <a:pt x="3181" y="1171"/>
                </a:lnTo>
                <a:lnTo>
                  <a:pt x="3178" y="1170"/>
                </a:lnTo>
                <a:lnTo>
                  <a:pt x="3176" y="1168"/>
                </a:lnTo>
                <a:lnTo>
                  <a:pt x="3174" y="1166"/>
                </a:lnTo>
                <a:lnTo>
                  <a:pt x="3173" y="1163"/>
                </a:lnTo>
                <a:lnTo>
                  <a:pt x="3172" y="1160"/>
                </a:lnTo>
                <a:lnTo>
                  <a:pt x="3172" y="1157"/>
                </a:lnTo>
                <a:lnTo>
                  <a:pt x="3172" y="1154"/>
                </a:lnTo>
                <a:lnTo>
                  <a:pt x="3173" y="1151"/>
                </a:lnTo>
                <a:lnTo>
                  <a:pt x="3175" y="1148"/>
                </a:lnTo>
                <a:lnTo>
                  <a:pt x="3177" y="1146"/>
                </a:lnTo>
                <a:lnTo>
                  <a:pt x="3179" y="1144"/>
                </a:lnTo>
                <a:close/>
                <a:moveTo>
                  <a:pt x="3037" y="1122"/>
                </a:moveTo>
                <a:lnTo>
                  <a:pt x="3042" y="1120"/>
                </a:lnTo>
                <a:lnTo>
                  <a:pt x="3044" y="1120"/>
                </a:lnTo>
                <a:lnTo>
                  <a:pt x="3046" y="1120"/>
                </a:lnTo>
                <a:lnTo>
                  <a:pt x="3050" y="1121"/>
                </a:lnTo>
                <a:lnTo>
                  <a:pt x="3052" y="1122"/>
                </a:lnTo>
                <a:lnTo>
                  <a:pt x="3055" y="1124"/>
                </a:lnTo>
                <a:lnTo>
                  <a:pt x="3057" y="1126"/>
                </a:lnTo>
                <a:lnTo>
                  <a:pt x="3059" y="1128"/>
                </a:lnTo>
                <a:lnTo>
                  <a:pt x="3060" y="1131"/>
                </a:lnTo>
                <a:lnTo>
                  <a:pt x="3060" y="1134"/>
                </a:lnTo>
                <a:lnTo>
                  <a:pt x="3060" y="1137"/>
                </a:lnTo>
                <a:lnTo>
                  <a:pt x="3060" y="1141"/>
                </a:lnTo>
                <a:lnTo>
                  <a:pt x="3058" y="1144"/>
                </a:lnTo>
                <a:lnTo>
                  <a:pt x="3056" y="1147"/>
                </a:lnTo>
                <a:lnTo>
                  <a:pt x="3053" y="1149"/>
                </a:lnTo>
                <a:lnTo>
                  <a:pt x="3048" y="1151"/>
                </a:lnTo>
                <a:lnTo>
                  <a:pt x="3046" y="1151"/>
                </a:lnTo>
                <a:lnTo>
                  <a:pt x="3043" y="1151"/>
                </a:lnTo>
                <a:lnTo>
                  <a:pt x="3040" y="1150"/>
                </a:lnTo>
                <a:lnTo>
                  <a:pt x="3037" y="1149"/>
                </a:lnTo>
                <a:lnTo>
                  <a:pt x="3035" y="1148"/>
                </a:lnTo>
                <a:lnTo>
                  <a:pt x="3033" y="1145"/>
                </a:lnTo>
                <a:lnTo>
                  <a:pt x="3031" y="1143"/>
                </a:lnTo>
                <a:lnTo>
                  <a:pt x="3030" y="1140"/>
                </a:lnTo>
                <a:lnTo>
                  <a:pt x="3029" y="1137"/>
                </a:lnTo>
                <a:lnTo>
                  <a:pt x="3029" y="1134"/>
                </a:lnTo>
                <a:lnTo>
                  <a:pt x="3030" y="1130"/>
                </a:lnTo>
                <a:lnTo>
                  <a:pt x="3032" y="1127"/>
                </a:lnTo>
                <a:lnTo>
                  <a:pt x="3034" y="1124"/>
                </a:lnTo>
                <a:lnTo>
                  <a:pt x="3037" y="1122"/>
                </a:lnTo>
                <a:close/>
                <a:moveTo>
                  <a:pt x="2249" y="1554"/>
                </a:moveTo>
                <a:lnTo>
                  <a:pt x="2251" y="1553"/>
                </a:lnTo>
                <a:lnTo>
                  <a:pt x="2254" y="1552"/>
                </a:lnTo>
                <a:lnTo>
                  <a:pt x="2256" y="1552"/>
                </a:lnTo>
                <a:lnTo>
                  <a:pt x="2259" y="1552"/>
                </a:lnTo>
                <a:lnTo>
                  <a:pt x="2262" y="1552"/>
                </a:lnTo>
                <a:lnTo>
                  <a:pt x="2265" y="1554"/>
                </a:lnTo>
                <a:lnTo>
                  <a:pt x="2267" y="1555"/>
                </a:lnTo>
                <a:lnTo>
                  <a:pt x="2269" y="1558"/>
                </a:lnTo>
                <a:lnTo>
                  <a:pt x="2270" y="1559"/>
                </a:lnTo>
                <a:lnTo>
                  <a:pt x="2271" y="1560"/>
                </a:lnTo>
                <a:lnTo>
                  <a:pt x="2272" y="1563"/>
                </a:lnTo>
                <a:lnTo>
                  <a:pt x="2272" y="1566"/>
                </a:lnTo>
                <a:lnTo>
                  <a:pt x="2272" y="1569"/>
                </a:lnTo>
                <a:lnTo>
                  <a:pt x="2271" y="1573"/>
                </a:lnTo>
                <a:lnTo>
                  <a:pt x="2270" y="1576"/>
                </a:lnTo>
                <a:lnTo>
                  <a:pt x="2267" y="1579"/>
                </a:lnTo>
                <a:lnTo>
                  <a:pt x="2265" y="1581"/>
                </a:lnTo>
                <a:lnTo>
                  <a:pt x="2262" y="1582"/>
                </a:lnTo>
                <a:lnTo>
                  <a:pt x="2260" y="1582"/>
                </a:lnTo>
                <a:lnTo>
                  <a:pt x="2258" y="1583"/>
                </a:lnTo>
                <a:lnTo>
                  <a:pt x="2255" y="1583"/>
                </a:lnTo>
                <a:lnTo>
                  <a:pt x="2252" y="1582"/>
                </a:lnTo>
                <a:lnTo>
                  <a:pt x="2249" y="1581"/>
                </a:lnTo>
                <a:lnTo>
                  <a:pt x="2247" y="1579"/>
                </a:lnTo>
                <a:lnTo>
                  <a:pt x="2245" y="1577"/>
                </a:lnTo>
                <a:lnTo>
                  <a:pt x="2244" y="1576"/>
                </a:lnTo>
                <a:lnTo>
                  <a:pt x="2243" y="1574"/>
                </a:lnTo>
                <a:lnTo>
                  <a:pt x="2242" y="1571"/>
                </a:lnTo>
                <a:lnTo>
                  <a:pt x="2241" y="1568"/>
                </a:lnTo>
                <a:lnTo>
                  <a:pt x="2241" y="1565"/>
                </a:lnTo>
                <a:lnTo>
                  <a:pt x="2242" y="1562"/>
                </a:lnTo>
                <a:lnTo>
                  <a:pt x="2244" y="1558"/>
                </a:lnTo>
                <a:lnTo>
                  <a:pt x="2246" y="1556"/>
                </a:lnTo>
                <a:lnTo>
                  <a:pt x="2249" y="1554"/>
                </a:lnTo>
                <a:close/>
                <a:moveTo>
                  <a:pt x="2893" y="1116"/>
                </a:moveTo>
                <a:lnTo>
                  <a:pt x="2895" y="1115"/>
                </a:lnTo>
                <a:lnTo>
                  <a:pt x="2897" y="1115"/>
                </a:lnTo>
                <a:lnTo>
                  <a:pt x="2901" y="1114"/>
                </a:lnTo>
                <a:lnTo>
                  <a:pt x="2904" y="1114"/>
                </a:lnTo>
                <a:lnTo>
                  <a:pt x="2907" y="1115"/>
                </a:lnTo>
                <a:lnTo>
                  <a:pt x="2910" y="1117"/>
                </a:lnTo>
                <a:lnTo>
                  <a:pt x="2912" y="1119"/>
                </a:lnTo>
                <a:lnTo>
                  <a:pt x="2914" y="1121"/>
                </a:lnTo>
                <a:lnTo>
                  <a:pt x="2915" y="1123"/>
                </a:lnTo>
                <a:lnTo>
                  <a:pt x="2916" y="1126"/>
                </a:lnTo>
                <a:lnTo>
                  <a:pt x="2917" y="1129"/>
                </a:lnTo>
                <a:lnTo>
                  <a:pt x="2916" y="1134"/>
                </a:lnTo>
                <a:lnTo>
                  <a:pt x="2915" y="1137"/>
                </a:lnTo>
                <a:lnTo>
                  <a:pt x="2912" y="1141"/>
                </a:lnTo>
                <a:lnTo>
                  <a:pt x="2909" y="1143"/>
                </a:lnTo>
                <a:lnTo>
                  <a:pt x="2907" y="1144"/>
                </a:lnTo>
                <a:lnTo>
                  <a:pt x="2905" y="1145"/>
                </a:lnTo>
                <a:lnTo>
                  <a:pt x="2902" y="1145"/>
                </a:lnTo>
                <a:lnTo>
                  <a:pt x="2898" y="1145"/>
                </a:lnTo>
                <a:lnTo>
                  <a:pt x="2895" y="1144"/>
                </a:lnTo>
                <a:lnTo>
                  <a:pt x="2893" y="1143"/>
                </a:lnTo>
                <a:lnTo>
                  <a:pt x="2890" y="1141"/>
                </a:lnTo>
                <a:lnTo>
                  <a:pt x="2888" y="1139"/>
                </a:lnTo>
                <a:lnTo>
                  <a:pt x="2887" y="1136"/>
                </a:lnTo>
                <a:lnTo>
                  <a:pt x="2886" y="1133"/>
                </a:lnTo>
                <a:lnTo>
                  <a:pt x="2886" y="1130"/>
                </a:lnTo>
                <a:lnTo>
                  <a:pt x="2886" y="1126"/>
                </a:lnTo>
                <a:lnTo>
                  <a:pt x="2888" y="1122"/>
                </a:lnTo>
                <a:lnTo>
                  <a:pt x="2890" y="1119"/>
                </a:lnTo>
                <a:lnTo>
                  <a:pt x="2893" y="1116"/>
                </a:lnTo>
                <a:close/>
                <a:moveTo>
                  <a:pt x="2281" y="1414"/>
                </a:moveTo>
                <a:lnTo>
                  <a:pt x="2284" y="1412"/>
                </a:lnTo>
                <a:lnTo>
                  <a:pt x="2287" y="1412"/>
                </a:lnTo>
                <a:lnTo>
                  <a:pt x="2291" y="1412"/>
                </a:lnTo>
                <a:lnTo>
                  <a:pt x="2294" y="1413"/>
                </a:lnTo>
                <a:lnTo>
                  <a:pt x="2295" y="1413"/>
                </a:lnTo>
                <a:lnTo>
                  <a:pt x="2297" y="1414"/>
                </a:lnTo>
                <a:lnTo>
                  <a:pt x="2299" y="1416"/>
                </a:lnTo>
                <a:lnTo>
                  <a:pt x="2301" y="1418"/>
                </a:lnTo>
                <a:lnTo>
                  <a:pt x="2303" y="1421"/>
                </a:lnTo>
                <a:lnTo>
                  <a:pt x="2304" y="1424"/>
                </a:lnTo>
                <a:lnTo>
                  <a:pt x="2304" y="1427"/>
                </a:lnTo>
                <a:lnTo>
                  <a:pt x="2304" y="1430"/>
                </a:lnTo>
                <a:lnTo>
                  <a:pt x="2303" y="1433"/>
                </a:lnTo>
                <a:lnTo>
                  <a:pt x="2302" y="1435"/>
                </a:lnTo>
                <a:lnTo>
                  <a:pt x="2300" y="1437"/>
                </a:lnTo>
                <a:lnTo>
                  <a:pt x="2298" y="1439"/>
                </a:lnTo>
                <a:lnTo>
                  <a:pt x="2296" y="1441"/>
                </a:lnTo>
                <a:lnTo>
                  <a:pt x="2293" y="1442"/>
                </a:lnTo>
                <a:lnTo>
                  <a:pt x="2290" y="1443"/>
                </a:lnTo>
                <a:lnTo>
                  <a:pt x="2286" y="1443"/>
                </a:lnTo>
                <a:lnTo>
                  <a:pt x="2283" y="1442"/>
                </a:lnTo>
                <a:lnTo>
                  <a:pt x="2281" y="1441"/>
                </a:lnTo>
                <a:lnTo>
                  <a:pt x="2280" y="1440"/>
                </a:lnTo>
                <a:lnTo>
                  <a:pt x="2278" y="1439"/>
                </a:lnTo>
                <a:lnTo>
                  <a:pt x="2276" y="1436"/>
                </a:lnTo>
                <a:lnTo>
                  <a:pt x="2274" y="1434"/>
                </a:lnTo>
                <a:lnTo>
                  <a:pt x="2273" y="1431"/>
                </a:lnTo>
                <a:lnTo>
                  <a:pt x="2273" y="1428"/>
                </a:lnTo>
                <a:lnTo>
                  <a:pt x="2273" y="1425"/>
                </a:lnTo>
                <a:lnTo>
                  <a:pt x="2274" y="1422"/>
                </a:lnTo>
                <a:lnTo>
                  <a:pt x="2275" y="1419"/>
                </a:lnTo>
                <a:lnTo>
                  <a:pt x="2277" y="1417"/>
                </a:lnTo>
                <a:lnTo>
                  <a:pt x="2279" y="1415"/>
                </a:lnTo>
                <a:lnTo>
                  <a:pt x="2281" y="1414"/>
                </a:lnTo>
                <a:close/>
                <a:moveTo>
                  <a:pt x="2750" y="1129"/>
                </a:moveTo>
                <a:lnTo>
                  <a:pt x="2753" y="1128"/>
                </a:lnTo>
                <a:lnTo>
                  <a:pt x="2756" y="1127"/>
                </a:lnTo>
                <a:lnTo>
                  <a:pt x="2759" y="1127"/>
                </a:lnTo>
                <a:lnTo>
                  <a:pt x="2762" y="1127"/>
                </a:lnTo>
                <a:lnTo>
                  <a:pt x="2765" y="1128"/>
                </a:lnTo>
                <a:lnTo>
                  <a:pt x="2767" y="1130"/>
                </a:lnTo>
                <a:lnTo>
                  <a:pt x="2769" y="1132"/>
                </a:lnTo>
                <a:lnTo>
                  <a:pt x="2771" y="1134"/>
                </a:lnTo>
                <a:lnTo>
                  <a:pt x="2773" y="1137"/>
                </a:lnTo>
                <a:lnTo>
                  <a:pt x="2773" y="1140"/>
                </a:lnTo>
                <a:lnTo>
                  <a:pt x="2773" y="1145"/>
                </a:lnTo>
                <a:lnTo>
                  <a:pt x="2772" y="1149"/>
                </a:lnTo>
                <a:lnTo>
                  <a:pt x="2769" y="1153"/>
                </a:lnTo>
                <a:lnTo>
                  <a:pt x="2768" y="1154"/>
                </a:lnTo>
                <a:lnTo>
                  <a:pt x="2766" y="1156"/>
                </a:lnTo>
                <a:lnTo>
                  <a:pt x="2763" y="1157"/>
                </a:lnTo>
                <a:lnTo>
                  <a:pt x="2760" y="1158"/>
                </a:lnTo>
                <a:lnTo>
                  <a:pt x="2757" y="1158"/>
                </a:lnTo>
                <a:lnTo>
                  <a:pt x="2754" y="1157"/>
                </a:lnTo>
                <a:lnTo>
                  <a:pt x="2751" y="1156"/>
                </a:lnTo>
                <a:lnTo>
                  <a:pt x="2749" y="1155"/>
                </a:lnTo>
                <a:lnTo>
                  <a:pt x="2747" y="1153"/>
                </a:lnTo>
                <a:lnTo>
                  <a:pt x="2745" y="1151"/>
                </a:lnTo>
                <a:lnTo>
                  <a:pt x="2743" y="1148"/>
                </a:lnTo>
                <a:lnTo>
                  <a:pt x="2743" y="1145"/>
                </a:lnTo>
                <a:lnTo>
                  <a:pt x="2743" y="1140"/>
                </a:lnTo>
                <a:lnTo>
                  <a:pt x="2744" y="1136"/>
                </a:lnTo>
                <a:lnTo>
                  <a:pt x="2747" y="1132"/>
                </a:lnTo>
                <a:lnTo>
                  <a:pt x="2748" y="1130"/>
                </a:lnTo>
                <a:lnTo>
                  <a:pt x="2750" y="1129"/>
                </a:lnTo>
                <a:close/>
                <a:moveTo>
                  <a:pt x="2610" y="1161"/>
                </a:moveTo>
                <a:lnTo>
                  <a:pt x="2614" y="1160"/>
                </a:lnTo>
                <a:lnTo>
                  <a:pt x="2617" y="1159"/>
                </a:lnTo>
                <a:lnTo>
                  <a:pt x="2620" y="1159"/>
                </a:lnTo>
                <a:lnTo>
                  <a:pt x="2623" y="1160"/>
                </a:lnTo>
                <a:lnTo>
                  <a:pt x="2625" y="1161"/>
                </a:lnTo>
                <a:lnTo>
                  <a:pt x="2628" y="1163"/>
                </a:lnTo>
                <a:lnTo>
                  <a:pt x="2630" y="1165"/>
                </a:lnTo>
                <a:lnTo>
                  <a:pt x="2632" y="1167"/>
                </a:lnTo>
                <a:lnTo>
                  <a:pt x="2633" y="1170"/>
                </a:lnTo>
                <a:lnTo>
                  <a:pt x="2634" y="1176"/>
                </a:lnTo>
                <a:lnTo>
                  <a:pt x="2633" y="1178"/>
                </a:lnTo>
                <a:lnTo>
                  <a:pt x="2633" y="1181"/>
                </a:lnTo>
                <a:lnTo>
                  <a:pt x="2631" y="1183"/>
                </a:lnTo>
                <a:lnTo>
                  <a:pt x="2630" y="1185"/>
                </a:lnTo>
                <a:lnTo>
                  <a:pt x="2628" y="1187"/>
                </a:lnTo>
                <a:lnTo>
                  <a:pt x="2626" y="1188"/>
                </a:lnTo>
                <a:lnTo>
                  <a:pt x="2623" y="1190"/>
                </a:lnTo>
                <a:lnTo>
                  <a:pt x="2620" y="1190"/>
                </a:lnTo>
                <a:lnTo>
                  <a:pt x="2617" y="1190"/>
                </a:lnTo>
                <a:lnTo>
                  <a:pt x="2614" y="1190"/>
                </a:lnTo>
                <a:lnTo>
                  <a:pt x="2611" y="1189"/>
                </a:lnTo>
                <a:lnTo>
                  <a:pt x="2608" y="1187"/>
                </a:lnTo>
                <a:lnTo>
                  <a:pt x="2606" y="1185"/>
                </a:lnTo>
                <a:lnTo>
                  <a:pt x="2605" y="1182"/>
                </a:lnTo>
                <a:lnTo>
                  <a:pt x="2603" y="1180"/>
                </a:lnTo>
                <a:lnTo>
                  <a:pt x="2603" y="1174"/>
                </a:lnTo>
                <a:lnTo>
                  <a:pt x="2603" y="1172"/>
                </a:lnTo>
                <a:lnTo>
                  <a:pt x="2604" y="1169"/>
                </a:lnTo>
                <a:lnTo>
                  <a:pt x="2605" y="1167"/>
                </a:lnTo>
                <a:lnTo>
                  <a:pt x="2606" y="1165"/>
                </a:lnTo>
                <a:lnTo>
                  <a:pt x="2608" y="1163"/>
                </a:lnTo>
                <a:lnTo>
                  <a:pt x="2610" y="1161"/>
                </a:lnTo>
                <a:close/>
                <a:moveTo>
                  <a:pt x="2358" y="1295"/>
                </a:moveTo>
                <a:lnTo>
                  <a:pt x="2360" y="1293"/>
                </a:lnTo>
                <a:lnTo>
                  <a:pt x="2362" y="1293"/>
                </a:lnTo>
                <a:lnTo>
                  <a:pt x="2365" y="1292"/>
                </a:lnTo>
                <a:lnTo>
                  <a:pt x="2367" y="1293"/>
                </a:lnTo>
                <a:lnTo>
                  <a:pt x="2370" y="1293"/>
                </a:lnTo>
                <a:lnTo>
                  <a:pt x="2372" y="1294"/>
                </a:lnTo>
                <a:lnTo>
                  <a:pt x="2375" y="1295"/>
                </a:lnTo>
                <a:lnTo>
                  <a:pt x="2377" y="1297"/>
                </a:lnTo>
                <a:lnTo>
                  <a:pt x="2379" y="1299"/>
                </a:lnTo>
                <a:lnTo>
                  <a:pt x="2380" y="1302"/>
                </a:lnTo>
                <a:lnTo>
                  <a:pt x="2381" y="1305"/>
                </a:lnTo>
                <a:lnTo>
                  <a:pt x="2381" y="1308"/>
                </a:lnTo>
                <a:lnTo>
                  <a:pt x="2381" y="1311"/>
                </a:lnTo>
                <a:lnTo>
                  <a:pt x="2380" y="1314"/>
                </a:lnTo>
                <a:lnTo>
                  <a:pt x="2378" y="1317"/>
                </a:lnTo>
                <a:lnTo>
                  <a:pt x="2376" y="1319"/>
                </a:lnTo>
                <a:lnTo>
                  <a:pt x="2373" y="1321"/>
                </a:lnTo>
                <a:lnTo>
                  <a:pt x="2371" y="1323"/>
                </a:lnTo>
                <a:lnTo>
                  <a:pt x="2369" y="1323"/>
                </a:lnTo>
                <a:lnTo>
                  <a:pt x="2366" y="1324"/>
                </a:lnTo>
                <a:lnTo>
                  <a:pt x="2364" y="1323"/>
                </a:lnTo>
                <a:lnTo>
                  <a:pt x="2361" y="1323"/>
                </a:lnTo>
                <a:lnTo>
                  <a:pt x="2359" y="1322"/>
                </a:lnTo>
                <a:lnTo>
                  <a:pt x="2357" y="1321"/>
                </a:lnTo>
                <a:lnTo>
                  <a:pt x="2354" y="1319"/>
                </a:lnTo>
                <a:lnTo>
                  <a:pt x="2352" y="1316"/>
                </a:lnTo>
                <a:lnTo>
                  <a:pt x="2351" y="1314"/>
                </a:lnTo>
                <a:lnTo>
                  <a:pt x="2350" y="1311"/>
                </a:lnTo>
                <a:lnTo>
                  <a:pt x="2350" y="1308"/>
                </a:lnTo>
                <a:lnTo>
                  <a:pt x="2350" y="1305"/>
                </a:lnTo>
                <a:lnTo>
                  <a:pt x="2351" y="1302"/>
                </a:lnTo>
                <a:lnTo>
                  <a:pt x="2353" y="1299"/>
                </a:lnTo>
                <a:lnTo>
                  <a:pt x="2355" y="1297"/>
                </a:lnTo>
                <a:lnTo>
                  <a:pt x="2358" y="1295"/>
                </a:lnTo>
                <a:close/>
                <a:moveTo>
                  <a:pt x="2476" y="1214"/>
                </a:moveTo>
                <a:lnTo>
                  <a:pt x="2480" y="1212"/>
                </a:lnTo>
                <a:lnTo>
                  <a:pt x="2483" y="1212"/>
                </a:lnTo>
                <a:lnTo>
                  <a:pt x="2486" y="1212"/>
                </a:lnTo>
                <a:lnTo>
                  <a:pt x="2489" y="1213"/>
                </a:lnTo>
                <a:lnTo>
                  <a:pt x="2492" y="1214"/>
                </a:lnTo>
                <a:lnTo>
                  <a:pt x="2494" y="1215"/>
                </a:lnTo>
                <a:lnTo>
                  <a:pt x="2497" y="1218"/>
                </a:lnTo>
                <a:lnTo>
                  <a:pt x="2498" y="1220"/>
                </a:lnTo>
                <a:lnTo>
                  <a:pt x="2499" y="1223"/>
                </a:lnTo>
                <a:lnTo>
                  <a:pt x="2500" y="1226"/>
                </a:lnTo>
                <a:lnTo>
                  <a:pt x="2500" y="1229"/>
                </a:lnTo>
                <a:lnTo>
                  <a:pt x="2499" y="1232"/>
                </a:lnTo>
                <a:lnTo>
                  <a:pt x="2498" y="1234"/>
                </a:lnTo>
                <a:lnTo>
                  <a:pt x="2496" y="1237"/>
                </a:lnTo>
                <a:lnTo>
                  <a:pt x="2494" y="1239"/>
                </a:lnTo>
                <a:lnTo>
                  <a:pt x="2492" y="1241"/>
                </a:lnTo>
                <a:lnTo>
                  <a:pt x="2489" y="1242"/>
                </a:lnTo>
                <a:lnTo>
                  <a:pt x="2485" y="1242"/>
                </a:lnTo>
                <a:lnTo>
                  <a:pt x="2482" y="1242"/>
                </a:lnTo>
                <a:lnTo>
                  <a:pt x="2479" y="1242"/>
                </a:lnTo>
                <a:lnTo>
                  <a:pt x="2476" y="1241"/>
                </a:lnTo>
                <a:lnTo>
                  <a:pt x="2474" y="1239"/>
                </a:lnTo>
                <a:lnTo>
                  <a:pt x="2472" y="1237"/>
                </a:lnTo>
                <a:lnTo>
                  <a:pt x="2470" y="1234"/>
                </a:lnTo>
                <a:lnTo>
                  <a:pt x="2469" y="1231"/>
                </a:lnTo>
                <a:lnTo>
                  <a:pt x="2469" y="1228"/>
                </a:lnTo>
                <a:lnTo>
                  <a:pt x="2469" y="1225"/>
                </a:lnTo>
                <a:lnTo>
                  <a:pt x="2469" y="1223"/>
                </a:lnTo>
                <a:lnTo>
                  <a:pt x="2470" y="1220"/>
                </a:lnTo>
                <a:lnTo>
                  <a:pt x="2472" y="1218"/>
                </a:lnTo>
                <a:lnTo>
                  <a:pt x="2474" y="1215"/>
                </a:lnTo>
                <a:lnTo>
                  <a:pt x="2476" y="1214"/>
                </a:lnTo>
                <a:close/>
                <a:moveTo>
                  <a:pt x="4755" y="2104"/>
                </a:moveTo>
                <a:lnTo>
                  <a:pt x="4757" y="2103"/>
                </a:lnTo>
                <a:lnTo>
                  <a:pt x="4759" y="2103"/>
                </a:lnTo>
                <a:lnTo>
                  <a:pt x="4762" y="2102"/>
                </a:lnTo>
                <a:lnTo>
                  <a:pt x="4766" y="2102"/>
                </a:lnTo>
                <a:lnTo>
                  <a:pt x="4770" y="2104"/>
                </a:lnTo>
                <a:lnTo>
                  <a:pt x="4773" y="2106"/>
                </a:lnTo>
                <a:lnTo>
                  <a:pt x="4775" y="2108"/>
                </a:lnTo>
                <a:lnTo>
                  <a:pt x="4776" y="2111"/>
                </a:lnTo>
                <a:lnTo>
                  <a:pt x="4778" y="2113"/>
                </a:lnTo>
                <a:lnTo>
                  <a:pt x="4778" y="2116"/>
                </a:lnTo>
                <a:lnTo>
                  <a:pt x="4778" y="2119"/>
                </a:lnTo>
                <a:lnTo>
                  <a:pt x="4777" y="2122"/>
                </a:lnTo>
                <a:lnTo>
                  <a:pt x="4776" y="2125"/>
                </a:lnTo>
                <a:lnTo>
                  <a:pt x="4774" y="2128"/>
                </a:lnTo>
                <a:lnTo>
                  <a:pt x="4770" y="2131"/>
                </a:lnTo>
                <a:lnTo>
                  <a:pt x="4769" y="2132"/>
                </a:lnTo>
                <a:lnTo>
                  <a:pt x="4767" y="2132"/>
                </a:lnTo>
                <a:lnTo>
                  <a:pt x="4763" y="2133"/>
                </a:lnTo>
                <a:lnTo>
                  <a:pt x="4759" y="2132"/>
                </a:lnTo>
                <a:lnTo>
                  <a:pt x="4755" y="2131"/>
                </a:lnTo>
                <a:lnTo>
                  <a:pt x="4752" y="2129"/>
                </a:lnTo>
                <a:lnTo>
                  <a:pt x="4750" y="2127"/>
                </a:lnTo>
                <a:lnTo>
                  <a:pt x="4749" y="2124"/>
                </a:lnTo>
                <a:lnTo>
                  <a:pt x="4748" y="2121"/>
                </a:lnTo>
                <a:lnTo>
                  <a:pt x="4747" y="2119"/>
                </a:lnTo>
                <a:lnTo>
                  <a:pt x="4747" y="2116"/>
                </a:lnTo>
                <a:lnTo>
                  <a:pt x="4748" y="2113"/>
                </a:lnTo>
                <a:lnTo>
                  <a:pt x="4749" y="2110"/>
                </a:lnTo>
                <a:lnTo>
                  <a:pt x="4752" y="2107"/>
                </a:lnTo>
                <a:lnTo>
                  <a:pt x="4755" y="2104"/>
                </a:lnTo>
                <a:close/>
                <a:moveTo>
                  <a:pt x="4630" y="2033"/>
                </a:moveTo>
                <a:lnTo>
                  <a:pt x="4633" y="2032"/>
                </a:lnTo>
                <a:lnTo>
                  <a:pt x="4637" y="2031"/>
                </a:lnTo>
                <a:lnTo>
                  <a:pt x="4641" y="2031"/>
                </a:lnTo>
                <a:lnTo>
                  <a:pt x="4645" y="2033"/>
                </a:lnTo>
                <a:lnTo>
                  <a:pt x="4647" y="2035"/>
                </a:lnTo>
                <a:lnTo>
                  <a:pt x="4650" y="2037"/>
                </a:lnTo>
                <a:lnTo>
                  <a:pt x="4651" y="2040"/>
                </a:lnTo>
                <a:lnTo>
                  <a:pt x="4652" y="2042"/>
                </a:lnTo>
                <a:lnTo>
                  <a:pt x="4653" y="2045"/>
                </a:lnTo>
                <a:lnTo>
                  <a:pt x="4653" y="2048"/>
                </a:lnTo>
                <a:lnTo>
                  <a:pt x="4652" y="2051"/>
                </a:lnTo>
                <a:lnTo>
                  <a:pt x="4651" y="2054"/>
                </a:lnTo>
                <a:lnTo>
                  <a:pt x="4648" y="2057"/>
                </a:lnTo>
                <a:lnTo>
                  <a:pt x="4645" y="2060"/>
                </a:lnTo>
                <a:lnTo>
                  <a:pt x="4641" y="2061"/>
                </a:lnTo>
                <a:lnTo>
                  <a:pt x="4638" y="2062"/>
                </a:lnTo>
                <a:lnTo>
                  <a:pt x="4634" y="2061"/>
                </a:lnTo>
                <a:lnTo>
                  <a:pt x="4630" y="2060"/>
                </a:lnTo>
                <a:lnTo>
                  <a:pt x="4627" y="2058"/>
                </a:lnTo>
                <a:lnTo>
                  <a:pt x="4625" y="2056"/>
                </a:lnTo>
                <a:lnTo>
                  <a:pt x="4624" y="2053"/>
                </a:lnTo>
                <a:lnTo>
                  <a:pt x="4623" y="2051"/>
                </a:lnTo>
                <a:lnTo>
                  <a:pt x="4622" y="2048"/>
                </a:lnTo>
                <a:lnTo>
                  <a:pt x="4622" y="2045"/>
                </a:lnTo>
                <a:lnTo>
                  <a:pt x="4623" y="2042"/>
                </a:lnTo>
                <a:lnTo>
                  <a:pt x="4624" y="2039"/>
                </a:lnTo>
                <a:lnTo>
                  <a:pt x="4626" y="2036"/>
                </a:lnTo>
                <a:lnTo>
                  <a:pt x="4630" y="2033"/>
                </a:lnTo>
                <a:close/>
                <a:moveTo>
                  <a:pt x="4504" y="1963"/>
                </a:moveTo>
                <a:lnTo>
                  <a:pt x="4507" y="1962"/>
                </a:lnTo>
                <a:lnTo>
                  <a:pt x="4511" y="1961"/>
                </a:lnTo>
                <a:lnTo>
                  <a:pt x="4513" y="1961"/>
                </a:lnTo>
                <a:lnTo>
                  <a:pt x="4515" y="1961"/>
                </a:lnTo>
                <a:lnTo>
                  <a:pt x="4519" y="1963"/>
                </a:lnTo>
                <a:lnTo>
                  <a:pt x="4522" y="1965"/>
                </a:lnTo>
                <a:lnTo>
                  <a:pt x="4524" y="1967"/>
                </a:lnTo>
                <a:lnTo>
                  <a:pt x="4525" y="1968"/>
                </a:lnTo>
                <a:lnTo>
                  <a:pt x="4525" y="1969"/>
                </a:lnTo>
                <a:lnTo>
                  <a:pt x="4526" y="1972"/>
                </a:lnTo>
                <a:lnTo>
                  <a:pt x="4527" y="1975"/>
                </a:lnTo>
                <a:lnTo>
                  <a:pt x="4527" y="1978"/>
                </a:lnTo>
                <a:lnTo>
                  <a:pt x="4526" y="1981"/>
                </a:lnTo>
                <a:lnTo>
                  <a:pt x="4525" y="1984"/>
                </a:lnTo>
                <a:lnTo>
                  <a:pt x="4523" y="1987"/>
                </a:lnTo>
                <a:lnTo>
                  <a:pt x="4519" y="1990"/>
                </a:lnTo>
                <a:lnTo>
                  <a:pt x="4516" y="1991"/>
                </a:lnTo>
                <a:lnTo>
                  <a:pt x="4512" y="1992"/>
                </a:lnTo>
                <a:lnTo>
                  <a:pt x="4510" y="1992"/>
                </a:lnTo>
                <a:lnTo>
                  <a:pt x="4508" y="1991"/>
                </a:lnTo>
                <a:lnTo>
                  <a:pt x="4504" y="1990"/>
                </a:lnTo>
                <a:lnTo>
                  <a:pt x="4502" y="1988"/>
                </a:lnTo>
                <a:lnTo>
                  <a:pt x="4500" y="1986"/>
                </a:lnTo>
                <a:lnTo>
                  <a:pt x="4499" y="1985"/>
                </a:lnTo>
                <a:lnTo>
                  <a:pt x="4498" y="1983"/>
                </a:lnTo>
                <a:lnTo>
                  <a:pt x="4497" y="1981"/>
                </a:lnTo>
                <a:lnTo>
                  <a:pt x="4496" y="1978"/>
                </a:lnTo>
                <a:lnTo>
                  <a:pt x="4496" y="1975"/>
                </a:lnTo>
                <a:lnTo>
                  <a:pt x="4497" y="1972"/>
                </a:lnTo>
                <a:lnTo>
                  <a:pt x="4498" y="1969"/>
                </a:lnTo>
                <a:lnTo>
                  <a:pt x="4501" y="1966"/>
                </a:lnTo>
                <a:lnTo>
                  <a:pt x="4504" y="1963"/>
                </a:lnTo>
                <a:close/>
                <a:moveTo>
                  <a:pt x="4377" y="1894"/>
                </a:moveTo>
                <a:lnTo>
                  <a:pt x="4379" y="1893"/>
                </a:lnTo>
                <a:lnTo>
                  <a:pt x="4381" y="1893"/>
                </a:lnTo>
                <a:lnTo>
                  <a:pt x="4385" y="1892"/>
                </a:lnTo>
                <a:lnTo>
                  <a:pt x="4387" y="1892"/>
                </a:lnTo>
                <a:lnTo>
                  <a:pt x="4389" y="1893"/>
                </a:lnTo>
                <a:lnTo>
                  <a:pt x="4392" y="1894"/>
                </a:lnTo>
                <a:lnTo>
                  <a:pt x="4395" y="1896"/>
                </a:lnTo>
                <a:lnTo>
                  <a:pt x="4397" y="1898"/>
                </a:lnTo>
                <a:lnTo>
                  <a:pt x="4399" y="1900"/>
                </a:lnTo>
                <a:lnTo>
                  <a:pt x="4400" y="1903"/>
                </a:lnTo>
                <a:lnTo>
                  <a:pt x="4400" y="1906"/>
                </a:lnTo>
                <a:lnTo>
                  <a:pt x="4400" y="1909"/>
                </a:lnTo>
                <a:lnTo>
                  <a:pt x="4400" y="1912"/>
                </a:lnTo>
                <a:lnTo>
                  <a:pt x="4399" y="1915"/>
                </a:lnTo>
                <a:lnTo>
                  <a:pt x="4396" y="1918"/>
                </a:lnTo>
                <a:lnTo>
                  <a:pt x="4393" y="1921"/>
                </a:lnTo>
                <a:lnTo>
                  <a:pt x="4391" y="1922"/>
                </a:lnTo>
                <a:lnTo>
                  <a:pt x="4389" y="1922"/>
                </a:lnTo>
                <a:lnTo>
                  <a:pt x="4385" y="1923"/>
                </a:lnTo>
                <a:lnTo>
                  <a:pt x="4384" y="1923"/>
                </a:lnTo>
                <a:lnTo>
                  <a:pt x="4382" y="1923"/>
                </a:lnTo>
                <a:lnTo>
                  <a:pt x="4378" y="1921"/>
                </a:lnTo>
                <a:lnTo>
                  <a:pt x="4375" y="1919"/>
                </a:lnTo>
                <a:lnTo>
                  <a:pt x="4373" y="1917"/>
                </a:lnTo>
                <a:lnTo>
                  <a:pt x="4371" y="1915"/>
                </a:lnTo>
                <a:lnTo>
                  <a:pt x="4370" y="1912"/>
                </a:lnTo>
                <a:lnTo>
                  <a:pt x="4370" y="1909"/>
                </a:lnTo>
                <a:lnTo>
                  <a:pt x="4370" y="1906"/>
                </a:lnTo>
                <a:lnTo>
                  <a:pt x="4370" y="1903"/>
                </a:lnTo>
                <a:lnTo>
                  <a:pt x="4372" y="1900"/>
                </a:lnTo>
                <a:lnTo>
                  <a:pt x="4374" y="1897"/>
                </a:lnTo>
                <a:lnTo>
                  <a:pt x="4377" y="1894"/>
                </a:lnTo>
                <a:close/>
                <a:moveTo>
                  <a:pt x="4250" y="1827"/>
                </a:moveTo>
                <a:lnTo>
                  <a:pt x="4252" y="1827"/>
                </a:lnTo>
                <a:lnTo>
                  <a:pt x="4253" y="1826"/>
                </a:lnTo>
                <a:lnTo>
                  <a:pt x="4257" y="1825"/>
                </a:lnTo>
                <a:lnTo>
                  <a:pt x="4261" y="1826"/>
                </a:lnTo>
                <a:lnTo>
                  <a:pt x="4265" y="1827"/>
                </a:lnTo>
                <a:lnTo>
                  <a:pt x="4267" y="1829"/>
                </a:lnTo>
                <a:lnTo>
                  <a:pt x="4269" y="1831"/>
                </a:lnTo>
                <a:lnTo>
                  <a:pt x="4271" y="1833"/>
                </a:lnTo>
                <a:lnTo>
                  <a:pt x="4272" y="1836"/>
                </a:lnTo>
                <a:lnTo>
                  <a:pt x="4273" y="1839"/>
                </a:lnTo>
                <a:lnTo>
                  <a:pt x="4273" y="1842"/>
                </a:lnTo>
                <a:lnTo>
                  <a:pt x="4272" y="1845"/>
                </a:lnTo>
                <a:lnTo>
                  <a:pt x="4271" y="1848"/>
                </a:lnTo>
                <a:lnTo>
                  <a:pt x="4269" y="1851"/>
                </a:lnTo>
                <a:lnTo>
                  <a:pt x="4265" y="1854"/>
                </a:lnTo>
                <a:lnTo>
                  <a:pt x="4264" y="1855"/>
                </a:lnTo>
                <a:lnTo>
                  <a:pt x="4262" y="1855"/>
                </a:lnTo>
                <a:lnTo>
                  <a:pt x="4258" y="1856"/>
                </a:lnTo>
                <a:lnTo>
                  <a:pt x="4254" y="1856"/>
                </a:lnTo>
                <a:lnTo>
                  <a:pt x="4251" y="1854"/>
                </a:lnTo>
                <a:lnTo>
                  <a:pt x="4248" y="1853"/>
                </a:lnTo>
                <a:lnTo>
                  <a:pt x="4246" y="1851"/>
                </a:lnTo>
                <a:lnTo>
                  <a:pt x="4244" y="1848"/>
                </a:lnTo>
                <a:lnTo>
                  <a:pt x="4243" y="1845"/>
                </a:lnTo>
                <a:lnTo>
                  <a:pt x="4242" y="1840"/>
                </a:lnTo>
                <a:lnTo>
                  <a:pt x="4243" y="1837"/>
                </a:lnTo>
                <a:lnTo>
                  <a:pt x="4244" y="1834"/>
                </a:lnTo>
                <a:lnTo>
                  <a:pt x="4246" y="1830"/>
                </a:lnTo>
                <a:lnTo>
                  <a:pt x="4250" y="1827"/>
                </a:lnTo>
                <a:close/>
                <a:moveTo>
                  <a:pt x="4121" y="1762"/>
                </a:moveTo>
                <a:lnTo>
                  <a:pt x="4125" y="1760"/>
                </a:lnTo>
                <a:lnTo>
                  <a:pt x="4128" y="1760"/>
                </a:lnTo>
                <a:lnTo>
                  <a:pt x="4132" y="1760"/>
                </a:lnTo>
                <a:lnTo>
                  <a:pt x="4136" y="1761"/>
                </a:lnTo>
                <a:lnTo>
                  <a:pt x="4138" y="1763"/>
                </a:lnTo>
                <a:lnTo>
                  <a:pt x="4140" y="1765"/>
                </a:lnTo>
                <a:lnTo>
                  <a:pt x="4142" y="1768"/>
                </a:lnTo>
                <a:lnTo>
                  <a:pt x="4143" y="1770"/>
                </a:lnTo>
                <a:lnTo>
                  <a:pt x="4144" y="1773"/>
                </a:lnTo>
                <a:lnTo>
                  <a:pt x="4144" y="1776"/>
                </a:lnTo>
                <a:lnTo>
                  <a:pt x="4144" y="1779"/>
                </a:lnTo>
                <a:lnTo>
                  <a:pt x="4143" y="1782"/>
                </a:lnTo>
                <a:lnTo>
                  <a:pt x="4141" y="1784"/>
                </a:lnTo>
                <a:lnTo>
                  <a:pt x="4140" y="1787"/>
                </a:lnTo>
                <a:lnTo>
                  <a:pt x="4137" y="1790"/>
                </a:lnTo>
                <a:lnTo>
                  <a:pt x="4133" y="1791"/>
                </a:lnTo>
                <a:lnTo>
                  <a:pt x="4129" y="1792"/>
                </a:lnTo>
                <a:lnTo>
                  <a:pt x="4126" y="1791"/>
                </a:lnTo>
                <a:lnTo>
                  <a:pt x="4122" y="1790"/>
                </a:lnTo>
                <a:lnTo>
                  <a:pt x="4119" y="1788"/>
                </a:lnTo>
                <a:lnTo>
                  <a:pt x="4117" y="1785"/>
                </a:lnTo>
                <a:lnTo>
                  <a:pt x="4116" y="1783"/>
                </a:lnTo>
                <a:lnTo>
                  <a:pt x="4114" y="1780"/>
                </a:lnTo>
                <a:lnTo>
                  <a:pt x="4114" y="1777"/>
                </a:lnTo>
                <a:lnTo>
                  <a:pt x="4113" y="1774"/>
                </a:lnTo>
                <a:lnTo>
                  <a:pt x="4114" y="1771"/>
                </a:lnTo>
                <a:lnTo>
                  <a:pt x="4115" y="1769"/>
                </a:lnTo>
                <a:lnTo>
                  <a:pt x="4116" y="1766"/>
                </a:lnTo>
                <a:lnTo>
                  <a:pt x="4118" y="1765"/>
                </a:lnTo>
                <a:lnTo>
                  <a:pt x="4121" y="1762"/>
                </a:lnTo>
                <a:close/>
                <a:moveTo>
                  <a:pt x="3990" y="1701"/>
                </a:moveTo>
                <a:lnTo>
                  <a:pt x="3993" y="1699"/>
                </a:lnTo>
                <a:lnTo>
                  <a:pt x="3997" y="1699"/>
                </a:lnTo>
                <a:lnTo>
                  <a:pt x="4000" y="1699"/>
                </a:lnTo>
                <a:lnTo>
                  <a:pt x="4004" y="1700"/>
                </a:lnTo>
                <a:lnTo>
                  <a:pt x="4007" y="1702"/>
                </a:lnTo>
                <a:lnTo>
                  <a:pt x="4010" y="1704"/>
                </a:lnTo>
                <a:lnTo>
                  <a:pt x="4012" y="1706"/>
                </a:lnTo>
                <a:lnTo>
                  <a:pt x="4013" y="1709"/>
                </a:lnTo>
                <a:lnTo>
                  <a:pt x="4014" y="1711"/>
                </a:lnTo>
                <a:lnTo>
                  <a:pt x="4014" y="1714"/>
                </a:lnTo>
                <a:lnTo>
                  <a:pt x="4014" y="1717"/>
                </a:lnTo>
                <a:lnTo>
                  <a:pt x="4013" y="1720"/>
                </a:lnTo>
                <a:lnTo>
                  <a:pt x="4011" y="1723"/>
                </a:lnTo>
                <a:lnTo>
                  <a:pt x="4010" y="1724"/>
                </a:lnTo>
                <a:lnTo>
                  <a:pt x="4008" y="1725"/>
                </a:lnTo>
                <a:lnTo>
                  <a:pt x="4007" y="1726"/>
                </a:lnTo>
                <a:lnTo>
                  <a:pt x="4005" y="1727"/>
                </a:lnTo>
                <a:lnTo>
                  <a:pt x="4002" y="1729"/>
                </a:lnTo>
                <a:lnTo>
                  <a:pt x="3998" y="1729"/>
                </a:lnTo>
                <a:lnTo>
                  <a:pt x="3995" y="1729"/>
                </a:lnTo>
                <a:lnTo>
                  <a:pt x="3991" y="1728"/>
                </a:lnTo>
                <a:lnTo>
                  <a:pt x="3988" y="1727"/>
                </a:lnTo>
                <a:lnTo>
                  <a:pt x="3986" y="1725"/>
                </a:lnTo>
                <a:lnTo>
                  <a:pt x="3984" y="1722"/>
                </a:lnTo>
                <a:lnTo>
                  <a:pt x="3983" y="1719"/>
                </a:lnTo>
                <a:lnTo>
                  <a:pt x="3982" y="1717"/>
                </a:lnTo>
                <a:lnTo>
                  <a:pt x="3982" y="1714"/>
                </a:lnTo>
                <a:lnTo>
                  <a:pt x="3982" y="1711"/>
                </a:lnTo>
                <a:lnTo>
                  <a:pt x="3983" y="1708"/>
                </a:lnTo>
                <a:lnTo>
                  <a:pt x="3985" y="1706"/>
                </a:lnTo>
                <a:lnTo>
                  <a:pt x="3986" y="1704"/>
                </a:lnTo>
                <a:lnTo>
                  <a:pt x="3987" y="1703"/>
                </a:lnTo>
                <a:lnTo>
                  <a:pt x="3988" y="1702"/>
                </a:lnTo>
                <a:lnTo>
                  <a:pt x="3990" y="1701"/>
                </a:lnTo>
                <a:close/>
                <a:moveTo>
                  <a:pt x="3858" y="1644"/>
                </a:moveTo>
                <a:lnTo>
                  <a:pt x="3861" y="1642"/>
                </a:lnTo>
                <a:lnTo>
                  <a:pt x="3864" y="1642"/>
                </a:lnTo>
                <a:lnTo>
                  <a:pt x="3868" y="1642"/>
                </a:lnTo>
                <a:lnTo>
                  <a:pt x="3871" y="1643"/>
                </a:lnTo>
                <a:lnTo>
                  <a:pt x="3874" y="1644"/>
                </a:lnTo>
                <a:lnTo>
                  <a:pt x="3876" y="1646"/>
                </a:lnTo>
                <a:lnTo>
                  <a:pt x="3878" y="1649"/>
                </a:lnTo>
                <a:lnTo>
                  <a:pt x="3879" y="1651"/>
                </a:lnTo>
                <a:lnTo>
                  <a:pt x="3880" y="1654"/>
                </a:lnTo>
                <a:lnTo>
                  <a:pt x="3881" y="1657"/>
                </a:lnTo>
                <a:lnTo>
                  <a:pt x="3880" y="1660"/>
                </a:lnTo>
                <a:lnTo>
                  <a:pt x="3879" y="1663"/>
                </a:lnTo>
                <a:lnTo>
                  <a:pt x="3878" y="1665"/>
                </a:lnTo>
                <a:lnTo>
                  <a:pt x="3877" y="1667"/>
                </a:lnTo>
                <a:lnTo>
                  <a:pt x="3875" y="1669"/>
                </a:lnTo>
                <a:lnTo>
                  <a:pt x="3873" y="1670"/>
                </a:lnTo>
                <a:lnTo>
                  <a:pt x="3870" y="1672"/>
                </a:lnTo>
                <a:lnTo>
                  <a:pt x="3866" y="1672"/>
                </a:lnTo>
                <a:lnTo>
                  <a:pt x="3863" y="1672"/>
                </a:lnTo>
                <a:lnTo>
                  <a:pt x="3859" y="1671"/>
                </a:lnTo>
                <a:lnTo>
                  <a:pt x="3857" y="1670"/>
                </a:lnTo>
                <a:lnTo>
                  <a:pt x="3854" y="1668"/>
                </a:lnTo>
                <a:lnTo>
                  <a:pt x="3852" y="1666"/>
                </a:lnTo>
                <a:lnTo>
                  <a:pt x="3851" y="1663"/>
                </a:lnTo>
                <a:lnTo>
                  <a:pt x="3850" y="1660"/>
                </a:lnTo>
                <a:lnTo>
                  <a:pt x="3850" y="1657"/>
                </a:lnTo>
                <a:lnTo>
                  <a:pt x="3850" y="1654"/>
                </a:lnTo>
                <a:lnTo>
                  <a:pt x="3851" y="1651"/>
                </a:lnTo>
                <a:lnTo>
                  <a:pt x="3852" y="1649"/>
                </a:lnTo>
                <a:lnTo>
                  <a:pt x="3854" y="1647"/>
                </a:lnTo>
                <a:lnTo>
                  <a:pt x="3856" y="1645"/>
                </a:lnTo>
                <a:lnTo>
                  <a:pt x="3858" y="1644"/>
                </a:lnTo>
                <a:close/>
                <a:moveTo>
                  <a:pt x="2461" y="2353"/>
                </a:moveTo>
                <a:lnTo>
                  <a:pt x="2464" y="2352"/>
                </a:lnTo>
                <a:lnTo>
                  <a:pt x="2467" y="2351"/>
                </a:lnTo>
                <a:lnTo>
                  <a:pt x="2470" y="2351"/>
                </a:lnTo>
                <a:lnTo>
                  <a:pt x="2473" y="2352"/>
                </a:lnTo>
                <a:lnTo>
                  <a:pt x="2476" y="2353"/>
                </a:lnTo>
                <a:lnTo>
                  <a:pt x="2478" y="2354"/>
                </a:lnTo>
                <a:lnTo>
                  <a:pt x="2481" y="2357"/>
                </a:lnTo>
                <a:lnTo>
                  <a:pt x="2482" y="2359"/>
                </a:lnTo>
                <a:lnTo>
                  <a:pt x="2483" y="2362"/>
                </a:lnTo>
                <a:lnTo>
                  <a:pt x="2484" y="2365"/>
                </a:lnTo>
                <a:lnTo>
                  <a:pt x="2484" y="2368"/>
                </a:lnTo>
                <a:lnTo>
                  <a:pt x="2483" y="2371"/>
                </a:lnTo>
                <a:lnTo>
                  <a:pt x="2482" y="2374"/>
                </a:lnTo>
                <a:lnTo>
                  <a:pt x="2481" y="2376"/>
                </a:lnTo>
                <a:lnTo>
                  <a:pt x="2479" y="2378"/>
                </a:lnTo>
                <a:lnTo>
                  <a:pt x="2476" y="2380"/>
                </a:lnTo>
                <a:lnTo>
                  <a:pt x="2474" y="2381"/>
                </a:lnTo>
                <a:lnTo>
                  <a:pt x="2471" y="2382"/>
                </a:lnTo>
                <a:lnTo>
                  <a:pt x="2467" y="2382"/>
                </a:lnTo>
                <a:lnTo>
                  <a:pt x="2464" y="2381"/>
                </a:lnTo>
                <a:lnTo>
                  <a:pt x="2461" y="2380"/>
                </a:lnTo>
                <a:lnTo>
                  <a:pt x="2459" y="2378"/>
                </a:lnTo>
                <a:lnTo>
                  <a:pt x="2457" y="2376"/>
                </a:lnTo>
                <a:lnTo>
                  <a:pt x="2455" y="2374"/>
                </a:lnTo>
                <a:lnTo>
                  <a:pt x="2454" y="2371"/>
                </a:lnTo>
                <a:lnTo>
                  <a:pt x="2453" y="2368"/>
                </a:lnTo>
                <a:lnTo>
                  <a:pt x="2453" y="2365"/>
                </a:lnTo>
                <a:lnTo>
                  <a:pt x="2454" y="2362"/>
                </a:lnTo>
                <a:lnTo>
                  <a:pt x="2455" y="2359"/>
                </a:lnTo>
                <a:lnTo>
                  <a:pt x="2457" y="2357"/>
                </a:lnTo>
                <a:lnTo>
                  <a:pt x="2459" y="2355"/>
                </a:lnTo>
                <a:lnTo>
                  <a:pt x="2461" y="2353"/>
                </a:lnTo>
                <a:close/>
                <a:moveTo>
                  <a:pt x="3723" y="1593"/>
                </a:moveTo>
                <a:lnTo>
                  <a:pt x="3726" y="1591"/>
                </a:lnTo>
                <a:lnTo>
                  <a:pt x="3729" y="1591"/>
                </a:lnTo>
                <a:lnTo>
                  <a:pt x="3733" y="1591"/>
                </a:lnTo>
                <a:lnTo>
                  <a:pt x="3736" y="1591"/>
                </a:lnTo>
                <a:lnTo>
                  <a:pt x="3739" y="1593"/>
                </a:lnTo>
                <a:lnTo>
                  <a:pt x="3741" y="1595"/>
                </a:lnTo>
                <a:lnTo>
                  <a:pt x="3743" y="1597"/>
                </a:lnTo>
                <a:lnTo>
                  <a:pt x="3745" y="1599"/>
                </a:lnTo>
                <a:lnTo>
                  <a:pt x="3746" y="1602"/>
                </a:lnTo>
                <a:lnTo>
                  <a:pt x="3746" y="1605"/>
                </a:lnTo>
                <a:lnTo>
                  <a:pt x="3745" y="1611"/>
                </a:lnTo>
                <a:lnTo>
                  <a:pt x="3744" y="1614"/>
                </a:lnTo>
                <a:lnTo>
                  <a:pt x="3742" y="1616"/>
                </a:lnTo>
                <a:lnTo>
                  <a:pt x="3741" y="1618"/>
                </a:lnTo>
                <a:lnTo>
                  <a:pt x="3738" y="1619"/>
                </a:lnTo>
                <a:lnTo>
                  <a:pt x="3735" y="1621"/>
                </a:lnTo>
                <a:lnTo>
                  <a:pt x="3732" y="1621"/>
                </a:lnTo>
                <a:lnTo>
                  <a:pt x="3729" y="1621"/>
                </a:lnTo>
                <a:lnTo>
                  <a:pt x="3726" y="1620"/>
                </a:lnTo>
                <a:lnTo>
                  <a:pt x="3723" y="1619"/>
                </a:lnTo>
                <a:lnTo>
                  <a:pt x="3720" y="1617"/>
                </a:lnTo>
                <a:lnTo>
                  <a:pt x="3718" y="1615"/>
                </a:lnTo>
                <a:lnTo>
                  <a:pt x="3717" y="1613"/>
                </a:lnTo>
                <a:lnTo>
                  <a:pt x="3716" y="1610"/>
                </a:lnTo>
                <a:lnTo>
                  <a:pt x="3715" y="1607"/>
                </a:lnTo>
                <a:lnTo>
                  <a:pt x="3716" y="1601"/>
                </a:lnTo>
                <a:lnTo>
                  <a:pt x="3717" y="1598"/>
                </a:lnTo>
                <a:lnTo>
                  <a:pt x="3719" y="1596"/>
                </a:lnTo>
                <a:lnTo>
                  <a:pt x="3721" y="1594"/>
                </a:lnTo>
                <a:lnTo>
                  <a:pt x="3723" y="1593"/>
                </a:lnTo>
                <a:close/>
                <a:moveTo>
                  <a:pt x="2491" y="2213"/>
                </a:moveTo>
                <a:lnTo>
                  <a:pt x="2493" y="2211"/>
                </a:lnTo>
                <a:lnTo>
                  <a:pt x="2496" y="2211"/>
                </a:lnTo>
                <a:lnTo>
                  <a:pt x="2498" y="2210"/>
                </a:lnTo>
                <a:lnTo>
                  <a:pt x="2501" y="2211"/>
                </a:lnTo>
                <a:lnTo>
                  <a:pt x="2504" y="2211"/>
                </a:lnTo>
                <a:lnTo>
                  <a:pt x="2507" y="2213"/>
                </a:lnTo>
                <a:lnTo>
                  <a:pt x="2509" y="2214"/>
                </a:lnTo>
                <a:lnTo>
                  <a:pt x="2511" y="2217"/>
                </a:lnTo>
                <a:lnTo>
                  <a:pt x="2513" y="2219"/>
                </a:lnTo>
                <a:lnTo>
                  <a:pt x="2514" y="2222"/>
                </a:lnTo>
                <a:lnTo>
                  <a:pt x="2514" y="2225"/>
                </a:lnTo>
                <a:lnTo>
                  <a:pt x="2514" y="2228"/>
                </a:lnTo>
                <a:lnTo>
                  <a:pt x="2513" y="2232"/>
                </a:lnTo>
                <a:lnTo>
                  <a:pt x="2512" y="2235"/>
                </a:lnTo>
                <a:lnTo>
                  <a:pt x="2509" y="2237"/>
                </a:lnTo>
                <a:lnTo>
                  <a:pt x="2507" y="2239"/>
                </a:lnTo>
                <a:lnTo>
                  <a:pt x="2504" y="2240"/>
                </a:lnTo>
                <a:lnTo>
                  <a:pt x="2502" y="2241"/>
                </a:lnTo>
                <a:lnTo>
                  <a:pt x="2499" y="2241"/>
                </a:lnTo>
                <a:lnTo>
                  <a:pt x="2497" y="2241"/>
                </a:lnTo>
                <a:lnTo>
                  <a:pt x="2494" y="2240"/>
                </a:lnTo>
                <a:lnTo>
                  <a:pt x="2491" y="2239"/>
                </a:lnTo>
                <a:lnTo>
                  <a:pt x="2489" y="2237"/>
                </a:lnTo>
                <a:lnTo>
                  <a:pt x="2487" y="2235"/>
                </a:lnTo>
                <a:lnTo>
                  <a:pt x="2485" y="2233"/>
                </a:lnTo>
                <a:lnTo>
                  <a:pt x="2484" y="2230"/>
                </a:lnTo>
                <a:lnTo>
                  <a:pt x="2484" y="2227"/>
                </a:lnTo>
                <a:lnTo>
                  <a:pt x="2484" y="2224"/>
                </a:lnTo>
                <a:lnTo>
                  <a:pt x="2485" y="2220"/>
                </a:lnTo>
                <a:lnTo>
                  <a:pt x="2486" y="2217"/>
                </a:lnTo>
                <a:lnTo>
                  <a:pt x="2488" y="2215"/>
                </a:lnTo>
                <a:lnTo>
                  <a:pt x="2491" y="2213"/>
                </a:lnTo>
                <a:close/>
                <a:moveTo>
                  <a:pt x="3586" y="1549"/>
                </a:moveTo>
                <a:lnTo>
                  <a:pt x="3589" y="1548"/>
                </a:lnTo>
                <a:lnTo>
                  <a:pt x="3592" y="1547"/>
                </a:lnTo>
                <a:lnTo>
                  <a:pt x="3595" y="1547"/>
                </a:lnTo>
                <a:lnTo>
                  <a:pt x="3598" y="1547"/>
                </a:lnTo>
                <a:lnTo>
                  <a:pt x="3601" y="1548"/>
                </a:lnTo>
                <a:lnTo>
                  <a:pt x="3603" y="1550"/>
                </a:lnTo>
                <a:lnTo>
                  <a:pt x="3605" y="1552"/>
                </a:lnTo>
                <a:lnTo>
                  <a:pt x="3607" y="1555"/>
                </a:lnTo>
                <a:lnTo>
                  <a:pt x="3608" y="1557"/>
                </a:lnTo>
                <a:lnTo>
                  <a:pt x="3609" y="1560"/>
                </a:lnTo>
                <a:lnTo>
                  <a:pt x="3609" y="1563"/>
                </a:lnTo>
                <a:lnTo>
                  <a:pt x="3608" y="1566"/>
                </a:lnTo>
                <a:lnTo>
                  <a:pt x="3607" y="1569"/>
                </a:lnTo>
                <a:lnTo>
                  <a:pt x="3606" y="1572"/>
                </a:lnTo>
                <a:lnTo>
                  <a:pt x="3604" y="1574"/>
                </a:lnTo>
                <a:lnTo>
                  <a:pt x="3601" y="1575"/>
                </a:lnTo>
                <a:lnTo>
                  <a:pt x="3599" y="1577"/>
                </a:lnTo>
                <a:lnTo>
                  <a:pt x="3596" y="1577"/>
                </a:lnTo>
                <a:lnTo>
                  <a:pt x="3593" y="1577"/>
                </a:lnTo>
                <a:lnTo>
                  <a:pt x="3589" y="1577"/>
                </a:lnTo>
                <a:lnTo>
                  <a:pt x="3587" y="1576"/>
                </a:lnTo>
                <a:lnTo>
                  <a:pt x="3584" y="1574"/>
                </a:lnTo>
                <a:lnTo>
                  <a:pt x="3582" y="1572"/>
                </a:lnTo>
                <a:lnTo>
                  <a:pt x="3580" y="1570"/>
                </a:lnTo>
                <a:lnTo>
                  <a:pt x="3579" y="1567"/>
                </a:lnTo>
                <a:lnTo>
                  <a:pt x="3578" y="1564"/>
                </a:lnTo>
                <a:lnTo>
                  <a:pt x="3578" y="1561"/>
                </a:lnTo>
                <a:lnTo>
                  <a:pt x="3579" y="1558"/>
                </a:lnTo>
                <a:lnTo>
                  <a:pt x="3580" y="1555"/>
                </a:lnTo>
                <a:lnTo>
                  <a:pt x="3582" y="1553"/>
                </a:lnTo>
                <a:lnTo>
                  <a:pt x="3584" y="1550"/>
                </a:lnTo>
                <a:lnTo>
                  <a:pt x="3586" y="1549"/>
                </a:lnTo>
                <a:close/>
                <a:moveTo>
                  <a:pt x="2505" y="2069"/>
                </a:moveTo>
                <a:lnTo>
                  <a:pt x="2509" y="2068"/>
                </a:lnTo>
                <a:lnTo>
                  <a:pt x="2512" y="2067"/>
                </a:lnTo>
                <a:lnTo>
                  <a:pt x="2514" y="2067"/>
                </a:lnTo>
                <a:lnTo>
                  <a:pt x="2520" y="2069"/>
                </a:lnTo>
                <a:lnTo>
                  <a:pt x="2522" y="2070"/>
                </a:lnTo>
                <a:lnTo>
                  <a:pt x="2524" y="2072"/>
                </a:lnTo>
                <a:lnTo>
                  <a:pt x="2526" y="2075"/>
                </a:lnTo>
                <a:lnTo>
                  <a:pt x="2527" y="2078"/>
                </a:lnTo>
                <a:lnTo>
                  <a:pt x="2528" y="2081"/>
                </a:lnTo>
                <a:lnTo>
                  <a:pt x="2528" y="2084"/>
                </a:lnTo>
                <a:lnTo>
                  <a:pt x="2527" y="2087"/>
                </a:lnTo>
                <a:lnTo>
                  <a:pt x="2526" y="2091"/>
                </a:lnTo>
                <a:lnTo>
                  <a:pt x="2524" y="2094"/>
                </a:lnTo>
                <a:lnTo>
                  <a:pt x="2521" y="2096"/>
                </a:lnTo>
                <a:lnTo>
                  <a:pt x="2516" y="2098"/>
                </a:lnTo>
                <a:lnTo>
                  <a:pt x="2514" y="2098"/>
                </a:lnTo>
                <a:lnTo>
                  <a:pt x="2512" y="2098"/>
                </a:lnTo>
                <a:lnTo>
                  <a:pt x="2506" y="2096"/>
                </a:lnTo>
                <a:lnTo>
                  <a:pt x="2503" y="2095"/>
                </a:lnTo>
                <a:lnTo>
                  <a:pt x="2501" y="2093"/>
                </a:lnTo>
                <a:lnTo>
                  <a:pt x="2500" y="2090"/>
                </a:lnTo>
                <a:lnTo>
                  <a:pt x="2498" y="2088"/>
                </a:lnTo>
                <a:lnTo>
                  <a:pt x="2498" y="2085"/>
                </a:lnTo>
                <a:lnTo>
                  <a:pt x="2498" y="2082"/>
                </a:lnTo>
                <a:lnTo>
                  <a:pt x="2498" y="2078"/>
                </a:lnTo>
                <a:lnTo>
                  <a:pt x="2500" y="2074"/>
                </a:lnTo>
                <a:lnTo>
                  <a:pt x="2502" y="2071"/>
                </a:lnTo>
                <a:lnTo>
                  <a:pt x="2505" y="2069"/>
                </a:lnTo>
                <a:close/>
                <a:moveTo>
                  <a:pt x="3446" y="1515"/>
                </a:moveTo>
                <a:lnTo>
                  <a:pt x="3449" y="1514"/>
                </a:lnTo>
                <a:lnTo>
                  <a:pt x="3451" y="1513"/>
                </a:lnTo>
                <a:lnTo>
                  <a:pt x="3457" y="1513"/>
                </a:lnTo>
                <a:lnTo>
                  <a:pt x="3460" y="1514"/>
                </a:lnTo>
                <a:lnTo>
                  <a:pt x="3462" y="1515"/>
                </a:lnTo>
                <a:lnTo>
                  <a:pt x="3465" y="1517"/>
                </a:lnTo>
                <a:lnTo>
                  <a:pt x="3467" y="1520"/>
                </a:lnTo>
                <a:lnTo>
                  <a:pt x="3468" y="1522"/>
                </a:lnTo>
                <a:lnTo>
                  <a:pt x="3469" y="1525"/>
                </a:lnTo>
                <a:lnTo>
                  <a:pt x="3469" y="1528"/>
                </a:lnTo>
                <a:lnTo>
                  <a:pt x="3469" y="1531"/>
                </a:lnTo>
                <a:lnTo>
                  <a:pt x="3468" y="1534"/>
                </a:lnTo>
                <a:lnTo>
                  <a:pt x="3466" y="1537"/>
                </a:lnTo>
                <a:lnTo>
                  <a:pt x="3464" y="1540"/>
                </a:lnTo>
                <a:lnTo>
                  <a:pt x="3462" y="1541"/>
                </a:lnTo>
                <a:lnTo>
                  <a:pt x="3459" y="1543"/>
                </a:lnTo>
                <a:lnTo>
                  <a:pt x="3456" y="1543"/>
                </a:lnTo>
                <a:lnTo>
                  <a:pt x="3451" y="1543"/>
                </a:lnTo>
                <a:lnTo>
                  <a:pt x="3448" y="1542"/>
                </a:lnTo>
                <a:lnTo>
                  <a:pt x="3445" y="1541"/>
                </a:lnTo>
                <a:lnTo>
                  <a:pt x="3443" y="1539"/>
                </a:lnTo>
                <a:lnTo>
                  <a:pt x="3441" y="1537"/>
                </a:lnTo>
                <a:lnTo>
                  <a:pt x="3440" y="1534"/>
                </a:lnTo>
                <a:lnTo>
                  <a:pt x="3439" y="1531"/>
                </a:lnTo>
                <a:lnTo>
                  <a:pt x="3438" y="1528"/>
                </a:lnTo>
                <a:lnTo>
                  <a:pt x="3439" y="1525"/>
                </a:lnTo>
                <a:lnTo>
                  <a:pt x="3440" y="1522"/>
                </a:lnTo>
                <a:lnTo>
                  <a:pt x="3441" y="1519"/>
                </a:lnTo>
                <a:lnTo>
                  <a:pt x="3444" y="1517"/>
                </a:lnTo>
                <a:lnTo>
                  <a:pt x="3446" y="1515"/>
                </a:lnTo>
                <a:close/>
                <a:moveTo>
                  <a:pt x="3304" y="1493"/>
                </a:moveTo>
                <a:lnTo>
                  <a:pt x="3308" y="1491"/>
                </a:lnTo>
                <a:lnTo>
                  <a:pt x="3311" y="1491"/>
                </a:lnTo>
                <a:lnTo>
                  <a:pt x="3313" y="1491"/>
                </a:lnTo>
                <a:lnTo>
                  <a:pt x="3316" y="1492"/>
                </a:lnTo>
                <a:lnTo>
                  <a:pt x="3319" y="1493"/>
                </a:lnTo>
                <a:lnTo>
                  <a:pt x="3321" y="1495"/>
                </a:lnTo>
                <a:lnTo>
                  <a:pt x="3323" y="1497"/>
                </a:lnTo>
                <a:lnTo>
                  <a:pt x="3325" y="1499"/>
                </a:lnTo>
                <a:lnTo>
                  <a:pt x="3326" y="1502"/>
                </a:lnTo>
                <a:lnTo>
                  <a:pt x="3327" y="1505"/>
                </a:lnTo>
                <a:lnTo>
                  <a:pt x="3327" y="1508"/>
                </a:lnTo>
                <a:lnTo>
                  <a:pt x="3326" y="1512"/>
                </a:lnTo>
                <a:lnTo>
                  <a:pt x="3324" y="1515"/>
                </a:lnTo>
                <a:lnTo>
                  <a:pt x="3322" y="1518"/>
                </a:lnTo>
                <a:lnTo>
                  <a:pt x="3319" y="1520"/>
                </a:lnTo>
                <a:lnTo>
                  <a:pt x="3315" y="1522"/>
                </a:lnTo>
                <a:lnTo>
                  <a:pt x="3313" y="1522"/>
                </a:lnTo>
                <a:lnTo>
                  <a:pt x="3310" y="1522"/>
                </a:lnTo>
                <a:lnTo>
                  <a:pt x="3307" y="1521"/>
                </a:lnTo>
                <a:lnTo>
                  <a:pt x="3304" y="1520"/>
                </a:lnTo>
                <a:lnTo>
                  <a:pt x="3302" y="1518"/>
                </a:lnTo>
                <a:lnTo>
                  <a:pt x="3300" y="1516"/>
                </a:lnTo>
                <a:lnTo>
                  <a:pt x="3298" y="1514"/>
                </a:lnTo>
                <a:lnTo>
                  <a:pt x="3297" y="1511"/>
                </a:lnTo>
                <a:lnTo>
                  <a:pt x="3296" y="1508"/>
                </a:lnTo>
                <a:lnTo>
                  <a:pt x="3296" y="1505"/>
                </a:lnTo>
                <a:lnTo>
                  <a:pt x="3297" y="1501"/>
                </a:lnTo>
                <a:lnTo>
                  <a:pt x="3299" y="1498"/>
                </a:lnTo>
                <a:lnTo>
                  <a:pt x="3301" y="1495"/>
                </a:lnTo>
                <a:lnTo>
                  <a:pt x="3304" y="1493"/>
                </a:lnTo>
                <a:close/>
                <a:moveTo>
                  <a:pt x="2517" y="1926"/>
                </a:moveTo>
                <a:lnTo>
                  <a:pt x="2519" y="1925"/>
                </a:lnTo>
                <a:lnTo>
                  <a:pt x="2521" y="1924"/>
                </a:lnTo>
                <a:lnTo>
                  <a:pt x="2524" y="1924"/>
                </a:lnTo>
                <a:lnTo>
                  <a:pt x="2526" y="1924"/>
                </a:lnTo>
                <a:lnTo>
                  <a:pt x="2529" y="1924"/>
                </a:lnTo>
                <a:lnTo>
                  <a:pt x="2532" y="1926"/>
                </a:lnTo>
                <a:lnTo>
                  <a:pt x="2535" y="1927"/>
                </a:lnTo>
                <a:lnTo>
                  <a:pt x="2536" y="1928"/>
                </a:lnTo>
                <a:lnTo>
                  <a:pt x="2537" y="1930"/>
                </a:lnTo>
                <a:lnTo>
                  <a:pt x="2537" y="1931"/>
                </a:lnTo>
                <a:lnTo>
                  <a:pt x="2538" y="1932"/>
                </a:lnTo>
                <a:lnTo>
                  <a:pt x="2539" y="1935"/>
                </a:lnTo>
                <a:lnTo>
                  <a:pt x="2540" y="1938"/>
                </a:lnTo>
                <a:lnTo>
                  <a:pt x="2540" y="1941"/>
                </a:lnTo>
                <a:lnTo>
                  <a:pt x="2539" y="1944"/>
                </a:lnTo>
                <a:lnTo>
                  <a:pt x="2537" y="1948"/>
                </a:lnTo>
                <a:lnTo>
                  <a:pt x="2535" y="1950"/>
                </a:lnTo>
                <a:lnTo>
                  <a:pt x="2532" y="1952"/>
                </a:lnTo>
                <a:lnTo>
                  <a:pt x="2530" y="1953"/>
                </a:lnTo>
                <a:lnTo>
                  <a:pt x="2528" y="1954"/>
                </a:lnTo>
                <a:lnTo>
                  <a:pt x="2525" y="1954"/>
                </a:lnTo>
                <a:lnTo>
                  <a:pt x="2523" y="1954"/>
                </a:lnTo>
                <a:lnTo>
                  <a:pt x="2520" y="1954"/>
                </a:lnTo>
                <a:lnTo>
                  <a:pt x="2517" y="1952"/>
                </a:lnTo>
                <a:lnTo>
                  <a:pt x="2514" y="1951"/>
                </a:lnTo>
                <a:lnTo>
                  <a:pt x="2513" y="1950"/>
                </a:lnTo>
                <a:lnTo>
                  <a:pt x="2512" y="1949"/>
                </a:lnTo>
                <a:lnTo>
                  <a:pt x="2512" y="1947"/>
                </a:lnTo>
                <a:lnTo>
                  <a:pt x="2511" y="1946"/>
                </a:lnTo>
                <a:lnTo>
                  <a:pt x="2510" y="1943"/>
                </a:lnTo>
                <a:lnTo>
                  <a:pt x="2509" y="1940"/>
                </a:lnTo>
                <a:lnTo>
                  <a:pt x="2509" y="1937"/>
                </a:lnTo>
                <a:lnTo>
                  <a:pt x="2510" y="1934"/>
                </a:lnTo>
                <a:lnTo>
                  <a:pt x="2512" y="1930"/>
                </a:lnTo>
                <a:lnTo>
                  <a:pt x="2514" y="1928"/>
                </a:lnTo>
                <a:lnTo>
                  <a:pt x="2517" y="1926"/>
                </a:lnTo>
                <a:close/>
                <a:moveTo>
                  <a:pt x="3160" y="1487"/>
                </a:moveTo>
                <a:lnTo>
                  <a:pt x="3162" y="1486"/>
                </a:lnTo>
                <a:lnTo>
                  <a:pt x="3164" y="1486"/>
                </a:lnTo>
                <a:lnTo>
                  <a:pt x="3168" y="1485"/>
                </a:lnTo>
                <a:lnTo>
                  <a:pt x="3171" y="1485"/>
                </a:lnTo>
                <a:lnTo>
                  <a:pt x="3174" y="1486"/>
                </a:lnTo>
                <a:lnTo>
                  <a:pt x="3176" y="1488"/>
                </a:lnTo>
                <a:lnTo>
                  <a:pt x="3179" y="1490"/>
                </a:lnTo>
                <a:lnTo>
                  <a:pt x="3181" y="1492"/>
                </a:lnTo>
                <a:lnTo>
                  <a:pt x="3182" y="1494"/>
                </a:lnTo>
                <a:lnTo>
                  <a:pt x="3183" y="1497"/>
                </a:lnTo>
                <a:lnTo>
                  <a:pt x="3183" y="1500"/>
                </a:lnTo>
                <a:lnTo>
                  <a:pt x="3183" y="1505"/>
                </a:lnTo>
                <a:lnTo>
                  <a:pt x="3181" y="1508"/>
                </a:lnTo>
                <a:lnTo>
                  <a:pt x="3179" y="1511"/>
                </a:lnTo>
                <a:lnTo>
                  <a:pt x="3176" y="1514"/>
                </a:lnTo>
                <a:lnTo>
                  <a:pt x="3174" y="1515"/>
                </a:lnTo>
                <a:lnTo>
                  <a:pt x="3172" y="1515"/>
                </a:lnTo>
                <a:lnTo>
                  <a:pt x="3168" y="1516"/>
                </a:lnTo>
                <a:lnTo>
                  <a:pt x="3165" y="1516"/>
                </a:lnTo>
                <a:lnTo>
                  <a:pt x="3162" y="1515"/>
                </a:lnTo>
                <a:lnTo>
                  <a:pt x="3160" y="1514"/>
                </a:lnTo>
                <a:lnTo>
                  <a:pt x="3157" y="1512"/>
                </a:lnTo>
                <a:lnTo>
                  <a:pt x="3155" y="1509"/>
                </a:lnTo>
                <a:lnTo>
                  <a:pt x="3154" y="1507"/>
                </a:lnTo>
                <a:lnTo>
                  <a:pt x="3153" y="1504"/>
                </a:lnTo>
                <a:lnTo>
                  <a:pt x="3153" y="1501"/>
                </a:lnTo>
                <a:lnTo>
                  <a:pt x="3153" y="1497"/>
                </a:lnTo>
                <a:lnTo>
                  <a:pt x="3155" y="1493"/>
                </a:lnTo>
                <a:lnTo>
                  <a:pt x="3157" y="1490"/>
                </a:lnTo>
                <a:lnTo>
                  <a:pt x="3160" y="1487"/>
                </a:lnTo>
                <a:close/>
                <a:moveTo>
                  <a:pt x="2548" y="1785"/>
                </a:moveTo>
                <a:lnTo>
                  <a:pt x="2552" y="1784"/>
                </a:lnTo>
                <a:lnTo>
                  <a:pt x="2555" y="1783"/>
                </a:lnTo>
                <a:lnTo>
                  <a:pt x="2558" y="1783"/>
                </a:lnTo>
                <a:lnTo>
                  <a:pt x="2562" y="1784"/>
                </a:lnTo>
                <a:lnTo>
                  <a:pt x="2563" y="1785"/>
                </a:lnTo>
                <a:lnTo>
                  <a:pt x="2564" y="1785"/>
                </a:lnTo>
                <a:lnTo>
                  <a:pt x="2567" y="1788"/>
                </a:lnTo>
                <a:lnTo>
                  <a:pt x="2569" y="1790"/>
                </a:lnTo>
                <a:lnTo>
                  <a:pt x="2570" y="1793"/>
                </a:lnTo>
                <a:lnTo>
                  <a:pt x="2571" y="1796"/>
                </a:lnTo>
                <a:lnTo>
                  <a:pt x="2572" y="1799"/>
                </a:lnTo>
                <a:lnTo>
                  <a:pt x="2571" y="1802"/>
                </a:lnTo>
                <a:lnTo>
                  <a:pt x="2571" y="1805"/>
                </a:lnTo>
                <a:lnTo>
                  <a:pt x="2569" y="1807"/>
                </a:lnTo>
                <a:lnTo>
                  <a:pt x="2568" y="1809"/>
                </a:lnTo>
                <a:lnTo>
                  <a:pt x="2566" y="1811"/>
                </a:lnTo>
                <a:lnTo>
                  <a:pt x="2564" y="1813"/>
                </a:lnTo>
                <a:lnTo>
                  <a:pt x="2561" y="1814"/>
                </a:lnTo>
                <a:lnTo>
                  <a:pt x="2558" y="1815"/>
                </a:lnTo>
                <a:lnTo>
                  <a:pt x="2554" y="1814"/>
                </a:lnTo>
                <a:lnTo>
                  <a:pt x="2551" y="1814"/>
                </a:lnTo>
                <a:lnTo>
                  <a:pt x="2549" y="1813"/>
                </a:lnTo>
                <a:lnTo>
                  <a:pt x="2548" y="1812"/>
                </a:lnTo>
                <a:lnTo>
                  <a:pt x="2546" y="1810"/>
                </a:lnTo>
                <a:lnTo>
                  <a:pt x="2544" y="1808"/>
                </a:lnTo>
                <a:lnTo>
                  <a:pt x="2542" y="1805"/>
                </a:lnTo>
                <a:lnTo>
                  <a:pt x="2541" y="1803"/>
                </a:lnTo>
                <a:lnTo>
                  <a:pt x="2541" y="1800"/>
                </a:lnTo>
                <a:lnTo>
                  <a:pt x="2541" y="1797"/>
                </a:lnTo>
                <a:lnTo>
                  <a:pt x="2542" y="1794"/>
                </a:lnTo>
                <a:lnTo>
                  <a:pt x="2543" y="1791"/>
                </a:lnTo>
                <a:lnTo>
                  <a:pt x="2545" y="1789"/>
                </a:lnTo>
                <a:lnTo>
                  <a:pt x="2546" y="1787"/>
                </a:lnTo>
                <a:lnTo>
                  <a:pt x="2548" y="1785"/>
                </a:lnTo>
                <a:close/>
                <a:moveTo>
                  <a:pt x="3017" y="1500"/>
                </a:moveTo>
                <a:lnTo>
                  <a:pt x="3020" y="1499"/>
                </a:lnTo>
                <a:lnTo>
                  <a:pt x="3022" y="1498"/>
                </a:lnTo>
                <a:lnTo>
                  <a:pt x="3025" y="1498"/>
                </a:lnTo>
                <a:lnTo>
                  <a:pt x="3028" y="1498"/>
                </a:lnTo>
                <a:lnTo>
                  <a:pt x="3031" y="1499"/>
                </a:lnTo>
                <a:lnTo>
                  <a:pt x="3034" y="1501"/>
                </a:lnTo>
                <a:lnTo>
                  <a:pt x="3036" y="1503"/>
                </a:lnTo>
                <a:lnTo>
                  <a:pt x="3038" y="1505"/>
                </a:lnTo>
                <a:lnTo>
                  <a:pt x="3039" y="1508"/>
                </a:lnTo>
                <a:lnTo>
                  <a:pt x="3040" y="1511"/>
                </a:lnTo>
                <a:lnTo>
                  <a:pt x="3040" y="1516"/>
                </a:lnTo>
                <a:lnTo>
                  <a:pt x="3039" y="1520"/>
                </a:lnTo>
                <a:lnTo>
                  <a:pt x="3036" y="1524"/>
                </a:lnTo>
                <a:lnTo>
                  <a:pt x="3032" y="1527"/>
                </a:lnTo>
                <a:lnTo>
                  <a:pt x="3030" y="1528"/>
                </a:lnTo>
                <a:lnTo>
                  <a:pt x="3027" y="1528"/>
                </a:lnTo>
                <a:lnTo>
                  <a:pt x="3024" y="1529"/>
                </a:lnTo>
                <a:lnTo>
                  <a:pt x="3021" y="1528"/>
                </a:lnTo>
                <a:lnTo>
                  <a:pt x="3018" y="1527"/>
                </a:lnTo>
                <a:lnTo>
                  <a:pt x="3016" y="1526"/>
                </a:lnTo>
                <a:lnTo>
                  <a:pt x="3013" y="1524"/>
                </a:lnTo>
                <a:lnTo>
                  <a:pt x="3012" y="1521"/>
                </a:lnTo>
                <a:lnTo>
                  <a:pt x="3010" y="1519"/>
                </a:lnTo>
                <a:lnTo>
                  <a:pt x="3010" y="1516"/>
                </a:lnTo>
                <a:lnTo>
                  <a:pt x="3010" y="1511"/>
                </a:lnTo>
                <a:lnTo>
                  <a:pt x="3011" y="1506"/>
                </a:lnTo>
                <a:lnTo>
                  <a:pt x="3013" y="1503"/>
                </a:lnTo>
                <a:lnTo>
                  <a:pt x="3017" y="1500"/>
                </a:lnTo>
                <a:close/>
                <a:moveTo>
                  <a:pt x="2877" y="1532"/>
                </a:moveTo>
                <a:lnTo>
                  <a:pt x="2880" y="1531"/>
                </a:lnTo>
                <a:lnTo>
                  <a:pt x="2883" y="1530"/>
                </a:lnTo>
                <a:lnTo>
                  <a:pt x="2886" y="1530"/>
                </a:lnTo>
                <a:lnTo>
                  <a:pt x="2889" y="1531"/>
                </a:lnTo>
                <a:lnTo>
                  <a:pt x="2892" y="1532"/>
                </a:lnTo>
                <a:lnTo>
                  <a:pt x="2894" y="1534"/>
                </a:lnTo>
                <a:lnTo>
                  <a:pt x="2897" y="1536"/>
                </a:lnTo>
                <a:lnTo>
                  <a:pt x="2898" y="1538"/>
                </a:lnTo>
                <a:lnTo>
                  <a:pt x="2900" y="1541"/>
                </a:lnTo>
                <a:lnTo>
                  <a:pt x="2900" y="1546"/>
                </a:lnTo>
                <a:lnTo>
                  <a:pt x="2900" y="1549"/>
                </a:lnTo>
                <a:lnTo>
                  <a:pt x="2899" y="1551"/>
                </a:lnTo>
                <a:lnTo>
                  <a:pt x="2897" y="1556"/>
                </a:lnTo>
                <a:lnTo>
                  <a:pt x="2895" y="1558"/>
                </a:lnTo>
                <a:lnTo>
                  <a:pt x="2893" y="1559"/>
                </a:lnTo>
                <a:lnTo>
                  <a:pt x="2889" y="1560"/>
                </a:lnTo>
                <a:lnTo>
                  <a:pt x="2886" y="1561"/>
                </a:lnTo>
                <a:lnTo>
                  <a:pt x="2883" y="1561"/>
                </a:lnTo>
                <a:lnTo>
                  <a:pt x="2880" y="1561"/>
                </a:lnTo>
                <a:lnTo>
                  <a:pt x="2878" y="1559"/>
                </a:lnTo>
                <a:lnTo>
                  <a:pt x="2875" y="1558"/>
                </a:lnTo>
                <a:lnTo>
                  <a:pt x="2873" y="1556"/>
                </a:lnTo>
                <a:lnTo>
                  <a:pt x="2871" y="1553"/>
                </a:lnTo>
                <a:lnTo>
                  <a:pt x="2870" y="1550"/>
                </a:lnTo>
                <a:lnTo>
                  <a:pt x="2869" y="1545"/>
                </a:lnTo>
                <a:lnTo>
                  <a:pt x="2870" y="1543"/>
                </a:lnTo>
                <a:lnTo>
                  <a:pt x="2871" y="1540"/>
                </a:lnTo>
                <a:lnTo>
                  <a:pt x="2872" y="1538"/>
                </a:lnTo>
                <a:lnTo>
                  <a:pt x="2873" y="1536"/>
                </a:lnTo>
                <a:lnTo>
                  <a:pt x="2875" y="1534"/>
                </a:lnTo>
                <a:lnTo>
                  <a:pt x="2877" y="1532"/>
                </a:lnTo>
                <a:close/>
                <a:moveTo>
                  <a:pt x="2626" y="1666"/>
                </a:moveTo>
                <a:lnTo>
                  <a:pt x="2628" y="1664"/>
                </a:lnTo>
                <a:lnTo>
                  <a:pt x="2630" y="1664"/>
                </a:lnTo>
                <a:lnTo>
                  <a:pt x="2633" y="1664"/>
                </a:lnTo>
                <a:lnTo>
                  <a:pt x="2635" y="1664"/>
                </a:lnTo>
                <a:lnTo>
                  <a:pt x="2638" y="1664"/>
                </a:lnTo>
                <a:lnTo>
                  <a:pt x="2640" y="1665"/>
                </a:lnTo>
                <a:lnTo>
                  <a:pt x="2642" y="1666"/>
                </a:lnTo>
                <a:lnTo>
                  <a:pt x="2644" y="1668"/>
                </a:lnTo>
                <a:lnTo>
                  <a:pt x="2646" y="1670"/>
                </a:lnTo>
                <a:lnTo>
                  <a:pt x="2648" y="1673"/>
                </a:lnTo>
                <a:lnTo>
                  <a:pt x="2648" y="1676"/>
                </a:lnTo>
                <a:lnTo>
                  <a:pt x="2649" y="1679"/>
                </a:lnTo>
                <a:lnTo>
                  <a:pt x="2648" y="1682"/>
                </a:lnTo>
                <a:lnTo>
                  <a:pt x="2647" y="1685"/>
                </a:lnTo>
                <a:lnTo>
                  <a:pt x="2646" y="1687"/>
                </a:lnTo>
                <a:lnTo>
                  <a:pt x="2644" y="1690"/>
                </a:lnTo>
                <a:lnTo>
                  <a:pt x="2641" y="1692"/>
                </a:lnTo>
                <a:lnTo>
                  <a:pt x="2639" y="1693"/>
                </a:lnTo>
                <a:lnTo>
                  <a:pt x="2636" y="1694"/>
                </a:lnTo>
                <a:lnTo>
                  <a:pt x="2634" y="1694"/>
                </a:lnTo>
                <a:lnTo>
                  <a:pt x="2631" y="1694"/>
                </a:lnTo>
                <a:lnTo>
                  <a:pt x="2629" y="1694"/>
                </a:lnTo>
                <a:lnTo>
                  <a:pt x="2627" y="1693"/>
                </a:lnTo>
                <a:lnTo>
                  <a:pt x="2624" y="1691"/>
                </a:lnTo>
                <a:lnTo>
                  <a:pt x="2622" y="1690"/>
                </a:lnTo>
                <a:lnTo>
                  <a:pt x="2620" y="1687"/>
                </a:lnTo>
                <a:lnTo>
                  <a:pt x="2619" y="1685"/>
                </a:lnTo>
                <a:lnTo>
                  <a:pt x="2618" y="1682"/>
                </a:lnTo>
                <a:lnTo>
                  <a:pt x="2618" y="1679"/>
                </a:lnTo>
                <a:lnTo>
                  <a:pt x="2618" y="1676"/>
                </a:lnTo>
                <a:lnTo>
                  <a:pt x="2619" y="1673"/>
                </a:lnTo>
                <a:lnTo>
                  <a:pt x="2620" y="1670"/>
                </a:lnTo>
                <a:lnTo>
                  <a:pt x="2622" y="1668"/>
                </a:lnTo>
                <a:lnTo>
                  <a:pt x="2626" y="1666"/>
                </a:lnTo>
                <a:close/>
                <a:moveTo>
                  <a:pt x="2743" y="1585"/>
                </a:moveTo>
                <a:lnTo>
                  <a:pt x="2746" y="1583"/>
                </a:lnTo>
                <a:lnTo>
                  <a:pt x="2750" y="1583"/>
                </a:lnTo>
                <a:lnTo>
                  <a:pt x="2753" y="1583"/>
                </a:lnTo>
                <a:lnTo>
                  <a:pt x="2756" y="1584"/>
                </a:lnTo>
                <a:lnTo>
                  <a:pt x="2759" y="1585"/>
                </a:lnTo>
                <a:lnTo>
                  <a:pt x="2761" y="1586"/>
                </a:lnTo>
                <a:lnTo>
                  <a:pt x="2763" y="1589"/>
                </a:lnTo>
                <a:lnTo>
                  <a:pt x="2765" y="1591"/>
                </a:lnTo>
                <a:lnTo>
                  <a:pt x="2766" y="1594"/>
                </a:lnTo>
                <a:lnTo>
                  <a:pt x="2766" y="1597"/>
                </a:lnTo>
                <a:lnTo>
                  <a:pt x="2766" y="1600"/>
                </a:lnTo>
                <a:lnTo>
                  <a:pt x="2766" y="1603"/>
                </a:lnTo>
                <a:lnTo>
                  <a:pt x="2765" y="1605"/>
                </a:lnTo>
                <a:lnTo>
                  <a:pt x="2763" y="1608"/>
                </a:lnTo>
                <a:lnTo>
                  <a:pt x="2761" y="1610"/>
                </a:lnTo>
                <a:lnTo>
                  <a:pt x="2759" y="1611"/>
                </a:lnTo>
                <a:lnTo>
                  <a:pt x="2755" y="1613"/>
                </a:lnTo>
                <a:lnTo>
                  <a:pt x="2752" y="1613"/>
                </a:lnTo>
                <a:lnTo>
                  <a:pt x="2749" y="1613"/>
                </a:lnTo>
                <a:lnTo>
                  <a:pt x="2746" y="1613"/>
                </a:lnTo>
                <a:lnTo>
                  <a:pt x="2743" y="1611"/>
                </a:lnTo>
                <a:lnTo>
                  <a:pt x="2741" y="1610"/>
                </a:lnTo>
                <a:lnTo>
                  <a:pt x="2739" y="1607"/>
                </a:lnTo>
                <a:lnTo>
                  <a:pt x="2737" y="1605"/>
                </a:lnTo>
                <a:lnTo>
                  <a:pt x="2736" y="1602"/>
                </a:lnTo>
                <a:lnTo>
                  <a:pt x="2736" y="1599"/>
                </a:lnTo>
                <a:lnTo>
                  <a:pt x="2736" y="1596"/>
                </a:lnTo>
                <a:lnTo>
                  <a:pt x="2736" y="1594"/>
                </a:lnTo>
                <a:lnTo>
                  <a:pt x="2737" y="1591"/>
                </a:lnTo>
                <a:lnTo>
                  <a:pt x="2739" y="1589"/>
                </a:lnTo>
                <a:lnTo>
                  <a:pt x="2741" y="1586"/>
                </a:lnTo>
                <a:lnTo>
                  <a:pt x="2743" y="1585"/>
                </a:lnTo>
                <a:close/>
                <a:moveTo>
                  <a:pt x="4771" y="2334"/>
                </a:moveTo>
                <a:lnTo>
                  <a:pt x="4772" y="2333"/>
                </a:lnTo>
                <a:lnTo>
                  <a:pt x="4774" y="2333"/>
                </a:lnTo>
                <a:lnTo>
                  <a:pt x="4778" y="2332"/>
                </a:lnTo>
                <a:lnTo>
                  <a:pt x="4780" y="2332"/>
                </a:lnTo>
                <a:lnTo>
                  <a:pt x="4782" y="2332"/>
                </a:lnTo>
                <a:lnTo>
                  <a:pt x="4786" y="2334"/>
                </a:lnTo>
                <a:lnTo>
                  <a:pt x="4788" y="2336"/>
                </a:lnTo>
                <a:lnTo>
                  <a:pt x="4790" y="2338"/>
                </a:lnTo>
                <a:lnTo>
                  <a:pt x="4791" y="2339"/>
                </a:lnTo>
                <a:lnTo>
                  <a:pt x="4792" y="2340"/>
                </a:lnTo>
                <a:lnTo>
                  <a:pt x="4793" y="2343"/>
                </a:lnTo>
                <a:lnTo>
                  <a:pt x="4793" y="2346"/>
                </a:lnTo>
                <a:lnTo>
                  <a:pt x="4793" y="2349"/>
                </a:lnTo>
                <a:lnTo>
                  <a:pt x="4793" y="2352"/>
                </a:lnTo>
                <a:lnTo>
                  <a:pt x="4792" y="2355"/>
                </a:lnTo>
                <a:lnTo>
                  <a:pt x="4791" y="2356"/>
                </a:lnTo>
                <a:lnTo>
                  <a:pt x="4789" y="2358"/>
                </a:lnTo>
                <a:lnTo>
                  <a:pt x="4786" y="2360"/>
                </a:lnTo>
                <a:lnTo>
                  <a:pt x="4784" y="2361"/>
                </a:lnTo>
                <a:lnTo>
                  <a:pt x="4782" y="2362"/>
                </a:lnTo>
                <a:lnTo>
                  <a:pt x="4779" y="2362"/>
                </a:lnTo>
                <a:lnTo>
                  <a:pt x="4777" y="2362"/>
                </a:lnTo>
                <a:lnTo>
                  <a:pt x="4775" y="2362"/>
                </a:lnTo>
                <a:lnTo>
                  <a:pt x="4771" y="2361"/>
                </a:lnTo>
                <a:lnTo>
                  <a:pt x="4768" y="2359"/>
                </a:lnTo>
                <a:lnTo>
                  <a:pt x="4766" y="2357"/>
                </a:lnTo>
                <a:lnTo>
                  <a:pt x="4766" y="2355"/>
                </a:lnTo>
                <a:lnTo>
                  <a:pt x="4765" y="2354"/>
                </a:lnTo>
                <a:lnTo>
                  <a:pt x="4764" y="2351"/>
                </a:lnTo>
                <a:lnTo>
                  <a:pt x="4763" y="2349"/>
                </a:lnTo>
                <a:lnTo>
                  <a:pt x="4763" y="2346"/>
                </a:lnTo>
                <a:lnTo>
                  <a:pt x="4764" y="2343"/>
                </a:lnTo>
                <a:lnTo>
                  <a:pt x="4765" y="2340"/>
                </a:lnTo>
                <a:lnTo>
                  <a:pt x="4766" y="2338"/>
                </a:lnTo>
                <a:lnTo>
                  <a:pt x="4767" y="2337"/>
                </a:lnTo>
                <a:lnTo>
                  <a:pt x="4771" y="2334"/>
                </a:lnTo>
                <a:close/>
                <a:moveTo>
                  <a:pt x="4644" y="2265"/>
                </a:moveTo>
                <a:lnTo>
                  <a:pt x="4646" y="2264"/>
                </a:lnTo>
                <a:lnTo>
                  <a:pt x="4648" y="2264"/>
                </a:lnTo>
                <a:lnTo>
                  <a:pt x="4651" y="2263"/>
                </a:lnTo>
                <a:lnTo>
                  <a:pt x="4653" y="2263"/>
                </a:lnTo>
                <a:lnTo>
                  <a:pt x="4655" y="2264"/>
                </a:lnTo>
                <a:lnTo>
                  <a:pt x="4659" y="2265"/>
                </a:lnTo>
                <a:lnTo>
                  <a:pt x="4662" y="2267"/>
                </a:lnTo>
                <a:lnTo>
                  <a:pt x="4663" y="2268"/>
                </a:lnTo>
                <a:lnTo>
                  <a:pt x="4664" y="2269"/>
                </a:lnTo>
                <a:lnTo>
                  <a:pt x="4665" y="2270"/>
                </a:lnTo>
                <a:lnTo>
                  <a:pt x="4665" y="2271"/>
                </a:lnTo>
                <a:lnTo>
                  <a:pt x="4666" y="2274"/>
                </a:lnTo>
                <a:lnTo>
                  <a:pt x="4667" y="2277"/>
                </a:lnTo>
                <a:lnTo>
                  <a:pt x="4667" y="2280"/>
                </a:lnTo>
                <a:lnTo>
                  <a:pt x="4666" y="2283"/>
                </a:lnTo>
                <a:lnTo>
                  <a:pt x="4665" y="2286"/>
                </a:lnTo>
                <a:lnTo>
                  <a:pt x="4663" y="2289"/>
                </a:lnTo>
                <a:lnTo>
                  <a:pt x="4659" y="2292"/>
                </a:lnTo>
                <a:lnTo>
                  <a:pt x="4658" y="2293"/>
                </a:lnTo>
                <a:lnTo>
                  <a:pt x="4656" y="2293"/>
                </a:lnTo>
                <a:lnTo>
                  <a:pt x="4652" y="2294"/>
                </a:lnTo>
                <a:lnTo>
                  <a:pt x="4650" y="2294"/>
                </a:lnTo>
                <a:lnTo>
                  <a:pt x="4648" y="2293"/>
                </a:lnTo>
                <a:lnTo>
                  <a:pt x="4645" y="2292"/>
                </a:lnTo>
                <a:lnTo>
                  <a:pt x="4642" y="2290"/>
                </a:lnTo>
                <a:lnTo>
                  <a:pt x="4641" y="2289"/>
                </a:lnTo>
                <a:lnTo>
                  <a:pt x="4640" y="2288"/>
                </a:lnTo>
                <a:lnTo>
                  <a:pt x="4639" y="2287"/>
                </a:lnTo>
                <a:lnTo>
                  <a:pt x="4638" y="2286"/>
                </a:lnTo>
                <a:lnTo>
                  <a:pt x="4637" y="2283"/>
                </a:lnTo>
                <a:lnTo>
                  <a:pt x="4637" y="2280"/>
                </a:lnTo>
                <a:lnTo>
                  <a:pt x="4637" y="2277"/>
                </a:lnTo>
                <a:lnTo>
                  <a:pt x="4637" y="2274"/>
                </a:lnTo>
                <a:lnTo>
                  <a:pt x="4638" y="2271"/>
                </a:lnTo>
                <a:lnTo>
                  <a:pt x="4641" y="2268"/>
                </a:lnTo>
                <a:lnTo>
                  <a:pt x="4644" y="2265"/>
                </a:lnTo>
                <a:close/>
                <a:moveTo>
                  <a:pt x="4517" y="2198"/>
                </a:moveTo>
                <a:lnTo>
                  <a:pt x="4518" y="2198"/>
                </a:lnTo>
                <a:lnTo>
                  <a:pt x="4520" y="2197"/>
                </a:lnTo>
                <a:lnTo>
                  <a:pt x="4524" y="2196"/>
                </a:lnTo>
                <a:lnTo>
                  <a:pt x="4528" y="2197"/>
                </a:lnTo>
                <a:lnTo>
                  <a:pt x="4531" y="2198"/>
                </a:lnTo>
                <a:lnTo>
                  <a:pt x="4534" y="2200"/>
                </a:lnTo>
                <a:lnTo>
                  <a:pt x="4536" y="2202"/>
                </a:lnTo>
                <a:lnTo>
                  <a:pt x="4538" y="2204"/>
                </a:lnTo>
                <a:lnTo>
                  <a:pt x="4539" y="2207"/>
                </a:lnTo>
                <a:lnTo>
                  <a:pt x="4539" y="2210"/>
                </a:lnTo>
                <a:lnTo>
                  <a:pt x="4539" y="2213"/>
                </a:lnTo>
                <a:lnTo>
                  <a:pt x="4539" y="2216"/>
                </a:lnTo>
                <a:lnTo>
                  <a:pt x="4538" y="2219"/>
                </a:lnTo>
                <a:lnTo>
                  <a:pt x="4535" y="2222"/>
                </a:lnTo>
                <a:lnTo>
                  <a:pt x="4532" y="2225"/>
                </a:lnTo>
                <a:lnTo>
                  <a:pt x="4530" y="2226"/>
                </a:lnTo>
                <a:lnTo>
                  <a:pt x="4528" y="2226"/>
                </a:lnTo>
                <a:lnTo>
                  <a:pt x="4525" y="2227"/>
                </a:lnTo>
                <a:lnTo>
                  <a:pt x="4521" y="2226"/>
                </a:lnTo>
                <a:lnTo>
                  <a:pt x="4517" y="2225"/>
                </a:lnTo>
                <a:lnTo>
                  <a:pt x="4515" y="2223"/>
                </a:lnTo>
                <a:lnTo>
                  <a:pt x="4513" y="2221"/>
                </a:lnTo>
                <a:lnTo>
                  <a:pt x="4511" y="2219"/>
                </a:lnTo>
                <a:lnTo>
                  <a:pt x="4510" y="2216"/>
                </a:lnTo>
                <a:lnTo>
                  <a:pt x="4509" y="2213"/>
                </a:lnTo>
                <a:lnTo>
                  <a:pt x="4509" y="2210"/>
                </a:lnTo>
                <a:lnTo>
                  <a:pt x="4510" y="2207"/>
                </a:lnTo>
                <a:lnTo>
                  <a:pt x="4511" y="2205"/>
                </a:lnTo>
                <a:lnTo>
                  <a:pt x="4513" y="2201"/>
                </a:lnTo>
                <a:lnTo>
                  <a:pt x="4517" y="2198"/>
                </a:lnTo>
                <a:close/>
                <a:moveTo>
                  <a:pt x="4388" y="2134"/>
                </a:moveTo>
                <a:lnTo>
                  <a:pt x="4391" y="2133"/>
                </a:lnTo>
                <a:lnTo>
                  <a:pt x="4395" y="2132"/>
                </a:lnTo>
                <a:lnTo>
                  <a:pt x="4399" y="2132"/>
                </a:lnTo>
                <a:lnTo>
                  <a:pt x="4402" y="2133"/>
                </a:lnTo>
                <a:lnTo>
                  <a:pt x="4405" y="2135"/>
                </a:lnTo>
                <a:lnTo>
                  <a:pt x="4407" y="2137"/>
                </a:lnTo>
                <a:lnTo>
                  <a:pt x="4409" y="2140"/>
                </a:lnTo>
                <a:lnTo>
                  <a:pt x="4410" y="2142"/>
                </a:lnTo>
                <a:lnTo>
                  <a:pt x="4411" y="2145"/>
                </a:lnTo>
                <a:lnTo>
                  <a:pt x="4411" y="2148"/>
                </a:lnTo>
                <a:lnTo>
                  <a:pt x="4410" y="2151"/>
                </a:lnTo>
                <a:lnTo>
                  <a:pt x="4409" y="2154"/>
                </a:lnTo>
                <a:lnTo>
                  <a:pt x="4407" y="2158"/>
                </a:lnTo>
                <a:lnTo>
                  <a:pt x="4403" y="2160"/>
                </a:lnTo>
                <a:lnTo>
                  <a:pt x="4400" y="2162"/>
                </a:lnTo>
                <a:lnTo>
                  <a:pt x="4396" y="2162"/>
                </a:lnTo>
                <a:lnTo>
                  <a:pt x="4393" y="2162"/>
                </a:lnTo>
                <a:lnTo>
                  <a:pt x="4389" y="2161"/>
                </a:lnTo>
                <a:lnTo>
                  <a:pt x="4386" y="2159"/>
                </a:lnTo>
                <a:lnTo>
                  <a:pt x="4384" y="2157"/>
                </a:lnTo>
                <a:lnTo>
                  <a:pt x="4382" y="2155"/>
                </a:lnTo>
                <a:lnTo>
                  <a:pt x="4381" y="2152"/>
                </a:lnTo>
                <a:lnTo>
                  <a:pt x="4380" y="2149"/>
                </a:lnTo>
                <a:lnTo>
                  <a:pt x="4380" y="2146"/>
                </a:lnTo>
                <a:lnTo>
                  <a:pt x="4381" y="2143"/>
                </a:lnTo>
                <a:lnTo>
                  <a:pt x="4382" y="2140"/>
                </a:lnTo>
                <a:lnTo>
                  <a:pt x="4384" y="2137"/>
                </a:lnTo>
                <a:lnTo>
                  <a:pt x="4388" y="2134"/>
                </a:lnTo>
                <a:close/>
                <a:moveTo>
                  <a:pt x="4258" y="2073"/>
                </a:moveTo>
                <a:lnTo>
                  <a:pt x="4261" y="2071"/>
                </a:lnTo>
                <a:lnTo>
                  <a:pt x="4264" y="2071"/>
                </a:lnTo>
                <a:lnTo>
                  <a:pt x="4268" y="2071"/>
                </a:lnTo>
                <a:lnTo>
                  <a:pt x="4271" y="2072"/>
                </a:lnTo>
                <a:lnTo>
                  <a:pt x="4274" y="2074"/>
                </a:lnTo>
                <a:lnTo>
                  <a:pt x="4276" y="2076"/>
                </a:lnTo>
                <a:lnTo>
                  <a:pt x="4278" y="2078"/>
                </a:lnTo>
                <a:lnTo>
                  <a:pt x="4279" y="2081"/>
                </a:lnTo>
                <a:lnTo>
                  <a:pt x="4280" y="2083"/>
                </a:lnTo>
                <a:lnTo>
                  <a:pt x="4280" y="2086"/>
                </a:lnTo>
                <a:lnTo>
                  <a:pt x="4280" y="2089"/>
                </a:lnTo>
                <a:lnTo>
                  <a:pt x="4279" y="2092"/>
                </a:lnTo>
                <a:lnTo>
                  <a:pt x="4278" y="2094"/>
                </a:lnTo>
                <a:lnTo>
                  <a:pt x="4276" y="2096"/>
                </a:lnTo>
                <a:lnTo>
                  <a:pt x="4275" y="2098"/>
                </a:lnTo>
                <a:lnTo>
                  <a:pt x="4273" y="2099"/>
                </a:lnTo>
                <a:lnTo>
                  <a:pt x="4270" y="2101"/>
                </a:lnTo>
                <a:lnTo>
                  <a:pt x="4266" y="2101"/>
                </a:lnTo>
                <a:lnTo>
                  <a:pt x="4263" y="2101"/>
                </a:lnTo>
                <a:lnTo>
                  <a:pt x="4259" y="2100"/>
                </a:lnTo>
                <a:lnTo>
                  <a:pt x="4256" y="2098"/>
                </a:lnTo>
                <a:lnTo>
                  <a:pt x="4254" y="2096"/>
                </a:lnTo>
                <a:lnTo>
                  <a:pt x="4252" y="2094"/>
                </a:lnTo>
                <a:lnTo>
                  <a:pt x="4251" y="2091"/>
                </a:lnTo>
                <a:lnTo>
                  <a:pt x="4250" y="2089"/>
                </a:lnTo>
                <a:lnTo>
                  <a:pt x="4250" y="2086"/>
                </a:lnTo>
                <a:lnTo>
                  <a:pt x="4250" y="2083"/>
                </a:lnTo>
                <a:lnTo>
                  <a:pt x="4251" y="2080"/>
                </a:lnTo>
                <a:lnTo>
                  <a:pt x="4253" y="2078"/>
                </a:lnTo>
                <a:lnTo>
                  <a:pt x="4254" y="2076"/>
                </a:lnTo>
                <a:lnTo>
                  <a:pt x="4256" y="2074"/>
                </a:lnTo>
                <a:lnTo>
                  <a:pt x="4258" y="2073"/>
                </a:lnTo>
                <a:close/>
                <a:moveTo>
                  <a:pt x="4125" y="2016"/>
                </a:moveTo>
                <a:lnTo>
                  <a:pt x="4128" y="2015"/>
                </a:lnTo>
                <a:lnTo>
                  <a:pt x="4132" y="2014"/>
                </a:lnTo>
                <a:lnTo>
                  <a:pt x="4135" y="2014"/>
                </a:lnTo>
                <a:lnTo>
                  <a:pt x="4139" y="2015"/>
                </a:lnTo>
                <a:lnTo>
                  <a:pt x="4141" y="2016"/>
                </a:lnTo>
                <a:lnTo>
                  <a:pt x="4144" y="2018"/>
                </a:lnTo>
                <a:lnTo>
                  <a:pt x="4146" y="2021"/>
                </a:lnTo>
                <a:lnTo>
                  <a:pt x="4147" y="2023"/>
                </a:lnTo>
                <a:lnTo>
                  <a:pt x="4148" y="2026"/>
                </a:lnTo>
                <a:lnTo>
                  <a:pt x="4148" y="2029"/>
                </a:lnTo>
                <a:lnTo>
                  <a:pt x="4148" y="2032"/>
                </a:lnTo>
                <a:lnTo>
                  <a:pt x="4147" y="2035"/>
                </a:lnTo>
                <a:lnTo>
                  <a:pt x="4146" y="2037"/>
                </a:lnTo>
                <a:lnTo>
                  <a:pt x="4144" y="2039"/>
                </a:lnTo>
                <a:lnTo>
                  <a:pt x="4143" y="2041"/>
                </a:lnTo>
                <a:lnTo>
                  <a:pt x="4141" y="2042"/>
                </a:lnTo>
                <a:lnTo>
                  <a:pt x="4137" y="2044"/>
                </a:lnTo>
                <a:lnTo>
                  <a:pt x="4134" y="2044"/>
                </a:lnTo>
                <a:lnTo>
                  <a:pt x="4131" y="2044"/>
                </a:lnTo>
                <a:lnTo>
                  <a:pt x="4127" y="2043"/>
                </a:lnTo>
                <a:lnTo>
                  <a:pt x="4125" y="2042"/>
                </a:lnTo>
                <a:lnTo>
                  <a:pt x="4122" y="2040"/>
                </a:lnTo>
                <a:lnTo>
                  <a:pt x="4120" y="2038"/>
                </a:lnTo>
                <a:lnTo>
                  <a:pt x="4119" y="2035"/>
                </a:lnTo>
                <a:lnTo>
                  <a:pt x="4118" y="2032"/>
                </a:lnTo>
                <a:lnTo>
                  <a:pt x="4118" y="2029"/>
                </a:lnTo>
                <a:lnTo>
                  <a:pt x="4118" y="2026"/>
                </a:lnTo>
                <a:lnTo>
                  <a:pt x="4119" y="2023"/>
                </a:lnTo>
                <a:lnTo>
                  <a:pt x="4120" y="2021"/>
                </a:lnTo>
                <a:lnTo>
                  <a:pt x="4122" y="2019"/>
                </a:lnTo>
                <a:lnTo>
                  <a:pt x="4123" y="2017"/>
                </a:lnTo>
                <a:lnTo>
                  <a:pt x="4125" y="2016"/>
                </a:lnTo>
                <a:close/>
                <a:moveTo>
                  <a:pt x="3990" y="1965"/>
                </a:moveTo>
                <a:lnTo>
                  <a:pt x="3993" y="1963"/>
                </a:lnTo>
                <a:lnTo>
                  <a:pt x="3996" y="1963"/>
                </a:lnTo>
                <a:lnTo>
                  <a:pt x="3999" y="1963"/>
                </a:lnTo>
                <a:lnTo>
                  <a:pt x="4003" y="1963"/>
                </a:lnTo>
                <a:lnTo>
                  <a:pt x="4005" y="1965"/>
                </a:lnTo>
                <a:lnTo>
                  <a:pt x="4008" y="1967"/>
                </a:lnTo>
                <a:lnTo>
                  <a:pt x="4011" y="1969"/>
                </a:lnTo>
                <a:lnTo>
                  <a:pt x="4012" y="1971"/>
                </a:lnTo>
                <a:lnTo>
                  <a:pt x="4013" y="1974"/>
                </a:lnTo>
                <a:lnTo>
                  <a:pt x="4014" y="1977"/>
                </a:lnTo>
                <a:lnTo>
                  <a:pt x="4013" y="1983"/>
                </a:lnTo>
                <a:lnTo>
                  <a:pt x="4012" y="1985"/>
                </a:lnTo>
                <a:lnTo>
                  <a:pt x="4010" y="1988"/>
                </a:lnTo>
                <a:lnTo>
                  <a:pt x="4005" y="1991"/>
                </a:lnTo>
                <a:lnTo>
                  <a:pt x="4002" y="1992"/>
                </a:lnTo>
                <a:lnTo>
                  <a:pt x="3999" y="1993"/>
                </a:lnTo>
                <a:lnTo>
                  <a:pt x="3996" y="1993"/>
                </a:lnTo>
                <a:lnTo>
                  <a:pt x="3992" y="1992"/>
                </a:lnTo>
                <a:lnTo>
                  <a:pt x="3990" y="1991"/>
                </a:lnTo>
                <a:lnTo>
                  <a:pt x="3987" y="1989"/>
                </a:lnTo>
                <a:lnTo>
                  <a:pt x="3985" y="1987"/>
                </a:lnTo>
                <a:lnTo>
                  <a:pt x="3984" y="1984"/>
                </a:lnTo>
                <a:lnTo>
                  <a:pt x="3983" y="1982"/>
                </a:lnTo>
                <a:lnTo>
                  <a:pt x="3982" y="1979"/>
                </a:lnTo>
                <a:lnTo>
                  <a:pt x="3983" y="1973"/>
                </a:lnTo>
                <a:lnTo>
                  <a:pt x="3984" y="1970"/>
                </a:lnTo>
                <a:lnTo>
                  <a:pt x="3986" y="1968"/>
                </a:lnTo>
                <a:lnTo>
                  <a:pt x="3990" y="1965"/>
                </a:lnTo>
                <a:close/>
                <a:moveTo>
                  <a:pt x="3853" y="1921"/>
                </a:moveTo>
                <a:lnTo>
                  <a:pt x="3855" y="1920"/>
                </a:lnTo>
                <a:lnTo>
                  <a:pt x="3858" y="1919"/>
                </a:lnTo>
                <a:lnTo>
                  <a:pt x="3861" y="1919"/>
                </a:lnTo>
                <a:lnTo>
                  <a:pt x="3865" y="1919"/>
                </a:lnTo>
                <a:lnTo>
                  <a:pt x="3867" y="1921"/>
                </a:lnTo>
                <a:lnTo>
                  <a:pt x="3870" y="1922"/>
                </a:lnTo>
                <a:lnTo>
                  <a:pt x="3872" y="1924"/>
                </a:lnTo>
                <a:lnTo>
                  <a:pt x="3874" y="1927"/>
                </a:lnTo>
                <a:lnTo>
                  <a:pt x="3875" y="1929"/>
                </a:lnTo>
                <a:lnTo>
                  <a:pt x="3875" y="1932"/>
                </a:lnTo>
                <a:lnTo>
                  <a:pt x="3876" y="1935"/>
                </a:lnTo>
                <a:lnTo>
                  <a:pt x="3875" y="1938"/>
                </a:lnTo>
                <a:lnTo>
                  <a:pt x="3874" y="1941"/>
                </a:lnTo>
                <a:lnTo>
                  <a:pt x="3872" y="1943"/>
                </a:lnTo>
                <a:lnTo>
                  <a:pt x="3870" y="1946"/>
                </a:lnTo>
                <a:lnTo>
                  <a:pt x="3868" y="1947"/>
                </a:lnTo>
                <a:lnTo>
                  <a:pt x="3865" y="1948"/>
                </a:lnTo>
                <a:lnTo>
                  <a:pt x="3862" y="1949"/>
                </a:lnTo>
                <a:lnTo>
                  <a:pt x="3859" y="1949"/>
                </a:lnTo>
                <a:lnTo>
                  <a:pt x="3856" y="1949"/>
                </a:lnTo>
                <a:lnTo>
                  <a:pt x="3853" y="1948"/>
                </a:lnTo>
                <a:lnTo>
                  <a:pt x="3851" y="1946"/>
                </a:lnTo>
                <a:lnTo>
                  <a:pt x="3849" y="1944"/>
                </a:lnTo>
                <a:lnTo>
                  <a:pt x="3847" y="1941"/>
                </a:lnTo>
                <a:lnTo>
                  <a:pt x="3846" y="1939"/>
                </a:lnTo>
                <a:lnTo>
                  <a:pt x="3845" y="1936"/>
                </a:lnTo>
                <a:lnTo>
                  <a:pt x="3845" y="1933"/>
                </a:lnTo>
                <a:lnTo>
                  <a:pt x="3846" y="1930"/>
                </a:lnTo>
                <a:lnTo>
                  <a:pt x="3847" y="1927"/>
                </a:lnTo>
                <a:lnTo>
                  <a:pt x="3848" y="1925"/>
                </a:lnTo>
                <a:lnTo>
                  <a:pt x="3850" y="1922"/>
                </a:lnTo>
                <a:lnTo>
                  <a:pt x="3853" y="1921"/>
                </a:lnTo>
                <a:close/>
                <a:moveTo>
                  <a:pt x="3713" y="1887"/>
                </a:moveTo>
                <a:lnTo>
                  <a:pt x="3715" y="1886"/>
                </a:lnTo>
                <a:lnTo>
                  <a:pt x="3718" y="1885"/>
                </a:lnTo>
                <a:lnTo>
                  <a:pt x="3724" y="1885"/>
                </a:lnTo>
                <a:lnTo>
                  <a:pt x="3726" y="1886"/>
                </a:lnTo>
                <a:lnTo>
                  <a:pt x="3729" y="1887"/>
                </a:lnTo>
                <a:lnTo>
                  <a:pt x="3731" y="1889"/>
                </a:lnTo>
                <a:lnTo>
                  <a:pt x="3733" y="1892"/>
                </a:lnTo>
                <a:lnTo>
                  <a:pt x="3735" y="1894"/>
                </a:lnTo>
                <a:lnTo>
                  <a:pt x="3735" y="1897"/>
                </a:lnTo>
                <a:lnTo>
                  <a:pt x="3736" y="1900"/>
                </a:lnTo>
                <a:lnTo>
                  <a:pt x="3735" y="1903"/>
                </a:lnTo>
                <a:lnTo>
                  <a:pt x="3734" y="1906"/>
                </a:lnTo>
                <a:lnTo>
                  <a:pt x="3733" y="1909"/>
                </a:lnTo>
                <a:lnTo>
                  <a:pt x="3732" y="1910"/>
                </a:lnTo>
                <a:lnTo>
                  <a:pt x="3731" y="1911"/>
                </a:lnTo>
                <a:lnTo>
                  <a:pt x="3728" y="1913"/>
                </a:lnTo>
                <a:lnTo>
                  <a:pt x="3726" y="1914"/>
                </a:lnTo>
                <a:lnTo>
                  <a:pt x="3723" y="1915"/>
                </a:lnTo>
                <a:lnTo>
                  <a:pt x="3718" y="1915"/>
                </a:lnTo>
                <a:lnTo>
                  <a:pt x="3715" y="1914"/>
                </a:lnTo>
                <a:lnTo>
                  <a:pt x="3712" y="1913"/>
                </a:lnTo>
                <a:lnTo>
                  <a:pt x="3710" y="1911"/>
                </a:lnTo>
                <a:lnTo>
                  <a:pt x="3708" y="1908"/>
                </a:lnTo>
                <a:lnTo>
                  <a:pt x="3706" y="1906"/>
                </a:lnTo>
                <a:lnTo>
                  <a:pt x="3706" y="1903"/>
                </a:lnTo>
                <a:lnTo>
                  <a:pt x="3705" y="1900"/>
                </a:lnTo>
                <a:lnTo>
                  <a:pt x="3706" y="1897"/>
                </a:lnTo>
                <a:lnTo>
                  <a:pt x="3707" y="1894"/>
                </a:lnTo>
                <a:lnTo>
                  <a:pt x="3708" y="1891"/>
                </a:lnTo>
                <a:lnTo>
                  <a:pt x="3709" y="1890"/>
                </a:lnTo>
                <a:lnTo>
                  <a:pt x="3710" y="1889"/>
                </a:lnTo>
                <a:lnTo>
                  <a:pt x="3713" y="1887"/>
                </a:lnTo>
                <a:close/>
                <a:moveTo>
                  <a:pt x="3571" y="1865"/>
                </a:moveTo>
                <a:lnTo>
                  <a:pt x="3575" y="1864"/>
                </a:lnTo>
                <a:lnTo>
                  <a:pt x="3577" y="1863"/>
                </a:lnTo>
                <a:lnTo>
                  <a:pt x="3580" y="1863"/>
                </a:lnTo>
                <a:lnTo>
                  <a:pt x="3583" y="1864"/>
                </a:lnTo>
                <a:lnTo>
                  <a:pt x="3586" y="1865"/>
                </a:lnTo>
                <a:lnTo>
                  <a:pt x="3588" y="1867"/>
                </a:lnTo>
                <a:lnTo>
                  <a:pt x="3590" y="1869"/>
                </a:lnTo>
                <a:lnTo>
                  <a:pt x="3592" y="1871"/>
                </a:lnTo>
                <a:lnTo>
                  <a:pt x="3593" y="1874"/>
                </a:lnTo>
                <a:lnTo>
                  <a:pt x="3593" y="1877"/>
                </a:lnTo>
                <a:lnTo>
                  <a:pt x="3593" y="1880"/>
                </a:lnTo>
                <a:lnTo>
                  <a:pt x="3593" y="1884"/>
                </a:lnTo>
                <a:lnTo>
                  <a:pt x="3591" y="1887"/>
                </a:lnTo>
                <a:lnTo>
                  <a:pt x="3589" y="1889"/>
                </a:lnTo>
                <a:lnTo>
                  <a:pt x="3586" y="1892"/>
                </a:lnTo>
                <a:lnTo>
                  <a:pt x="3582" y="1893"/>
                </a:lnTo>
                <a:lnTo>
                  <a:pt x="3579" y="1894"/>
                </a:lnTo>
                <a:lnTo>
                  <a:pt x="3577" y="1894"/>
                </a:lnTo>
                <a:lnTo>
                  <a:pt x="3574" y="1893"/>
                </a:lnTo>
                <a:lnTo>
                  <a:pt x="3571" y="1892"/>
                </a:lnTo>
                <a:lnTo>
                  <a:pt x="3569" y="1890"/>
                </a:lnTo>
                <a:lnTo>
                  <a:pt x="3567" y="1888"/>
                </a:lnTo>
                <a:lnTo>
                  <a:pt x="3565" y="1886"/>
                </a:lnTo>
                <a:lnTo>
                  <a:pt x="3564" y="1883"/>
                </a:lnTo>
                <a:lnTo>
                  <a:pt x="3563" y="1880"/>
                </a:lnTo>
                <a:lnTo>
                  <a:pt x="3563" y="1877"/>
                </a:lnTo>
                <a:lnTo>
                  <a:pt x="3564" y="1873"/>
                </a:lnTo>
                <a:lnTo>
                  <a:pt x="3566" y="1870"/>
                </a:lnTo>
                <a:lnTo>
                  <a:pt x="3568" y="1867"/>
                </a:lnTo>
                <a:lnTo>
                  <a:pt x="3571" y="1865"/>
                </a:lnTo>
                <a:close/>
                <a:moveTo>
                  <a:pt x="2784" y="2297"/>
                </a:moveTo>
                <a:lnTo>
                  <a:pt x="2786" y="2296"/>
                </a:lnTo>
                <a:lnTo>
                  <a:pt x="2788" y="2295"/>
                </a:lnTo>
                <a:lnTo>
                  <a:pt x="2791" y="2295"/>
                </a:lnTo>
                <a:lnTo>
                  <a:pt x="2793" y="2295"/>
                </a:lnTo>
                <a:lnTo>
                  <a:pt x="2796" y="2295"/>
                </a:lnTo>
                <a:lnTo>
                  <a:pt x="2799" y="2297"/>
                </a:lnTo>
                <a:lnTo>
                  <a:pt x="2801" y="2298"/>
                </a:lnTo>
                <a:lnTo>
                  <a:pt x="2803" y="2301"/>
                </a:lnTo>
                <a:lnTo>
                  <a:pt x="2804" y="2302"/>
                </a:lnTo>
                <a:lnTo>
                  <a:pt x="2805" y="2303"/>
                </a:lnTo>
                <a:lnTo>
                  <a:pt x="2806" y="2306"/>
                </a:lnTo>
                <a:lnTo>
                  <a:pt x="2806" y="2309"/>
                </a:lnTo>
                <a:lnTo>
                  <a:pt x="2806" y="2312"/>
                </a:lnTo>
                <a:lnTo>
                  <a:pt x="2806" y="2315"/>
                </a:lnTo>
                <a:lnTo>
                  <a:pt x="2804" y="2318"/>
                </a:lnTo>
                <a:lnTo>
                  <a:pt x="2802" y="2321"/>
                </a:lnTo>
                <a:lnTo>
                  <a:pt x="2799" y="2323"/>
                </a:lnTo>
                <a:lnTo>
                  <a:pt x="2797" y="2324"/>
                </a:lnTo>
                <a:lnTo>
                  <a:pt x="2794" y="2325"/>
                </a:lnTo>
                <a:lnTo>
                  <a:pt x="2792" y="2325"/>
                </a:lnTo>
                <a:lnTo>
                  <a:pt x="2789" y="2325"/>
                </a:lnTo>
                <a:lnTo>
                  <a:pt x="2786" y="2324"/>
                </a:lnTo>
                <a:lnTo>
                  <a:pt x="2784" y="2323"/>
                </a:lnTo>
                <a:lnTo>
                  <a:pt x="2781" y="2321"/>
                </a:lnTo>
                <a:lnTo>
                  <a:pt x="2779" y="2319"/>
                </a:lnTo>
                <a:lnTo>
                  <a:pt x="2778" y="2318"/>
                </a:lnTo>
                <a:lnTo>
                  <a:pt x="2778" y="2317"/>
                </a:lnTo>
                <a:lnTo>
                  <a:pt x="2777" y="2314"/>
                </a:lnTo>
                <a:lnTo>
                  <a:pt x="2776" y="2311"/>
                </a:lnTo>
                <a:lnTo>
                  <a:pt x="2776" y="2308"/>
                </a:lnTo>
                <a:lnTo>
                  <a:pt x="2777" y="2305"/>
                </a:lnTo>
                <a:lnTo>
                  <a:pt x="2779" y="2301"/>
                </a:lnTo>
                <a:lnTo>
                  <a:pt x="2781" y="2299"/>
                </a:lnTo>
                <a:lnTo>
                  <a:pt x="2784" y="2297"/>
                </a:lnTo>
                <a:close/>
                <a:moveTo>
                  <a:pt x="3427" y="1859"/>
                </a:moveTo>
                <a:lnTo>
                  <a:pt x="3431" y="1858"/>
                </a:lnTo>
                <a:lnTo>
                  <a:pt x="3434" y="1857"/>
                </a:lnTo>
                <a:lnTo>
                  <a:pt x="3437" y="1858"/>
                </a:lnTo>
                <a:lnTo>
                  <a:pt x="3440" y="1858"/>
                </a:lnTo>
                <a:lnTo>
                  <a:pt x="3443" y="1860"/>
                </a:lnTo>
                <a:lnTo>
                  <a:pt x="3445" y="1862"/>
                </a:lnTo>
                <a:lnTo>
                  <a:pt x="3447" y="1864"/>
                </a:lnTo>
                <a:lnTo>
                  <a:pt x="3449" y="1866"/>
                </a:lnTo>
                <a:lnTo>
                  <a:pt x="3450" y="1869"/>
                </a:lnTo>
                <a:lnTo>
                  <a:pt x="3450" y="1872"/>
                </a:lnTo>
                <a:lnTo>
                  <a:pt x="3449" y="1876"/>
                </a:lnTo>
                <a:lnTo>
                  <a:pt x="3448" y="1880"/>
                </a:lnTo>
                <a:lnTo>
                  <a:pt x="3445" y="1883"/>
                </a:lnTo>
                <a:lnTo>
                  <a:pt x="3442" y="1886"/>
                </a:lnTo>
                <a:lnTo>
                  <a:pt x="3439" y="1887"/>
                </a:lnTo>
                <a:lnTo>
                  <a:pt x="3435" y="1888"/>
                </a:lnTo>
                <a:lnTo>
                  <a:pt x="3432" y="1888"/>
                </a:lnTo>
                <a:lnTo>
                  <a:pt x="3429" y="1887"/>
                </a:lnTo>
                <a:lnTo>
                  <a:pt x="3426" y="1885"/>
                </a:lnTo>
                <a:lnTo>
                  <a:pt x="3424" y="1884"/>
                </a:lnTo>
                <a:lnTo>
                  <a:pt x="3422" y="1881"/>
                </a:lnTo>
                <a:lnTo>
                  <a:pt x="3421" y="1879"/>
                </a:lnTo>
                <a:lnTo>
                  <a:pt x="3420" y="1876"/>
                </a:lnTo>
                <a:lnTo>
                  <a:pt x="3419" y="1873"/>
                </a:lnTo>
                <a:lnTo>
                  <a:pt x="3420" y="1869"/>
                </a:lnTo>
                <a:lnTo>
                  <a:pt x="3421" y="1865"/>
                </a:lnTo>
                <a:lnTo>
                  <a:pt x="3424" y="1862"/>
                </a:lnTo>
                <a:lnTo>
                  <a:pt x="3427" y="1859"/>
                </a:lnTo>
                <a:close/>
                <a:moveTo>
                  <a:pt x="2815" y="2157"/>
                </a:moveTo>
                <a:lnTo>
                  <a:pt x="2818" y="2156"/>
                </a:lnTo>
                <a:lnTo>
                  <a:pt x="2822" y="2155"/>
                </a:lnTo>
                <a:lnTo>
                  <a:pt x="2825" y="2155"/>
                </a:lnTo>
                <a:lnTo>
                  <a:pt x="2828" y="2156"/>
                </a:lnTo>
                <a:lnTo>
                  <a:pt x="2830" y="2157"/>
                </a:lnTo>
                <a:lnTo>
                  <a:pt x="2831" y="2157"/>
                </a:lnTo>
                <a:lnTo>
                  <a:pt x="2833" y="2159"/>
                </a:lnTo>
                <a:lnTo>
                  <a:pt x="2835" y="2161"/>
                </a:lnTo>
                <a:lnTo>
                  <a:pt x="2837" y="2164"/>
                </a:lnTo>
                <a:lnTo>
                  <a:pt x="2838" y="2167"/>
                </a:lnTo>
                <a:lnTo>
                  <a:pt x="2838" y="2170"/>
                </a:lnTo>
                <a:lnTo>
                  <a:pt x="2838" y="2173"/>
                </a:lnTo>
                <a:lnTo>
                  <a:pt x="2837" y="2176"/>
                </a:lnTo>
                <a:lnTo>
                  <a:pt x="2836" y="2178"/>
                </a:lnTo>
                <a:lnTo>
                  <a:pt x="2834" y="2180"/>
                </a:lnTo>
                <a:lnTo>
                  <a:pt x="2833" y="2182"/>
                </a:lnTo>
                <a:lnTo>
                  <a:pt x="2831" y="2183"/>
                </a:lnTo>
                <a:lnTo>
                  <a:pt x="2827" y="2185"/>
                </a:lnTo>
                <a:lnTo>
                  <a:pt x="2824" y="2185"/>
                </a:lnTo>
                <a:lnTo>
                  <a:pt x="2821" y="2185"/>
                </a:lnTo>
                <a:lnTo>
                  <a:pt x="2817" y="2184"/>
                </a:lnTo>
                <a:lnTo>
                  <a:pt x="2816" y="2184"/>
                </a:lnTo>
                <a:lnTo>
                  <a:pt x="2815" y="2183"/>
                </a:lnTo>
                <a:lnTo>
                  <a:pt x="2812" y="2181"/>
                </a:lnTo>
                <a:lnTo>
                  <a:pt x="2810" y="2179"/>
                </a:lnTo>
                <a:lnTo>
                  <a:pt x="2809" y="2176"/>
                </a:lnTo>
                <a:lnTo>
                  <a:pt x="2808" y="2174"/>
                </a:lnTo>
                <a:lnTo>
                  <a:pt x="2808" y="2171"/>
                </a:lnTo>
                <a:lnTo>
                  <a:pt x="2808" y="2168"/>
                </a:lnTo>
                <a:lnTo>
                  <a:pt x="2809" y="2165"/>
                </a:lnTo>
                <a:lnTo>
                  <a:pt x="2810" y="2162"/>
                </a:lnTo>
                <a:lnTo>
                  <a:pt x="2811" y="2160"/>
                </a:lnTo>
                <a:lnTo>
                  <a:pt x="2813" y="2158"/>
                </a:lnTo>
                <a:lnTo>
                  <a:pt x="2815" y="2157"/>
                </a:lnTo>
                <a:close/>
                <a:moveTo>
                  <a:pt x="3284" y="1872"/>
                </a:moveTo>
                <a:lnTo>
                  <a:pt x="3286" y="1871"/>
                </a:lnTo>
                <a:lnTo>
                  <a:pt x="3289" y="1870"/>
                </a:lnTo>
                <a:lnTo>
                  <a:pt x="3292" y="1870"/>
                </a:lnTo>
                <a:lnTo>
                  <a:pt x="3295" y="1870"/>
                </a:lnTo>
                <a:lnTo>
                  <a:pt x="3298" y="1871"/>
                </a:lnTo>
                <a:lnTo>
                  <a:pt x="3300" y="1873"/>
                </a:lnTo>
                <a:lnTo>
                  <a:pt x="3303" y="1875"/>
                </a:lnTo>
                <a:lnTo>
                  <a:pt x="3304" y="1877"/>
                </a:lnTo>
                <a:lnTo>
                  <a:pt x="3306" y="1880"/>
                </a:lnTo>
                <a:lnTo>
                  <a:pt x="3307" y="1883"/>
                </a:lnTo>
                <a:lnTo>
                  <a:pt x="3307" y="1887"/>
                </a:lnTo>
                <a:lnTo>
                  <a:pt x="3305" y="1892"/>
                </a:lnTo>
                <a:lnTo>
                  <a:pt x="3303" y="1895"/>
                </a:lnTo>
                <a:lnTo>
                  <a:pt x="3299" y="1898"/>
                </a:lnTo>
                <a:lnTo>
                  <a:pt x="3297" y="1899"/>
                </a:lnTo>
                <a:lnTo>
                  <a:pt x="3294" y="1900"/>
                </a:lnTo>
                <a:lnTo>
                  <a:pt x="3291" y="1900"/>
                </a:lnTo>
                <a:lnTo>
                  <a:pt x="3288" y="1900"/>
                </a:lnTo>
                <a:lnTo>
                  <a:pt x="3285" y="1899"/>
                </a:lnTo>
                <a:lnTo>
                  <a:pt x="3283" y="1897"/>
                </a:lnTo>
                <a:lnTo>
                  <a:pt x="3280" y="1895"/>
                </a:lnTo>
                <a:lnTo>
                  <a:pt x="3279" y="1893"/>
                </a:lnTo>
                <a:lnTo>
                  <a:pt x="3277" y="1890"/>
                </a:lnTo>
                <a:lnTo>
                  <a:pt x="3276" y="1887"/>
                </a:lnTo>
                <a:lnTo>
                  <a:pt x="3276" y="1883"/>
                </a:lnTo>
                <a:lnTo>
                  <a:pt x="3278" y="1878"/>
                </a:lnTo>
                <a:lnTo>
                  <a:pt x="3280" y="1875"/>
                </a:lnTo>
                <a:lnTo>
                  <a:pt x="3284" y="1872"/>
                </a:lnTo>
                <a:close/>
                <a:moveTo>
                  <a:pt x="3144" y="1905"/>
                </a:moveTo>
                <a:lnTo>
                  <a:pt x="3147" y="1903"/>
                </a:lnTo>
                <a:lnTo>
                  <a:pt x="3150" y="1903"/>
                </a:lnTo>
                <a:lnTo>
                  <a:pt x="3153" y="1903"/>
                </a:lnTo>
                <a:lnTo>
                  <a:pt x="3156" y="1903"/>
                </a:lnTo>
                <a:lnTo>
                  <a:pt x="3159" y="1904"/>
                </a:lnTo>
                <a:lnTo>
                  <a:pt x="3161" y="1906"/>
                </a:lnTo>
                <a:lnTo>
                  <a:pt x="3163" y="1908"/>
                </a:lnTo>
                <a:lnTo>
                  <a:pt x="3165" y="1910"/>
                </a:lnTo>
                <a:lnTo>
                  <a:pt x="3166" y="1913"/>
                </a:lnTo>
                <a:lnTo>
                  <a:pt x="3167" y="1918"/>
                </a:lnTo>
                <a:lnTo>
                  <a:pt x="3166" y="1921"/>
                </a:lnTo>
                <a:lnTo>
                  <a:pt x="3166" y="1923"/>
                </a:lnTo>
                <a:lnTo>
                  <a:pt x="3165" y="1926"/>
                </a:lnTo>
                <a:lnTo>
                  <a:pt x="3163" y="1928"/>
                </a:lnTo>
                <a:lnTo>
                  <a:pt x="3161" y="1929"/>
                </a:lnTo>
                <a:lnTo>
                  <a:pt x="3159" y="1931"/>
                </a:lnTo>
                <a:lnTo>
                  <a:pt x="3156" y="1932"/>
                </a:lnTo>
                <a:lnTo>
                  <a:pt x="3153" y="1933"/>
                </a:lnTo>
                <a:lnTo>
                  <a:pt x="3150" y="1933"/>
                </a:lnTo>
                <a:lnTo>
                  <a:pt x="3147" y="1932"/>
                </a:lnTo>
                <a:lnTo>
                  <a:pt x="3144" y="1931"/>
                </a:lnTo>
                <a:lnTo>
                  <a:pt x="3142" y="1930"/>
                </a:lnTo>
                <a:lnTo>
                  <a:pt x="3140" y="1928"/>
                </a:lnTo>
                <a:lnTo>
                  <a:pt x="3138" y="1925"/>
                </a:lnTo>
                <a:lnTo>
                  <a:pt x="3137" y="1922"/>
                </a:lnTo>
                <a:lnTo>
                  <a:pt x="3136" y="1917"/>
                </a:lnTo>
                <a:lnTo>
                  <a:pt x="3137" y="1914"/>
                </a:lnTo>
                <a:lnTo>
                  <a:pt x="3137" y="1912"/>
                </a:lnTo>
                <a:lnTo>
                  <a:pt x="3139" y="1910"/>
                </a:lnTo>
                <a:lnTo>
                  <a:pt x="3140" y="1908"/>
                </a:lnTo>
                <a:lnTo>
                  <a:pt x="3142" y="1906"/>
                </a:lnTo>
                <a:lnTo>
                  <a:pt x="3144" y="1905"/>
                </a:lnTo>
                <a:close/>
                <a:moveTo>
                  <a:pt x="2892" y="2038"/>
                </a:moveTo>
                <a:lnTo>
                  <a:pt x="2895" y="2037"/>
                </a:lnTo>
                <a:lnTo>
                  <a:pt x="2897" y="2036"/>
                </a:lnTo>
                <a:lnTo>
                  <a:pt x="2902" y="2036"/>
                </a:lnTo>
                <a:lnTo>
                  <a:pt x="2907" y="2037"/>
                </a:lnTo>
                <a:lnTo>
                  <a:pt x="2909" y="2038"/>
                </a:lnTo>
                <a:lnTo>
                  <a:pt x="2911" y="2040"/>
                </a:lnTo>
                <a:lnTo>
                  <a:pt x="2913" y="2042"/>
                </a:lnTo>
                <a:lnTo>
                  <a:pt x="2914" y="2045"/>
                </a:lnTo>
                <a:lnTo>
                  <a:pt x="2915" y="2048"/>
                </a:lnTo>
                <a:lnTo>
                  <a:pt x="2915" y="2051"/>
                </a:lnTo>
                <a:lnTo>
                  <a:pt x="2915" y="2054"/>
                </a:lnTo>
                <a:lnTo>
                  <a:pt x="2914" y="2057"/>
                </a:lnTo>
                <a:lnTo>
                  <a:pt x="2913" y="2059"/>
                </a:lnTo>
                <a:lnTo>
                  <a:pt x="2911" y="2062"/>
                </a:lnTo>
                <a:lnTo>
                  <a:pt x="2908" y="2064"/>
                </a:lnTo>
                <a:lnTo>
                  <a:pt x="2905" y="2065"/>
                </a:lnTo>
                <a:lnTo>
                  <a:pt x="2903" y="2066"/>
                </a:lnTo>
                <a:lnTo>
                  <a:pt x="2898" y="2066"/>
                </a:lnTo>
                <a:lnTo>
                  <a:pt x="2896" y="2065"/>
                </a:lnTo>
                <a:lnTo>
                  <a:pt x="2893" y="2064"/>
                </a:lnTo>
                <a:lnTo>
                  <a:pt x="2891" y="2063"/>
                </a:lnTo>
                <a:lnTo>
                  <a:pt x="2889" y="2062"/>
                </a:lnTo>
                <a:lnTo>
                  <a:pt x="2887" y="2059"/>
                </a:lnTo>
                <a:lnTo>
                  <a:pt x="2886" y="2056"/>
                </a:lnTo>
                <a:lnTo>
                  <a:pt x="2885" y="2054"/>
                </a:lnTo>
                <a:lnTo>
                  <a:pt x="2885" y="2051"/>
                </a:lnTo>
                <a:lnTo>
                  <a:pt x="2885" y="2048"/>
                </a:lnTo>
                <a:lnTo>
                  <a:pt x="2886" y="2045"/>
                </a:lnTo>
                <a:lnTo>
                  <a:pt x="2887" y="2042"/>
                </a:lnTo>
                <a:lnTo>
                  <a:pt x="2889" y="2040"/>
                </a:lnTo>
                <a:lnTo>
                  <a:pt x="2892" y="2038"/>
                </a:lnTo>
                <a:close/>
                <a:moveTo>
                  <a:pt x="3010" y="1957"/>
                </a:moveTo>
                <a:lnTo>
                  <a:pt x="3013" y="1956"/>
                </a:lnTo>
                <a:lnTo>
                  <a:pt x="3016" y="1955"/>
                </a:lnTo>
                <a:lnTo>
                  <a:pt x="3020" y="1955"/>
                </a:lnTo>
                <a:lnTo>
                  <a:pt x="3023" y="1956"/>
                </a:lnTo>
                <a:lnTo>
                  <a:pt x="3025" y="1957"/>
                </a:lnTo>
                <a:lnTo>
                  <a:pt x="3028" y="1958"/>
                </a:lnTo>
                <a:lnTo>
                  <a:pt x="3029" y="1960"/>
                </a:lnTo>
                <a:lnTo>
                  <a:pt x="3030" y="1961"/>
                </a:lnTo>
                <a:lnTo>
                  <a:pt x="3031" y="1963"/>
                </a:lnTo>
                <a:lnTo>
                  <a:pt x="3032" y="1966"/>
                </a:lnTo>
                <a:lnTo>
                  <a:pt x="3033" y="1969"/>
                </a:lnTo>
                <a:lnTo>
                  <a:pt x="3033" y="1972"/>
                </a:lnTo>
                <a:lnTo>
                  <a:pt x="3032" y="1974"/>
                </a:lnTo>
                <a:lnTo>
                  <a:pt x="3031" y="1977"/>
                </a:lnTo>
                <a:lnTo>
                  <a:pt x="3030" y="1979"/>
                </a:lnTo>
                <a:lnTo>
                  <a:pt x="3028" y="1981"/>
                </a:lnTo>
                <a:lnTo>
                  <a:pt x="3025" y="1983"/>
                </a:lnTo>
                <a:lnTo>
                  <a:pt x="3022" y="1984"/>
                </a:lnTo>
                <a:lnTo>
                  <a:pt x="3019" y="1985"/>
                </a:lnTo>
                <a:lnTo>
                  <a:pt x="3016" y="1985"/>
                </a:lnTo>
                <a:lnTo>
                  <a:pt x="3013" y="1984"/>
                </a:lnTo>
                <a:lnTo>
                  <a:pt x="3010" y="1983"/>
                </a:lnTo>
                <a:lnTo>
                  <a:pt x="3008" y="1981"/>
                </a:lnTo>
                <a:lnTo>
                  <a:pt x="3006" y="1979"/>
                </a:lnTo>
                <a:lnTo>
                  <a:pt x="3004" y="1977"/>
                </a:lnTo>
                <a:lnTo>
                  <a:pt x="3003" y="1974"/>
                </a:lnTo>
                <a:lnTo>
                  <a:pt x="3002" y="1971"/>
                </a:lnTo>
                <a:lnTo>
                  <a:pt x="3003" y="1968"/>
                </a:lnTo>
                <a:lnTo>
                  <a:pt x="3003" y="1965"/>
                </a:lnTo>
                <a:lnTo>
                  <a:pt x="3004" y="1963"/>
                </a:lnTo>
                <a:lnTo>
                  <a:pt x="3006" y="1961"/>
                </a:lnTo>
                <a:lnTo>
                  <a:pt x="3008" y="1958"/>
                </a:lnTo>
                <a:lnTo>
                  <a:pt x="3010" y="1957"/>
                </a:lnTo>
                <a:close/>
              </a:path>
            </a:pathLst>
          </a:custGeom>
          <a:solidFill>
            <a:srgbClr val="59995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E910193-104B-4A01-9349-DB7337C20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620713"/>
            <a:ext cx="10658475" cy="10800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i-FI"/>
              <a:t>Muokkaa ots. perustyyl. napsautt.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F17E84-4165-43C3-A522-0F15AF1B17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3" y="1916113"/>
            <a:ext cx="10658475" cy="43211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3FA7CB-37E7-483D-9758-3AFF9F4DCE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27448" y="6525344"/>
            <a:ext cx="1800846" cy="1447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8BD618-070D-4435-A28F-03342B154E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27648" y="6525344"/>
            <a:ext cx="8497590" cy="1447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r>
              <a:rPr lang="en-GB"/>
              <a:t>Janne Pelj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B08334-8A2D-46D7-9747-D2F60C04D8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763" y="6525344"/>
            <a:ext cx="360685" cy="1447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900">
                <a:solidFill>
                  <a:schemeClr val="accent2"/>
                </a:solidFill>
              </a:defRPr>
            </a:lvl1pPr>
          </a:lstStyle>
          <a:p>
            <a:fld id="{2E270FB2-C416-455B-8FD2-88A9B37B7CB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auto">
          <a:xfrm>
            <a:off x="11559154" y="6381360"/>
            <a:ext cx="441502" cy="288000"/>
          </a:xfrm>
          <a:custGeom>
            <a:avLst/>
            <a:gdLst>
              <a:gd name="T0" fmla="*/ 4723 w 4832"/>
              <a:gd name="T1" fmla="*/ 3013 h 3151"/>
              <a:gd name="T2" fmla="*/ 4832 w 4832"/>
              <a:gd name="T3" fmla="*/ 2823 h 3151"/>
              <a:gd name="T4" fmla="*/ 4528 w 4832"/>
              <a:gd name="T5" fmla="*/ 2477 h 3151"/>
              <a:gd name="T6" fmla="*/ 3856 w 4832"/>
              <a:gd name="T7" fmla="*/ 1752 h 3151"/>
              <a:gd name="T8" fmla="*/ 3822 w 4832"/>
              <a:gd name="T9" fmla="*/ 1556 h 3151"/>
              <a:gd name="T10" fmla="*/ 4294 w 4832"/>
              <a:gd name="T11" fmla="*/ 983 h 3151"/>
              <a:gd name="T12" fmla="*/ 4769 w 4832"/>
              <a:gd name="T13" fmla="*/ 398 h 3151"/>
              <a:gd name="T14" fmla="*/ 4767 w 4832"/>
              <a:gd name="T15" fmla="*/ 214 h 3151"/>
              <a:gd name="T16" fmla="*/ 4612 w 4832"/>
              <a:gd name="T17" fmla="*/ 67 h 3151"/>
              <a:gd name="T18" fmla="*/ 4476 w 4832"/>
              <a:gd name="T19" fmla="*/ 42 h 3151"/>
              <a:gd name="T20" fmla="*/ 3470 w 4832"/>
              <a:gd name="T21" fmla="*/ 1204 h 3151"/>
              <a:gd name="T22" fmla="*/ 3313 w 4832"/>
              <a:gd name="T23" fmla="*/ 1513 h 3151"/>
              <a:gd name="T24" fmla="*/ 3331 w 4832"/>
              <a:gd name="T25" fmla="*/ 1835 h 3151"/>
              <a:gd name="T26" fmla="*/ 3622 w 4832"/>
              <a:gd name="T27" fmla="*/ 2276 h 3151"/>
              <a:gd name="T28" fmla="*/ 4372 w 4832"/>
              <a:gd name="T29" fmla="*/ 3013 h 3151"/>
              <a:gd name="T30" fmla="*/ 1383 w 4832"/>
              <a:gd name="T31" fmla="*/ 3147 h 3151"/>
              <a:gd name="T32" fmla="*/ 2137 w 4832"/>
              <a:gd name="T33" fmla="*/ 2872 h 3151"/>
              <a:gd name="T34" fmla="*/ 2721 w 4832"/>
              <a:gd name="T35" fmla="*/ 2237 h 3151"/>
              <a:gd name="T36" fmla="*/ 3094 w 4832"/>
              <a:gd name="T37" fmla="*/ 1347 h 3151"/>
              <a:gd name="T38" fmla="*/ 3212 w 4832"/>
              <a:gd name="T39" fmla="*/ 393 h 3151"/>
              <a:gd name="T40" fmla="*/ 3133 w 4832"/>
              <a:gd name="T41" fmla="*/ 155 h 3151"/>
              <a:gd name="T42" fmla="*/ 2925 w 4832"/>
              <a:gd name="T43" fmla="*/ 76 h 3151"/>
              <a:gd name="T44" fmla="*/ 2749 w 4832"/>
              <a:gd name="T45" fmla="*/ 150 h 3151"/>
              <a:gd name="T46" fmla="*/ 2714 w 4832"/>
              <a:gd name="T47" fmla="*/ 705 h 3151"/>
              <a:gd name="T48" fmla="*/ 2509 w 4832"/>
              <a:gd name="T49" fmla="*/ 1521 h 3151"/>
              <a:gd name="T50" fmla="*/ 2104 w 4832"/>
              <a:gd name="T51" fmla="*/ 2224 h 3151"/>
              <a:gd name="T52" fmla="*/ 1516 w 4832"/>
              <a:gd name="T53" fmla="*/ 2616 h 3151"/>
              <a:gd name="T54" fmla="*/ 1056 w 4832"/>
              <a:gd name="T55" fmla="*/ 2606 h 3151"/>
              <a:gd name="T56" fmla="*/ 770 w 4832"/>
              <a:gd name="T57" fmla="*/ 2434 h 3151"/>
              <a:gd name="T58" fmla="*/ 575 w 4832"/>
              <a:gd name="T59" fmla="*/ 2144 h 3151"/>
              <a:gd name="T60" fmla="*/ 482 w 4832"/>
              <a:gd name="T61" fmla="*/ 1760 h 3151"/>
              <a:gd name="T62" fmla="*/ 513 w 4832"/>
              <a:gd name="T63" fmla="*/ 1298 h 3151"/>
              <a:gd name="T64" fmla="*/ 680 w 4832"/>
              <a:gd name="T65" fmla="*/ 887 h 3151"/>
              <a:gd name="T66" fmla="*/ 936 w 4832"/>
              <a:gd name="T67" fmla="*/ 586 h 3151"/>
              <a:gd name="T68" fmla="*/ 1234 w 4832"/>
              <a:gd name="T69" fmla="*/ 436 h 3151"/>
              <a:gd name="T70" fmla="*/ 1502 w 4832"/>
              <a:gd name="T71" fmla="*/ 460 h 3151"/>
              <a:gd name="T72" fmla="*/ 1649 w 4832"/>
              <a:gd name="T73" fmla="*/ 612 h 3151"/>
              <a:gd name="T74" fmla="*/ 1652 w 4832"/>
              <a:gd name="T75" fmla="*/ 879 h 3151"/>
              <a:gd name="T76" fmla="*/ 1491 w 4832"/>
              <a:gd name="T77" fmla="*/ 1144 h 3151"/>
              <a:gd name="T78" fmla="*/ 1222 w 4832"/>
              <a:gd name="T79" fmla="*/ 1352 h 3151"/>
              <a:gd name="T80" fmla="*/ 816 w 4832"/>
              <a:gd name="T81" fmla="*/ 1490 h 3151"/>
              <a:gd name="T82" fmla="*/ 734 w 4832"/>
              <a:gd name="T83" fmla="*/ 1605 h 3151"/>
              <a:gd name="T84" fmla="*/ 764 w 4832"/>
              <a:gd name="T85" fmla="*/ 1781 h 3151"/>
              <a:gd name="T86" fmla="*/ 889 w 4832"/>
              <a:gd name="T87" fmla="*/ 1897 h 3151"/>
              <a:gd name="T88" fmla="*/ 1225 w 4832"/>
              <a:gd name="T89" fmla="*/ 1873 h 3151"/>
              <a:gd name="T90" fmla="*/ 1624 w 4832"/>
              <a:gd name="T91" fmla="*/ 1681 h 3151"/>
              <a:gd name="T92" fmla="*/ 1936 w 4832"/>
              <a:gd name="T93" fmla="*/ 1365 h 3151"/>
              <a:gd name="T94" fmla="*/ 2105 w 4832"/>
              <a:gd name="T95" fmla="*/ 969 h 3151"/>
              <a:gd name="T96" fmla="*/ 2096 w 4832"/>
              <a:gd name="T97" fmla="*/ 583 h 3151"/>
              <a:gd name="T98" fmla="*/ 1976 w 4832"/>
              <a:gd name="T99" fmla="*/ 305 h 3151"/>
              <a:gd name="T100" fmla="*/ 1748 w 4832"/>
              <a:gd name="T101" fmla="*/ 95 h 3151"/>
              <a:gd name="T102" fmla="*/ 1448 w 4832"/>
              <a:gd name="T103" fmla="*/ 4 h 3151"/>
              <a:gd name="T104" fmla="*/ 954 w 4832"/>
              <a:gd name="T105" fmla="*/ 78 h 3151"/>
              <a:gd name="T106" fmla="*/ 492 w 4832"/>
              <a:gd name="T107" fmla="*/ 392 h 3151"/>
              <a:gd name="T108" fmla="*/ 162 w 4832"/>
              <a:gd name="T109" fmla="*/ 884 h 3151"/>
              <a:gd name="T110" fmla="*/ 7 w 4832"/>
              <a:gd name="T111" fmla="*/ 1487 h 3151"/>
              <a:gd name="T112" fmla="*/ 58 w 4832"/>
              <a:gd name="T113" fmla="*/ 2098 h 3151"/>
              <a:gd name="T114" fmla="*/ 292 w 4832"/>
              <a:gd name="T115" fmla="*/ 2609 h 3151"/>
              <a:gd name="T116" fmla="*/ 670 w 4832"/>
              <a:gd name="T117" fmla="*/ 2972 h 3151"/>
              <a:gd name="T118" fmla="*/ 1149 w 4832"/>
              <a:gd name="T119" fmla="*/ 3144 h 3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832" h="3151">
                <a:moveTo>
                  <a:pt x="4537" y="3102"/>
                </a:moveTo>
                <a:lnTo>
                  <a:pt x="4550" y="3102"/>
                </a:lnTo>
                <a:lnTo>
                  <a:pt x="4562" y="3100"/>
                </a:lnTo>
                <a:lnTo>
                  <a:pt x="4575" y="3098"/>
                </a:lnTo>
                <a:lnTo>
                  <a:pt x="4588" y="3095"/>
                </a:lnTo>
                <a:lnTo>
                  <a:pt x="4600" y="3090"/>
                </a:lnTo>
                <a:lnTo>
                  <a:pt x="4613" y="3086"/>
                </a:lnTo>
                <a:lnTo>
                  <a:pt x="4626" y="3080"/>
                </a:lnTo>
                <a:lnTo>
                  <a:pt x="4639" y="3074"/>
                </a:lnTo>
                <a:lnTo>
                  <a:pt x="4651" y="3067"/>
                </a:lnTo>
                <a:lnTo>
                  <a:pt x="4664" y="3059"/>
                </a:lnTo>
                <a:lnTo>
                  <a:pt x="4676" y="3051"/>
                </a:lnTo>
                <a:lnTo>
                  <a:pt x="4688" y="3042"/>
                </a:lnTo>
                <a:lnTo>
                  <a:pt x="4700" y="3033"/>
                </a:lnTo>
                <a:lnTo>
                  <a:pt x="4712" y="3023"/>
                </a:lnTo>
                <a:lnTo>
                  <a:pt x="4723" y="3013"/>
                </a:lnTo>
                <a:lnTo>
                  <a:pt x="4734" y="3002"/>
                </a:lnTo>
                <a:lnTo>
                  <a:pt x="4744" y="2992"/>
                </a:lnTo>
                <a:lnTo>
                  <a:pt x="4754" y="2980"/>
                </a:lnTo>
                <a:lnTo>
                  <a:pt x="4764" y="2969"/>
                </a:lnTo>
                <a:lnTo>
                  <a:pt x="4773" y="2957"/>
                </a:lnTo>
                <a:lnTo>
                  <a:pt x="4782" y="2944"/>
                </a:lnTo>
                <a:lnTo>
                  <a:pt x="4790" y="2932"/>
                </a:lnTo>
                <a:lnTo>
                  <a:pt x="4798" y="2920"/>
                </a:lnTo>
                <a:lnTo>
                  <a:pt x="4804" y="2908"/>
                </a:lnTo>
                <a:lnTo>
                  <a:pt x="4811" y="2895"/>
                </a:lnTo>
                <a:lnTo>
                  <a:pt x="4816" y="2883"/>
                </a:lnTo>
                <a:lnTo>
                  <a:pt x="4821" y="2871"/>
                </a:lnTo>
                <a:lnTo>
                  <a:pt x="4825" y="2859"/>
                </a:lnTo>
                <a:lnTo>
                  <a:pt x="4828" y="2847"/>
                </a:lnTo>
                <a:lnTo>
                  <a:pt x="4830" y="2835"/>
                </a:lnTo>
                <a:lnTo>
                  <a:pt x="4832" y="2823"/>
                </a:lnTo>
                <a:lnTo>
                  <a:pt x="4832" y="2812"/>
                </a:lnTo>
                <a:lnTo>
                  <a:pt x="4832" y="2806"/>
                </a:lnTo>
                <a:lnTo>
                  <a:pt x="4831" y="2800"/>
                </a:lnTo>
                <a:lnTo>
                  <a:pt x="4830" y="2794"/>
                </a:lnTo>
                <a:lnTo>
                  <a:pt x="4829" y="2789"/>
                </a:lnTo>
                <a:lnTo>
                  <a:pt x="4828" y="2784"/>
                </a:lnTo>
                <a:lnTo>
                  <a:pt x="4826" y="2779"/>
                </a:lnTo>
                <a:lnTo>
                  <a:pt x="4821" y="2770"/>
                </a:lnTo>
                <a:lnTo>
                  <a:pt x="4815" y="2761"/>
                </a:lnTo>
                <a:lnTo>
                  <a:pt x="4809" y="2752"/>
                </a:lnTo>
                <a:lnTo>
                  <a:pt x="4802" y="2744"/>
                </a:lnTo>
                <a:lnTo>
                  <a:pt x="4794" y="2735"/>
                </a:lnTo>
                <a:lnTo>
                  <a:pt x="4731" y="2675"/>
                </a:lnTo>
                <a:lnTo>
                  <a:pt x="4665" y="2612"/>
                </a:lnTo>
                <a:lnTo>
                  <a:pt x="4598" y="2545"/>
                </a:lnTo>
                <a:lnTo>
                  <a:pt x="4528" y="2477"/>
                </a:lnTo>
                <a:lnTo>
                  <a:pt x="4459" y="2408"/>
                </a:lnTo>
                <a:lnTo>
                  <a:pt x="4390" y="2338"/>
                </a:lnTo>
                <a:lnTo>
                  <a:pt x="4322" y="2269"/>
                </a:lnTo>
                <a:lnTo>
                  <a:pt x="4256" y="2201"/>
                </a:lnTo>
                <a:lnTo>
                  <a:pt x="4192" y="2133"/>
                </a:lnTo>
                <a:lnTo>
                  <a:pt x="4131" y="2069"/>
                </a:lnTo>
                <a:lnTo>
                  <a:pt x="4074" y="2008"/>
                </a:lnTo>
                <a:lnTo>
                  <a:pt x="4022" y="1951"/>
                </a:lnTo>
                <a:lnTo>
                  <a:pt x="3997" y="1924"/>
                </a:lnTo>
                <a:lnTo>
                  <a:pt x="3974" y="1898"/>
                </a:lnTo>
                <a:lnTo>
                  <a:pt x="3933" y="1850"/>
                </a:lnTo>
                <a:lnTo>
                  <a:pt x="3914" y="1828"/>
                </a:lnTo>
                <a:lnTo>
                  <a:pt x="3897" y="1808"/>
                </a:lnTo>
                <a:lnTo>
                  <a:pt x="3882" y="1790"/>
                </a:lnTo>
                <a:lnTo>
                  <a:pt x="3870" y="1773"/>
                </a:lnTo>
                <a:lnTo>
                  <a:pt x="3856" y="1752"/>
                </a:lnTo>
                <a:lnTo>
                  <a:pt x="3844" y="1732"/>
                </a:lnTo>
                <a:lnTo>
                  <a:pt x="3839" y="1722"/>
                </a:lnTo>
                <a:lnTo>
                  <a:pt x="3834" y="1713"/>
                </a:lnTo>
                <a:lnTo>
                  <a:pt x="3829" y="1703"/>
                </a:lnTo>
                <a:lnTo>
                  <a:pt x="3825" y="1694"/>
                </a:lnTo>
                <a:lnTo>
                  <a:pt x="3818" y="1675"/>
                </a:lnTo>
                <a:lnTo>
                  <a:pt x="3816" y="1665"/>
                </a:lnTo>
                <a:lnTo>
                  <a:pt x="3814" y="1656"/>
                </a:lnTo>
                <a:lnTo>
                  <a:pt x="3811" y="1638"/>
                </a:lnTo>
                <a:lnTo>
                  <a:pt x="3810" y="1628"/>
                </a:lnTo>
                <a:lnTo>
                  <a:pt x="3810" y="1619"/>
                </a:lnTo>
                <a:lnTo>
                  <a:pt x="3810" y="1603"/>
                </a:lnTo>
                <a:lnTo>
                  <a:pt x="3813" y="1587"/>
                </a:lnTo>
                <a:lnTo>
                  <a:pt x="3816" y="1572"/>
                </a:lnTo>
                <a:lnTo>
                  <a:pt x="3819" y="1564"/>
                </a:lnTo>
                <a:lnTo>
                  <a:pt x="3822" y="1556"/>
                </a:lnTo>
                <a:lnTo>
                  <a:pt x="3825" y="1549"/>
                </a:lnTo>
                <a:lnTo>
                  <a:pt x="3829" y="1541"/>
                </a:lnTo>
                <a:lnTo>
                  <a:pt x="3833" y="1533"/>
                </a:lnTo>
                <a:lnTo>
                  <a:pt x="3837" y="1526"/>
                </a:lnTo>
                <a:lnTo>
                  <a:pt x="3842" y="1518"/>
                </a:lnTo>
                <a:lnTo>
                  <a:pt x="3847" y="1510"/>
                </a:lnTo>
                <a:lnTo>
                  <a:pt x="3859" y="1494"/>
                </a:lnTo>
                <a:lnTo>
                  <a:pt x="3875" y="1472"/>
                </a:lnTo>
                <a:lnTo>
                  <a:pt x="3894" y="1448"/>
                </a:lnTo>
                <a:lnTo>
                  <a:pt x="3937" y="1395"/>
                </a:lnTo>
                <a:lnTo>
                  <a:pt x="3987" y="1334"/>
                </a:lnTo>
                <a:lnTo>
                  <a:pt x="4014" y="1303"/>
                </a:lnTo>
                <a:lnTo>
                  <a:pt x="4042" y="1270"/>
                </a:lnTo>
                <a:lnTo>
                  <a:pt x="4101" y="1202"/>
                </a:lnTo>
                <a:lnTo>
                  <a:pt x="4164" y="1130"/>
                </a:lnTo>
                <a:lnTo>
                  <a:pt x="4294" y="983"/>
                </a:lnTo>
                <a:lnTo>
                  <a:pt x="4422" y="838"/>
                </a:lnTo>
                <a:lnTo>
                  <a:pt x="4484" y="768"/>
                </a:lnTo>
                <a:lnTo>
                  <a:pt x="4542" y="703"/>
                </a:lnTo>
                <a:lnTo>
                  <a:pt x="4595" y="642"/>
                </a:lnTo>
                <a:lnTo>
                  <a:pt x="4641" y="586"/>
                </a:lnTo>
                <a:lnTo>
                  <a:pt x="4662" y="561"/>
                </a:lnTo>
                <a:lnTo>
                  <a:pt x="4681" y="538"/>
                </a:lnTo>
                <a:lnTo>
                  <a:pt x="4712" y="498"/>
                </a:lnTo>
                <a:lnTo>
                  <a:pt x="4721" y="484"/>
                </a:lnTo>
                <a:lnTo>
                  <a:pt x="4729" y="471"/>
                </a:lnTo>
                <a:lnTo>
                  <a:pt x="4737" y="459"/>
                </a:lnTo>
                <a:lnTo>
                  <a:pt x="4745" y="446"/>
                </a:lnTo>
                <a:lnTo>
                  <a:pt x="4751" y="434"/>
                </a:lnTo>
                <a:lnTo>
                  <a:pt x="4758" y="422"/>
                </a:lnTo>
                <a:lnTo>
                  <a:pt x="4763" y="410"/>
                </a:lnTo>
                <a:lnTo>
                  <a:pt x="4769" y="398"/>
                </a:lnTo>
                <a:lnTo>
                  <a:pt x="4773" y="386"/>
                </a:lnTo>
                <a:lnTo>
                  <a:pt x="4777" y="375"/>
                </a:lnTo>
                <a:lnTo>
                  <a:pt x="4781" y="363"/>
                </a:lnTo>
                <a:lnTo>
                  <a:pt x="4783" y="352"/>
                </a:lnTo>
                <a:lnTo>
                  <a:pt x="4786" y="340"/>
                </a:lnTo>
                <a:lnTo>
                  <a:pt x="4787" y="329"/>
                </a:lnTo>
                <a:lnTo>
                  <a:pt x="4788" y="318"/>
                </a:lnTo>
                <a:lnTo>
                  <a:pt x="4788" y="307"/>
                </a:lnTo>
                <a:lnTo>
                  <a:pt x="4788" y="296"/>
                </a:lnTo>
                <a:lnTo>
                  <a:pt x="4787" y="286"/>
                </a:lnTo>
                <a:lnTo>
                  <a:pt x="4784" y="266"/>
                </a:lnTo>
                <a:lnTo>
                  <a:pt x="4782" y="255"/>
                </a:lnTo>
                <a:lnTo>
                  <a:pt x="4779" y="245"/>
                </a:lnTo>
                <a:lnTo>
                  <a:pt x="4776" y="235"/>
                </a:lnTo>
                <a:lnTo>
                  <a:pt x="4772" y="225"/>
                </a:lnTo>
                <a:lnTo>
                  <a:pt x="4767" y="214"/>
                </a:lnTo>
                <a:lnTo>
                  <a:pt x="4761" y="204"/>
                </a:lnTo>
                <a:lnTo>
                  <a:pt x="4755" y="193"/>
                </a:lnTo>
                <a:lnTo>
                  <a:pt x="4748" y="183"/>
                </a:lnTo>
                <a:lnTo>
                  <a:pt x="4741" y="173"/>
                </a:lnTo>
                <a:lnTo>
                  <a:pt x="4734" y="164"/>
                </a:lnTo>
                <a:lnTo>
                  <a:pt x="4719" y="146"/>
                </a:lnTo>
                <a:lnTo>
                  <a:pt x="4711" y="138"/>
                </a:lnTo>
                <a:lnTo>
                  <a:pt x="4702" y="130"/>
                </a:lnTo>
                <a:lnTo>
                  <a:pt x="4694" y="122"/>
                </a:lnTo>
                <a:lnTo>
                  <a:pt x="4685" y="115"/>
                </a:lnTo>
                <a:lnTo>
                  <a:pt x="4676" y="107"/>
                </a:lnTo>
                <a:lnTo>
                  <a:pt x="4667" y="101"/>
                </a:lnTo>
                <a:lnTo>
                  <a:pt x="4658" y="94"/>
                </a:lnTo>
                <a:lnTo>
                  <a:pt x="4649" y="88"/>
                </a:lnTo>
                <a:lnTo>
                  <a:pt x="4631" y="77"/>
                </a:lnTo>
                <a:lnTo>
                  <a:pt x="4612" y="67"/>
                </a:lnTo>
                <a:lnTo>
                  <a:pt x="4603" y="62"/>
                </a:lnTo>
                <a:lnTo>
                  <a:pt x="4594" y="58"/>
                </a:lnTo>
                <a:lnTo>
                  <a:pt x="4585" y="54"/>
                </a:lnTo>
                <a:lnTo>
                  <a:pt x="4576" y="51"/>
                </a:lnTo>
                <a:lnTo>
                  <a:pt x="4567" y="48"/>
                </a:lnTo>
                <a:lnTo>
                  <a:pt x="4558" y="45"/>
                </a:lnTo>
                <a:lnTo>
                  <a:pt x="4549" y="43"/>
                </a:lnTo>
                <a:lnTo>
                  <a:pt x="4541" y="41"/>
                </a:lnTo>
                <a:lnTo>
                  <a:pt x="4533" y="40"/>
                </a:lnTo>
                <a:lnTo>
                  <a:pt x="4524" y="39"/>
                </a:lnTo>
                <a:lnTo>
                  <a:pt x="4509" y="38"/>
                </a:lnTo>
                <a:lnTo>
                  <a:pt x="4500" y="38"/>
                </a:lnTo>
                <a:lnTo>
                  <a:pt x="4492" y="39"/>
                </a:lnTo>
                <a:lnTo>
                  <a:pt x="4485" y="40"/>
                </a:lnTo>
                <a:lnTo>
                  <a:pt x="4480" y="41"/>
                </a:lnTo>
                <a:lnTo>
                  <a:pt x="4476" y="42"/>
                </a:lnTo>
                <a:lnTo>
                  <a:pt x="4473" y="43"/>
                </a:lnTo>
                <a:lnTo>
                  <a:pt x="4471" y="44"/>
                </a:lnTo>
                <a:lnTo>
                  <a:pt x="4398" y="129"/>
                </a:lnTo>
                <a:lnTo>
                  <a:pt x="4324" y="217"/>
                </a:lnTo>
                <a:lnTo>
                  <a:pt x="4248" y="303"/>
                </a:lnTo>
                <a:lnTo>
                  <a:pt x="4172" y="390"/>
                </a:lnTo>
                <a:lnTo>
                  <a:pt x="4021" y="560"/>
                </a:lnTo>
                <a:lnTo>
                  <a:pt x="3874" y="725"/>
                </a:lnTo>
                <a:lnTo>
                  <a:pt x="3806" y="803"/>
                </a:lnTo>
                <a:lnTo>
                  <a:pt x="3740" y="877"/>
                </a:lnTo>
                <a:lnTo>
                  <a:pt x="3679" y="948"/>
                </a:lnTo>
                <a:lnTo>
                  <a:pt x="3622" y="1015"/>
                </a:lnTo>
                <a:lnTo>
                  <a:pt x="3571" y="1076"/>
                </a:lnTo>
                <a:lnTo>
                  <a:pt x="3525" y="1132"/>
                </a:lnTo>
                <a:lnTo>
                  <a:pt x="3486" y="1182"/>
                </a:lnTo>
                <a:lnTo>
                  <a:pt x="3470" y="1204"/>
                </a:lnTo>
                <a:lnTo>
                  <a:pt x="3455" y="1225"/>
                </a:lnTo>
                <a:lnTo>
                  <a:pt x="3435" y="1255"/>
                </a:lnTo>
                <a:lnTo>
                  <a:pt x="3426" y="1269"/>
                </a:lnTo>
                <a:lnTo>
                  <a:pt x="3417" y="1284"/>
                </a:lnTo>
                <a:lnTo>
                  <a:pt x="3408" y="1298"/>
                </a:lnTo>
                <a:lnTo>
                  <a:pt x="3400" y="1312"/>
                </a:lnTo>
                <a:lnTo>
                  <a:pt x="3384" y="1340"/>
                </a:lnTo>
                <a:lnTo>
                  <a:pt x="3370" y="1368"/>
                </a:lnTo>
                <a:lnTo>
                  <a:pt x="3357" y="1396"/>
                </a:lnTo>
                <a:lnTo>
                  <a:pt x="3345" y="1422"/>
                </a:lnTo>
                <a:lnTo>
                  <a:pt x="3340" y="1436"/>
                </a:lnTo>
                <a:lnTo>
                  <a:pt x="3335" y="1449"/>
                </a:lnTo>
                <a:lnTo>
                  <a:pt x="3326" y="1475"/>
                </a:lnTo>
                <a:lnTo>
                  <a:pt x="3321" y="1487"/>
                </a:lnTo>
                <a:lnTo>
                  <a:pt x="3317" y="1500"/>
                </a:lnTo>
                <a:lnTo>
                  <a:pt x="3313" y="1513"/>
                </a:lnTo>
                <a:lnTo>
                  <a:pt x="3310" y="1525"/>
                </a:lnTo>
                <a:lnTo>
                  <a:pt x="3305" y="1550"/>
                </a:lnTo>
                <a:lnTo>
                  <a:pt x="3301" y="1575"/>
                </a:lnTo>
                <a:lnTo>
                  <a:pt x="3298" y="1599"/>
                </a:lnTo>
                <a:lnTo>
                  <a:pt x="3296" y="1623"/>
                </a:lnTo>
                <a:lnTo>
                  <a:pt x="3296" y="1635"/>
                </a:lnTo>
                <a:lnTo>
                  <a:pt x="3296" y="1646"/>
                </a:lnTo>
                <a:lnTo>
                  <a:pt x="3296" y="1668"/>
                </a:lnTo>
                <a:lnTo>
                  <a:pt x="3297" y="1689"/>
                </a:lnTo>
                <a:lnTo>
                  <a:pt x="3300" y="1710"/>
                </a:lnTo>
                <a:lnTo>
                  <a:pt x="3303" y="1731"/>
                </a:lnTo>
                <a:lnTo>
                  <a:pt x="3306" y="1752"/>
                </a:lnTo>
                <a:lnTo>
                  <a:pt x="3311" y="1773"/>
                </a:lnTo>
                <a:lnTo>
                  <a:pt x="3317" y="1794"/>
                </a:lnTo>
                <a:lnTo>
                  <a:pt x="3324" y="1815"/>
                </a:lnTo>
                <a:lnTo>
                  <a:pt x="3331" y="1835"/>
                </a:lnTo>
                <a:lnTo>
                  <a:pt x="3339" y="1856"/>
                </a:lnTo>
                <a:lnTo>
                  <a:pt x="3347" y="1877"/>
                </a:lnTo>
                <a:lnTo>
                  <a:pt x="3356" y="1898"/>
                </a:lnTo>
                <a:lnTo>
                  <a:pt x="3366" y="1920"/>
                </a:lnTo>
                <a:lnTo>
                  <a:pt x="3377" y="1942"/>
                </a:lnTo>
                <a:lnTo>
                  <a:pt x="3388" y="1963"/>
                </a:lnTo>
                <a:lnTo>
                  <a:pt x="3400" y="1986"/>
                </a:lnTo>
                <a:lnTo>
                  <a:pt x="3413" y="2008"/>
                </a:lnTo>
                <a:lnTo>
                  <a:pt x="3429" y="2032"/>
                </a:lnTo>
                <a:lnTo>
                  <a:pt x="3446" y="2057"/>
                </a:lnTo>
                <a:lnTo>
                  <a:pt x="3466" y="2084"/>
                </a:lnTo>
                <a:lnTo>
                  <a:pt x="3488" y="2113"/>
                </a:lnTo>
                <a:lnTo>
                  <a:pt x="3512" y="2143"/>
                </a:lnTo>
                <a:lnTo>
                  <a:pt x="3537" y="2176"/>
                </a:lnTo>
                <a:lnTo>
                  <a:pt x="3564" y="2208"/>
                </a:lnTo>
                <a:lnTo>
                  <a:pt x="3622" y="2276"/>
                </a:lnTo>
                <a:lnTo>
                  <a:pt x="3685" y="2346"/>
                </a:lnTo>
                <a:lnTo>
                  <a:pt x="3718" y="2382"/>
                </a:lnTo>
                <a:lnTo>
                  <a:pt x="3751" y="2419"/>
                </a:lnTo>
                <a:lnTo>
                  <a:pt x="3820" y="2492"/>
                </a:lnTo>
                <a:lnTo>
                  <a:pt x="3856" y="2529"/>
                </a:lnTo>
                <a:lnTo>
                  <a:pt x="3891" y="2566"/>
                </a:lnTo>
                <a:lnTo>
                  <a:pt x="3963" y="2638"/>
                </a:lnTo>
                <a:lnTo>
                  <a:pt x="4034" y="2708"/>
                </a:lnTo>
                <a:lnTo>
                  <a:pt x="4103" y="2774"/>
                </a:lnTo>
                <a:lnTo>
                  <a:pt x="4169" y="2836"/>
                </a:lnTo>
                <a:lnTo>
                  <a:pt x="4231" y="2893"/>
                </a:lnTo>
                <a:lnTo>
                  <a:pt x="4260" y="2919"/>
                </a:lnTo>
                <a:lnTo>
                  <a:pt x="4288" y="2943"/>
                </a:lnTo>
                <a:lnTo>
                  <a:pt x="4315" y="2967"/>
                </a:lnTo>
                <a:lnTo>
                  <a:pt x="4340" y="2987"/>
                </a:lnTo>
                <a:lnTo>
                  <a:pt x="4372" y="3013"/>
                </a:lnTo>
                <a:lnTo>
                  <a:pt x="4387" y="3024"/>
                </a:lnTo>
                <a:lnTo>
                  <a:pt x="4402" y="3035"/>
                </a:lnTo>
                <a:lnTo>
                  <a:pt x="4430" y="3055"/>
                </a:lnTo>
                <a:lnTo>
                  <a:pt x="4444" y="3063"/>
                </a:lnTo>
                <a:lnTo>
                  <a:pt x="4457" y="3071"/>
                </a:lnTo>
                <a:lnTo>
                  <a:pt x="4469" y="3078"/>
                </a:lnTo>
                <a:lnTo>
                  <a:pt x="4480" y="3084"/>
                </a:lnTo>
                <a:lnTo>
                  <a:pt x="4491" y="3090"/>
                </a:lnTo>
                <a:lnTo>
                  <a:pt x="4502" y="3094"/>
                </a:lnTo>
                <a:lnTo>
                  <a:pt x="4512" y="3098"/>
                </a:lnTo>
                <a:lnTo>
                  <a:pt x="4521" y="3100"/>
                </a:lnTo>
                <a:lnTo>
                  <a:pt x="4529" y="3102"/>
                </a:lnTo>
                <a:lnTo>
                  <a:pt x="4537" y="3102"/>
                </a:lnTo>
                <a:close/>
                <a:moveTo>
                  <a:pt x="1279" y="3151"/>
                </a:moveTo>
                <a:lnTo>
                  <a:pt x="1331" y="3150"/>
                </a:lnTo>
                <a:lnTo>
                  <a:pt x="1383" y="3147"/>
                </a:lnTo>
                <a:lnTo>
                  <a:pt x="1434" y="3143"/>
                </a:lnTo>
                <a:lnTo>
                  <a:pt x="1485" y="3136"/>
                </a:lnTo>
                <a:lnTo>
                  <a:pt x="1536" y="3128"/>
                </a:lnTo>
                <a:lnTo>
                  <a:pt x="1586" y="3118"/>
                </a:lnTo>
                <a:lnTo>
                  <a:pt x="1635" y="3107"/>
                </a:lnTo>
                <a:lnTo>
                  <a:pt x="1683" y="3093"/>
                </a:lnTo>
                <a:lnTo>
                  <a:pt x="1731" y="3079"/>
                </a:lnTo>
                <a:lnTo>
                  <a:pt x="1779" y="3062"/>
                </a:lnTo>
                <a:lnTo>
                  <a:pt x="1826" y="3044"/>
                </a:lnTo>
                <a:lnTo>
                  <a:pt x="1872" y="3024"/>
                </a:lnTo>
                <a:lnTo>
                  <a:pt x="1917" y="3003"/>
                </a:lnTo>
                <a:lnTo>
                  <a:pt x="1963" y="2980"/>
                </a:lnTo>
                <a:lnTo>
                  <a:pt x="2007" y="2955"/>
                </a:lnTo>
                <a:lnTo>
                  <a:pt x="2051" y="2928"/>
                </a:lnTo>
                <a:lnTo>
                  <a:pt x="2094" y="2901"/>
                </a:lnTo>
                <a:lnTo>
                  <a:pt x="2137" y="2872"/>
                </a:lnTo>
                <a:lnTo>
                  <a:pt x="2179" y="2842"/>
                </a:lnTo>
                <a:lnTo>
                  <a:pt x="2220" y="2811"/>
                </a:lnTo>
                <a:lnTo>
                  <a:pt x="2261" y="2778"/>
                </a:lnTo>
                <a:lnTo>
                  <a:pt x="2301" y="2743"/>
                </a:lnTo>
                <a:lnTo>
                  <a:pt x="2340" y="2708"/>
                </a:lnTo>
                <a:lnTo>
                  <a:pt x="2378" y="2671"/>
                </a:lnTo>
                <a:lnTo>
                  <a:pt x="2416" y="2633"/>
                </a:lnTo>
                <a:lnTo>
                  <a:pt x="2453" y="2594"/>
                </a:lnTo>
                <a:lnTo>
                  <a:pt x="2489" y="2552"/>
                </a:lnTo>
                <a:lnTo>
                  <a:pt x="2524" y="2510"/>
                </a:lnTo>
                <a:lnTo>
                  <a:pt x="2559" y="2468"/>
                </a:lnTo>
                <a:lnTo>
                  <a:pt x="2593" y="2424"/>
                </a:lnTo>
                <a:lnTo>
                  <a:pt x="2626" y="2379"/>
                </a:lnTo>
                <a:lnTo>
                  <a:pt x="2658" y="2333"/>
                </a:lnTo>
                <a:lnTo>
                  <a:pt x="2690" y="2286"/>
                </a:lnTo>
                <a:lnTo>
                  <a:pt x="2721" y="2237"/>
                </a:lnTo>
                <a:lnTo>
                  <a:pt x="2751" y="2188"/>
                </a:lnTo>
                <a:lnTo>
                  <a:pt x="2780" y="2137"/>
                </a:lnTo>
                <a:lnTo>
                  <a:pt x="2809" y="2086"/>
                </a:lnTo>
                <a:lnTo>
                  <a:pt x="2836" y="2034"/>
                </a:lnTo>
                <a:lnTo>
                  <a:pt x="2862" y="1981"/>
                </a:lnTo>
                <a:lnTo>
                  <a:pt x="2888" y="1928"/>
                </a:lnTo>
                <a:lnTo>
                  <a:pt x="2913" y="1873"/>
                </a:lnTo>
                <a:lnTo>
                  <a:pt x="2936" y="1818"/>
                </a:lnTo>
                <a:lnTo>
                  <a:pt x="2959" y="1760"/>
                </a:lnTo>
                <a:lnTo>
                  <a:pt x="2981" y="1704"/>
                </a:lnTo>
                <a:lnTo>
                  <a:pt x="3002" y="1646"/>
                </a:lnTo>
                <a:lnTo>
                  <a:pt x="3023" y="1588"/>
                </a:lnTo>
                <a:lnTo>
                  <a:pt x="3042" y="1529"/>
                </a:lnTo>
                <a:lnTo>
                  <a:pt x="3060" y="1469"/>
                </a:lnTo>
                <a:lnTo>
                  <a:pt x="3077" y="1409"/>
                </a:lnTo>
                <a:lnTo>
                  <a:pt x="3094" y="1347"/>
                </a:lnTo>
                <a:lnTo>
                  <a:pt x="3109" y="1285"/>
                </a:lnTo>
                <a:lnTo>
                  <a:pt x="3123" y="1223"/>
                </a:lnTo>
                <a:lnTo>
                  <a:pt x="3137" y="1161"/>
                </a:lnTo>
                <a:lnTo>
                  <a:pt x="3149" y="1097"/>
                </a:lnTo>
                <a:lnTo>
                  <a:pt x="3160" y="1034"/>
                </a:lnTo>
                <a:lnTo>
                  <a:pt x="3170" y="969"/>
                </a:lnTo>
                <a:lnTo>
                  <a:pt x="3180" y="905"/>
                </a:lnTo>
                <a:lnTo>
                  <a:pt x="3188" y="840"/>
                </a:lnTo>
                <a:lnTo>
                  <a:pt x="3195" y="775"/>
                </a:lnTo>
                <a:lnTo>
                  <a:pt x="3201" y="709"/>
                </a:lnTo>
                <a:lnTo>
                  <a:pt x="3206" y="643"/>
                </a:lnTo>
                <a:lnTo>
                  <a:pt x="3209" y="576"/>
                </a:lnTo>
                <a:lnTo>
                  <a:pt x="3212" y="510"/>
                </a:lnTo>
                <a:lnTo>
                  <a:pt x="3214" y="443"/>
                </a:lnTo>
                <a:lnTo>
                  <a:pt x="3213" y="417"/>
                </a:lnTo>
                <a:lnTo>
                  <a:pt x="3212" y="393"/>
                </a:lnTo>
                <a:lnTo>
                  <a:pt x="3211" y="370"/>
                </a:lnTo>
                <a:lnTo>
                  <a:pt x="3208" y="347"/>
                </a:lnTo>
                <a:lnTo>
                  <a:pt x="3205" y="326"/>
                </a:lnTo>
                <a:lnTo>
                  <a:pt x="3203" y="316"/>
                </a:lnTo>
                <a:lnTo>
                  <a:pt x="3202" y="306"/>
                </a:lnTo>
                <a:lnTo>
                  <a:pt x="3197" y="287"/>
                </a:lnTo>
                <a:lnTo>
                  <a:pt x="3192" y="268"/>
                </a:lnTo>
                <a:lnTo>
                  <a:pt x="3187" y="251"/>
                </a:lnTo>
                <a:lnTo>
                  <a:pt x="3181" y="235"/>
                </a:lnTo>
                <a:lnTo>
                  <a:pt x="3177" y="227"/>
                </a:lnTo>
                <a:lnTo>
                  <a:pt x="3174" y="219"/>
                </a:lnTo>
                <a:lnTo>
                  <a:pt x="3167" y="205"/>
                </a:lnTo>
                <a:lnTo>
                  <a:pt x="3159" y="190"/>
                </a:lnTo>
                <a:lnTo>
                  <a:pt x="3151" y="178"/>
                </a:lnTo>
                <a:lnTo>
                  <a:pt x="3142" y="166"/>
                </a:lnTo>
                <a:lnTo>
                  <a:pt x="3133" y="155"/>
                </a:lnTo>
                <a:lnTo>
                  <a:pt x="3123" y="145"/>
                </a:lnTo>
                <a:lnTo>
                  <a:pt x="3112" y="135"/>
                </a:lnTo>
                <a:lnTo>
                  <a:pt x="3102" y="127"/>
                </a:lnTo>
                <a:lnTo>
                  <a:pt x="3090" y="119"/>
                </a:lnTo>
                <a:lnTo>
                  <a:pt x="3079" y="112"/>
                </a:lnTo>
                <a:lnTo>
                  <a:pt x="3067" y="105"/>
                </a:lnTo>
                <a:lnTo>
                  <a:pt x="3054" y="99"/>
                </a:lnTo>
                <a:lnTo>
                  <a:pt x="3041" y="94"/>
                </a:lnTo>
                <a:lnTo>
                  <a:pt x="3028" y="90"/>
                </a:lnTo>
                <a:lnTo>
                  <a:pt x="3014" y="86"/>
                </a:lnTo>
                <a:lnTo>
                  <a:pt x="3000" y="83"/>
                </a:lnTo>
                <a:lnTo>
                  <a:pt x="2986" y="81"/>
                </a:lnTo>
                <a:lnTo>
                  <a:pt x="2971" y="79"/>
                </a:lnTo>
                <a:lnTo>
                  <a:pt x="2956" y="77"/>
                </a:lnTo>
                <a:lnTo>
                  <a:pt x="2940" y="77"/>
                </a:lnTo>
                <a:lnTo>
                  <a:pt x="2925" y="76"/>
                </a:lnTo>
                <a:lnTo>
                  <a:pt x="2906" y="77"/>
                </a:lnTo>
                <a:lnTo>
                  <a:pt x="2898" y="78"/>
                </a:lnTo>
                <a:lnTo>
                  <a:pt x="2889" y="79"/>
                </a:lnTo>
                <a:lnTo>
                  <a:pt x="2880" y="80"/>
                </a:lnTo>
                <a:lnTo>
                  <a:pt x="2872" y="81"/>
                </a:lnTo>
                <a:lnTo>
                  <a:pt x="2864" y="83"/>
                </a:lnTo>
                <a:lnTo>
                  <a:pt x="2856" y="85"/>
                </a:lnTo>
                <a:lnTo>
                  <a:pt x="2840" y="89"/>
                </a:lnTo>
                <a:lnTo>
                  <a:pt x="2825" y="95"/>
                </a:lnTo>
                <a:lnTo>
                  <a:pt x="2811" y="101"/>
                </a:lnTo>
                <a:lnTo>
                  <a:pt x="2798" y="108"/>
                </a:lnTo>
                <a:lnTo>
                  <a:pt x="2786" y="115"/>
                </a:lnTo>
                <a:lnTo>
                  <a:pt x="2775" y="123"/>
                </a:lnTo>
                <a:lnTo>
                  <a:pt x="2765" y="132"/>
                </a:lnTo>
                <a:lnTo>
                  <a:pt x="2757" y="141"/>
                </a:lnTo>
                <a:lnTo>
                  <a:pt x="2749" y="150"/>
                </a:lnTo>
                <a:lnTo>
                  <a:pt x="2742" y="160"/>
                </a:lnTo>
                <a:lnTo>
                  <a:pt x="2740" y="165"/>
                </a:lnTo>
                <a:lnTo>
                  <a:pt x="2737" y="170"/>
                </a:lnTo>
                <a:lnTo>
                  <a:pt x="2735" y="175"/>
                </a:lnTo>
                <a:lnTo>
                  <a:pt x="2734" y="180"/>
                </a:lnTo>
                <a:lnTo>
                  <a:pt x="2736" y="225"/>
                </a:lnTo>
                <a:lnTo>
                  <a:pt x="2738" y="270"/>
                </a:lnTo>
                <a:lnTo>
                  <a:pt x="2739" y="316"/>
                </a:lnTo>
                <a:lnTo>
                  <a:pt x="2739" y="362"/>
                </a:lnTo>
                <a:lnTo>
                  <a:pt x="2738" y="410"/>
                </a:lnTo>
                <a:lnTo>
                  <a:pt x="2736" y="457"/>
                </a:lnTo>
                <a:lnTo>
                  <a:pt x="2734" y="506"/>
                </a:lnTo>
                <a:lnTo>
                  <a:pt x="2731" y="554"/>
                </a:lnTo>
                <a:lnTo>
                  <a:pt x="2726" y="605"/>
                </a:lnTo>
                <a:lnTo>
                  <a:pt x="2721" y="655"/>
                </a:lnTo>
                <a:lnTo>
                  <a:pt x="2714" y="705"/>
                </a:lnTo>
                <a:lnTo>
                  <a:pt x="2708" y="755"/>
                </a:lnTo>
                <a:lnTo>
                  <a:pt x="2700" y="806"/>
                </a:lnTo>
                <a:lnTo>
                  <a:pt x="2692" y="857"/>
                </a:lnTo>
                <a:lnTo>
                  <a:pt x="2683" y="908"/>
                </a:lnTo>
                <a:lnTo>
                  <a:pt x="2673" y="959"/>
                </a:lnTo>
                <a:lnTo>
                  <a:pt x="2662" y="1012"/>
                </a:lnTo>
                <a:lnTo>
                  <a:pt x="2650" y="1063"/>
                </a:lnTo>
                <a:lnTo>
                  <a:pt x="2638" y="1115"/>
                </a:lnTo>
                <a:lnTo>
                  <a:pt x="2624" y="1166"/>
                </a:lnTo>
                <a:lnTo>
                  <a:pt x="2610" y="1217"/>
                </a:lnTo>
                <a:lnTo>
                  <a:pt x="2595" y="1268"/>
                </a:lnTo>
                <a:lnTo>
                  <a:pt x="2580" y="1319"/>
                </a:lnTo>
                <a:lnTo>
                  <a:pt x="2563" y="1370"/>
                </a:lnTo>
                <a:lnTo>
                  <a:pt x="2546" y="1421"/>
                </a:lnTo>
                <a:lnTo>
                  <a:pt x="2528" y="1471"/>
                </a:lnTo>
                <a:lnTo>
                  <a:pt x="2509" y="1521"/>
                </a:lnTo>
                <a:lnTo>
                  <a:pt x="2490" y="1570"/>
                </a:lnTo>
                <a:lnTo>
                  <a:pt x="2469" y="1619"/>
                </a:lnTo>
                <a:lnTo>
                  <a:pt x="2448" y="1667"/>
                </a:lnTo>
                <a:lnTo>
                  <a:pt x="2426" y="1715"/>
                </a:lnTo>
                <a:lnTo>
                  <a:pt x="2404" y="1762"/>
                </a:lnTo>
                <a:lnTo>
                  <a:pt x="2380" y="1809"/>
                </a:lnTo>
                <a:lnTo>
                  <a:pt x="2356" y="1855"/>
                </a:lnTo>
                <a:lnTo>
                  <a:pt x="2331" y="1899"/>
                </a:lnTo>
                <a:lnTo>
                  <a:pt x="2306" y="1943"/>
                </a:lnTo>
                <a:lnTo>
                  <a:pt x="2279" y="1986"/>
                </a:lnTo>
                <a:lnTo>
                  <a:pt x="2252" y="2028"/>
                </a:lnTo>
                <a:lnTo>
                  <a:pt x="2224" y="2070"/>
                </a:lnTo>
                <a:lnTo>
                  <a:pt x="2196" y="2110"/>
                </a:lnTo>
                <a:lnTo>
                  <a:pt x="2166" y="2149"/>
                </a:lnTo>
                <a:lnTo>
                  <a:pt x="2136" y="2188"/>
                </a:lnTo>
                <a:lnTo>
                  <a:pt x="2104" y="2224"/>
                </a:lnTo>
                <a:lnTo>
                  <a:pt x="2073" y="2260"/>
                </a:lnTo>
                <a:lnTo>
                  <a:pt x="2041" y="2294"/>
                </a:lnTo>
                <a:lnTo>
                  <a:pt x="2008" y="2327"/>
                </a:lnTo>
                <a:lnTo>
                  <a:pt x="1974" y="2359"/>
                </a:lnTo>
                <a:lnTo>
                  <a:pt x="1940" y="2389"/>
                </a:lnTo>
                <a:lnTo>
                  <a:pt x="1905" y="2418"/>
                </a:lnTo>
                <a:lnTo>
                  <a:pt x="1869" y="2445"/>
                </a:lnTo>
                <a:lnTo>
                  <a:pt x="1832" y="2471"/>
                </a:lnTo>
                <a:lnTo>
                  <a:pt x="1795" y="2495"/>
                </a:lnTo>
                <a:lnTo>
                  <a:pt x="1757" y="2517"/>
                </a:lnTo>
                <a:lnTo>
                  <a:pt x="1719" y="2538"/>
                </a:lnTo>
                <a:lnTo>
                  <a:pt x="1680" y="2557"/>
                </a:lnTo>
                <a:lnTo>
                  <a:pt x="1640" y="2575"/>
                </a:lnTo>
                <a:lnTo>
                  <a:pt x="1599" y="2591"/>
                </a:lnTo>
                <a:lnTo>
                  <a:pt x="1558" y="2604"/>
                </a:lnTo>
                <a:lnTo>
                  <a:pt x="1516" y="2616"/>
                </a:lnTo>
                <a:lnTo>
                  <a:pt x="1472" y="2625"/>
                </a:lnTo>
                <a:lnTo>
                  <a:pt x="1429" y="2633"/>
                </a:lnTo>
                <a:lnTo>
                  <a:pt x="1385" y="2638"/>
                </a:lnTo>
                <a:lnTo>
                  <a:pt x="1341" y="2642"/>
                </a:lnTo>
                <a:lnTo>
                  <a:pt x="1295" y="2643"/>
                </a:lnTo>
                <a:lnTo>
                  <a:pt x="1272" y="2642"/>
                </a:lnTo>
                <a:lnTo>
                  <a:pt x="1249" y="2641"/>
                </a:lnTo>
                <a:lnTo>
                  <a:pt x="1227" y="2640"/>
                </a:lnTo>
                <a:lnTo>
                  <a:pt x="1204" y="2638"/>
                </a:lnTo>
                <a:lnTo>
                  <a:pt x="1182" y="2635"/>
                </a:lnTo>
                <a:lnTo>
                  <a:pt x="1160" y="2632"/>
                </a:lnTo>
                <a:lnTo>
                  <a:pt x="1139" y="2628"/>
                </a:lnTo>
                <a:lnTo>
                  <a:pt x="1118" y="2623"/>
                </a:lnTo>
                <a:lnTo>
                  <a:pt x="1097" y="2618"/>
                </a:lnTo>
                <a:lnTo>
                  <a:pt x="1076" y="2612"/>
                </a:lnTo>
                <a:lnTo>
                  <a:pt x="1056" y="2606"/>
                </a:lnTo>
                <a:lnTo>
                  <a:pt x="1035" y="2599"/>
                </a:lnTo>
                <a:lnTo>
                  <a:pt x="1016" y="2592"/>
                </a:lnTo>
                <a:lnTo>
                  <a:pt x="996" y="2584"/>
                </a:lnTo>
                <a:lnTo>
                  <a:pt x="977" y="2576"/>
                </a:lnTo>
                <a:lnTo>
                  <a:pt x="958" y="2567"/>
                </a:lnTo>
                <a:lnTo>
                  <a:pt x="939" y="2556"/>
                </a:lnTo>
                <a:lnTo>
                  <a:pt x="921" y="2546"/>
                </a:lnTo>
                <a:lnTo>
                  <a:pt x="902" y="2536"/>
                </a:lnTo>
                <a:lnTo>
                  <a:pt x="885" y="2525"/>
                </a:lnTo>
                <a:lnTo>
                  <a:pt x="867" y="2513"/>
                </a:lnTo>
                <a:lnTo>
                  <a:pt x="850" y="2501"/>
                </a:lnTo>
                <a:lnTo>
                  <a:pt x="834" y="2489"/>
                </a:lnTo>
                <a:lnTo>
                  <a:pt x="817" y="2476"/>
                </a:lnTo>
                <a:lnTo>
                  <a:pt x="801" y="2462"/>
                </a:lnTo>
                <a:lnTo>
                  <a:pt x="786" y="2448"/>
                </a:lnTo>
                <a:lnTo>
                  <a:pt x="770" y="2434"/>
                </a:lnTo>
                <a:lnTo>
                  <a:pt x="755" y="2419"/>
                </a:lnTo>
                <a:lnTo>
                  <a:pt x="741" y="2404"/>
                </a:lnTo>
                <a:lnTo>
                  <a:pt x="726" y="2388"/>
                </a:lnTo>
                <a:lnTo>
                  <a:pt x="712" y="2372"/>
                </a:lnTo>
                <a:lnTo>
                  <a:pt x="699" y="2355"/>
                </a:lnTo>
                <a:lnTo>
                  <a:pt x="686" y="2338"/>
                </a:lnTo>
                <a:lnTo>
                  <a:pt x="673" y="2321"/>
                </a:lnTo>
                <a:lnTo>
                  <a:pt x="660" y="2303"/>
                </a:lnTo>
                <a:lnTo>
                  <a:pt x="648" y="2284"/>
                </a:lnTo>
                <a:lnTo>
                  <a:pt x="637" y="2265"/>
                </a:lnTo>
                <a:lnTo>
                  <a:pt x="625" y="2246"/>
                </a:lnTo>
                <a:lnTo>
                  <a:pt x="614" y="2227"/>
                </a:lnTo>
                <a:lnTo>
                  <a:pt x="604" y="2207"/>
                </a:lnTo>
                <a:lnTo>
                  <a:pt x="594" y="2186"/>
                </a:lnTo>
                <a:lnTo>
                  <a:pt x="584" y="2165"/>
                </a:lnTo>
                <a:lnTo>
                  <a:pt x="575" y="2144"/>
                </a:lnTo>
                <a:lnTo>
                  <a:pt x="566" y="2122"/>
                </a:lnTo>
                <a:lnTo>
                  <a:pt x="557" y="2100"/>
                </a:lnTo>
                <a:lnTo>
                  <a:pt x="549" y="2078"/>
                </a:lnTo>
                <a:lnTo>
                  <a:pt x="541" y="2056"/>
                </a:lnTo>
                <a:lnTo>
                  <a:pt x="534" y="2033"/>
                </a:lnTo>
                <a:lnTo>
                  <a:pt x="527" y="2010"/>
                </a:lnTo>
                <a:lnTo>
                  <a:pt x="521" y="1986"/>
                </a:lnTo>
                <a:lnTo>
                  <a:pt x="514" y="1962"/>
                </a:lnTo>
                <a:lnTo>
                  <a:pt x="509" y="1938"/>
                </a:lnTo>
                <a:lnTo>
                  <a:pt x="504" y="1914"/>
                </a:lnTo>
                <a:lnTo>
                  <a:pt x="499" y="1889"/>
                </a:lnTo>
                <a:lnTo>
                  <a:pt x="495" y="1864"/>
                </a:lnTo>
                <a:lnTo>
                  <a:pt x="491" y="1838"/>
                </a:lnTo>
                <a:lnTo>
                  <a:pt x="487" y="1813"/>
                </a:lnTo>
                <a:lnTo>
                  <a:pt x="484" y="1787"/>
                </a:lnTo>
                <a:lnTo>
                  <a:pt x="482" y="1760"/>
                </a:lnTo>
                <a:lnTo>
                  <a:pt x="480" y="1733"/>
                </a:lnTo>
                <a:lnTo>
                  <a:pt x="478" y="1706"/>
                </a:lnTo>
                <a:lnTo>
                  <a:pt x="477" y="1679"/>
                </a:lnTo>
                <a:lnTo>
                  <a:pt x="476" y="1652"/>
                </a:lnTo>
                <a:lnTo>
                  <a:pt x="476" y="1625"/>
                </a:lnTo>
                <a:lnTo>
                  <a:pt x="476" y="1594"/>
                </a:lnTo>
                <a:lnTo>
                  <a:pt x="477" y="1564"/>
                </a:lnTo>
                <a:lnTo>
                  <a:pt x="479" y="1533"/>
                </a:lnTo>
                <a:lnTo>
                  <a:pt x="481" y="1503"/>
                </a:lnTo>
                <a:lnTo>
                  <a:pt x="484" y="1473"/>
                </a:lnTo>
                <a:lnTo>
                  <a:pt x="487" y="1444"/>
                </a:lnTo>
                <a:lnTo>
                  <a:pt x="491" y="1414"/>
                </a:lnTo>
                <a:lnTo>
                  <a:pt x="496" y="1385"/>
                </a:lnTo>
                <a:lnTo>
                  <a:pt x="501" y="1355"/>
                </a:lnTo>
                <a:lnTo>
                  <a:pt x="507" y="1327"/>
                </a:lnTo>
                <a:lnTo>
                  <a:pt x="513" y="1298"/>
                </a:lnTo>
                <a:lnTo>
                  <a:pt x="520" y="1270"/>
                </a:lnTo>
                <a:lnTo>
                  <a:pt x="528" y="1242"/>
                </a:lnTo>
                <a:lnTo>
                  <a:pt x="536" y="1215"/>
                </a:lnTo>
                <a:lnTo>
                  <a:pt x="544" y="1188"/>
                </a:lnTo>
                <a:lnTo>
                  <a:pt x="553" y="1161"/>
                </a:lnTo>
                <a:lnTo>
                  <a:pt x="562" y="1134"/>
                </a:lnTo>
                <a:lnTo>
                  <a:pt x="572" y="1108"/>
                </a:lnTo>
                <a:lnTo>
                  <a:pt x="582" y="1082"/>
                </a:lnTo>
                <a:lnTo>
                  <a:pt x="593" y="1056"/>
                </a:lnTo>
                <a:lnTo>
                  <a:pt x="604" y="1031"/>
                </a:lnTo>
                <a:lnTo>
                  <a:pt x="616" y="1006"/>
                </a:lnTo>
                <a:lnTo>
                  <a:pt x="628" y="981"/>
                </a:lnTo>
                <a:lnTo>
                  <a:pt x="640" y="957"/>
                </a:lnTo>
                <a:lnTo>
                  <a:pt x="653" y="933"/>
                </a:lnTo>
                <a:lnTo>
                  <a:pt x="666" y="910"/>
                </a:lnTo>
                <a:lnTo>
                  <a:pt x="680" y="887"/>
                </a:lnTo>
                <a:lnTo>
                  <a:pt x="693" y="865"/>
                </a:lnTo>
                <a:lnTo>
                  <a:pt x="708" y="843"/>
                </a:lnTo>
                <a:lnTo>
                  <a:pt x="722" y="821"/>
                </a:lnTo>
                <a:lnTo>
                  <a:pt x="737" y="800"/>
                </a:lnTo>
                <a:lnTo>
                  <a:pt x="752" y="780"/>
                </a:lnTo>
                <a:lnTo>
                  <a:pt x="768" y="759"/>
                </a:lnTo>
                <a:lnTo>
                  <a:pt x="783" y="740"/>
                </a:lnTo>
                <a:lnTo>
                  <a:pt x="799" y="721"/>
                </a:lnTo>
                <a:lnTo>
                  <a:pt x="815" y="702"/>
                </a:lnTo>
                <a:lnTo>
                  <a:pt x="832" y="684"/>
                </a:lnTo>
                <a:lnTo>
                  <a:pt x="849" y="667"/>
                </a:lnTo>
                <a:lnTo>
                  <a:pt x="866" y="650"/>
                </a:lnTo>
                <a:lnTo>
                  <a:pt x="883" y="633"/>
                </a:lnTo>
                <a:lnTo>
                  <a:pt x="900" y="617"/>
                </a:lnTo>
                <a:lnTo>
                  <a:pt x="919" y="602"/>
                </a:lnTo>
                <a:lnTo>
                  <a:pt x="936" y="586"/>
                </a:lnTo>
                <a:lnTo>
                  <a:pt x="954" y="572"/>
                </a:lnTo>
                <a:lnTo>
                  <a:pt x="972" y="558"/>
                </a:lnTo>
                <a:lnTo>
                  <a:pt x="990" y="545"/>
                </a:lnTo>
                <a:lnTo>
                  <a:pt x="1009" y="533"/>
                </a:lnTo>
                <a:lnTo>
                  <a:pt x="1027" y="521"/>
                </a:lnTo>
                <a:lnTo>
                  <a:pt x="1046" y="510"/>
                </a:lnTo>
                <a:lnTo>
                  <a:pt x="1064" y="500"/>
                </a:lnTo>
                <a:lnTo>
                  <a:pt x="1083" y="490"/>
                </a:lnTo>
                <a:lnTo>
                  <a:pt x="1102" y="481"/>
                </a:lnTo>
                <a:lnTo>
                  <a:pt x="1120" y="472"/>
                </a:lnTo>
                <a:lnTo>
                  <a:pt x="1139" y="465"/>
                </a:lnTo>
                <a:lnTo>
                  <a:pt x="1158" y="457"/>
                </a:lnTo>
                <a:lnTo>
                  <a:pt x="1177" y="451"/>
                </a:lnTo>
                <a:lnTo>
                  <a:pt x="1196" y="445"/>
                </a:lnTo>
                <a:lnTo>
                  <a:pt x="1215" y="440"/>
                </a:lnTo>
                <a:lnTo>
                  <a:pt x="1234" y="436"/>
                </a:lnTo>
                <a:lnTo>
                  <a:pt x="1253" y="433"/>
                </a:lnTo>
                <a:lnTo>
                  <a:pt x="1272" y="430"/>
                </a:lnTo>
                <a:lnTo>
                  <a:pt x="1291" y="428"/>
                </a:lnTo>
                <a:lnTo>
                  <a:pt x="1309" y="427"/>
                </a:lnTo>
                <a:lnTo>
                  <a:pt x="1328" y="427"/>
                </a:lnTo>
                <a:lnTo>
                  <a:pt x="1348" y="427"/>
                </a:lnTo>
                <a:lnTo>
                  <a:pt x="1367" y="428"/>
                </a:lnTo>
                <a:lnTo>
                  <a:pt x="1386" y="430"/>
                </a:lnTo>
                <a:lnTo>
                  <a:pt x="1404" y="432"/>
                </a:lnTo>
                <a:lnTo>
                  <a:pt x="1422" y="435"/>
                </a:lnTo>
                <a:lnTo>
                  <a:pt x="1439" y="439"/>
                </a:lnTo>
                <a:lnTo>
                  <a:pt x="1447" y="441"/>
                </a:lnTo>
                <a:lnTo>
                  <a:pt x="1456" y="443"/>
                </a:lnTo>
                <a:lnTo>
                  <a:pt x="1472" y="448"/>
                </a:lnTo>
                <a:lnTo>
                  <a:pt x="1487" y="454"/>
                </a:lnTo>
                <a:lnTo>
                  <a:pt x="1502" y="460"/>
                </a:lnTo>
                <a:lnTo>
                  <a:pt x="1518" y="467"/>
                </a:lnTo>
                <a:lnTo>
                  <a:pt x="1531" y="475"/>
                </a:lnTo>
                <a:lnTo>
                  <a:pt x="1538" y="479"/>
                </a:lnTo>
                <a:lnTo>
                  <a:pt x="1545" y="483"/>
                </a:lnTo>
                <a:lnTo>
                  <a:pt x="1557" y="492"/>
                </a:lnTo>
                <a:lnTo>
                  <a:pt x="1569" y="501"/>
                </a:lnTo>
                <a:lnTo>
                  <a:pt x="1581" y="511"/>
                </a:lnTo>
                <a:lnTo>
                  <a:pt x="1592" y="522"/>
                </a:lnTo>
                <a:lnTo>
                  <a:pt x="1602" y="533"/>
                </a:lnTo>
                <a:lnTo>
                  <a:pt x="1611" y="544"/>
                </a:lnTo>
                <a:lnTo>
                  <a:pt x="1620" y="557"/>
                </a:lnTo>
                <a:lnTo>
                  <a:pt x="1628" y="569"/>
                </a:lnTo>
                <a:lnTo>
                  <a:pt x="1632" y="576"/>
                </a:lnTo>
                <a:lnTo>
                  <a:pt x="1636" y="583"/>
                </a:lnTo>
                <a:lnTo>
                  <a:pt x="1643" y="597"/>
                </a:lnTo>
                <a:lnTo>
                  <a:pt x="1649" y="612"/>
                </a:lnTo>
                <a:lnTo>
                  <a:pt x="1655" y="627"/>
                </a:lnTo>
                <a:lnTo>
                  <a:pt x="1659" y="642"/>
                </a:lnTo>
                <a:lnTo>
                  <a:pt x="1664" y="658"/>
                </a:lnTo>
                <a:lnTo>
                  <a:pt x="1667" y="674"/>
                </a:lnTo>
                <a:lnTo>
                  <a:pt x="1670" y="691"/>
                </a:lnTo>
                <a:lnTo>
                  <a:pt x="1671" y="708"/>
                </a:lnTo>
                <a:lnTo>
                  <a:pt x="1673" y="726"/>
                </a:lnTo>
                <a:lnTo>
                  <a:pt x="1673" y="744"/>
                </a:lnTo>
                <a:lnTo>
                  <a:pt x="1673" y="759"/>
                </a:lnTo>
                <a:lnTo>
                  <a:pt x="1672" y="774"/>
                </a:lnTo>
                <a:lnTo>
                  <a:pt x="1671" y="789"/>
                </a:lnTo>
                <a:lnTo>
                  <a:pt x="1669" y="804"/>
                </a:lnTo>
                <a:lnTo>
                  <a:pt x="1663" y="834"/>
                </a:lnTo>
                <a:lnTo>
                  <a:pt x="1660" y="849"/>
                </a:lnTo>
                <a:lnTo>
                  <a:pt x="1656" y="864"/>
                </a:lnTo>
                <a:lnTo>
                  <a:pt x="1652" y="879"/>
                </a:lnTo>
                <a:lnTo>
                  <a:pt x="1647" y="894"/>
                </a:lnTo>
                <a:lnTo>
                  <a:pt x="1635" y="925"/>
                </a:lnTo>
                <a:lnTo>
                  <a:pt x="1629" y="940"/>
                </a:lnTo>
                <a:lnTo>
                  <a:pt x="1622" y="955"/>
                </a:lnTo>
                <a:lnTo>
                  <a:pt x="1615" y="970"/>
                </a:lnTo>
                <a:lnTo>
                  <a:pt x="1607" y="985"/>
                </a:lnTo>
                <a:lnTo>
                  <a:pt x="1599" y="1000"/>
                </a:lnTo>
                <a:lnTo>
                  <a:pt x="1590" y="1015"/>
                </a:lnTo>
                <a:lnTo>
                  <a:pt x="1571" y="1044"/>
                </a:lnTo>
                <a:lnTo>
                  <a:pt x="1561" y="1059"/>
                </a:lnTo>
                <a:lnTo>
                  <a:pt x="1551" y="1073"/>
                </a:lnTo>
                <a:lnTo>
                  <a:pt x="1540" y="1088"/>
                </a:lnTo>
                <a:lnTo>
                  <a:pt x="1529" y="1102"/>
                </a:lnTo>
                <a:lnTo>
                  <a:pt x="1517" y="1116"/>
                </a:lnTo>
                <a:lnTo>
                  <a:pt x="1504" y="1130"/>
                </a:lnTo>
                <a:lnTo>
                  <a:pt x="1491" y="1144"/>
                </a:lnTo>
                <a:lnTo>
                  <a:pt x="1479" y="1158"/>
                </a:lnTo>
                <a:lnTo>
                  <a:pt x="1451" y="1185"/>
                </a:lnTo>
                <a:lnTo>
                  <a:pt x="1437" y="1198"/>
                </a:lnTo>
                <a:lnTo>
                  <a:pt x="1423" y="1211"/>
                </a:lnTo>
                <a:lnTo>
                  <a:pt x="1408" y="1224"/>
                </a:lnTo>
                <a:lnTo>
                  <a:pt x="1393" y="1237"/>
                </a:lnTo>
                <a:lnTo>
                  <a:pt x="1377" y="1249"/>
                </a:lnTo>
                <a:lnTo>
                  <a:pt x="1361" y="1261"/>
                </a:lnTo>
                <a:lnTo>
                  <a:pt x="1345" y="1273"/>
                </a:lnTo>
                <a:lnTo>
                  <a:pt x="1329" y="1285"/>
                </a:lnTo>
                <a:lnTo>
                  <a:pt x="1312" y="1297"/>
                </a:lnTo>
                <a:lnTo>
                  <a:pt x="1294" y="1308"/>
                </a:lnTo>
                <a:lnTo>
                  <a:pt x="1277" y="1320"/>
                </a:lnTo>
                <a:lnTo>
                  <a:pt x="1259" y="1331"/>
                </a:lnTo>
                <a:lnTo>
                  <a:pt x="1241" y="1341"/>
                </a:lnTo>
                <a:lnTo>
                  <a:pt x="1222" y="1352"/>
                </a:lnTo>
                <a:lnTo>
                  <a:pt x="1184" y="1372"/>
                </a:lnTo>
                <a:lnTo>
                  <a:pt x="1165" y="1382"/>
                </a:lnTo>
                <a:lnTo>
                  <a:pt x="1145" y="1391"/>
                </a:lnTo>
                <a:lnTo>
                  <a:pt x="1104" y="1409"/>
                </a:lnTo>
                <a:lnTo>
                  <a:pt x="1084" y="1417"/>
                </a:lnTo>
                <a:lnTo>
                  <a:pt x="1063" y="1425"/>
                </a:lnTo>
                <a:lnTo>
                  <a:pt x="1042" y="1433"/>
                </a:lnTo>
                <a:lnTo>
                  <a:pt x="1020" y="1441"/>
                </a:lnTo>
                <a:lnTo>
                  <a:pt x="977" y="1454"/>
                </a:lnTo>
                <a:lnTo>
                  <a:pt x="955" y="1460"/>
                </a:lnTo>
                <a:lnTo>
                  <a:pt x="932" y="1466"/>
                </a:lnTo>
                <a:lnTo>
                  <a:pt x="910" y="1472"/>
                </a:lnTo>
                <a:lnTo>
                  <a:pt x="886" y="1477"/>
                </a:lnTo>
                <a:lnTo>
                  <a:pt x="863" y="1482"/>
                </a:lnTo>
                <a:lnTo>
                  <a:pt x="840" y="1486"/>
                </a:lnTo>
                <a:lnTo>
                  <a:pt x="816" y="1490"/>
                </a:lnTo>
                <a:lnTo>
                  <a:pt x="792" y="1494"/>
                </a:lnTo>
                <a:lnTo>
                  <a:pt x="788" y="1496"/>
                </a:lnTo>
                <a:lnTo>
                  <a:pt x="785" y="1498"/>
                </a:lnTo>
                <a:lnTo>
                  <a:pt x="777" y="1504"/>
                </a:lnTo>
                <a:lnTo>
                  <a:pt x="771" y="1510"/>
                </a:lnTo>
                <a:lnTo>
                  <a:pt x="768" y="1513"/>
                </a:lnTo>
                <a:lnTo>
                  <a:pt x="765" y="1517"/>
                </a:lnTo>
                <a:lnTo>
                  <a:pt x="759" y="1524"/>
                </a:lnTo>
                <a:lnTo>
                  <a:pt x="754" y="1533"/>
                </a:lnTo>
                <a:lnTo>
                  <a:pt x="750" y="1542"/>
                </a:lnTo>
                <a:lnTo>
                  <a:pt x="746" y="1551"/>
                </a:lnTo>
                <a:lnTo>
                  <a:pt x="743" y="1561"/>
                </a:lnTo>
                <a:lnTo>
                  <a:pt x="740" y="1571"/>
                </a:lnTo>
                <a:lnTo>
                  <a:pt x="737" y="1582"/>
                </a:lnTo>
                <a:lnTo>
                  <a:pt x="736" y="1593"/>
                </a:lnTo>
                <a:lnTo>
                  <a:pt x="734" y="1605"/>
                </a:lnTo>
                <a:lnTo>
                  <a:pt x="733" y="1617"/>
                </a:lnTo>
                <a:lnTo>
                  <a:pt x="733" y="1629"/>
                </a:lnTo>
                <a:lnTo>
                  <a:pt x="732" y="1641"/>
                </a:lnTo>
                <a:lnTo>
                  <a:pt x="733" y="1655"/>
                </a:lnTo>
                <a:lnTo>
                  <a:pt x="733" y="1668"/>
                </a:lnTo>
                <a:lnTo>
                  <a:pt x="734" y="1675"/>
                </a:lnTo>
                <a:lnTo>
                  <a:pt x="735" y="1682"/>
                </a:lnTo>
                <a:lnTo>
                  <a:pt x="737" y="1695"/>
                </a:lnTo>
                <a:lnTo>
                  <a:pt x="739" y="1708"/>
                </a:lnTo>
                <a:lnTo>
                  <a:pt x="742" y="1720"/>
                </a:lnTo>
                <a:lnTo>
                  <a:pt x="746" y="1733"/>
                </a:lnTo>
                <a:lnTo>
                  <a:pt x="750" y="1745"/>
                </a:lnTo>
                <a:lnTo>
                  <a:pt x="752" y="1751"/>
                </a:lnTo>
                <a:lnTo>
                  <a:pt x="754" y="1757"/>
                </a:lnTo>
                <a:lnTo>
                  <a:pt x="759" y="1768"/>
                </a:lnTo>
                <a:lnTo>
                  <a:pt x="764" y="1781"/>
                </a:lnTo>
                <a:lnTo>
                  <a:pt x="770" y="1791"/>
                </a:lnTo>
                <a:lnTo>
                  <a:pt x="776" y="1802"/>
                </a:lnTo>
                <a:lnTo>
                  <a:pt x="783" y="1812"/>
                </a:lnTo>
                <a:lnTo>
                  <a:pt x="790" y="1822"/>
                </a:lnTo>
                <a:lnTo>
                  <a:pt x="797" y="1831"/>
                </a:lnTo>
                <a:lnTo>
                  <a:pt x="805" y="1840"/>
                </a:lnTo>
                <a:lnTo>
                  <a:pt x="813" y="1848"/>
                </a:lnTo>
                <a:lnTo>
                  <a:pt x="821" y="1856"/>
                </a:lnTo>
                <a:lnTo>
                  <a:pt x="830" y="1864"/>
                </a:lnTo>
                <a:lnTo>
                  <a:pt x="839" y="1871"/>
                </a:lnTo>
                <a:lnTo>
                  <a:pt x="849" y="1877"/>
                </a:lnTo>
                <a:lnTo>
                  <a:pt x="858" y="1883"/>
                </a:lnTo>
                <a:lnTo>
                  <a:pt x="863" y="1886"/>
                </a:lnTo>
                <a:lnTo>
                  <a:pt x="868" y="1888"/>
                </a:lnTo>
                <a:lnTo>
                  <a:pt x="878" y="1893"/>
                </a:lnTo>
                <a:lnTo>
                  <a:pt x="889" y="1897"/>
                </a:lnTo>
                <a:lnTo>
                  <a:pt x="900" y="1901"/>
                </a:lnTo>
                <a:lnTo>
                  <a:pt x="911" y="1904"/>
                </a:lnTo>
                <a:lnTo>
                  <a:pt x="923" y="1906"/>
                </a:lnTo>
                <a:lnTo>
                  <a:pt x="934" y="1908"/>
                </a:lnTo>
                <a:lnTo>
                  <a:pt x="945" y="1909"/>
                </a:lnTo>
                <a:lnTo>
                  <a:pt x="957" y="1909"/>
                </a:lnTo>
                <a:lnTo>
                  <a:pt x="984" y="1909"/>
                </a:lnTo>
                <a:lnTo>
                  <a:pt x="1011" y="1908"/>
                </a:lnTo>
                <a:lnTo>
                  <a:pt x="1038" y="1906"/>
                </a:lnTo>
                <a:lnTo>
                  <a:pt x="1065" y="1903"/>
                </a:lnTo>
                <a:lnTo>
                  <a:pt x="1091" y="1900"/>
                </a:lnTo>
                <a:lnTo>
                  <a:pt x="1118" y="1896"/>
                </a:lnTo>
                <a:lnTo>
                  <a:pt x="1145" y="1891"/>
                </a:lnTo>
                <a:lnTo>
                  <a:pt x="1172" y="1886"/>
                </a:lnTo>
                <a:lnTo>
                  <a:pt x="1198" y="1880"/>
                </a:lnTo>
                <a:lnTo>
                  <a:pt x="1225" y="1873"/>
                </a:lnTo>
                <a:lnTo>
                  <a:pt x="1251" y="1865"/>
                </a:lnTo>
                <a:lnTo>
                  <a:pt x="1277" y="1857"/>
                </a:lnTo>
                <a:lnTo>
                  <a:pt x="1303" y="1849"/>
                </a:lnTo>
                <a:lnTo>
                  <a:pt x="1329" y="1839"/>
                </a:lnTo>
                <a:lnTo>
                  <a:pt x="1355" y="1829"/>
                </a:lnTo>
                <a:lnTo>
                  <a:pt x="1380" y="1819"/>
                </a:lnTo>
                <a:lnTo>
                  <a:pt x="1406" y="1807"/>
                </a:lnTo>
                <a:lnTo>
                  <a:pt x="1431" y="1796"/>
                </a:lnTo>
                <a:lnTo>
                  <a:pt x="1456" y="1783"/>
                </a:lnTo>
                <a:lnTo>
                  <a:pt x="1481" y="1769"/>
                </a:lnTo>
                <a:lnTo>
                  <a:pt x="1505" y="1756"/>
                </a:lnTo>
                <a:lnTo>
                  <a:pt x="1530" y="1742"/>
                </a:lnTo>
                <a:lnTo>
                  <a:pt x="1554" y="1727"/>
                </a:lnTo>
                <a:lnTo>
                  <a:pt x="1578" y="1712"/>
                </a:lnTo>
                <a:lnTo>
                  <a:pt x="1601" y="1697"/>
                </a:lnTo>
                <a:lnTo>
                  <a:pt x="1624" y="1681"/>
                </a:lnTo>
                <a:lnTo>
                  <a:pt x="1647" y="1664"/>
                </a:lnTo>
                <a:lnTo>
                  <a:pt x="1669" y="1647"/>
                </a:lnTo>
                <a:lnTo>
                  <a:pt x="1691" y="1630"/>
                </a:lnTo>
                <a:lnTo>
                  <a:pt x="1712" y="1612"/>
                </a:lnTo>
                <a:lnTo>
                  <a:pt x="1733" y="1594"/>
                </a:lnTo>
                <a:lnTo>
                  <a:pt x="1754" y="1575"/>
                </a:lnTo>
                <a:lnTo>
                  <a:pt x="1774" y="1556"/>
                </a:lnTo>
                <a:lnTo>
                  <a:pt x="1794" y="1536"/>
                </a:lnTo>
                <a:lnTo>
                  <a:pt x="1814" y="1516"/>
                </a:lnTo>
                <a:lnTo>
                  <a:pt x="1833" y="1496"/>
                </a:lnTo>
                <a:lnTo>
                  <a:pt x="1851" y="1475"/>
                </a:lnTo>
                <a:lnTo>
                  <a:pt x="1869" y="1454"/>
                </a:lnTo>
                <a:lnTo>
                  <a:pt x="1887" y="1432"/>
                </a:lnTo>
                <a:lnTo>
                  <a:pt x="1904" y="1410"/>
                </a:lnTo>
                <a:lnTo>
                  <a:pt x="1920" y="1388"/>
                </a:lnTo>
                <a:lnTo>
                  <a:pt x="1936" y="1365"/>
                </a:lnTo>
                <a:lnTo>
                  <a:pt x="1951" y="1342"/>
                </a:lnTo>
                <a:lnTo>
                  <a:pt x="1966" y="1319"/>
                </a:lnTo>
                <a:lnTo>
                  <a:pt x="1980" y="1295"/>
                </a:lnTo>
                <a:lnTo>
                  <a:pt x="1994" y="1272"/>
                </a:lnTo>
                <a:lnTo>
                  <a:pt x="2007" y="1248"/>
                </a:lnTo>
                <a:lnTo>
                  <a:pt x="2019" y="1224"/>
                </a:lnTo>
                <a:lnTo>
                  <a:pt x="2031" y="1199"/>
                </a:lnTo>
                <a:lnTo>
                  <a:pt x="2042" y="1175"/>
                </a:lnTo>
                <a:lnTo>
                  <a:pt x="2053" y="1150"/>
                </a:lnTo>
                <a:lnTo>
                  <a:pt x="2062" y="1125"/>
                </a:lnTo>
                <a:lnTo>
                  <a:pt x="2071" y="1099"/>
                </a:lnTo>
                <a:lnTo>
                  <a:pt x="2080" y="1074"/>
                </a:lnTo>
                <a:lnTo>
                  <a:pt x="2087" y="1048"/>
                </a:lnTo>
                <a:lnTo>
                  <a:pt x="2094" y="1022"/>
                </a:lnTo>
                <a:lnTo>
                  <a:pt x="2100" y="996"/>
                </a:lnTo>
                <a:lnTo>
                  <a:pt x="2105" y="969"/>
                </a:lnTo>
                <a:lnTo>
                  <a:pt x="2110" y="943"/>
                </a:lnTo>
                <a:lnTo>
                  <a:pt x="2115" y="916"/>
                </a:lnTo>
                <a:lnTo>
                  <a:pt x="2118" y="890"/>
                </a:lnTo>
                <a:lnTo>
                  <a:pt x="2120" y="863"/>
                </a:lnTo>
                <a:lnTo>
                  <a:pt x="2121" y="836"/>
                </a:lnTo>
                <a:lnTo>
                  <a:pt x="2121" y="810"/>
                </a:lnTo>
                <a:lnTo>
                  <a:pt x="2121" y="767"/>
                </a:lnTo>
                <a:lnTo>
                  <a:pt x="2120" y="746"/>
                </a:lnTo>
                <a:lnTo>
                  <a:pt x="2118" y="725"/>
                </a:lnTo>
                <a:lnTo>
                  <a:pt x="2116" y="704"/>
                </a:lnTo>
                <a:lnTo>
                  <a:pt x="2113" y="684"/>
                </a:lnTo>
                <a:lnTo>
                  <a:pt x="2110" y="663"/>
                </a:lnTo>
                <a:lnTo>
                  <a:pt x="2107" y="643"/>
                </a:lnTo>
                <a:lnTo>
                  <a:pt x="2104" y="623"/>
                </a:lnTo>
                <a:lnTo>
                  <a:pt x="2100" y="604"/>
                </a:lnTo>
                <a:lnTo>
                  <a:pt x="2096" y="583"/>
                </a:lnTo>
                <a:lnTo>
                  <a:pt x="2091" y="564"/>
                </a:lnTo>
                <a:lnTo>
                  <a:pt x="2086" y="545"/>
                </a:lnTo>
                <a:lnTo>
                  <a:pt x="2081" y="526"/>
                </a:lnTo>
                <a:lnTo>
                  <a:pt x="2075" y="507"/>
                </a:lnTo>
                <a:lnTo>
                  <a:pt x="2069" y="489"/>
                </a:lnTo>
                <a:lnTo>
                  <a:pt x="2062" y="471"/>
                </a:lnTo>
                <a:lnTo>
                  <a:pt x="2055" y="453"/>
                </a:lnTo>
                <a:lnTo>
                  <a:pt x="2048" y="435"/>
                </a:lnTo>
                <a:lnTo>
                  <a:pt x="2040" y="418"/>
                </a:lnTo>
                <a:lnTo>
                  <a:pt x="2032" y="401"/>
                </a:lnTo>
                <a:lnTo>
                  <a:pt x="2024" y="384"/>
                </a:lnTo>
                <a:lnTo>
                  <a:pt x="2015" y="368"/>
                </a:lnTo>
                <a:lnTo>
                  <a:pt x="2006" y="352"/>
                </a:lnTo>
                <a:lnTo>
                  <a:pt x="1996" y="336"/>
                </a:lnTo>
                <a:lnTo>
                  <a:pt x="1986" y="320"/>
                </a:lnTo>
                <a:lnTo>
                  <a:pt x="1976" y="305"/>
                </a:lnTo>
                <a:lnTo>
                  <a:pt x="1965" y="290"/>
                </a:lnTo>
                <a:lnTo>
                  <a:pt x="1954" y="275"/>
                </a:lnTo>
                <a:lnTo>
                  <a:pt x="1943" y="261"/>
                </a:lnTo>
                <a:lnTo>
                  <a:pt x="1931" y="247"/>
                </a:lnTo>
                <a:lnTo>
                  <a:pt x="1919" y="233"/>
                </a:lnTo>
                <a:lnTo>
                  <a:pt x="1894" y="206"/>
                </a:lnTo>
                <a:lnTo>
                  <a:pt x="1881" y="193"/>
                </a:lnTo>
                <a:lnTo>
                  <a:pt x="1868" y="180"/>
                </a:lnTo>
                <a:lnTo>
                  <a:pt x="1854" y="168"/>
                </a:lnTo>
                <a:lnTo>
                  <a:pt x="1840" y="157"/>
                </a:lnTo>
                <a:lnTo>
                  <a:pt x="1825" y="146"/>
                </a:lnTo>
                <a:lnTo>
                  <a:pt x="1811" y="135"/>
                </a:lnTo>
                <a:lnTo>
                  <a:pt x="1795" y="124"/>
                </a:lnTo>
                <a:lnTo>
                  <a:pt x="1780" y="114"/>
                </a:lnTo>
                <a:lnTo>
                  <a:pt x="1764" y="104"/>
                </a:lnTo>
                <a:lnTo>
                  <a:pt x="1748" y="95"/>
                </a:lnTo>
                <a:lnTo>
                  <a:pt x="1732" y="86"/>
                </a:lnTo>
                <a:lnTo>
                  <a:pt x="1715" y="77"/>
                </a:lnTo>
                <a:lnTo>
                  <a:pt x="1698" y="69"/>
                </a:lnTo>
                <a:lnTo>
                  <a:pt x="1681" y="62"/>
                </a:lnTo>
                <a:lnTo>
                  <a:pt x="1663" y="54"/>
                </a:lnTo>
                <a:lnTo>
                  <a:pt x="1645" y="48"/>
                </a:lnTo>
                <a:lnTo>
                  <a:pt x="1627" y="41"/>
                </a:lnTo>
                <a:lnTo>
                  <a:pt x="1608" y="35"/>
                </a:lnTo>
                <a:lnTo>
                  <a:pt x="1589" y="30"/>
                </a:lnTo>
                <a:lnTo>
                  <a:pt x="1570" y="25"/>
                </a:lnTo>
                <a:lnTo>
                  <a:pt x="1551" y="20"/>
                </a:lnTo>
                <a:lnTo>
                  <a:pt x="1531" y="16"/>
                </a:lnTo>
                <a:lnTo>
                  <a:pt x="1511" y="12"/>
                </a:lnTo>
                <a:lnTo>
                  <a:pt x="1489" y="9"/>
                </a:lnTo>
                <a:lnTo>
                  <a:pt x="1469" y="6"/>
                </a:lnTo>
                <a:lnTo>
                  <a:pt x="1448" y="4"/>
                </a:lnTo>
                <a:lnTo>
                  <a:pt x="1426" y="2"/>
                </a:lnTo>
                <a:lnTo>
                  <a:pt x="1405" y="1"/>
                </a:lnTo>
                <a:lnTo>
                  <a:pt x="1383" y="0"/>
                </a:lnTo>
                <a:lnTo>
                  <a:pt x="1361" y="0"/>
                </a:lnTo>
                <a:lnTo>
                  <a:pt x="1325" y="1"/>
                </a:lnTo>
                <a:lnTo>
                  <a:pt x="1290" y="2"/>
                </a:lnTo>
                <a:lnTo>
                  <a:pt x="1255" y="5"/>
                </a:lnTo>
                <a:lnTo>
                  <a:pt x="1221" y="9"/>
                </a:lnTo>
                <a:lnTo>
                  <a:pt x="1186" y="14"/>
                </a:lnTo>
                <a:lnTo>
                  <a:pt x="1152" y="20"/>
                </a:lnTo>
                <a:lnTo>
                  <a:pt x="1118" y="27"/>
                </a:lnTo>
                <a:lnTo>
                  <a:pt x="1085" y="35"/>
                </a:lnTo>
                <a:lnTo>
                  <a:pt x="1052" y="45"/>
                </a:lnTo>
                <a:lnTo>
                  <a:pt x="1019" y="55"/>
                </a:lnTo>
                <a:lnTo>
                  <a:pt x="986" y="66"/>
                </a:lnTo>
                <a:lnTo>
                  <a:pt x="954" y="78"/>
                </a:lnTo>
                <a:lnTo>
                  <a:pt x="922" y="91"/>
                </a:lnTo>
                <a:lnTo>
                  <a:pt x="889" y="105"/>
                </a:lnTo>
                <a:lnTo>
                  <a:pt x="858" y="120"/>
                </a:lnTo>
                <a:lnTo>
                  <a:pt x="828" y="136"/>
                </a:lnTo>
                <a:lnTo>
                  <a:pt x="797" y="153"/>
                </a:lnTo>
                <a:lnTo>
                  <a:pt x="767" y="171"/>
                </a:lnTo>
                <a:lnTo>
                  <a:pt x="738" y="189"/>
                </a:lnTo>
                <a:lnTo>
                  <a:pt x="709" y="209"/>
                </a:lnTo>
                <a:lnTo>
                  <a:pt x="680" y="230"/>
                </a:lnTo>
                <a:lnTo>
                  <a:pt x="652" y="250"/>
                </a:lnTo>
                <a:lnTo>
                  <a:pt x="624" y="272"/>
                </a:lnTo>
                <a:lnTo>
                  <a:pt x="597" y="295"/>
                </a:lnTo>
                <a:lnTo>
                  <a:pt x="570" y="318"/>
                </a:lnTo>
                <a:lnTo>
                  <a:pt x="543" y="342"/>
                </a:lnTo>
                <a:lnTo>
                  <a:pt x="518" y="367"/>
                </a:lnTo>
                <a:lnTo>
                  <a:pt x="492" y="392"/>
                </a:lnTo>
                <a:lnTo>
                  <a:pt x="467" y="418"/>
                </a:lnTo>
                <a:lnTo>
                  <a:pt x="443" y="445"/>
                </a:lnTo>
                <a:lnTo>
                  <a:pt x="419" y="473"/>
                </a:lnTo>
                <a:lnTo>
                  <a:pt x="396" y="501"/>
                </a:lnTo>
                <a:lnTo>
                  <a:pt x="373" y="530"/>
                </a:lnTo>
                <a:lnTo>
                  <a:pt x="351" y="559"/>
                </a:lnTo>
                <a:lnTo>
                  <a:pt x="330" y="589"/>
                </a:lnTo>
                <a:lnTo>
                  <a:pt x="309" y="621"/>
                </a:lnTo>
                <a:lnTo>
                  <a:pt x="287" y="652"/>
                </a:lnTo>
                <a:lnTo>
                  <a:pt x="268" y="683"/>
                </a:lnTo>
                <a:lnTo>
                  <a:pt x="249" y="716"/>
                </a:lnTo>
                <a:lnTo>
                  <a:pt x="230" y="748"/>
                </a:lnTo>
                <a:lnTo>
                  <a:pt x="212" y="781"/>
                </a:lnTo>
                <a:lnTo>
                  <a:pt x="195" y="815"/>
                </a:lnTo>
                <a:lnTo>
                  <a:pt x="178" y="849"/>
                </a:lnTo>
                <a:lnTo>
                  <a:pt x="162" y="884"/>
                </a:lnTo>
                <a:lnTo>
                  <a:pt x="147" y="919"/>
                </a:lnTo>
                <a:lnTo>
                  <a:pt x="133" y="954"/>
                </a:lnTo>
                <a:lnTo>
                  <a:pt x="119" y="991"/>
                </a:lnTo>
                <a:lnTo>
                  <a:pt x="106" y="1027"/>
                </a:lnTo>
                <a:lnTo>
                  <a:pt x="93" y="1064"/>
                </a:lnTo>
                <a:lnTo>
                  <a:pt x="82" y="1101"/>
                </a:lnTo>
                <a:lnTo>
                  <a:pt x="71" y="1138"/>
                </a:lnTo>
                <a:lnTo>
                  <a:pt x="61" y="1176"/>
                </a:lnTo>
                <a:lnTo>
                  <a:pt x="51" y="1214"/>
                </a:lnTo>
                <a:lnTo>
                  <a:pt x="42" y="1252"/>
                </a:lnTo>
                <a:lnTo>
                  <a:pt x="35" y="1290"/>
                </a:lnTo>
                <a:lnTo>
                  <a:pt x="27" y="1329"/>
                </a:lnTo>
                <a:lnTo>
                  <a:pt x="21" y="1368"/>
                </a:lnTo>
                <a:lnTo>
                  <a:pt x="16" y="1408"/>
                </a:lnTo>
                <a:lnTo>
                  <a:pt x="11" y="1447"/>
                </a:lnTo>
                <a:lnTo>
                  <a:pt x="7" y="1487"/>
                </a:lnTo>
                <a:lnTo>
                  <a:pt x="4" y="1527"/>
                </a:lnTo>
                <a:lnTo>
                  <a:pt x="2" y="1566"/>
                </a:lnTo>
                <a:lnTo>
                  <a:pt x="1" y="1606"/>
                </a:lnTo>
                <a:lnTo>
                  <a:pt x="0" y="1646"/>
                </a:lnTo>
                <a:lnTo>
                  <a:pt x="1" y="1686"/>
                </a:lnTo>
                <a:lnTo>
                  <a:pt x="2" y="1725"/>
                </a:lnTo>
                <a:lnTo>
                  <a:pt x="4" y="1763"/>
                </a:lnTo>
                <a:lnTo>
                  <a:pt x="7" y="1803"/>
                </a:lnTo>
                <a:lnTo>
                  <a:pt x="10" y="1841"/>
                </a:lnTo>
                <a:lnTo>
                  <a:pt x="15" y="1879"/>
                </a:lnTo>
                <a:lnTo>
                  <a:pt x="20" y="1916"/>
                </a:lnTo>
                <a:lnTo>
                  <a:pt x="26" y="1953"/>
                </a:lnTo>
                <a:lnTo>
                  <a:pt x="33" y="1990"/>
                </a:lnTo>
                <a:lnTo>
                  <a:pt x="40" y="2026"/>
                </a:lnTo>
                <a:lnTo>
                  <a:pt x="49" y="2062"/>
                </a:lnTo>
                <a:lnTo>
                  <a:pt x="58" y="2098"/>
                </a:lnTo>
                <a:lnTo>
                  <a:pt x="67" y="2133"/>
                </a:lnTo>
                <a:lnTo>
                  <a:pt x="78" y="2169"/>
                </a:lnTo>
                <a:lnTo>
                  <a:pt x="89" y="2204"/>
                </a:lnTo>
                <a:lnTo>
                  <a:pt x="101" y="2237"/>
                </a:lnTo>
                <a:lnTo>
                  <a:pt x="113" y="2271"/>
                </a:lnTo>
                <a:lnTo>
                  <a:pt x="126" y="2304"/>
                </a:lnTo>
                <a:lnTo>
                  <a:pt x="140" y="2337"/>
                </a:lnTo>
                <a:lnTo>
                  <a:pt x="154" y="2369"/>
                </a:lnTo>
                <a:lnTo>
                  <a:pt x="170" y="2401"/>
                </a:lnTo>
                <a:lnTo>
                  <a:pt x="185" y="2432"/>
                </a:lnTo>
                <a:lnTo>
                  <a:pt x="202" y="2462"/>
                </a:lnTo>
                <a:lnTo>
                  <a:pt x="219" y="2493"/>
                </a:lnTo>
                <a:lnTo>
                  <a:pt x="236" y="2522"/>
                </a:lnTo>
                <a:lnTo>
                  <a:pt x="254" y="2551"/>
                </a:lnTo>
                <a:lnTo>
                  <a:pt x="273" y="2581"/>
                </a:lnTo>
                <a:lnTo>
                  <a:pt x="292" y="2609"/>
                </a:lnTo>
                <a:lnTo>
                  <a:pt x="313" y="2636"/>
                </a:lnTo>
                <a:lnTo>
                  <a:pt x="333" y="2663"/>
                </a:lnTo>
                <a:lnTo>
                  <a:pt x="354" y="2689"/>
                </a:lnTo>
                <a:lnTo>
                  <a:pt x="376" y="2715"/>
                </a:lnTo>
                <a:lnTo>
                  <a:pt x="398" y="2740"/>
                </a:lnTo>
                <a:lnTo>
                  <a:pt x="420" y="2764"/>
                </a:lnTo>
                <a:lnTo>
                  <a:pt x="443" y="2788"/>
                </a:lnTo>
                <a:lnTo>
                  <a:pt x="466" y="2811"/>
                </a:lnTo>
                <a:lnTo>
                  <a:pt x="490" y="2834"/>
                </a:lnTo>
                <a:lnTo>
                  <a:pt x="515" y="2855"/>
                </a:lnTo>
                <a:lnTo>
                  <a:pt x="539" y="2876"/>
                </a:lnTo>
                <a:lnTo>
                  <a:pt x="565" y="2897"/>
                </a:lnTo>
                <a:lnTo>
                  <a:pt x="590" y="2917"/>
                </a:lnTo>
                <a:lnTo>
                  <a:pt x="616" y="2936"/>
                </a:lnTo>
                <a:lnTo>
                  <a:pt x="643" y="2955"/>
                </a:lnTo>
                <a:lnTo>
                  <a:pt x="670" y="2972"/>
                </a:lnTo>
                <a:lnTo>
                  <a:pt x="697" y="2989"/>
                </a:lnTo>
                <a:lnTo>
                  <a:pt x="725" y="3005"/>
                </a:lnTo>
                <a:lnTo>
                  <a:pt x="753" y="3020"/>
                </a:lnTo>
                <a:lnTo>
                  <a:pt x="782" y="3035"/>
                </a:lnTo>
                <a:lnTo>
                  <a:pt x="810" y="3048"/>
                </a:lnTo>
                <a:lnTo>
                  <a:pt x="840" y="3061"/>
                </a:lnTo>
                <a:lnTo>
                  <a:pt x="869" y="3073"/>
                </a:lnTo>
                <a:lnTo>
                  <a:pt x="899" y="3085"/>
                </a:lnTo>
                <a:lnTo>
                  <a:pt x="930" y="3095"/>
                </a:lnTo>
                <a:lnTo>
                  <a:pt x="960" y="3105"/>
                </a:lnTo>
                <a:lnTo>
                  <a:pt x="991" y="3113"/>
                </a:lnTo>
                <a:lnTo>
                  <a:pt x="1022" y="3121"/>
                </a:lnTo>
                <a:lnTo>
                  <a:pt x="1053" y="3128"/>
                </a:lnTo>
                <a:lnTo>
                  <a:pt x="1085" y="3134"/>
                </a:lnTo>
                <a:lnTo>
                  <a:pt x="1117" y="3139"/>
                </a:lnTo>
                <a:lnTo>
                  <a:pt x="1149" y="3144"/>
                </a:lnTo>
                <a:lnTo>
                  <a:pt x="1181" y="3147"/>
                </a:lnTo>
                <a:lnTo>
                  <a:pt x="1213" y="3149"/>
                </a:lnTo>
                <a:lnTo>
                  <a:pt x="1246" y="3151"/>
                </a:lnTo>
                <a:lnTo>
                  <a:pt x="1279" y="315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9" name="(c)" hidden="1"/>
          <p:cNvSpPr txBox="1"/>
          <p:nvPr userDrawn="1"/>
        </p:nvSpPr>
        <p:spPr>
          <a:xfrm>
            <a:off x="12028196" y="6891795"/>
            <a:ext cx="157094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200" baseline="0">
                <a:solidFill>
                  <a:schemeClr val="bg1"/>
                </a:solidFill>
                <a:latin typeface="+mn-lt"/>
              </a:rPr>
              <a:t> EK</a:t>
            </a:r>
            <a:endParaRPr lang="en-GB" sz="20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" name="(logo)" descr="Z:\GRW (grow)\logot\copyright_grow.png" hidden="1"/>
          <p:cNvPicPr>
            <a:picLocks noChangeAspect="1" noChangeArrowheads="1"/>
          </p:cNvPicPr>
          <p:nvPr userDrawn="1"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645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  <p:sldLayoutId id="2147483776" r:id="rId12"/>
    <p:sldLayoutId id="2147483777" r:id="rId13"/>
    <p:sldLayoutId id="2147483778" r:id="rId14"/>
    <p:sldLayoutId id="2147483779" r:id="rId15"/>
    <p:sldLayoutId id="2147483780" r:id="rId16"/>
    <p:sldLayoutId id="2147483781" r:id="rId17"/>
    <p:sldLayoutId id="2147483782" r:id="rId18"/>
    <p:sldLayoutId id="2147483783" r:id="rId19"/>
    <p:sldLayoutId id="2147483784" r:id="rId20"/>
    <p:sldLayoutId id="2147483785" r:id="rId21"/>
    <p:sldLayoutId id="2147483786" r:id="rId22"/>
    <p:sldLayoutId id="2147483787" r:id="rId23"/>
    <p:sldLayoutId id="2147483788" r:id="rId24"/>
    <p:sldLayoutId id="2147483789" r:id="rId25"/>
    <p:sldLayoutId id="2147483790" r:id="rId26"/>
    <p:sldLayoutId id="2147483791" r:id="rId27"/>
    <p:sldLayoutId id="2147483792" r:id="rId28"/>
    <p:sldLayoutId id="2147483793" r:id="rId29"/>
    <p:sldLayoutId id="2147483794" r:id="rId30"/>
    <p:sldLayoutId id="2147483795" r:id="rId31"/>
    <p:sldLayoutId id="2147483796" r:id="rId32"/>
    <p:sldLayoutId id="2147483797" r:id="rId33"/>
    <p:sldLayoutId id="2147483798" r:id="rId34"/>
    <p:sldLayoutId id="2147483799" r:id="rId35"/>
    <p:sldLayoutId id="2147483800" r:id="rId36"/>
    <p:sldLayoutId id="2147483801" r:id="rId37"/>
    <p:sldLayoutId id="2147483802" r:id="rId38"/>
    <p:sldLayoutId id="2147483803" r:id="rId39"/>
    <p:sldLayoutId id="2147483804" r:id="rId40"/>
    <p:sldLayoutId id="2147483805" r:id="rId41"/>
    <p:sldLayoutId id="2147483806" r:id="rId42"/>
    <p:sldLayoutId id="2147483807" r:id="rId43"/>
    <p:sldLayoutId id="2147483808" r:id="rId44"/>
    <p:sldLayoutId id="2147483809" r:id="rId45"/>
    <p:sldLayoutId id="2147483810" r:id="rId46"/>
    <p:sldLayoutId id="2147483811" r:id="rId47"/>
    <p:sldLayoutId id="2147483813" r:id="rId4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00000"/>
        </a:lnSpc>
        <a:spcBef>
          <a:spcPts val="800"/>
        </a:spcBef>
        <a:buFont typeface="IBM Plex Sans" panose="020B050305020300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00000"/>
        </a:lnSpc>
        <a:spcBef>
          <a:spcPts val="800"/>
        </a:spcBef>
        <a:buFont typeface="IBM Plex Sans" panose="020B050305020300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00000"/>
        </a:lnSpc>
        <a:spcBef>
          <a:spcPts val="800"/>
        </a:spcBef>
        <a:buFont typeface="IBM Plex Sans" panose="020B050305020300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00000"/>
        </a:lnSpc>
        <a:spcBef>
          <a:spcPts val="800"/>
        </a:spcBef>
        <a:buFont typeface="IBM Plex Sans" panose="020B050305020300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ek.fi/ajankohtaista/blogit/janne-peljo-vihrea-siirtyma-avaa-tuhansien-miljardien-investointikysynnan-suomalaisille-yrityksille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image" Target="../media/image24.svg"/><Relationship Id="rId2" Type="http://schemas.openxmlformats.org/officeDocument/2006/relationships/image" Target="../media/image20.tmp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projectsites.vtt.fi/sites/handprint/www.vtt.fi/sites/handprint.html" TargetMode="External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um.dk/en/foreign-policy/new-climate-action-strategy/" TargetMode="External"/><Relationship Id="rId5" Type="http://schemas.openxmlformats.org/officeDocument/2006/relationships/hyperlink" Target="https://www.svensktnaringsliv.se/sakomraden/hallbarhet-miljo-och-energi/klimatnyttan-av-svensk-export_1167102.html" TargetMode="External"/><Relationship Id="rId4" Type="http://schemas.openxmlformats.org/officeDocument/2006/relationships/hyperlink" Target="https://teknologiateollisuus.fi/fi/ajankohtaista/tiedote/teknologiateollisuuden-uusi-tyokalu-laskee-yrityksen-ilmastovaikutuksia-seka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tmp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tmp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9215869C-B7C8-4FC9-B133-BDDDFC61943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B8239FE-DA34-4F9F-A378-7209C7AA82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fi-FI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98DAD6-937C-486E-8D46-25DCB9E09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fi-FI" smtClean="0"/>
              <a:pPr/>
              <a:t>1</a:t>
            </a:fld>
            <a:endParaRPr lang="fi-FI" dirty="0"/>
          </a:p>
        </p:txBody>
      </p:sp>
      <p:sp>
        <p:nvSpPr>
          <p:cNvPr id="13" name="Otsikko 2">
            <a:extLst>
              <a:ext uri="{FF2B5EF4-FFF2-40B4-BE49-F238E27FC236}">
                <a16:creationId xmlns:a16="http://schemas.microsoft.com/office/drawing/2014/main" id="{4F04BB10-9C27-BA3A-E9D6-158796AF9B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57611" y="1162817"/>
            <a:ext cx="6834389" cy="2808313"/>
          </a:xfrm>
        </p:spPr>
        <p:txBody>
          <a:bodyPr/>
          <a:lstStyle/>
          <a:p>
            <a:br>
              <a:rPr lang="fi-FI" b="1" dirty="0"/>
            </a:br>
            <a:r>
              <a:rPr lang="fi-FI" b="1" dirty="0"/>
              <a:t>Voittava strategia vihreässä siirtymässä: hiilijalanjälki alas, kädenjälki kasvuun</a:t>
            </a:r>
            <a:endParaRPr lang="fi-FI" sz="2800" b="1" dirty="0"/>
          </a:p>
        </p:txBody>
      </p:sp>
      <p:sp>
        <p:nvSpPr>
          <p:cNvPr id="14" name="Alaotsikko 3">
            <a:extLst>
              <a:ext uri="{FF2B5EF4-FFF2-40B4-BE49-F238E27FC236}">
                <a16:creationId xmlns:a16="http://schemas.microsoft.com/office/drawing/2014/main" id="{C3DDA216-CF73-15CE-8174-ED3D574FEF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620713"/>
            <a:ext cx="5329238" cy="648047"/>
          </a:xfrm>
        </p:spPr>
        <p:txBody>
          <a:bodyPr/>
          <a:lstStyle/>
          <a:p>
            <a:pPr algn="r"/>
            <a:r>
              <a:rPr lang="fi-FI" dirty="0"/>
              <a:t>Janne Peljo</a:t>
            </a:r>
          </a:p>
          <a:p>
            <a:pPr algn="r"/>
            <a:r>
              <a:rPr lang="fi-FI" dirty="0"/>
              <a:t>Johtava asiantuntija, ilmasto ja biodiversiteetti</a:t>
            </a:r>
          </a:p>
          <a:p>
            <a:pPr algn="r"/>
            <a:r>
              <a:rPr lang="fi-FI" dirty="0"/>
              <a:t>27.10.2022</a:t>
            </a:r>
          </a:p>
        </p:txBody>
      </p:sp>
    </p:spTree>
    <p:extLst>
      <p:ext uri="{BB962C8B-B14F-4D97-AF65-F5344CB8AC3E}">
        <p14:creationId xmlns:p14="http://schemas.microsoft.com/office/powerpoint/2010/main" val="3671691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3545D207-AEC0-496A-822C-35DB96E47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IBM Plex Sans"/>
                <a:ea typeface="+mn-ea"/>
                <a:cs typeface="+mn-cs"/>
              </a:rPr>
              <a:t>27.10.2022</a:t>
            </a:r>
            <a:endParaRPr kumimoji="0" lang="en-GB" sz="9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IBM Plex Sans"/>
              <a:ea typeface="+mn-ea"/>
              <a:cs typeface="+mn-cs"/>
            </a:endParaRP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84D5DA39-D5CD-4689-915B-4A4D042C0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270FB2-C416-455B-8FD2-88A9B37B7CB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IBM Plex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IBM Plex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0078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E0C3AD-8018-ED87-048B-5100420D1F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CAE469-092F-D326-AA69-A4BB6586F9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9EDDFC-D595-FCAA-BA54-6AF7E35DBD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i-FI" dirty="0"/>
              <a:t>Hiilijalanjälki = tuotteen tai palvelun negatiivinen ilmastovaikutus</a:t>
            </a:r>
          </a:p>
          <a:p>
            <a:endParaRPr lang="fi-FI" dirty="0"/>
          </a:p>
          <a:p>
            <a:r>
              <a:rPr lang="fi-FI" dirty="0"/>
              <a:t>Hiilikädenjälki = tuotteen tai palvelun positiivinen ilmastovaikutus</a:t>
            </a:r>
          </a:p>
        </p:txBody>
      </p:sp>
    </p:spTree>
    <p:extLst>
      <p:ext uri="{BB962C8B-B14F-4D97-AF65-F5344CB8AC3E}">
        <p14:creationId xmlns:p14="http://schemas.microsoft.com/office/powerpoint/2010/main" val="2521960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35274D-E551-4C40-8666-20D385A84C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Ilmastonmuutoksen hillintä edellyttää jättimäisiä investointeja ympäri maailma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C63C4A2-0BDD-407D-A24A-A9F23B0DE1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C22B2F-703D-4CA7-BA5D-49BF29FE38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3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00A618-FA59-42E8-9CF2-3F13C71018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i-FI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306EE2DC-D1A7-EE96-B224-A8A9570F600D}"/>
              </a:ext>
            </a:extLst>
          </p:cNvPr>
          <p:cNvGraphicFramePr>
            <a:graphicFrameLocks noGrp="1"/>
          </p:cNvGraphicFramePr>
          <p:nvPr/>
        </p:nvGraphicFramePr>
        <p:xfrm>
          <a:off x="2207568" y="2348880"/>
          <a:ext cx="7920881" cy="324035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2329671">
                  <a:extLst>
                    <a:ext uri="{9D8B030D-6E8A-4147-A177-3AD203B41FA5}">
                      <a16:colId xmlns:a16="http://schemas.microsoft.com/office/drawing/2014/main" val="2176540487"/>
                    </a:ext>
                  </a:extLst>
                </a:gridCol>
                <a:gridCol w="2142365">
                  <a:extLst>
                    <a:ext uri="{9D8B030D-6E8A-4147-A177-3AD203B41FA5}">
                      <a16:colId xmlns:a16="http://schemas.microsoft.com/office/drawing/2014/main" val="1068471728"/>
                    </a:ext>
                  </a:extLst>
                </a:gridCol>
                <a:gridCol w="2031473">
                  <a:extLst>
                    <a:ext uri="{9D8B030D-6E8A-4147-A177-3AD203B41FA5}">
                      <a16:colId xmlns:a16="http://schemas.microsoft.com/office/drawing/2014/main" val="2743990969"/>
                    </a:ext>
                  </a:extLst>
                </a:gridCol>
                <a:gridCol w="1417372">
                  <a:extLst>
                    <a:ext uri="{9D8B030D-6E8A-4147-A177-3AD203B41FA5}">
                      <a16:colId xmlns:a16="http://schemas.microsoft.com/office/drawing/2014/main" val="517514209"/>
                    </a:ext>
                  </a:extLst>
                </a:gridCol>
              </a:tblGrid>
              <a:tr h="520450">
                <a:tc>
                  <a:txBody>
                    <a:bodyPr/>
                    <a:lstStyle/>
                    <a:p>
                      <a:pPr algn="ctr"/>
                      <a:r>
                        <a:rPr lang="fi-FI" sz="1400" dirty="0">
                          <a:effectLst/>
                          <a:latin typeface="+mn-lt"/>
                        </a:rPr>
                        <a:t>Alue</a:t>
                      </a:r>
                      <a:endParaRPr lang="fi-FI" sz="14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 dirty="0">
                          <a:effectLst/>
                          <a:latin typeface="+mn-lt"/>
                        </a:rPr>
                        <a:t>Investoinnit yhteensä</a:t>
                      </a:r>
                      <a:endParaRPr lang="fi-FI" sz="14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>
                          <a:effectLst/>
                          <a:latin typeface="+mn-lt"/>
                        </a:rPr>
                        <a:t>Investoinnit vuodessa</a:t>
                      </a:r>
                      <a:endParaRPr lang="fi-FI" sz="14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>
                          <a:effectLst/>
                          <a:latin typeface="+mn-lt"/>
                        </a:rPr>
                        <a:t>Aikajänne</a:t>
                      </a:r>
                      <a:endParaRPr lang="fi-FI" sz="14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158739149"/>
                  </a:ext>
                </a:extLst>
              </a:tr>
              <a:tr h="520450">
                <a:tc>
                  <a:txBody>
                    <a:bodyPr/>
                    <a:lstStyle/>
                    <a:p>
                      <a:pPr algn="ctr"/>
                      <a:r>
                        <a:rPr lang="fi-FI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Maailm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270.000 miljardia dollari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9.200 miljardia dollari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2021-2050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86731842"/>
                  </a:ext>
                </a:extLst>
              </a:tr>
              <a:tr h="520450">
                <a:tc>
                  <a:txBody>
                    <a:bodyPr/>
                    <a:lstStyle/>
                    <a:p>
                      <a:pPr algn="ctr"/>
                      <a:r>
                        <a:rPr lang="fi-FI" sz="1400" dirty="0">
                          <a:effectLst/>
                          <a:latin typeface="+mn-lt"/>
                        </a:rPr>
                        <a:t>Maailma </a:t>
                      </a:r>
                    </a:p>
                    <a:p>
                      <a:pPr algn="ctr"/>
                      <a:r>
                        <a:rPr lang="fi-FI" sz="1400" dirty="0">
                          <a:effectLst/>
                          <a:latin typeface="+mn-lt"/>
                        </a:rPr>
                        <a:t>(energiasektori)</a:t>
                      </a:r>
                      <a:endParaRPr lang="fi-FI" sz="14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>
                          <a:effectLst/>
                          <a:latin typeface="+mn-lt"/>
                        </a:rPr>
                        <a:t>yli 36.000 miljardia euroa</a:t>
                      </a:r>
                      <a:endParaRPr lang="fi-FI" sz="14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>
                          <a:effectLst/>
                          <a:latin typeface="+mn-lt"/>
                        </a:rPr>
                        <a:t>3.600 miljardia euroa</a:t>
                      </a:r>
                      <a:endParaRPr lang="fi-FI" sz="14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 dirty="0">
                          <a:effectLst/>
                          <a:latin typeface="+mn-lt"/>
                        </a:rPr>
                        <a:t>2020-2030</a:t>
                      </a:r>
                      <a:endParaRPr lang="fi-FI" sz="14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80494005"/>
                  </a:ext>
                </a:extLst>
              </a:tr>
              <a:tr h="520450">
                <a:tc>
                  <a:txBody>
                    <a:bodyPr/>
                    <a:lstStyle/>
                    <a:p>
                      <a:pPr algn="ctr"/>
                      <a:r>
                        <a:rPr lang="fi-FI" sz="1400" dirty="0">
                          <a:effectLst/>
                          <a:latin typeface="+mn-lt"/>
                        </a:rPr>
                        <a:t>EU</a:t>
                      </a:r>
                      <a:endParaRPr lang="fi-FI" sz="14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 dirty="0">
                          <a:effectLst/>
                          <a:latin typeface="+mn-lt"/>
                        </a:rPr>
                        <a:t>28.000 miljardia euroa</a:t>
                      </a:r>
                      <a:endParaRPr lang="fi-FI" sz="14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 dirty="0">
                          <a:effectLst/>
                          <a:latin typeface="+mn-lt"/>
                        </a:rPr>
                        <a:t>970 miljardia euroa</a:t>
                      </a:r>
                      <a:endParaRPr lang="fi-FI" sz="14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 dirty="0">
                          <a:effectLst/>
                          <a:latin typeface="+mn-lt"/>
                        </a:rPr>
                        <a:t>2021-2050</a:t>
                      </a:r>
                      <a:endParaRPr lang="fi-FI" sz="14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42544069"/>
                  </a:ext>
                </a:extLst>
              </a:tr>
              <a:tr h="520450">
                <a:tc>
                  <a:txBody>
                    <a:bodyPr/>
                    <a:lstStyle/>
                    <a:p>
                      <a:pPr algn="ctr"/>
                      <a:r>
                        <a:rPr lang="fi-FI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Suomi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240 miljardia euro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8 miljardia euroa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2020-2050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6052791"/>
                  </a:ext>
                </a:extLst>
              </a:tr>
              <a:tr h="638109">
                <a:tc>
                  <a:txBody>
                    <a:bodyPr/>
                    <a:lstStyle/>
                    <a:p>
                      <a:pPr algn="ctr"/>
                      <a:r>
                        <a:rPr lang="fi-FI" sz="1400" dirty="0">
                          <a:effectLst/>
                          <a:latin typeface="+mn-lt"/>
                        </a:rPr>
                        <a:t>Suomi (energiasektori ja vety)</a:t>
                      </a:r>
                      <a:endParaRPr lang="fi-FI" sz="14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>
                          <a:effectLst/>
                          <a:latin typeface="+mn-lt"/>
                        </a:rPr>
                        <a:t>yli 100 miljardia euroa</a:t>
                      </a:r>
                      <a:endParaRPr lang="fi-FI" sz="14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>
                          <a:effectLst/>
                          <a:latin typeface="+mn-lt"/>
                        </a:rPr>
                        <a:t>3,3 miljardia euroa</a:t>
                      </a:r>
                      <a:endParaRPr lang="fi-FI" sz="140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400" dirty="0">
                          <a:effectLst/>
                          <a:latin typeface="+mn-lt"/>
                        </a:rPr>
                        <a:t>2020-2050</a:t>
                      </a:r>
                      <a:endParaRPr lang="fi-FI" sz="1400" dirty="0"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657274412"/>
                  </a:ext>
                </a:extLst>
              </a:tr>
            </a:tbl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7DD6503D-1BFC-F2EA-DF50-FFC128B4A817}"/>
              </a:ext>
            </a:extLst>
          </p:cNvPr>
          <p:cNvSpPr txBox="1"/>
          <p:nvPr/>
        </p:nvSpPr>
        <p:spPr>
          <a:xfrm>
            <a:off x="766762" y="6261530"/>
            <a:ext cx="943369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050" dirty="0"/>
              <a:t>Lisätiedot: </a:t>
            </a:r>
            <a:r>
              <a:rPr lang="fi-FI" sz="1050" dirty="0">
                <a:hlinkClick r:id="rId3"/>
              </a:rPr>
              <a:t>https://ek.fi/ajankohtaista/blogit/janne-peljo-vihrea-siirtyma-avaa-tuhansien-miljardien-investointikysynnan-suomalaisille-yrityksille/</a:t>
            </a:r>
            <a:r>
              <a:rPr lang="fi-FI" sz="105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8884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hart, line chart&#10;&#10;Description automatically generated">
            <a:extLst>
              <a:ext uri="{FF2B5EF4-FFF2-40B4-BE49-F238E27FC236}">
                <a16:creationId xmlns:a16="http://schemas.microsoft.com/office/drawing/2014/main" id="{AEBE7A94-30D5-0896-0BAA-7E7B51B6E8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406" y="2385243"/>
            <a:ext cx="5570618" cy="356403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BCEF378-9E76-4225-919D-C10B793D40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Voittava strategia Suomelle: </a:t>
            </a:r>
            <a:br>
              <a:rPr lang="fi-FI" dirty="0"/>
            </a:br>
            <a:r>
              <a:rPr lang="fi-FI" dirty="0"/>
              <a:t>Hiilijalanjälki alas, hiilikädenjälki ylö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D7E935-FDA2-4A42-85AC-DD941064A1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9983F3-7B91-45F7-97C5-073FE24F6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4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931291-5B11-4734-8537-F566A4B5C2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i-FI" dirty="0"/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DE20EA5A-12FA-45CD-9B4B-C00EDD91D9F0}"/>
              </a:ext>
            </a:extLst>
          </p:cNvPr>
          <p:cNvGraphicFramePr>
            <a:graphicFrameLocks/>
          </p:cNvGraphicFramePr>
          <p:nvPr/>
        </p:nvGraphicFramePr>
        <p:xfrm>
          <a:off x="6853236" y="1891369"/>
          <a:ext cx="4572001" cy="44676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" name="Oval 20" descr="Footprints with solid fill">
            <a:extLst>
              <a:ext uri="{FF2B5EF4-FFF2-40B4-BE49-F238E27FC236}">
                <a16:creationId xmlns:a16="http://schemas.microsoft.com/office/drawing/2014/main" id="{405B2530-5744-4492-9AD5-E6B6742CA8FA}"/>
              </a:ext>
            </a:extLst>
          </p:cNvPr>
          <p:cNvSpPr/>
          <p:nvPr/>
        </p:nvSpPr>
        <p:spPr>
          <a:xfrm>
            <a:off x="227284" y="1772660"/>
            <a:ext cx="684297" cy="684297"/>
          </a:xfrm>
          <a:prstGeom prst="ellipse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73394C6-DE3C-4429-A3CF-207D159B377E}"/>
              </a:ext>
            </a:extLst>
          </p:cNvPr>
          <p:cNvSpPr txBox="1"/>
          <p:nvPr/>
        </p:nvSpPr>
        <p:spPr>
          <a:xfrm>
            <a:off x="863800" y="6336114"/>
            <a:ext cx="570994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050" dirty="0"/>
              <a:t>Lähde: Tilastokeskus, Suomen kasvihuonekaasupäästöt 2021 (pikaennakkotieto)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8167507-A507-4EE6-9AE0-5614E22E2994}"/>
              </a:ext>
            </a:extLst>
          </p:cNvPr>
          <p:cNvSpPr txBox="1"/>
          <p:nvPr/>
        </p:nvSpPr>
        <p:spPr>
          <a:xfrm>
            <a:off x="6754916" y="6337706"/>
            <a:ext cx="570994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050" dirty="0"/>
              <a:t>Lähde: Tilastokeskus, Suomen Ympäristöliiketoiminta (2020).</a:t>
            </a:r>
          </a:p>
          <a:p>
            <a:endParaRPr lang="fi-FI" sz="1050" dirty="0"/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47EFCC4-F0F6-42F0-B46C-61A7A69658D2}"/>
              </a:ext>
            </a:extLst>
          </p:cNvPr>
          <p:cNvCxnSpPr/>
          <p:nvPr/>
        </p:nvCxnSpPr>
        <p:spPr>
          <a:xfrm flipV="1">
            <a:off x="7752184" y="3573016"/>
            <a:ext cx="3240360" cy="1872208"/>
          </a:xfrm>
          <a:prstGeom prst="straightConnector1">
            <a:avLst/>
          </a:prstGeom>
          <a:ln w="285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27">
            <a:extLst>
              <a:ext uri="{FF2B5EF4-FFF2-40B4-BE49-F238E27FC236}">
                <a16:creationId xmlns:a16="http://schemas.microsoft.com/office/drawing/2014/main" id="{D8692B2C-2A88-42EB-9DB3-9A28CE9D7A84}"/>
              </a:ext>
            </a:extLst>
          </p:cNvPr>
          <p:cNvSpPr/>
          <p:nvPr/>
        </p:nvSpPr>
        <p:spPr>
          <a:xfrm>
            <a:off x="10117035" y="3414599"/>
            <a:ext cx="670899" cy="316835"/>
          </a:xfrm>
          <a:prstGeom prst="ellipse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36000" rIns="0" bIns="36000" rtlCol="0" anchor="ctr"/>
          <a:lstStyle/>
          <a:p>
            <a:pPr algn="ctr"/>
            <a:r>
              <a:rPr lang="fi-FI" sz="1400" b="1" dirty="0">
                <a:latin typeface="Arial" panose="020B0604020202020204" pitchFamily="34" charset="0"/>
                <a:cs typeface="Arial" panose="020B0604020202020204" pitchFamily="34" charset="0"/>
              </a:rPr>
              <a:t>+45%</a:t>
            </a:r>
          </a:p>
        </p:txBody>
      </p:sp>
      <p:sp>
        <p:nvSpPr>
          <p:cNvPr id="20" name="Oval 19" descr="Handprint with solid fill">
            <a:extLst>
              <a:ext uri="{FF2B5EF4-FFF2-40B4-BE49-F238E27FC236}">
                <a16:creationId xmlns:a16="http://schemas.microsoft.com/office/drawing/2014/main" id="{FBDCE152-EF4E-4F32-9FA1-1FF0987E15A7}"/>
              </a:ext>
            </a:extLst>
          </p:cNvPr>
          <p:cNvSpPr/>
          <p:nvPr/>
        </p:nvSpPr>
        <p:spPr>
          <a:xfrm>
            <a:off x="6347964" y="1754655"/>
            <a:ext cx="684297" cy="684297"/>
          </a:xfrm>
          <a:prstGeom prst="ellipse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>
              <a:fillRect/>
            </a:stretch>
          </a:blip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6980541-54BF-F51E-E4B9-70F2BE2061B4}"/>
              </a:ext>
            </a:extLst>
          </p:cNvPr>
          <p:cNvCxnSpPr>
            <a:cxnSpLocks/>
          </p:cNvCxnSpPr>
          <p:nvPr/>
        </p:nvCxnSpPr>
        <p:spPr>
          <a:xfrm>
            <a:off x="1271464" y="3239852"/>
            <a:ext cx="4812970" cy="405172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val 17">
            <a:extLst>
              <a:ext uri="{FF2B5EF4-FFF2-40B4-BE49-F238E27FC236}">
                <a16:creationId xmlns:a16="http://schemas.microsoft.com/office/drawing/2014/main" id="{FE686F53-8F16-1B72-883C-59283B5DF55D}"/>
              </a:ext>
            </a:extLst>
          </p:cNvPr>
          <p:cNvSpPr/>
          <p:nvPr/>
        </p:nvSpPr>
        <p:spPr>
          <a:xfrm>
            <a:off x="5969355" y="3383434"/>
            <a:ext cx="609908" cy="261847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36000" rIns="0" bIns="36000" rtlCol="0" anchor="ctr"/>
          <a:lstStyle/>
          <a:p>
            <a:pPr algn="ctr"/>
            <a:r>
              <a:rPr lang="fi-FI" sz="1400" b="1" dirty="0">
                <a:latin typeface="Arial" panose="020B0604020202020204" pitchFamily="34" charset="0"/>
                <a:cs typeface="Arial" panose="020B0604020202020204" pitchFamily="34" charset="0"/>
              </a:rPr>
              <a:t>-33%</a:t>
            </a:r>
          </a:p>
        </p:txBody>
      </p:sp>
    </p:spTree>
    <p:extLst>
      <p:ext uri="{BB962C8B-B14F-4D97-AF65-F5344CB8AC3E}">
        <p14:creationId xmlns:p14="http://schemas.microsoft.com/office/powerpoint/2010/main" val="2563029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1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n paikkamerkki 7">
            <a:extLst>
              <a:ext uri="{FF2B5EF4-FFF2-40B4-BE49-F238E27FC236}">
                <a16:creationId xmlns:a16="http://schemas.microsoft.com/office/drawing/2014/main" id="{2A065552-580D-41C1-8A36-A42F1338D74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10" r="23210"/>
          <a:stretch>
            <a:fillRect/>
          </a:stretch>
        </p:blipFill>
        <p:spPr/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B4693F7-D266-4A2D-B2B8-A6F2697B31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z="3200" dirty="0"/>
              <a:t>Hiilikädenjälki mittaa positiivisia ilmastovaikutuksia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5929443-3F18-4C4B-A722-64A35B28A2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3" y="1628800"/>
            <a:ext cx="6049317" cy="4321174"/>
          </a:xfrm>
        </p:spPr>
        <p:txBody>
          <a:bodyPr/>
          <a:lstStyle/>
          <a:p>
            <a:r>
              <a:rPr lang="fi-FI" dirty="0"/>
              <a:t>Hiilijalanjälki on vakiintunut termi, jolla mitataan toiminnasta aiheutuvia ilmastopäästöjä.</a:t>
            </a:r>
          </a:p>
          <a:p>
            <a:r>
              <a:rPr lang="fi-FI" dirty="0"/>
              <a:t>Sen rinnalle on kehitetty </a:t>
            </a:r>
            <a:r>
              <a:rPr lang="fi-FI" b="1" dirty="0"/>
              <a:t>hiilikädenjälki, jolla mitataan tuotteiden tai palveluiden aikaansaamia positiivisia ilmastovaikutuksia</a:t>
            </a:r>
            <a:r>
              <a:rPr lang="fi-FI" dirty="0"/>
              <a:t>.</a:t>
            </a:r>
          </a:p>
          <a:p>
            <a:pPr lvl="1"/>
            <a:r>
              <a:rPr lang="fi-FI" dirty="0"/>
              <a:t>Näitä voivat olla esim. energiansäästö eli energiatehokkuus, materiaalitehokkuus, ilmastomyönteiset raaka-ainevaihtoehdot, tuotteiden parempi kierrätettävyys.</a:t>
            </a:r>
          </a:p>
          <a:p>
            <a:r>
              <a:rPr lang="fi-FI" dirty="0"/>
              <a:t>Suomalaisyritysten tarjoamien vähäpäästöisten tuotteiden ja palveluiden – Suomen hiilikädenjäljen – merkitys voi olla moninkertainen ja merkittävin panoksemme Pariisin ilmastosopimuksen 1,5 C tavoitteen saavuttamiseksi. 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41DBC26C-B81A-4265-A7E4-4D42A5BEBF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599956"/>
                </a:solidFill>
                <a:effectLst/>
                <a:uLnTx/>
                <a:uFillTx/>
                <a:latin typeface="IBM Plex Sans"/>
                <a:ea typeface="+mn-ea"/>
                <a:cs typeface="+mn-cs"/>
              </a:rPr>
              <a:t>27.10.2022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599956"/>
              </a:solidFill>
              <a:effectLst/>
              <a:uLnTx/>
              <a:uFillTx/>
              <a:latin typeface="IBM Plex Sans"/>
              <a:ea typeface="+mn-ea"/>
              <a:cs typeface="+mn-cs"/>
            </a:endParaRP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B3E95F4-3332-4BC9-9B6C-3381A1D59A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270FB2-C416-455B-8FD2-88A9B37B7CB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599956"/>
                </a:solidFill>
                <a:effectLst/>
                <a:uLnTx/>
                <a:uFillTx/>
                <a:latin typeface="IBM Plex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599956"/>
              </a:solidFill>
              <a:effectLst/>
              <a:uLnTx/>
              <a:uFillTx/>
              <a:latin typeface="IBM Plex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40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n paikkamerkki 7">
            <a:extLst>
              <a:ext uri="{FF2B5EF4-FFF2-40B4-BE49-F238E27FC236}">
                <a16:creationId xmlns:a16="http://schemas.microsoft.com/office/drawing/2014/main" id="{808DD4BF-9C68-4841-BD8F-39290069F1C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01" r="33301"/>
          <a:stretch>
            <a:fillRect/>
          </a:stretch>
        </p:blipFill>
        <p:spPr/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09482009-D87E-402C-869F-5C6C375095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620713"/>
            <a:ext cx="7993533" cy="1080095"/>
          </a:xfrm>
        </p:spPr>
        <p:txBody>
          <a:bodyPr/>
          <a:lstStyle/>
          <a:p>
            <a:r>
              <a:rPr lang="fi-FI" sz="3600" dirty="0"/>
              <a:t>Mikä on Suomen hiilikädenjälki?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2283358E-146C-4008-8308-4B39CC6747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3" y="1628106"/>
            <a:ext cx="8353573" cy="4321174"/>
          </a:xfrm>
        </p:spPr>
        <p:txBody>
          <a:bodyPr/>
          <a:lstStyle/>
          <a:p>
            <a:r>
              <a:rPr lang="fi-FI" dirty="0"/>
              <a:t>Hiilikädenjäljen mittaamiseen on kehitetty menetelmiä Suomessa </a:t>
            </a:r>
            <a:r>
              <a:rPr lang="fi-FI" dirty="0">
                <a:hlinkClick r:id="rId3"/>
              </a:rPr>
              <a:t>VTT:n ja </a:t>
            </a:r>
            <a:r>
              <a:rPr lang="fi-FI" dirty="0" err="1">
                <a:hlinkClick r:id="rId3"/>
              </a:rPr>
              <a:t>LUT:n</a:t>
            </a:r>
            <a:r>
              <a:rPr lang="fi-FI" dirty="0">
                <a:hlinkClick r:id="rId3"/>
              </a:rPr>
              <a:t> johdolla</a:t>
            </a:r>
            <a:r>
              <a:rPr lang="fi-FI" dirty="0"/>
              <a:t> yhteistyössä Sitran ja </a:t>
            </a:r>
            <a:r>
              <a:rPr lang="fi-FI" dirty="0" err="1"/>
              <a:t>CLC:n</a:t>
            </a:r>
            <a:r>
              <a:rPr lang="fi-FI" dirty="0"/>
              <a:t> kanssa.</a:t>
            </a:r>
          </a:p>
          <a:p>
            <a:pPr lvl="1"/>
            <a:r>
              <a:rPr lang="fi-FI" dirty="0"/>
              <a:t>Teknologiateollisuus ry on kehittänyt yrityksille </a:t>
            </a:r>
            <a:r>
              <a:rPr lang="fi-FI" dirty="0">
                <a:hlinkClick r:id="rId4"/>
              </a:rPr>
              <a:t>työkalun</a:t>
            </a:r>
            <a:r>
              <a:rPr lang="fi-FI" dirty="0"/>
              <a:t> toimintansa ja tuotteidensa positiivisten ilmastovaikutusten tarkastelun tueksi.</a:t>
            </a:r>
          </a:p>
          <a:p>
            <a:r>
              <a:rPr lang="fi-FI" dirty="0"/>
              <a:t>Koko </a:t>
            </a:r>
            <a:r>
              <a:rPr lang="fi-FI" b="1" dirty="0"/>
              <a:t>Suomen tasolla ei kuitenkaan ole muodostettu edes karkeaa arviota hiilikädenjäljestä</a:t>
            </a:r>
            <a:r>
              <a:rPr lang="fi-FI" dirty="0"/>
              <a:t>, saati sen kokonaispotentiaalista.</a:t>
            </a:r>
          </a:p>
          <a:p>
            <a:pPr lvl="1"/>
            <a:r>
              <a:rPr lang="fi-FI" dirty="0"/>
              <a:t>Yksittäiset yritykset ovat laskeneet toiminnalleen tai ratkaisuilleen hiilikädenjäljen, myös eri toimialoilla on laskettu kädenjälkivaikutuksia.</a:t>
            </a:r>
          </a:p>
          <a:p>
            <a:pPr lvl="1"/>
            <a:r>
              <a:rPr lang="fi-FI" dirty="0"/>
              <a:t>Ruotsissa tehty arvioita </a:t>
            </a:r>
            <a:r>
              <a:rPr lang="fi-FI" dirty="0">
                <a:hlinkClick r:id="rId5"/>
              </a:rPr>
              <a:t>viennin ilmastohyödyistä</a:t>
            </a:r>
            <a:r>
              <a:rPr lang="fi-FI" dirty="0"/>
              <a:t>, Tanskalla on laajempi </a:t>
            </a:r>
            <a:r>
              <a:rPr lang="fi-FI" dirty="0">
                <a:hlinkClick r:id="rId6"/>
              </a:rPr>
              <a:t>Global </a:t>
            </a:r>
            <a:r>
              <a:rPr lang="fi-FI" dirty="0" err="1">
                <a:hlinkClick r:id="rId6"/>
              </a:rPr>
              <a:t>Climate</a:t>
            </a:r>
            <a:r>
              <a:rPr lang="fi-FI" dirty="0">
                <a:hlinkClick r:id="rId6"/>
              </a:rPr>
              <a:t> Action </a:t>
            </a:r>
            <a:r>
              <a:rPr lang="fi-FI" dirty="0" err="1">
                <a:hlinkClick r:id="rId6"/>
              </a:rPr>
              <a:t>Strategy</a:t>
            </a:r>
            <a:r>
              <a:rPr lang="fi-FI" dirty="0"/>
              <a:t>.</a:t>
            </a:r>
          </a:p>
          <a:p>
            <a:r>
              <a:rPr lang="fi-FI" dirty="0"/>
              <a:t>Suomelle ja suomalaiselle elinkeinoelämälle olisi </a:t>
            </a:r>
            <a:r>
              <a:rPr lang="fi-FI" b="1" dirty="0"/>
              <a:t>tärkeää ymmärtää paremmin, mistä Suomen hiilikädenjälki muodostuu </a:t>
            </a:r>
            <a:r>
              <a:rPr lang="fi-FI" dirty="0"/>
              <a:t>nykyisellään</a:t>
            </a:r>
            <a:r>
              <a:rPr lang="fi-FI" b="1" dirty="0"/>
              <a:t> </a:t>
            </a:r>
            <a:r>
              <a:rPr lang="fi-FI" dirty="0"/>
              <a:t>ja millainen potentiaali sen kasvattamisessa globaalisti olisi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126A684-C2D1-410A-8720-47333D7842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599956"/>
                </a:solidFill>
                <a:effectLst/>
                <a:uLnTx/>
                <a:uFillTx/>
                <a:latin typeface="IBM Plex Sans"/>
                <a:ea typeface="+mn-ea"/>
                <a:cs typeface="+mn-cs"/>
              </a:rPr>
              <a:t>27.10.2022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599956"/>
              </a:solidFill>
              <a:effectLst/>
              <a:uLnTx/>
              <a:uFillTx/>
              <a:latin typeface="IBM Plex Sans"/>
              <a:ea typeface="+mn-ea"/>
              <a:cs typeface="+mn-cs"/>
            </a:endParaRP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A6D98AD7-76EB-4B90-B363-59082D325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270FB2-C416-455B-8FD2-88A9B37B7CB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599956"/>
                </a:solidFill>
                <a:effectLst/>
                <a:uLnTx/>
                <a:uFillTx/>
                <a:latin typeface="IBM Plex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599956"/>
              </a:solidFill>
              <a:effectLst/>
              <a:uLnTx/>
              <a:uFillTx/>
              <a:latin typeface="IBM Plex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0427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AECFD2-5AB0-4D47-B1DB-644CC9800C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EK:n</a:t>
            </a:r>
            <a:r>
              <a:rPr lang="fi-FI" dirty="0"/>
              <a:t> hiilikädenjälkihanke: ymmärretään kädenjälk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B7147D-074A-4DE2-AEF7-DECAA8F47A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4" y="1916113"/>
            <a:ext cx="3687754" cy="4753992"/>
          </a:xfrm>
        </p:spPr>
        <p:txBody>
          <a:bodyPr/>
          <a:lstStyle/>
          <a:p>
            <a:r>
              <a:rPr lang="fi-FI" dirty="0"/>
              <a:t>Marraskuussa 2022 julkaistavan hankkeen tarkoituksena on:</a:t>
            </a:r>
          </a:p>
          <a:p>
            <a:pPr lvl="1"/>
            <a:r>
              <a:rPr lang="fi-FI" dirty="0"/>
              <a:t>määrittää suomalaisen elinkeinoelämän nykyinen hiilikädenjälki maailmalla </a:t>
            </a:r>
          </a:p>
          <a:p>
            <a:pPr lvl="1"/>
            <a:r>
              <a:rPr lang="fi-FI" dirty="0"/>
              <a:t>muodostaa arvio hiilikädenjäljen potentiaalista tulevaisuudessa.</a:t>
            </a:r>
          </a:p>
          <a:p>
            <a:r>
              <a:rPr lang="fi-FI" dirty="0"/>
              <a:t>Arvio Suomen vientitilastojen pohjalta, ei kata suomalaisten yritysten </a:t>
            </a:r>
            <a:r>
              <a:rPr lang="fi-FI"/>
              <a:t>muualla tilastoitua vientiä</a:t>
            </a:r>
            <a:endParaRPr lang="fi-FI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EFBF59-70DD-43DF-AF9C-D74F7BD380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599956"/>
                </a:solidFill>
                <a:effectLst/>
                <a:uLnTx/>
                <a:uFillTx/>
                <a:latin typeface="IBM Plex Sans"/>
                <a:ea typeface="+mn-ea"/>
                <a:cs typeface="+mn-cs"/>
              </a:rPr>
              <a:t>27.10.2022</a:t>
            </a:r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599956"/>
              </a:solidFill>
              <a:effectLst/>
              <a:uLnTx/>
              <a:uFillTx/>
              <a:latin typeface="IBM Plex Sans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521BAA-6E11-4A53-B7F9-9B99D4F84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270FB2-C416-455B-8FD2-88A9B37B7CB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599956"/>
                </a:solidFill>
                <a:effectLst/>
                <a:uLnTx/>
                <a:uFillTx/>
                <a:latin typeface="IBM Plex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599956"/>
              </a:solidFill>
              <a:effectLst/>
              <a:uLnTx/>
              <a:uFillTx/>
              <a:latin typeface="IBM Plex Sans"/>
              <a:ea typeface="+mn-ea"/>
              <a:cs typeface="+mn-cs"/>
            </a:endParaRPr>
          </a:p>
        </p:txBody>
      </p:sp>
      <p:pic>
        <p:nvPicPr>
          <p:cNvPr id="7" name="Picture 6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A28BDEBD-616B-041F-CD48-B1A93E2E10A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32"/>
          <a:stretch/>
        </p:blipFill>
        <p:spPr>
          <a:xfrm>
            <a:off x="4454517" y="1815632"/>
            <a:ext cx="7638398" cy="353078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335823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0FC38C-74FD-B38A-F140-954D44F83A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560553"/>
            <a:ext cx="10658475" cy="1080095"/>
          </a:xfrm>
        </p:spPr>
        <p:txBody>
          <a:bodyPr/>
          <a:lstStyle/>
          <a:p>
            <a:r>
              <a:rPr lang="fi-FI" dirty="0"/>
              <a:t>Suomella jo nyt mittava hiilikädenjälki, ja sen kasvattamiselle on hyvät edellytykset</a:t>
            </a:r>
          </a:p>
        </p:txBody>
      </p:sp>
      <p:pic>
        <p:nvPicPr>
          <p:cNvPr id="7" name="Content Placeholder 6" descr="A picture containing chart&#10;&#10;Description automatically generated">
            <a:extLst>
              <a:ext uri="{FF2B5EF4-FFF2-40B4-BE49-F238E27FC236}">
                <a16:creationId xmlns:a16="http://schemas.microsoft.com/office/drawing/2014/main" id="{8ED90277-1758-0E11-6389-8F7B695B39D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105" y="1614013"/>
            <a:ext cx="10067980" cy="4877986"/>
          </a:xfrm>
          <a:ln>
            <a:solidFill>
              <a:schemeClr val="tx1"/>
            </a:solidFill>
          </a:ln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94F187-1541-DB47-CCFF-6FDCCFDDE4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63DFE9-D393-D153-CB37-A60EB5EE61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t>8</a:t>
            </a:fld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722BD9-91F5-61B9-52C2-9D07B99EE066}"/>
              </a:ext>
            </a:extLst>
          </p:cNvPr>
          <p:cNvSpPr/>
          <p:nvPr/>
        </p:nvSpPr>
        <p:spPr>
          <a:xfrm rot="1773760">
            <a:off x="9528047" y="1788167"/>
            <a:ext cx="2360112" cy="437512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1400" b="1" cap="all" dirty="0">
                <a:solidFill>
                  <a:srgbClr val="C00000"/>
                </a:solidFill>
              </a:rPr>
              <a:t>JULKAISEMATON LUONNOS</a:t>
            </a:r>
          </a:p>
        </p:txBody>
      </p:sp>
    </p:spTree>
    <p:extLst>
      <p:ext uri="{BB962C8B-B14F-4D97-AF65-F5344CB8AC3E}">
        <p14:creationId xmlns:p14="http://schemas.microsoft.com/office/powerpoint/2010/main" val="3796644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689A389-3B9B-DC8F-2D3A-8E3537C3F02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Suomen hiilikädenjälki on jo nykyisellään merkittävä suhteessa taloutemme kokoon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A5D7CB1-354E-74E5-9BFC-B20B5ED6E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620713"/>
            <a:ext cx="11111472" cy="1080095"/>
          </a:xfrm>
        </p:spPr>
        <p:txBody>
          <a:bodyPr/>
          <a:lstStyle/>
          <a:p>
            <a:r>
              <a:rPr lang="fi-FI" sz="3600" dirty="0"/>
              <a:t>Mitä seuraavaksi? Tavoitteeksi hiilikädenjäljen tuplaaminen vuoteen 2030 mennessä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11B355-04BC-1636-D6EC-3F776B7A5F47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1486966" y="2575904"/>
            <a:ext cx="9938272" cy="697609"/>
          </a:xfrm>
        </p:spPr>
        <p:txBody>
          <a:bodyPr/>
          <a:lstStyle/>
          <a:p>
            <a:r>
              <a:rPr lang="fi-FI" dirty="0"/>
              <a:t>Suomella on kaikki edellytykset kasvattaa hiilikädenjälkeä tulevaisuudessa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DA564C-AC1B-CDD5-8F15-81FF2B08C74E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solidFill>
            <a:schemeClr val="accent2"/>
          </a:solidFill>
        </p:spPr>
        <p:txBody>
          <a:bodyPr/>
          <a:lstStyle/>
          <a:p>
            <a:r>
              <a:rPr lang="fi-FI" dirty="0"/>
              <a:t>Suomen hiilikädenjäljen kasvattaminen tulee asettaa kansalliseksi tavoitteeksi: Tuplataan Suomen hiilikädenjälki vuoteen 2030 mennessä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314D716-6F60-2729-2D36-CE33E8FF3CAD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solidFill>
            <a:schemeClr val="accent1"/>
          </a:solidFill>
        </p:spPr>
        <p:txBody>
          <a:bodyPr vert="horz" lIns="180000" tIns="72000" rIns="180000" bIns="72000" rtlCol="0" anchor="ctr" anchorCtr="0">
            <a:noAutofit/>
          </a:bodyPr>
          <a:lstStyle/>
          <a:p>
            <a:r>
              <a:rPr lang="fi-FI" dirty="0"/>
              <a:t>Hiilikädenjälki tulee ottaa tiiviisti osaksi kansallisen ilmastopolitiikan suunnittelua ja seurantaa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07BDAF-1F4B-4E76-1516-CF779E083D3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i-FI" dirty="0"/>
              <a:t>1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B79AF30-91D5-5047-FB3F-AE913B84D9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i-FI" dirty="0"/>
              <a:t>2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952BC43-40EA-7FA1-207B-B531780D684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3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8696E3E-EE4A-ADC1-9B10-D9BB9D26740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i-FI" dirty="0"/>
              <a:t>4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310B71E-7B1D-D17B-60A9-443F3183C78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i-FI" dirty="0"/>
              <a:t>5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3956ED-73F8-DDC8-AA73-25E76C23A97E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solidFill>
            <a:schemeClr val="accent1"/>
          </a:solidFill>
        </p:spPr>
        <p:txBody>
          <a:bodyPr vert="horz" lIns="180000" tIns="72000" rIns="180000" bIns="72000" rtlCol="0" anchor="ctr" anchorCtr="0">
            <a:noAutofit/>
          </a:bodyPr>
          <a:lstStyle/>
          <a:p>
            <a:r>
              <a:rPr lang="fi-FI" dirty="0"/>
              <a:t>Puitteet kuntoon: TKI-panostukset, </a:t>
            </a:r>
            <a:r>
              <a:rPr lang="fi-FI" dirty="0" err="1"/>
              <a:t>luvitus</a:t>
            </a:r>
            <a:r>
              <a:rPr lang="fi-FI" dirty="0"/>
              <a:t> ja ennakoitava toimintaympäristö, osaajien saatavuus, vetystrategia, vihreän siirtymän vaatima infrastruktuuri sekä kilpailukykyinen logistiikka.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1E7B69A1-D0CA-381E-0E27-7444B23A780C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fi-FI"/>
              <a:t>27.10.2022</a:t>
            </a:r>
            <a:endParaRPr lang="en-GB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7E65A5E-B9BA-3264-350C-4F7451E0045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2E270FB2-C416-455B-8FD2-88A9B37B7CBF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9942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a0mLHWd0IXBavbutqeyg"/>
</p:tagLst>
</file>

<file path=ppt/theme/theme1.xml><?xml version="1.0" encoding="utf-8"?>
<a:theme xmlns:a="http://schemas.openxmlformats.org/drawingml/2006/main" name="EK_NEW">
  <a:themeElements>
    <a:clrScheme name="EK 2020">
      <a:dk1>
        <a:srgbClr val="000000"/>
      </a:dk1>
      <a:lt1>
        <a:sysClr val="window" lastClr="FFFFFF"/>
      </a:lt1>
      <a:dk2>
        <a:srgbClr val="E85C03"/>
      </a:dk2>
      <a:lt2>
        <a:srgbClr val="7CAE79"/>
      </a:lt2>
      <a:accent1>
        <a:srgbClr val="295247"/>
      </a:accent1>
      <a:accent2>
        <a:srgbClr val="599956"/>
      </a:accent2>
      <a:accent3>
        <a:srgbClr val="2C495A"/>
      </a:accent3>
      <a:accent4>
        <a:srgbClr val="FF9D6A"/>
      </a:accent4>
      <a:accent5>
        <a:srgbClr val="88B2EB"/>
      </a:accent5>
      <a:accent6>
        <a:srgbClr val="FFCB21"/>
      </a:accent6>
      <a:hlink>
        <a:srgbClr val="295247"/>
      </a:hlink>
      <a:folHlink>
        <a:srgbClr val="295247"/>
      </a:folHlink>
    </a:clrScheme>
    <a:fontScheme name="EK 2020">
      <a:majorFont>
        <a:latin typeface="IBM Plex Sans Light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K_new.potx" id="{6ACD61EF-8D58-4639-8A5A-1507AE7CB860}" vid="{1CDC206B-A0FB-4BC0-A6D8-81DDCC8E471E}"/>
    </a:ext>
  </a:extLst>
</a:theme>
</file>

<file path=ppt/theme/theme2.xml><?xml version="1.0" encoding="utf-8"?>
<a:theme xmlns:a="http://schemas.openxmlformats.org/drawingml/2006/main" name="EK">
  <a:themeElements>
    <a:clrScheme name="EK 2020">
      <a:dk1>
        <a:srgbClr val="000000"/>
      </a:dk1>
      <a:lt1>
        <a:sysClr val="window" lastClr="FFFFFF"/>
      </a:lt1>
      <a:dk2>
        <a:srgbClr val="E85C03"/>
      </a:dk2>
      <a:lt2>
        <a:srgbClr val="7CAE79"/>
      </a:lt2>
      <a:accent1>
        <a:srgbClr val="295247"/>
      </a:accent1>
      <a:accent2>
        <a:srgbClr val="599956"/>
      </a:accent2>
      <a:accent3>
        <a:srgbClr val="2C495A"/>
      </a:accent3>
      <a:accent4>
        <a:srgbClr val="FF9D6A"/>
      </a:accent4>
      <a:accent5>
        <a:srgbClr val="88B2EB"/>
      </a:accent5>
      <a:accent6>
        <a:srgbClr val="FFCB21"/>
      </a:accent6>
      <a:hlink>
        <a:srgbClr val="295247"/>
      </a:hlink>
      <a:folHlink>
        <a:srgbClr val="295247"/>
      </a:folHlink>
    </a:clrScheme>
    <a:fontScheme name="EK 2020">
      <a:majorFont>
        <a:latin typeface="IBM Plex Sans Light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k_sample.potx" id="{A07428C7-6717-48A2-8ED8-4CA936662E16}" vid="{A8F32D70-FF36-446F-9DA7-987737C6A298}"/>
    </a:ext>
  </a:extLst>
</a:theme>
</file>

<file path=ppt/theme/theme3.xml><?xml version="1.0" encoding="utf-8"?>
<a:theme xmlns:a="http://schemas.openxmlformats.org/drawingml/2006/main" name="1_EK_NEW">
  <a:themeElements>
    <a:clrScheme name="EK 2020">
      <a:dk1>
        <a:srgbClr val="000000"/>
      </a:dk1>
      <a:lt1>
        <a:sysClr val="window" lastClr="FFFFFF"/>
      </a:lt1>
      <a:dk2>
        <a:srgbClr val="E85C03"/>
      </a:dk2>
      <a:lt2>
        <a:srgbClr val="7CAE79"/>
      </a:lt2>
      <a:accent1>
        <a:srgbClr val="295247"/>
      </a:accent1>
      <a:accent2>
        <a:srgbClr val="599956"/>
      </a:accent2>
      <a:accent3>
        <a:srgbClr val="2C495A"/>
      </a:accent3>
      <a:accent4>
        <a:srgbClr val="FF9D6A"/>
      </a:accent4>
      <a:accent5>
        <a:srgbClr val="88B2EB"/>
      </a:accent5>
      <a:accent6>
        <a:srgbClr val="FFCB21"/>
      </a:accent6>
      <a:hlink>
        <a:srgbClr val="295247"/>
      </a:hlink>
      <a:folHlink>
        <a:srgbClr val="295247"/>
      </a:folHlink>
    </a:clrScheme>
    <a:fontScheme name="EK 2020">
      <a:majorFont>
        <a:latin typeface="IBM Plex Sans Light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K_new.potx" id="{6ACD61EF-8D58-4639-8A5A-1507AE7CB860}" vid="{1CDC206B-A0FB-4BC0-A6D8-81DDCC8E471E}"/>
    </a:ext>
  </a:extLst>
</a:theme>
</file>

<file path=ppt/theme/theme4.xml><?xml version="1.0" encoding="utf-8"?>
<a:theme xmlns:a="http://schemas.openxmlformats.org/drawingml/2006/main" name="Office Theme">
  <a:themeElements>
    <a:clrScheme name="EK 2020">
      <a:dk1>
        <a:srgbClr val="000000"/>
      </a:dk1>
      <a:lt1>
        <a:sysClr val="window" lastClr="FFFFFF"/>
      </a:lt1>
      <a:dk2>
        <a:srgbClr val="E85C03"/>
      </a:dk2>
      <a:lt2>
        <a:srgbClr val="7CAE79"/>
      </a:lt2>
      <a:accent1>
        <a:srgbClr val="295247"/>
      </a:accent1>
      <a:accent2>
        <a:srgbClr val="599956"/>
      </a:accent2>
      <a:accent3>
        <a:srgbClr val="2C495A"/>
      </a:accent3>
      <a:accent4>
        <a:srgbClr val="FF9D6A"/>
      </a:accent4>
      <a:accent5>
        <a:srgbClr val="88B2EB"/>
      </a:accent5>
      <a:accent6>
        <a:srgbClr val="FFCB21"/>
      </a:accent6>
      <a:hlink>
        <a:srgbClr val="295247"/>
      </a:hlink>
      <a:folHlink>
        <a:srgbClr val="295247"/>
      </a:folHlink>
    </a:clrScheme>
    <a:fontScheme name="EK 2020">
      <a:majorFont>
        <a:latin typeface="IBM Plex Sans Light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EK 2020">
      <a:dk1>
        <a:srgbClr val="000000"/>
      </a:dk1>
      <a:lt1>
        <a:sysClr val="window" lastClr="FFFFFF"/>
      </a:lt1>
      <a:dk2>
        <a:srgbClr val="E85C03"/>
      </a:dk2>
      <a:lt2>
        <a:srgbClr val="7CAE79"/>
      </a:lt2>
      <a:accent1>
        <a:srgbClr val="295247"/>
      </a:accent1>
      <a:accent2>
        <a:srgbClr val="599956"/>
      </a:accent2>
      <a:accent3>
        <a:srgbClr val="2C495A"/>
      </a:accent3>
      <a:accent4>
        <a:srgbClr val="FF9D6A"/>
      </a:accent4>
      <a:accent5>
        <a:srgbClr val="88B2EB"/>
      </a:accent5>
      <a:accent6>
        <a:srgbClr val="FFCB21"/>
      </a:accent6>
      <a:hlink>
        <a:srgbClr val="295247"/>
      </a:hlink>
      <a:folHlink>
        <a:srgbClr val="295247"/>
      </a:folHlink>
    </a:clrScheme>
    <a:fontScheme name="EK 2020">
      <a:majorFont>
        <a:latin typeface="IBM Plex Sans Light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EK dokumentti" ma:contentTypeID="0x0101002EADC65E7AEE344890909A89025398E500C5E781D18BCF4E4E818339A79505EA74" ma:contentTypeVersion="51" ma:contentTypeDescription="" ma:contentTypeScope="" ma:versionID="70d8cc48bb8c75c5bcdbc9a7543ed9fe">
  <xsd:schema xmlns:xsd="http://www.w3.org/2001/XMLSchema" xmlns:xs="http://www.w3.org/2001/XMLSchema" xmlns:p="http://schemas.microsoft.com/office/2006/metadata/properties" xmlns:ns1="http://schemas.microsoft.com/sharepoint/v3" xmlns:ns3="8b837007-6c46-4a28-9b7b-cb584efd4e50" xmlns:ns4="18f7979e-5609-45c2-ad1e-bd68d099b2a4" xmlns:ns5="http://schemas.microsoft.com/sharepoint/v4" targetNamespace="http://schemas.microsoft.com/office/2006/metadata/properties" ma:root="true" ma:fieldsID="30cbd9ec6f3136b58d5b1999391964f8" ns1:_="" ns3:_="" ns4:_="" ns5:_="">
    <xsd:import namespace="http://schemas.microsoft.com/sharepoint/v3"/>
    <xsd:import namespace="8b837007-6c46-4a28-9b7b-cb584efd4e50"/>
    <xsd:import namespace="18f7979e-5609-45c2-ad1e-bd68d099b2a4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3:EKSailytys" minOccurs="0"/>
                <xsd:element ref="ns3:TaxCatchAll" minOccurs="0"/>
                <xsd:element ref="ns3:TaxCatchAllLabel" minOccurs="0"/>
                <xsd:element ref="ns3:EKRyhmaTxt" minOccurs="0"/>
                <xsd:element ref="ns4:MediaServiceMetadata" minOccurs="0"/>
                <xsd:element ref="ns4:MediaServiceFastMetadata" minOccurs="0"/>
                <xsd:element ref="ns3:SharedWithUsers" minOccurs="0"/>
                <xsd:element ref="ns3:SharedWithDetails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Location" minOccurs="0"/>
                <xsd:element ref="ns5:IconOverlay" minOccurs="0"/>
                <xsd:element ref="ns1:_vti_ItemDeclaredRecord" minOccurs="0"/>
                <xsd:element ref="ns1:_vti_ItemHoldRecordStatus" minOccurs="0"/>
                <xsd:element ref="ns4:MediaLengthInSeconds" minOccurs="0"/>
                <xsd:element ref="ns4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vti_ItemDeclaredRecord" ma:index="28" nillable="true" ma:displayName="Määritelty tietue" ma:description="" ma:hidden="true" ma:indexed="true" ma:internalName="_vti_ItemDeclaredRecord" ma:readOnly="true">
      <xsd:simpleType>
        <xsd:restriction base="dms:DateTime"/>
      </xsd:simpleType>
    </xsd:element>
    <xsd:element name="_vti_ItemHoldRecordStatus" ma:index="29" nillable="true" ma:displayName="Pidon ja tietueen tila" ma:decimals="0" ma:description="" ma:hidden="true" ma:indexed="true" ma:internalName="_vti_ItemHoldRecordStatu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837007-6c46-4a28-9b7b-cb584efd4e50" elementFormDefault="qualified">
    <xsd:import namespace="http://schemas.microsoft.com/office/2006/documentManagement/types"/>
    <xsd:import namespace="http://schemas.microsoft.com/office/infopath/2007/PartnerControls"/>
    <xsd:element name="EKSailytys" ma:index="4" nillable="true" ma:displayName="Säilytys &amp; Arkistointi" ma:default="Ei säilytystä/arkistointia" ma:format="Dropdown" ma:indexed="true" ma:internalName="EKSailytys">
      <xsd:simpleType>
        <xsd:restriction base="dms:Choice">
          <xsd:enumeration value="Ei säilytystä/arkistointia"/>
          <xsd:enumeration value="Pysyväissäilytys EK"/>
          <xsd:enumeration value="Pysyväissäilytys EK &amp; Arkistointi ELKA"/>
        </xsd:restriction>
      </xsd:simpleType>
    </xsd:element>
    <xsd:element name="TaxCatchAll" ma:index="11" nillable="true" ma:displayName="Taxonomy Catch All Column" ma:hidden="true" ma:list="{22e06fea-5a8e-4ec8-9a47-8bff89f473f2}" ma:internalName="TaxCatchAll" ma:showField="CatchAllData" ma:web="8b837007-6c46-4a28-9b7b-cb584efd4e5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2" nillable="true" ma:displayName="Taxonomy Catch All Column1" ma:hidden="true" ma:list="{22e06fea-5a8e-4ec8-9a47-8bff89f473f2}" ma:internalName="TaxCatchAllLabel" ma:readOnly="true" ma:showField="CatchAllDataLabel" ma:web="8b837007-6c46-4a28-9b7b-cb584efd4e5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EKRyhmaTxt" ma:index="14" nillable="true" ma:displayName="Ryhmä" ma:internalName="EKRyhmaTxt">
      <xsd:simpleType>
        <xsd:restriction base="dms:Text">
          <xsd:maxLength value="255"/>
        </xsd:restriction>
      </xsd:simpleType>
    </xsd:element>
    <xsd:element name="SharedWithUsers" ma:index="17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f7979e-5609-45c2-ad1e-bd68d099b2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22" nillable="true" ma:displayName="Tags" ma:internalName="MediaServiceAutoTags" ma:readOnly="true">
      <xsd:simpleType>
        <xsd:restriction base="dms:Text"/>
      </xsd:simple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6" nillable="true" ma:displayName="Location" ma:internalName="MediaServiceLocation" ma:readOnly="true">
      <xsd:simpleType>
        <xsd:restriction base="dms:Text"/>
      </xsd:simpleType>
    </xsd:element>
    <xsd:element name="MediaLengthInSeconds" ma:index="3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32" nillable="true" ma:taxonomy="true" ma:internalName="lcf76f155ced4ddcb4097134ff3c332f" ma:taxonomyFieldName="MediaServiceImageTags" ma:displayName="Kuvien tunnisteet" ma:readOnly="false" ma:fieldId="{5cf76f15-5ced-4ddc-b409-7134ff3c332f}" ma:taxonomyMulti="true" ma:sspId="82b0897a-976a-40fc-9eb3-43b30155ff6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27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5" ma:displayName="Laatija"/>
        <xsd:element ref="dcterms:created" minOccurs="0" maxOccurs="1"/>
        <xsd:element ref="dc:identifier" minOccurs="0" maxOccurs="1"/>
        <xsd:element name="contentType" minOccurs="0" maxOccurs="1" type="xsd:string" ma:index="8" ma:displayName="Sisältölaji"/>
        <xsd:element ref="dc:title" minOccurs="0" maxOccurs="1" ma:index="1" ma:displayName="Otsikko"/>
        <xsd:element ref="dc:subject" minOccurs="0" maxOccurs="1" ma:index="2" ma:displayName="Vastuualue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 ma:index="3" ma:displayName="Dokumentin tyyppi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Kameleon>
  <eksailytys>Pysyväissäilytys EK</eksailytys>
  <ekryhmatxt/>
</Kameleon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KSailytys xmlns="8b837007-6c46-4a28-9b7b-cb584efd4e50">Ei säilytystä/arkistointia</EKSailytys>
    <EKRyhmaTxt xmlns="8b837007-6c46-4a28-9b7b-cb584efd4e50" xsi:nil="true"/>
    <TaxCatchAll xmlns="8b837007-6c46-4a28-9b7b-cb584efd4e50" xsi:nil="true"/>
    <IconOverlay xmlns="http://schemas.microsoft.com/sharepoint/v4" xsi:nil="true"/>
    <lcf76f155ced4ddcb4097134ff3c332f xmlns="18f7979e-5609-45c2-ad1e-bd68d099b2a4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B9ACE9CE-3716-4DED-95C0-F578A65A17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b837007-6c46-4a28-9b7b-cb584efd4e50"/>
    <ds:schemaRef ds:uri="18f7979e-5609-45c2-ad1e-bd68d099b2a4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034AEA6-3350-4088-A1B7-3262028E7EDA}">
  <ds:schemaRefs/>
</ds:datastoreItem>
</file>

<file path=customXml/itemProps3.xml><?xml version="1.0" encoding="utf-8"?>
<ds:datastoreItem xmlns:ds="http://schemas.openxmlformats.org/officeDocument/2006/customXml" ds:itemID="{05C56B55-519C-497C-BB53-482388EB617F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BEBED28C-535B-43EA-99AE-539A21C7F639}">
  <ds:schemaRefs>
    <ds:schemaRef ds:uri="http://schemas.microsoft.com/office/2006/metadata/properties"/>
    <ds:schemaRef ds:uri="http://schemas.microsoft.com/sharepoint/v3"/>
    <ds:schemaRef ds:uri="http://schemas.microsoft.com/sharepoint/v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18f7979e-5609-45c2-ad1e-bd68d099b2a4"/>
    <ds:schemaRef ds:uri="http://purl.org/dc/elements/1.1/"/>
    <ds:schemaRef ds:uri="8b837007-6c46-4a28-9b7b-cb584efd4e50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K_new</Template>
  <TotalTime>25457</TotalTime>
  <Words>485</Words>
  <Application>Microsoft Office PowerPoint</Application>
  <PresentationFormat>Widescreen</PresentationFormat>
  <Paragraphs>91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IBM Plex Sans Light</vt:lpstr>
      <vt:lpstr>Arial</vt:lpstr>
      <vt:lpstr>IBM Plex Sans</vt:lpstr>
      <vt:lpstr>Verdana</vt:lpstr>
      <vt:lpstr>IBM Plex Mono Medium</vt:lpstr>
      <vt:lpstr>EK_NEW</vt:lpstr>
      <vt:lpstr>EK</vt:lpstr>
      <vt:lpstr>1_EK_NEW</vt:lpstr>
      <vt:lpstr>think-cell Slide</vt:lpstr>
      <vt:lpstr> Voittava strategia vihreässä siirtymässä: hiilijalanjälki alas, kädenjälki kasvuun</vt:lpstr>
      <vt:lpstr>PowerPoint Presentation</vt:lpstr>
      <vt:lpstr>Ilmastonmuutoksen hillintä edellyttää jättimäisiä investointeja ympäri maailman</vt:lpstr>
      <vt:lpstr>Voittava strategia Suomelle:  Hiilijalanjälki alas, hiilikädenjälki ylös</vt:lpstr>
      <vt:lpstr>Hiilikädenjälki mittaa positiivisia ilmastovaikutuksia</vt:lpstr>
      <vt:lpstr>Mikä on Suomen hiilikädenjälki?</vt:lpstr>
      <vt:lpstr>EK:n hiilikädenjälkihanke: ymmärretään kädenjälki</vt:lpstr>
      <vt:lpstr>Suomella jo nyt mittava hiilikädenjälki, ja sen kasvattamiselle on hyvät edellytykset</vt:lpstr>
      <vt:lpstr>Mitä seuraavaksi? Tavoitteeksi hiilikädenjäljen tuplaaminen vuoteen 2030 mennessä</vt:lpstr>
      <vt:lpstr>PowerPoint Presentation</vt:lpstr>
    </vt:vector>
  </TitlesOfParts>
  <Company>Elinkeinoelämän keskusliitto E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subject>Yrittäjyys ja elinkeinopolitiikka</dc:subject>
  <dc:creator>Janne Peljo</dc:creator>
  <cp:keywords/>
  <cp:lastModifiedBy>Peljo Janne</cp:lastModifiedBy>
  <cp:revision>18</cp:revision>
  <dcterms:created xsi:type="dcterms:W3CDTF">2021-10-22T18:11:54Z</dcterms:created>
  <dcterms:modified xsi:type="dcterms:W3CDTF">2022-10-27T06:48:44Z</dcterms:modified>
  <cp:category>Diaesitys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vKameleonVerID">
    <vt:lpwstr>298.21.03.207</vt:lpwstr>
  </property>
  <property fmtid="{D5CDD505-2E9C-101B-9397-08002B2CF9AE}" pid="3" name="dvSaved">
    <vt:lpwstr>1</vt:lpwstr>
  </property>
  <property fmtid="{D5CDD505-2E9C-101B-9397-08002B2CF9AE}" pid="4" name="dvLanguage">
    <vt:lpwstr>1035</vt:lpwstr>
  </property>
  <property fmtid="{D5CDD505-2E9C-101B-9397-08002B2CF9AE}" pid="5" name="dvTemplate">
    <vt:lpwstr>EK_new.potx</vt:lpwstr>
  </property>
  <property fmtid="{D5CDD505-2E9C-101B-9397-08002B2CF9AE}" pid="6" name="dvDefinition">
    <vt:lpwstr>68 (dd_default.xml)</vt:lpwstr>
  </property>
  <property fmtid="{D5CDD505-2E9C-101B-9397-08002B2CF9AE}" pid="7" name="dvDefinitionID">
    <vt:lpwstr>68</vt:lpwstr>
  </property>
  <property fmtid="{D5CDD505-2E9C-101B-9397-08002B2CF9AE}" pid="8" name="dvContentFile">
    <vt:lpwstr>dd_default.xml</vt:lpwstr>
  </property>
  <property fmtid="{D5CDD505-2E9C-101B-9397-08002B2CF9AE}" pid="9" name="dvGlobalVerID">
    <vt:lpwstr>298.90.03.208</vt:lpwstr>
  </property>
  <property fmtid="{D5CDD505-2E9C-101B-9397-08002B2CF9AE}" pid="10" name="dvDefinitionVersion">
    <vt:lpwstr>8.0 / 8.9.2020</vt:lpwstr>
  </property>
  <property fmtid="{D5CDD505-2E9C-101B-9397-08002B2CF9AE}" pid="11" name="filename">
    <vt:lpwstr>false</vt:lpwstr>
  </property>
  <property fmtid="{D5CDD505-2E9C-101B-9397-08002B2CF9AE}" pid="12" name="filenameandpath">
    <vt:lpwstr>false</vt:lpwstr>
  </property>
  <property fmtid="{D5CDD505-2E9C-101B-9397-08002B2CF9AE}" pid="13" name="dvPagenumberExist">
    <vt:lpwstr>1</vt:lpwstr>
  </property>
  <property fmtid="{D5CDD505-2E9C-101B-9397-08002B2CF9AE}" pid="14" name="dvAuthorExist">
    <vt:lpwstr>0</vt:lpwstr>
  </property>
  <property fmtid="{D5CDD505-2E9C-101B-9397-08002B2CF9AE}" pid="15" name="dvDateExist">
    <vt:lpwstr>-1</vt:lpwstr>
  </property>
  <property fmtid="{D5CDD505-2E9C-101B-9397-08002B2CF9AE}" pid="16" name="dvCategory">
    <vt:lpwstr>13</vt:lpwstr>
  </property>
  <property fmtid="{D5CDD505-2E9C-101B-9397-08002B2CF9AE}" pid="17" name="dvCategory_2">
    <vt:lpwstr>0</vt:lpwstr>
  </property>
  <property fmtid="{D5CDD505-2E9C-101B-9397-08002B2CF9AE}" pid="18" name="dvPermanentStorage">
    <vt:lpwstr>0</vt:lpwstr>
  </property>
  <property fmtid="{D5CDD505-2E9C-101B-9397-08002B2CF9AE}" pid="19" name="dvDocumentManagement">
    <vt:lpwstr>0</vt:lpwstr>
  </property>
  <property fmtid="{D5CDD505-2E9C-101B-9397-08002B2CF9AE}" pid="20" name="dvSavepath">
    <vt:lpwstr/>
  </property>
  <property fmtid="{D5CDD505-2E9C-101B-9397-08002B2CF9AE}" pid="21" name="dvUsed">
    <vt:lpwstr>1</vt:lpwstr>
  </property>
  <property fmtid="{D5CDD505-2E9C-101B-9397-08002B2CF9AE}" pid="22" name="dvCompany">
    <vt:lpwstr>ELKE</vt:lpwstr>
  </property>
  <property fmtid="{D5CDD505-2E9C-101B-9397-08002B2CF9AE}" pid="23" name="dvSite">
    <vt:lpwstr>EK Helsinki</vt:lpwstr>
  </property>
  <property fmtid="{D5CDD505-2E9C-101B-9397-08002B2CF9AE}" pid="24" name="dvNumbering">
    <vt:lpwstr>0</vt:lpwstr>
  </property>
  <property fmtid="{D5CDD505-2E9C-101B-9397-08002B2CF9AE}" pid="25" name="dvDUname">
    <vt:lpwstr>Janne Peljo</vt:lpwstr>
  </property>
  <property fmtid="{D5CDD505-2E9C-101B-9397-08002B2CF9AE}" pid="26" name="dvDUdepartment">
    <vt:lpwstr/>
  </property>
  <property fmtid="{D5CDD505-2E9C-101B-9397-08002B2CF9AE}" pid="27" name="dvSector">
    <vt:lpwstr>S_PKY</vt:lpwstr>
  </property>
  <property fmtid="{D5CDD505-2E9C-101B-9397-08002B2CF9AE}" pid="28" name="dvsectorvalue">
    <vt:lpwstr>Yrittäjyys ja elinkeinopolitiikka</vt:lpwstr>
  </property>
  <property fmtid="{D5CDD505-2E9C-101B-9397-08002B2CF9AE}" pid="29" name="dvResp_Unit">
    <vt:lpwstr/>
  </property>
  <property fmtid="{D5CDD505-2E9C-101B-9397-08002B2CF9AE}" pid="30" name="dvResp_UnitToDocument">
    <vt:lpwstr>0</vt:lpwstr>
  </property>
  <property fmtid="{D5CDD505-2E9C-101B-9397-08002B2CF9AE}" pid="31" name="dvLogoExist">
    <vt:lpwstr>0</vt:lpwstr>
  </property>
  <property fmtid="{D5CDD505-2E9C-101B-9397-08002B2CF9AE}" pid="32" name="dvCurrentListLogo">
    <vt:lpwstr/>
  </property>
  <property fmtid="{D5CDD505-2E9C-101B-9397-08002B2CF9AE}" pid="33" name="duname">
    <vt:lpwstr>Janne Peljo</vt:lpwstr>
  </property>
  <property fmtid="{D5CDD505-2E9C-101B-9397-08002B2CF9AE}" pid="34" name="dDocumentStatus">
    <vt:lpwstr>Ei säilytystä/arkistointia</vt:lpwstr>
  </property>
  <property fmtid="{D5CDD505-2E9C-101B-9397-08002B2CF9AE}" pid="35" name="EKSailytys">
    <vt:lpwstr>Ei säilytystä/arkistointia</vt:lpwstr>
  </property>
  <property fmtid="{D5CDD505-2E9C-101B-9397-08002B2CF9AE}" pid="36" name="ddate">
    <vt:lpwstr>22.10.2021</vt:lpwstr>
  </property>
  <property fmtid="{D5CDD505-2E9C-101B-9397-08002B2CF9AE}" pid="37" name="dusector">
    <vt:lpwstr>Yrittäjyys ja elinkeinopolitiikka</vt:lpwstr>
  </property>
  <property fmtid="{D5CDD505-2E9C-101B-9397-08002B2CF9AE}" pid="38" name="duresp_unit">
    <vt:lpwstr/>
  </property>
  <property fmtid="{D5CDD505-2E9C-101B-9397-08002B2CF9AE}" pid="39" name="EKRyhmaTxt">
    <vt:lpwstr/>
  </property>
  <property fmtid="{D5CDD505-2E9C-101B-9397-08002B2CF9AE}" pid="40" name="dname">
    <vt:lpwstr>Diaesitys</vt:lpwstr>
  </property>
  <property fmtid="{D5CDD505-2E9C-101B-9397-08002B2CF9AE}" pid="41" name="ducompany">
    <vt:lpwstr>Elinkeinoelämän keskusliitto EK</vt:lpwstr>
  </property>
  <property fmtid="{D5CDD505-2E9C-101B-9397-08002B2CF9AE}" pid="42" name="dtitle">
    <vt:lpwstr>PowerPoint-esitys</vt:lpwstr>
  </property>
  <property fmtid="{D5CDD505-2E9C-101B-9397-08002B2CF9AE}" pid="43" name="dsubtitle">
    <vt:lpwstr/>
  </property>
  <property fmtid="{D5CDD505-2E9C-101B-9397-08002B2CF9AE}" pid="44" name="dvDocumentStatus">
    <vt:lpwstr>ID2</vt:lpwstr>
  </property>
  <property fmtid="{D5CDD505-2E9C-101B-9397-08002B2CF9AE}" pid="45" name="ContentTypeId">
    <vt:lpwstr>0x0101002EADC65E7AEE344890909A89025398E500C5E781D18BCF4E4E818339A79505EA74</vt:lpwstr>
  </property>
  <property fmtid="{D5CDD505-2E9C-101B-9397-08002B2CF9AE}" pid="46" name="MediaServiceImageTags">
    <vt:lpwstr/>
  </property>
</Properties>
</file>